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7"/>
  </p:notesMasterIdLst>
  <p:handoutMasterIdLst>
    <p:handoutMasterId r:id="rId158"/>
  </p:handoutMasterIdLst>
  <p:sldIdLst>
    <p:sldId id="256" r:id="rId5"/>
    <p:sldId id="409" r:id="rId6"/>
    <p:sldId id="257" r:id="rId7"/>
    <p:sldId id="258" r:id="rId8"/>
    <p:sldId id="259" r:id="rId9"/>
    <p:sldId id="260" r:id="rId10"/>
    <p:sldId id="261" r:id="rId11"/>
    <p:sldId id="410" r:id="rId12"/>
    <p:sldId id="393"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 id="308" r:id="rId59"/>
    <p:sldId id="309" r:id="rId60"/>
    <p:sldId id="310" r:id="rId61"/>
    <p:sldId id="311" r:id="rId62"/>
    <p:sldId id="312" r:id="rId63"/>
    <p:sldId id="313" r:id="rId64"/>
    <p:sldId id="314" r:id="rId65"/>
    <p:sldId id="315" r:id="rId66"/>
    <p:sldId id="316" r:id="rId67"/>
    <p:sldId id="317" r:id="rId68"/>
    <p:sldId id="318" r:id="rId69"/>
    <p:sldId id="319" r:id="rId70"/>
    <p:sldId id="320" r:id="rId71"/>
    <p:sldId id="321" r:id="rId72"/>
    <p:sldId id="322" r:id="rId73"/>
    <p:sldId id="323" r:id="rId74"/>
    <p:sldId id="324" r:id="rId75"/>
    <p:sldId id="325" r:id="rId76"/>
    <p:sldId id="326" r:id="rId77"/>
    <p:sldId id="327" r:id="rId78"/>
    <p:sldId id="328" r:id="rId79"/>
    <p:sldId id="329" r:id="rId80"/>
    <p:sldId id="330" r:id="rId81"/>
    <p:sldId id="331" r:id="rId82"/>
    <p:sldId id="332" r:id="rId83"/>
    <p:sldId id="333" r:id="rId84"/>
    <p:sldId id="334" r:id="rId85"/>
    <p:sldId id="335" r:id="rId86"/>
    <p:sldId id="336" r:id="rId87"/>
    <p:sldId id="337" r:id="rId88"/>
    <p:sldId id="338" r:id="rId89"/>
    <p:sldId id="339" r:id="rId90"/>
    <p:sldId id="340" r:id="rId91"/>
    <p:sldId id="341" r:id="rId92"/>
    <p:sldId id="342" r:id="rId93"/>
    <p:sldId id="343" r:id="rId94"/>
    <p:sldId id="344" r:id="rId95"/>
    <p:sldId id="403" r:id="rId96"/>
    <p:sldId id="345" r:id="rId97"/>
    <p:sldId id="346" r:id="rId98"/>
    <p:sldId id="347" r:id="rId99"/>
    <p:sldId id="395" r:id="rId100"/>
    <p:sldId id="394" r:id="rId101"/>
    <p:sldId id="358" r:id="rId102"/>
    <p:sldId id="396" r:id="rId103"/>
    <p:sldId id="397" r:id="rId104"/>
    <p:sldId id="357" r:id="rId105"/>
    <p:sldId id="349" r:id="rId106"/>
    <p:sldId id="350" r:id="rId107"/>
    <p:sldId id="352" r:id="rId108"/>
    <p:sldId id="398" r:id="rId109"/>
    <p:sldId id="353" r:id="rId110"/>
    <p:sldId id="399" r:id="rId111"/>
    <p:sldId id="400" r:id="rId112"/>
    <p:sldId id="401" r:id="rId113"/>
    <p:sldId id="355" r:id="rId114"/>
    <p:sldId id="402" r:id="rId115"/>
    <p:sldId id="356" r:id="rId116"/>
    <p:sldId id="361" r:id="rId117"/>
    <p:sldId id="362" r:id="rId118"/>
    <p:sldId id="363" r:id="rId119"/>
    <p:sldId id="364" r:id="rId120"/>
    <p:sldId id="365" r:id="rId121"/>
    <p:sldId id="366" r:id="rId122"/>
    <p:sldId id="404" r:id="rId123"/>
    <p:sldId id="367" r:id="rId124"/>
    <p:sldId id="368" r:id="rId125"/>
    <p:sldId id="369" r:id="rId126"/>
    <p:sldId id="370" r:id="rId127"/>
    <p:sldId id="371" r:id="rId128"/>
    <p:sldId id="372" r:id="rId129"/>
    <p:sldId id="373" r:id="rId130"/>
    <p:sldId id="374" r:id="rId131"/>
    <p:sldId id="375" r:id="rId132"/>
    <p:sldId id="376" r:id="rId133"/>
    <p:sldId id="405" r:id="rId134"/>
    <p:sldId id="377" r:id="rId135"/>
    <p:sldId id="378" r:id="rId136"/>
    <p:sldId id="379" r:id="rId137"/>
    <p:sldId id="381" r:id="rId138"/>
    <p:sldId id="382" r:id="rId139"/>
    <p:sldId id="383" r:id="rId140"/>
    <p:sldId id="384" r:id="rId141"/>
    <p:sldId id="385" r:id="rId142"/>
    <p:sldId id="386" r:id="rId143"/>
    <p:sldId id="387" r:id="rId144"/>
    <p:sldId id="390" r:id="rId145"/>
    <p:sldId id="391" r:id="rId146"/>
    <p:sldId id="406" r:id="rId147"/>
    <p:sldId id="408" r:id="rId148"/>
    <p:sldId id="407" r:id="rId149"/>
    <p:sldId id="411" r:id="rId150"/>
    <p:sldId id="412" r:id="rId151"/>
    <p:sldId id="416" r:id="rId152"/>
    <p:sldId id="413" r:id="rId153"/>
    <p:sldId id="414" r:id="rId154"/>
    <p:sldId id="415" r:id="rId155"/>
    <p:sldId id="392" r:id="rId156"/>
  </p:sldIdLst>
  <p:sldSz cx="12192000" cy="6858000"/>
  <p:notesSz cx="12192000" cy="6858000"/>
  <p:custDataLst>
    <p:tags r:id="rId159"/>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yyath, Bibin" initials="VB" lastIdx="5" clrIdx="0">
    <p:extLst>
      <p:ext uri="{19B8F6BF-5375-455C-9EA6-DF929625EA0E}">
        <p15:presenceInfo xmlns:p15="http://schemas.microsoft.com/office/powerpoint/2012/main" userId="S::bibin.viyyath@capgemini.com::6daae13c-8ff9-4ca4-ad85-3ff0ec5be08d" providerId="AD"/>
      </p:ext>
    </p:extLst>
  </p:cmAuthor>
  <p:cmAuthor id="2" name="Garelli, Laura" initials="GL" lastIdx="1" clrIdx="1">
    <p:extLst>
      <p:ext uri="{19B8F6BF-5375-455C-9EA6-DF929625EA0E}">
        <p15:presenceInfo xmlns:p15="http://schemas.microsoft.com/office/powerpoint/2012/main" userId="S::laura.garelli@capgemini.com::1e551577-4df6-4803-a76e-766a8bd953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58BAFD-BBC3-4FD0-BDF2-C150A66961E8}" v="2" dt="2020-11-18T05:54:13.836"/>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880"/>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tags" Target="tags/tag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commentAuthors" Target="commentAuthors.xml"/><Relationship Id="rId165" Type="http://schemas.microsoft.com/office/2016/11/relationships/changesInfo" Target="changesInfos/changesInfo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presProps" Target="presProps.xml"/><Relationship Id="rId16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elli, Laura" userId="1e551577-4df6-4803-a76e-766a8bd95337" providerId="ADAL" clId="{30FFE9B7-399B-4CEF-8E31-238ABE30FDE4}"/>
    <pc:docChg chg="custSel addSld delSld modSld">
      <pc:chgData name="Garelli, Laura" userId="1e551577-4df6-4803-a76e-766a8bd95337" providerId="ADAL" clId="{30FFE9B7-399B-4CEF-8E31-238ABE30FDE4}" dt="2020-11-06T15:18:03.396" v="1613" actId="20577"/>
      <pc:docMkLst>
        <pc:docMk/>
      </pc:docMkLst>
      <pc:sldChg chg="modSp">
        <pc:chgData name="Garelli, Laura" userId="1e551577-4df6-4803-a76e-766a8bd95337" providerId="ADAL" clId="{30FFE9B7-399B-4CEF-8E31-238ABE30FDE4}" dt="2020-11-06T15:18:03.396" v="1613" actId="20577"/>
        <pc:sldMkLst>
          <pc:docMk/>
          <pc:sldMk cId="243627670" sldId="409"/>
        </pc:sldMkLst>
        <pc:graphicFrameChg chg="modGraphic">
          <ac:chgData name="Garelli, Laura" userId="1e551577-4df6-4803-a76e-766a8bd95337" providerId="ADAL" clId="{30FFE9B7-399B-4CEF-8E31-238ABE30FDE4}" dt="2020-11-06T15:18:03.396" v="1613" actId="20577"/>
          <ac:graphicFrameMkLst>
            <pc:docMk/>
            <pc:sldMk cId="243627670" sldId="409"/>
            <ac:graphicFrameMk id="8" creationId="{00000000-0000-0000-0000-000000000000}"/>
          </ac:graphicFrameMkLst>
        </pc:graphicFrameChg>
      </pc:sldChg>
      <pc:sldChg chg="addSp delSp modSp">
        <pc:chgData name="Garelli, Laura" userId="1e551577-4df6-4803-a76e-766a8bd95337" providerId="ADAL" clId="{30FFE9B7-399B-4CEF-8E31-238ABE30FDE4}" dt="2020-11-06T14:59:45.822" v="1245" actId="20577"/>
        <pc:sldMkLst>
          <pc:docMk/>
          <pc:sldMk cId="1264577126" sldId="413"/>
        </pc:sldMkLst>
        <pc:spChg chg="mod">
          <ac:chgData name="Garelli, Laura" userId="1e551577-4df6-4803-a76e-766a8bd95337" providerId="ADAL" clId="{30FFE9B7-399B-4CEF-8E31-238ABE30FDE4}" dt="2020-11-06T14:59:45.822" v="1245" actId="20577"/>
          <ac:spMkLst>
            <pc:docMk/>
            <pc:sldMk cId="1264577126" sldId="413"/>
            <ac:spMk id="12" creationId="{7C6059E8-BE45-471D-B324-C52287CD9291}"/>
          </ac:spMkLst>
        </pc:spChg>
        <pc:picChg chg="add del mod">
          <ac:chgData name="Garelli, Laura" userId="1e551577-4df6-4803-a76e-766a8bd95337" providerId="ADAL" clId="{30FFE9B7-399B-4CEF-8E31-238ABE30FDE4}" dt="2020-11-06T14:54:59.582" v="905" actId="478"/>
          <ac:picMkLst>
            <pc:docMk/>
            <pc:sldMk cId="1264577126" sldId="413"/>
            <ac:picMk id="2" creationId="{921AD3E3-7394-4269-A846-9C639D5B53ED}"/>
          </ac:picMkLst>
        </pc:picChg>
        <pc:picChg chg="del">
          <ac:chgData name="Garelli, Laura" userId="1e551577-4df6-4803-a76e-766a8bd95337" providerId="ADAL" clId="{30FFE9B7-399B-4CEF-8E31-238ABE30FDE4}" dt="2020-11-06T14:53:27.718" v="899" actId="478"/>
          <ac:picMkLst>
            <pc:docMk/>
            <pc:sldMk cId="1264577126" sldId="413"/>
            <ac:picMk id="3" creationId="{0B0CF651-63F0-4417-8708-418EF077B207}"/>
          </ac:picMkLst>
        </pc:picChg>
        <pc:picChg chg="add mod">
          <ac:chgData name="Garelli, Laura" userId="1e551577-4df6-4803-a76e-766a8bd95337" providerId="ADAL" clId="{30FFE9B7-399B-4CEF-8E31-238ABE30FDE4}" dt="2020-11-06T14:55:07.838" v="908" actId="14100"/>
          <ac:picMkLst>
            <pc:docMk/>
            <pc:sldMk cId="1264577126" sldId="413"/>
            <ac:picMk id="6" creationId="{EE767FAB-04AD-4A2E-B1BF-337DE1AA50A9}"/>
          </ac:picMkLst>
        </pc:picChg>
      </pc:sldChg>
      <pc:sldChg chg="addSp delSp modSp">
        <pc:chgData name="Garelli, Laura" userId="1e551577-4df6-4803-a76e-766a8bd95337" providerId="ADAL" clId="{30FFE9B7-399B-4CEF-8E31-238ABE30FDE4}" dt="2020-11-06T15:16:19.555" v="1611" actId="1076"/>
        <pc:sldMkLst>
          <pc:docMk/>
          <pc:sldMk cId="3053367004" sldId="415"/>
        </pc:sldMkLst>
        <pc:picChg chg="add mod">
          <ac:chgData name="Garelli, Laura" userId="1e551577-4df6-4803-a76e-766a8bd95337" providerId="ADAL" clId="{30FFE9B7-399B-4CEF-8E31-238ABE30FDE4}" dt="2020-11-06T15:16:19.555" v="1611" actId="1076"/>
          <ac:picMkLst>
            <pc:docMk/>
            <pc:sldMk cId="3053367004" sldId="415"/>
            <ac:picMk id="2" creationId="{8F740F9F-2EA7-4AE7-861F-7831950C3124}"/>
          </ac:picMkLst>
        </pc:picChg>
        <pc:picChg chg="del">
          <ac:chgData name="Garelli, Laura" userId="1e551577-4df6-4803-a76e-766a8bd95337" providerId="ADAL" clId="{30FFE9B7-399B-4CEF-8E31-238ABE30FDE4}" dt="2020-11-06T15:16:11.153" v="1609" actId="478"/>
          <ac:picMkLst>
            <pc:docMk/>
            <pc:sldMk cId="3053367004" sldId="415"/>
            <ac:picMk id="7" creationId="{445E45E8-78D3-46B6-92F2-5C5B4EEC5730}"/>
          </ac:picMkLst>
        </pc:picChg>
      </pc:sldChg>
      <pc:sldChg chg="modSp">
        <pc:chgData name="Garelli, Laura" userId="1e551577-4df6-4803-a76e-766a8bd95337" providerId="ADAL" clId="{30FFE9B7-399B-4CEF-8E31-238ABE30FDE4}" dt="2020-11-06T15:11:18.979" v="1608" actId="5793"/>
        <pc:sldMkLst>
          <pc:docMk/>
          <pc:sldMk cId="2729829060" sldId="416"/>
        </pc:sldMkLst>
        <pc:spChg chg="mod">
          <ac:chgData name="Garelli, Laura" userId="1e551577-4df6-4803-a76e-766a8bd95337" providerId="ADAL" clId="{30FFE9B7-399B-4CEF-8E31-238ABE30FDE4}" dt="2020-11-06T15:11:18.979" v="1608" actId="5793"/>
          <ac:spMkLst>
            <pc:docMk/>
            <pc:sldMk cId="2729829060" sldId="416"/>
            <ac:spMk id="8" creationId="{1453F045-EF1A-49CA-9FA0-FCD6494F41AB}"/>
          </ac:spMkLst>
        </pc:spChg>
      </pc:sldChg>
      <pc:sldChg chg="add del">
        <pc:chgData name="Garelli, Laura" userId="1e551577-4df6-4803-a76e-766a8bd95337" providerId="ADAL" clId="{30FFE9B7-399B-4CEF-8E31-238ABE30FDE4}" dt="2020-11-06T15:00:16.156" v="1246" actId="2696"/>
        <pc:sldMkLst>
          <pc:docMk/>
          <pc:sldMk cId="203560829" sldId="417"/>
        </pc:sldMkLst>
      </pc:sldChg>
    </pc:docChg>
  </pc:docChgLst>
  <pc:docChgLst>
    <pc:chgData name="Villani, Giuseppe" userId="c21e208e-ed94-4a75-8ac3-2b4db75b15a2" providerId="ADAL" clId="{84F7C51B-4EDE-4081-A20C-762854AC1C5E}"/>
    <pc:docChg chg="modSld sldOrd">
      <pc:chgData name="Villani, Giuseppe" userId="c21e208e-ed94-4a75-8ac3-2b4db75b15a2" providerId="ADAL" clId="{84F7C51B-4EDE-4081-A20C-762854AC1C5E}" dt="2020-11-10T16:40:56.105" v="0"/>
      <pc:docMkLst>
        <pc:docMk/>
      </pc:docMkLst>
      <pc:sldChg chg="ord">
        <pc:chgData name="Villani, Giuseppe" userId="c21e208e-ed94-4a75-8ac3-2b4db75b15a2" providerId="ADAL" clId="{84F7C51B-4EDE-4081-A20C-762854AC1C5E}" dt="2020-11-10T16:40:56.105" v="0"/>
        <pc:sldMkLst>
          <pc:docMk/>
          <pc:sldMk cId="0" sldId="257"/>
        </pc:sldMkLst>
      </pc:sldChg>
    </pc:docChg>
  </pc:docChgLst>
  <pc:docChgLst>
    <pc:chgData name="Garelli, Laura" userId="1e551577-4df6-4803-a76e-766a8bd95337" providerId="ADAL" clId="{D458BAFD-BBC3-4FD0-BDF2-C150A66961E8}"/>
    <pc:docChg chg="modSld">
      <pc:chgData name="Garelli, Laura" userId="1e551577-4df6-4803-a76e-766a8bd95337" providerId="ADAL" clId="{D458BAFD-BBC3-4FD0-BDF2-C150A66961E8}" dt="2020-11-18T05:54:13.836" v="1" actId="164"/>
      <pc:docMkLst>
        <pc:docMk/>
      </pc:docMkLst>
      <pc:sldChg chg="addSp modSp">
        <pc:chgData name="Garelli, Laura" userId="1e551577-4df6-4803-a76e-766a8bd95337" providerId="ADAL" clId="{D458BAFD-BBC3-4FD0-BDF2-C150A66961E8}" dt="2020-11-18T05:54:13.836" v="1" actId="164"/>
        <pc:sldMkLst>
          <pc:docMk/>
          <pc:sldMk cId="0" sldId="311"/>
        </pc:sldMkLst>
        <pc:spChg chg="mod">
          <ac:chgData name="Garelli, Laura" userId="1e551577-4df6-4803-a76e-766a8bd95337" providerId="ADAL" clId="{D458BAFD-BBC3-4FD0-BDF2-C150A66961E8}" dt="2020-11-18T05:54:13.836" v="1" actId="164"/>
          <ac:spMkLst>
            <pc:docMk/>
            <pc:sldMk cId="0" sldId="311"/>
            <ac:spMk id="3" creationId="{00000000-0000-0000-0000-000000000000}"/>
          </ac:spMkLst>
        </pc:spChg>
        <pc:spChg chg="mod">
          <ac:chgData name="Garelli, Laura" userId="1e551577-4df6-4803-a76e-766a8bd95337" providerId="ADAL" clId="{D458BAFD-BBC3-4FD0-BDF2-C150A66961E8}" dt="2020-11-18T05:54:13.836" v="1" actId="164"/>
          <ac:spMkLst>
            <pc:docMk/>
            <pc:sldMk cId="0" sldId="311"/>
            <ac:spMk id="4" creationId="{00000000-0000-0000-0000-000000000000}"/>
          </ac:spMkLst>
        </pc:spChg>
        <pc:spChg chg="mod">
          <ac:chgData name="Garelli, Laura" userId="1e551577-4df6-4803-a76e-766a8bd95337" providerId="ADAL" clId="{D458BAFD-BBC3-4FD0-BDF2-C150A66961E8}" dt="2020-11-18T05:54:13.836" v="1" actId="164"/>
          <ac:spMkLst>
            <pc:docMk/>
            <pc:sldMk cId="0" sldId="311"/>
            <ac:spMk id="5" creationId="{00000000-0000-0000-0000-000000000000}"/>
          </ac:spMkLst>
        </pc:spChg>
        <pc:spChg chg="mod">
          <ac:chgData name="Garelli, Laura" userId="1e551577-4df6-4803-a76e-766a8bd95337" providerId="ADAL" clId="{D458BAFD-BBC3-4FD0-BDF2-C150A66961E8}" dt="2020-11-18T05:54:13.836" v="1" actId="164"/>
          <ac:spMkLst>
            <pc:docMk/>
            <pc:sldMk cId="0" sldId="311"/>
            <ac:spMk id="6" creationId="{00000000-0000-0000-0000-000000000000}"/>
          </ac:spMkLst>
        </pc:spChg>
        <pc:spChg chg="mod">
          <ac:chgData name="Garelli, Laura" userId="1e551577-4df6-4803-a76e-766a8bd95337" providerId="ADAL" clId="{D458BAFD-BBC3-4FD0-BDF2-C150A66961E8}" dt="2020-11-18T05:54:13.836" v="1" actId="164"/>
          <ac:spMkLst>
            <pc:docMk/>
            <pc:sldMk cId="0" sldId="311"/>
            <ac:spMk id="7" creationId="{00000000-0000-0000-0000-000000000000}"/>
          </ac:spMkLst>
        </pc:spChg>
        <pc:spChg chg="mod">
          <ac:chgData name="Garelli, Laura" userId="1e551577-4df6-4803-a76e-766a8bd95337" providerId="ADAL" clId="{D458BAFD-BBC3-4FD0-BDF2-C150A66961E8}" dt="2020-11-18T05:54:13.836" v="1" actId="164"/>
          <ac:spMkLst>
            <pc:docMk/>
            <pc:sldMk cId="0" sldId="311"/>
            <ac:spMk id="8" creationId="{00000000-0000-0000-0000-000000000000}"/>
          </ac:spMkLst>
        </pc:spChg>
        <pc:spChg chg="mod">
          <ac:chgData name="Garelli, Laura" userId="1e551577-4df6-4803-a76e-766a8bd95337" providerId="ADAL" clId="{D458BAFD-BBC3-4FD0-BDF2-C150A66961E8}" dt="2020-11-18T05:54:13.836" v="1" actId="164"/>
          <ac:spMkLst>
            <pc:docMk/>
            <pc:sldMk cId="0" sldId="311"/>
            <ac:spMk id="9" creationId="{00000000-0000-0000-0000-000000000000}"/>
          </ac:spMkLst>
        </pc:spChg>
        <pc:spChg chg="mod">
          <ac:chgData name="Garelli, Laura" userId="1e551577-4df6-4803-a76e-766a8bd95337" providerId="ADAL" clId="{D458BAFD-BBC3-4FD0-BDF2-C150A66961E8}" dt="2020-11-18T05:54:13.836" v="1" actId="164"/>
          <ac:spMkLst>
            <pc:docMk/>
            <pc:sldMk cId="0" sldId="311"/>
            <ac:spMk id="10" creationId="{00000000-0000-0000-0000-000000000000}"/>
          </ac:spMkLst>
        </pc:spChg>
        <pc:spChg chg="mod">
          <ac:chgData name="Garelli, Laura" userId="1e551577-4df6-4803-a76e-766a8bd95337" providerId="ADAL" clId="{D458BAFD-BBC3-4FD0-BDF2-C150A66961E8}" dt="2020-11-18T05:54:13.836" v="1" actId="164"/>
          <ac:spMkLst>
            <pc:docMk/>
            <pc:sldMk cId="0" sldId="311"/>
            <ac:spMk id="11" creationId="{00000000-0000-0000-0000-000000000000}"/>
          </ac:spMkLst>
        </pc:spChg>
        <pc:spChg chg="mod">
          <ac:chgData name="Garelli, Laura" userId="1e551577-4df6-4803-a76e-766a8bd95337" providerId="ADAL" clId="{D458BAFD-BBC3-4FD0-BDF2-C150A66961E8}" dt="2020-11-18T05:54:13.836" v="1" actId="164"/>
          <ac:spMkLst>
            <pc:docMk/>
            <pc:sldMk cId="0" sldId="311"/>
            <ac:spMk id="12" creationId="{00000000-0000-0000-0000-000000000000}"/>
          </ac:spMkLst>
        </pc:spChg>
        <pc:spChg chg="mod">
          <ac:chgData name="Garelli, Laura" userId="1e551577-4df6-4803-a76e-766a8bd95337" providerId="ADAL" clId="{D458BAFD-BBC3-4FD0-BDF2-C150A66961E8}" dt="2020-11-18T05:54:13.836" v="1" actId="164"/>
          <ac:spMkLst>
            <pc:docMk/>
            <pc:sldMk cId="0" sldId="311"/>
            <ac:spMk id="13" creationId="{00000000-0000-0000-0000-000000000000}"/>
          </ac:spMkLst>
        </pc:spChg>
        <pc:spChg chg="mod">
          <ac:chgData name="Garelli, Laura" userId="1e551577-4df6-4803-a76e-766a8bd95337" providerId="ADAL" clId="{D458BAFD-BBC3-4FD0-BDF2-C150A66961E8}" dt="2020-11-18T05:54:13.836" v="1" actId="164"/>
          <ac:spMkLst>
            <pc:docMk/>
            <pc:sldMk cId="0" sldId="311"/>
            <ac:spMk id="14" creationId="{00000000-0000-0000-0000-000000000000}"/>
          </ac:spMkLst>
        </pc:spChg>
        <pc:spChg chg="mod">
          <ac:chgData name="Garelli, Laura" userId="1e551577-4df6-4803-a76e-766a8bd95337" providerId="ADAL" clId="{D458BAFD-BBC3-4FD0-BDF2-C150A66961E8}" dt="2020-11-18T05:54:13.836" v="1" actId="164"/>
          <ac:spMkLst>
            <pc:docMk/>
            <pc:sldMk cId="0" sldId="311"/>
            <ac:spMk id="15" creationId="{00000000-0000-0000-0000-000000000000}"/>
          </ac:spMkLst>
        </pc:spChg>
        <pc:spChg chg="mod">
          <ac:chgData name="Garelli, Laura" userId="1e551577-4df6-4803-a76e-766a8bd95337" providerId="ADAL" clId="{D458BAFD-BBC3-4FD0-BDF2-C150A66961E8}" dt="2020-11-18T05:54:13.836" v="1" actId="164"/>
          <ac:spMkLst>
            <pc:docMk/>
            <pc:sldMk cId="0" sldId="311"/>
            <ac:spMk id="16" creationId="{00000000-0000-0000-0000-000000000000}"/>
          </ac:spMkLst>
        </pc:spChg>
        <pc:spChg chg="mod">
          <ac:chgData name="Garelli, Laura" userId="1e551577-4df6-4803-a76e-766a8bd95337" providerId="ADAL" clId="{D458BAFD-BBC3-4FD0-BDF2-C150A66961E8}" dt="2020-11-18T05:54:13.836" v="1" actId="164"/>
          <ac:spMkLst>
            <pc:docMk/>
            <pc:sldMk cId="0" sldId="311"/>
            <ac:spMk id="17" creationId="{00000000-0000-0000-0000-000000000000}"/>
          </ac:spMkLst>
        </pc:spChg>
        <pc:spChg chg="mod">
          <ac:chgData name="Garelli, Laura" userId="1e551577-4df6-4803-a76e-766a8bd95337" providerId="ADAL" clId="{D458BAFD-BBC3-4FD0-BDF2-C150A66961E8}" dt="2020-11-18T05:54:13.836" v="1" actId="164"/>
          <ac:spMkLst>
            <pc:docMk/>
            <pc:sldMk cId="0" sldId="311"/>
            <ac:spMk id="18" creationId="{00000000-0000-0000-0000-000000000000}"/>
          </ac:spMkLst>
        </pc:spChg>
        <pc:spChg chg="mod">
          <ac:chgData name="Garelli, Laura" userId="1e551577-4df6-4803-a76e-766a8bd95337" providerId="ADAL" clId="{D458BAFD-BBC3-4FD0-BDF2-C150A66961E8}" dt="2020-11-18T05:54:13.836" v="1" actId="164"/>
          <ac:spMkLst>
            <pc:docMk/>
            <pc:sldMk cId="0" sldId="311"/>
            <ac:spMk id="19" creationId="{00000000-0000-0000-0000-000000000000}"/>
          </ac:spMkLst>
        </pc:spChg>
        <pc:spChg chg="mod">
          <ac:chgData name="Garelli, Laura" userId="1e551577-4df6-4803-a76e-766a8bd95337" providerId="ADAL" clId="{D458BAFD-BBC3-4FD0-BDF2-C150A66961E8}" dt="2020-11-18T05:54:13.836" v="1" actId="164"/>
          <ac:spMkLst>
            <pc:docMk/>
            <pc:sldMk cId="0" sldId="311"/>
            <ac:spMk id="20" creationId="{00000000-0000-0000-0000-000000000000}"/>
          </ac:spMkLst>
        </pc:spChg>
        <pc:spChg chg="mod">
          <ac:chgData name="Garelli, Laura" userId="1e551577-4df6-4803-a76e-766a8bd95337" providerId="ADAL" clId="{D458BAFD-BBC3-4FD0-BDF2-C150A66961E8}" dt="2020-11-18T05:54:13.836" v="1" actId="164"/>
          <ac:spMkLst>
            <pc:docMk/>
            <pc:sldMk cId="0" sldId="311"/>
            <ac:spMk id="21" creationId="{00000000-0000-0000-0000-000000000000}"/>
          </ac:spMkLst>
        </pc:spChg>
        <pc:spChg chg="mod">
          <ac:chgData name="Garelli, Laura" userId="1e551577-4df6-4803-a76e-766a8bd95337" providerId="ADAL" clId="{D458BAFD-BBC3-4FD0-BDF2-C150A66961E8}" dt="2020-11-18T05:54:13.836" v="1" actId="164"/>
          <ac:spMkLst>
            <pc:docMk/>
            <pc:sldMk cId="0" sldId="311"/>
            <ac:spMk id="22" creationId="{00000000-0000-0000-0000-000000000000}"/>
          </ac:spMkLst>
        </pc:spChg>
        <pc:spChg chg="mod">
          <ac:chgData name="Garelli, Laura" userId="1e551577-4df6-4803-a76e-766a8bd95337" providerId="ADAL" clId="{D458BAFD-BBC3-4FD0-BDF2-C150A66961E8}" dt="2020-11-18T05:54:13.836" v="1" actId="164"/>
          <ac:spMkLst>
            <pc:docMk/>
            <pc:sldMk cId="0" sldId="311"/>
            <ac:spMk id="23" creationId="{00000000-0000-0000-0000-000000000000}"/>
          </ac:spMkLst>
        </pc:spChg>
        <pc:spChg chg="mod">
          <ac:chgData name="Garelli, Laura" userId="1e551577-4df6-4803-a76e-766a8bd95337" providerId="ADAL" clId="{D458BAFD-BBC3-4FD0-BDF2-C150A66961E8}" dt="2020-11-18T05:54:13.836" v="1" actId="164"/>
          <ac:spMkLst>
            <pc:docMk/>
            <pc:sldMk cId="0" sldId="311"/>
            <ac:spMk id="24" creationId="{00000000-0000-0000-0000-000000000000}"/>
          </ac:spMkLst>
        </pc:spChg>
        <pc:spChg chg="mod">
          <ac:chgData name="Garelli, Laura" userId="1e551577-4df6-4803-a76e-766a8bd95337" providerId="ADAL" clId="{D458BAFD-BBC3-4FD0-BDF2-C150A66961E8}" dt="2020-11-18T05:54:13.836" v="1" actId="164"/>
          <ac:spMkLst>
            <pc:docMk/>
            <pc:sldMk cId="0" sldId="311"/>
            <ac:spMk id="25" creationId="{00000000-0000-0000-0000-000000000000}"/>
          </ac:spMkLst>
        </pc:spChg>
        <pc:spChg chg="mod">
          <ac:chgData name="Garelli, Laura" userId="1e551577-4df6-4803-a76e-766a8bd95337" providerId="ADAL" clId="{D458BAFD-BBC3-4FD0-BDF2-C150A66961E8}" dt="2020-11-18T05:54:13.836" v="1" actId="164"/>
          <ac:spMkLst>
            <pc:docMk/>
            <pc:sldMk cId="0" sldId="311"/>
            <ac:spMk id="26" creationId="{00000000-0000-0000-0000-000000000000}"/>
          </ac:spMkLst>
        </pc:spChg>
        <pc:spChg chg="mod">
          <ac:chgData name="Garelli, Laura" userId="1e551577-4df6-4803-a76e-766a8bd95337" providerId="ADAL" clId="{D458BAFD-BBC3-4FD0-BDF2-C150A66961E8}" dt="2020-11-18T05:54:13.836" v="1" actId="164"/>
          <ac:spMkLst>
            <pc:docMk/>
            <pc:sldMk cId="0" sldId="311"/>
            <ac:spMk id="27" creationId="{00000000-0000-0000-0000-000000000000}"/>
          </ac:spMkLst>
        </pc:spChg>
        <pc:spChg chg="mod">
          <ac:chgData name="Garelli, Laura" userId="1e551577-4df6-4803-a76e-766a8bd95337" providerId="ADAL" clId="{D458BAFD-BBC3-4FD0-BDF2-C150A66961E8}" dt="2020-11-18T05:54:13.836" v="1" actId="164"/>
          <ac:spMkLst>
            <pc:docMk/>
            <pc:sldMk cId="0" sldId="311"/>
            <ac:spMk id="28" creationId="{00000000-0000-0000-0000-000000000000}"/>
          </ac:spMkLst>
        </pc:spChg>
        <pc:spChg chg="mod">
          <ac:chgData name="Garelli, Laura" userId="1e551577-4df6-4803-a76e-766a8bd95337" providerId="ADAL" clId="{D458BAFD-BBC3-4FD0-BDF2-C150A66961E8}" dt="2020-11-18T05:54:13.836" v="1" actId="164"/>
          <ac:spMkLst>
            <pc:docMk/>
            <pc:sldMk cId="0" sldId="311"/>
            <ac:spMk id="29" creationId="{00000000-0000-0000-0000-000000000000}"/>
          </ac:spMkLst>
        </pc:spChg>
        <pc:spChg chg="mod">
          <ac:chgData name="Garelli, Laura" userId="1e551577-4df6-4803-a76e-766a8bd95337" providerId="ADAL" clId="{D458BAFD-BBC3-4FD0-BDF2-C150A66961E8}" dt="2020-11-18T05:54:13.836" v="1" actId="164"/>
          <ac:spMkLst>
            <pc:docMk/>
            <pc:sldMk cId="0" sldId="311"/>
            <ac:spMk id="30" creationId="{00000000-0000-0000-0000-000000000000}"/>
          </ac:spMkLst>
        </pc:spChg>
        <pc:spChg chg="mod">
          <ac:chgData name="Garelli, Laura" userId="1e551577-4df6-4803-a76e-766a8bd95337" providerId="ADAL" clId="{D458BAFD-BBC3-4FD0-BDF2-C150A66961E8}" dt="2020-11-18T05:54:13.836" v="1" actId="164"/>
          <ac:spMkLst>
            <pc:docMk/>
            <pc:sldMk cId="0" sldId="311"/>
            <ac:spMk id="31" creationId="{00000000-0000-0000-0000-000000000000}"/>
          </ac:spMkLst>
        </pc:spChg>
        <pc:spChg chg="mod">
          <ac:chgData name="Garelli, Laura" userId="1e551577-4df6-4803-a76e-766a8bd95337" providerId="ADAL" clId="{D458BAFD-BBC3-4FD0-BDF2-C150A66961E8}" dt="2020-11-18T05:54:13.836" v="1" actId="164"/>
          <ac:spMkLst>
            <pc:docMk/>
            <pc:sldMk cId="0" sldId="311"/>
            <ac:spMk id="32" creationId="{00000000-0000-0000-0000-000000000000}"/>
          </ac:spMkLst>
        </pc:spChg>
        <pc:spChg chg="mod">
          <ac:chgData name="Garelli, Laura" userId="1e551577-4df6-4803-a76e-766a8bd95337" providerId="ADAL" clId="{D458BAFD-BBC3-4FD0-BDF2-C150A66961E8}" dt="2020-11-18T05:54:13.836" v="1" actId="164"/>
          <ac:spMkLst>
            <pc:docMk/>
            <pc:sldMk cId="0" sldId="311"/>
            <ac:spMk id="33" creationId="{00000000-0000-0000-0000-000000000000}"/>
          </ac:spMkLst>
        </pc:spChg>
        <pc:spChg chg="mod">
          <ac:chgData name="Garelli, Laura" userId="1e551577-4df6-4803-a76e-766a8bd95337" providerId="ADAL" clId="{D458BAFD-BBC3-4FD0-BDF2-C150A66961E8}" dt="2020-11-18T05:54:13.836" v="1" actId="164"/>
          <ac:spMkLst>
            <pc:docMk/>
            <pc:sldMk cId="0" sldId="311"/>
            <ac:spMk id="34" creationId="{00000000-0000-0000-0000-000000000000}"/>
          </ac:spMkLst>
        </pc:spChg>
        <pc:spChg chg="mod">
          <ac:chgData name="Garelli, Laura" userId="1e551577-4df6-4803-a76e-766a8bd95337" providerId="ADAL" clId="{D458BAFD-BBC3-4FD0-BDF2-C150A66961E8}" dt="2020-11-18T05:54:13.836" v="1" actId="164"/>
          <ac:spMkLst>
            <pc:docMk/>
            <pc:sldMk cId="0" sldId="311"/>
            <ac:spMk id="35" creationId="{00000000-0000-0000-0000-000000000000}"/>
          </ac:spMkLst>
        </pc:spChg>
        <pc:spChg chg="mod">
          <ac:chgData name="Garelli, Laura" userId="1e551577-4df6-4803-a76e-766a8bd95337" providerId="ADAL" clId="{D458BAFD-BBC3-4FD0-BDF2-C150A66961E8}" dt="2020-11-18T05:54:13.836" v="1" actId="164"/>
          <ac:spMkLst>
            <pc:docMk/>
            <pc:sldMk cId="0" sldId="311"/>
            <ac:spMk id="36" creationId="{00000000-0000-0000-0000-000000000000}"/>
          </ac:spMkLst>
        </pc:spChg>
        <pc:spChg chg="mod">
          <ac:chgData name="Garelli, Laura" userId="1e551577-4df6-4803-a76e-766a8bd95337" providerId="ADAL" clId="{D458BAFD-BBC3-4FD0-BDF2-C150A66961E8}" dt="2020-11-18T05:54:13.836" v="1" actId="164"/>
          <ac:spMkLst>
            <pc:docMk/>
            <pc:sldMk cId="0" sldId="311"/>
            <ac:spMk id="37" creationId="{00000000-0000-0000-0000-000000000000}"/>
          </ac:spMkLst>
        </pc:spChg>
        <pc:spChg chg="mod">
          <ac:chgData name="Garelli, Laura" userId="1e551577-4df6-4803-a76e-766a8bd95337" providerId="ADAL" clId="{D458BAFD-BBC3-4FD0-BDF2-C150A66961E8}" dt="2020-11-18T05:54:13.836" v="1" actId="164"/>
          <ac:spMkLst>
            <pc:docMk/>
            <pc:sldMk cId="0" sldId="311"/>
            <ac:spMk id="38" creationId="{00000000-0000-0000-0000-000000000000}"/>
          </ac:spMkLst>
        </pc:spChg>
        <pc:spChg chg="mod">
          <ac:chgData name="Garelli, Laura" userId="1e551577-4df6-4803-a76e-766a8bd95337" providerId="ADAL" clId="{D458BAFD-BBC3-4FD0-BDF2-C150A66961E8}" dt="2020-11-18T05:54:13.836" v="1" actId="164"/>
          <ac:spMkLst>
            <pc:docMk/>
            <pc:sldMk cId="0" sldId="311"/>
            <ac:spMk id="39" creationId="{00000000-0000-0000-0000-000000000000}"/>
          </ac:spMkLst>
        </pc:spChg>
        <pc:spChg chg="mod">
          <ac:chgData name="Garelli, Laura" userId="1e551577-4df6-4803-a76e-766a8bd95337" providerId="ADAL" clId="{D458BAFD-BBC3-4FD0-BDF2-C150A66961E8}" dt="2020-11-18T05:54:13.836" v="1" actId="164"/>
          <ac:spMkLst>
            <pc:docMk/>
            <pc:sldMk cId="0" sldId="311"/>
            <ac:spMk id="40" creationId="{00000000-0000-0000-0000-000000000000}"/>
          </ac:spMkLst>
        </pc:spChg>
        <pc:spChg chg="mod">
          <ac:chgData name="Garelli, Laura" userId="1e551577-4df6-4803-a76e-766a8bd95337" providerId="ADAL" clId="{D458BAFD-BBC3-4FD0-BDF2-C150A66961E8}" dt="2020-11-18T05:54:13.836" v="1" actId="164"/>
          <ac:spMkLst>
            <pc:docMk/>
            <pc:sldMk cId="0" sldId="311"/>
            <ac:spMk id="41" creationId="{00000000-0000-0000-0000-000000000000}"/>
          </ac:spMkLst>
        </pc:spChg>
        <pc:spChg chg="mod">
          <ac:chgData name="Garelli, Laura" userId="1e551577-4df6-4803-a76e-766a8bd95337" providerId="ADAL" clId="{D458BAFD-BBC3-4FD0-BDF2-C150A66961E8}" dt="2020-11-18T05:54:13.836" v="1" actId="164"/>
          <ac:spMkLst>
            <pc:docMk/>
            <pc:sldMk cId="0" sldId="311"/>
            <ac:spMk id="42" creationId="{00000000-0000-0000-0000-000000000000}"/>
          </ac:spMkLst>
        </pc:spChg>
        <pc:spChg chg="mod">
          <ac:chgData name="Garelli, Laura" userId="1e551577-4df6-4803-a76e-766a8bd95337" providerId="ADAL" clId="{D458BAFD-BBC3-4FD0-BDF2-C150A66961E8}" dt="2020-11-18T05:54:13.836" v="1" actId="164"/>
          <ac:spMkLst>
            <pc:docMk/>
            <pc:sldMk cId="0" sldId="311"/>
            <ac:spMk id="43" creationId="{00000000-0000-0000-0000-000000000000}"/>
          </ac:spMkLst>
        </pc:spChg>
        <pc:spChg chg="mod">
          <ac:chgData name="Garelli, Laura" userId="1e551577-4df6-4803-a76e-766a8bd95337" providerId="ADAL" clId="{D458BAFD-BBC3-4FD0-BDF2-C150A66961E8}" dt="2020-11-18T05:54:13.836" v="1" actId="164"/>
          <ac:spMkLst>
            <pc:docMk/>
            <pc:sldMk cId="0" sldId="311"/>
            <ac:spMk id="44" creationId="{00000000-0000-0000-0000-000000000000}"/>
          </ac:spMkLst>
        </pc:spChg>
        <pc:spChg chg="mod">
          <ac:chgData name="Garelli, Laura" userId="1e551577-4df6-4803-a76e-766a8bd95337" providerId="ADAL" clId="{D458BAFD-BBC3-4FD0-BDF2-C150A66961E8}" dt="2020-11-18T05:54:13.836" v="1" actId="164"/>
          <ac:spMkLst>
            <pc:docMk/>
            <pc:sldMk cId="0" sldId="311"/>
            <ac:spMk id="45" creationId="{00000000-0000-0000-0000-000000000000}"/>
          </ac:spMkLst>
        </pc:spChg>
        <pc:spChg chg="mod">
          <ac:chgData name="Garelli, Laura" userId="1e551577-4df6-4803-a76e-766a8bd95337" providerId="ADAL" clId="{D458BAFD-BBC3-4FD0-BDF2-C150A66961E8}" dt="2020-11-18T05:54:13.836" v="1" actId="164"/>
          <ac:spMkLst>
            <pc:docMk/>
            <pc:sldMk cId="0" sldId="311"/>
            <ac:spMk id="46" creationId="{00000000-0000-0000-0000-000000000000}"/>
          </ac:spMkLst>
        </pc:spChg>
        <pc:spChg chg="mod">
          <ac:chgData name="Garelli, Laura" userId="1e551577-4df6-4803-a76e-766a8bd95337" providerId="ADAL" clId="{D458BAFD-BBC3-4FD0-BDF2-C150A66961E8}" dt="2020-11-18T05:54:13.836" v="1" actId="164"/>
          <ac:spMkLst>
            <pc:docMk/>
            <pc:sldMk cId="0" sldId="311"/>
            <ac:spMk id="47" creationId="{00000000-0000-0000-0000-000000000000}"/>
          </ac:spMkLst>
        </pc:spChg>
        <pc:spChg chg="mod">
          <ac:chgData name="Garelli, Laura" userId="1e551577-4df6-4803-a76e-766a8bd95337" providerId="ADAL" clId="{D458BAFD-BBC3-4FD0-BDF2-C150A66961E8}" dt="2020-11-18T05:54:13.836" v="1" actId="164"/>
          <ac:spMkLst>
            <pc:docMk/>
            <pc:sldMk cId="0" sldId="311"/>
            <ac:spMk id="48" creationId="{00000000-0000-0000-0000-000000000000}"/>
          </ac:spMkLst>
        </pc:spChg>
        <pc:grpChg chg="add mod">
          <ac:chgData name="Garelli, Laura" userId="1e551577-4df6-4803-a76e-766a8bd95337" providerId="ADAL" clId="{D458BAFD-BBC3-4FD0-BDF2-C150A66961E8}" dt="2020-11-18T05:54:13.836" v="1" actId="164"/>
          <ac:grpSpMkLst>
            <pc:docMk/>
            <pc:sldMk cId="0" sldId="311"/>
            <ac:grpSpMk id="51" creationId="{7A79C0EF-4876-4316-8EA0-8E942F1B2277}"/>
          </ac:grpSpMkLst>
        </pc:grpChg>
      </pc:sldChg>
      <pc:sldChg chg="addSp modSp">
        <pc:chgData name="Garelli, Laura" userId="1e551577-4df6-4803-a76e-766a8bd95337" providerId="ADAL" clId="{D458BAFD-BBC3-4FD0-BDF2-C150A66961E8}" dt="2020-11-18T05:37:01.237" v="0" actId="164"/>
        <pc:sldMkLst>
          <pc:docMk/>
          <pc:sldMk cId="0" sldId="317"/>
        </pc:sldMkLst>
        <pc:spChg chg="mod">
          <ac:chgData name="Garelli, Laura" userId="1e551577-4df6-4803-a76e-766a8bd95337" providerId="ADAL" clId="{D458BAFD-BBC3-4FD0-BDF2-C150A66961E8}" dt="2020-11-18T05:37:01.237" v="0" actId="164"/>
          <ac:spMkLst>
            <pc:docMk/>
            <pc:sldMk cId="0" sldId="317"/>
            <ac:spMk id="2" creationId="{00000000-0000-0000-0000-000000000000}"/>
          </ac:spMkLst>
        </pc:spChg>
        <pc:spChg chg="mod">
          <ac:chgData name="Garelli, Laura" userId="1e551577-4df6-4803-a76e-766a8bd95337" providerId="ADAL" clId="{D458BAFD-BBC3-4FD0-BDF2-C150A66961E8}" dt="2020-11-18T05:37:01.237" v="0" actId="164"/>
          <ac:spMkLst>
            <pc:docMk/>
            <pc:sldMk cId="0" sldId="317"/>
            <ac:spMk id="3" creationId="{00000000-0000-0000-0000-000000000000}"/>
          </ac:spMkLst>
        </pc:spChg>
        <pc:spChg chg="mod">
          <ac:chgData name="Garelli, Laura" userId="1e551577-4df6-4803-a76e-766a8bd95337" providerId="ADAL" clId="{D458BAFD-BBC3-4FD0-BDF2-C150A66961E8}" dt="2020-11-18T05:37:01.237" v="0" actId="164"/>
          <ac:spMkLst>
            <pc:docMk/>
            <pc:sldMk cId="0" sldId="317"/>
            <ac:spMk id="4" creationId="{00000000-0000-0000-0000-000000000000}"/>
          </ac:spMkLst>
        </pc:spChg>
        <pc:spChg chg="mod">
          <ac:chgData name="Garelli, Laura" userId="1e551577-4df6-4803-a76e-766a8bd95337" providerId="ADAL" clId="{D458BAFD-BBC3-4FD0-BDF2-C150A66961E8}" dt="2020-11-18T05:37:01.237" v="0" actId="164"/>
          <ac:spMkLst>
            <pc:docMk/>
            <pc:sldMk cId="0" sldId="317"/>
            <ac:spMk id="5" creationId="{00000000-0000-0000-0000-000000000000}"/>
          </ac:spMkLst>
        </pc:spChg>
        <pc:spChg chg="mod">
          <ac:chgData name="Garelli, Laura" userId="1e551577-4df6-4803-a76e-766a8bd95337" providerId="ADAL" clId="{D458BAFD-BBC3-4FD0-BDF2-C150A66961E8}" dt="2020-11-18T05:37:01.237" v="0" actId="164"/>
          <ac:spMkLst>
            <pc:docMk/>
            <pc:sldMk cId="0" sldId="317"/>
            <ac:spMk id="7" creationId="{00000000-0000-0000-0000-000000000000}"/>
          </ac:spMkLst>
        </pc:spChg>
        <pc:spChg chg="mod">
          <ac:chgData name="Garelli, Laura" userId="1e551577-4df6-4803-a76e-766a8bd95337" providerId="ADAL" clId="{D458BAFD-BBC3-4FD0-BDF2-C150A66961E8}" dt="2020-11-18T05:37:01.237" v="0" actId="164"/>
          <ac:spMkLst>
            <pc:docMk/>
            <pc:sldMk cId="0" sldId="317"/>
            <ac:spMk id="8" creationId="{00000000-0000-0000-0000-000000000000}"/>
          </ac:spMkLst>
        </pc:spChg>
        <pc:spChg chg="mod">
          <ac:chgData name="Garelli, Laura" userId="1e551577-4df6-4803-a76e-766a8bd95337" providerId="ADAL" clId="{D458BAFD-BBC3-4FD0-BDF2-C150A66961E8}" dt="2020-11-18T05:37:01.237" v="0" actId="164"/>
          <ac:spMkLst>
            <pc:docMk/>
            <pc:sldMk cId="0" sldId="317"/>
            <ac:spMk id="9"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 creationId="{00000000-0000-0000-0000-000000000000}"/>
          </ac:spMkLst>
        </pc:spChg>
        <pc:spChg chg="mod">
          <ac:chgData name="Garelli, Laura" userId="1e551577-4df6-4803-a76e-766a8bd95337" providerId="ADAL" clId="{D458BAFD-BBC3-4FD0-BDF2-C150A66961E8}" dt="2020-11-18T05:37:01.237" v="0" actId="164"/>
          <ac:spMkLst>
            <pc:docMk/>
            <pc:sldMk cId="0" sldId="317"/>
            <ac:spMk id="12" creationId="{00000000-0000-0000-0000-000000000000}"/>
          </ac:spMkLst>
        </pc:spChg>
        <pc:spChg chg="mod">
          <ac:chgData name="Garelli, Laura" userId="1e551577-4df6-4803-a76e-766a8bd95337" providerId="ADAL" clId="{D458BAFD-BBC3-4FD0-BDF2-C150A66961E8}" dt="2020-11-18T05:37:01.237" v="0" actId="164"/>
          <ac:spMkLst>
            <pc:docMk/>
            <pc:sldMk cId="0" sldId="317"/>
            <ac:spMk id="13" creationId="{00000000-0000-0000-0000-000000000000}"/>
          </ac:spMkLst>
        </pc:spChg>
        <pc:spChg chg="mod">
          <ac:chgData name="Garelli, Laura" userId="1e551577-4df6-4803-a76e-766a8bd95337" providerId="ADAL" clId="{D458BAFD-BBC3-4FD0-BDF2-C150A66961E8}" dt="2020-11-18T05:37:01.237" v="0" actId="164"/>
          <ac:spMkLst>
            <pc:docMk/>
            <pc:sldMk cId="0" sldId="317"/>
            <ac:spMk id="14" creationId="{00000000-0000-0000-0000-000000000000}"/>
          </ac:spMkLst>
        </pc:spChg>
        <pc:spChg chg="mod">
          <ac:chgData name="Garelli, Laura" userId="1e551577-4df6-4803-a76e-766a8bd95337" providerId="ADAL" clId="{D458BAFD-BBC3-4FD0-BDF2-C150A66961E8}" dt="2020-11-18T05:37:01.237" v="0" actId="164"/>
          <ac:spMkLst>
            <pc:docMk/>
            <pc:sldMk cId="0" sldId="317"/>
            <ac:spMk id="15" creationId="{00000000-0000-0000-0000-000000000000}"/>
          </ac:spMkLst>
        </pc:spChg>
        <pc:spChg chg="mod">
          <ac:chgData name="Garelli, Laura" userId="1e551577-4df6-4803-a76e-766a8bd95337" providerId="ADAL" clId="{D458BAFD-BBC3-4FD0-BDF2-C150A66961E8}" dt="2020-11-18T05:37:01.237" v="0" actId="164"/>
          <ac:spMkLst>
            <pc:docMk/>
            <pc:sldMk cId="0" sldId="317"/>
            <ac:spMk id="16" creationId="{00000000-0000-0000-0000-000000000000}"/>
          </ac:spMkLst>
        </pc:spChg>
        <pc:spChg chg="mod">
          <ac:chgData name="Garelli, Laura" userId="1e551577-4df6-4803-a76e-766a8bd95337" providerId="ADAL" clId="{D458BAFD-BBC3-4FD0-BDF2-C150A66961E8}" dt="2020-11-18T05:37:01.237" v="0" actId="164"/>
          <ac:spMkLst>
            <pc:docMk/>
            <pc:sldMk cId="0" sldId="317"/>
            <ac:spMk id="17" creationId="{00000000-0000-0000-0000-000000000000}"/>
          </ac:spMkLst>
        </pc:spChg>
        <pc:spChg chg="mod">
          <ac:chgData name="Garelli, Laura" userId="1e551577-4df6-4803-a76e-766a8bd95337" providerId="ADAL" clId="{D458BAFD-BBC3-4FD0-BDF2-C150A66961E8}" dt="2020-11-18T05:37:01.237" v="0" actId="164"/>
          <ac:spMkLst>
            <pc:docMk/>
            <pc:sldMk cId="0" sldId="317"/>
            <ac:spMk id="18" creationId="{00000000-0000-0000-0000-000000000000}"/>
          </ac:spMkLst>
        </pc:spChg>
        <pc:spChg chg="mod">
          <ac:chgData name="Garelli, Laura" userId="1e551577-4df6-4803-a76e-766a8bd95337" providerId="ADAL" clId="{D458BAFD-BBC3-4FD0-BDF2-C150A66961E8}" dt="2020-11-18T05:37:01.237" v="0" actId="164"/>
          <ac:spMkLst>
            <pc:docMk/>
            <pc:sldMk cId="0" sldId="317"/>
            <ac:spMk id="19" creationId="{00000000-0000-0000-0000-000000000000}"/>
          </ac:spMkLst>
        </pc:spChg>
        <pc:spChg chg="mod">
          <ac:chgData name="Garelli, Laura" userId="1e551577-4df6-4803-a76e-766a8bd95337" providerId="ADAL" clId="{D458BAFD-BBC3-4FD0-BDF2-C150A66961E8}" dt="2020-11-18T05:37:01.237" v="0" actId="164"/>
          <ac:spMkLst>
            <pc:docMk/>
            <pc:sldMk cId="0" sldId="317"/>
            <ac:spMk id="20" creationId="{00000000-0000-0000-0000-000000000000}"/>
          </ac:spMkLst>
        </pc:spChg>
        <pc:spChg chg="mod">
          <ac:chgData name="Garelli, Laura" userId="1e551577-4df6-4803-a76e-766a8bd95337" providerId="ADAL" clId="{D458BAFD-BBC3-4FD0-BDF2-C150A66961E8}" dt="2020-11-18T05:37:01.237" v="0" actId="164"/>
          <ac:spMkLst>
            <pc:docMk/>
            <pc:sldMk cId="0" sldId="317"/>
            <ac:spMk id="21" creationId="{00000000-0000-0000-0000-000000000000}"/>
          </ac:spMkLst>
        </pc:spChg>
        <pc:spChg chg="mod">
          <ac:chgData name="Garelli, Laura" userId="1e551577-4df6-4803-a76e-766a8bd95337" providerId="ADAL" clId="{D458BAFD-BBC3-4FD0-BDF2-C150A66961E8}" dt="2020-11-18T05:37:01.237" v="0" actId="164"/>
          <ac:spMkLst>
            <pc:docMk/>
            <pc:sldMk cId="0" sldId="317"/>
            <ac:spMk id="22" creationId="{00000000-0000-0000-0000-000000000000}"/>
          </ac:spMkLst>
        </pc:spChg>
        <pc:spChg chg="mod">
          <ac:chgData name="Garelli, Laura" userId="1e551577-4df6-4803-a76e-766a8bd95337" providerId="ADAL" clId="{D458BAFD-BBC3-4FD0-BDF2-C150A66961E8}" dt="2020-11-18T05:37:01.237" v="0" actId="164"/>
          <ac:spMkLst>
            <pc:docMk/>
            <pc:sldMk cId="0" sldId="317"/>
            <ac:spMk id="23" creationId="{00000000-0000-0000-0000-000000000000}"/>
          </ac:spMkLst>
        </pc:spChg>
        <pc:spChg chg="mod">
          <ac:chgData name="Garelli, Laura" userId="1e551577-4df6-4803-a76e-766a8bd95337" providerId="ADAL" clId="{D458BAFD-BBC3-4FD0-BDF2-C150A66961E8}" dt="2020-11-18T05:37:01.237" v="0" actId="164"/>
          <ac:spMkLst>
            <pc:docMk/>
            <pc:sldMk cId="0" sldId="317"/>
            <ac:spMk id="24" creationId="{00000000-0000-0000-0000-000000000000}"/>
          </ac:spMkLst>
        </pc:spChg>
        <pc:spChg chg="mod">
          <ac:chgData name="Garelli, Laura" userId="1e551577-4df6-4803-a76e-766a8bd95337" providerId="ADAL" clId="{D458BAFD-BBC3-4FD0-BDF2-C150A66961E8}" dt="2020-11-18T05:37:01.237" v="0" actId="164"/>
          <ac:spMkLst>
            <pc:docMk/>
            <pc:sldMk cId="0" sldId="317"/>
            <ac:spMk id="25" creationId="{00000000-0000-0000-0000-000000000000}"/>
          </ac:spMkLst>
        </pc:spChg>
        <pc:spChg chg="mod">
          <ac:chgData name="Garelli, Laura" userId="1e551577-4df6-4803-a76e-766a8bd95337" providerId="ADAL" clId="{D458BAFD-BBC3-4FD0-BDF2-C150A66961E8}" dt="2020-11-18T05:37:01.237" v="0" actId="164"/>
          <ac:spMkLst>
            <pc:docMk/>
            <pc:sldMk cId="0" sldId="317"/>
            <ac:spMk id="26" creationId="{00000000-0000-0000-0000-000000000000}"/>
          </ac:spMkLst>
        </pc:spChg>
        <pc:spChg chg="mod">
          <ac:chgData name="Garelli, Laura" userId="1e551577-4df6-4803-a76e-766a8bd95337" providerId="ADAL" clId="{D458BAFD-BBC3-4FD0-BDF2-C150A66961E8}" dt="2020-11-18T05:37:01.237" v="0" actId="164"/>
          <ac:spMkLst>
            <pc:docMk/>
            <pc:sldMk cId="0" sldId="317"/>
            <ac:spMk id="27" creationId="{00000000-0000-0000-0000-000000000000}"/>
          </ac:spMkLst>
        </pc:spChg>
        <pc:spChg chg="mod">
          <ac:chgData name="Garelli, Laura" userId="1e551577-4df6-4803-a76e-766a8bd95337" providerId="ADAL" clId="{D458BAFD-BBC3-4FD0-BDF2-C150A66961E8}" dt="2020-11-18T05:37:01.237" v="0" actId="164"/>
          <ac:spMkLst>
            <pc:docMk/>
            <pc:sldMk cId="0" sldId="317"/>
            <ac:spMk id="28" creationId="{00000000-0000-0000-0000-000000000000}"/>
          </ac:spMkLst>
        </pc:spChg>
        <pc:spChg chg="mod">
          <ac:chgData name="Garelli, Laura" userId="1e551577-4df6-4803-a76e-766a8bd95337" providerId="ADAL" clId="{D458BAFD-BBC3-4FD0-BDF2-C150A66961E8}" dt="2020-11-18T05:37:01.237" v="0" actId="164"/>
          <ac:spMkLst>
            <pc:docMk/>
            <pc:sldMk cId="0" sldId="317"/>
            <ac:spMk id="29" creationId="{00000000-0000-0000-0000-000000000000}"/>
          </ac:spMkLst>
        </pc:spChg>
        <pc:spChg chg="mod">
          <ac:chgData name="Garelli, Laura" userId="1e551577-4df6-4803-a76e-766a8bd95337" providerId="ADAL" clId="{D458BAFD-BBC3-4FD0-BDF2-C150A66961E8}" dt="2020-11-18T05:37:01.237" v="0" actId="164"/>
          <ac:spMkLst>
            <pc:docMk/>
            <pc:sldMk cId="0" sldId="317"/>
            <ac:spMk id="30" creationId="{00000000-0000-0000-0000-000000000000}"/>
          </ac:spMkLst>
        </pc:spChg>
        <pc:spChg chg="mod">
          <ac:chgData name="Garelli, Laura" userId="1e551577-4df6-4803-a76e-766a8bd95337" providerId="ADAL" clId="{D458BAFD-BBC3-4FD0-BDF2-C150A66961E8}" dt="2020-11-18T05:37:01.237" v="0" actId="164"/>
          <ac:spMkLst>
            <pc:docMk/>
            <pc:sldMk cId="0" sldId="317"/>
            <ac:spMk id="31" creationId="{00000000-0000-0000-0000-000000000000}"/>
          </ac:spMkLst>
        </pc:spChg>
        <pc:spChg chg="mod">
          <ac:chgData name="Garelli, Laura" userId="1e551577-4df6-4803-a76e-766a8bd95337" providerId="ADAL" clId="{D458BAFD-BBC3-4FD0-BDF2-C150A66961E8}" dt="2020-11-18T05:37:01.237" v="0" actId="164"/>
          <ac:spMkLst>
            <pc:docMk/>
            <pc:sldMk cId="0" sldId="317"/>
            <ac:spMk id="32" creationId="{00000000-0000-0000-0000-000000000000}"/>
          </ac:spMkLst>
        </pc:spChg>
        <pc:spChg chg="mod">
          <ac:chgData name="Garelli, Laura" userId="1e551577-4df6-4803-a76e-766a8bd95337" providerId="ADAL" clId="{D458BAFD-BBC3-4FD0-BDF2-C150A66961E8}" dt="2020-11-18T05:37:01.237" v="0" actId="164"/>
          <ac:spMkLst>
            <pc:docMk/>
            <pc:sldMk cId="0" sldId="317"/>
            <ac:spMk id="33" creationId="{00000000-0000-0000-0000-000000000000}"/>
          </ac:spMkLst>
        </pc:spChg>
        <pc:spChg chg="mod">
          <ac:chgData name="Garelli, Laura" userId="1e551577-4df6-4803-a76e-766a8bd95337" providerId="ADAL" clId="{D458BAFD-BBC3-4FD0-BDF2-C150A66961E8}" dt="2020-11-18T05:37:01.237" v="0" actId="164"/>
          <ac:spMkLst>
            <pc:docMk/>
            <pc:sldMk cId="0" sldId="317"/>
            <ac:spMk id="34" creationId="{00000000-0000-0000-0000-000000000000}"/>
          </ac:spMkLst>
        </pc:spChg>
        <pc:spChg chg="mod">
          <ac:chgData name="Garelli, Laura" userId="1e551577-4df6-4803-a76e-766a8bd95337" providerId="ADAL" clId="{D458BAFD-BBC3-4FD0-BDF2-C150A66961E8}" dt="2020-11-18T05:37:01.237" v="0" actId="164"/>
          <ac:spMkLst>
            <pc:docMk/>
            <pc:sldMk cId="0" sldId="317"/>
            <ac:spMk id="35" creationId="{00000000-0000-0000-0000-000000000000}"/>
          </ac:spMkLst>
        </pc:spChg>
        <pc:spChg chg="mod">
          <ac:chgData name="Garelli, Laura" userId="1e551577-4df6-4803-a76e-766a8bd95337" providerId="ADAL" clId="{D458BAFD-BBC3-4FD0-BDF2-C150A66961E8}" dt="2020-11-18T05:37:01.237" v="0" actId="164"/>
          <ac:spMkLst>
            <pc:docMk/>
            <pc:sldMk cId="0" sldId="317"/>
            <ac:spMk id="36" creationId="{00000000-0000-0000-0000-000000000000}"/>
          </ac:spMkLst>
        </pc:spChg>
        <pc:spChg chg="mod">
          <ac:chgData name="Garelli, Laura" userId="1e551577-4df6-4803-a76e-766a8bd95337" providerId="ADAL" clId="{D458BAFD-BBC3-4FD0-BDF2-C150A66961E8}" dt="2020-11-18T05:37:01.237" v="0" actId="164"/>
          <ac:spMkLst>
            <pc:docMk/>
            <pc:sldMk cId="0" sldId="317"/>
            <ac:spMk id="37" creationId="{00000000-0000-0000-0000-000000000000}"/>
          </ac:spMkLst>
        </pc:spChg>
        <pc:spChg chg="mod">
          <ac:chgData name="Garelli, Laura" userId="1e551577-4df6-4803-a76e-766a8bd95337" providerId="ADAL" clId="{D458BAFD-BBC3-4FD0-BDF2-C150A66961E8}" dt="2020-11-18T05:37:01.237" v="0" actId="164"/>
          <ac:spMkLst>
            <pc:docMk/>
            <pc:sldMk cId="0" sldId="317"/>
            <ac:spMk id="38" creationId="{00000000-0000-0000-0000-000000000000}"/>
          </ac:spMkLst>
        </pc:spChg>
        <pc:spChg chg="mod">
          <ac:chgData name="Garelli, Laura" userId="1e551577-4df6-4803-a76e-766a8bd95337" providerId="ADAL" clId="{D458BAFD-BBC3-4FD0-BDF2-C150A66961E8}" dt="2020-11-18T05:37:01.237" v="0" actId="164"/>
          <ac:spMkLst>
            <pc:docMk/>
            <pc:sldMk cId="0" sldId="317"/>
            <ac:spMk id="39" creationId="{00000000-0000-0000-0000-000000000000}"/>
          </ac:spMkLst>
        </pc:spChg>
        <pc:spChg chg="mod">
          <ac:chgData name="Garelli, Laura" userId="1e551577-4df6-4803-a76e-766a8bd95337" providerId="ADAL" clId="{D458BAFD-BBC3-4FD0-BDF2-C150A66961E8}" dt="2020-11-18T05:37:01.237" v="0" actId="164"/>
          <ac:spMkLst>
            <pc:docMk/>
            <pc:sldMk cId="0" sldId="317"/>
            <ac:spMk id="40" creationId="{00000000-0000-0000-0000-000000000000}"/>
          </ac:spMkLst>
        </pc:spChg>
        <pc:spChg chg="mod">
          <ac:chgData name="Garelli, Laura" userId="1e551577-4df6-4803-a76e-766a8bd95337" providerId="ADAL" clId="{D458BAFD-BBC3-4FD0-BDF2-C150A66961E8}" dt="2020-11-18T05:37:01.237" v="0" actId="164"/>
          <ac:spMkLst>
            <pc:docMk/>
            <pc:sldMk cId="0" sldId="317"/>
            <ac:spMk id="41" creationId="{00000000-0000-0000-0000-000000000000}"/>
          </ac:spMkLst>
        </pc:spChg>
        <pc:spChg chg="mod">
          <ac:chgData name="Garelli, Laura" userId="1e551577-4df6-4803-a76e-766a8bd95337" providerId="ADAL" clId="{D458BAFD-BBC3-4FD0-BDF2-C150A66961E8}" dt="2020-11-18T05:37:01.237" v="0" actId="164"/>
          <ac:spMkLst>
            <pc:docMk/>
            <pc:sldMk cId="0" sldId="317"/>
            <ac:spMk id="42" creationId="{00000000-0000-0000-0000-000000000000}"/>
          </ac:spMkLst>
        </pc:spChg>
        <pc:spChg chg="mod">
          <ac:chgData name="Garelli, Laura" userId="1e551577-4df6-4803-a76e-766a8bd95337" providerId="ADAL" clId="{D458BAFD-BBC3-4FD0-BDF2-C150A66961E8}" dt="2020-11-18T05:37:01.237" v="0" actId="164"/>
          <ac:spMkLst>
            <pc:docMk/>
            <pc:sldMk cId="0" sldId="317"/>
            <ac:spMk id="43" creationId="{00000000-0000-0000-0000-000000000000}"/>
          </ac:spMkLst>
        </pc:spChg>
        <pc:spChg chg="mod">
          <ac:chgData name="Garelli, Laura" userId="1e551577-4df6-4803-a76e-766a8bd95337" providerId="ADAL" clId="{D458BAFD-BBC3-4FD0-BDF2-C150A66961E8}" dt="2020-11-18T05:37:01.237" v="0" actId="164"/>
          <ac:spMkLst>
            <pc:docMk/>
            <pc:sldMk cId="0" sldId="317"/>
            <ac:spMk id="44" creationId="{00000000-0000-0000-0000-000000000000}"/>
          </ac:spMkLst>
        </pc:spChg>
        <pc:spChg chg="mod">
          <ac:chgData name="Garelli, Laura" userId="1e551577-4df6-4803-a76e-766a8bd95337" providerId="ADAL" clId="{D458BAFD-BBC3-4FD0-BDF2-C150A66961E8}" dt="2020-11-18T05:37:01.237" v="0" actId="164"/>
          <ac:spMkLst>
            <pc:docMk/>
            <pc:sldMk cId="0" sldId="317"/>
            <ac:spMk id="45" creationId="{00000000-0000-0000-0000-000000000000}"/>
          </ac:spMkLst>
        </pc:spChg>
        <pc:spChg chg="mod">
          <ac:chgData name="Garelli, Laura" userId="1e551577-4df6-4803-a76e-766a8bd95337" providerId="ADAL" clId="{D458BAFD-BBC3-4FD0-BDF2-C150A66961E8}" dt="2020-11-18T05:37:01.237" v="0" actId="164"/>
          <ac:spMkLst>
            <pc:docMk/>
            <pc:sldMk cId="0" sldId="317"/>
            <ac:spMk id="46" creationId="{00000000-0000-0000-0000-000000000000}"/>
          </ac:spMkLst>
        </pc:spChg>
        <pc:spChg chg="mod">
          <ac:chgData name="Garelli, Laura" userId="1e551577-4df6-4803-a76e-766a8bd95337" providerId="ADAL" clId="{D458BAFD-BBC3-4FD0-BDF2-C150A66961E8}" dt="2020-11-18T05:37:01.237" v="0" actId="164"/>
          <ac:spMkLst>
            <pc:docMk/>
            <pc:sldMk cId="0" sldId="317"/>
            <ac:spMk id="47" creationId="{00000000-0000-0000-0000-000000000000}"/>
          </ac:spMkLst>
        </pc:spChg>
        <pc:spChg chg="mod">
          <ac:chgData name="Garelli, Laura" userId="1e551577-4df6-4803-a76e-766a8bd95337" providerId="ADAL" clId="{D458BAFD-BBC3-4FD0-BDF2-C150A66961E8}" dt="2020-11-18T05:37:01.237" v="0" actId="164"/>
          <ac:spMkLst>
            <pc:docMk/>
            <pc:sldMk cId="0" sldId="317"/>
            <ac:spMk id="48" creationId="{00000000-0000-0000-0000-000000000000}"/>
          </ac:spMkLst>
        </pc:spChg>
        <pc:spChg chg="mod">
          <ac:chgData name="Garelli, Laura" userId="1e551577-4df6-4803-a76e-766a8bd95337" providerId="ADAL" clId="{D458BAFD-BBC3-4FD0-BDF2-C150A66961E8}" dt="2020-11-18T05:37:01.237" v="0" actId="164"/>
          <ac:spMkLst>
            <pc:docMk/>
            <pc:sldMk cId="0" sldId="317"/>
            <ac:spMk id="49" creationId="{00000000-0000-0000-0000-000000000000}"/>
          </ac:spMkLst>
        </pc:spChg>
        <pc:spChg chg="mod">
          <ac:chgData name="Garelli, Laura" userId="1e551577-4df6-4803-a76e-766a8bd95337" providerId="ADAL" clId="{D458BAFD-BBC3-4FD0-BDF2-C150A66961E8}" dt="2020-11-18T05:37:01.237" v="0" actId="164"/>
          <ac:spMkLst>
            <pc:docMk/>
            <pc:sldMk cId="0" sldId="317"/>
            <ac:spMk id="50" creationId="{00000000-0000-0000-0000-000000000000}"/>
          </ac:spMkLst>
        </pc:spChg>
        <pc:spChg chg="mod">
          <ac:chgData name="Garelli, Laura" userId="1e551577-4df6-4803-a76e-766a8bd95337" providerId="ADAL" clId="{D458BAFD-BBC3-4FD0-BDF2-C150A66961E8}" dt="2020-11-18T05:37:01.237" v="0" actId="164"/>
          <ac:spMkLst>
            <pc:docMk/>
            <pc:sldMk cId="0" sldId="317"/>
            <ac:spMk id="51" creationId="{00000000-0000-0000-0000-000000000000}"/>
          </ac:spMkLst>
        </pc:spChg>
        <pc:spChg chg="mod">
          <ac:chgData name="Garelli, Laura" userId="1e551577-4df6-4803-a76e-766a8bd95337" providerId="ADAL" clId="{D458BAFD-BBC3-4FD0-BDF2-C150A66961E8}" dt="2020-11-18T05:37:01.237" v="0" actId="164"/>
          <ac:spMkLst>
            <pc:docMk/>
            <pc:sldMk cId="0" sldId="317"/>
            <ac:spMk id="52" creationId="{00000000-0000-0000-0000-000000000000}"/>
          </ac:spMkLst>
        </pc:spChg>
        <pc:spChg chg="mod">
          <ac:chgData name="Garelli, Laura" userId="1e551577-4df6-4803-a76e-766a8bd95337" providerId="ADAL" clId="{D458BAFD-BBC3-4FD0-BDF2-C150A66961E8}" dt="2020-11-18T05:37:01.237" v="0" actId="164"/>
          <ac:spMkLst>
            <pc:docMk/>
            <pc:sldMk cId="0" sldId="317"/>
            <ac:spMk id="53" creationId="{00000000-0000-0000-0000-000000000000}"/>
          </ac:spMkLst>
        </pc:spChg>
        <pc:spChg chg="mod">
          <ac:chgData name="Garelli, Laura" userId="1e551577-4df6-4803-a76e-766a8bd95337" providerId="ADAL" clId="{D458BAFD-BBC3-4FD0-BDF2-C150A66961E8}" dt="2020-11-18T05:37:01.237" v="0" actId="164"/>
          <ac:spMkLst>
            <pc:docMk/>
            <pc:sldMk cId="0" sldId="317"/>
            <ac:spMk id="54" creationId="{00000000-0000-0000-0000-000000000000}"/>
          </ac:spMkLst>
        </pc:spChg>
        <pc:spChg chg="mod">
          <ac:chgData name="Garelli, Laura" userId="1e551577-4df6-4803-a76e-766a8bd95337" providerId="ADAL" clId="{D458BAFD-BBC3-4FD0-BDF2-C150A66961E8}" dt="2020-11-18T05:37:01.237" v="0" actId="164"/>
          <ac:spMkLst>
            <pc:docMk/>
            <pc:sldMk cId="0" sldId="317"/>
            <ac:spMk id="55" creationId="{00000000-0000-0000-0000-000000000000}"/>
          </ac:spMkLst>
        </pc:spChg>
        <pc:spChg chg="mod">
          <ac:chgData name="Garelli, Laura" userId="1e551577-4df6-4803-a76e-766a8bd95337" providerId="ADAL" clId="{D458BAFD-BBC3-4FD0-BDF2-C150A66961E8}" dt="2020-11-18T05:37:01.237" v="0" actId="164"/>
          <ac:spMkLst>
            <pc:docMk/>
            <pc:sldMk cId="0" sldId="317"/>
            <ac:spMk id="56" creationId="{00000000-0000-0000-0000-000000000000}"/>
          </ac:spMkLst>
        </pc:spChg>
        <pc:spChg chg="mod">
          <ac:chgData name="Garelli, Laura" userId="1e551577-4df6-4803-a76e-766a8bd95337" providerId="ADAL" clId="{D458BAFD-BBC3-4FD0-BDF2-C150A66961E8}" dt="2020-11-18T05:37:01.237" v="0" actId="164"/>
          <ac:spMkLst>
            <pc:docMk/>
            <pc:sldMk cId="0" sldId="317"/>
            <ac:spMk id="57" creationId="{00000000-0000-0000-0000-000000000000}"/>
          </ac:spMkLst>
        </pc:spChg>
        <pc:spChg chg="mod">
          <ac:chgData name="Garelli, Laura" userId="1e551577-4df6-4803-a76e-766a8bd95337" providerId="ADAL" clId="{D458BAFD-BBC3-4FD0-BDF2-C150A66961E8}" dt="2020-11-18T05:37:01.237" v="0" actId="164"/>
          <ac:spMkLst>
            <pc:docMk/>
            <pc:sldMk cId="0" sldId="317"/>
            <ac:spMk id="58" creationId="{00000000-0000-0000-0000-000000000000}"/>
          </ac:spMkLst>
        </pc:spChg>
        <pc:spChg chg="mod">
          <ac:chgData name="Garelli, Laura" userId="1e551577-4df6-4803-a76e-766a8bd95337" providerId="ADAL" clId="{D458BAFD-BBC3-4FD0-BDF2-C150A66961E8}" dt="2020-11-18T05:37:01.237" v="0" actId="164"/>
          <ac:spMkLst>
            <pc:docMk/>
            <pc:sldMk cId="0" sldId="317"/>
            <ac:spMk id="59" creationId="{00000000-0000-0000-0000-000000000000}"/>
          </ac:spMkLst>
        </pc:spChg>
        <pc:spChg chg="mod">
          <ac:chgData name="Garelli, Laura" userId="1e551577-4df6-4803-a76e-766a8bd95337" providerId="ADAL" clId="{D458BAFD-BBC3-4FD0-BDF2-C150A66961E8}" dt="2020-11-18T05:37:01.237" v="0" actId="164"/>
          <ac:spMkLst>
            <pc:docMk/>
            <pc:sldMk cId="0" sldId="317"/>
            <ac:spMk id="60" creationId="{00000000-0000-0000-0000-000000000000}"/>
          </ac:spMkLst>
        </pc:spChg>
        <pc:spChg chg="mod">
          <ac:chgData name="Garelli, Laura" userId="1e551577-4df6-4803-a76e-766a8bd95337" providerId="ADAL" clId="{D458BAFD-BBC3-4FD0-BDF2-C150A66961E8}" dt="2020-11-18T05:37:01.237" v="0" actId="164"/>
          <ac:spMkLst>
            <pc:docMk/>
            <pc:sldMk cId="0" sldId="317"/>
            <ac:spMk id="61" creationId="{00000000-0000-0000-0000-000000000000}"/>
          </ac:spMkLst>
        </pc:spChg>
        <pc:spChg chg="mod">
          <ac:chgData name="Garelli, Laura" userId="1e551577-4df6-4803-a76e-766a8bd95337" providerId="ADAL" clId="{D458BAFD-BBC3-4FD0-BDF2-C150A66961E8}" dt="2020-11-18T05:37:01.237" v="0" actId="164"/>
          <ac:spMkLst>
            <pc:docMk/>
            <pc:sldMk cId="0" sldId="317"/>
            <ac:spMk id="62" creationId="{00000000-0000-0000-0000-000000000000}"/>
          </ac:spMkLst>
        </pc:spChg>
        <pc:spChg chg="mod">
          <ac:chgData name="Garelli, Laura" userId="1e551577-4df6-4803-a76e-766a8bd95337" providerId="ADAL" clId="{D458BAFD-BBC3-4FD0-BDF2-C150A66961E8}" dt="2020-11-18T05:37:01.237" v="0" actId="164"/>
          <ac:spMkLst>
            <pc:docMk/>
            <pc:sldMk cId="0" sldId="317"/>
            <ac:spMk id="63" creationId="{00000000-0000-0000-0000-000000000000}"/>
          </ac:spMkLst>
        </pc:spChg>
        <pc:spChg chg="mod">
          <ac:chgData name="Garelli, Laura" userId="1e551577-4df6-4803-a76e-766a8bd95337" providerId="ADAL" clId="{D458BAFD-BBC3-4FD0-BDF2-C150A66961E8}" dt="2020-11-18T05:37:01.237" v="0" actId="164"/>
          <ac:spMkLst>
            <pc:docMk/>
            <pc:sldMk cId="0" sldId="317"/>
            <ac:spMk id="64" creationId="{00000000-0000-0000-0000-000000000000}"/>
          </ac:spMkLst>
        </pc:spChg>
        <pc:spChg chg="mod">
          <ac:chgData name="Garelli, Laura" userId="1e551577-4df6-4803-a76e-766a8bd95337" providerId="ADAL" clId="{D458BAFD-BBC3-4FD0-BDF2-C150A66961E8}" dt="2020-11-18T05:37:01.237" v="0" actId="164"/>
          <ac:spMkLst>
            <pc:docMk/>
            <pc:sldMk cId="0" sldId="317"/>
            <ac:spMk id="65" creationId="{00000000-0000-0000-0000-000000000000}"/>
          </ac:spMkLst>
        </pc:spChg>
        <pc:spChg chg="mod">
          <ac:chgData name="Garelli, Laura" userId="1e551577-4df6-4803-a76e-766a8bd95337" providerId="ADAL" clId="{D458BAFD-BBC3-4FD0-BDF2-C150A66961E8}" dt="2020-11-18T05:37:01.237" v="0" actId="164"/>
          <ac:spMkLst>
            <pc:docMk/>
            <pc:sldMk cId="0" sldId="317"/>
            <ac:spMk id="66" creationId="{00000000-0000-0000-0000-000000000000}"/>
          </ac:spMkLst>
        </pc:spChg>
        <pc:spChg chg="mod">
          <ac:chgData name="Garelli, Laura" userId="1e551577-4df6-4803-a76e-766a8bd95337" providerId="ADAL" clId="{D458BAFD-BBC3-4FD0-BDF2-C150A66961E8}" dt="2020-11-18T05:37:01.237" v="0" actId="164"/>
          <ac:spMkLst>
            <pc:docMk/>
            <pc:sldMk cId="0" sldId="317"/>
            <ac:spMk id="67" creationId="{00000000-0000-0000-0000-000000000000}"/>
          </ac:spMkLst>
        </pc:spChg>
        <pc:spChg chg="mod">
          <ac:chgData name="Garelli, Laura" userId="1e551577-4df6-4803-a76e-766a8bd95337" providerId="ADAL" clId="{D458BAFD-BBC3-4FD0-BDF2-C150A66961E8}" dt="2020-11-18T05:37:01.237" v="0" actId="164"/>
          <ac:spMkLst>
            <pc:docMk/>
            <pc:sldMk cId="0" sldId="317"/>
            <ac:spMk id="68" creationId="{00000000-0000-0000-0000-000000000000}"/>
          </ac:spMkLst>
        </pc:spChg>
        <pc:spChg chg="mod">
          <ac:chgData name="Garelli, Laura" userId="1e551577-4df6-4803-a76e-766a8bd95337" providerId="ADAL" clId="{D458BAFD-BBC3-4FD0-BDF2-C150A66961E8}" dt="2020-11-18T05:37:01.237" v="0" actId="164"/>
          <ac:spMkLst>
            <pc:docMk/>
            <pc:sldMk cId="0" sldId="317"/>
            <ac:spMk id="69" creationId="{00000000-0000-0000-0000-000000000000}"/>
          </ac:spMkLst>
        </pc:spChg>
        <pc:spChg chg="mod">
          <ac:chgData name="Garelli, Laura" userId="1e551577-4df6-4803-a76e-766a8bd95337" providerId="ADAL" clId="{D458BAFD-BBC3-4FD0-BDF2-C150A66961E8}" dt="2020-11-18T05:37:01.237" v="0" actId="164"/>
          <ac:spMkLst>
            <pc:docMk/>
            <pc:sldMk cId="0" sldId="317"/>
            <ac:spMk id="70" creationId="{00000000-0000-0000-0000-000000000000}"/>
          </ac:spMkLst>
        </pc:spChg>
        <pc:spChg chg="mod">
          <ac:chgData name="Garelli, Laura" userId="1e551577-4df6-4803-a76e-766a8bd95337" providerId="ADAL" clId="{D458BAFD-BBC3-4FD0-BDF2-C150A66961E8}" dt="2020-11-18T05:37:01.237" v="0" actId="164"/>
          <ac:spMkLst>
            <pc:docMk/>
            <pc:sldMk cId="0" sldId="317"/>
            <ac:spMk id="71" creationId="{00000000-0000-0000-0000-000000000000}"/>
          </ac:spMkLst>
        </pc:spChg>
        <pc:spChg chg="mod">
          <ac:chgData name="Garelli, Laura" userId="1e551577-4df6-4803-a76e-766a8bd95337" providerId="ADAL" clId="{D458BAFD-BBC3-4FD0-BDF2-C150A66961E8}" dt="2020-11-18T05:37:01.237" v="0" actId="164"/>
          <ac:spMkLst>
            <pc:docMk/>
            <pc:sldMk cId="0" sldId="317"/>
            <ac:spMk id="72" creationId="{00000000-0000-0000-0000-000000000000}"/>
          </ac:spMkLst>
        </pc:spChg>
        <pc:spChg chg="mod">
          <ac:chgData name="Garelli, Laura" userId="1e551577-4df6-4803-a76e-766a8bd95337" providerId="ADAL" clId="{D458BAFD-BBC3-4FD0-BDF2-C150A66961E8}" dt="2020-11-18T05:37:01.237" v="0" actId="164"/>
          <ac:spMkLst>
            <pc:docMk/>
            <pc:sldMk cId="0" sldId="317"/>
            <ac:spMk id="73" creationId="{00000000-0000-0000-0000-000000000000}"/>
          </ac:spMkLst>
        </pc:spChg>
        <pc:spChg chg="mod">
          <ac:chgData name="Garelli, Laura" userId="1e551577-4df6-4803-a76e-766a8bd95337" providerId="ADAL" clId="{D458BAFD-BBC3-4FD0-BDF2-C150A66961E8}" dt="2020-11-18T05:37:01.237" v="0" actId="164"/>
          <ac:spMkLst>
            <pc:docMk/>
            <pc:sldMk cId="0" sldId="317"/>
            <ac:spMk id="74" creationId="{00000000-0000-0000-0000-000000000000}"/>
          </ac:spMkLst>
        </pc:spChg>
        <pc:spChg chg="mod">
          <ac:chgData name="Garelli, Laura" userId="1e551577-4df6-4803-a76e-766a8bd95337" providerId="ADAL" clId="{D458BAFD-BBC3-4FD0-BDF2-C150A66961E8}" dt="2020-11-18T05:37:01.237" v="0" actId="164"/>
          <ac:spMkLst>
            <pc:docMk/>
            <pc:sldMk cId="0" sldId="317"/>
            <ac:spMk id="75" creationId="{00000000-0000-0000-0000-000000000000}"/>
          </ac:spMkLst>
        </pc:spChg>
        <pc:spChg chg="mod">
          <ac:chgData name="Garelli, Laura" userId="1e551577-4df6-4803-a76e-766a8bd95337" providerId="ADAL" clId="{D458BAFD-BBC3-4FD0-BDF2-C150A66961E8}" dt="2020-11-18T05:37:01.237" v="0" actId="164"/>
          <ac:spMkLst>
            <pc:docMk/>
            <pc:sldMk cId="0" sldId="317"/>
            <ac:spMk id="76" creationId="{00000000-0000-0000-0000-000000000000}"/>
          </ac:spMkLst>
        </pc:spChg>
        <pc:spChg chg="mod">
          <ac:chgData name="Garelli, Laura" userId="1e551577-4df6-4803-a76e-766a8bd95337" providerId="ADAL" clId="{D458BAFD-BBC3-4FD0-BDF2-C150A66961E8}" dt="2020-11-18T05:37:01.237" v="0" actId="164"/>
          <ac:spMkLst>
            <pc:docMk/>
            <pc:sldMk cId="0" sldId="317"/>
            <ac:spMk id="77" creationId="{00000000-0000-0000-0000-000000000000}"/>
          </ac:spMkLst>
        </pc:spChg>
        <pc:spChg chg="mod">
          <ac:chgData name="Garelli, Laura" userId="1e551577-4df6-4803-a76e-766a8bd95337" providerId="ADAL" clId="{D458BAFD-BBC3-4FD0-BDF2-C150A66961E8}" dt="2020-11-18T05:37:01.237" v="0" actId="164"/>
          <ac:spMkLst>
            <pc:docMk/>
            <pc:sldMk cId="0" sldId="317"/>
            <ac:spMk id="78" creationId="{00000000-0000-0000-0000-000000000000}"/>
          </ac:spMkLst>
        </pc:spChg>
        <pc:spChg chg="mod">
          <ac:chgData name="Garelli, Laura" userId="1e551577-4df6-4803-a76e-766a8bd95337" providerId="ADAL" clId="{D458BAFD-BBC3-4FD0-BDF2-C150A66961E8}" dt="2020-11-18T05:37:01.237" v="0" actId="164"/>
          <ac:spMkLst>
            <pc:docMk/>
            <pc:sldMk cId="0" sldId="317"/>
            <ac:spMk id="79" creationId="{00000000-0000-0000-0000-000000000000}"/>
          </ac:spMkLst>
        </pc:spChg>
        <pc:spChg chg="mod">
          <ac:chgData name="Garelli, Laura" userId="1e551577-4df6-4803-a76e-766a8bd95337" providerId="ADAL" clId="{D458BAFD-BBC3-4FD0-BDF2-C150A66961E8}" dt="2020-11-18T05:37:01.237" v="0" actId="164"/>
          <ac:spMkLst>
            <pc:docMk/>
            <pc:sldMk cId="0" sldId="317"/>
            <ac:spMk id="80" creationId="{00000000-0000-0000-0000-000000000000}"/>
          </ac:spMkLst>
        </pc:spChg>
        <pc:spChg chg="mod">
          <ac:chgData name="Garelli, Laura" userId="1e551577-4df6-4803-a76e-766a8bd95337" providerId="ADAL" clId="{D458BAFD-BBC3-4FD0-BDF2-C150A66961E8}" dt="2020-11-18T05:37:01.237" v="0" actId="164"/>
          <ac:spMkLst>
            <pc:docMk/>
            <pc:sldMk cId="0" sldId="317"/>
            <ac:spMk id="81" creationId="{00000000-0000-0000-0000-000000000000}"/>
          </ac:spMkLst>
        </pc:spChg>
        <pc:spChg chg="mod">
          <ac:chgData name="Garelli, Laura" userId="1e551577-4df6-4803-a76e-766a8bd95337" providerId="ADAL" clId="{D458BAFD-BBC3-4FD0-BDF2-C150A66961E8}" dt="2020-11-18T05:37:01.237" v="0" actId="164"/>
          <ac:spMkLst>
            <pc:docMk/>
            <pc:sldMk cId="0" sldId="317"/>
            <ac:spMk id="82" creationId="{00000000-0000-0000-0000-000000000000}"/>
          </ac:spMkLst>
        </pc:spChg>
        <pc:spChg chg="mod">
          <ac:chgData name="Garelli, Laura" userId="1e551577-4df6-4803-a76e-766a8bd95337" providerId="ADAL" clId="{D458BAFD-BBC3-4FD0-BDF2-C150A66961E8}" dt="2020-11-18T05:37:01.237" v="0" actId="164"/>
          <ac:spMkLst>
            <pc:docMk/>
            <pc:sldMk cId="0" sldId="317"/>
            <ac:spMk id="83" creationId="{00000000-0000-0000-0000-000000000000}"/>
          </ac:spMkLst>
        </pc:spChg>
        <pc:spChg chg="mod">
          <ac:chgData name="Garelli, Laura" userId="1e551577-4df6-4803-a76e-766a8bd95337" providerId="ADAL" clId="{D458BAFD-BBC3-4FD0-BDF2-C150A66961E8}" dt="2020-11-18T05:37:01.237" v="0" actId="164"/>
          <ac:spMkLst>
            <pc:docMk/>
            <pc:sldMk cId="0" sldId="317"/>
            <ac:spMk id="84" creationId="{00000000-0000-0000-0000-000000000000}"/>
          </ac:spMkLst>
        </pc:spChg>
        <pc:spChg chg="mod">
          <ac:chgData name="Garelli, Laura" userId="1e551577-4df6-4803-a76e-766a8bd95337" providerId="ADAL" clId="{D458BAFD-BBC3-4FD0-BDF2-C150A66961E8}" dt="2020-11-18T05:37:01.237" v="0" actId="164"/>
          <ac:spMkLst>
            <pc:docMk/>
            <pc:sldMk cId="0" sldId="317"/>
            <ac:spMk id="85" creationId="{00000000-0000-0000-0000-000000000000}"/>
          </ac:spMkLst>
        </pc:spChg>
        <pc:spChg chg="mod">
          <ac:chgData name="Garelli, Laura" userId="1e551577-4df6-4803-a76e-766a8bd95337" providerId="ADAL" clId="{D458BAFD-BBC3-4FD0-BDF2-C150A66961E8}" dt="2020-11-18T05:37:01.237" v="0" actId="164"/>
          <ac:spMkLst>
            <pc:docMk/>
            <pc:sldMk cId="0" sldId="317"/>
            <ac:spMk id="86" creationId="{00000000-0000-0000-0000-000000000000}"/>
          </ac:spMkLst>
        </pc:spChg>
        <pc:spChg chg="mod">
          <ac:chgData name="Garelli, Laura" userId="1e551577-4df6-4803-a76e-766a8bd95337" providerId="ADAL" clId="{D458BAFD-BBC3-4FD0-BDF2-C150A66961E8}" dt="2020-11-18T05:37:01.237" v="0" actId="164"/>
          <ac:spMkLst>
            <pc:docMk/>
            <pc:sldMk cId="0" sldId="317"/>
            <ac:spMk id="87" creationId="{00000000-0000-0000-0000-000000000000}"/>
          </ac:spMkLst>
        </pc:spChg>
        <pc:spChg chg="mod">
          <ac:chgData name="Garelli, Laura" userId="1e551577-4df6-4803-a76e-766a8bd95337" providerId="ADAL" clId="{D458BAFD-BBC3-4FD0-BDF2-C150A66961E8}" dt="2020-11-18T05:37:01.237" v="0" actId="164"/>
          <ac:spMkLst>
            <pc:docMk/>
            <pc:sldMk cId="0" sldId="317"/>
            <ac:spMk id="88" creationId="{00000000-0000-0000-0000-000000000000}"/>
          </ac:spMkLst>
        </pc:spChg>
        <pc:spChg chg="mod">
          <ac:chgData name="Garelli, Laura" userId="1e551577-4df6-4803-a76e-766a8bd95337" providerId="ADAL" clId="{D458BAFD-BBC3-4FD0-BDF2-C150A66961E8}" dt="2020-11-18T05:37:01.237" v="0" actId="164"/>
          <ac:spMkLst>
            <pc:docMk/>
            <pc:sldMk cId="0" sldId="317"/>
            <ac:spMk id="89" creationId="{00000000-0000-0000-0000-000000000000}"/>
          </ac:spMkLst>
        </pc:spChg>
        <pc:spChg chg="mod">
          <ac:chgData name="Garelli, Laura" userId="1e551577-4df6-4803-a76e-766a8bd95337" providerId="ADAL" clId="{D458BAFD-BBC3-4FD0-BDF2-C150A66961E8}" dt="2020-11-18T05:37:01.237" v="0" actId="164"/>
          <ac:spMkLst>
            <pc:docMk/>
            <pc:sldMk cId="0" sldId="317"/>
            <ac:spMk id="90" creationId="{00000000-0000-0000-0000-000000000000}"/>
          </ac:spMkLst>
        </pc:spChg>
        <pc:spChg chg="mod">
          <ac:chgData name="Garelli, Laura" userId="1e551577-4df6-4803-a76e-766a8bd95337" providerId="ADAL" clId="{D458BAFD-BBC3-4FD0-BDF2-C150A66961E8}" dt="2020-11-18T05:37:01.237" v="0" actId="164"/>
          <ac:spMkLst>
            <pc:docMk/>
            <pc:sldMk cId="0" sldId="317"/>
            <ac:spMk id="91" creationId="{00000000-0000-0000-0000-000000000000}"/>
          </ac:spMkLst>
        </pc:spChg>
        <pc:spChg chg="mod">
          <ac:chgData name="Garelli, Laura" userId="1e551577-4df6-4803-a76e-766a8bd95337" providerId="ADAL" clId="{D458BAFD-BBC3-4FD0-BDF2-C150A66961E8}" dt="2020-11-18T05:37:01.237" v="0" actId="164"/>
          <ac:spMkLst>
            <pc:docMk/>
            <pc:sldMk cId="0" sldId="317"/>
            <ac:spMk id="92" creationId="{00000000-0000-0000-0000-000000000000}"/>
          </ac:spMkLst>
        </pc:spChg>
        <pc:spChg chg="mod">
          <ac:chgData name="Garelli, Laura" userId="1e551577-4df6-4803-a76e-766a8bd95337" providerId="ADAL" clId="{D458BAFD-BBC3-4FD0-BDF2-C150A66961E8}" dt="2020-11-18T05:37:01.237" v="0" actId="164"/>
          <ac:spMkLst>
            <pc:docMk/>
            <pc:sldMk cId="0" sldId="317"/>
            <ac:spMk id="93" creationId="{00000000-0000-0000-0000-000000000000}"/>
          </ac:spMkLst>
        </pc:spChg>
        <pc:spChg chg="mod">
          <ac:chgData name="Garelli, Laura" userId="1e551577-4df6-4803-a76e-766a8bd95337" providerId="ADAL" clId="{D458BAFD-BBC3-4FD0-BDF2-C150A66961E8}" dt="2020-11-18T05:37:01.237" v="0" actId="164"/>
          <ac:spMkLst>
            <pc:docMk/>
            <pc:sldMk cId="0" sldId="317"/>
            <ac:spMk id="94" creationId="{00000000-0000-0000-0000-000000000000}"/>
          </ac:spMkLst>
        </pc:spChg>
        <pc:spChg chg="mod">
          <ac:chgData name="Garelli, Laura" userId="1e551577-4df6-4803-a76e-766a8bd95337" providerId="ADAL" clId="{D458BAFD-BBC3-4FD0-BDF2-C150A66961E8}" dt="2020-11-18T05:37:01.237" v="0" actId="164"/>
          <ac:spMkLst>
            <pc:docMk/>
            <pc:sldMk cId="0" sldId="317"/>
            <ac:spMk id="95" creationId="{00000000-0000-0000-0000-000000000000}"/>
          </ac:spMkLst>
        </pc:spChg>
        <pc:spChg chg="mod">
          <ac:chgData name="Garelli, Laura" userId="1e551577-4df6-4803-a76e-766a8bd95337" providerId="ADAL" clId="{D458BAFD-BBC3-4FD0-BDF2-C150A66961E8}" dt="2020-11-18T05:37:01.237" v="0" actId="164"/>
          <ac:spMkLst>
            <pc:docMk/>
            <pc:sldMk cId="0" sldId="317"/>
            <ac:spMk id="96" creationId="{00000000-0000-0000-0000-000000000000}"/>
          </ac:spMkLst>
        </pc:spChg>
        <pc:spChg chg="mod">
          <ac:chgData name="Garelli, Laura" userId="1e551577-4df6-4803-a76e-766a8bd95337" providerId="ADAL" clId="{D458BAFD-BBC3-4FD0-BDF2-C150A66961E8}" dt="2020-11-18T05:37:01.237" v="0" actId="164"/>
          <ac:spMkLst>
            <pc:docMk/>
            <pc:sldMk cId="0" sldId="317"/>
            <ac:spMk id="97" creationId="{00000000-0000-0000-0000-000000000000}"/>
          </ac:spMkLst>
        </pc:spChg>
        <pc:spChg chg="mod">
          <ac:chgData name="Garelli, Laura" userId="1e551577-4df6-4803-a76e-766a8bd95337" providerId="ADAL" clId="{D458BAFD-BBC3-4FD0-BDF2-C150A66961E8}" dt="2020-11-18T05:37:01.237" v="0" actId="164"/>
          <ac:spMkLst>
            <pc:docMk/>
            <pc:sldMk cId="0" sldId="317"/>
            <ac:spMk id="98" creationId="{00000000-0000-0000-0000-000000000000}"/>
          </ac:spMkLst>
        </pc:spChg>
        <pc:spChg chg="mod">
          <ac:chgData name="Garelli, Laura" userId="1e551577-4df6-4803-a76e-766a8bd95337" providerId="ADAL" clId="{D458BAFD-BBC3-4FD0-BDF2-C150A66961E8}" dt="2020-11-18T05:37:01.237" v="0" actId="164"/>
          <ac:spMkLst>
            <pc:docMk/>
            <pc:sldMk cId="0" sldId="317"/>
            <ac:spMk id="99"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0"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1"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2"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3"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4"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5"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6"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7"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8" creationId="{00000000-0000-0000-0000-000000000000}"/>
          </ac:spMkLst>
        </pc:spChg>
        <pc:spChg chg="mod">
          <ac:chgData name="Garelli, Laura" userId="1e551577-4df6-4803-a76e-766a8bd95337" providerId="ADAL" clId="{D458BAFD-BBC3-4FD0-BDF2-C150A66961E8}" dt="2020-11-18T05:37:01.237" v="0" actId="164"/>
          <ac:spMkLst>
            <pc:docMk/>
            <pc:sldMk cId="0" sldId="317"/>
            <ac:spMk id="109"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0"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1"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2"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3"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4"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5"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6" creationId="{00000000-0000-0000-0000-000000000000}"/>
          </ac:spMkLst>
        </pc:spChg>
        <pc:spChg chg="mod">
          <ac:chgData name="Garelli, Laura" userId="1e551577-4df6-4803-a76e-766a8bd95337" providerId="ADAL" clId="{D458BAFD-BBC3-4FD0-BDF2-C150A66961E8}" dt="2020-11-18T05:37:01.237" v="0" actId="164"/>
          <ac:spMkLst>
            <pc:docMk/>
            <pc:sldMk cId="0" sldId="317"/>
            <ac:spMk id="117" creationId="{00000000-0000-0000-0000-000000000000}"/>
          </ac:spMkLst>
        </pc:spChg>
        <pc:grpChg chg="add mod">
          <ac:chgData name="Garelli, Laura" userId="1e551577-4df6-4803-a76e-766a8bd95337" providerId="ADAL" clId="{D458BAFD-BBC3-4FD0-BDF2-C150A66961E8}" dt="2020-11-18T05:37:01.237" v="0" actId="164"/>
          <ac:grpSpMkLst>
            <pc:docMk/>
            <pc:sldMk cId="0" sldId="317"/>
            <ac:grpSpMk id="120" creationId="{4415739D-A1C2-4090-8874-2ED1A093769C}"/>
          </ac:grpSpMkLst>
        </pc:gr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0F0177AA-E351-405E-BF18-A308641A1F83}" type="datetimeFigureOut">
              <a:rPr lang="en-US" smtClean="0"/>
              <a:t>11/18/2020</a:t>
            </a:fld>
            <a:endParaRPr lang="en-US"/>
          </a:p>
        </p:txBody>
      </p:sp>
      <p:sp>
        <p:nvSpPr>
          <p:cNvPr id="4" name="Footer Placeholder 3"/>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A567D2A8-8B7D-4C10-B69C-73157F286DDE}" type="slidenum">
              <a:rPr lang="en-US" smtClean="0"/>
              <a:t>‹#›</a:t>
            </a:fld>
            <a:endParaRPr lang="en-US"/>
          </a:p>
        </p:txBody>
      </p:sp>
    </p:spTree>
    <p:extLst>
      <p:ext uri="{BB962C8B-B14F-4D97-AF65-F5344CB8AC3E}">
        <p14:creationId xmlns:p14="http://schemas.microsoft.com/office/powerpoint/2010/main" val="10990493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5CD0C29-814B-4B95-8EE9-367E4DAE57F9}" type="datetimeFigureOut">
              <a:rPr lang="it-IT" smtClean="0"/>
              <a:t>18/11/2020</a:t>
            </a:fld>
            <a:endParaRPr lang="it-IT"/>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23C850FC-F649-411E-B0AF-99DC679E5B12}" type="slidenum">
              <a:rPr lang="it-IT" smtClean="0"/>
              <a:t>‹#›</a:t>
            </a:fld>
            <a:endParaRPr lang="it-IT"/>
          </a:p>
        </p:txBody>
      </p:sp>
    </p:spTree>
    <p:extLst>
      <p:ext uri="{BB962C8B-B14F-4D97-AF65-F5344CB8AC3E}">
        <p14:creationId xmlns:p14="http://schemas.microsoft.com/office/powerpoint/2010/main" val="11335845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23C850FC-F649-411E-B0AF-99DC679E5B12}" type="slidenum">
              <a:rPr lang="it-IT" smtClean="0"/>
              <a:t>5</a:t>
            </a:fld>
            <a:endParaRPr lang="it-IT"/>
          </a:p>
        </p:txBody>
      </p:sp>
    </p:spTree>
    <p:extLst>
      <p:ext uri="{BB962C8B-B14F-4D97-AF65-F5344CB8AC3E}">
        <p14:creationId xmlns:p14="http://schemas.microsoft.com/office/powerpoint/2010/main" val="21348360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17" name="bk object 17"/>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18" name="bk object 18"/>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2" name="Holder 2"/>
          <p:cNvSpPr>
            <a:spLocks noGrp="1"/>
          </p:cNvSpPr>
          <p:nvPr>
            <p:ph type="ctrTitle"/>
          </p:nvPr>
        </p:nvSpPr>
        <p:spPr>
          <a:xfrm>
            <a:off x="214680" y="140588"/>
            <a:ext cx="11762638" cy="779144"/>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Capgemini’s Response Salesforce </a:t>
            </a:r>
            <a:r>
              <a:rPr spc="-5"/>
              <a:t>Rollout Project </a:t>
            </a:r>
            <a:r>
              <a:t>| Sep</a:t>
            </a:r>
            <a:r>
              <a:rPr spc="-40"/>
              <a:t> </a:t>
            </a:r>
            <a:r>
              <a:t>2020</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020</a:t>
            </a:fld>
            <a:endParaRPr lang="en-US"/>
          </a:p>
        </p:txBody>
      </p:sp>
      <p:sp>
        <p:nvSpPr>
          <p:cNvPr id="6" name="Holder 6"/>
          <p:cNvSpPr>
            <a:spLocks noGrp="1"/>
          </p:cNvSpPr>
          <p:nvPr>
            <p:ph type="sldNum" sz="quarter" idx="7"/>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06FAC"/>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Capgemini’s Response Salesforce </a:t>
            </a:r>
            <a:r>
              <a:rPr spc="-5"/>
              <a:t>Rollout Project </a:t>
            </a:r>
            <a:r>
              <a:t>| Sep</a:t>
            </a:r>
            <a:r>
              <a:rPr spc="-40"/>
              <a:t> </a:t>
            </a:r>
            <a:r>
              <a:t>2020</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020</a:t>
            </a:fld>
            <a:endParaRPr lang="en-US"/>
          </a:p>
        </p:txBody>
      </p:sp>
      <p:sp>
        <p:nvSpPr>
          <p:cNvPr id="6" name="Holder 6"/>
          <p:cNvSpPr>
            <a:spLocks noGrp="1"/>
          </p:cNvSpPr>
          <p:nvPr>
            <p:ph type="sldNum" sz="quarter" idx="7"/>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06FAC"/>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Capgemini’s Response Salesforce </a:t>
            </a:r>
            <a:r>
              <a:rPr spc="-5"/>
              <a:t>Rollout Project </a:t>
            </a:r>
            <a:r>
              <a:t>| Sep</a:t>
            </a:r>
            <a:r>
              <a:rPr spc="-40"/>
              <a:t> </a:t>
            </a:r>
            <a:r>
              <a:t>2020</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020</a:t>
            </a:fld>
            <a:endParaRPr lang="en-US"/>
          </a:p>
        </p:txBody>
      </p:sp>
      <p:sp>
        <p:nvSpPr>
          <p:cNvPr id="7" name="Holder 7"/>
          <p:cNvSpPr>
            <a:spLocks noGrp="1"/>
          </p:cNvSpPr>
          <p:nvPr>
            <p:ph type="sldNum" sz="quarter" idx="7"/>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17" name="bk object 17"/>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18" name="bk object 18"/>
          <p:cNvSpPr/>
          <p:nvPr/>
        </p:nvSpPr>
        <p:spPr>
          <a:xfrm>
            <a:off x="1114044" y="914400"/>
            <a:ext cx="9058656" cy="5029200"/>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400" b="0" i="0">
                <a:solidFill>
                  <a:srgbClr val="006FAC"/>
                </a:solidFill>
                <a:latin typeface="Verdana"/>
                <a:cs typeface="Verdana"/>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Capgemini’s Response Salesforce </a:t>
            </a:r>
            <a:r>
              <a:rPr spc="-5"/>
              <a:t>Rollout Project </a:t>
            </a:r>
            <a:r>
              <a:t>| Sep</a:t>
            </a:r>
            <a:r>
              <a:rPr spc="-40"/>
              <a:t> </a:t>
            </a:r>
            <a:r>
              <a:t>2020</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020</a:t>
            </a:fld>
            <a:endParaRPr lang="en-US"/>
          </a:p>
        </p:txBody>
      </p:sp>
      <p:sp>
        <p:nvSpPr>
          <p:cNvPr id="5" name="Holder 5"/>
          <p:cNvSpPr>
            <a:spLocks noGrp="1"/>
          </p:cNvSpPr>
          <p:nvPr>
            <p:ph type="sldNum" sz="quarter" idx="7"/>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Capgemini’s Response Salesforce </a:t>
            </a:r>
            <a:r>
              <a:rPr spc="-5"/>
              <a:t>Rollout Project </a:t>
            </a:r>
            <a:r>
              <a:t>| Sep</a:t>
            </a:r>
            <a:r>
              <a:rPr spc="-40"/>
              <a:t> </a:t>
            </a:r>
            <a:r>
              <a:t>2020</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020</a:t>
            </a:fld>
            <a:endParaRPr lang="en-US"/>
          </a:p>
        </p:txBody>
      </p:sp>
      <p:sp>
        <p:nvSpPr>
          <p:cNvPr id="4" name="Holder 4"/>
          <p:cNvSpPr>
            <a:spLocks noGrp="1"/>
          </p:cNvSpPr>
          <p:nvPr>
            <p:ph type="sldNum" sz="quarter" idx="7"/>
          </p:nvPr>
        </p:nvSpPr>
        <p:spPr/>
        <p:txBody>
          <a:bodyPr lIns="0" tIns="0" rIns="0" bIns="0"/>
          <a:lstStyle>
            <a:lvl1pPr>
              <a:defRPr sz="800" b="0" i="0">
                <a:solidFill>
                  <a:srgbClr val="A6A6A6"/>
                </a:solidFill>
                <a:latin typeface="Verdana"/>
                <a:cs typeface="Verdana"/>
              </a:defRPr>
            </a:lvl1p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349664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9" imgW="592" imgH="595" progId="TCLayout.ActiveDocument.1">
                  <p:embed/>
                </p:oleObj>
              </mc:Choice>
              <mc:Fallback>
                <p:oleObj name="think-cell Slide" r:id="rId9" imgW="592" imgH="595" progId="TCLayout.ActiveDocument.1">
                  <p:embed/>
                  <p:pic>
                    <p:nvPicPr>
                      <p:cNvPr id="7" name="Object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17" name="bk object 17"/>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2" name="Holder 2"/>
          <p:cNvSpPr>
            <a:spLocks noGrp="1"/>
          </p:cNvSpPr>
          <p:nvPr>
            <p:ph type="title"/>
          </p:nvPr>
        </p:nvSpPr>
        <p:spPr>
          <a:xfrm>
            <a:off x="3544062" y="747521"/>
            <a:ext cx="5103875" cy="391159"/>
          </a:xfrm>
          <a:prstGeom prst="rect">
            <a:avLst/>
          </a:prstGeom>
        </p:spPr>
        <p:txBody>
          <a:bodyPr wrap="square" lIns="0" tIns="0" rIns="0" bIns="0">
            <a:spAutoFit/>
          </a:bodyPr>
          <a:lstStyle>
            <a:lvl1pPr>
              <a:defRPr sz="2400" b="0" i="0">
                <a:solidFill>
                  <a:srgbClr val="006FAC"/>
                </a:solidFill>
                <a:latin typeface="Verdana"/>
                <a:cs typeface="Verdana"/>
              </a:defRPr>
            </a:lvl1pPr>
          </a:lstStyle>
          <a:p>
            <a:endParaRPr/>
          </a:p>
        </p:txBody>
      </p:sp>
      <p:sp>
        <p:nvSpPr>
          <p:cNvPr id="3" name="Holder 3"/>
          <p:cNvSpPr>
            <a:spLocks noGrp="1"/>
          </p:cNvSpPr>
          <p:nvPr>
            <p:ph type="body" idx="1"/>
          </p:nvPr>
        </p:nvSpPr>
        <p:spPr>
          <a:xfrm>
            <a:off x="335279" y="2194560"/>
            <a:ext cx="11521440" cy="376301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214680" y="6638097"/>
            <a:ext cx="3124835" cy="149859"/>
          </a:xfrm>
          <a:prstGeom prst="rect">
            <a:avLst/>
          </a:prstGeom>
        </p:spPr>
        <p:txBody>
          <a:bodyPr wrap="square" lIns="0" tIns="0" rIns="0" bIns="0">
            <a:spAutoFit/>
          </a:bodyPr>
          <a:lstStyle>
            <a:lvl1pPr>
              <a:defRPr sz="800" b="0" i="0">
                <a:solidFill>
                  <a:srgbClr val="A6A6A6"/>
                </a:solidFill>
                <a:latin typeface="Verdana"/>
                <a:cs typeface="Verdana"/>
              </a:defRPr>
            </a:lvl1pPr>
          </a:lstStyle>
          <a:p>
            <a:pPr marL="12700">
              <a:lnSpc>
                <a:spcPct val="100000"/>
              </a:lnSpc>
              <a:spcBef>
                <a:spcPts val="105"/>
              </a:spcBef>
            </a:pPr>
            <a:r>
              <a:t>Capgemini’s Response Salesforce </a:t>
            </a:r>
            <a:r>
              <a:rPr spc="-5"/>
              <a:t>Rollout Project </a:t>
            </a:r>
            <a:r>
              <a:t>| Sep</a:t>
            </a:r>
            <a:r>
              <a:rPr spc="-40"/>
              <a:t> </a:t>
            </a:r>
            <a:r>
              <a:t>2020</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8/2020</a:t>
            </a:fld>
            <a:endParaRPr lang="en-US"/>
          </a:p>
        </p:txBody>
      </p:sp>
      <p:sp>
        <p:nvSpPr>
          <p:cNvPr id="6" name="Holder 6"/>
          <p:cNvSpPr>
            <a:spLocks noGrp="1"/>
          </p:cNvSpPr>
          <p:nvPr>
            <p:ph type="sldNum" sz="quarter" idx="7"/>
          </p:nvPr>
        </p:nvSpPr>
        <p:spPr>
          <a:xfrm>
            <a:off x="9604629" y="6638097"/>
            <a:ext cx="2327909" cy="149859"/>
          </a:xfrm>
          <a:prstGeom prst="rect">
            <a:avLst/>
          </a:prstGeom>
        </p:spPr>
        <p:txBody>
          <a:bodyPr wrap="square" lIns="0" tIns="0" rIns="0" bIns="0">
            <a:spAutoFit/>
          </a:bodyPr>
          <a:lstStyle>
            <a:lvl1pPr>
              <a:defRPr sz="800" b="0" i="0">
                <a:solidFill>
                  <a:srgbClr val="A6A6A6"/>
                </a:solidFill>
                <a:latin typeface="Verdana"/>
                <a:cs typeface="Verdana"/>
              </a:defRPr>
            </a:lvl1p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2.xml"/><Relationship Id="rId6" Type="http://schemas.openxmlformats.org/officeDocument/2006/relationships/image" Target="../media/image541.png"/><Relationship Id="rId5" Type="http://schemas.openxmlformats.org/officeDocument/2006/relationships/image" Target="../media/image540.png"/><Relationship Id="rId4" Type="http://schemas.openxmlformats.org/officeDocument/2006/relationships/image" Target="../media/image539.png"/></Relationships>
</file>

<file path=ppt/slides/_rels/slide101.xml.rels><?xml version="1.0" encoding="UTF-8" standalone="yes"?>
<Relationships xmlns="http://schemas.openxmlformats.org/package/2006/relationships"><Relationship Id="rId3" Type="http://schemas.openxmlformats.org/officeDocument/2006/relationships/image" Target="../media/image537.png"/><Relationship Id="rId2" Type="http://schemas.openxmlformats.org/officeDocument/2006/relationships/image" Target="../media/image542.png"/><Relationship Id="rId1" Type="http://schemas.openxmlformats.org/officeDocument/2006/relationships/slideLayout" Target="../slideLayouts/slideLayout2.xml"/><Relationship Id="rId6" Type="http://schemas.openxmlformats.org/officeDocument/2006/relationships/image" Target="../media/image540.png"/><Relationship Id="rId5" Type="http://schemas.openxmlformats.org/officeDocument/2006/relationships/image" Target="../media/image539.png"/><Relationship Id="rId4" Type="http://schemas.openxmlformats.org/officeDocument/2006/relationships/image" Target="../media/image538.png"/></Relationships>
</file>

<file path=ppt/slides/_rels/slide102.xml.rels><?xml version="1.0" encoding="UTF-8" standalone="yes"?>
<Relationships xmlns="http://schemas.openxmlformats.org/package/2006/relationships"><Relationship Id="rId8" Type="http://schemas.openxmlformats.org/officeDocument/2006/relationships/image" Target="../media/image547.png"/><Relationship Id="rId3" Type="http://schemas.openxmlformats.org/officeDocument/2006/relationships/image" Target="../media/image544.png"/><Relationship Id="rId7" Type="http://schemas.openxmlformats.org/officeDocument/2006/relationships/image" Target="../media/image546.png"/><Relationship Id="rId2" Type="http://schemas.openxmlformats.org/officeDocument/2006/relationships/image" Target="../media/image543.png"/><Relationship Id="rId1" Type="http://schemas.openxmlformats.org/officeDocument/2006/relationships/slideLayout" Target="../slideLayouts/slideLayout2.xml"/><Relationship Id="rId6" Type="http://schemas.openxmlformats.org/officeDocument/2006/relationships/image" Target="../media/image545.png"/><Relationship Id="rId5" Type="http://schemas.openxmlformats.org/officeDocument/2006/relationships/image" Target="../media/image540.png"/><Relationship Id="rId4" Type="http://schemas.openxmlformats.org/officeDocument/2006/relationships/image" Target="../media/image539.png"/></Relationships>
</file>

<file path=ppt/slides/_rels/slide103.xml.rels><?xml version="1.0" encoding="UTF-8" standalone="yes"?>
<Relationships xmlns="http://schemas.openxmlformats.org/package/2006/relationships"><Relationship Id="rId3" Type="http://schemas.openxmlformats.org/officeDocument/2006/relationships/image" Target="../media/image549.png"/><Relationship Id="rId2" Type="http://schemas.openxmlformats.org/officeDocument/2006/relationships/image" Target="../media/image548.png"/><Relationship Id="rId1" Type="http://schemas.openxmlformats.org/officeDocument/2006/relationships/slideLayout" Target="../slideLayouts/slideLayout2.xml"/><Relationship Id="rId5" Type="http://schemas.openxmlformats.org/officeDocument/2006/relationships/image" Target="../media/image551.png"/><Relationship Id="rId4" Type="http://schemas.openxmlformats.org/officeDocument/2006/relationships/image" Target="../media/image550.png"/></Relationships>
</file>

<file path=ppt/slides/_rels/slide104.xml.rels><?xml version="1.0" encoding="UTF-8" standalone="yes"?>
<Relationships xmlns="http://schemas.openxmlformats.org/package/2006/relationships"><Relationship Id="rId3" Type="http://schemas.openxmlformats.org/officeDocument/2006/relationships/image" Target="../media/image549.png"/><Relationship Id="rId2" Type="http://schemas.openxmlformats.org/officeDocument/2006/relationships/image" Target="../media/image548.png"/><Relationship Id="rId1" Type="http://schemas.openxmlformats.org/officeDocument/2006/relationships/slideLayout" Target="../slideLayouts/slideLayout2.xml"/><Relationship Id="rId5" Type="http://schemas.openxmlformats.org/officeDocument/2006/relationships/image" Target="../media/image551.png"/><Relationship Id="rId4" Type="http://schemas.openxmlformats.org/officeDocument/2006/relationships/image" Target="../media/image550.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318.png"/><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14.xml.rels><?xml version="1.0" encoding="UTF-8" standalone="yes"?>
<Relationships xmlns="http://schemas.openxmlformats.org/package/2006/relationships"><Relationship Id="rId3" Type="http://schemas.openxmlformats.org/officeDocument/2006/relationships/image" Target="../media/image553.png"/><Relationship Id="rId2" Type="http://schemas.openxmlformats.org/officeDocument/2006/relationships/image" Target="../media/image552.png"/><Relationship Id="rId1" Type="http://schemas.openxmlformats.org/officeDocument/2006/relationships/slideLayout" Target="../slideLayouts/slideLayout2.xml"/><Relationship Id="rId4" Type="http://schemas.openxmlformats.org/officeDocument/2006/relationships/image" Target="../media/image554.pn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3" Type="http://schemas.openxmlformats.org/officeDocument/2006/relationships/image" Target="../media/image556.png"/><Relationship Id="rId2" Type="http://schemas.openxmlformats.org/officeDocument/2006/relationships/image" Target="../media/image555.png"/><Relationship Id="rId1" Type="http://schemas.openxmlformats.org/officeDocument/2006/relationships/slideLayout" Target="../slideLayouts/slideLayout2.xml"/><Relationship Id="rId4" Type="http://schemas.openxmlformats.org/officeDocument/2006/relationships/image" Target="../media/image557.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2" Type="http://schemas.openxmlformats.org/officeDocument/2006/relationships/image" Target="../media/image558.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559.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559.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560.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8" Type="http://schemas.openxmlformats.org/officeDocument/2006/relationships/image" Target="../media/image567.png"/><Relationship Id="rId13" Type="http://schemas.openxmlformats.org/officeDocument/2006/relationships/image" Target="../media/image572.png"/><Relationship Id="rId3" Type="http://schemas.openxmlformats.org/officeDocument/2006/relationships/image" Target="../media/image562.png"/><Relationship Id="rId7" Type="http://schemas.openxmlformats.org/officeDocument/2006/relationships/image" Target="../media/image566.png"/><Relationship Id="rId12" Type="http://schemas.openxmlformats.org/officeDocument/2006/relationships/image" Target="../media/image571.png"/><Relationship Id="rId2" Type="http://schemas.openxmlformats.org/officeDocument/2006/relationships/image" Target="../media/image561.png"/><Relationship Id="rId1" Type="http://schemas.openxmlformats.org/officeDocument/2006/relationships/slideLayout" Target="../slideLayouts/slideLayout2.xml"/><Relationship Id="rId6" Type="http://schemas.openxmlformats.org/officeDocument/2006/relationships/image" Target="../media/image565.png"/><Relationship Id="rId11" Type="http://schemas.openxmlformats.org/officeDocument/2006/relationships/image" Target="../media/image570.png"/><Relationship Id="rId5" Type="http://schemas.openxmlformats.org/officeDocument/2006/relationships/image" Target="../media/image564.png"/><Relationship Id="rId10" Type="http://schemas.openxmlformats.org/officeDocument/2006/relationships/image" Target="../media/image569.png"/><Relationship Id="rId4" Type="http://schemas.openxmlformats.org/officeDocument/2006/relationships/image" Target="../media/image563.png"/><Relationship Id="rId9" Type="http://schemas.openxmlformats.org/officeDocument/2006/relationships/image" Target="../media/image568.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8" Type="http://schemas.openxmlformats.org/officeDocument/2006/relationships/image" Target="../media/image579.png"/><Relationship Id="rId3" Type="http://schemas.openxmlformats.org/officeDocument/2006/relationships/image" Target="../media/image574.png"/><Relationship Id="rId7" Type="http://schemas.openxmlformats.org/officeDocument/2006/relationships/image" Target="../media/image578.png"/><Relationship Id="rId2" Type="http://schemas.openxmlformats.org/officeDocument/2006/relationships/image" Target="../media/image573.png"/><Relationship Id="rId1" Type="http://schemas.openxmlformats.org/officeDocument/2006/relationships/slideLayout" Target="../slideLayouts/slideLayout2.xml"/><Relationship Id="rId6" Type="http://schemas.openxmlformats.org/officeDocument/2006/relationships/image" Target="../media/image577.png"/><Relationship Id="rId5" Type="http://schemas.openxmlformats.org/officeDocument/2006/relationships/image" Target="../media/image576.png"/><Relationship Id="rId4" Type="http://schemas.openxmlformats.org/officeDocument/2006/relationships/image" Target="../media/image575.png"/><Relationship Id="rId9" Type="http://schemas.openxmlformats.org/officeDocument/2006/relationships/image" Target="../media/image580.png"/></Relationships>
</file>

<file path=ppt/slides/_rels/slide129.xml.rels><?xml version="1.0" encoding="UTF-8" standalone="yes"?>
<Relationships xmlns="http://schemas.openxmlformats.org/package/2006/relationships"><Relationship Id="rId2" Type="http://schemas.openxmlformats.org/officeDocument/2006/relationships/image" Target="../media/image58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130.xml.rels><?xml version="1.0" encoding="UTF-8" standalone="yes"?>
<Relationships xmlns="http://schemas.openxmlformats.org/package/2006/relationships"><Relationship Id="rId2" Type="http://schemas.openxmlformats.org/officeDocument/2006/relationships/image" Target="../media/image582.pn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584.png"/><Relationship Id="rId2" Type="http://schemas.openxmlformats.org/officeDocument/2006/relationships/image" Target="../media/image583.png"/><Relationship Id="rId1" Type="http://schemas.openxmlformats.org/officeDocument/2006/relationships/slideLayout" Target="../slideLayouts/slideLayout2.xml"/><Relationship Id="rId5" Type="http://schemas.openxmlformats.org/officeDocument/2006/relationships/image" Target="../media/image586.png"/><Relationship Id="rId4" Type="http://schemas.openxmlformats.org/officeDocument/2006/relationships/image" Target="../media/image585.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8" Type="http://schemas.openxmlformats.org/officeDocument/2006/relationships/image" Target="../media/image593.png"/><Relationship Id="rId13" Type="http://schemas.openxmlformats.org/officeDocument/2006/relationships/image" Target="../media/image598.png"/><Relationship Id="rId3" Type="http://schemas.openxmlformats.org/officeDocument/2006/relationships/image" Target="../media/image588.png"/><Relationship Id="rId7" Type="http://schemas.openxmlformats.org/officeDocument/2006/relationships/image" Target="../media/image592.png"/><Relationship Id="rId12" Type="http://schemas.openxmlformats.org/officeDocument/2006/relationships/image" Target="../media/image597.png"/><Relationship Id="rId2" Type="http://schemas.openxmlformats.org/officeDocument/2006/relationships/image" Target="../media/image587.png"/><Relationship Id="rId1" Type="http://schemas.openxmlformats.org/officeDocument/2006/relationships/slideLayout" Target="../slideLayouts/slideLayout2.xml"/><Relationship Id="rId6" Type="http://schemas.openxmlformats.org/officeDocument/2006/relationships/image" Target="../media/image591.png"/><Relationship Id="rId11" Type="http://schemas.openxmlformats.org/officeDocument/2006/relationships/image" Target="../media/image596.png"/><Relationship Id="rId5" Type="http://schemas.openxmlformats.org/officeDocument/2006/relationships/image" Target="../media/image590.png"/><Relationship Id="rId10" Type="http://schemas.openxmlformats.org/officeDocument/2006/relationships/image" Target="../media/image595.png"/><Relationship Id="rId4" Type="http://schemas.openxmlformats.org/officeDocument/2006/relationships/image" Target="../media/image589.png"/><Relationship Id="rId9" Type="http://schemas.openxmlformats.org/officeDocument/2006/relationships/image" Target="../media/image594.png"/></Relationships>
</file>

<file path=ppt/slides/_rels/slide139.xml.rels><?xml version="1.0" encoding="UTF-8" standalone="yes"?>
<Relationships xmlns="http://schemas.openxmlformats.org/package/2006/relationships"><Relationship Id="rId8" Type="http://schemas.openxmlformats.org/officeDocument/2006/relationships/image" Target="../media/image605.png"/><Relationship Id="rId3" Type="http://schemas.openxmlformats.org/officeDocument/2006/relationships/image" Target="../media/image600.png"/><Relationship Id="rId7" Type="http://schemas.openxmlformats.org/officeDocument/2006/relationships/image" Target="../media/image604.png"/><Relationship Id="rId12" Type="http://schemas.openxmlformats.org/officeDocument/2006/relationships/image" Target="../media/image609.png"/><Relationship Id="rId2" Type="http://schemas.openxmlformats.org/officeDocument/2006/relationships/image" Target="../media/image599.png"/><Relationship Id="rId1" Type="http://schemas.openxmlformats.org/officeDocument/2006/relationships/slideLayout" Target="../slideLayouts/slideLayout2.xml"/><Relationship Id="rId6" Type="http://schemas.openxmlformats.org/officeDocument/2006/relationships/image" Target="../media/image603.png"/><Relationship Id="rId11" Type="http://schemas.openxmlformats.org/officeDocument/2006/relationships/image" Target="../media/image608.png"/><Relationship Id="rId5" Type="http://schemas.openxmlformats.org/officeDocument/2006/relationships/image" Target="../media/image602.png"/><Relationship Id="rId10" Type="http://schemas.openxmlformats.org/officeDocument/2006/relationships/image" Target="../media/image607.png"/><Relationship Id="rId4" Type="http://schemas.openxmlformats.org/officeDocument/2006/relationships/image" Target="../media/image601.png"/><Relationship Id="rId9" Type="http://schemas.openxmlformats.org/officeDocument/2006/relationships/image" Target="../media/image606.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40.xml.rels><?xml version="1.0" encoding="UTF-8" standalone="yes"?>
<Relationships xmlns="http://schemas.openxmlformats.org/package/2006/relationships"><Relationship Id="rId8" Type="http://schemas.openxmlformats.org/officeDocument/2006/relationships/image" Target="../media/image616.png"/><Relationship Id="rId3" Type="http://schemas.openxmlformats.org/officeDocument/2006/relationships/image" Target="../media/image611.png"/><Relationship Id="rId7" Type="http://schemas.openxmlformats.org/officeDocument/2006/relationships/image" Target="../media/image615.png"/><Relationship Id="rId12" Type="http://schemas.openxmlformats.org/officeDocument/2006/relationships/image" Target="../media/image620.png"/><Relationship Id="rId2" Type="http://schemas.openxmlformats.org/officeDocument/2006/relationships/image" Target="../media/image610.png"/><Relationship Id="rId1" Type="http://schemas.openxmlformats.org/officeDocument/2006/relationships/slideLayout" Target="../slideLayouts/slideLayout2.xml"/><Relationship Id="rId6" Type="http://schemas.openxmlformats.org/officeDocument/2006/relationships/image" Target="../media/image614.png"/><Relationship Id="rId11" Type="http://schemas.openxmlformats.org/officeDocument/2006/relationships/image" Target="../media/image619.png"/><Relationship Id="rId5" Type="http://schemas.openxmlformats.org/officeDocument/2006/relationships/image" Target="../media/image613.png"/><Relationship Id="rId10" Type="http://schemas.openxmlformats.org/officeDocument/2006/relationships/image" Target="../media/image618.png"/><Relationship Id="rId4" Type="http://schemas.openxmlformats.org/officeDocument/2006/relationships/image" Target="../media/image612.png"/><Relationship Id="rId9" Type="http://schemas.openxmlformats.org/officeDocument/2006/relationships/image" Target="../media/image617.png"/></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image" Target="../media/image621.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6.jpg"/><Relationship Id="rId26" Type="http://schemas.openxmlformats.org/officeDocument/2006/relationships/image" Target="../media/image64.png"/><Relationship Id="rId3" Type="http://schemas.openxmlformats.org/officeDocument/2006/relationships/image" Target="../media/image44.png"/><Relationship Id="rId21" Type="http://schemas.openxmlformats.org/officeDocument/2006/relationships/image" Target="../media/image59.jpg"/><Relationship Id="rId7" Type="http://schemas.openxmlformats.org/officeDocument/2006/relationships/image" Target="../media/image48.jpg"/><Relationship Id="rId12" Type="http://schemas.openxmlformats.org/officeDocument/2006/relationships/image" Target="../media/image53.png"/><Relationship Id="rId17" Type="http://schemas.openxmlformats.org/officeDocument/2006/relationships/hyperlink" Target="https://www.capgemini.com/our-company/all-our-brands/" TargetMode="External"/><Relationship Id="rId25" Type="http://schemas.openxmlformats.org/officeDocument/2006/relationships/image" Target="../media/image63.png"/><Relationship Id="rId2" Type="http://schemas.openxmlformats.org/officeDocument/2006/relationships/image" Target="../media/image43.png"/><Relationship Id="rId16" Type="http://schemas.openxmlformats.org/officeDocument/2006/relationships/hyperlink" Target="https://www.capgemini.com/news/cri-ranked-no-1/" TargetMode="External"/><Relationship Id="rId20" Type="http://schemas.openxmlformats.org/officeDocument/2006/relationships/image" Target="../media/image58.jpg"/><Relationship Id="rId1" Type="http://schemas.openxmlformats.org/officeDocument/2006/relationships/slideLayout" Target="../slideLayouts/slideLayout2.xml"/><Relationship Id="rId6" Type="http://schemas.openxmlformats.org/officeDocument/2006/relationships/image" Target="../media/image47.jpg"/><Relationship Id="rId11" Type="http://schemas.openxmlformats.org/officeDocument/2006/relationships/image" Target="../media/image52.jpg"/><Relationship Id="rId24" Type="http://schemas.openxmlformats.org/officeDocument/2006/relationships/image" Target="../media/image62.jpg"/><Relationship Id="rId5" Type="http://schemas.openxmlformats.org/officeDocument/2006/relationships/image" Target="../media/image46.png"/><Relationship Id="rId15" Type="http://schemas.openxmlformats.org/officeDocument/2006/relationships/hyperlink" Target="https://www.youtube.com/watch?v=qBsP1NenhEk&amp;amp;t=3s" TargetMode="External"/><Relationship Id="rId23" Type="http://schemas.openxmlformats.org/officeDocument/2006/relationships/image" Target="../media/image61.jpg"/><Relationship Id="rId28" Type="http://schemas.openxmlformats.org/officeDocument/2006/relationships/image" Target="../media/image66.png"/><Relationship Id="rId10" Type="http://schemas.openxmlformats.org/officeDocument/2006/relationships/image" Target="../media/image51.png"/><Relationship Id="rId19" Type="http://schemas.openxmlformats.org/officeDocument/2006/relationships/image" Target="../media/image57.jpg"/><Relationship Id="rId4" Type="http://schemas.openxmlformats.org/officeDocument/2006/relationships/image" Target="../media/image45.png"/><Relationship Id="rId9" Type="http://schemas.openxmlformats.org/officeDocument/2006/relationships/image" Target="../media/image50.jpg"/><Relationship Id="rId14" Type="http://schemas.openxmlformats.org/officeDocument/2006/relationships/image" Target="../media/image55.png"/><Relationship Id="rId22" Type="http://schemas.openxmlformats.org/officeDocument/2006/relationships/image" Target="../media/image60.jpg"/><Relationship Id="rId27" Type="http://schemas.openxmlformats.org/officeDocument/2006/relationships/image" Target="../media/image65.pn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image" Target="../media/image622.emf"/><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8" Type="http://schemas.openxmlformats.org/officeDocument/2006/relationships/image" Target="../media/image628.png"/><Relationship Id="rId3" Type="http://schemas.openxmlformats.org/officeDocument/2006/relationships/image" Target="../media/image623.png"/><Relationship Id="rId7" Type="http://schemas.openxmlformats.org/officeDocument/2006/relationships/image" Target="../media/image627.png"/><Relationship Id="rId2" Type="http://schemas.openxmlformats.org/officeDocument/2006/relationships/hyperlink" Target="http://www.capgemini.com/" TargetMode="External"/><Relationship Id="rId1" Type="http://schemas.openxmlformats.org/officeDocument/2006/relationships/slideLayout" Target="../slideLayouts/slideLayout5.xml"/><Relationship Id="rId6" Type="http://schemas.openxmlformats.org/officeDocument/2006/relationships/image" Target="../media/image626.png"/><Relationship Id="rId5" Type="http://schemas.openxmlformats.org/officeDocument/2006/relationships/image" Target="../media/image625.png"/><Relationship Id="rId4" Type="http://schemas.openxmlformats.org/officeDocument/2006/relationships/image" Target="../media/image624.png"/></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1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image" Target="../media/image71.png"/><Relationship Id="rId16" Type="http://schemas.openxmlformats.org/officeDocument/2006/relationships/image" Target="../media/image85.png"/><Relationship Id="rId1" Type="http://schemas.openxmlformats.org/officeDocument/2006/relationships/slideLayout" Target="../slideLayouts/slideLayout2.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83.png"/></Relationships>
</file>

<file path=ppt/slides/_rels/slide19.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image" Target="../media/image88.png"/><Relationship Id="rId1" Type="http://schemas.openxmlformats.org/officeDocument/2006/relationships/slideLayout" Target="../slideLayouts/slideLayout2.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18" Type="http://schemas.openxmlformats.org/officeDocument/2006/relationships/image" Target="../media/image118.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image" Target="../media/image102.png"/><Relationship Id="rId16" Type="http://schemas.openxmlformats.org/officeDocument/2006/relationships/image" Target="../media/image116.png"/><Relationship Id="rId1" Type="http://schemas.openxmlformats.org/officeDocument/2006/relationships/slideLayout" Target="../slideLayouts/slideLayout2.xml"/><Relationship Id="rId6" Type="http://schemas.openxmlformats.org/officeDocument/2006/relationships/image" Target="../media/image106.jpg"/><Relationship Id="rId11" Type="http://schemas.openxmlformats.org/officeDocument/2006/relationships/image" Target="../media/image111.png"/><Relationship Id="rId5" Type="http://schemas.openxmlformats.org/officeDocument/2006/relationships/image" Target="../media/image105.jpg"/><Relationship Id="rId15" Type="http://schemas.openxmlformats.org/officeDocument/2006/relationships/image" Target="../media/image11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2.xml"/><Relationship Id="rId5" Type="http://schemas.openxmlformats.org/officeDocument/2006/relationships/image" Target="../media/image122.png"/><Relationship Id="rId4" Type="http://schemas.openxmlformats.org/officeDocument/2006/relationships/image" Target="../media/image121.png"/></Relationships>
</file>

<file path=ppt/slides/_rels/slide22.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4.png"/><Relationship Id="rId18" Type="http://schemas.openxmlformats.org/officeDocument/2006/relationships/hyperlink" Target="https://www.lyonscg.com/2019/04/16/lyonscg-takes-home-back-to-back-best-in-category-nods-at-horizon-interactive-awards/" TargetMode="External"/><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png"/><Relationship Id="rId17" Type="http://schemas.openxmlformats.org/officeDocument/2006/relationships/hyperlink" Target="https://talent.capgemini.com/groupsales/news/44265" TargetMode="External"/><Relationship Id="rId2" Type="http://schemas.openxmlformats.org/officeDocument/2006/relationships/image" Target="../media/image123.png"/><Relationship Id="rId16" Type="http://schemas.openxmlformats.org/officeDocument/2006/relationships/hyperlink" Target="https://vlocity.com/community/2019-partner-of-the-year-awards" TargetMode="External"/><Relationship Id="rId1" Type="http://schemas.openxmlformats.org/officeDocument/2006/relationships/slideLayout" Target="../slideLayouts/slideLayout2.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png"/><Relationship Id="rId15" Type="http://schemas.openxmlformats.org/officeDocument/2006/relationships/hyperlink" Target="https://www.prnewswire.com/news-releases/yotpo-names-the-most-innovative-ecommerce-agencies-and-technology-companies-powering-the-growth-of-direct-to-consumer-brands-301028447.html" TargetMode="External"/><Relationship Id="rId10" Type="http://schemas.openxmlformats.org/officeDocument/2006/relationships/image" Target="../media/image131.png"/><Relationship Id="rId4" Type="http://schemas.openxmlformats.org/officeDocument/2006/relationships/image" Target="../media/image125.png"/><Relationship Id="rId9" Type="http://schemas.openxmlformats.org/officeDocument/2006/relationships/image" Target="../media/image130.png"/><Relationship Id="rId14" Type="http://schemas.openxmlformats.org/officeDocument/2006/relationships/image" Target="../media/image135.png"/></Relationships>
</file>

<file path=ppt/slides/_rels/slide2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5.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24.xml.rels><?xml version="1.0" encoding="UTF-8" standalone="yes"?>
<Relationships xmlns="http://schemas.openxmlformats.org/package/2006/relationships"><Relationship Id="rId2" Type="http://schemas.openxmlformats.org/officeDocument/2006/relationships/image" Target="../media/image14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image" Target="../media/image144.png"/><Relationship Id="rId1" Type="http://schemas.openxmlformats.org/officeDocument/2006/relationships/slideLayout" Target="../slideLayouts/slideLayout2.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jpg"/></Relationships>
</file>

<file path=ppt/slides/_rels/slide26.xml.rels><?xml version="1.0" encoding="UTF-8" standalone="yes"?>
<Relationships xmlns="http://schemas.openxmlformats.org/package/2006/relationships"><Relationship Id="rId8" Type="http://schemas.openxmlformats.org/officeDocument/2006/relationships/image" Target="../media/image156.jpg"/><Relationship Id="rId3" Type="http://schemas.openxmlformats.org/officeDocument/2006/relationships/image" Target="../media/image151.png"/><Relationship Id="rId7" Type="http://schemas.openxmlformats.org/officeDocument/2006/relationships/image" Target="../media/image155.jpg"/><Relationship Id="rId12" Type="http://schemas.openxmlformats.org/officeDocument/2006/relationships/image" Target="../media/image160.jpg"/><Relationship Id="rId2" Type="http://schemas.openxmlformats.org/officeDocument/2006/relationships/image" Target="../media/image150.png"/><Relationship Id="rId1" Type="http://schemas.openxmlformats.org/officeDocument/2006/relationships/slideLayout" Target="../slideLayouts/slideLayout2.xml"/><Relationship Id="rId6" Type="http://schemas.openxmlformats.org/officeDocument/2006/relationships/image" Target="../media/image154.jpg"/><Relationship Id="rId11" Type="http://schemas.openxmlformats.org/officeDocument/2006/relationships/image" Target="../media/image159.png"/><Relationship Id="rId5" Type="http://schemas.openxmlformats.org/officeDocument/2006/relationships/image" Target="../media/image153.jpg"/><Relationship Id="rId10" Type="http://schemas.openxmlformats.org/officeDocument/2006/relationships/image" Target="../media/image158.jpg"/><Relationship Id="rId4" Type="http://schemas.openxmlformats.org/officeDocument/2006/relationships/image" Target="../media/image152.png"/><Relationship Id="rId9" Type="http://schemas.openxmlformats.org/officeDocument/2006/relationships/image" Target="../media/image157.jp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image" Target="../media/image16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image" Target="../media/image163.png"/><Relationship Id="rId1" Type="http://schemas.openxmlformats.org/officeDocument/2006/relationships/slideLayout" Target="../slideLayouts/slideLayout2.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18" Type="http://schemas.openxmlformats.org/officeDocument/2006/relationships/image" Target="../media/image186.png"/><Relationship Id="rId3" Type="http://schemas.openxmlformats.org/officeDocument/2006/relationships/image" Target="../media/image171.png"/><Relationship Id="rId21" Type="http://schemas.openxmlformats.org/officeDocument/2006/relationships/image" Target="../media/image189.png"/><Relationship Id="rId7" Type="http://schemas.openxmlformats.org/officeDocument/2006/relationships/image" Target="../media/image175.png"/><Relationship Id="rId12" Type="http://schemas.openxmlformats.org/officeDocument/2006/relationships/image" Target="../media/image180.png"/><Relationship Id="rId17" Type="http://schemas.openxmlformats.org/officeDocument/2006/relationships/image" Target="../media/image185.png"/><Relationship Id="rId2" Type="http://schemas.openxmlformats.org/officeDocument/2006/relationships/image" Target="../media/image170.png"/><Relationship Id="rId16" Type="http://schemas.openxmlformats.org/officeDocument/2006/relationships/image" Target="../media/image184.png"/><Relationship Id="rId20" Type="http://schemas.openxmlformats.org/officeDocument/2006/relationships/image" Target="../media/image188.png"/><Relationship Id="rId1" Type="http://schemas.openxmlformats.org/officeDocument/2006/relationships/slideLayout" Target="../slideLayouts/slideLayout2.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png"/><Relationship Id="rId15" Type="http://schemas.openxmlformats.org/officeDocument/2006/relationships/image" Target="../media/image183.png"/><Relationship Id="rId10" Type="http://schemas.openxmlformats.org/officeDocument/2006/relationships/image" Target="../media/image178.png"/><Relationship Id="rId19" Type="http://schemas.openxmlformats.org/officeDocument/2006/relationships/image" Target="../media/image187.png"/><Relationship Id="rId4" Type="http://schemas.openxmlformats.org/officeDocument/2006/relationships/image" Target="../media/image172.png"/><Relationship Id="rId9" Type="http://schemas.openxmlformats.org/officeDocument/2006/relationships/image" Target="../media/image177.png"/><Relationship Id="rId14" Type="http://schemas.openxmlformats.org/officeDocument/2006/relationships/image" Target="../media/image182.png"/></Relationships>
</file>

<file path=ppt/slides/_rels/slide31.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image" Target="../media/image190.png"/><Relationship Id="rId1" Type="http://schemas.openxmlformats.org/officeDocument/2006/relationships/slideLayout" Target="../slideLayouts/slideLayout2.xml"/><Relationship Id="rId6" Type="http://schemas.openxmlformats.org/officeDocument/2006/relationships/image" Target="../media/image194.png"/><Relationship Id="rId11" Type="http://schemas.openxmlformats.org/officeDocument/2006/relationships/image" Target="../media/image199.png"/><Relationship Id="rId5" Type="http://schemas.openxmlformats.org/officeDocument/2006/relationships/image" Target="../media/image193.png"/><Relationship Id="rId15" Type="http://schemas.openxmlformats.org/officeDocument/2006/relationships/image" Target="../media/image203.jpg"/><Relationship Id="rId10" Type="http://schemas.openxmlformats.org/officeDocument/2006/relationships/image" Target="../media/image198.png"/><Relationship Id="rId4" Type="http://schemas.openxmlformats.org/officeDocument/2006/relationships/image" Target="../media/image192.png"/><Relationship Id="rId9" Type="http://schemas.openxmlformats.org/officeDocument/2006/relationships/image" Target="../media/image197.png"/><Relationship Id="rId14" Type="http://schemas.openxmlformats.org/officeDocument/2006/relationships/image" Target="../media/image202.png"/></Relationships>
</file>

<file path=ppt/slides/_rels/slide32.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203.jpg"/><Relationship Id="rId2" Type="http://schemas.openxmlformats.org/officeDocument/2006/relationships/image" Target="../media/image204.png"/><Relationship Id="rId1" Type="http://schemas.openxmlformats.org/officeDocument/2006/relationships/slideLayout" Target="../slideLayouts/slideLayout2.xml"/><Relationship Id="rId6" Type="http://schemas.openxmlformats.org/officeDocument/2006/relationships/image" Target="../media/image208.png"/><Relationship Id="rId5" Type="http://schemas.openxmlformats.org/officeDocument/2006/relationships/image" Target="../media/image207.png"/><Relationship Id="rId4" Type="http://schemas.openxmlformats.org/officeDocument/2006/relationships/image" Target="../media/image206.png"/></Relationships>
</file>

<file path=ppt/slides/_rels/slide33.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png"/><Relationship Id="rId18" Type="http://schemas.openxmlformats.org/officeDocument/2006/relationships/image" Target="../media/image225.png"/><Relationship Id="rId3" Type="http://schemas.openxmlformats.org/officeDocument/2006/relationships/image" Target="../media/image210.png"/><Relationship Id="rId21" Type="http://schemas.openxmlformats.org/officeDocument/2006/relationships/image" Target="../media/image228.png"/><Relationship Id="rId7" Type="http://schemas.openxmlformats.org/officeDocument/2006/relationships/image" Target="../media/image214.jpg"/><Relationship Id="rId12" Type="http://schemas.openxmlformats.org/officeDocument/2006/relationships/image" Target="../media/image219.png"/><Relationship Id="rId17" Type="http://schemas.openxmlformats.org/officeDocument/2006/relationships/image" Target="../media/image224.png"/><Relationship Id="rId25" Type="http://schemas.openxmlformats.org/officeDocument/2006/relationships/image" Target="../media/image203.jpg"/><Relationship Id="rId2" Type="http://schemas.openxmlformats.org/officeDocument/2006/relationships/image" Target="../media/image209.png"/><Relationship Id="rId16" Type="http://schemas.openxmlformats.org/officeDocument/2006/relationships/image" Target="../media/image223.png"/><Relationship Id="rId20" Type="http://schemas.openxmlformats.org/officeDocument/2006/relationships/image" Target="../media/image227.png"/><Relationship Id="rId1" Type="http://schemas.openxmlformats.org/officeDocument/2006/relationships/slideLayout" Target="../slideLayouts/slideLayout2.xml"/><Relationship Id="rId6" Type="http://schemas.openxmlformats.org/officeDocument/2006/relationships/image" Target="../media/image213.png"/><Relationship Id="rId11" Type="http://schemas.openxmlformats.org/officeDocument/2006/relationships/image" Target="../media/image218.png"/><Relationship Id="rId24" Type="http://schemas.openxmlformats.org/officeDocument/2006/relationships/image" Target="../media/image231.jpg"/><Relationship Id="rId5" Type="http://schemas.openxmlformats.org/officeDocument/2006/relationships/image" Target="../media/image212.png"/><Relationship Id="rId15" Type="http://schemas.openxmlformats.org/officeDocument/2006/relationships/image" Target="../media/image222.png"/><Relationship Id="rId23" Type="http://schemas.openxmlformats.org/officeDocument/2006/relationships/image" Target="../media/image230.png"/><Relationship Id="rId10" Type="http://schemas.openxmlformats.org/officeDocument/2006/relationships/image" Target="../media/image217.png"/><Relationship Id="rId19" Type="http://schemas.openxmlformats.org/officeDocument/2006/relationships/image" Target="../media/image226.png"/><Relationship Id="rId4" Type="http://schemas.openxmlformats.org/officeDocument/2006/relationships/image" Target="../media/image211.png"/><Relationship Id="rId9" Type="http://schemas.openxmlformats.org/officeDocument/2006/relationships/image" Target="../media/image216.png"/><Relationship Id="rId14" Type="http://schemas.openxmlformats.org/officeDocument/2006/relationships/image" Target="../media/image221.png"/><Relationship Id="rId22" Type="http://schemas.openxmlformats.org/officeDocument/2006/relationships/image" Target="../media/image229.png"/></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238.png"/><Relationship Id="rId13" Type="http://schemas.openxmlformats.org/officeDocument/2006/relationships/hyperlink" Target="mailto:Melissa.breemer@Capgemini.com" TargetMode="External"/><Relationship Id="rId18" Type="http://schemas.openxmlformats.org/officeDocument/2006/relationships/image" Target="../media/image245.png"/><Relationship Id="rId3" Type="http://schemas.openxmlformats.org/officeDocument/2006/relationships/image" Target="../media/image233.png"/><Relationship Id="rId21" Type="http://schemas.openxmlformats.org/officeDocument/2006/relationships/image" Target="../media/image248.png"/><Relationship Id="rId7" Type="http://schemas.openxmlformats.org/officeDocument/2006/relationships/image" Target="../media/image237.png"/><Relationship Id="rId12" Type="http://schemas.openxmlformats.org/officeDocument/2006/relationships/image" Target="../media/image242.png"/><Relationship Id="rId17" Type="http://schemas.openxmlformats.org/officeDocument/2006/relationships/image" Target="../media/image244.png"/><Relationship Id="rId2" Type="http://schemas.openxmlformats.org/officeDocument/2006/relationships/image" Target="../media/image232.png"/><Relationship Id="rId16" Type="http://schemas.openxmlformats.org/officeDocument/2006/relationships/image" Target="../media/image243.png"/><Relationship Id="rId20" Type="http://schemas.openxmlformats.org/officeDocument/2006/relationships/image" Target="../media/image247.png"/><Relationship Id="rId1" Type="http://schemas.openxmlformats.org/officeDocument/2006/relationships/slideLayout" Target="../slideLayouts/slideLayout2.xml"/><Relationship Id="rId6" Type="http://schemas.openxmlformats.org/officeDocument/2006/relationships/image" Target="../media/image236.png"/><Relationship Id="rId11" Type="http://schemas.openxmlformats.org/officeDocument/2006/relationships/image" Target="../media/image241.png"/><Relationship Id="rId5" Type="http://schemas.openxmlformats.org/officeDocument/2006/relationships/image" Target="../media/image235.png"/><Relationship Id="rId15" Type="http://schemas.openxmlformats.org/officeDocument/2006/relationships/hyperlink" Target="mailto:Joyal.jacob@capgemini.com" TargetMode="External"/><Relationship Id="rId10" Type="http://schemas.openxmlformats.org/officeDocument/2006/relationships/image" Target="../media/image240.png"/><Relationship Id="rId19" Type="http://schemas.openxmlformats.org/officeDocument/2006/relationships/image" Target="../media/image246.png"/><Relationship Id="rId4" Type="http://schemas.openxmlformats.org/officeDocument/2006/relationships/image" Target="../media/image234.png"/><Relationship Id="rId9" Type="http://schemas.openxmlformats.org/officeDocument/2006/relationships/image" Target="../media/image239.png"/><Relationship Id="rId14" Type="http://schemas.openxmlformats.org/officeDocument/2006/relationships/hyperlink" Target="mailto:agustin.a.rodriguez@capgemini.com"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image" Target="../media/image250.png"/><Relationship Id="rId7" Type="http://schemas.openxmlformats.org/officeDocument/2006/relationships/image" Target="../media/image254.png"/><Relationship Id="rId2" Type="http://schemas.openxmlformats.org/officeDocument/2006/relationships/image" Target="../media/image249.jpg"/><Relationship Id="rId1" Type="http://schemas.openxmlformats.org/officeDocument/2006/relationships/slideLayout" Target="../slideLayouts/slideLayout2.xml"/><Relationship Id="rId6" Type="http://schemas.openxmlformats.org/officeDocument/2006/relationships/image" Target="../media/image253.png"/><Relationship Id="rId11" Type="http://schemas.openxmlformats.org/officeDocument/2006/relationships/image" Target="../media/image258.png"/><Relationship Id="rId5" Type="http://schemas.openxmlformats.org/officeDocument/2006/relationships/image" Target="../media/image252.png"/><Relationship Id="rId10" Type="http://schemas.openxmlformats.org/officeDocument/2006/relationships/image" Target="../media/image257.png"/><Relationship Id="rId4" Type="http://schemas.openxmlformats.org/officeDocument/2006/relationships/image" Target="../media/image251.png"/><Relationship Id="rId9" Type="http://schemas.openxmlformats.org/officeDocument/2006/relationships/image" Target="../media/image256.png"/></Relationships>
</file>

<file path=ppt/slides/_rels/slide3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image" Target="../media/image259.png"/><Relationship Id="rId1" Type="http://schemas.openxmlformats.org/officeDocument/2006/relationships/slideLayout" Target="../slideLayouts/slideLayout2.xml"/><Relationship Id="rId5" Type="http://schemas.openxmlformats.org/officeDocument/2006/relationships/image" Target="../media/image262.png"/><Relationship Id="rId4" Type="http://schemas.openxmlformats.org/officeDocument/2006/relationships/image" Target="../media/image261.png"/></Relationships>
</file>

<file path=ppt/slides/_rels/slide38.xml.rels><?xml version="1.0" encoding="UTF-8" standalone="yes"?>
<Relationships xmlns="http://schemas.openxmlformats.org/package/2006/relationships"><Relationship Id="rId8" Type="http://schemas.openxmlformats.org/officeDocument/2006/relationships/image" Target="../media/image269.png"/><Relationship Id="rId13" Type="http://schemas.openxmlformats.org/officeDocument/2006/relationships/image" Target="../media/image274.png"/><Relationship Id="rId3" Type="http://schemas.openxmlformats.org/officeDocument/2006/relationships/image" Target="../media/image264.png"/><Relationship Id="rId7" Type="http://schemas.openxmlformats.org/officeDocument/2006/relationships/image" Target="../media/image268.png"/><Relationship Id="rId12" Type="http://schemas.openxmlformats.org/officeDocument/2006/relationships/image" Target="../media/image273.png"/><Relationship Id="rId2" Type="http://schemas.openxmlformats.org/officeDocument/2006/relationships/image" Target="../media/image263.jpg"/><Relationship Id="rId1" Type="http://schemas.openxmlformats.org/officeDocument/2006/relationships/slideLayout" Target="../slideLayouts/slideLayout2.xml"/><Relationship Id="rId6" Type="http://schemas.openxmlformats.org/officeDocument/2006/relationships/image" Target="../media/image267.png"/><Relationship Id="rId11" Type="http://schemas.openxmlformats.org/officeDocument/2006/relationships/image" Target="../media/image272.png"/><Relationship Id="rId5" Type="http://schemas.openxmlformats.org/officeDocument/2006/relationships/image" Target="../media/image266.png"/><Relationship Id="rId10" Type="http://schemas.openxmlformats.org/officeDocument/2006/relationships/image" Target="../media/image271.png"/><Relationship Id="rId4" Type="http://schemas.openxmlformats.org/officeDocument/2006/relationships/image" Target="../media/image265.png"/><Relationship Id="rId9" Type="http://schemas.openxmlformats.org/officeDocument/2006/relationships/image" Target="../media/image270.png"/></Relationships>
</file>

<file path=ppt/slides/_rels/slide39.xml.rels><?xml version="1.0" encoding="UTF-8" standalone="yes"?>
<Relationships xmlns="http://schemas.openxmlformats.org/package/2006/relationships"><Relationship Id="rId8" Type="http://schemas.openxmlformats.org/officeDocument/2006/relationships/image" Target="../media/image280.png"/><Relationship Id="rId13" Type="http://schemas.openxmlformats.org/officeDocument/2006/relationships/image" Target="../media/image284.png"/><Relationship Id="rId3" Type="http://schemas.openxmlformats.org/officeDocument/2006/relationships/image" Target="../media/image255.png"/><Relationship Id="rId7" Type="http://schemas.openxmlformats.org/officeDocument/2006/relationships/image" Target="../media/image279.png"/><Relationship Id="rId12" Type="http://schemas.openxmlformats.org/officeDocument/2006/relationships/image" Target="../media/image283.png"/><Relationship Id="rId2" Type="http://schemas.openxmlformats.org/officeDocument/2006/relationships/image" Target="../media/image275.jpg"/><Relationship Id="rId1" Type="http://schemas.openxmlformats.org/officeDocument/2006/relationships/slideLayout" Target="../slideLayouts/slideLayout2.xml"/><Relationship Id="rId6" Type="http://schemas.openxmlformats.org/officeDocument/2006/relationships/image" Target="../media/image278.png"/><Relationship Id="rId11" Type="http://schemas.openxmlformats.org/officeDocument/2006/relationships/image" Target="../media/image258.png"/><Relationship Id="rId5" Type="http://schemas.openxmlformats.org/officeDocument/2006/relationships/image" Target="../media/image277.jpg"/><Relationship Id="rId10" Type="http://schemas.openxmlformats.org/officeDocument/2006/relationships/image" Target="../media/image282.png"/><Relationship Id="rId4" Type="http://schemas.openxmlformats.org/officeDocument/2006/relationships/image" Target="../media/image276.png"/><Relationship Id="rId9" Type="http://schemas.openxmlformats.org/officeDocument/2006/relationships/image" Target="../media/image281.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8" Type="http://schemas.openxmlformats.org/officeDocument/2006/relationships/image" Target="../media/image290.png"/><Relationship Id="rId3" Type="http://schemas.openxmlformats.org/officeDocument/2006/relationships/image" Target="../media/image285.png"/><Relationship Id="rId7" Type="http://schemas.openxmlformats.org/officeDocument/2006/relationships/image" Target="../media/image289.png"/><Relationship Id="rId2" Type="http://schemas.openxmlformats.org/officeDocument/2006/relationships/image" Target="../media/image259.png"/><Relationship Id="rId1" Type="http://schemas.openxmlformats.org/officeDocument/2006/relationships/slideLayout" Target="../slideLayouts/slideLayout2.xml"/><Relationship Id="rId6" Type="http://schemas.openxmlformats.org/officeDocument/2006/relationships/image" Target="../media/image288.png"/><Relationship Id="rId5" Type="http://schemas.openxmlformats.org/officeDocument/2006/relationships/image" Target="../media/image287.png"/><Relationship Id="rId4" Type="http://schemas.openxmlformats.org/officeDocument/2006/relationships/image" Target="../media/image286.png"/></Relationships>
</file>

<file path=ppt/slides/_rels/slide41.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55.png"/><Relationship Id="rId7" Type="http://schemas.openxmlformats.org/officeDocument/2006/relationships/image" Target="../media/image293.png"/><Relationship Id="rId2" Type="http://schemas.openxmlformats.org/officeDocument/2006/relationships/image" Target="../media/image291.jpg"/><Relationship Id="rId1" Type="http://schemas.openxmlformats.org/officeDocument/2006/relationships/slideLayout" Target="../slideLayouts/slideLayout2.xml"/><Relationship Id="rId6" Type="http://schemas.openxmlformats.org/officeDocument/2006/relationships/image" Target="../media/image256.png"/><Relationship Id="rId5" Type="http://schemas.openxmlformats.org/officeDocument/2006/relationships/image" Target="../media/image292.png"/><Relationship Id="rId4" Type="http://schemas.openxmlformats.org/officeDocument/2006/relationships/image" Target="../media/image276.png"/><Relationship Id="rId9" Type="http://schemas.openxmlformats.org/officeDocument/2006/relationships/image" Target="../media/image258.png"/></Relationships>
</file>

<file path=ppt/slides/_rels/slide42.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255.png"/><Relationship Id="rId7" Type="http://schemas.openxmlformats.org/officeDocument/2006/relationships/image" Target="../media/image296.png"/><Relationship Id="rId2" Type="http://schemas.openxmlformats.org/officeDocument/2006/relationships/image" Target="../media/image294.jpg"/><Relationship Id="rId1" Type="http://schemas.openxmlformats.org/officeDocument/2006/relationships/slideLayout" Target="../slideLayouts/slideLayout2.xml"/><Relationship Id="rId6" Type="http://schemas.openxmlformats.org/officeDocument/2006/relationships/image" Target="../media/image295.png"/><Relationship Id="rId5" Type="http://schemas.openxmlformats.org/officeDocument/2006/relationships/image" Target="../media/image256.png"/><Relationship Id="rId10" Type="http://schemas.openxmlformats.org/officeDocument/2006/relationships/image" Target="../media/image282.png"/><Relationship Id="rId4" Type="http://schemas.openxmlformats.org/officeDocument/2006/relationships/image" Target="../media/image276.png"/><Relationship Id="rId9" Type="http://schemas.openxmlformats.org/officeDocument/2006/relationships/image" Target="../media/image297.png"/></Relationships>
</file>

<file path=ppt/slides/_rels/slide43.xml.rels><?xml version="1.0" encoding="UTF-8" standalone="yes"?>
<Relationships xmlns="http://schemas.openxmlformats.org/package/2006/relationships"><Relationship Id="rId8" Type="http://schemas.openxmlformats.org/officeDocument/2006/relationships/image" Target="../media/image300.png"/><Relationship Id="rId3" Type="http://schemas.openxmlformats.org/officeDocument/2006/relationships/image" Target="../media/image260.png"/><Relationship Id="rId7" Type="http://schemas.openxmlformats.org/officeDocument/2006/relationships/image" Target="../media/image290.png"/><Relationship Id="rId2" Type="http://schemas.openxmlformats.org/officeDocument/2006/relationships/image" Target="../media/image298.png"/><Relationship Id="rId1" Type="http://schemas.openxmlformats.org/officeDocument/2006/relationships/slideLayout" Target="../slideLayouts/slideLayout2.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99.png"/></Relationships>
</file>

<file path=ppt/slides/_rels/slide44.xml.rels><?xml version="1.0" encoding="UTF-8" standalone="yes"?>
<Relationships xmlns="http://schemas.openxmlformats.org/package/2006/relationships"><Relationship Id="rId8" Type="http://schemas.openxmlformats.org/officeDocument/2006/relationships/image" Target="../media/image307.png"/><Relationship Id="rId3" Type="http://schemas.openxmlformats.org/officeDocument/2006/relationships/image" Target="../media/image302.png"/><Relationship Id="rId7" Type="http://schemas.openxmlformats.org/officeDocument/2006/relationships/image" Target="../media/image306.png"/><Relationship Id="rId2" Type="http://schemas.openxmlformats.org/officeDocument/2006/relationships/image" Target="../media/image301.jpg"/><Relationship Id="rId1" Type="http://schemas.openxmlformats.org/officeDocument/2006/relationships/slideLayout" Target="../slideLayouts/slideLayout4.xml"/><Relationship Id="rId6" Type="http://schemas.openxmlformats.org/officeDocument/2006/relationships/image" Target="../media/image305.jpg"/><Relationship Id="rId11" Type="http://schemas.openxmlformats.org/officeDocument/2006/relationships/image" Target="../media/image310.png"/><Relationship Id="rId5" Type="http://schemas.openxmlformats.org/officeDocument/2006/relationships/image" Target="../media/image304.png"/><Relationship Id="rId10" Type="http://schemas.openxmlformats.org/officeDocument/2006/relationships/image" Target="../media/image309.png"/><Relationship Id="rId4" Type="http://schemas.openxmlformats.org/officeDocument/2006/relationships/image" Target="../media/image303.png"/><Relationship Id="rId9" Type="http://schemas.openxmlformats.org/officeDocument/2006/relationships/image" Target="../media/image308.png"/></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1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318.png"/><Relationship Id="rId3" Type="http://schemas.openxmlformats.org/officeDocument/2006/relationships/image" Target="../media/image313.png"/><Relationship Id="rId7" Type="http://schemas.openxmlformats.org/officeDocument/2006/relationships/image" Target="../media/image317.svg"/><Relationship Id="rId2" Type="http://schemas.openxmlformats.org/officeDocument/2006/relationships/image" Target="../media/image312.jpeg"/><Relationship Id="rId1" Type="http://schemas.openxmlformats.org/officeDocument/2006/relationships/slideLayout" Target="../slideLayouts/slideLayout2.xml"/><Relationship Id="rId6" Type="http://schemas.openxmlformats.org/officeDocument/2006/relationships/image" Target="../media/image316.png"/><Relationship Id="rId5" Type="http://schemas.openxmlformats.org/officeDocument/2006/relationships/image" Target="../media/image315.jpeg"/><Relationship Id="rId4" Type="http://schemas.openxmlformats.org/officeDocument/2006/relationships/image" Target="../media/image314.png"/><Relationship Id="rId9" Type="http://schemas.openxmlformats.org/officeDocument/2006/relationships/image" Target="../media/image319.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50.xml.rels><?xml version="1.0" encoding="UTF-8" standalone="yes"?>
<Relationships xmlns="http://schemas.openxmlformats.org/package/2006/relationships"><Relationship Id="rId8" Type="http://schemas.openxmlformats.org/officeDocument/2006/relationships/image" Target="../media/image326.png"/><Relationship Id="rId3" Type="http://schemas.openxmlformats.org/officeDocument/2006/relationships/image" Target="../media/image321.png"/><Relationship Id="rId7" Type="http://schemas.openxmlformats.org/officeDocument/2006/relationships/image" Target="../media/image325.jpg"/><Relationship Id="rId2" Type="http://schemas.openxmlformats.org/officeDocument/2006/relationships/image" Target="../media/image320.png"/><Relationship Id="rId1" Type="http://schemas.openxmlformats.org/officeDocument/2006/relationships/slideLayout" Target="../slideLayouts/slideLayout2.xml"/><Relationship Id="rId6" Type="http://schemas.openxmlformats.org/officeDocument/2006/relationships/image" Target="../media/image324.png"/><Relationship Id="rId11" Type="http://schemas.openxmlformats.org/officeDocument/2006/relationships/image" Target="../media/image329.png"/><Relationship Id="rId5" Type="http://schemas.openxmlformats.org/officeDocument/2006/relationships/image" Target="../media/image323.png"/><Relationship Id="rId10" Type="http://schemas.openxmlformats.org/officeDocument/2006/relationships/image" Target="../media/image328.png"/><Relationship Id="rId4" Type="http://schemas.openxmlformats.org/officeDocument/2006/relationships/image" Target="../media/image322.png"/><Relationship Id="rId9" Type="http://schemas.openxmlformats.org/officeDocument/2006/relationships/image" Target="../media/image327.jpg"/></Relationships>
</file>

<file path=ppt/slides/_rels/slide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30.jp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image" Target="../media/image331.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333.png"/></Relationships>
</file>

<file path=ppt/slides/_rels/slide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4.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image" Target="../media/image335.png"/><Relationship Id="rId1" Type="http://schemas.openxmlformats.org/officeDocument/2006/relationships/slideLayout" Target="../slideLayouts/slideLayout2.xml"/><Relationship Id="rId6" Type="http://schemas.openxmlformats.org/officeDocument/2006/relationships/image" Target="../media/image339.png"/><Relationship Id="rId5" Type="http://schemas.openxmlformats.org/officeDocument/2006/relationships/image" Target="../media/image338.png"/><Relationship Id="rId4" Type="http://schemas.openxmlformats.org/officeDocument/2006/relationships/image" Target="../media/image337.png"/></Relationships>
</file>

<file path=ppt/slides/_rels/slide58.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image" Target="../media/image340.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0.xml.rels><?xml version="1.0" encoding="UTF-8" standalone="yes"?>
<Relationships xmlns="http://schemas.openxmlformats.org/package/2006/relationships"><Relationship Id="rId8" Type="http://schemas.openxmlformats.org/officeDocument/2006/relationships/image" Target="../media/image348.png"/><Relationship Id="rId3" Type="http://schemas.openxmlformats.org/officeDocument/2006/relationships/image" Target="../media/image343.png"/><Relationship Id="rId7" Type="http://schemas.openxmlformats.org/officeDocument/2006/relationships/image" Target="../media/image347.png"/><Relationship Id="rId2" Type="http://schemas.openxmlformats.org/officeDocument/2006/relationships/image" Target="../media/image342.png"/><Relationship Id="rId1" Type="http://schemas.openxmlformats.org/officeDocument/2006/relationships/slideLayout" Target="../slideLayouts/slideLayout2.xml"/><Relationship Id="rId6" Type="http://schemas.openxmlformats.org/officeDocument/2006/relationships/image" Target="../media/image346.png"/><Relationship Id="rId11" Type="http://schemas.openxmlformats.org/officeDocument/2006/relationships/image" Target="../media/image351.png"/><Relationship Id="rId5" Type="http://schemas.openxmlformats.org/officeDocument/2006/relationships/image" Target="../media/image345.png"/><Relationship Id="rId10" Type="http://schemas.openxmlformats.org/officeDocument/2006/relationships/image" Target="../media/image350.png"/><Relationship Id="rId4" Type="http://schemas.openxmlformats.org/officeDocument/2006/relationships/image" Target="../media/image344.png"/><Relationship Id="rId9" Type="http://schemas.openxmlformats.org/officeDocument/2006/relationships/image" Target="../media/image349.png"/></Relationships>
</file>

<file path=ppt/slides/_rels/slide6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353.png"/></Relationships>
</file>

<file path=ppt/slides/_rels/slide62.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image" Target="../media/image354.jpg"/><Relationship Id="rId1" Type="http://schemas.openxmlformats.org/officeDocument/2006/relationships/slideLayout" Target="../slideLayouts/slideLayout2.xml"/><Relationship Id="rId5" Type="http://schemas.openxmlformats.org/officeDocument/2006/relationships/image" Target="../media/image356.png"/><Relationship Id="rId4" Type="http://schemas.openxmlformats.org/officeDocument/2006/relationships/image" Target="../media/image311.png"/></Relationships>
</file>

<file path=ppt/slides/_rels/slide63.xml.rels><?xml version="1.0" encoding="UTF-8" standalone="yes"?>
<Relationships xmlns="http://schemas.openxmlformats.org/package/2006/relationships"><Relationship Id="rId3" Type="http://schemas.openxmlformats.org/officeDocument/2006/relationships/image" Target="../media/image358.png"/><Relationship Id="rId7" Type="http://schemas.openxmlformats.org/officeDocument/2006/relationships/image" Target="../media/image362.jpg"/><Relationship Id="rId2" Type="http://schemas.openxmlformats.org/officeDocument/2006/relationships/image" Target="../media/image357.jpg"/><Relationship Id="rId1" Type="http://schemas.openxmlformats.org/officeDocument/2006/relationships/slideLayout" Target="../slideLayouts/slideLayout2.xml"/><Relationship Id="rId6" Type="http://schemas.openxmlformats.org/officeDocument/2006/relationships/image" Target="../media/image361.jpg"/><Relationship Id="rId5" Type="http://schemas.openxmlformats.org/officeDocument/2006/relationships/image" Target="../media/image360.jpg"/><Relationship Id="rId4" Type="http://schemas.openxmlformats.org/officeDocument/2006/relationships/image" Target="../media/image359.png"/></Relationships>
</file>

<file path=ppt/slides/_rels/slide64.xml.rels><?xml version="1.0" encoding="UTF-8" standalone="yes"?>
<Relationships xmlns="http://schemas.openxmlformats.org/package/2006/relationships"><Relationship Id="rId3" Type="http://schemas.openxmlformats.org/officeDocument/2006/relationships/image" Target="../media/image364.png"/><Relationship Id="rId2" Type="http://schemas.openxmlformats.org/officeDocument/2006/relationships/image" Target="../media/image363.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image" Target="../media/image365.png"/><Relationship Id="rId1" Type="http://schemas.openxmlformats.org/officeDocument/2006/relationships/slideLayout" Target="../slideLayouts/slideLayout2.xml"/><Relationship Id="rId5" Type="http://schemas.openxmlformats.org/officeDocument/2006/relationships/image" Target="../media/image366.png"/><Relationship Id="rId4" Type="http://schemas.openxmlformats.org/officeDocument/2006/relationships/image" Target="../media/image356.png"/></Relationships>
</file>

<file path=ppt/slides/_rels/slide67.xml.rels><?xml version="1.0" encoding="UTF-8" standalone="yes"?>
<Relationships xmlns="http://schemas.openxmlformats.org/package/2006/relationships"><Relationship Id="rId3" Type="http://schemas.openxmlformats.org/officeDocument/2006/relationships/image" Target="../media/image368.png"/><Relationship Id="rId2" Type="http://schemas.openxmlformats.org/officeDocument/2006/relationships/image" Target="../media/image367.jp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image" Target="../media/image36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image" Target="../media/image377.jpg"/><Relationship Id="rId13" Type="http://schemas.openxmlformats.org/officeDocument/2006/relationships/image" Target="../media/image382.jpg"/><Relationship Id="rId18" Type="http://schemas.openxmlformats.org/officeDocument/2006/relationships/image" Target="../media/image387.png"/><Relationship Id="rId3" Type="http://schemas.openxmlformats.org/officeDocument/2006/relationships/image" Target="../media/image372.jpg"/><Relationship Id="rId7" Type="http://schemas.openxmlformats.org/officeDocument/2006/relationships/image" Target="../media/image376.jpg"/><Relationship Id="rId12" Type="http://schemas.openxmlformats.org/officeDocument/2006/relationships/image" Target="../media/image381.jpg"/><Relationship Id="rId17" Type="http://schemas.openxmlformats.org/officeDocument/2006/relationships/image" Target="../media/image386.png"/><Relationship Id="rId2" Type="http://schemas.openxmlformats.org/officeDocument/2006/relationships/image" Target="../media/image371.jpg"/><Relationship Id="rId16" Type="http://schemas.openxmlformats.org/officeDocument/2006/relationships/image" Target="../media/image385.png"/><Relationship Id="rId1" Type="http://schemas.openxmlformats.org/officeDocument/2006/relationships/slideLayout" Target="../slideLayouts/slideLayout2.xml"/><Relationship Id="rId6" Type="http://schemas.openxmlformats.org/officeDocument/2006/relationships/image" Target="../media/image375.jpg"/><Relationship Id="rId11" Type="http://schemas.openxmlformats.org/officeDocument/2006/relationships/image" Target="../media/image380.jpg"/><Relationship Id="rId5" Type="http://schemas.openxmlformats.org/officeDocument/2006/relationships/image" Target="../media/image374.jpg"/><Relationship Id="rId15" Type="http://schemas.openxmlformats.org/officeDocument/2006/relationships/image" Target="../media/image384.png"/><Relationship Id="rId10" Type="http://schemas.openxmlformats.org/officeDocument/2006/relationships/image" Target="../media/image379.jpg"/><Relationship Id="rId19" Type="http://schemas.openxmlformats.org/officeDocument/2006/relationships/image" Target="../media/image388.png"/><Relationship Id="rId4" Type="http://schemas.openxmlformats.org/officeDocument/2006/relationships/image" Target="../media/image373.jpg"/><Relationship Id="rId9" Type="http://schemas.openxmlformats.org/officeDocument/2006/relationships/image" Target="../media/image378.jpg"/><Relationship Id="rId14" Type="http://schemas.openxmlformats.org/officeDocument/2006/relationships/image" Target="../media/image383.png"/></Relationships>
</file>

<file path=ppt/slides/_rels/slide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389.jp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8" Type="http://schemas.openxmlformats.org/officeDocument/2006/relationships/image" Target="../media/image396.png"/><Relationship Id="rId13" Type="http://schemas.openxmlformats.org/officeDocument/2006/relationships/image" Target="../media/image401.png"/><Relationship Id="rId18" Type="http://schemas.openxmlformats.org/officeDocument/2006/relationships/image" Target="../media/image406.png"/><Relationship Id="rId26" Type="http://schemas.openxmlformats.org/officeDocument/2006/relationships/image" Target="../media/image414.png"/><Relationship Id="rId3" Type="http://schemas.openxmlformats.org/officeDocument/2006/relationships/image" Target="../media/image391.png"/><Relationship Id="rId21" Type="http://schemas.openxmlformats.org/officeDocument/2006/relationships/image" Target="../media/image409.png"/><Relationship Id="rId34" Type="http://schemas.openxmlformats.org/officeDocument/2006/relationships/image" Target="../media/image422.png"/><Relationship Id="rId7" Type="http://schemas.openxmlformats.org/officeDocument/2006/relationships/image" Target="../media/image395.png"/><Relationship Id="rId12" Type="http://schemas.openxmlformats.org/officeDocument/2006/relationships/image" Target="../media/image400.png"/><Relationship Id="rId17" Type="http://schemas.openxmlformats.org/officeDocument/2006/relationships/image" Target="../media/image405.png"/><Relationship Id="rId25" Type="http://schemas.openxmlformats.org/officeDocument/2006/relationships/image" Target="../media/image413.png"/><Relationship Id="rId33" Type="http://schemas.openxmlformats.org/officeDocument/2006/relationships/image" Target="../media/image421.png"/><Relationship Id="rId2" Type="http://schemas.openxmlformats.org/officeDocument/2006/relationships/image" Target="../media/image390.png"/><Relationship Id="rId16" Type="http://schemas.openxmlformats.org/officeDocument/2006/relationships/image" Target="../media/image404.png"/><Relationship Id="rId20" Type="http://schemas.openxmlformats.org/officeDocument/2006/relationships/image" Target="../media/image408.png"/><Relationship Id="rId29" Type="http://schemas.openxmlformats.org/officeDocument/2006/relationships/image" Target="../media/image417.png"/><Relationship Id="rId1" Type="http://schemas.openxmlformats.org/officeDocument/2006/relationships/slideLayout" Target="../slideLayouts/slideLayout2.xml"/><Relationship Id="rId6" Type="http://schemas.openxmlformats.org/officeDocument/2006/relationships/image" Target="../media/image394.jpg"/><Relationship Id="rId11" Type="http://schemas.openxmlformats.org/officeDocument/2006/relationships/image" Target="../media/image399.png"/><Relationship Id="rId24" Type="http://schemas.openxmlformats.org/officeDocument/2006/relationships/image" Target="../media/image412.png"/><Relationship Id="rId32" Type="http://schemas.openxmlformats.org/officeDocument/2006/relationships/image" Target="../media/image420.png"/><Relationship Id="rId5" Type="http://schemas.openxmlformats.org/officeDocument/2006/relationships/image" Target="../media/image393.jpg"/><Relationship Id="rId15" Type="http://schemas.openxmlformats.org/officeDocument/2006/relationships/image" Target="../media/image403.png"/><Relationship Id="rId23" Type="http://schemas.openxmlformats.org/officeDocument/2006/relationships/image" Target="../media/image411.png"/><Relationship Id="rId28" Type="http://schemas.openxmlformats.org/officeDocument/2006/relationships/image" Target="../media/image416.png"/><Relationship Id="rId36" Type="http://schemas.openxmlformats.org/officeDocument/2006/relationships/image" Target="../media/image424.png"/><Relationship Id="rId10" Type="http://schemas.openxmlformats.org/officeDocument/2006/relationships/image" Target="../media/image398.png"/><Relationship Id="rId19" Type="http://schemas.openxmlformats.org/officeDocument/2006/relationships/image" Target="../media/image407.png"/><Relationship Id="rId31" Type="http://schemas.openxmlformats.org/officeDocument/2006/relationships/image" Target="../media/image419.png"/><Relationship Id="rId4" Type="http://schemas.openxmlformats.org/officeDocument/2006/relationships/image" Target="../media/image392.png"/><Relationship Id="rId9" Type="http://schemas.openxmlformats.org/officeDocument/2006/relationships/image" Target="../media/image397.png"/><Relationship Id="rId14" Type="http://schemas.openxmlformats.org/officeDocument/2006/relationships/image" Target="../media/image402.png"/><Relationship Id="rId22" Type="http://schemas.openxmlformats.org/officeDocument/2006/relationships/image" Target="../media/image410.png"/><Relationship Id="rId27" Type="http://schemas.openxmlformats.org/officeDocument/2006/relationships/image" Target="../media/image415.png"/><Relationship Id="rId30" Type="http://schemas.openxmlformats.org/officeDocument/2006/relationships/image" Target="../media/image418.png"/><Relationship Id="rId35" Type="http://schemas.openxmlformats.org/officeDocument/2006/relationships/image" Target="../media/image423.png"/></Relationships>
</file>

<file path=ppt/slides/_rels/slide74.xml.rels><?xml version="1.0" encoding="UTF-8" standalone="yes"?>
<Relationships xmlns="http://schemas.openxmlformats.org/package/2006/relationships"><Relationship Id="rId8" Type="http://schemas.openxmlformats.org/officeDocument/2006/relationships/image" Target="../media/image431.png"/><Relationship Id="rId13" Type="http://schemas.openxmlformats.org/officeDocument/2006/relationships/image" Target="../media/image436.png"/><Relationship Id="rId3" Type="http://schemas.openxmlformats.org/officeDocument/2006/relationships/image" Target="../media/image426.png"/><Relationship Id="rId7" Type="http://schemas.openxmlformats.org/officeDocument/2006/relationships/image" Target="../media/image430.png"/><Relationship Id="rId12" Type="http://schemas.openxmlformats.org/officeDocument/2006/relationships/image" Target="../media/image435.png"/><Relationship Id="rId2" Type="http://schemas.openxmlformats.org/officeDocument/2006/relationships/image" Target="../media/image425.png"/><Relationship Id="rId1" Type="http://schemas.openxmlformats.org/officeDocument/2006/relationships/slideLayout" Target="../slideLayouts/slideLayout2.xml"/><Relationship Id="rId6" Type="http://schemas.openxmlformats.org/officeDocument/2006/relationships/image" Target="../media/image429.png"/><Relationship Id="rId11" Type="http://schemas.openxmlformats.org/officeDocument/2006/relationships/image" Target="../media/image434.png"/><Relationship Id="rId5" Type="http://schemas.openxmlformats.org/officeDocument/2006/relationships/image" Target="../media/image428.png"/><Relationship Id="rId10" Type="http://schemas.openxmlformats.org/officeDocument/2006/relationships/image" Target="../media/image433.png"/><Relationship Id="rId4" Type="http://schemas.openxmlformats.org/officeDocument/2006/relationships/image" Target="../media/image427.png"/><Relationship Id="rId9" Type="http://schemas.openxmlformats.org/officeDocument/2006/relationships/image" Target="../media/image432.png"/></Relationships>
</file>

<file path=ppt/slides/_rels/slide75.xml.rels><?xml version="1.0" encoding="UTF-8" standalone="yes"?>
<Relationships xmlns="http://schemas.openxmlformats.org/package/2006/relationships"><Relationship Id="rId8" Type="http://schemas.openxmlformats.org/officeDocument/2006/relationships/image" Target="../media/image443.png"/><Relationship Id="rId13" Type="http://schemas.openxmlformats.org/officeDocument/2006/relationships/image" Target="../media/image448.jpg"/><Relationship Id="rId18" Type="http://schemas.openxmlformats.org/officeDocument/2006/relationships/image" Target="../media/image453.png"/><Relationship Id="rId26" Type="http://schemas.openxmlformats.org/officeDocument/2006/relationships/image" Target="../media/image461.jpg"/><Relationship Id="rId3" Type="http://schemas.openxmlformats.org/officeDocument/2006/relationships/image" Target="../media/image438.png"/><Relationship Id="rId21" Type="http://schemas.openxmlformats.org/officeDocument/2006/relationships/image" Target="../media/image456.png"/><Relationship Id="rId7" Type="http://schemas.openxmlformats.org/officeDocument/2006/relationships/image" Target="../media/image442.png"/><Relationship Id="rId12" Type="http://schemas.openxmlformats.org/officeDocument/2006/relationships/image" Target="../media/image447.png"/><Relationship Id="rId17" Type="http://schemas.openxmlformats.org/officeDocument/2006/relationships/image" Target="../media/image452.png"/><Relationship Id="rId25" Type="http://schemas.openxmlformats.org/officeDocument/2006/relationships/image" Target="../media/image460.jpg"/><Relationship Id="rId2" Type="http://schemas.openxmlformats.org/officeDocument/2006/relationships/image" Target="../media/image437.png"/><Relationship Id="rId16" Type="http://schemas.openxmlformats.org/officeDocument/2006/relationships/image" Target="../media/image451.png"/><Relationship Id="rId20" Type="http://schemas.openxmlformats.org/officeDocument/2006/relationships/image" Target="../media/image455.png"/><Relationship Id="rId29" Type="http://schemas.openxmlformats.org/officeDocument/2006/relationships/image" Target="../media/image464.jpg"/><Relationship Id="rId1" Type="http://schemas.openxmlformats.org/officeDocument/2006/relationships/slideLayout" Target="../slideLayouts/slideLayout2.xml"/><Relationship Id="rId6" Type="http://schemas.openxmlformats.org/officeDocument/2006/relationships/image" Target="../media/image441.png"/><Relationship Id="rId11" Type="http://schemas.openxmlformats.org/officeDocument/2006/relationships/image" Target="../media/image446.png"/><Relationship Id="rId24" Type="http://schemas.openxmlformats.org/officeDocument/2006/relationships/image" Target="../media/image459.jpg"/><Relationship Id="rId5" Type="http://schemas.openxmlformats.org/officeDocument/2006/relationships/image" Target="../media/image440.png"/><Relationship Id="rId15" Type="http://schemas.openxmlformats.org/officeDocument/2006/relationships/image" Target="../media/image450.png"/><Relationship Id="rId23" Type="http://schemas.openxmlformats.org/officeDocument/2006/relationships/image" Target="../media/image458.jpg"/><Relationship Id="rId28" Type="http://schemas.openxmlformats.org/officeDocument/2006/relationships/image" Target="../media/image463.jpg"/><Relationship Id="rId10" Type="http://schemas.openxmlformats.org/officeDocument/2006/relationships/image" Target="../media/image445.png"/><Relationship Id="rId19" Type="http://schemas.openxmlformats.org/officeDocument/2006/relationships/image" Target="../media/image454.png"/><Relationship Id="rId31" Type="http://schemas.openxmlformats.org/officeDocument/2006/relationships/image" Target="../media/image466.jpg"/><Relationship Id="rId4" Type="http://schemas.openxmlformats.org/officeDocument/2006/relationships/image" Target="../media/image439.png"/><Relationship Id="rId9" Type="http://schemas.openxmlformats.org/officeDocument/2006/relationships/image" Target="../media/image444.png"/><Relationship Id="rId14" Type="http://schemas.openxmlformats.org/officeDocument/2006/relationships/image" Target="../media/image449.jpg"/><Relationship Id="rId22" Type="http://schemas.openxmlformats.org/officeDocument/2006/relationships/image" Target="../media/image457.png"/><Relationship Id="rId27" Type="http://schemas.openxmlformats.org/officeDocument/2006/relationships/image" Target="../media/image462.jpg"/><Relationship Id="rId30" Type="http://schemas.openxmlformats.org/officeDocument/2006/relationships/image" Target="../media/image465.png"/></Relationships>
</file>

<file path=ppt/slides/_rels/slide76.xml.rels><?xml version="1.0" encoding="UTF-8" standalone="yes"?>
<Relationships xmlns="http://schemas.openxmlformats.org/package/2006/relationships"><Relationship Id="rId8" Type="http://schemas.openxmlformats.org/officeDocument/2006/relationships/image" Target="../media/image473.jpg"/><Relationship Id="rId3" Type="http://schemas.openxmlformats.org/officeDocument/2006/relationships/image" Target="../media/image468.jpg"/><Relationship Id="rId7" Type="http://schemas.openxmlformats.org/officeDocument/2006/relationships/image" Target="../media/image472.jpg"/><Relationship Id="rId2" Type="http://schemas.openxmlformats.org/officeDocument/2006/relationships/image" Target="../media/image467.jpg"/><Relationship Id="rId1" Type="http://schemas.openxmlformats.org/officeDocument/2006/relationships/slideLayout" Target="../slideLayouts/slideLayout2.xml"/><Relationship Id="rId6" Type="http://schemas.openxmlformats.org/officeDocument/2006/relationships/image" Target="../media/image471.jpg"/><Relationship Id="rId5" Type="http://schemas.openxmlformats.org/officeDocument/2006/relationships/image" Target="../media/image470.jpg"/><Relationship Id="rId10" Type="http://schemas.openxmlformats.org/officeDocument/2006/relationships/image" Target="../media/image475.png"/><Relationship Id="rId4" Type="http://schemas.openxmlformats.org/officeDocument/2006/relationships/image" Target="../media/image469.jpg"/><Relationship Id="rId9" Type="http://schemas.openxmlformats.org/officeDocument/2006/relationships/image" Target="../media/image474.jpg"/></Relationships>
</file>

<file path=ppt/slides/_rels/slide7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8" Type="http://schemas.openxmlformats.org/officeDocument/2006/relationships/image" Target="../media/image481.png"/><Relationship Id="rId13" Type="http://schemas.openxmlformats.org/officeDocument/2006/relationships/image" Target="../media/image486.png"/><Relationship Id="rId3" Type="http://schemas.openxmlformats.org/officeDocument/2006/relationships/image" Target="../media/image476.png"/><Relationship Id="rId7" Type="http://schemas.openxmlformats.org/officeDocument/2006/relationships/image" Target="../media/image480.png"/><Relationship Id="rId12" Type="http://schemas.openxmlformats.org/officeDocument/2006/relationships/image" Target="../media/image485.png"/><Relationship Id="rId2" Type="http://schemas.openxmlformats.org/officeDocument/2006/relationships/hyperlink" Target="https://www.tmap.net/" TargetMode="External"/><Relationship Id="rId1" Type="http://schemas.openxmlformats.org/officeDocument/2006/relationships/slideLayout" Target="../slideLayouts/slideLayout2.xml"/><Relationship Id="rId6" Type="http://schemas.openxmlformats.org/officeDocument/2006/relationships/image" Target="../media/image479.png"/><Relationship Id="rId11" Type="http://schemas.openxmlformats.org/officeDocument/2006/relationships/image" Target="../media/image484.png"/><Relationship Id="rId5" Type="http://schemas.openxmlformats.org/officeDocument/2006/relationships/image" Target="../media/image478.png"/><Relationship Id="rId15" Type="http://schemas.openxmlformats.org/officeDocument/2006/relationships/image" Target="../media/image488.png"/><Relationship Id="rId10" Type="http://schemas.openxmlformats.org/officeDocument/2006/relationships/image" Target="../media/image483.png"/><Relationship Id="rId4" Type="http://schemas.openxmlformats.org/officeDocument/2006/relationships/image" Target="../media/image477.png"/><Relationship Id="rId9" Type="http://schemas.openxmlformats.org/officeDocument/2006/relationships/image" Target="../media/image482.png"/><Relationship Id="rId14" Type="http://schemas.openxmlformats.org/officeDocument/2006/relationships/image" Target="../media/image487.png"/></Relationships>
</file>

<file path=ppt/slides/_rels/slide79.xml.rels><?xml version="1.0" encoding="UTF-8" standalone="yes"?>
<Relationships xmlns="http://schemas.openxmlformats.org/package/2006/relationships"><Relationship Id="rId3" Type="http://schemas.openxmlformats.org/officeDocument/2006/relationships/image" Target="../media/image490.png"/><Relationship Id="rId2" Type="http://schemas.openxmlformats.org/officeDocument/2006/relationships/image" Target="../media/image489.jpg"/><Relationship Id="rId1" Type="http://schemas.openxmlformats.org/officeDocument/2006/relationships/slideLayout" Target="../slideLayouts/slideLayout2.xml"/><Relationship Id="rId5" Type="http://schemas.openxmlformats.org/officeDocument/2006/relationships/image" Target="../media/image492.jpg"/><Relationship Id="rId4" Type="http://schemas.openxmlformats.org/officeDocument/2006/relationships/image" Target="../media/image49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499.png"/><Relationship Id="rId3" Type="http://schemas.openxmlformats.org/officeDocument/2006/relationships/image" Target="../media/image494.jpg"/><Relationship Id="rId7" Type="http://schemas.openxmlformats.org/officeDocument/2006/relationships/image" Target="../media/image498.png"/><Relationship Id="rId2" Type="http://schemas.openxmlformats.org/officeDocument/2006/relationships/image" Target="../media/image493.png"/><Relationship Id="rId1" Type="http://schemas.openxmlformats.org/officeDocument/2006/relationships/slideLayout" Target="../slideLayouts/slideLayout2.xml"/><Relationship Id="rId6" Type="http://schemas.openxmlformats.org/officeDocument/2006/relationships/image" Target="../media/image497.png"/><Relationship Id="rId5" Type="http://schemas.openxmlformats.org/officeDocument/2006/relationships/image" Target="../media/image496.png"/><Relationship Id="rId4" Type="http://schemas.openxmlformats.org/officeDocument/2006/relationships/image" Target="../media/image495.png"/></Relationships>
</file>

<file path=ppt/slides/_rels/slide81.xml.rels><?xml version="1.0" encoding="UTF-8" standalone="yes"?>
<Relationships xmlns="http://schemas.openxmlformats.org/package/2006/relationships"><Relationship Id="rId8" Type="http://schemas.openxmlformats.org/officeDocument/2006/relationships/image" Target="../media/image506.png"/><Relationship Id="rId3" Type="http://schemas.openxmlformats.org/officeDocument/2006/relationships/image" Target="../media/image501.png"/><Relationship Id="rId7" Type="http://schemas.openxmlformats.org/officeDocument/2006/relationships/image" Target="../media/image505.png"/><Relationship Id="rId2" Type="http://schemas.openxmlformats.org/officeDocument/2006/relationships/image" Target="../media/image500.png"/><Relationship Id="rId1" Type="http://schemas.openxmlformats.org/officeDocument/2006/relationships/slideLayout" Target="../slideLayouts/slideLayout2.xml"/><Relationship Id="rId6" Type="http://schemas.openxmlformats.org/officeDocument/2006/relationships/image" Target="../media/image504.png"/><Relationship Id="rId5" Type="http://schemas.openxmlformats.org/officeDocument/2006/relationships/image" Target="../media/image503.png"/><Relationship Id="rId4" Type="http://schemas.openxmlformats.org/officeDocument/2006/relationships/image" Target="../media/image502.png"/></Relationships>
</file>

<file path=ppt/slides/_rels/slide82.xml.rels><?xml version="1.0" encoding="UTF-8" standalone="yes"?>
<Relationships xmlns="http://schemas.openxmlformats.org/package/2006/relationships"><Relationship Id="rId3" Type="http://schemas.openxmlformats.org/officeDocument/2006/relationships/image" Target="../media/image508.png"/><Relationship Id="rId2" Type="http://schemas.openxmlformats.org/officeDocument/2006/relationships/image" Target="../media/image507.png"/><Relationship Id="rId1" Type="http://schemas.openxmlformats.org/officeDocument/2006/relationships/slideLayout" Target="../slideLayouts/slideLayout2.xml"/><Relationship Id="rId4" Type="http://schemas.openxmlformats.org/officeDocument/2006/relationships/image" Target="../media/image509.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511.svg"/><Relationship Id="rId2" Type="http://schemas.openxmlformats.org/officeDocument/2006/relationships/image" Target="../media/image510.png"/><Relationship Id="rId1" Type="http://schemas.openxmlformats.org/officeDocument/2006/relationships/slideLayout" Target="../slideLayouts/slideLayout2.xml"/><Relationship Id="rId5" Type="http://schemas.openxmlformats.org/officeDocument/2006/relationships/image" Target="../media/image513.svg"/><Relationship Id="rId4" Type="http://schemas.openxmlformats.org/officeDocument/2006/relationships/image" Target="../media/image512.png"/></Relationships>
</file>

<file path=ppt/slides/_rels/slide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8" Type="http://schemas.openxmlformats.org/officeDocument/2006/relationships/image" Target="../media/image520.png"/><Relationship Id="rId3" Type="http://schemas.openxmlformats.org/officeDocument/2006/relationships/image" Target="../media/image515.png"/><Relationship Id="rId7" Type="http://schemas.openxmlformats.org/officeDocument/2006/relationships/image" Target="../media/image519.png"/><Relationship Id="rId2" Type="http://schemas.openxmlformats.org/officeDocument/2006/relationships/image" Target="../media/image514.png"/><Relationship Id="rId1" Type="http://schemas.openxmlformats.org/officeDocument/2006/relationships/slideLayout" Target="../slideLayouts/slideLayout2.xml"/><Relationship Id="rId6" Type="http://schemas.openxmlformats.org/officeDocument/2006/relationships/image" Target="../media/image518.png"/><Relationship Id="rId11" Type="http://schemas.openxmlformats.org/officeDocument/2006/relationships/image" Target="../media/image523.png"/><Relationship Id="rId5" Type="http://schemas.openxmlformats.org/officeDocument/2006/relationships/image" Target="../media/image517.png"/><Relationship Id="rId10" Type="http://schemas.openxmlformats.org/officeDocument/2006/relationships/image" Target="../media/image522.png"/><Relationship Id="rId4" Type="http://schemas.openxmlformats.org/officeDocument/2006/relationships/image" Target="../media/image516.png"/><Relationship Id="rId9" Type="http://schemas.openxmlformats.org/officeDocument/2006/relationships/image" Target="../media/image521.png"/></Relationships>
</file>

<file path=ppt/slides/_rels/slide87.xml.rels><?xml version="1.0" encoding="UTF-8" standalone="yes"?>
<Relationships xmlns="http://schemas.openxmlformats.org/package/2006/relationships"><Relationship Id="rId3" Type="http://schemas.openxmlformats.org/officeDocument/2006/relationships/image" Target="../media/image524.png"/><Relationship Id="rId7" Type="http://schemas.openxmlformats.org/officeDocument/2006/relationships/image" Target="../media/image528.png"/><Relationship Id="rId2" Type="http://schemas.openxmlformats.org/officeDocument/2006/relationships/hyperlink" Target="https://www.capgemini.com/de-de/wp-content/uploads/sites/5/2016/03/devops-the-future-of-application-lifecycle-automation.pdf" TargetMode="External"/><Relationship Id="rId1" Type="http://schemas.openxmlformats.org/officeDocument/2006/relationships/slideLayout" Target="../slideLayouts/slideLayout2.xml"/><Relationship Id="rId6" Type="http://schemas.openxmlformats.org/officeDocument/2006/relationships/image" Target="../media/image527.png"/><Relationship Id="rId5" Type="http://schemas.openxmlformats.org/officeDocument/2006/relationships/image" Target="../media/image526.png"/><Relationship Id="rId4" Type="http://schemas.openxmlformats.org/officeDocument/2006/relationships/image" Target="../media/image525.png"/></Relationships>
</file>

<file path=ppt/slides/_rels/slide88.xml.rels><?xml version="1.0" encoding="UTF-8" standalone="yes"?>
<Relationships xmlns="http://schemas.openxmlformats.org/package/2006/relationships"><Relationship Id="rId2" Type="http://schemas.openxmlformats.org/officeDocument/2006/relationships/hyperlink" Target="https://www.capgemini.com/de-de/wp-content/uploads/sites/5/2016/03/devops-the-future-of-application-lifecycle-automation.pdf" TargetMode="Externa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529.png"/><Relationship Id="rId7"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531.png"/><Relationship Id="rId5" Type="http://schemas.openxmlformats.org/officeDocument/2006/relationships/image" Target="../media/image42.png"/><Relationship Id="rId4" Type="http://schemas.openxmlformats.org/officeDocument/2006/relationships/image" Target="../media/image53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533.png"/><Relationship Id="rId2" Type="http://schemas.openxmlformats.org/officeDocument/2006/relationships/image" Target="../media/image532.png"/><Relationship Id="rId1" Type="http://schemas.openxmlformats.org/officeDocument/2006/relationships/slideLayout" Target="../slideLayouts/slideLayout2.xml"/><Relationship Id="rId6" Type="http://schemas.openxmlformats.org/officeDocument/2006/relationships/image" Target="../media/image536.png"/><Relationship Id="rId5" Type="http://schemas.openxmlformats.org/officeDocument/2006/relationships/image" Target="../media/image535.png"/><Relationship Id="rId4" Type="http://schemas.openxmlformats.org/officeDocument/2006/relationships/image" Target="../media/image534.pn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5.xml"/><Relationship Id="rId5" Type="http://schemas.openxmlformats.org/officeDocument/2006/relationships/image" Target="../media/image540.png"/><Relationship Id="rId4" Type="http://schemas.openxmlformats.org/officeDocument/2006/relationships/image" Target="../media/image539.png"/></Relationships>
</file>

<file path=ppt/slides/_rels/slide94.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5.xml"/><Relationship Id="rId5" Type="http://schemas.openxmlformats.org/officeDocument/2006/relationships/image" Target="../media/image540.png"/><Relationship Id="rId4" Type="http://schemas.openxmlformats.org/officeDocument/2006/relationships/image" Target="../media/image539.png"/></Relationships>
</file>

<file path=ppt/slides/_rels/slide95.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5.xml"/><Relationship Id="rId5" Type="http://schemas.openxmlformats.org/officeDocument/2006/relationships/image" Target="../media/image540.png"/><Relationship Id="rId4" Type="http://schemas.openxmlformats.org/officeDocument/2006/relationships/image" Target="../media/image539.png"/></Relationships>
</file>

<file path=ppt/slides/_rels/slide96.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5.xml"/><Relationship Id="rId5" Type="http://schemas.openxmlformats.org/officeDocument/2006/relationships/image" Target="../media/image540.png"/><Relationship Id="rId4" Type="http://schemas.openxmlformats.org/officeDocument/2006/relationships/image" Target="../media/image539.png"/></Relationships>
</file>

<file path=ppt/slides/_rels/slide97.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5.xml"/><Relationship Id="rId5" Type="http://schemas.openxmlformats.org/officeDocument/2006/relationships/image" Target="../media/image540.png"/><Relationship Id="rId4" Type="http://schemas.openxmlformats.org/officeDocument/2006/relationships/image" Target="../media/image539.png"/></Relationships>
</file>

<file path=ppt/slides/_rels/slide98.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2.xml"/><Relationship Id="rId6" Type="http://schemas.openxmlformats.org/officeDocument/2006/relationships/image" Target="../media/image541.png"/><Relationship Id="rId5" Type="http://schemas.openxmlformats.org/officeDocument/2006/relationships/image" Target="../media/image540.png"/><Relationship Id="rId4" Type="http://schemas.openxmlformats.org/officeDocument/2006/relationships/image" Target="../media/image539.png"/></Relationships>
</file>

<file path=ppt/slides/_rels/slide99.xml.rels><?xml version="1.0" encoding="UTF-8" standalone="yes"?>
<Relationships xmlns="http://schemas.openxmlformats.org/package/2006/relationships"><Relationship Id="rId3" Type="http://schemas.openxmlformats.org/officeDocument/2006/relationships/image" Target="../media/image538.png"/><Relationship Id="rId2" Type="http://schemas.openxmlformats.org/officeDocument/2006/relationships/image" Target="../media/image537.png"/><Relationship Id="rId1" Type="http://schemas.openxmlformats.org/officeDocument/2006/relationships/slideLayout" Target="../slideLayouts/slideLayout2.xml"/><Relationship Id="rId6" Type="http://schemas.openxmlformats.org/officeDocument/2006/relationships/image" Target="../media/image541.png"/><Relationship Id="rId5" Type="http://schemas.openxmlformats.org/officeDocument/2006/relationships/image" Target="../media/image540.png"/><Relationship Id="rId4" Type="http://schemas.openxmlformats.org/officeDocument/2006/relationships/image" Target="../media/image5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1352276" y="220979"/>
            <a:ext cx="0" cy="339725"/>
          </a:xfrm>
          <a:custGeom>
            <a:avLst/>
            <a:gdLst/>
            <a:ahLst/>
            <a:cxnLst/>
            <a:rect l="l" t="t" r="r" b="b"/>
            <a:pathLst>
              <a:path h="339725">
                <a:moveTo>
                  <a:pt x="0" y="0"/>
                </a:moveTo>
                <a:lnTo>
                  <a:pt x="0" y="339344"/>
                </a:lnTo>
              </a:path>
            </a:pathLst>
          </a:custGeom>
          <a:ln w="6096">
            <a:solidFill>
              <a:srgbClr val="7E7E7E"/>
            </a:solidFill>
          </a:ln>
        </p:spPr>
        <p:txBody>
          <a:bodyPr wrap="square" lIns="0" tIns="0" rIns="0" bIns="0" rtlCol="0"/>
          <a:lstStyle/>
          <a:p>
            <a:endParaRPr/>
          </a:p>
        </p:txBody>
      </p:sp>
      <p:sp>
        <p:nvSpPr>
          <p:cNvPr id="3" name="object 3"/>
          <p:cNvSpPr txBox="1"/>
          <p:nvPr/>
        </p:nvSpPr>
        <p:spPr>
          <a:xfrm>
            <a:off x="227380" y="6650797"/>
            <a:ext cx="11647170" cy="151765"/>
          </a:xfrm>
          <a:prstGeom prst="rect">
            <a:avLst/>
          </a:prstGeom>
        </p:spPr>
        <p:txBody>
          <a:bodyPr vert="horz" wrap="square" lIns="0" tIns="635" rIns="0" bIns="0" rtlCol="0">
            <a:spAutoFit/>
          </a:bodyPr>
          <a:lstStyle/>
          <a:p>
            <a:pPr>
              <a:lnSpc>
                <a:spcPct val="100000"/>
              </a:lnSpc>
              <a:spcBef>
                <a:spcPts val="5"/>
              </a:spcBef>
              <a:tabLst>
                <a:tab pos="9389745" algn="l"/>
              </a:tabLst>
            </a:pPr>
            <a:r>
              <a:rPr sz="1200" baseline="-13888">
                <a:solidFill>
                  <a:srgbClr val="A6A6A6"/>
                </a:solidFill>
                <a:latin typeface="Verdana"/>
                <a:cs typeface="Verdana"/>
              </a:rPr>
              <a:t>Salesforce </a:t>
            </a:r>
            <a:r>
              <a:rPr sz="1200" spc="-7" baseline="-13888">
                <a:solidFill>
                  <a:srgbClr val="A6A6A6"/>
                </a:solidFill>
                <a:latin typeface="Verdana"/>
                <a:cs typeface="Verdana"/>
              </a:rPr>
              <a:t>Rollout Project </a:t>
            </a:r>
            <a:r>
              <a:rPr sz="1200" baseline="-13888">
                <a:solidFill>
                  <a:srgbClr val="A6A6A6"/>
                </a:solidFill>
                <a:latin typeface="Verdana"/>
                <a:cs typeface="Verdana"/>
              </a:rPr>
              <a:t>|</a:t>
            </a:r>
            <a:r>
              <a:rPr sz="1200" spc="44" baseline="-13888">
                <a:solidFill>
                  <a:srgbClr val="A6A6A6"/>
                </a:solidFill>
                <a:latin typeface="Verdana"/>
                <a:cs typeface="Verdana"/>
              </a:rPr>
              <a:t> </a:t>
            </a:r>
            <a:r>
              <a:rPr sz="1200" baseline="-13888">
                <a:solidFill>
                  <a:srgbClr val="A6A6A6"/>
                </a:solidFill>
                <a:latin typeface="Verdana"/>
                <a:cs typeface="Verdana"/>
              </a:rPr>
              <a:t>Sep</a:t>
            </a:r>
            <a:r>
              <a:rPr sz="1200" spc="30" baseline="-13888">
                <a:solidFill>
                  <a:srgbClr val="A6A6A6"/>
                </a:solidFill>
                <a:latin typeface="Verdana"/>
                <a:cs typeface="Verdana"/>
              </a:rPr>
              <a:t> </a:t>
            </a:r>
            <a:r>
              <a:rPr sz="1200" baseline="-13888">
                <a:solidFill>
                  <a:srgbClr val="A6A6A6"/>
                </a:solidFill>
                <a:latin typeface="Verdana"/>
                <a:cs typeface="Verdana"/>
              </a:rPr>
              <a:t>2020	</a:t>
            </a: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0">
                <a:solidFill>
                  <a:srgbClr val="12ABDB"/>
                </a:solidFill>
                <a:latin typeface="Verdana"/>
                <a:cs typeface="Verdana"/>
              </a:rPr>
              <a:t> </a:t>
            </a:r>
            <a:r>
              <a:rPr sz="800">
                <a:solidFill>
                  <a:srgbClr val="A6A6A6"/>
                </a:solidFill>
                <a:latin typeface="Verdana"/>
                <a:cs typeface="Verdana"/>
              </a:rPr>
              <a:t>1</a:t>
            </a:r>
            <a:endParaRPr sz="800">
              <a:latin typeface="Verdana"/>
              <a:cs typeface="Verdana"/>
            </a:endParaRPr>
          </a:p>
        </p:txBody>
      </p:sp>
      <p:sp>
        <p:nvSpPr>
          <p:cNvPr id="4" name="object 4"/>
          <p:cNvSpPr/>
          <p:nvPr/>
        </p:nvSpPr>
        <p:spPr>
          <a:xfrm>
            <a:off x="1523" y="0"/>
            <a:ext cx="12188952" cy="6857999"/>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9733788" y="437387"/>
            <a:ext cx="2049779" cy="458724"/>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9575292" y="405384"/>
            <a:ext cx="0" cy="516890"/>
          </a:xfrm>
          <a:custGeom>
            <a:avLst/>
            <a:gdLst/>
            <a:ahLst/>
            <a:cxnLst/>
            <a:rect l="l" t="t" r="r" b="b"/>
            <a:pathLst>
              <a:path h="516890">
                <a:moveTo>
                  <a:pt x="0" y="0"/>
                </a:moveTo>
                <a:lnTo>
                  <a:pt x="0" y="516381"/>
                </a:lnTo>
              </a:path>
            </a:pathLst>
          </a:custGeom>
          <a:ln w="6096">
            <a:solidFill>
              <a:srgbClr val="12ABDB"/>
            </a:solidFill>
          </a:ln>
        </p:spPr>
        <p:txBody>
          <a:bodyPr wrap="square" lIns="0" tIns="0" rIns="0" bIns="0" rtlCol="0"/>
          <a:lstStyle/>
          <a:p>
            <a:endParaRPr/>
          </a:p>
        </p:txBody>
      </p:sp>
      <p:sp>
        <p:nvSpPr>
          <p:cNvPr id="7" name="object 7"/>
          <p:cNvSpPr/>
          <p:nvPr/>
        </p:nvSpPr>
        <p:spPr>
          <a:xfrm>
            <a:off x="8511540" y="307847"/>
            <a:ext cx="914400" cy="745236"/>
          </a:xfrm>
          <a:prstGeom prst="rect">
            <a:avLst/>
          </a:prstGeom>
          <a:blipFill>
            <a:blip r:embed="rId4"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6723380" y="1677746"/>
            <a:ext cx="5151120" cy="757555"/>
          </a:xfrm>
          <a:prstGeom prst="rect">
            <a:avLst/>
          </a:prstGeom>
        </p:spPr>
        <p:txBody>
          <a:bodyPr vert="horz" wrap="square" lIns="0" tIns="12700" rIns="0" bIns="0" rtlCol="0">
            <a:spAutoFit/>
          </a:bodyPr>
          <a:lstStyle/>
          <a:p>
            <a:pPr marR="5080" algn="r">
              <a:lnSpc>
                <a:spcPct val="100000"/>
              </a:lnSpc>
              <a:spcBef>
                <a:spcPts val="100"/>
              </a:spcBef>
            </a:pPr>
            <a:r>
              <a:rPr spc="-15">
                <a:solidFill>
                  <a:srgbClr val="2B133C"/>
                </a:solidFill>
              </a:rPr>
              <a:t>Capgemini’s </a:t>
            </a:r>
            <a:r>
              <a:rPr spc="-5">
                <a:solidFill>
                  <a:srgbClr val="2B133C"/>
                </a:solidFill>
              </a:rPr>
              <a:t>Proposal for</a:t>
            </a:r>
            <a:r>
              <a:rPr spc="55">
                <a:solidFill>
                  <a:srgbClr val="2B133C"/>
                </a:solidFill>
              </a:rPr>
              <a:t> </a:t>
            </a:r>
            <a:r>
              <a:rPr spc="-15">
                <a:solidFill>
                  <a:srgbClr val="2B133C"/>
                </a:solidFill>
              </a:rPr>
              <a:t>Marelli’s</a:t>
            </a:r>
          </a:p>
          <a:p>
            <a:pPr marR="5080" algn="r">
              <a:lnSpc>
                <a:spcPct val="100000"/>
              </a:lnSpc>
              <a:spcBef>
                <a:spcPts val="5"/>
              </a:spcBef>
            </a:pPr>
            <a:r>
              <a:rPr spc="-5">
                <a:solidFill>
                  <a:srgbClr val="2B133C"/>
                </a:solidFill>
              </a:rPr>
              <a:t>Salesforce </a:t>
            </a:r>
            <a:r>
              <a:rPr spc="-15">
                <a:solidFill>
                  <a:srgbClr val="2B133C"/>
                </a:solidFill>
              </a:rPr>
              <a:t>Rollout</a:t>
            </a:r>
            <a:r>
              <a:rPr spc="20">
                <a:solidFill>
                  <a:srgbClr val="2B133C"/>
                </a:solidFill>
              </a:rPr>
              <a:t> </a:t>
            </a:r>
            <a:r>
              <a:rPr spc="-5">
                <a:solidFill>
                  <a:srgbClr val="2B133C"/>
                </a:solidFill>
              </a:rPr>
              <a:t>Project</a:t>
            </a:r>
          </a:p>
        </p:txBody>
      </p:sp>
      <p:sp>
        <p:nvSpPr>
          <p:cNvPr id="9" name="object 9"/>
          <p:cNvSpPr txBox="1"/>
          <p:nvPr/>
        </p:nvSpPr>
        <p:spPr>
          <a:xfrm>
            <a:off x="9783571" y="2499461"/>
            <a:ext cx="2091055" cy="814710"/>
          </a:xfrm>
          <a:prstGeom prst="rect">
            <a:avLst/>
          </a:prstGeom>
        </p:spPr>
        <p:txBody>
          <a:bodyPr vert="horz" wrap="square" lIns="0" tIns="74930" rIns="0" bIns="0" rtlCol="0">
            <a:spAutoFit/>
          </a:bodyPr>
          <a:lstStyle/>
          <a:p>
            <a:pPr marR="5080" algn="r">
              <a:lnSpc>
                <a:spcPct val="100000"/>
              </a:lnSpc>
              <a:spcBef>
                <a:spcPts val="590"/>
              </a:spcBef>
            </a:pPr>
            <a:r>
              <a:rPr sz="1400">
                <a:latin typeface="Verdana"/>
                <a:cs typeface="Verdana"/>
              </a:rPr>
              <a:t>OP#</a:t>
            </a:r>
            <a:r>
              <a:rPr sz="1400" spc="-90">
                <a:latin typeface="Verdana"/>
                <a:cs typeface="Verdana"/>
              </a:rPr>
              <a:t> </a:t>
            </a:r>
            <a:r>
              <a:rPr sz="1400" spc="-5">
                <a:latin typeface="Verdana"/>
                <a:cs typeface="Verdana"/>
              </a:rPr>
              <a:t>01149804</a:t>
            </a:r>
            <a:endParaRPr sz="1400">
              <a:latin typeface="Verdana"/>
              <a:cs typeface="Verdana"/>
            </a:endParaRPr>
          </a:p>
          <a:p>
            <a:pPr marL="12700" marR="5080" indent="429259" algn="r">
              <a:lnSpc>
                <a:spcPct val="129299"/>
              </a:lnSpc>
            </a:pPr>
            <a:r>
              <a:rPr sz="1400" spc="-15">
                <a:latin typeface="Verdana"/>
                <a:cs typeface="Verdana"/>
              </a:rPr>
              <a:t>Technical</a:t>
            </a:r>
            <a:r>
              <a:rPr sz="1400" spc="-110">
                <a:latin typeface="Verdana"/>
                <a:cs typeface="Verdana"/>
              </a:rPr>
              <a:t> </a:t>
            </a:r>
            <a:r>
              <a:rPr sz="1400">
                <a:latin typeface="Verdana"/>
                <a:cs typeface="Verdana"/>
              </a:rPr>
              <a:t>Proposal  </a:t>
            </a:r>
            <a:r>
              <a:rPr sz="1400" spc="-20">
                <a:latin typeface="Verdana"/>
                <a:cs typeface="Verdana"/>
              </a:rPr>
              <a:t>Turin, </a:t>
            </a:r>
            <a:r>
              <a:rPr lang="it-IT" sz="1400" spc="-20" err="1">
                <a:latin typeface="Verdana"/>
                <a:cs typeface="Verdana"/>
              </a:rPr>
              <a:t>October</a:t>
            </a:r>
            <a:r>
              <a:rPr sz="1400" spc="-105">
                <a:latin typeface="Verdana"/>
                <a:cs typeface="Verdana"/>
              </a:rPr>
              <a:t> </a:t>
            </a:r>
            <a:r>
              <a:rPr sz="1400" spc="-5">
                <a:latin typeface="Verdana"/>
                <a:cs typeface="Verdana"/>
              </a:rPr>
              <a:t>2020</a:t>
            </a:r>
            <a:endParaRPr sz="1400">
              <a:latin typeface="Verdana"/>
              <a:cs typeface="Verdan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92735"/>
            <a:ext cx="3723004" cy="422909"/>
          </a:xfrm>
          <a:prstGeom prst="rect">
            <a:avLst/>
          </a:prstGeom>
        </p:spPr>
        <p:txBody>
          <a:bodyPr vert="horz" wrap="square" lIns="0" tIns="13335" rIns="0" bIns="0" rtlCol="0">
            <a:spAutoFit/>
          </a:bodyPr>
          <a:lstStyle/>
          <a:p>
            <a:pPr marL="12700">
              <a:lnSpc>
                <a:spcPct val="100000"/>
              </a:lnSpc>
              <a:spcBef>
                <a:spcPts val="105"/>
              </a:spcBef>
            </a:pPr>
            <a:r>
              <a:rPr sz="2600"/>
              <a:t>Summary of the</a:t>
            </a:r>
            <a:r>
              <a:rPr sz="2600" spc="-120"/>
              <a:t> </a:t>
            </a:r>
            <a:r>
              <a:rPr sz="2600" spc="-70"/>
              <a:t>Team</a:t>
            </a:r>
            <a:endParaRPr sz="2600"/>
          </a:p>
        </p:txBody>
      </p:sp>
      <p:sp>
        <p:nvSpPr>
          <p:cNvPr id="3" name="object 3"/>
          <p:cNvSpPr txBox="1"/>
          <p:nvPr/>
        </p:nvSpPr>
        <p:spPr>
          <a:xfrm>
            <a:off x="463295" y="1368552"/>
            <a:ext cx="3738879" cy="4639310"/>
          </a:xfrm>
          <a:prstGeom prst="rect">
            <a:avLst/>
          </a:prstGeom>
          <a:solidFill>
            <a:srgbClr val="421F5D"/>
          </a:solidFill>
        </p:spPr>
        <p:txBody>
          <a:bodyPr vert="horz" wrap="square" lIns="0" tIns="187960" rIns="0" bIns="0" rtlCol="0">
            <a:spAutoFit/>
          </a:bodyPr>
          <a:lstStyle/>
          <a:p>
            <a:pPr algn="ctr">
              <a:lnSpc>
                <a:spcPct val="100000"/>
              </a:lnSpc>
              <a:spcBef>
                <a:spcPts val="1480"/>
              </a:spcBef>
            </a:pPr>
            <a:r>
              <a:rPr sz="1400" i="1" spc="-5">
                <a:solidFill>
                  <a:srgbClr val="FFFFFF"/>
                </a:solidFill>
                <a:latin typeface="Verdana"/>
                <a:cs typeface="Verdana"/>
              </a:rPr>
              <a:t>The </a:t>
            </a:r>
            <a:r>
              <a:rPr sz="1400" i="1">
                <a:solidFill>
                  <a:srgbClr val="FFFFFF"/>
                </a:solidFill>
                <a:latin typeface="Verdana"/>
                <a:cs typeface="Verdana"/>
              </a:rPr>
              <a:t>Salesforce </a:t>
            </a:r>
            <a:r>
              <a:rPr sz="1400" i="1" spc="-5">
                <a:solidFill>
                  <a:srgbClr val="FFFFFF"/>
                </a:solidFill>
                <a:latin typeface="Verdana"/>
                <a:cs typeface="Verdana"/>
              </a:rPr>
              <a:t>Rollout </a:t>
            </a:r>
            <a:r>
              <a:rPr sz="1400" i="1">
                <a:solidFill>
                  <a:srgbClr val="FFFFFF"/>
                </a:solidFill>
                <a:latin typeface="Verdana"/>
                <a:cs typeface="Verdana"/>
              </a:rPr>
              <a:t>Project</a:t>
            </a:r>
            <a:r>
              <a:rPr sz="1400" i="1" spc="-65">
                <a:solidFill>
                  <a:srgbClr val="FFFFFF"/>
                </a:solidFill>
                <a:latin typeface="Verdana"/>
                <a:cs typeface="Verdana"/>
              </a:rPr>
              <a:t> </a:t>
            </a:r>
            <a:r>
              <a:rPr sz="1400" i="1">
                <a:solidFill>
                  <a:srgbClr val="FFFFFF"/>
                </a:solidFill>
                <a:latin typeface="Verdana"/>
                <a:cs typeface="Verdana"/>
              </a:rPr>
              <a:t>has</a:t>
            </a:r>
            <a:endParaRPr sz="1400">
              <a:latin typeface="Verdana"/>
              <a:cs typeface="Verdana"/>
            </a:endParaRPr>
          </a:p>
          <a:p>
            <a:pPr>
              <a:lnSpc>
                <a:spcPct val="100000"/>
              </a:lnSpc>
              <a:spcBef>
                <a:spcPts val="10"/>
              </a:spcBef>
            </a:pPr>
            <a:endParaRPr sz="1450">
              <a:latin typeface="Times New Roman"/>
              <a:cs typeface="Times New Roman"/>
            </a:endParaRPr>
          </a:p>
          <a:p>
            <a:pPr algn="ctr">
              <a:lnSpc>
                <a:spcPct val="100000"/>
              </a:lnSpc>
              <a:spcBef>
                <a:spcPts val="5"/>
              </a:spcBef>
            </a:pPr>
            <a:r>
              <a:rPr sz="1400" i="1">
                <a:solidFill>
                  <a:srgbClr val="FFFFFF"/>
                </a:solidFill>
                <a:latin typeface="Verdana"/>
                <a:cs typeface="Verdana"/>
              </a:rPr>
              <a:t>different unique</a:t>
            </a:r>
            <a:r>
              <a:rPr sz="1400" i="1" spc="-40">
                <a:solidFill>
                  <a:srgbClr val="FFFFFF"/>
                </a:solidFill>
                <a:latin typeface="Verdana"/>
                <a:cs typeface="Verdana"/>
              </a:rPr>
              <a:t> </a:t>
            </a:r>
            <a:r>
              <a:rPr sz="1400" i="1" spc="-5">
                <a:solidFill>
                  <a:srgbClr val="FFFFFF"/>
                </a:solidFill>
                <a:latin typeface="Verdana"/>
                <a:cs typeface="Verdana"/>
              </a:rPr>
              <a:t>characteristics,</a:t>
            </a:r>
            <a:endParaRPr sz="1400">
              <a:latin typeface="Verdana"/>
              <a:cs typeface="Verdana"/>
            </a:endParaRPr>
          </a:p>
          <a:p>
            <a:pPr marL="280670" marR="274955" algn="ctr">
              <a:lnSpc>
                <a:spcPct val="200000"/>
              </a:lnSpc>
            </a:pPr>
            <a:r>
              <a:rPr sz="1400" i="1">
                <a:solidFill>
                  <a:srgbClr val="FFFFFF"/>
                </a:solidFill>
                <a:latin typeface="Verdana"/>
                <a:cs typeface="Verdana"/>
              </a:rPr>
              <a:t>especially </a:t>
            </a:r>
            <a:r>
              <a:rPr sz="1400" i="1" spc="-5">
                <a:solidFill>
                  <a:srgbClr val="FFFFFF"/>
                </a:solidFill>
                <a:latin typeface="Verdana"/>
                <a:cs typeface="Verdana"/>
              </a:rPr>
              <a:t>in </a:t>
            </a:r>
            <a:r>
              <a:rPr sz="1400" i="1">
                <a:solidFill>
                  <a:srgbClr val="FFFFFF"/>
                </a:solidFill>
                <a:latin typeface="Verdana"/>
                <a:cs typeface="Verdana"/>
              </a:rPr>
              <a:t>terms of </a:t>
            </a:r>
            <a:r>
              <a:rPr sz="1400" i="1" spc="-5">
                <a:solidFill>
                  <a:srgbClr val="FFFFFF"/>
                </a:solidFill>
                <a:latin typeface="Verdana"/>
                <a:cs typeface="Verdana"/>
              </a:rPr>
              <a:t>terms </a:t>
            </a:r>
            <a:r>
              <a:rPr sz="1400" i="1">
                <a:solidFill>
                  <a:srgbClr val="FFFFFF"/>
                </a:solidFill>
                <a:latin typeface="Verdana"/>
                <a:cs typeface="Verdana"/>
              </a:rPr>
              <a:t>of</a:t>
            </a:r>
            <a:r>
              <a:rPr sz="1400" i="1" spc="-120">
                <a:solidFill>
                  <a:srgbClr val="FFFFFF"/>
                </a:solidFill>
                <a:latin typeface="Verdana"/>
                <a:cs typeface="Verdana"/>
              </a:rPr>
              <a:t> </a:t>
            </a:r>
            <a:r>
              <a:rPr sz="1400" i="1" spc="-5">
                <a:solidFill>
                  <a:srgbClr val="FFFFFF"/>
                </a:solidFill>
                <a:latin typeface="Verdana"/>
                <a:cs typeface="Verdana"/>
              </a:rPr>
              <a:t>time  </a:t>
            </a:r>
            <a:r>
              <a:rPr sz="1400" i="1">
                <a:solidFill>
                  <a:srgbClr val="FFFFFF"/>
                </a:solidFill>
                <a:latin typeface="Verdana"/>
                <a:cs typeface="Verdana"/>
              </a:rPr>
              <a:t>and </a:t>
            </a:r>
            <a:r>
              <a:rPr sz="1400" i="1" spc="-5">
                <a:solidFill>
                  <a:srgbClr val="FFFFFF"/>
                </a:solidFill>
                <a:latin typeface="Verdana"/>
                <a:cs typeface="Verdana"/>
              </a:rPr>
              <a:t>business</a:t>
            </a:r>
            <a:r>
              <a:rPr sz="1400" i="1" spc="-50">
                <a:solidFill>
                  <a:srgbClr val="FFFFFF"/>
                </a:solidFill>
                <a:latin typeface="Verdana"/>
                <a:cs typeface="Verdana"/>
              </a:rPr>
              <a:t> </a:t>
            </a:r>
            <a:r>
              <a:rPr sz="1400" i="1">
                <a:solidFill>
                  <a:srgbClr val="FFFFFF"/>
                </a:solidFill>
                <a:latin typeface="Verdana"/>
                <a:cs typeface="Verdana"/>
              </a:rPr>
              <a:t>scope.</a:t>
            </a:r>
            <a:endParaRPr sz="1400">
              <a:latin typeface="Verdana"/>
              <a:cs typeface="Verdana"/>
            </a:endParaRPr>
          </a:p>
          <a:p>
            <a:pPr marL="91440" marR="85090" indent="635" algn="ctr">
              <a:lnSpc>
                <a:spcPct val="200100"/>
              </a:lnSpc>
              <a:spcBef>
                <a:spcPts val="1200"/>
              </a:spcBef>
            </a:pPr>
            <a:r>
              <a:rPr sz="1400" i="1">
                <a:solidFill>
                  <a:srgbClr val="FFFFFF"/>
                </a:solidFill>
                <a:latin typeface="Verdana"/>
                <a:cs typeface="Verdana"/>
              </a:rPr>
              <a:t>At </a:t>
            </a:r>
            <a:r>
              <a:rPr sz="1400" i="1" spc="-5">
                <a:solidFill>
                  <a:srgbClr val="FFFFFF"/>
                </a:solidFill>
                <a:latin typeface="Verdana"/>
                <a:cs typeface="Verdana"/>
              </a:rPr>
              <a:t>Capgemini </a:t>
            </a:r>
            <a:r>
              <a:rPr sz="1400" i="1">
                <a:solidFill>
                  <a:srgbClr val="FFFFFF"/>
                </a:solidFill>
                <a:latin typeface="Verdana"/>
                <a:cs typeface="Verdana"/>
              </a:rPr>
              <a:t>we are used to </a:t>
            </a:r>
            <a:r>
              <a:rPr sz="1400" i="1" spc="-5">
                <a:solidFill>
                  <a:srgbClr val="FFFFFF"/>
                </a:solidFill>
                <a:latin typeface="Verdana"/>
                <a:cs typeface="Verdana"/>
              </a:rPr>
              <a:t>deliver  </a:t>
            </a:r>
            <a:r>
              <a:rPr sz="1400" i="1">
                <a:solidFill>
                  <a:srgbClr val="FFFFFF"/>
                </a:solidFill>
                <a:latin typeface="Verdana"/>
                <a:cs typeface="Verdana"/>
              </a:rPr>
              <a:t>Programs of such </a:t>
            </a:r>
            <a:r>
              <a:rPr sz="1400" i="1" spc="-5">
                <a:solidFill>
                  <a:srgbClr val="FFFFFF"/>
                </a:solidFill>
                <a:latin typeface="Verdana"/>
                <a:cs typeface="Verdana"/>
              </a:rPr>
              <a:t>magnitude </a:t>
            </a:r>
            <a:r>
              <a:rPr sz="1400" i="1">
                <a:solidFill>
                  <a:srgbClr val="FFFFFF"/>
                </a:solidFill>
                <a:latin typeface="Verdana"/>
                <a:cs typeface="Verdana"/>
              </a:rPr>
              <a:t>and </a:t>
            </a:r>
            <a:r>
              <a:rPr sz="1400" i="1" spc="-5">
                <a:solidFill>
                  <a:srgbClr val="FFFFFF"/>
                </a:solidFill>
                <a:latin typeface="Verdana"/>
                <a:cs typeface="Verdana"/>
              </a:rPr>
              <a:t>we  </a:t>
            </a:r>
            <a:r>
              <a:rPr sz="1400" i="1">
                <a:solidFill>
                  <a:srgbClr val="FFFFFF"/>
                </a:solidFill>
                <a:latin typeface="Verdana"/>
                <a:cs typeface="Verdana"/>
              </a:rPr>
              <a:t>have assembled </a:t>
            </a:r>
            <a:r>
              <a:rPr sz="1400" i="1" spc="-5">
                <a:solidFill>
                  <a:srgbClr val="FFFFFF"/>
                </a:solidFill>
                <a:latin typeface="Verdana"/>
                <a:cs typeface="Verdana"/>
              </a:rPr>
              <a:t>the best </a:t>
            </a:r>
            <a:r>
              <a:rPr sz="1400" i="1">
                <a:solidFill>
                  <a:srgbClr val="FFFFFF"/>
                </a:solidFill>
                <a:latin typeface="Verdana"/>
                <a:cs typeface="Verdana"/>
              </a:rPr>
              <a:t>Governance,  Functional, </a:t>
            </a:r>
            <a:r>
              <a:rPr sz="1400" i="1" spc="-5">
                <a:solidFill>
                  <a:srgbClr val="FFFFFF"/>
                </a:solidFill>
                <a:latin typeface="Verdana"/>
                <a:cs typeface="Verdana"/>
              </a:rPr>
              <a:t>Technical </a:t>
            </a:r>
            <a:r>
              <a:rPr sz="1400" i="1">
                <a:solidFill>
                  <a:srgbClr val="FFFFFF"/>
                </a:solidFill>
                <a:latin typeface="Verdana"/>
                <a:cs typeface="Verdana"/>
              </a:rPr>
              <a:t>and Support</a:t>
            </a:r>
            <a:r>
              <a:rPr sz="1400" i="1" spc="-135">
                <a:solidFill>
                  <a:srgbClr val="FFFFFF"/>
                </a:solidFill>
                <a:latin typeface="Verdana"/>
                <a:cs typeface="Verdana"/>
              </a:rPr>
              <a:t> </a:t>
            </a:r>
            <a:r>
              <a:rPr sz="1400" i="1" spc="-5">
                <a:solidFill>
                  <a:srgbClr val="FFFFFF"/>
                </a:solidFill>
                <a:latin typeface="Verdana"/>
                <a:cs typeface="Verdana"/>
              </a:rPr>
              <a:t>team  to </a:t>
            </a:r>
            <a:r>
              <a:rPr sz="1400" i="1">
                <a:solidFill>
                  <a:srgbClr val="FFFFFF"/>
                </a:solidFill>
                <a:latin typeface="Verdana"/>
                <a:cs typeface="Verdana"/>
              </a:rPr>
              <a:t>address Marelli</a:t>
            </a:r>
            <a:r>
              <a:rPr sz="1400" i="1" spc="-60">
                <a:solidFill>
                  <a:srgbClr val="FFFFFF"/>
                </a:solidFill>
                <a:latin typeface="Verdana"/>
                <a:cs typeface="Verdana"/>
              </a:rPr>
              <a:t> </a:t>
            </a:r>
            <a:r>
              <a:rPr sz="1400" i="1">
                <a:solidFill>
                  <a:srgbClr val="FFFFFF"/>
                </a:solidFill>
                <a:latin typeface="Verdana"/>
                <a:cs typeface="Verdana"/>
              </a:rPr>
              <a:t>requirements.</a:t>
            </a:r>
            <a:endParaRPr sz="1400">
              <a:latin typeface="Verdana"/>
              <a:cs typeface="Verdana"/>
            </a:endParaRPr>
          </a:p>
        </p:txBody>
      </p:sp>
      <p:sp>
        <p:nvSpPr>
          <p:cNvPr id="4" name="object 4"/>
          <p:cNvSpPr/>
          <p:nvPr/>
        </p:nvSpPr>
        <p:spPr>
          <a:xfrm>
            <a:off x="4650073" y="1100264"/>
            <a:ext cx="949325" cy="528955"/>
          </a:xfrm>
          <a:custGeom>
            <a:avLst/>
            <a:gdLst/>
            <a:ahLst/>
            <a:cxnLst/>
            <a:rect l="l" t="t" r="r" b="b"/>
            <a:pathLst>
              <a:path w="949325" h="528955">
                <a:moveTo>
                  <a:pt x="475138" y="0"/>
                </a:moveTo>
                <a:lnTo>
                  <a:pt x="414559" y="13525"/>
                </a:lnTo>
                <a:lnTo>
                  <a:pt x="23907" y="231457"/>
                </a:lnTo>
                <a:lnTo>
                  <a:pt x="0" y="264477"/>
                </a:lnTo>
                <a:lnTo>
                  <a:pt x="5976" y="282106"/>
                </a:lnTo>
                <a:lnTo>
                  <a:pt x="23907" y="297497"/>
                </a:lnTo>
                <a:lnTo>
                  <a:pt x="414559" y="515429"/>
                </a:lnTo>
                <a:lnTo>
                  <a:pt x="443075" y="525573"/>
                </a:lnTo>
                <a:lnTo>
                  <a:pt x="475138" y="528955"/>
                </a:lnTo>
                <a:lnTo>
                  <a:pt x="506821" y="525573"/>
                </a:lnTo>
                <a:lnTo>
                  <a:pt x="534193" y="515429"/>
                </a:lnTo>
                <a:lnTo>
                  <a:pt x="924845" y="297497"/>
                </a:lnTo>
                <a:lnTo>
                  <a:pt x="942776" y="282106"/>
                </a:lnTo>
                <a:lnTo>
                  <a:pt x="948753" y="264477"/>
                </a:lnTo>
                <a:lnTo>
                  <a:pt x="942776" y="246848"/>
                </a:lnTo>
                <a:lnTo>
                  <a:pt x="924845" y="231457"/>
                </a:lnTo>
                <a:lnTo>
                  <a:pt x="534193" y="13525"/>
                </a:lnTo>
                <a:lnTo>
                  <a:pt x="506821" y="3381"/>
                </a:lnTo>
                <a:lnTo>
                  <a:pt x="475138" y="0"/>
                </a:lnTo>
                <a:close/>
              </a:path>
            </a:pathLst>
          </a:custGeom>
          <a:solidFill>
            <a:srgbClr val="006FAC"/>
          </a:solidFill>
        </p:spPr>
        <p:txBody>
          <a:bodyPr wrap="square" lIns="0" tIns="0" rIns="0" bIns="0" rtlCol="0"/>
          <a:lstStyle/>
          <a:p>
            <a:endParaRPr/>
          </a:p>
        </p:txBody>
      </p:sp>
      <p:sp>
        <p:nvSpPr>
          <p:cNvPr id="5" name="object 5"/>
          <p:cNvSpPr/>
          <p:nvPr/>
        </p:nvSpPr>
        <p:spPr>
          <a:xfrm>
            <a:off x="4651247" y="1363980"/>
            <a:ext cx="948055" cy="330835"/>
          </a:xfrm>
          <a:custGeom>
            <a:avLst/>
            <a:gdLst/>
            <a:ahLst/>
            <a:cxnLst/>
            <a:rect l="l" t="t" r="r" b="b"/>
            <a:pathLst>
              <a:path w="948054" h="330835">
                <a:moveTo>
                  <a:pt x="0" y="0"/>
                </a:moveTo>
                <a:lnTo>
                  <a:pt x="0" y="67818"/>
                </a:lnTo>
                <a:lnTo>
                  <a:pt x="1498" y="76783"/>
                </a:lnTo>
                <a:lnTo>
                  <a:pt x="414274" y="317373"/>
                </a:lnTo>
                <a:lnTo>
                  <a:pt x="474725" y="330803"/>
                </a:lnTo>
                <a:lnTo>
                  <a:pt x="506356" y="327445"/>
                </a:lnTo>
                <a:lnTo>
                  <a:pt x="533653" y="317373"/>
                </a:lnTo>
                <a:lnTo>
                  <a:pt x="631310" y="262953"/>
                </a:lnTo>
                <a:lnTo>
                  <a:pt x="474725" y="262953"/>
                </a:lnTo>
                <a:lnTo>
                  <a:pt x="442714" y="259572"/>
                </a:lnTo>
                <a:lnTo>
                  <a:pt x="23875" y="31877"/>
                </a:lnTo>
                <a:lnTo>
                  <a:pt x="1498" y="8909"/>
                </a:lnTo>
                <a:lnTo>
                  <a:pt x="0" y="0"/>
                </a:lnTo>
                <a:close/>
              </a:path>
              <a:path w="948054" h="330835">
                <a:moveTo>
                  <a:pt x="947927" y="0"/>
                </a:moveTo>
                <a:lnTo>
                  <a:pt x="924051" y="31877"/>
                </a:lnTo>
                <a:lnTo>
                  <a:pt x="533653" y="249428"/>
                </a:lnTo>
                <a:lnTo>
                  <a:pt x="474725" y="262953"/>
                </a:lnTo>
                <a:lnTo>
                  <a:pt x="631310" y="262953"/>
                </a:lnTo>
                <a:lnTo>
                  <a:pt x="924051" y="99822"/>
                </a:lnTo>
                <a:lnTo>
                  <a:pt x="947927" y="67818"/>
                </a:lnTo>
                <a:lnTo>
                  <a:pt x="947927" y="0"/>
                </a:lnTo>
                <a:close/>
              </a:path>
            </a:pathLst>
          </a:custGeom>
          <a:solidFill>
            <a:srgbClr val="003856"/>
          </a:solidFill>
        </p:spPr>
        <p:txBody>
          <a:bodyPr wrap="square" lIns="0" tIns="0" rIns="0" bIns="0" rtlCol="0"/>
          <a:lstStyle/>
          <a:p>
            <a:endParaRPr/>
          </a:p>
        </p:txBody>
      </p:sp>
      <p:sp>
        <p:nvSpPr>
          <p:cNvPr id="6" name="object 6"/>
          <p:cNvSpPr/>
          <p:nvPr/>
        </p:nvSpPr>
        <p:spPr>
          <a:xfrm>
            <a:off x="4878323" y="1296924"/>
            <a:ext cx="495300" cy="111760"/>
          </a:xfrm>
          <a:custGeom>
            <a:avLst/>
            <a:gdLst/>
            <a:ahLst/>
            <a:cxnLst/>
            <a:rect l="l" t="t" r="r" b="b"/>
            <a:pathLst>
              <a:path w="495300" h="111759">
                <a:moveTo>
                  <a:pt x="247650" y="0"/>
                </a:moveTo>
                <a:lnTo>
                  <a:pt x="181812" y="1986"/>
                </a:lnTo>
                <a:lnTo>
                  <a:pt x="122653" y="7591"/>
                </a:lnTo>
                <a:lnTo>
                  <a:pt x="72532" y="16287"/>
                </a:lnTo>
                <a:lnTo>
                  <a:pt x="33810" y="27544"/>
                </a:lnTo>
                <a:lnTo>
                  <a:pt x="0" y="55625"/>
                </a:lnTo>
                <a:lnTo>
                  <a:pt x="8845" y="70417"/>
                </a:lnTo>
                <a:lnTo>
                  <a:pt x="72532" y="94964"/>
                </a:lnTo>
                <a:lnTo>
                  <a:pt x="122653" y="103660"/>
                </a:lnTo>
                <a:lnTo>
                  <a:pt x="181812" y="109265"/>
                </a:lnTo>
                <a:lnTo>
                  <a:pt x="247650" y="111251"/>
                </a:lnTo>
                <a:lnTo>
                  <a:pt x="313487" y="109265"/>
                </a:lnTo>
                <a:lnTo>
                  <a:pt x="372646" y="103660"/>
                </a:lnTo>
                <a:lnTo>
                  <a:pt x="422767" y="94964"/>
                </a:lnTo>
                <a:lnTo>
                  <a:pt x="461489" y="83707"/>
                </a:lnTo>
                <a:lnTo>
                  <a:pt x="495300" y="55625"/>
                </a:lnTo>
                <a:lnTo>
                  <a:pt x="486454" y="40834"/>
                </a:lnTo>
                <a:lnTo>
                  <a:pt x="461489" y="27544"/>
                </a:lnTo>
                <a:lnTo>
                  <a:pt x="422767" y="16287"/>
                </a:lnTo>
                <a:lnTo>
                  <a:pt x="372646" y="7591"/>
                </a:lnTo>
                <a:lnTo>
                  <a:pt x="313487" y="1986"/>
                </a:lnTo>
                <a:lnTo>
                  <a:pt x="247650" y="0"/>
                </a:lnTo>
                <a:close/>
              </a:path>
            </a:pathLst>
          </a:custGeom>
          <a:solidFill>
            <a:srgbClr val="003856"/>
          </a:solidFill>
        </p:spPr>
        <p:txBody>
          <a:bodyPr wrap="square" lIns="0" tIns="0" rIns="0" bIns="0" rtlCol="0"/>
          <a:lstStyle/>
          <a:p>
            <a:endParaRPr/>
          </a:p>
        </p:txBody>
      </p:sp>
      <p:sp>
        <p:nvSpPr>
          <p:cNvPr id="7" name="object 7"/>
          <p:cNvSpPr/>
          <p:nvPr/>
        </p:nvSpPr>
        <p:spPr>
          <a:xfrm>
            <a:off x="4879085" y="854202"/>
            <a:ext cx="495300" cy="498475"/>
          </a:xfrm>
          <a:custGeom>
            <a:avLst/>
            <a:gdLst/>
            <a:ahLst/>
            <a:cxnLst/>
            <a:rect l="l" t="t" r="r" b="b"/>
            <a:pathLst>
              <a:path w="495300" h="498475">
                <a:moveTo>
                  <a:pt x="247650" y="0"/>
                </a:moveTo>
                <a:lnTo>
                  <a:pt x="197738" y="5060"/>
                </a:lnTo>
                <a:lnTo>
                  <a:pt x="151251" y="19573"/>
                </a:lnTo>
                <a:lnTo>
                  <a:pt x="109184" y="42541"/>
                </a:lnTo>
                <a:lnTo>
                  <a:pt x="72532" y="72961"/>
                </a:lnTo>
                <a:lnTo>
                  <a:pt x="42293" y="109835"/>
                </a:lnTo>
                <a:lnTo>
                  <a:pt x="19460" y="152161"/>
                </a:lnTo>
                <a:lnTo>
                  <a:pt x="5031" y="198941"/>
                </a:lnTo>
                <a:lnTo>
                  <a:pt x="0" y="249174"/>
                </a:lnTo>
                <a:lnTo>
                  <a:pt x="5031" y="299406"/>
                </a:lnTo>
                <a:lnTo>
                  <a:pt x="19460" y="346186"/>
                </a:lnTo>
                <a:lnTo>
                  <a:pt x="42293" y="388512"/>
                </a:lnTo>
                <a:lnTo>
                  <a:pt x="72532" y="425386"/>
                </a:lnTo>
                <a:lnTo>
                  <a:pt x="109184" y="455806"/>
                </a:lnTo>
                <a:lnTo>
                  <a:pt x="151251" y="478774"/>
                </a:lnTo>
                <a:lnTo>
                  <a:pt x="197738" y="493287"/>
                </a:lnTo>
                <a:lnTo>
                  <a:pt x="247650" y="498348"/>
                </a:lnTo>
                <a:lnTo>
                  <a:pt x="297561" y="493287"/>
                </a:lnTo>
                <a:lnTo>
                  <a:pt x="344048" y="478774"/>
                </a:lnTo>
                <a:lnTo>
                  <a:pt x="386115" y="455806"/>
                </a:lnTo>
                <a:lnTo>
                  <a:pt x="422767" y="425386"/>
                </a:lnTo>
                <a:lnTo>
                  <a:pt x="453006" y="388512"/>
                </a:lnTo>
                <a:lnTo>
                  <a:pt x="475839" y="346186"/>
                </a:lnTo>
                <a:lnTo>
                  <a:pt x="490268" y="299406"/>
                </a:lnTo>
                <a:lnTo>
                  <a:pt x="495300" y="249174"/>
                </a:lnTo>
                <a:lnTo>
                  <a:pt x="490268" y="198941"/>
                </a:lnTo>
                <a:lnTo>
                  <a:pt x="475839" y="152161"/>
                </a:lnTo>
                <a:lnTo>
                  <a:pt x="453006" y="109835"/>
                </a:lnTo>
                <a:lnTo>
                  <a:pt x="422767" y="72961"/>
                </a:lnTo>
                <a:lnTo>
                  <a:pt x="386115" y="42541"/>
                </a:lnTo>
                <a:lnTo>
                  <a:pt x="344048" y="19573"/>
                </a:lnTo>
                <a:lnTo>
                  <a:pt x="297561" y="5060"/>
                </a:lnTo>
                <a:lnTo>
                  <a:pt x="247650" y="0"/>
                </a:lnTo>
                <a:close/>
              </a:path>
            </a:pathLst>
          </a:custGeom>
          <a:solidFill>
            <a:srgbClr val="FFFFFF"/>
          </a:solidFill>
        </p:spPr>
        <p:txBody>
          <a:bodyPr wrap="square" lIns="0" tIns="0" rIns="0" bIns="0" rtlCol="0"/>
          <a:lstStyle/>
          <a:p>
            <a:endParaRPr/>
          </a:p>
        </p:txBody>
      </p:sp>
      <p:sp>
        <p:nvSpPr>
          <p:cNvPr id="8" name="object 8"/>
          <p:cNvSpPr/>
          <p:nvPr/>
        </p:nvSpPr>
        <p:spPr>
          <a:xfrm>
            <a:off x="4879085" y="854202"/>
            <a:ext cx="495300" cy="498475"/>
          </a:xfrm>
          <a:custGeom>
            <a:avLst/>
            <a:gdLst/>
            <a:ahLst/>
            <a:cxnLst/>
            <a:rect l="l" t="t" r="r" b="b"/>
            <a:pathLst>
              <a:path w="495300" h="498475">
                <a:moveTo>
                  <a:pt x="0" y="249174"/>
                </a:moveTo>
                <a:lnTo>
                  <a:pt x="5031" y="198941"/>
                </a:lnTo>
                <a:lnTo>
                  <a:pt x="19460" y="152161"/>
                </a:lnTo>
                <a:lnTo>
                  <a:pt x="42293" y="109835"/>
                </a:lnTo>
                <a:lnTo>
                  <a:pt x="72532" y="72961"/>
                </a:lnTo>
                <a:lnTo>
                  <a:pt x="109184" y="42541"/>
                </a:lnTo>
                <a:lnTo>
                  <a:pt x="151251" y="19573"/>
                </a:lnTo>
                <a:lnTo>
                  <a:pt x="197738" y="5060"/>
                </a:lnTo>
                <a:lnTo>
                  <a:pt x="247650" y="0"/>
                </a:lnTo>
                <a:lnTo>
                  <a:pt x="297561" y="5060"/>
                </a:lnTo>
                <a:lnTo>
                  <a:pt x="344048" y="19573"/>
                </a:lnTo>
                <a:lnTo>
                  <a:pt x="386115" y="42541"/>
                </a:lnTo>
                <a:lnTo>
                  <a:pt x="422767" y="72961"/>
                </a:lnTo>
                <a:lnTo>
                  <a:pt x="453006" y="109835"/>
                </a:lnTo>
                <a:lnTo>
                  <a:pt x="475839" y="152161"/>
                </a:lnTo>
                <a:lnTo>
                  <a:pt x="490268" y="198941"/>
                </a:lnTo>
                <a:lnTo>
                  <a:pt x="495300" y="249174"/>
                </a:lnTo>
                <a:lnTo>
                  <a:pt x="490268" y="299406"/>
                </a:lnTo>
                <a:lnTo>
                  <a:pt x="475839" y="346186"/>
                </a:lnTo>
                <a:lnTo>
                  <a:pt x="453006" y="388512"/>
                </a:lnTo>
                <a:lnTo>
                  <a:pt x="422767" y="425386"/>
                </a:lnTo>
                <a:lnTo>
                  <a:pt x="386115" y="455806"/>
                </a:lnTo>
                <a:lnTo>
                  <a:pt x="344048" y="478774"/>
                </a:lnTo>
                <a:lnTo>
                  <a:pt x="297561" y="493287"/>
                </a:lnTo>
                <a:lnTo>
                  <a:pt x="247650" y="498348"/>
                </a:lnTo>
                <a:lnTo>
                  <a:pt x="197738" y="493287"/>
                </a:lnTo>
                <a:lnTo>
                  <a:pt x="151251" y="478774"/>
                </a:lnTo>
                <a:lnTo>
                  <a:pt x="109184" y="455806"/>
                </a:lnTo>
                <a:lnTo>
                  <a:pt x="72532" y="425386"/>
                </a:lnTo>
                <a:lnTo>
                  <a:pt x="42293" y="388512"/>
                </a:lnTo>
                <a:lnTo>
                  <a:pt x="19460" y="346186"/>
                </a:lnTo>
                <a:lnTo>
                  <a:pt x="5031" y="299406"/>
                </a:lnTo>
                <a:lnTo>
                  <a:pt x="0" y="249174"/>
                </a:lnTo>
                <a:close/>
              </a:path>
            </a:pathLst>
          </a:custGeom>
          <a:ln w="19812">
            <a:solidFill>
              <a:srgbClr val="006FAC"/>
            </a:solidFill>
          </a:ln>
        </p:spPr>
        <p:txBody>
          <a:bodyPr wrap="square" lIns="0" tIns="0" rIns="0" bIns="0" rtlCol="0"/>
          <a:lstStyle/>
          <a:p>
            <a:endParaRPr/>
          </a:p>
        </p:txBody>
      </p:sp>
      <p:sp>
        <p:nvSpPr>
          <p:cNvPr id="9" name="object 9"/>
          <p:cNvSpPr txBox="1"/>
          <p:nvPr/>
        </p:nvSpPr>
        <p:spPr>
          <a:xfrm>
            <a:off x="5029961" y="958341"/>
            <a:ext cx="187960" cy="299720"/>
          </a:xfrm>
          <a:prstGeom prst="rect">
            <a:avLst/>
          </a:prstGeom>
        </p:spPr>
        <p:txBody>
          <a:bodyPr vert="horz" wrap="square" lIns="0" tIns="12700" rIns="0" bIns="0" rtlCol="0">
            <a:spAutoFit/>
          </a:bodyPr>
          <a:lstStyle/>
          <a:p>
            <a:pPr marL="12700">
              <a:lnSpc>
                <a:spcPct val="100000"/>
              </a:lnSpc>
              <a:spcBef>
                <a:spcPts val="100"/>
              </a:spcBef>
            </a:pPr>
            <a:r>
              <a:rPr sz="1800" b="1">
                <a:latin typeface="Verdana"/>
                <a:cs typeface="Verdana"/>
              </a:rPr>
              <a:t>1</a:t>
            </a:r>
            <a:endParaRPr sz="1800">
              <a:latin typeface="Verdana"/>
              <a:cs typeface="Verdana"/>
            </a:endParaRPr>
          </a:p>
        </p:txBody>
      </p:sp>
      <p:sp>
        <p:nvSpPr>
          <p:cNvPr id="10" name="object 10"/>
          <p:cNvSpPr/>
          <p:nvPr/>
        </p:nvSpPr>
        <p:spPr>
          <a:xfrm>
            <a:off x="4651247" y="1429511"/>
            <a:ext cx="948055" cy="330835"/>
          </a:xfrm>
          <a:custGeom>
            <a:avLst/>
            <a:gdLst/>
            <a:ahLst/>
            <a:cxnLst/>
            <a:rect l="l" t="t" r="r" b="b"/>
            <a:pathLst>
              <a:path w="948054" h="330835">
                <a:moveTo>
                  <a:pt x="0" y="0"/>
                </a:moveTo>
                <a:lnTo>
                  <a:pt x="0" y="67817"/>
                </a:lnTo>
                <a:lnTo>
                  <a:pt x="1498" y="76783"/>
                </a:lnTo>
                <a:lnTo>
                  <a:pt x="414274" y="317373"/>
                </a:lnTo>
                <a:lnTo>
                  <a:pt x="474725" y="330803"/>
                </a:lnTo>
                <a:lnTo>
                  <a:pt x="506356" y="327445"/>
                </a:lnTo>
                <a:lnTo>
                  <a:pt x="533653" y="317373"/>
                </a:lnTo>
                <a:lnTo>
                  <a:pt x="631310" y="262953"/>
                </a:lnTo>
                <a:lnTo>
                  <a:pt x="474725" y="262953"/>
                </a:lnTo>
                <a:lnTo>
                  <a:pt x="442714" y="259572"/>
                </a:lnTo>
                <a:lnTo>
                  <a:pt x="23875" y="31876"/>
                </a:lnTo>
                <a:lnTo>
                  <a:pt x="1498" y="8909"/>
                </a:lnTo>
                <a:lnTo>
                  <a:pt x="0" y="0"/>
                </a:lnTo>
                <a:close/>
              </a:path>
              <a:path w="948054" h="330835">
                <a:moveTo>
                  <a:pt x="947927" y="0"/>
                </a:moveTo>
                <a:lnTo>
                  <a:pt x="924051" y="31876"/>
                </a:lnTo>
                <a:lnTo>
                  <a:pt x="533653" y="249427"/>
                </a:lnTo>
                <a:lnTo>
                  <a:pt x="474725" y="262953"/>
                </a:lnTo>
                <a:lnTo>
                  <a:pt x="631310" y="262953"/>
                </a:lnTo>
                <a:lnTo>
                  <a:pt x="924051" y="99822"/>
                </a:lnTo>
                <a:lnTo>
                  <a:pt x="947927" y="67817"/>
                </a:lnTo>
                <a:lnTo>
                  <a:pt x="947927" y="0"/>
                </a:lnTo>
                <a:close/>
              </a:path>
            </a:pathLst>
          </a:custGeom>
          <a:solidFill>
            <a:srgbClr val="BBE7FF"/>
          </a:solidFill>
        </p:spPr>
        <p:txBody>
          <a:bodyPr wrap="square" lIns="0" tIns="0" rIns="0" bIns="0" rtlCol="0"/>
          <a:lstStyle/>
          <a:p>
            <a:endParaRPr/>
          </a:p>
        </p:txBody>
      </p:sp>
      <p:sp>
        <p:nvSpPr>
          <p:cNvPr id="11" name="object 11"/>
          <p:cNvSpPr/>
          <p:nvPr/>
        </p:nvSpPr>
        <p:spPr>
          <a:xfrm>
            <a:off x="5638038" y="1661922"/>
            <a:ext cx="5762625" cy="76200"/>
          </a:xfrm>
          <a:custGeom>
            <a:avLst/>
            <a:gdLst/>
            <a:ahLst/>
            <a:cxnLst/>
            <a:rect l="l" t="t" r="r" b="b"/>
            <a:pathLst>
              <a:path w="5762625" h="76200">
                <a:moveTo>
                  <a:pt x="5724017" y="0"/>
                </a:moveTo>
                <a:lnTo>
                  <a:pt x="5709169" y="2988"/>
                </a:lnTo>
                <a:lnTo>
                  <a:pt x="5697061" y="11144"/>
                </a:lnTo>
                <a:lnTo>
                  <a:pt x="5688905" y="23252"/>
                </a:lnTo>
                <a:lnTo>
                  <a:pt x="5685917" y="38100"/>
                </a:lnTo>
                <a:lnTo>
                  <a:pt x="5688905" y="52947"/>
                </a:lnTo>
                <a:lnTo>
                  <a:pt x="5697061" y="65055"/>
                </a:lnTo>
                <a:lnTo>
                  <a:pt x="5709169" y="73211"/>
                </a:lnTo>
                <a:lnTo>
                  <a:pt x="5724017" y="76200"/>
                </a:lnTo>
                <a:lnTo>
                  <a:pt x="5738864" y="73211"/>
                </a:lnTo>
                <a:lnTo>
                  <a:pt x="5750972" y="65055"/>
                </a:lnTo>
                <a:lnTo>
                  <a:pt x="5759128" y="52947"/>
                </a:lnTo>
                <a:lnTo>
                  <a:pt x="5760123" y="48005"/>
                </a:lnTo>
                <a:lnTo>
                  <a:pt x="5724017" y="48005"/>
                </a:lnTo>
                <a:lnTo>
                  <a:pt x="5724017" y="28193"/>
                </a:lnTo>
                <a:lnTo>
                  <a:pt x="5760123" y="28193"/>
                </a:lnTo>
                <a:lnTo>
                  <a:pt x="5759128" y="23252"/>
                </a:lnTo>
                <a:lnTo>
                  <a:pt x="5750972" y="11144"/>
                </a:lnTo>
                <a:lnTo>
                  <a:pt x="5738864" y="2988"/>
                </a:lnTo>
                <a:lnTo>
                  <a:pt x="5724017" y="0"/>
                </a:lnTo>
                <a:close/>
              </a:path>
              <a:path w="5762625" h="76200">
                <a:moveTo>
                  <a:pt x="5687910" y="28193"/>
                </a:moveTo>
                <a:lnTo>
                  <a:pt x="0" y="28193"/>
                </a:lnTo>
                <a:lnTo>
                  <a:pt x="0" y="48005"/>
                </a:lnTo>
                <a:lnTo>
                  <a:pt x="5687910" y="48005"/>
                </a:lnTo>
                <a:lnTo>
                  <a:pt x="5685917" y="38100"/>
                </a:lnTo>
                <a:lnTo>
                  <a:pt x="5687910" y="28193"/>
                </a:lnTo>
                <a:close/>
              </a:path>
              <a:path w="5762625" h="76200">
                <a:moveTo>
                  <a:pt x="5760123" y="28193"/>
                </a:moveTo>
                <a:lnTo>
                  <a:pt x="5724017" y="28193"/>
                </a:lnTo>
                <a:lnTo>
                  <a:pt x="5724017" y="48005"/>
                </a:lnTo>
                <a:lnTo>
                  <a:pt x="5760123" y="48005"/>
                </a:lnTo>
                <a:lnTo>
                  <a:pt x="5762117" y="38100"/>
                </a:lnTo>
                <a:lnTo>
                  <a:pt x="5760123" y="28193"/>
                </a:lnTo>
                <a:close/>
              </a:path>
            </a:pathLst>
          </a:custGeom>
          <a:solidFill>
            <a:srgbClr val="BBE7FF"/>
          </a:solidFill>
        </p:spPr>
        <p:txBody>
          <a:bodyPr wrap="square" lIns="0" tIns="0" rIns="0" bIns="0" rtlCol="0"/>
          <a:lstStyle/>
          <a:p>
            <a:endParaRPr/>
          </a:p>
        </p:txBody>
      </p:sp>
      <p:sp>
        <p:nvSpPr>
          <p:cNvPr id="12" name="object 12"/>
          <p:cNvSpPr txBox="1"/>
          <p:nvPr/>
        </p:nvSpPr>
        <p:spPr>
          <a:xfrm>
            <a:off x="5717540" y="1155572"/>
            <a:ext cx="5377815" cy="391160"/>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Verdana"/>
                <a:cs typeface="Verdana"/>
              </a:rPr>
              <a:t>Program Governance based close to Marelli to support and coordinate  with Marelli governance, functional and technical</a:t>
            </a:r>
            <a:r>
              <a:rPr sz="1200" spc="80">
                <a:latin typeface="Verdana"/>
                <a:cs typeface="Verdana"/>
              </a:rPr>
              <a:t> </a:t>
            </a:r>
            <a:r>
              <a:rPr sz="1200" spc="-5">
                <a:latin typeface="Verdana"/>
                <a:cs typeface="Verdana"/>
              </a:rPr>
              <a:t>stakeholders</a:t>
            </a:r>
            <a:endParaRPr sz="1200">
              <a:latin typeface="Verdana"/>
              <a:cs typeface="Verdana"/>
            </a:endParaRPr>
          </a:p>
        </p:txBody>
      </p:sp>
      <p:sp>
        <p:nvSpPr>
          <p:cNvPr id="13" name="object 13"/>
          <p:cNvSpPr/>
          <p:nvPr/>
        </p:nvSpPr>
        <p:spPr>
          <a:xfrm>
            <a:off x="4650073" y="2523680"/>
            <a:ext cx="949325" cy="528955"/>
          </a:xfrm>
          <a:custGeom>
            <a:avLst/>
            <a:gdLst/>
            <a:ahLst/>
            <a:cxnLst/>
            <a:rect l="l" t="t" r="r" b="b"/>
            <a:pathLst>
              <a:path w="949325" h="528955">
                <a:moveTo>
                  <a:pt x="475138" y="0"/>
                </a:moveTo>
                <a:lnTo>
                  <a:pt x="414559" y="13525"/>
                </a:lnTo>
                <a:lnTo>
                  <a:pt x="23907" y="231457"/>
                </a:lnTo>
                <a:lnTo>
                  <a:pt x="0" y="264477"/>
                </a:lnTo>
                <a:lnTo>
                  <a:pt x="5976" y="282106"/>
                </a:lnTo>
                <a:lnTo>
                  <a:pt x="23907" y="297497"/>
                </a:lnTo>
                <a:lnTo>
                  <a:pt x="414559" y="515429"/>
                </a:lnTo>
                <a:lnTo>
                  <a:pt x="443075" y="525573"/>
                </a:lnTo>
                <a:lnTo>
                  <a:pt x="475138" y="528955"/>
                </a:lnTo>
                <a:lnTo>
                  <a:pt x="506821" y="525573"/>
                </a:lnTo>
                <a:lnTo>
                  <a:pt x="534193" y="515429"/>
                </a:lnTo>
                <a:lnTo>
                  <a:pt x="924845" y="297497"/>
                </a:lnTo>
                <a:lnTo>
                  <a:pt x="942776" y="282106"/>
                </a:lnTo>
                <a:lnTo>
                  <a:pt x="948753" y="264477"/>
                </a:lnTo>
                <a:lnTo>
                  <a:pt x="942776" y="246848"/>
                </a:lnTo>
                <a:lnTo>
                  <a:pt x="924845" y="231457"/>
                </a:lnTo>
                <a:lnTo>
                  <a:pt x="534193" y="13525"/>
                </a:lnTo>
                <a:lnTo>
                  <a:pt x="506821" y="3381"/>
                </a:lnTo>
                <a:lnTo>
                  <a:pt x="475138" y="0"/>
                </a:lnTo>
                <a:close/>
              </a:path>
            </a:pathLst>
          </a:custGeom>
          <a:solidFill>
            <a:srgbClr val="12ABDB"/>
          </a:solidFill>
        </p:spPr>
        <p:txBody>
          <a:bodyPr wrap="square" lIns="0" tIns="0" rIns="0" bIns="0" rtlCol="0"/>
          <a:lstStyle/>
          <a:p>
            <a:endParaRPr/>
          </a:p>
        </p:txBody>
      </p:sp>
      <p:sp>
        <p:nvSpPr>
          <p:cNvPr id="14" name="object 14"/>
          <p:cNvSpPr/>
          <p:nvPr/>
        </p:nvSpPr>
        <p:spPr>
          <a:xfrm>
            <a:off x="4651247" y="2787395"/>
            <a:ext cx="948055" cy="330835"/>
          </a:xfrm>
          <a:custGeom>
            <a:avLst/>
            <a:gdLst/>
            <a:ahLst/>
            <a:cxnLst/>
            <a:rect l="l" t="t" r="r" b="b"/>
            <a:pathLst>
              <a:path w="948054" h="330835">
                <a:moveTo>
                  <a:pt x="0" y="0"/>
                </a:moveTo>
                <a:lnTo>
                  <a:pt x="0" y="67817"/>
                </a:lnTo>
                <a:lnTo>
                  <a:pt x="1498" y="76783"/>
                </a:lnTo>
                <a:lnTo>
                  <a:pt x="414274" y="317373"/>
                </a:lnTo>
                <a:lnTo>
                  <a:pt x="474725" y="330803"/>
                </a:lnTo>
                <a:lnTo>
                  <a:pt x="506356" y="327445"/>
                </a:lnTo>
                <a:lnTo>
                  <a:pt x="533653" y="317373"/>
                </a:lnTo>
                <a:lnTo>
                  <a:pt x="631310" y="262953"/>
                </a:lnTo>
                <a:lnTo>
                  <a:pt x="474725" y="262953"/>
                </a:lnTo>
                <a:lnTo>
                  <a:pt x="442714" y="259572"/>
                </a:lnTo>
                <a:lnTo>
                  <a:pt x="23875" y="31876"/>
                </a:lnTo>
                <a:lnTo>
                  <a:pt x="1498" y="8909"/>
                </a:lnTo>
                <a:lnTo>
                  <a:pt x="0" y="0"/>
                </a:lnTo>
                <a:close/>
              </a:path>
              <a:path w="948054" h="330835">
                <a:moveTo>
                  <a:pt x="947927" y="0"/>
                </a:moveTo>
                <a:lnTo>
                  <a:pt x="924051" y="31876"/>
                </a:lnTo>
                <a:lnTo>
                  <a:pt x="533653" y="249427"/>
                </a:lnTo>
                <a:lnTo>
                  <a:pt x="474725" y="262953"/>
                </a:lnTo>
                <a:lnTo>
                  <a:pt x="631310" y="262953"/>
                </a:lnTo>
                <a:lnTo>
                  <a:pt x="924051" y="99821"/>
                </a:lnTo>
                <a:lnTo>
                  <a:pt x="947927" y="67817"/>
                </a:lnTo>
                <a:lnTo>
                  <a:pt x="947927" y="0"/>
                </a:lnTo>
                <a:close/>
              </a:path>
            </a:pathLst>
          </a:custGeom>
          <a:solidFill>
            <a:srgbClr val="0D80A3"/>
          </a:solidFill>
        </p:spPr>
        <p:txBody>
          <a:bodyPr wrap="square" lIns="0" tIns="0" rIns="0" bIns="0" rtlCol="0"/>
          <a:lstStyle/>
          <a:p>
            <a:endParaRPr/>
          </a:p>
        </p:txBody>
      </p:sp>
      <p:sp>
        <p:nvSpPr>
          <p:cNvPr id="15" name="object 15"/>
          <p:cNvSpPr/>
          <p:nvPr/>
        </p:nvSpPr>
        <p:spPr>
          <a:xfrm>
            <a:off x="4878323" y="2720339"/>
            <a:ext cx="495300" cy="111760"/>
          </a:xfrm>
          <a:custGeom>
            <a:avLst/>
            <a:gdLst/>
            <a:ahLst/>
            <a:cxnLst/>
            <a:rect l="l" t="t" r="r" b="b"/>
            <a:pathLst>
              <a:path w="495300" h="111760">
                <a:moveTo>
                  <a:pt x="247650" y="0"/>
                </a:moveTo>
                <a:lnTo>
                  <a:pt x="181812" y="1986"/>
                </a:lnTo>
                <a:lnTo>
                  <a:pt x="122653" y="7591"/>
                </a:lnTo>
                <a:lnTo>
                  <a:pt x="72532" y="16287"/>
                </a:lnTo>
                <a:lnTo>
                  <a:pt x="33810" y="27544"/>
                </a:lnTo>
                <a:lnTo>
                  <a:pt x="0" y="55625"/>
                </a:lnTo>
                <a:lnTo>
                  <a:pt x="8845" y="70417"/>
                </a:lnTo>
                <a:lnTo>
                  <a:pt x="72532" y="94964"/>
                </a:lnTo>
                <a:lnTo>
                  <a:pt x="122653" y="103660"/>
                </a:lnTo>
                <a:lnTo>
                  <a:pt x="181812" y="109265"/>
                </a:lnTo>
                <a:lnTo>
                  <a:pt x="247650" y="111251"/>
                </a:lnTo>
                <a:lnTo>
                  <a:pt x="313487" y="109265"/>
                </a:lnTo>
                <a:lnTo>
                  <a:pt x="372646" y="103660"/>
                </a:lnTo>
                <a:lnTo>
                  <a:pt x="422767" y="94964"/>
                </a:lnTo>
                <a:lnTo>
                  <a:pt x="461489" y="83707"/>
                </a:lnTo>
                <a:lnTo>
                  <a:pt x="495300" y="55625"/>
                </a:lnTo>
                <a:lnTo>
                  <a:pt x="486454" y="40834"/>
                </a:lnTo>
                <a:lnTo>
                  <a:pt x="422767" y="16287"/>
                </a:lnTo>
                <a:lnTo>
                  <a:pt x="372646" y="7591"/>
                </a:lnTo>
                <a:lnTo>
                  <a:pt x="313487" y="1986"/>
                </a:lnTo>
                <a:lnTo>
                  <a:pt x="247650" y="0"/>
                </a:lnTo>
                <a:close/>
              </a:path>
            </a:pathLst>
          </a:custGeom>
          <a:solidFill>
            <a:srgbClr val="003856"/>
          </a:solidFill>
        </p:spPr>
        <p:txBody>
          <a:bodyPr wrap="square" lIns="0" tIns="0" rIns="0" bIns="0" rtlCol="0"/>
          <a:lstStyle/>
          <a:p>
            <a:endParaRPr/>
          </a:p>
        </p:txBody>
      </p:sp>
      <p:sp>
        <p:nvSpPr>
          <p:cNvPr id="16" name="object 16"/>
          <p:cNvSpPr/>
          <p:nvPr/>
        </p:nvSpPr>
        <p:spPr>
          <a:xfrm>
            <a:off x="4879085" y="2277617"/>
            <a:ext cx="495300" cy="498475"/>
          </a:xfrm>
          <a:custGeom>
            <a:avLst/>
            <a:gdLst/>
            <a:ahLst/>
            <a:cxnLst/>
            <a:rect l="l" t="t" r="r" b="b"/>
            <a:pathLst>
              <a:path w="495300" h="498475">
                <a:moveTo>
                  <a:pt x="247650" y="0"/>
                </a:moveTo>
                <a:lnTo>
                  <a:pt x="197738" y="5060"/>
                </a:lnTo>
                <a:lnTo>
                  <a:pt x="151251" y="19573"/>
                </a:lnTo>
                <a:lnTo>
                  <a:pt x="109184" y="42541"/>
                </a:lnTo>
                <a:lnTo>
                  <a:pt x="72532" y="72961"/>
                </a:lnTo>
                <a:lnTo>
                  <a:pt x="42293" y="109835"/>
                </a:lnTo>
                <a:lnTo>
                  <a:pt x="19460" y="152161"/>
                </a:lnTo>
                <a:lnTo>
                  <a:pt x="5031" y="198941"/>
                </a:lnTo>
                <a:lnTo>
                  <a:pt x="0" y="249174"/>
                </a:lnTo>
                <a:lnTo>
                  <a:pt x="5031" y="299406"/>
                </a:lnTo>
                <a:lnTo>
                  <a:pt x="19460" y="346186"/>
                </a:lnTo>
                <a:lnTo>
                  <a:pt x="42293" y="388512"/>
                </a:lnTo>
                <a:lnTo>
                  <a:pt x="72532" y="425386"/>
                </a:lnTo>
                <a:lnTo>
                  <a:pt x="109184" y="455806"/>
                </a:lnTo>
                <a:lnTo>
                  <a:pt x="151251" y="478774"/>
                </a:lnTo>
                <a:lnTo>
                  <a:pt x="197738" y="493287"/>
                </a:lnTo>
                <a:lnTo>
                  <a:pt x="247650" y="498348"/>
                </a:lnTo>
                <a:lnTo>
                  <a:pt x="297561" y="493287"/>
                </a:lnTo>
                <a:lnTo>
                  <a:pt x="344048" y="478774"/>
                </a:lnTo>
                <a:lnTo>
                  <a:pt x="386115" y="455806"/>
                </a:lnTo>
                <a:lnTo>
                  <a:pt x="422767" y="425386"/>
                </a:lnTo>
                <a:lnTo>
                  <a:pt x="453006" y="388512"/>
                </a:lnTo>
                <a:lnTo>
                  <a:pt x="475839" y="346186"/>
                </a:lnTo>
                <a:lnTo>
                  <a:pt x="490268" y="299406"/>
                </a:lnTo>
                <a:lnTo>
                  <a:pt x="495300" y="249174"/>
                </a:lnTo>
                <a:lnTo>
                  <a:pt x="490268" y="198941"/>
                </a:lnTo>
                <a:lnTo>
                  <a:pt x="475839" y="152161"/>
                </a:lnTo>
                <a:lnTo>
                  <a:pt x="453006" y="109835"/>
                </a:lnTo>
                <a:lnTo>
                  <a:pt x="422767" y="72961"/>
                </a:lnTo>
                <a:lnTo>
                  <a:pt x="386115" y="42541"/>
                </a:lnTo>
                <a:lnTo>
                  <a:pt x="344048" y="19573"/>
                </a:lnTo>
                <a:lnTo>
                  <a:pt x="297561" y="5060"/>
                </a:lnTo>
                <a:lnTo>
                  <a:pt x="247650" y="0"/>
                </a:lnTo>
                <a:close/>
              </a:path>
            </a:pathLst>
          </a:custGeom>
          <a:solidFill>
            <a:srgbClr val="FFFFFF"/>
          </a:solidFill>
        </p:spPr>
        <p:txBody>
          <a:bodyPr wrap="square" lIns="0" tIns="0" rIns="0" bIns="0" rtlCol="0"/>
          <a:lstStyle/>
          <a:p>
            <a:endParaRPr/>
          </a:p>
        </p:txBody>
      </p:sp>
      <p:sp>
        <p:nvSpPr>
          <p:cNvPr id="17" name="object 17"/>
          <p:cNvSpPr/>
          <p:nvPr/>
        </p:nvSpPr>
        <p:spPr>
          <a:xfrm>
            <a:off x="4879085" y="2277617"/>
            <a:ext cx="495300" cy="498475"/>
          </a:xfrm>
          <a:custGeom>
            <a:avLst/>
            <a:gdLst/>
            <a:ahLst/>
            <a:cxnLst/>
            <a:rect l="l" t="t" r="r" b="b"/>
            <a:pathLst>
              <a:path w="495300" h="498475">
                <a:moveTo>
                  <a:pt x="0" y="249174"/>
                </a:moveTo>
                <a:lnTo>
                  <a:pt x="5031" y="198941"/>
                </a:lnTo>
                <a:lnTo>
                  <a:pt x="19460" y="152161"/>
                </a:lnTo>
                <a:lnTo>
                  <a:pt x="42293" y="109835"/>
                </a:lnTo>
                <a:lnTo>
                  <a:pt x="72532" y="72961"/>
                </a:lnTo>
                <a:lnTo>
                  <a:pt x="109184" y="42541"/>
                </a:lnTo>
                <a:lnTo>
                  <a:pt x="151251" y="19573"/>
                </a:lnTo>
                <a:lnTo>
                  <a:pt x="197738" y="5060"/>
                </a:lnTo>
                <a:lnTo>
                  <a:pt x="247650" y="0"/>
                </a:lnTo>
                <a:lnTo>
                  <a:pt x="297561" y="5060"/>
                </a:lnTo>
                <a:lnTo>
                  <a:pt x="344048" y="19573"/>
                </a:lnTo>
                <a:lnTo>
                  <a:pt x="386115" y="42541"/>
                </a:lnTo>
                <a:lnTo>
                  <a:pt x="422767" y="72961"/>
                </a:lnTo>
                <a:lnTo>
                  <a:pt x="453006" y="109835"/>
                </a:lnTo>
                <a:lnTo>
                  <a:pt x="475839" y="152161"/>
                </a:lnTo>
                <a:lnTo>
                  <a:pt x="490268" y="198941"/>
                </a:lnTo>
                <a:lnTo>
                  <a:pt x="495300" y="249174"/>
                </a:lnTo>
                <a:lnTo>
                  <a:pt x="490268" y="299406"/>
                </a:lnTo>
                <a:lnTo>
                  <a:pt x="475839" y="346186"/>
                </a:lnTo>
                <a:lnTo>
                  <a:pt x="453006" y="388512"/>
                </a:lnTo>
                <a:lnTo>
                  <a:pt x="422767" y="425386"/>
                </a:lnTo>
                <a:lnTo>
                  <a:pt x="386115" y="455806"/>
                </a:lnTo>
                <a:lnTo>
                  <a:pt x="344048" y="478774"/>
                </a:lnTo>
                <a:lnTo>
                  <a:pt x="297561" y="493287"/>
                </a:lnTo>
                <a:lnTo>
                  <a:pt x="247650" y="498348"/>
                </a:lnTo>
                <a:lnTo>
                  <a:pt x="197738" y="493287"/>
                </a:lnTo>
                <a:lnTo>
                  <a:pt x="151251" y="478774"/>
                </a:lnTo>
                <a:lnTo>
                  <a:pt x="109184" y="455806"/>
                </a:lnTo>
                <a:lnTo>
                  <a:pt x="72532" y="425386"/>
                </a:lnTo>
                <a:lnTo>
                  <a:pt x="42293" y="388512"/>
                </a:lnTo>
                <a:lnTo>
                  <a:pt x="19460" y="346186"/>
                </a:lnTo>
                <a:lnTo>
                  <a:pt x="5031" y="299406"/>
                </a:lnTo>
                <a:lnTo>
                  <a:pt x="0" y="249174"/>
                </a:lnTo>
                <a:close/>
              </a:path>
            </a:pathLst>
          </a:custGeom>
          <a:ln w="19812">
            <a:solidFill>
              <a:srgbClr val="12ABDB"/>
            </a:solidFill>
          </a:ln>
        </p:spPr>
        <p:txBody>
          <a:bodyPr wrap="square" lIns="0" tIns="0" rIns="0" bIns="0" rtlCol="0"/>
          <a:lstStyle/>
          <a:p>
            <a:endParaRPr/>
          </a:p>
        </p:txBody>
      </p:sp>
      <p:sp>
        <p:nvSpPr>
          <p:cNvPr id="18" name="object 18"/>
          <p:cNvSpPr txBox="1"/>
          <p:nvPr/>
        </p:nvSpPr>
        <p:spPr>
          <a:xfrm>
            <a:off x="5029961" y="2381453"/>
            <a:ext cx="188595" cy="300355"/>
          </a:xfrm>
          <a:prstGeom prst="rect">
            <a:avLst/>
          </a:prstGeom>
        </p:spPr>
        <p:txBody>
          <a:bodyPr vert="horz" wrap="square" lIns="0" tIns="12700" rIns="0" bIns="0" rtlCol="0">
            <a:spAutoFit/>
          </a:bodyPr>
          <a:lstStyle/>
          <a:p>
            <a:pPr marL="12700">
              <a:lnSpc>
                <a:spcPct val="100000"/>
              </a:lnSpc>
              <a:spcBef>
                <a:spcPts val="100"/>
              </a:spcBef>
            </a:pPr>
            <a:r>
              <a:rPr sz="1800" b="1">
                <a:latin typeface="Verdana"/>
                <a:cs typeface="Verdana"/>
              </a:rPr>
              <a:t>2</a:t>
            </a:r>
            <a:endParaRPr sz="1800">
              <a:latin typeface="Verdana"/>
              <a:cs typeface="Verdana"/>
            </a:endParaRPr>
          </a:p>
        </p:txBody>
      </p:sp>
      <p:sp>
        <p:nvSpPr>
          <p:cNvPr id="19" name="object 19"/>
          <p:cNvSpPr/>
          <p:nvPr/>
        </p:nvSpPr>
        <p:spPr>
          <a:xfrm>
            <a:off x="4651247" y="2852927"/>
            <a:ext cx="948055" cy="330835"/>
          </a:xfrm>
          <a:custGeom>
            <a:avLst/>
            <a:gdLst/>
            <a:ahLst/>
            <a:cxnLst/>
            <a:rect l="l" t="t" r="r" b="b"/>
            <a:pathLst>
              <a:path w="948054" h="330835">
                <a:moveTo>
                  <a:pt x="0" y="0"/>
                </a:moveTo>
                <a:lnTo>
                  <a:pt x="0" y="67818"/>
                </a:lnTo>
                <a:lnTo>
                  <a:pt x="1498" y="76783"/>
                </a:lnTo>
                <a:lnTo>
                  <a:pt x="414274" y="317373"/>
                </a:lnTo>
                <a:lnTo>
                  <a:pt x="474725" y="330803"/>
                </a:lnTo>
                <a:lnTo>
                  <a:pt x="506356" y="327445"/>
                </a:lnTo>
                <a:lnTo>
                  <a:pt x="533653" y="317373"/>
                </a:lnTo>
                <a:lnTo>
                  <a:pt x="631310" y="262953"/>
                </a:lnTo>
                <a:lnTo>
                  <a:pt x="474725" y="262953"/>
                </a:lnTo>
                <a:lnTo>
                  <a:pt x="442714" y="259572"/>
                </a:lnTo>
                <a:lnTo>
                  <a:pt x="23875" y="31876"/>
                </a:lnTo>
                <a:lnTo>
                  <a:pt x="1498" y="8909"/>
                </a:lnTo>
                <a:lnTo>
                  <a:pt x="0" y="0"/>
                </a:lnTo>
                <a:close/>
              </a:path>
              <a:path w="948054" h="330835">
                <a:moveTo>
                  <a:pt x="947927" y="0"/>
                </a:moveTo>
                <a:lnTo>
                  <a:pt x="924051" y="31876"/>
                </a:lnTo>
                <a:lnTo>
                  <a:pt x="533653" y="249427"/>
                </a:lnTo>
                <a:lnTo>
                  <a:pt x="474725" y="262953"/>
                </a:lnTo>
                <a:lnTo>
                  <a:pt x="631310" y="262953"/>
                </a:lnTo>
                <a:lnTo>
                  <a:pt x="924051" y="99822"/>
                </a:lnTo>
                <a:lnTo>
                  <a:pt x="947927" y="67818"/>
                </a:lnTo>
                <a:lnTo>
                  <a:pt x="947927" y="0"/>
                </a:lnTo>
                <a:close/>
              </a:path>
            </a:pathLst>
          </a:custGeom>
          <a:solidFill>
            <a:srgbClr val="CDEFFA"/>
          </a:solidFill>
        </p:spPr>
        <p:txBody>
          <a:bodyPr wrap="square" lIns="0" tIns="0" rIns="0" bIns="0" rtlCol="0"/>
          <a:lstStyle/>
          <a:p>
            <a:endParaRPr/>
          </a:p>
        </p:txBody>
      </p:sp>
      <p:sp>
        <p:nvSpPr>
          <p:cNvPr id="20" name="object 20"/>
          <p:cNvSpPr/>
          <p:nvPr/>
        </p:nvSpPr>
        <p:spPr>
          <a:xfrm>
            <a:off x="5638038" y="3071622"/>
            <a:ext cx="5762625" cy="76200"/>
          </a:xfrm>
          <a:custGeom>
            <a:avLst/>
            <a:gdLst/>
            <a:ahLst/>
            <a:cxnLst/>
            <a:rect l="l" t="t" r="r" b="b"/>
            <a:pathLst>
              <a:path w="5762625" h="76200">
                <a:moveTo>
                  <a:pt x="5724017" y="0"/>
                </a:moveTo>
                <a:lnTo>
                  <a:pt x="5709169" y="2988"/>
                </a:lnTo>
                <a:lnTo>
                  <a:pt x="5697061" y="11144"/>
                </a:lnTo>
                <a:lnTo>
                  <a:pt x="5688905" y="23252"/>
                </a:lnTo>
                <a:lnTo>
                  <a:pt x="5685917" y="38100"/>
                </a:lnTo>
                <a:lnTo>
                  <a:pt x="5688905" y="52947"/>
                </a:lnTo>
                <a:lnTo>
                  <a:pt x="5697061" y="65055"/>
                </a:lnTo>
                <a:lnTo>
                  <a:pt x="5709169" y="73211"/>
                </a:lnTo>
                <a:lnTo>
                  <a:pt x="5724017" y="76200"/>
                </a:lnTo>
                <a:lnTo>
                  <a:pt x="5738864" y="73211"/>
                </a:lnTo>
                <a:lnTo>
                  <a:pt x="5750972" y="65055"/>
                </a:lnTo>
                <a:lnTo>
                  <a:pt x="5759128" y="52947"/>
                </a:lnTo>
                <a:lnTo>
                  <a:pt x="5760123" y="48005"/>
                </a:lnTo>
                <a:lnTo>
                  <a:pt x="5724017" y="48005"/>
                </a:lnTo>
                <a:lnTo>
                  <a:pt x="5724017" y="28193"/>
                </a:lnTo>
                <a:lnTo>
                  <a:pt x="5760123" y="28193"/>
                </a:lnTo>
                <a:lnTo>
                  <a:pt x="5759128" y="23252"/>
                </a:lnTo>
                <a:lnTo>
                  <a:pt x="5750972" y="11144"/>
                </a:lnTo>
                <a:lnTo>
                  <a:pt x="5738864" y="2988"/>
                </a:lnTo>
                <a:lnTo>
                  <a:pt x="5724017" y="0"/>
                </a:lnTo>
                <a:close/>
              </a:path>
              <a:path w="5762625" h="76200">
                <a:moveTo>
                  <a:pt x="5687910" y="28193"/>
                </a:moveTo>
                <a:lnTo>
                  <a:pt x="0" y="28193"/>
                </a:lnTo>
                <a:lnTo>
                  <a:pt x="0" y="48005"/>
                </a:lnTo>
                <a:lnTo>
                  <a:pt x="5687910" y="48005"/>
                </a:lnTo>
                <a:lnTo>
                  <a:pt x="5685917" y="38100"/>
                </a:lnTo>
                <a:lnTo>
                  <a:pt x="5687910" y="28193"/>
                </a:lnTo>
                <a:close/>
              </a:path>
              <a:path w="5762625" h="76200">
                <a:moveTo>
                  <a:pt x="5760123" y="28193"/>
                </a:moveTo>
                <a:lnTo>
                  <a:pt x="5724017" y="28193"/>
                </a:lnTo>
                <a:lnTo>
                  <a:pt x="5724017" y="48005"/>
                </a:lnTo>
                <a:lnTo>
                  <a:pt x="5760123" y="48005"/>
                </a:lnTo>
                <a:lnTo>
                  <a:pt x="5762117" y="38100"/>
                </a:lnTo>
                <a:lnTo>
                  <a:pt x="5760123" y="28193"/>
                </a:lnTo>
                <a:close/>
              </a:path>
            </a:pathLst>
          </a:custGeom>
          <a:solidFill>
            <a:srgbClr val="CDEFFA"/>
          </a:solidFill>
        </p:spPr>
        <p:txBody>
          <a:bodyPr wrap="square" lIns="0" tIns="0" rIns="0" bIns="0" rtlCol="0"/>
          <a:lstStyle/>
          <a:p>
            <a:endParaRPr/>
          </a:p>
        </p:txBody>
      </p:sp>
      <p:sp>
        <p:nvSpPr>
          <p:cNvPr id="21" name="object 21"/>
          <p:cNvSpPr txBox="1"/>
          <p:nvPr/>
        </p:nvSpPr>
        <p:spPr>
          <a:xfrm>
            <a:off x="5717540" y="2477770"/>
            <a:ext cx="5627370" cy="391160"/>
          </a:xfrm>
          <a:prstGeom prst="rect">
            <a:avLst/>
          </a:prstGeom>
        </p:spPr>
        <p:txBody>
          <a:bodyPr vert="horz" wrap="square" lIns="0" tIns="12700" rIns="0" bIns="0" rtlCol="0">
            <a:spAutoFit/>
          </a:bodyPr>
          <a:lstStyle/>
          <a:p>
            <a:pPr marL="12700" marR="5080">
              <a:lnSpc>
                <a:spcPct val="100000"/>
              </a:lnSpc>
              <a:spcBef>
                <a:spcPts val="100"/>
              </a:spcBef>
            </a:pPr>
            <a:r>
              <a:rPr sz="1200" spc="-10">
                <a:latin typeface="Verdana"/>
                <a:cs typeface="Verdana"/>
              </a:rPr>
              <a:t>Functional </a:t>
            </a:r>
            <a:r>
              <a:rPr sz="1200" spc="-5">
                <a:latin typeface="Verdana"/>
                <a:cs typeface="Verdana"/>
              </a:rPr>
              <a:t>and </a:t>
            </a:r>
            <a:r>
              <a:rPr sz="1200" spc="-20">
                <a:latin typeface="Verdana"/>
                <a:cs typeface="Verdana"/>
              </a:rPr>
              <a:t>Technical </a:t>
            </a:r>
            <a:r>
              <a:rPr sz="1200" spc="-5">
                <a:latin typeface="Verdana"/>
                <a:cs typeface="Verdana"/>
              </a:rPr>
              <a:t>competencies to simplify </a:t>
            </a:r>
            <a:r>
              <a:rPr sz="1200" spc="-15">
                <a:latin typeface="Verdana"/>
                <a:cs typeface="Verdana"/>
              </a:rPr>
              <a:t>Key </a:t>
            </a:r>
            <a:r>
              <a:rPr sz="1200" spc="-5">
                <a:latin typeface="Verdana"/>
                <a:cs typeface="Verdana"/>
              </a:rPr>
              <a:t>Users and </a:t>
            </a:r>
            <a:r>
              <a:rPr sz="1200">
                <a:latin typeface="Verdana"/>
                <a:cs typeface="Verdana"/>
              </a:rPr>
              <a:t>Process  </a:t>
            </a:r>
            <a:r>
              <a:rPr sz="1200" spc="-5">
                <a:latin typeface="Verdana"/>
                <a:cs typeface="Verdana"/>
              </a:rPr>
              <a:t>Owners </a:t>
            </a:r>
            <a:r>
              <a:rPr sz="1200" spc="-10">
                <a:latin typeface="Verdana"/>
                <a:cs typeface="Verdana"/>
              </a:rPr>
              <a:t>interactions </a:t>
            </a:r>
            <a:r>
              <a:rPr sz="1200" spc="-5">
                <a:latin typeface="Verdana"/>
                <a:cs typeface="Verdana"/>
              </a:rPr>
              <a:t>to gather</a:t>
            </a:r>
            <a:r>
              <a:rPr sz="1200" spc="65">
                <a:latin typeface="Verdana"/>
                <a:cs typeface="Verdana"/>
              </a:rPr>
              <a:t> </a:t>
            </a:r>
            <a:r>
              <a:rPr sz="1200" spc="-5">
                <a:latin typeface="Verdana"/>
                <a:cs typeface="Verdana"/>
              </a:rPr>
              <a:t>requirements</a:t>
            </a:r>
            <a:endParaRPr sz="1200">
              <a:latin typeface="Verdana"/>
              <a:cs typeface="Verdana"/>
            </a:endParaRPr>
          </a:p>
        </p:txBody>
      </p:sp>
      <p:sp>
        <p:nvSpPr>
          <p:cNvPr id="22" name="object 22"/>
          <p:cNvSpPr/>
          <p:nvPr/>
        </p:nvSpPr>
        <p:spPr>
          <a:xfrm>
            <a:off x="4650073" y="4015676"/>
            <a:ext cx="949325" cy="528955"/>
          </a:xfrm>
          <a:custGeom>
            <a:avLst/>
            <a:gdLst/>
            <a:ahLst/>
            <a:cxnLst/>
            <a:rect l="l" t="t" r="r" b="b"/>
            <a:pathLst>
              <a:path w="949325" h="528954">
                <a:moveTo>
                  <a:pt x="475138" y="0"/>
                </a:moveTo>
                <a:lnTo>
                  <a:pt x="414559" y="13525"/>
                </a:lnTo>
                <a:lnTo>
                  <a:pt x="23907" y="231457"/>
                </a:lnTo>
                <a:lnTo>
                  <a:pt x="0" y="264477"/>
                </a:lnTo>
                <a:lnTo>
                  <a:pt x="5976" y="282106"/>
                </a:lnTo>
                <a:lnTo>
                  <a:pt x="23907" y="297497"/>
                </a:lnTo>
                <a:lnTo>
                  <a:pt x="414559" y="515429"/>
                </a:lnTo>
                <a:lnTo>
                  <a:pt x="443075" y="525573"/>
                </a:lnTo>
                <a:lnTo>
                  <a:pt x="475138" y="528954"/>
                </a:lnTo>
                <a:lnTo>
                  <a:pt x="506821" y="525573"/>
                </a:lnTo>
                <a:lnTo>
                  <a:pt x="534193" y="515429"/>
                </a:lnTo>
                <a:lnTo>
                  <a:pt x="924845" y="297497"/>
                </a:lnTo>
                <a:lnTo>
                  <a:pt x="942776" y="282106"/>
                </a:lnTo>
                <a:lnTo>
                  <a:pt x="948753" y="264477"/>
                </a:lnTo>
                <a:lnTo>
                  <a:pt x="942776" y="246848"/>
                </a:lnTo>
                <a:lnTo>
                  <a:pt x="924845" y="231457"/>
                </a:lnTo>
                <a:lnTo>
                  <a:pt x="534193" y="13525"/>
                </a:lnTo>
                <a:lnTo>
                  <a:pt x="506821" y="3381"/>
                </a:lnTo>
                <a:lnTo>
                  <a:pt x="475138" y="0"/>
                </a:lnTo>
                <a:close/>
              </a:path>
            </a:pathLst>
          </a:custGeom>
          <a:solidFill>
            <a:srgbClr val="632D8E"/>
          </a:solidFill>
        </p:spPr>
        <p:txBody>
          <a:bodyPr wrap="square" lIns="0" tIns="0" rIns="0" bIns="0" rtlCol="0"/>
          <a:lstStyle/>
          <a:p>
            <a:endParaRPr/>
          </a:p>
        </p:txBody>
      </p:sp>
      <p:sp>
        <p:nvSpPr>
          <p:cNvPr id="23" name="object 23"/>
          <p:cNvSpPr/>
          <p:nvPr/>
        </p:nvSpPr>
        <p:spPr>
          <a:xfrm>
            <a:off x="4651247" y="4279391"/>
            <a:ext cx="948055" cy="330835"/>
          </a:xfrm>
          <a:custGeom>
            <a:avLst/>
            <a:gdLst/>
            <a:ahLst/>
            <a:cxnLst/>
            <a:rect l="l" t="t" r="r" b="b"/>
            <a:pathLst>
              <a:path w="948054" h="330835">
                <a:moveTo>
                  <a:pt x="0" y="0"/>
                </a:moveTo>
                <a:lnTo>
                  <a:pt x="0" y="67817"/>
                </a:lnTo>
                <a:lnTo>
                  <a:pt x="1498" y="76783"/>
                </a:lnTo>
                <a:lnTo>
                  <a:pt x="414274" y="317372"/>
                </a:lnTo>
                <a:lnTo>
                  <a:pt x="474725" y="330803"/>
                </a:lnTo>
                <a:lnTo>
                  <a:pt x="506356" y="327445"/>
                </a:lnTo>
                <a:lnTo>
                  <a:pt x="533653" y="317372"/>
                </a:lnTo>
                <a:lnTo>
                  <a:pt x="631310" y="262953"/>
                </a:lnTo>
                <a:lnTo>
                  <a:pt x="474725" y="262953"/>
                </a:lnTo>
                <a:lnTo>
                  <a:pt x="442714" y="259572"/>
                </a:lnTo>
                <a:lnTo>
                  <a:pt x="23875" y="31876"/>
                </a:lnTo>
                <a:lnTo>
                  <a:pt x="1498" y="8909"/>
                </a:lnTo>
                <a:lnTo>
                  <a:pt x="0" y="0"/>
                </a:lnTo>
                <a:close/>
              </a:path>
              <a:path w="948054" h="330835">
                <a:moveTo>
                  <a:pt x="947927" y="0"/>
                </a:moveTo>
                <a:lnTo>
                  <a:pt x="924051" y="31876"/>
                </a:lnTo>
                <a:lnTo>
                  <a:pt x="533653" y="249427"/>
                </a:lnTo>
                <a:lnTo>
                  <a:pt x="474725" y="262953"/>
                </a:lnTo>
                <a:lnTo>
                  <a:pt x="631310" y="262953"/>
                </a:lnTo>
                <a:lnTo>
                  <a:pt x="924051" y="99821"/>
                </a:lnTo>
                <a:lnTo>
                  <a:pt x="947927" y="67817"/>
                </a:lnTo>
                <a:lnTo>
                  <a:pt x="947927" y="0"/>
                </a:lnTo>
                <a:close/>
              </a:path>
            </a:pathLst>
          </a:custGeom>
          <a:solidFill>
            <a:srgbClr val="2B133C"/>
          </a:solidFill>
        </p:spPr>
        <p:txBody>
          <a:bodyPr wrap="square" lIns="0" tIns="0" rIns="0" bIns="0" rtlCol="0"/>
          <a:lstStyle/>
          <a:p>
            <a:endParaRPr/>
          </a:p>
        </p:txBody>
      </p:sp>
      <p:sp>
        <p:nvSpPr>
          <p:cNvPr id="24" name="object 24"/>
          <p:cNvSpPr/>
          <p:nvPr/>
        </p:nvSpPr>
        <p:spPr>
          <a:xfrm>
            <a:off x="4878323" y="4210811"/>
            <a:ext cx="495300" cy="113030"/>
          </a:xfrm>
          <a:custGeom>
            <a:avLst/>
            <a:gdLst/>
            <a:ahLst/>
            <a:cxnLst/>
            <a:rect l="l" t="t" r="r" b="b"/>
            <a:pathLst>
              <a:path w="495300" h="113029">
                <a:moveTo>
                  <a:pt x="247650" y="0"/>
                </a:moveTo>
                <a:lnTo>
                  <a:pt x="181812" y="2016"/>
                </a:lnTo>
                <a:lnTo>
                  <a:pt x="122653" y="7704"/>
                </a:lnTo>
                <a:lnTo>
                  <a:pt x="72532" y="16525"/>
                </a:lnTo>
                <a:lnTo>
                  <a:pt x="33810" y="27939"/>
                </a:lnTo>
                <a:lnTo>
                  <a:pt x="0" y="56387"/>
                </a:lnTo>
                <a:lnTo>
                  <a:pt x="8845" y="71368"/>
                </a:lnTo>
                <a:lnTo>
                  <a:pt x="72532" y="96250"/>
                </a:lnTo>
                <a:lnTo>
                  <a:pt x="122653" y="105071"/>
                </a:lnTo>
                <a:lnTo>
                  <a:pt x="181812" y="110759"/>
                </a:lnTo>
                <a:lnTo>
                  <a:pt x="247650" y="112775"/>
                </a:lnTo>
                <a:lnTo>
                  <a:pt x="313487" y="110759"/>
                </a:lnTo>
                <a:lnTo>
                  <a:pt x="372646" y="105071"/>
                </a:lnTo>
                <a:lnTo>
                  <a:pt x="422767" y="96250"/>
                </a:lnTo>
                <a:lnTo>
                  <a:pt x="461489" y="84836"/>
                </a:lnTo>
                <a:lnTo>
                  <a:pt x="495300" y="56387"/>
                </a:lnTo>
                <a:lnTo>
                  <a:pt x="486454" y="41407"/>
                </a:lnTo>
                <a:lnTo>
                  <a:pt x="422767" y="16525"/>
                </a:lnTo>
                <a:lnTo>
                  <a:pt x="372646" y="7704"/>
                </a:lnTo>
                <a:lnTo>
                  <a:pt x="313487" y="2016"/>
                </a:lnTo>
                <a:lnTo>
                  <a:pt x="247650" y="0"/>
                </a:lnTo>
                <a:close/>
              </a:path>
            </a:pathLst>
          </a:custGeom>
          <a:solidFill>
            <a:srgbClr val="2B133C"/>
          </a:solidFill>
        </p:spPr>
        <p:txBody>
          <a:bodyPr wrap="square" lIns="0" tIns="0" rIns="0" bIns="0" rtlCol="0"/>
          <a:lstStyle/>
          <a:p>
            <a:endParaRPr/>
          </a:p>
        </p:txBody>
      </p:sp>
      <p:sp>
        <p:nvSpPr>
          <p:cNvPr id="25" name="object 25"/>
          <p:cNvSpPr/>
          <p:nvPr/>
        </p:nvSpPr>
        <p:spPr>
          <a:xfrm>
            <a:off x="4879085" y="3769614"/>
            <a:ext cx="495300" cy="498475"/>
          </a:xfrm>
          <a:custGeom>
            <a:avLst/>
            <a:gdLst/>
            <a:ahLst/>
            <a:cxnLst/>
            <a:rect l="l" t="t" r="r" b="b"/>
            <a:pathLst>
              <a:path w="495300" h="498475">
                <a:moveTo>
                  <a:pt x="247650" y="0"/>
                </a:moveTo>
                <a:lnTo>
                  <a:pt x="197738" y="5060"/>
                </a:lnTo>
                <a:lnTo>
                  <a:pt x="151251" y="19573"/>
                </a:lnTo>
                <a:lnTo>
                  <a:pt x="109184" y="42541"/>
                </a:lnTo>
                <a:lnTo>
                  <a:pt x="72532" y="72961"/>
                </a:lnTo>
                <a:lnTo>
                  <a:pt x="42293" y="109835"/>
                </a:lnTo>
                <a:lnTo>
                  <a:pt x="19460" y="152161"/>
                </a:lnTo>
                <a:lnTo>
                  <a:pt x="5031" y="198941"/>
                </a:lnTo>
                <a:lnTo>
                  <a:pt x="0" y="249174"/>
                </a:lnTo>
                <a:lnTo>
                  <a:pt x="5031" y="299406"/>
                </a:lnTo>
                <a:lnTo>
                  <a:pt x="19460" y="346186"/>
                </a:lnTo>
                <a:lnTo>
                  <a:pt x="42293" y="388512"/>
                </a:lnTo>
                <a:lnTo>
                  <a:pt x="72532" y="425386"/>
                </a:lnTo>
                <a:lnTo>
                  <a:pt x="109184" y="455806"/>
                </a:lnTo>
                <a:lnTo>
                  <a:pt x="151251" y="478774"/>
                </a:lnTo>
                <a:lnTo>
                  <a:pt x="197738" y="493287"/>
                </a:lnTo>
                <a:lnTo>
                  <a:pt x="247650" y="498348"/>
                </a:lnTo>
                <a:lnTo>
                  <a:pt x="297561" y="493287"/>
                </a:lnTo>
                <a:lnTo>
                  <a:pt x="344048" y="478774"/>
                </a:lnTo>
                <a:lnTo>
                  <a:pt x="386115" y="455806"/>
                </a:lnTo>
                <a:lnTo>
                  <a:pt x="422767" y="425386"/>
                </a:lnTo>
                <a:lnTo>
                  <a:pt x="453006" y="388512"/>
                </a:lnTo>
                <a:lnTo>
                  <a:pt x="475839" y="346186"/>
                </a:lnTo>
                <a:lnTo>
                  <a:pt x="490268" y="299406"/>
                </a:lnTo>
                <a:lnTo>
                  <a:pt x="495300" y="249174"/>
                </a:lnTo>
                <a:lnTo>
                  <a:pt x="490268" y="198941"/>
                </a:lnTo>
                <a:lnTo>
                  <a:pt x="475839" y="152161"/>
                </a:lnTo>
                <a:lnTo>
                  <a:pt x="453006" y="109835"/>
                </a:lnTo>
                <a:lnTo>
                  <a:pt x="422767" y="72961"/>
                </a:lnTo>
                <a:lnTo>
                  <a:pt x="386115" y="42541"/>
                </a:lnTo>
                <a:lnTo>
                  <a:pt x="344048" y="19573"/>
                </a:lnTo>
                <a:lnTo>
                  <a:pt x="297561" y="5060"/>
                </a:lnTo>
                <a:lnTo>
                  <a:pt x="247650" y="0"/>
                </a:lnTo>
                <a:close/>
              </a:path>
            </a:pathLst>
          </a:custGeom>
          <a:solidFill>
            <a:srgbClr val="FFFFFF"/>
          </a:solidFill>
        </p:spPr>
        <p:txBody>
          <a:bodyPr wrap="square" lIns="0" tIns="0" rIns="0" bIns="0" rtlCol="0"/>
          <a:lstStyle/>
          <a:p>
            <a:endParaRPr/>
          </a:p>
        </p:txBody>
      </p:sp>
      <p:sp>
        <p:nvSpPr>
          <p:cNvPr id="26" name="object 26"/>
          <p:cNvSpPr/>
          <p:nvPr/>
        </p:nvSpPr>
        <p:spPr>
          <a:xfrm>
            <a:off x="4879085" y="3769614"/>
            <a:ext cx="495300" cy="498475"/>
          </a:xfrm>
          <a:custGeom>
            <a:avLst/>
            <a:gdLst/>
            <a:ahLst/>
            <a:cxnLst/>
            <a:rect l="l" t="t" r="r" b="b"/>
            <a:pathLst>
              <a:path w="495300" h="498475">
                <a:moveTo>
                  <a:pt x="0" y="249174"/>
                </a:moveTo>
                <a:lnTo>
                  <a:pt x="5031" y="198941"/>
                </a:lnTo>
                <a:lnTo>
                  <a:pt x="19460" y="152161"/>
                </a:lnTo>
                <a:lnTo>
                  <a:pt x="42293" y="109835"/>
                </a:lnTo>
                <a:lnTo>
                  <a:pt x="72532" y="72961"/>
                </a:lnTo>
                <a:lnTo>
                  <a:pt x="109184" y="42541"/>
                </a:lnTo>
                <a:lnTo>
                  <a:pt x="151251" y="19573"/>
                </a:lnTo>
                <a:lnTo>
                  <a:pt x="197738" y="5060"/>
                </a:lnTo>
                <a:lnTo>
                  <a:pt x="247650" y="0"/>
                </a:lnTo>
                <a:lnTo>
                  <a:pt x="297561" y="5060"/>
                </a:lnTo>
                <a:lnTo>
                  <a:pt x="344048" y="19573"/>
                </a:lnTo>
                <a:lnTo>
                  <a:pt x="386115" y="42541"/>
                </a:lnTo>
                <a:lnTo>
                  <a:pt x="422767" y="72961"/>
                </a:lnTo>
                <a:lnTo>
                  <a:pt x="453006" y="109835"/>
                </a:lnTo>
                <a:lnTo>
                  <a:pt x="475839" y="152161"/>
                </a:lnTo>
                <a:lnTo>
                  <a:pt x="490268" y="198941"/>
                </a:lnTo>
                <a:lnTo>
                  <a:pt x="495300" y="249174"/>
                </a:lnTo>
                <a:lnTo>
                  <a:pt x="490268" y="299406"/>
                </a:lnTo>
                <a:lnTo>
                  <a:pt x="475839" y="346186"/>
                </a:lnTo>
                <a:lnTo>
                  <a:pt x="453006" y="388512"/>
                </a:lnTo>
                <a:lnTo>
                  <a:pt x="422767" y="425386"/>
                </a:lnTo>
                <a:lnTo>
                  <a:pt x="386115" y="455806"/>
                </a:lnTo>
                <a:lnTo>
                  <a:pt x="344048" y="478774"/>
                </a:lnTo>
                <a:lnTo>
                  <a:pt x="297561" y="493287"/>
                </a:lnTo>
                <a:lnTo>
                  <a:pt x="247650" y="498348"/>
                </a:lnTo>
                <a:lnTo>
                  <a:pt x="197738" y="493287"/>
                </a:lnTo>
                <a:lnTo>
                  <a:pt x="151251" y="478774"/>
                </a:lnTo>
                <a:lnTo>
                  <a:pt x="109184" y="455806"/>
                </a:lnTo>
                <a:lnTo>
                  <a:pt x="72532" y="425386"/>
                </a:lnTo>
                <a:lnTo>
                  <a:pt x="42293" y="388512"/>
                </a:lnTo>
                <a:lnTo>
                  <a:pt x="19460" y="346186"/>
                </a:lnTo>
                <a:lnTo>
                  <a:pt x="5031" y="299406"/>
                </a:lnTo>
                <a:lnTo>
                  <a:pt x="0" y="249174"/>
                </a:lnTo>
                <a:close/>
              </a:path>
            </a:pathLst>
          </a:custGeom>
          <a:ln w="19812">
            <a:solidFill>
              <a:srgbClr val="421F5D"/>
            </a:solidFill>
          </a:ln>
        </p:spPr>
        <p:txBody>
          <a:bodyPr wrap="square" lIns="0" tIns="0" rIns="0" bIns="0" rtlCol="0"/>
          <a:lstStyle/>
          <a:p>
            <a:endParaRPr/>
          </a:p>
        </p:txBody>
      </p:sp>
      <p:sp>
        <p:nvSpPr>
          <p:cNvPr id="27" name="object 27"/>
          <p:cNvSpPr txBox="1"/>
          <p:nvPr/>
        </p:nvSpPr>
        <p:spPr>
          <a:xfrm>
            <a:off x="5029961" y="3873754"/>
            <a:ext cx="187960" cy="299720"/>
          </a:xfrm>
          <a:prstGeom prst="rect">
            <a:avLst/>
          </a:prstGeom>
        </p:spPr>
        <p:txBody>
          <a:bodyPr vert="horz" wrap="square" lIns="0" tIns="12700" rIns="0" bIns="0" rtlCol="0">
            <a:spAutoFit/>
          </a:bodyPr>
          <a:lstStyle/>
          <a:p>
            <a:pPr marL="12700">
              <a:lnSpc>
                <a:spcPct val="100000"/>
              </a:lnSpc>
              <a:spcBef>
                <a:spcPts val="100"/>
              </a:spcBef>
            </a:pPr>
            <a:r>
              <a:rPr sz="1800" b="1">
                <a:latin typeface="Verdana"/>
                <a:cs typeface="Verdana"/>
              </a:rPr>
              <a:t>3</a:t>
            </a:r>
            <a:endParaRPr sz="1800">
              <a:latin typeface="Verdana"/>
              <a:cs typeface="Verdana"/>
            </a:endParaRPr>
          </a:p>
        </p:txBody>
      </p:sp>
      <p:sp>
        <p:nvSpPr>
          <p:cNvPr id="28" name="object 28"/>
          <p:cNvSpPr/>
          <p:nvPr/>
        </p:nvSpPr>
        <p:spPr>
          <a:xfrm>
            <a:off x="4651247" y="4343400"/>
            <a:ext cx="948055" cy="332740"/>
          </a:xfrm>
          <a:custGeom>
            <a:avLst/>
            <a:gdLst/>
            <a:ahLst/>
            <a:cxnLst/>
            <a:rect l="l" t="t" r="r" b="b"/>
            <a:pathLst>
              <a:path w="948054" h="332739">
                <a:moveTo>
                  <a:pt x="0" y="0"/>
                </a:moveTo>
                <a:lnTo>
                  <a:pt x="0" y="68199"/>
                </a:lnTo>
                <a:lnTo>
                  <a:pt x="1498" y="77110"/>
                </a:lnTo>
                <a:lnTo>
                  <a:pt x="414274" y="318769"/>
                </a:lnTo>
                <a:lnTo>
                  <a:pt x="474725" y="332295"/>
                </a:lnTo>
                <a:lnTo>
                  <a:pt x="506356" y="328914"/>
                </a:lnTo>
                <a:lnTo>
                  <a:pt x="533653" y="318769"/>
                </a:lnTo>
                <a:lnTo>
                  <a:pt x="631310" y="264096"/>
                </a:lnTo>
                <a:lnTo>
                  <a:pt x="474725" y="264096"/>
                </a:lnTo>
                <a:lnTo>
                  <a:pt x="442714" y="260715"/>
                </a:lnTo>
                <a:lnTo>
                  <a:pt x="23875" y="32131"/>
                </a:lnTo>
                <a:lnTo>
                  <a:pt x="1498" y="8967"/>
                </a:lnTo>
                <a:lnTo>
                  <a:pt x="0" y="0"/>
                </a:lnTo>
                <a:close/>
              </a:path>
              <a:path w="948054" h="332739">
                <a:moveTo>
                  <a:pt x="947927" y="0"/>
                </a:moveTo>
                <a:lnTo>
                  <a:pt x="924051" y="32131"/>
                </a:lnTo>
                <a:lnTo>
                  <a:pt x="533653" y="250570"/>
                </a:lnTo>
                <a:lnTo>
                  <a:pt x="474725" y="264096"/>
                </a:lnTo>
                <a:lnTo>
                  <a:pt x="631310" y="264096"/>
                </a:lnTo>
                <a:lnTo>
                  <a:pt x="924051" y="100202"/>
                </a:lnTo>
                <a:lnTo>
                  <a:pt x="947927" y="68199"/>
                </a:lnTo>
                <a:lnTo>
                  <a:pt x="947927" y="0"/>
                </a:lnTo>
                <a:close/>
              </a:path>
            </a:pathLst>
          </a:custGeom>
          <a:solidFill>
            <a:srgbClr val="EBDFF4"/>
          </a:solidFill>
        </p:spPr>
        <p:txBody>
          <a:bodyPr wrap="square" lIns="0" tIns="0" rIns="0" bIns="0" rtlCol="0"/>
          <a:lstStyle/>
          <a:p>
            <a:endParaRPr/>
          </a:p>
        </p:txBody>
      </p:sp>
      <p:sp>
        <p:nvSpPr>
          <p:cNvPr id="29" name="object 29"/>
          <p:cNvSpPr/>
          <p:nvPr/>
        </p:nvSpPr>
        <p:spPr>
          <a:xfrm>
            <a:off x="5638038" y="4491990"/>
            <a:ext cx="5762625" cy="76200"/>
          </a:xfrm>
          <a:custGeom>
            <a:avLst/>
            <a:gdLst/>
            <a:ahLst/>
            <a:cxnLst/>
            <a:rect l="l" t="t" r="r" b="b"/>
            <a:pathLst>
              <a:path w="5762625" h="76200">
                <a:moveTo>
                  <a:pt x="5724017" y="0"/>
                </a:moveTo>
                <a:lnTo>
                  <a:pt x="5709169" y="2988"/>
                </a:lnTo>
                <a:lnTo>
                  <a:pt x="5697061" y="11144"/>
                </a:lnTo>
                <a:lnTo>
                  <a:pt x="5688905" y="23252"/>
                </a:lnTo>
                <a:lnTo>
                  <a:pt x="5685917" y="38100"/>
                </a:lnTo>
                <a:lnTo>
                  <a:pt x="5688905" y="52947"/>
                </a:lnTo>
                <a:lnTo>
                  <a:pt x="5697061" y="65055"/>
                </a:lnTo>
                <a:lnTo>
                  <a:pt x="5709169" y="73211"/>
                </a:lnTo>
                <a:lnTo>
                  <a:pt x="5724017" y="76200"/>
                </a:lnTo>
                <a:lnTo>
                  <a:pt x="5738864" y="73211"/>
                </a:lnTo>
                <a:lnTo>
                  <a:pt x="5750972" y="65055"/>
                </a:lnTo>
                <a:lnTo>
                  <a:pt x="5759128" y="52947"/>
                </a:lnTo>
                <a:lnTo>
                  <a:pt x="5760123" y="48006"/>
                </a:lnTo>
                <a:lnTo>
                  <a:pt x="5724017" y="48006"/>
                </a:lnTo>
                <a:lnTo>
                  <a:pt x="5724017" y="28193"/>
                </a:lnTo>
                <a:lnTo>
                  <a:pt x="5760123" y="28193"/>
                </a:lnTo>
                <a:lnTo>
                  <a:pt x="5759128" y="23252"/>
                </a:lnTo>
                <a:lnTo>
                  <a:pt x="5750972" y="11144"/>
                </a:lnTo>
                <a:lnTo>
                  <a:pt x="5738864" y="2988"/>
                </a:lnTo>
                <a:lnTo>
                  <a:pt x="5724017" y="0"/>
                </a:lnTo>
                <a:close/>
              </a:path>
              <a:path w="5762625" h="76200">
                <a:moveTo>
                  <a:pt x="5687910" y="28193"/>
                </a:moveTo>
                <a:lnTo>
                  <a:pt x="0" y="28193"/>
                </a:lnTo>
                <a:lnTo>
                  <a:pt x="0" y="48006"/>
                </a:lnTo>
                <a:lnTo>
                  <a:pt x="5687910" y="48006"/>
                </a:lnTo>
                <a:lnTo>
                  <a:pt x="5685917" y="38100"/>
                </a:lnTo>
                <a:lnTo>
                  <a:pt x="5687910" y="28193"/>
                </a:lnTo>
                <a:close/>
              </a:path>
              <a:path w="5762625" h="76200">
                <a:moveTo>
                  <a:pt x="5760123" y="28193"/>
                </a:moveTo>
                <a:lnTo>
                  <a:pt x="5724017" y="28193"/>
                </a:lnTo>
                <a:lnTo>
                  <a:pt x="5724017" y="48006"/>
                </a:lnTo>
                <a:lnTo>
                  <a:pt x="5760123" y="48006"/>
                </a:lnTo>
                <a:lnTo>
                  <a:pt x="5762117" y="38100"/>
                </a:lnTo>
                <a:lnTo>
                  <a:pt x="5760123" y="28193"/>
                </a:lnTo>
                <a:close/>
              </a:path>
            </a:pathLst>
          </a:custGeom>
          <a:solidFill>
            <a:srgbClr val="EBDFF4"/>
          </a:solidFill>
        </p:spPr>
        <p:txBody>
          <a:bodyPr wrap="square" lIns="0" tIns="0" rIns="0" bIns="0" rtlCol="0"/>
          <a:lstStyle/>
          <a:p>
            <a:endParaRPr/>
          </a:p>
        </p:txBody>
      </p:sp>
      <p:sp>
        <p:nvSpPr>
          <p:cNvPr id="30" name="object 30"/>
          <p:cNvSpPr txBox="1"/>
          <p:nvPr/>
        </p:nvSpPr>
        <p:spPr>
          <a:xfrm>
            <a:off x="5717540" y="3930777"/>
            <a:ext cx="5375275" cy="391160"/>
          </a:xfrm>
          <a:prstGeom prst="rect">
            <a:avLst/>
          </a:prstGeom>
        </p:spPr>
        <p:txBody>
          <a:bodyPr vert="horz" wrap="square" lIns="0" tIns="12700" rIns="0" bIns="0" rtlCol="0">
            <a:spAutoFit/>
          </a:bodyPr>
          <a:lstStyle/>
          <a:p>
            <a:pPr marL="12700" marR="5080">
              <a:lnSpc>
                <a:spcPct val="100000"/>
              </a:lnSpc>
              <a:spcBef>
                <a:spcPts val="100"/>
              </a:spcBef>
            </a:pPr>
            <a:r>
              <a:rPr sz="1200" spc="-10">
                <a:latin typeface="Verdana"/>
                <a:cs typeface="Verdana"/>
              </a:rPr>
              <a:t>Capgemini’s </a:t>
            </a:r>
            <a:r>
              <a:rPr sz="1200" spc="-5">
                <a:latin typeface="Verdana"/>
                <a:cs typeface="Verdana"/>
              </a:rPr>
              <a:t>signature RightShoring approach, </a:t>
            </a:r>
            <a:r>
              <a:rPr sz="1200" spc="-10">
                <a:latin typeface="Verdana"/>
                <a:cs typeface="Verdana"/>
              </a:rPr>
              <a:t>involving </a:t>
            </a:r>
            <a:r>
              <a:rPr sz="1200" spc="-5">
                <a:latin typeface="Verdana"/>
                <a:cs typeface="Verdana"/>
              </a:rPr>
              <a:t>the different  </a:t>
            </a:r>
            <a:r>
              <a:rPr sz="1200" spc="-10">
                <a:latin typeface="Verdana"/>
                <a:cs typeface="Verdana"/>
              </a:rPr>
              <a:t>Capgemini’s </a:t>
            </a:r>
            <a:r>
              <a:rPr sz="1200" spc="-5">
                <a:latin typeface="Verdana"/>
                <a:cs typeface="Verdana"/>
              </a:rPr>
              <a:t>subsidiaries based </a:t>
            </a:r>
            <a:r>
              <a:rPr sz="1200">
                <a:latin typeface="Verdana"/>
                <a:cs typeface="Verdana"/>
              </a:rPr>
              <a:t>on </a:t>
            </a:r>
            <a:r>
              <a:rPr sz="1200" spc="-5">
                <a:latin typeface="Verdana"/>
                <a:cs typeface="Verdana"/>
              </a:rPr>
              <a:t>Program localization</a:t>
            </a:r>
            <a:r>
              <a:rPr sz="1200" spc="55">
                <a:latin typeface="Verdana"/>
                <a:cs typeface="Verdana"/>
              </a:rPr>
              <a:t> </a:t>
            </a:r>
            <a:r>
              <a:rPr sz="1200" spc="-5">
                <a:latin typeface="Verdana"/>
                <a:cs typeface="Verdana"/>
              </a:rPr>
              <a:t>requirements.</a:t>
            </a:r>
            <a:endParaRPr sz="1200">
              <a:latin typeface="Verdana"/>
              <a:cs typeface="Verdana"/>
            </a:endParaRPr>
          </a:p>
        </p:txBody>
      </p:sp>
      <p:sp>
        <p:nvSpPr>
          <p:cNvPr id="31" name="object 31"/>
          <p:cNvSpPr/>
          <p:nvPr/>
        </p:nvSpPr>
        <p:spPr>
          <a:xfrm>
            <a:off x="4650073" y="5439092"/>
            <a:ext cx="949325" cy="529590"/>
          </a:xfrm>
          <a:custGeom>
            <a:avLst/>
            <a:gdLst/>
            <a:ahLst/>
            <a:cxnLst/>
            <a:rect l="l" t="t" r="r" b="b"/>
            <a:pathLst>
              <a:path w="949325" h="529589">
                <a:moveTo>
                  <a:pt x="475138" y="0"/>
                </a:moveTo>
                <a:lnTo>
                  <a:pt x="414559" y="13525"/>
                </a:lnTo>
                <a:lnTo>
                  <a:pt x="23907" y="231482"/>
                </a:lnTo>
                <a:lnTo>
                  <a:pt x="0" y="264477"/>
                </a:lnTo>
                <a:lnTo>
                  <a:pt x="5976" y="282099"/>
                </a:lnTo>
                <a:lnTo>
                  <a:pt x="23907" y="297472"/>
                </a:lnTo>
                <a:lnTo>
                  <a:pt x="414559" y="515467"/>
                </a:lnTo>
                <a:lnTo>
                  <a:pt x="443075" y="525590"/>
                </a:lnTo>
                <a:lnTo>
                  <a:pt x="475138" y="528964"/>
                </a:lnTo>
                <a:lnTo>
                  <a:pt x="506821" y="525590"/>
                </a:lnTo>
                <a:lnTo>
                  <a:pt x="534193" y="515467"/>
                </a:lnTo>
                <a:lnTo>
                  <a:pt x="924845" y="297472"/>
                </a:lnTo>
                <a:lnTo>
                  <a:pt x="942776" y="282099"/>
                </a:lnTo>
                <a:lnTo>
                  <a:pt x="948753" y="264477"/>
                </a:lnTo>
                <a:lnTo>
                  <a:pt x="942776" y="246855"/>
                </a:lnTo>
                <a:lnTo>
                  <a:pt x="924845" y="231482"/>
                </a:lnTo>
                <a:lnTo>
                  <a:pt x="534193" y="13525"/>
                </a:lnTo>
                <a:lnTo>
                  <a:pt x="506821" y="3381"/>
                </a:lnTo>
                <a:lnTo>
                  <a:pt x="475138" y="0"/>
                </a:lnTo>
                <a:close/>
              </a:path>
            </a:pathLst>
          </a:custGeom>
          <a:solidFill>
            <a:srgbClr val="FF2F4B"/>
          </a:solidFill>
        </p:spPr>
        <p:txBody>
          <a:bodyPr wrap="square" lIns="0" tIns="0" rIns="0" bIns="0" rtlCol="0"/>
          <a:lstStyle/>
          <a:p>
            <a:endParaRPr/>
          </a:p>
        </p:txBody>
      </p:sp>
      <p:sp>
        <p:nvSpPr>
          <p:cNvPr id="32" name="object 32"/>
          <p:cNvSpPr/>
          <p:nvPr/>
        </p:nvSpPr>
        <p:spPr>
          <a:xfrm>
            <a:off x="4651247" y="5702808"/>
            <a:ext cx="948055" cy="330835"/>
          </a:xfrm>
          <a:custGeom>
            <a:avLst/>
            <a:gdLst/>
            <a:ahLst/>
            <a:cxnLst/>
            <a:rect l="l" t="t" r="r" b="b"/>
            <a:pathLst>
              <a:path w="948054" h="330835">
                <a:moveTo>
                  <a:pt x="0" y="0"/>
                </a:moveTo>
                <a:lnTo>
                  <a:pt x="0" y="67856"/>
                </a:lnTo>
                <a:lnTo>
                  <a:pt x="1498" y="76775"/>
                </a:lnTo>
                <a:lnTo>
                  <a:pt x="414274" y="317322"/>
                </a:lnTo>
                <a:lnTo>
                  <a:pt x="474725" y="330790"/>
                </a:lnTo>
                <a:lnTo>
                  <a:pt x="506356" y="327423"/>
                </a:lnTo>
                <a:lnTo>
                  <a:pt x="533653" y="317322"/>
                </a:lnTo>
                <a:lnTo>
                  <a:pt x="631259" y="262934"/>
                </a:lnTo>
                <a:lnTo>
                  <a:pt x="474725" y="262934"/>
                </a:lnTo>
                <a:lnTo>
                  <a:pt x="442714" y="259567"/>
                </a:lnTo>
                <a:lnTo>
                  <a:pt x="23875" y="31927"/>
                </a:lnTo>
                <a:lnTo>
                  <a:pt x="1498" y="8919"/>
                </a:lnTo>
                <a:lnTo>
                  <a:pt x="0" y="0"/>
                </a:lnTo>
                <a:close/>
              </a:path>
              <a:path w="948054" h="330835">
                <a:moveTo>
                  <a:pt x="947927" y="0"/>
                </a:moveTo>
                <a:lnTo>
                  <a:pt x="924051" y="31927"/>
                </a:lnTo>
                <a:lnTo>
                  <a:pt x="533653" y="249466"/>
                </a:lnTo>
                <a:lnTo>
                  <a:pt x="474725" y="262934"/>
                </a:lnTo>
                <a:lnTo>
                  <a:pt x="631259" y="262934"/>
                </a:lnTo>
                <a:lnTo>
                  <a:pt x="924051" y="99783"/>
                </a:lnTo>
                <a:lnTo>
                  <a:pt x="947927" y="67856"/>
                </a:lnTo>
                <a:lnTo>
                  <a:pt x="947927" y="0"/>
                </a:lnTo>
                <a:close/>
              </a:path>
            </a:pathLst>
          </a:custGeom>
          <a:solidFill>
            <a:srgbClr val="D22138"/>
          </a:solidFill>
        </p:spPr>
        <p:txBody>
          <a:bodyPr wrap="square" lIns="0" tIns="0" rIns="0" bIns="0" rtlCol="0"/>
          <a:lstStyle/>
          <a:p>
            <a:endParaRPr/>
          </a:p>
        </p:txBody>
      </p:sp>
      <p:sp>
        <p:nvSpPr>
          <p:cNvPr id="33" name="object 33"/>
          <p:cNvSpPr/>
          <p:nvPr/>
        </p:nvSpPr>
        <p:spPr>
          <a:xfrm>
            <a:off x="4878323" y="5634228"/>
            <a:ext cx="495300" cy="113030"/>
          </a:xfrm>
          <a:custGeom>
            <a:avLst/>
            <a:gdLst/>
            <a:ahLst/>
            <a:cxnLst/>
            <a:rect l="l" t="t" r="r" b="b"/>
            <a:pathLst>
              <a:path w="495300" h="113029">
                <a:moveTo>
                  <a:pt x="247650" y="0"/>
                </a:moveTo>
                <a:lnTo>
                  <a:pt x="181812" y="2014"/>
                </a:lnTo>
                <a:lnTo>
                  <a:pt x="122653" y="7699"/>
                </a:lnTo>
                <a:lnTo>
                  <a:pt x="72532" y="16516"/>
                </a:lnTo>
                <a:lnTo>
                  <a:pt x="33810" y="27928"/>
                </a:lnTo>
                <a:lnTo>
                  <a:pt x="0" y="56388"/>
                </a:lnTo>
                <a:lnTo>
                  <a:pt x="8845" y="71377"/>
                </a:lnTo>
                <a:lnTo>
                  <a:pt x="72532" y="96259"/>
                </a:lnTo>
                <a:lnTo>
                  <a:pt x="122653" y="105076"/>
                </a:lnTo>
                <a:lnTo>
                  <a:pt x="181812" y="110761"/>
                </a:lnTo>
                <a:lnTo>
                  <a:pt x="247650" y="112776"/>
                </a:lnTo>
                <a:lnTo>
                  <a:pt x="313487" y="110761"/>
                </a:lnTo>
                <a:lnTo>
                  <a:pt x="372646" y="105076"/>
                </a:lnTo>
                <a:lnTo>
                  <a:pt x="422767" y="96259"/>
                </a:lnTo>
                <a:lnTo>
                  <a:pt x="461489" y="84847"/>
                </a:lnTo>
                <a:lnTo>
                  <a:pt x="495300" y="56388"/>
                </a:lnTo>
                <a:lnTo>
                  <a:pt x="486454" y="41398"/>
                </a:lnTo>
                <a:lnTo>
                  <a:pt x="422767" y="16516"/>
                </a:lnTo>
                <a:lnTo>
                  <a:pt x="372646" y="7699"/>
                </a:lnTo>
                <a:lnTo>
                  <a:pt x="313487" y="2014"/>
                </a:lnTo>
                <a:lnTo>
                  <a:pt x="247650" y="0"/>
                </a:lnTo>
                <a:close/>
              </a:path>
            </a:pathLst>
          </a:custGeom>
          <a:solidFill>
            <a:srgbClr val="003856"/>
          </a:solidFill>
        </p:spPr>
        <p:txBody>
          <a:bodyPr wrap="square" lIns="0" tIns="0" rIns="0" bIns="0" rtlCol="0"/>
          <a:lstStyle/>
          <a:p>
            <a:endParaRPr/>
          </a:p>
        </p:txBody>
      </p:sp>
      <p:sp>
        <p:nvSpPr>
          <p:cNvPr id="34" name="object 34"/>
          <p:cNvSpPr/>
          <p:nvPr/>
        </p:nvSpPr>
        <p:spPr>
          <a:xfrm>
            <a:off x="4879085" y="5193029"/>
            <a:ext cx="495300" cy="498475"/>
          </a:xfrm>
          <a:custGeom>
            <a:avLst/>
            <a:gdLst/>
            <a:ahLst/>
            <a:cxnLst/>
            <a:rect l="l" t="t" r="r" b="b"/>
            <a:pathLst>
              <a:path w="495300" h="498475">
                <a:moveTo>
                  <a:pt x="247650" y="0"/>
                </a:moveTo>
                <a:lnTo>
                  <a:pt x="197738" y="5060"/>
                </a:lnTo>
                <a:lnTo>
                  <a:pt x="151251" y="19573"/>
                </a:lnTo>
                <a:lnTo>
                  <a:pt x="109184" y="42541"/>
                </a:lnTo>
                <a:lnTo>
                  <a:pt x="72532" y="72961"/>
                </a:lnTo>
                <a:lnTo>
                  <a:pt x="42293" y="109835"/>
                </a:lnTo>
                <a:lnTo>
                  <a:pt x="19460" y="152161"/>
                </a:lnTo>
                <a:lnTo>
                  <a:pt x="5031" y="198941"/>
                </a:lnTo>
                <a:lnTo>
                  <a:pt x="0" y="249174"/>
                </a:lnTo>
                <a:lnTo>
                  <a:pt x="5031" y="299406"/>
                </a:lnTo>
                <a:lnTo>
                  <a:pt x="19460" y="346186"/>
                </a:lnTo>
                <a:lnTo>
                  <a:pt x="42293" y="388512"/>
                </a:lnTo>
                <a:lnTo>
                  <a:pt x="72532" y="425386"/>
                </a:lnTo>
                <a:lnTo>
                  <a:pt x="109184" y="455806"/>
                </a:lnTo>
                <a:lnTo>
                  <a:pt x="151251" y="478774"/>
                </a:lnTo>
                <a:lnTo>
                  <a:pt x="197738" y="493287"/>
                </a:lnTo>
                <a:lnTo>
                  <a:pt x="247650" y="498348"/>
                </a:lnTo>
                <a:lnTo>
                  <a:pt x="297561" y="493287"/>
                </a:lnTo>
                <a:lnTo>
                  <a:pt x="344048" y="478774"/>
                </a:lnTo>
                <a:lnTo>
                  <a:pt x="386115" y="455806"/>
                </a:lnTo>
                <a:lnTo>
                  <a:pt x="422767" y="425386"/>
                </a:lnTo>
                <a:lnTo>
                  <a:pt x="453006" y="388512"/>
                </a:lnTo>
                <a:lnTo>
                  <a:pt x="475839" y="346186"/>
                </a:lnTo>
                <a:lnTo>
                  <a:pt x="490268" y="299406"/>
                </a:lnTo>
                <a:lnTo>
                  <a:pt x="495300" y="249174"/>
                </a:lnTo>
                <a:lnTo>
                  <a:pt x="490268" y="198941"/>
                </a:lnTo>
                <a:lnTo>
                  <a:pt x="475839" y="152161"/>
                </a:lnTo>
                <a:lnTo>
                  <a:pt x="453006" y="109835"/>
                </a:lnTo>
                <a:lnTo>
                  <a:pt x="422767" y="72961"/>
                </a:lnTo>
                <a:lnTo>
                  <a:pt x="386115" y="42541"/>
                </a:lnTo>
                <a:lnTo>
                  <a:pt x="344048" y="19573"/>
                </a:lnTo>
                <a:lnTo>
                  <a:pt x="297561" y="5060"/>
                </a:lnTo>
                <a:lnTo>
                  <a:pt x="247650" y="0"/>
                </a:lnTo>
                <a:close/>
              </a:path>
            </a:pathLst>
          </a:custGeom>
          <a:solidFill>
            <a:srgbClr val="FFFFFF"/>
          </a:solidFill>
        </p:spPr>
        <p:txBody>
          <a:bodyPr wrap="square" lIns="0" tIns="0" rIns="0" bIns="0" rtlCol="0"/>
          <a:lstStyle/>
          <a:p>
            <a:endParaRPr/>
          </a:p>
        </p:txBody>
      </p:sp>
      <p:sp>
        <p:nvSpPr>
          <p:cNvPr id="35" name="object 35"/>
          <p:cNvSpPr/>
          <p:nvPr/>
        </p:nvSpPr>
        <p:spPr>
          <a:xfrm>
            <a:off x="4879085" y="5193029"/>
            <a:ext cx="495300" cy="498475"/>
          </a:xfrm>
          <a:custGeom>
            <a:avLst/>
            <a:gdLst/>
            <a:ahLst/>
            <a:cxnLst/>
            <a:rect l="l" t="t" r="r" b="b"/>
            <a:pathLst>
              <a:path w="495300" h="498475">
                <a:moveTo>
                  <a:pt x="0" y="249174"/>
                </a:moveTo>
                <a:lnTo>
                  <a:pt x="5031" y="198941"/>
                </a:lnTo>
                <a:lnTo>
                  <a:pt x="19460" y="152161"/>
                </a:lnTo>
                <a:lnTo>
                  <a:pt x="42293" y="109835"/>
                </a:lnTo>
                <a:lnTo>
                  <a:pt x="72532" y="72961"/>
                </a:lnTo>
                <a:lnTo>
                  <a:pt x="109184" y="42541"/>
                </a:lnTo>
                <a:lnTo>
                  <a:pt x="151251" y="19573"/>
                </a:lnTo>
                <a:lnTo>
                  <a:pt x="197738" y="5060"/>
                </a:lnTo>
                <a:lnTo>
                  <a:pt x="247650" y="0"/>
                </a:lnTo>
                <a:lnTo>
                  <a:pt x="297561" y="5060"/>
                </a:lnTo>
                <a:lnTo>
                  <a:pt x="344048" y="19573"/>
                </a:lnTo>
                <a:lnTo>
                  <a:pt x="386115" y="42541"/>
                </a:lnTo>
                <a:lnTo>
                  <a:pt x="422767" y="72961"/>
                </a:lnTo>
                <a:lnTo>
                  <a:pt x="453006" y="109835"/>
                </a:lnTo>
                <a:lnTo>
                  <a:pt x="475839" y="152161"/>
                </a:lnTo>
                <a:lnTo>
                  <a:pt x="490268" y="198941"/>
                </a:lnTo>
                <a:lnTo>
                  <a:pt x="495300" y="249174"/>
                </a:lnTo>
                <a:lnTo>
                  <a:pt x="490268" y="299406"/>
                </a:lnTo>
                <a:lnTo>
                  <a:pt x="475839" y="346186"/>
                </a:lnTo>
                <a:lnTo>
                  <a:pt x="453006" y="388512"/>
                </a:lnTo>
                <a:lnTo>
                  <a:pt x="422767" y="425386"/>
                </a:lnTo>
                <a:lnTo>
                  <a:pt x="386115" y="455806"/>
                </a:lnTo>
                <a:lnTo>
                  <a:pt x="344048" y="478774"/>
                </a:lnTo>
                <a:lnTo>
                  <a:pt x="297561" y="493287"/>
                </a:lnTo>
                <a:lnTo>
                  <a:pt x="247650" y="498348"/>
                </a:lnTo>
                <a:lnTo>
                  <a:pt x="197738" y="493287"/>
                </a:lnTo>
                <a:lnTo>
                  <a:pt x="151251" y="478774"/>
                </a:lnTo>
                <a:lnTo>
                  <a:pt x="109184" y="455806"/>
                </a:lnTo>
                <a:lnTo>
                  <a:pt x="72532" y="425386"/>
                </a:lnTo>
                <a:lnTo>
                  <a:pt x="42293" y="388512"/>
                </a:lnTo>
                <a:lnTo>
                  <a:pt x="19460" y="346186"/>
                </a:lnTo>
                <a:lnTo>
                  <a:pt x="5031" y="299406"/>
                </a:lnTo>
                <a:lnTo>
                  <a:pt x="0" y="249174"/>
                </a:lnTo>
                <a:close/>
              </a:path>
            </a:pathLst>
          </a:custGeom>
          <a:ln w="19812">
            <a:solidFill>
              <a:srgbClr val="D22138"/>
            </a:solidFill>
          </a:ln>
        </p:spPr>
        <p:txBody>
          <a:bodyPr wrap="square" lIns="0" tIns="0" rIns="0" bIns="0" rtlCol="0"/>
          <a:lstStyle/>
          <a:p>
            <a:endParaRPr/>
          </a:p>
        </p:txBody>
      </p:sp>
      <p:sp>
        <p:nvSpPr>
          <p:cNvPr id="36" name="object 36"/>
          <p:cNvSpPr txBox="1"/>
          <p:nvPr/>
        </p:nvSpPr>
        <p:spPr>
          <a:xfrm>
            <a:off x="5029961" y="5297551"/>
            <a:ext cx="187960" cy="299720"/>
          </a:xfrm>
          <a:prstGeom prst="rect">
            <a:avLst/>
          </a:prstGeom>
        </p:spPr>
        <p:txBody>
          <a:bodyPr vert="horz" wrap="square" lIns="0" tIns="12700" rIns="0" bIns="0" rtlCol="0">
            <a:spAutoFit/>
          </a:bodyPr>
          <a:lstStyle/>
          <a:p>
            <a:pPr marL="12700">
              <a:lnSpc>
                <a:spcPct val="100000"/>
              </a:lnSpc>
              <a:spcBef>
                <a:spcPts val="100"/>
              </a:spcBef>
            </a:pPr>
            <a:r>
              <a:rPr sz="1800" b="1">
                <a:latin typeface="Verdana"/>
                <a:cs typeface="Verdana"/>
              </a:rPr>
              <a:t>4</a:t>
            </a:r>
            <a:endParaRPr sz="1800">
              <a:latin typeface="Verdana"/>
              <a:cs typeface="Verdana"/>
            </a:endParaRPr>
          </a:p>
        </p:txBody>
      </p:sp>
      <p:sp>
        <p:nvSpPr>
          <p:cNvPr id="37" name="object 37"/>
          <p:cNvSpPr/>
          <p:nvPr/>
        </p:nvSpPr>
        <p:spPr>
          <a:xfrm>
            <a:off x="4651247" y="5766815"/>
            <a:ext cx="948055" cy="332740"/>
          </a:xfrm>
          <a:custGeom>
            <a:avLst/>
            <a:gdLst/>
            <a:ahLst/>
            <a:cxnLst/>
            <a:rect l="l" t="t" r="r" b="b"/>
            <a:pathLst>
              <a:path w="948054" h="332739">
                <a:moveTo>
                  <a:pt x="0" y="0"/>
                </a:moveTo>
                <a:lnTo>
                  <a:pt x="0" y="68160"/>
                </a:lnTo>
                <a:lnTo>
                  <a:pt x="1498" y="77118"/>
                </a:lnTo>
                <a:lnTo>
                  <a:pt x="414274" y="318757"/>
                </a:lnTo>
                <a:lnTo>
                  <a:pt x="474725" y="332292"/>
                </a:lnTo>
                <a:lnTo>
                  <a:pt x="506356" y="328908"/>
                </a:lnTo>
                <a:lnTo>
                  <a:pt x="533653" y="318757"/>
                </a:lnTo>
                <a:lnTo>
                  <a:pt x="631247" y="264131"/>
                </a:lnTo>
                <a:lnTo>
                  <a:pt x="474725" y="264131"/>
                </a:lnTo>
                <a:lnTo>
                  <a:pt x="442714" y="260747"/>
                </a:lnTo>
                <a:lnTo>
                  <a:pt x="23875" y="32080"/>
                </a:lnTo>
                <a:lnTo>
                  <a:pt x="1498" y="8957"/>
                </a:lnTo>
                <a:lnTo>
                  <a:pt x="0" y="0"/>
                </a:lnTo>
                <a:close/>
              </a:path>
              <a:path w="948054" h="332739">
                <a:moveTo>
                  <a:pt x="947927" y="0"/>
                </a:moveTo>
                <a:lnTo>
                  <a:pt x="924051" y="32080"/>
                </a:lnTo>
                <a:lnTo>
                  <a:pt x="533653" y="250596"/>
                </a:lnTo>
                <a:lnTo>
                  <a:pt x="474725" y="264131"/>
                </a:lnTo>
                <a:lnTo>
                  <a:pt x="631247" y="264131"/>
                </a:lnTo>
                <a:lnTo>
                  <a:pt x="924051" y="100241"/>
                </a:lnTo>
                <a:lnTo>
                  <a:pt x="947927" y="68160"/>
                </a:lnTo>
                <a:lnTo>
                  <a:pt x="947927" y="0"/>
                </a:lnTo>
                <a:close/>
              </a:path>
            </a:pathLst>
          </a:custGeom>
          <a:solidFill>
            <a:srgbClr val="FFD5DB"/>
          </a:solidFill>
        </p:spPr>
        <p:txBody>
          <a:bodyPr wrap="square" lIns="0" tIns="0" rIns="0" bIns="0" rtlCol="0"/>
          <a:lstStyle/>
          <a:p>
            <a:endParaRPr/>
          </a:p>
        </p:txBody>
      </p:sp>
      <p:sp>
        <p:nvSpPr>
          <p:cNvPr id="38" name="object 38"/>
          <p:cNvSpPr txBox="1"/>
          <p:nvPr/>
        </p:nvSpPr>
        <p:spPr>
          <a:xfrm>
            <a:off x="5717540" y="5378958"/>
            <a:ext cx="5371465" cy="574040"/>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Verdana"/>
                <a:cs typeface="Verdana"/>
              </a:rPr>
              <a:t>Specialized knowledge </a:t>
            </a:r>
            <a:r>
              <a:rPr sz="1200">
                <a:latin typeface="Verdana"/>
                <a:cs typeface="Verdana"/>
              </a:rPr>
              <a:t>on </a:t>
            </a:r>
            <a:r>
              <a:rPr sz="1200" spc="-5">
                <a:latin typeface="Verdana"/>
                <a:cs typeface="Verdana"/>
              </a:rPr>
              <a:t>Sales, Einstein Analytics and Mulesoft, with  global </a:t>
            </a:r>
            <a:r>
              <a:rPr sz="1200">
                <a:latin typeface="Verdana"/>
                <a:cs typeface="Verdana"/>
              </a:rPr>
              <a:t>presence </a:t>
            </a:r>
            <a:r>
              <a:rPr sz="1200" spc="-5">
                <a:latin typeface="Verdana"/>
                <a:cs typeface="Verdana"/>
              </a:rPr>
              <a:t>and strong project experience, in </a:t>
            </a:r>
            <a:r>
              <a:rPr sz="1200">
                <a:latin typeface="Verdana"/>
                <a:cs typeface="Verdana"/>
              </a:rPr>
              <a:t>order </a:t>
            </a:r>
            <a:r>
              <a:rPr sz="1200" spc="-5">
                <a:latin typeface="Verdana"/>
                <a:cs typeface="Verdana"/>
              </a:rPr>
              <a:t>to ensure  smooth </a:t>
            </a:r>
            <a:r>
              <a:rPr sz="1200" spc="-10">
                <a:latin typeface="Verdana"/>
                <a:cs typeface="Verdana"/>
              </a:rPr>
              <a:t>integration </a:t>
            </a:r>
            <a:r>
              <a:rPr sz="1200" spc="-5">
                <a:latin typeface="Verdana"/>
                <a:cs typeface="Verdana"/>
              </a:rPr>
              <a:t>between Salesforce and Legacy</a:t>
            </a:r>
            <a:r>
              <a:rPr sz="1200" spc="70">
                <a:latin typeface="Verdana"/>
                <a:cs typeface="Verdana"/>
              </a:rPr>
              <a:t> </a:t>
            </a:r>
            <a:r>
              <a:rPr sz="1200" spc="-5">
                <a:latin typeface="Verdana"/>
                <a:cs typeface="Verdana"/>
              </a:rPr>
              <a:t>Systems</a:t>
            </a:r>
            <a:endParaRPr sz="1200">
              <a:latin typeface="Verdana"/>
              <a:cs typeface="Verdana"/>
            </a:endParaRPr>
          </a:p>
        </p:txBody>
      </p:sp>
      <p:sp>
        <p:nvSpPr>
          <p:cNvPr id="39" name="object 3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0" name="object 40"/>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10</a:t>
            </a:fld>
            <a:endParaRPr sz="800">
              <a:latin typeface="Verdana"/>
              <a:cs typeface="Verdana"/>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2" name="object 12"/>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0</a:t>
            </a:fld>
            <a:endParaRPr sz="800">
              <a:latin typeface="Verdana"/>
              <a:cs typeface="Verdana"/>
            </a:endParaRPr>
          </a:p>
        </p:txBody>
      </p:sp>
      <p:sp>
        <p:nvSpPr>
          <p:cNvPr id="55" name="object 5">
            <a:extLst>
              <a:ext uri="{FF2B5EF4-FFF2-40B4-BE49-F238E27FC236}">
                <a16:creationId xmlns:a16="http://schemas.microsoft.com/office/drawing/2014/main" id="{52D14570-C954-4198-BFB4-D58B2788891F}"/>
              </a:ext>
            </a:extLst>
          </p:cNvPr>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56" name="object 6">
            <a:extLst>
              <a:ext uri="{FF2B5EF4-FFF2-40B4-BE49-F238E27FC236}">
                <a16:creationId xmlns:a16="http://schemas.microsoft.com/office/drawing/2014/main" id="{B917945B-F4ED-4FCB-9E7D-D5FA63398EEA}"/>
              </a:ext>
            </a:extLst>
          </p:cNvPr>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57" name="object 7">
            <a:extLst>
              <a:ext uri="{FF2B5EF4-FFF2-40B4-BE49-F238E27FC236}">
                <a16:creationId xmlns:a16="http://schemas.microsoft.com/office/drawing/2014/main" id="{75116276-3140-40C6-8EF5-A5209E6FF115}"/>
              </a:ext>
            </a:extLst>
          </p:cNvPr>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58" name="object 8">
            <a:extLst>
              <a:ext uri="{FF2B5EF4-FFF2-40B4-BE49-F238E27FC236}">
                <a16:creationId xmlns:a16="http://schemas.microsoft.com/office/drawing/2014/main" id="{80797C4C-7A81-452E-A157-816446D4589E}"/>
              </a:ext>
            </a:extLst>
          </p:cNvPr>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59" name="object 9">
            <a:extLst>
              <a:ext uri="{FF2B5EF4-FFF2-40B4-BE49-F238E27FC236}">
                <a16:creationId xmlns:a16="http://schemas.microsoft.com/office/drawing/2014/main" id="{01F42D88-6FDF-4D64-AFAD-C789415FF134}"/>
              </a:ext>
            </a:extLst>
          </p:cNvPr>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60" name="object 10">
            <a:extLst>
              <a:ext uri="{FF2B5EF4-FFF2-40B4-BE49-F238E27FC236}">
                <a16:creationId xmlns:a16="http://schemas.microsoft.com/office/drawing/2014/main" id="{47792B6C-5AA9-4685-A67C-36011AFFB2FD}"/>
              </a:ext>
            </a:extLst>
          </p:cNvPr>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61" name="object 11">
            <a:extLst>
              <a:ext uri="{FF2B5EF4-FFF2-40B4-BE49-F238E27FC236}">
                <a16:creationId xmlns:a16="http://schemas.microsoft.com/office/drawing/2014/main" id="{89718748-03A7-41E5-BBBF-34044D7F02B1}"/>
              </a:ext>
            </a:extLst>
          </p:cNvPr>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62" name="object 12">
            <a:extLst>
              <a:ext uri="{FF2B5EF4-FFF2-40B4-BE49-F238E27FC236}">
                <a16:creationId xmlns:a16="http://schemas.microsoft.com/office/drawing/2014/main" id="{4D48C69E-14B2-4B08-9970-080D54562B95}"/>
              </a:ext>
            </a:extLst>
          </p:cNvPr>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63" name="object 13">
            <a:extLst>
              <a:ext uri="{FF2B5EF4-FFF2-40B4-BE49-F238E27FC236}">
                <a16:creationId xmlns:a16="http://schemas.microsoft.com/office/drawing/2014/main" id="{451151B0-1A01-4DC4-A984-DC70E24C7D18}"/>
              </a:ext>
            </a:extLst>
          </p:cNvPr>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64" name="object 14">
            <a:extLst>
              <a:ext uri="{FF2B5EF4-FFF2-40B4-BE49-F238E27FC236}">
                <a16:creationId xmlns:a16="http://schemas.microsoft.com/office/drawing/2014/main" id="{ED879C88-C2DD-4AB8-8320-70B38E7E1B27}"/>
              </a:ext>
            </a:extLst>
          </p:cNvPr>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65" name="object 15">
            <a:extLst>
              <a:ext uri="{FF2B5EF4-FFF2-40B4-BE49-F238E27FC236}">
                <a16:creationId xmlns:a16="http://schemas.microsoft.com/office/drawing/2014/main" id="{60EB691C-21AF-4EB4-81D1-ED42E65B8FEE}"/>
              </a:ext>
            </a:extLst>
          </p:cNvPr>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66" name="object 16">
            <a:extLst>
              <a:ext uri="{FF2B5EF4-FFF2-40B4-BE49-F238E27FC236}">
                <a16:creationId xmlns:a16="http://schemas.microsoft.com/office/drawing/2014/main" id="{E5BE6756-7F4A-495F-B96F-0BBA597AC731}"/>
              </a:ext>
            </a:extLst>
          </p:cNvPr>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67" name="object 17">
            <a:extLst>
              <a:ext uri="{FF2B5EF4-FFF2-40B4-BE49-F238E27FC236}">
                <a16:creationId xmlns:a16="http://schemas.microsoft.com/office/drawing/2014/main" id="{F4060E64-EBC0-4688-A773-F85F20CCFA73}"/>
              </a:ext>
            </a:extLst>
          </p:cNvPr>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68" name="object 18">
            <a:extLst>
              <a:ext uri="{FF2B5EF4-FFF2-40B4-BE49-F238E27FC236}">
                <a16:creationId xmlns:a16="http://schemas.microsoft.com/office/drawing/2014/main" id="{DB2A3B93-959F-4403-937A-1FECA3ED6FF7}"/>
              </a:ext>
            </a:extLst>
          </p:cNvPr>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69" name="object 19">
            <a:extLst>
              <a:ext uri="{FF2B5EF4-FFF2-40B4-BE49-F238E27FC236}">
                <a16:creationId xmlns:a16="http://schemas.microsoft.com/office/drawing/2014/main" id="{29F6C8AF-0922-46CF-A7C0-004B7D035DC9}"/>
              </a:ext>
            </a:extLst>
          </p:cNvPr>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70" name="object 20">
            <a:extLst>
              <a:ext uri="{FF2B5EF4-FFF2-40B4-BE49-F238E27FC236}">
                <a16:creationId xmlns:a16="http://schemas.microsoft.com/office/drawing/2014/main" id="{576C3599-A3E9-44AD-B74F-41B954C4D78C}"/>
              </a:ext>
            </a:extLst>
          </p:cNvPr>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71" name="object 21">
            <a:extLst>
              <a:ext uri="{FF2B5EF4-FFF2-40B4-BE49-F238E27FC236}">
                <a16:creationId xmlns:a16="http://schemas.microsoft.com/office/drawing/2014/main" id="{3C3F9731-C2F0-4FD4-A45C-1427429F16A5}"/>
              </a:ext>
            </a:extLst>
          </p:cNvPr>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72" name="object 22">
            <a:extLst>
              <a:ext uri="{FF2B5EF4-FFF2-40B4-BE49-F238E27FC236}">
                <a16:creationId xmlns:a16="http://schemas.microsoft.com/office/drawing/2014/main" id="{36043484-FE4D-4AD7-B922-87CEE479F647}"/>
              </a:ext>
            </a:extLst>
          </p:cNvPr>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73" name="object 23">
            <a:extLst>
              <a:ext uri="{FF2B5EF4-FFF2-40B4-BE49-F238E27FC236}">
                <a16:creationId xmlns:a16="http://schemas.microsoft.com/office/drawing/2014/main" id="{107DE85B-0447-446D-B8D9-AA69B77A9629}"/>
              </a:ext>
            </a:extLst>
          </p:cNvPr>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74" name="object 24">
            <a:extLst>
              <a:ext uri="{FF2B5EF4-FFF2-40B4-BE49-F238E27FC236}">
                <a16:creationId xmlns:a16="http://schemas.microsoft.com/office/drawing/2014/main" id="{9DD56643-8DE4-46F0-B7BA-5D10D1960F0F}"/>
              </a:ext>
            </a:extLst>
          </p:cNvPr>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75" name="object 25">
            <a:extLst>
              <a:ext uri="{FF2B5EF4-FFF2-40B4-BE49-F238E27FC236}">
                <a16:creationId xmlns:a16="http://schemas.microsoft.com/office/drawing/2014/main" id="{7D1F4116-448E-4CFA-9F42-C0DC7C25D59C}"/>
              </a:ext>
            </a:extLst>
          </p:cNvPr>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76" name="object 26">
            <a:extLst>
              <a:ext uri="{FF2B5EF4-FFF2-40B4-BE49-F238E27FC236}">
                <a16:creationId xmlns:a16="http://schemas.microsoft.com/office/drawing/2014/main" id="{8E32FCF4-D390-48C2-955C-0BEB8459A804}"/>
              </a:ext>
            </a:extLst>
          </p:cNvPr>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77" name="object 27">
            <a:extLst>
              <a:ext uri="{FF2B5EF4-FFF2-40B4-BE49-F238E27FC236}">
                <a16:creationId xmlns:a16="http://schemas.microsoft.com/office/drawing/2014/main" id="{0DA02ECD-F42C-4491-9EF3-A3A199F2AB37}"/>
              </a:ext>
            </a:extLst>
          </p:cNvPr>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88" name="Rectangle 87">
            <a:extLst>
              <a:ext uri="{FF2B5EF4-FFF2-40B4-BE49-F238E27FC236}">
                <a16:creationId xmlns:a16="http://schemas.microsoft.com/office/drawing/2014/main" id="{E6E4AE00-D8BF-4C4F-997C-4C43B468292A}"/>
              </a:ext>
            </a:extLst>
          </p:cNvPr>
          <p:cNvSpPr/>
          <p:nvPr/>
        </p:nvSpPr>
        <p:spPr>
          <a:xfrm>
            <a:off x="671088" y="1479993"/>
            <a:ext cx="3154761" cy="4094128"/>
          </a:xfrm>
          <a:prstGeom prst="rect">
            <a:avLst/>
          </a:prstGeom>
          <a:solidFill>
            <a:srgbClr val="FFFFFF"/>
          </a:solidFill>
          <a:ln w="12700" cap="flat" cmpd="sng" algn="ctr">
            <a:solidFill>
              <a:srgbClr val="FFFFFF">
                <a:lumMod val="75000"/>
              </a:srgbClr>
            </a:solid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Verdana"/>
              <a:ea typeface="+mn-ea"/>
              <a:cs typeface="+mn-cs"/>
            </a:endParaRPr>
          </a:p>
        </p:txBody>
      </p:sp>
      <p:sp>
        <p:nvSpPr>
          <p:cNvPr id="89" name="Text Placeholder 2">
            <a:extLst>
              <a:ext uri="{FF2B5EF4-FFF2-40B4-BE49-F238E27FC236}">
                <a16:creationId xmlns:a16="http://schemas.microsoft.com/office/drawing/2014/main" id="{189890EE-0BD8-42A4-8BCC-885A59F16B77}"/>
              </a:ext>
            </a:extLst>
          </p:cNvPr>
          <p:cNvSpPr txBox="1">
            <a:spLocks/>
          </p:cNvSpPr>
          <p:nvPr/>
        </p:nvSpPr>
        <p:spPr>
          <a:xfrm>
            <a:off x="736396" y="1947546"/>
            <a:ext cx="3089542" cy="200054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300">
                <a:solidFill>
                  <a:srgbClr val="1E1E1E"/>
                </a:solidFill>
                <a:latin typeface="Verdana"/>
                <a:ea typeface="Verdana"/>
                <a:cs typeface="+mj-lt"/>
              </a:rPr>
              <a:t>Einstein Prediction Builder lets you make predictions about almost any field in Salesforce with just a few clicks. Then, you can use the predictions to power a workflow, focus your efforts, and work smarter. </a:t>
            </a:r>
            <a:endParaRPr lang="en-US" sz="1300">
              <a:solidFill>
                <a:prstClr val="black"/>
              </a:solidFill>
              <a:latin typeface="Verdana"/>
              <a:ea typeface="Verdana"/>
              <a:cs typeface="+mj-lt"/>
            </a:endParaRPr>
          </a:p>
          <a:p>
            <a:pPr>
              <a:lnSpc>
                <a:spcPct val="100000"/>
              </a:lnSpc>
              <a:spcBef>
                <a:spcPts val="0"/>
              </a:spcBef>
            </a:pPr>
            <a:endParaRPr lang="en-US" sz="1300">
              <a:solidFill>
                <a:prstClr val="black"/>
              </a:solidFill>
              <a:latin typeface="Verdana"/>
              <a:ea typeface="Verdana"/>
              <a:cs typeface="+mj-lt"/>
            </a:endParaRPr>
          </a:p>
          <a:p>
            <a:pPr>
              <a:lnSpc>
                <a:spcPct val="100000"/>
              </a:lnSpc>
              <a:spcBef>
                <a:spcPts val="0"/>
              </a:spcBef>
            </a:pPr>
            <a:r>
              <a:rPr lang="en-US" sz="1300">
                <a:solidFill>
                  <a:srgbClr val="1E1E1E"/>
                </a:solidFill>
                <a:latin typeface="Verdana"/>
                <a:ea typeface="Verdana"/>
                <a:cs typeface="+mj-lt"/>
              </a:rPr>
              <a:t>No models, no algorithms, no code needed. Point. Click. Predict.</a:t>
            </a:r>
            <a:endParaRPr lang="en-GB" sz="1300">
              <a:solidFill>
                <a:prstClr val="black"/>
              </a:solidFill>
              <a:latin typeface="Verdana"/>
            </a:endParaRPr>
          </a:p>
        </p:txBody>
      </p:sp>
      <p:sp>
        <p:nvSpPr>
          <p:cNvPr id="90" name="Rectangle 89">
            <a:extLst>
              <a:ext uri="{FF2B5EF4-FFF2-40B4-BE49-F238E27FC236}">
                <a16:creationId xmlns:a16="http://schemas.microsoft.com/office/drawing/2014/main" id="{9188B8C7-7C05-4E7D-8D02-3F088B30C96E}"/>
              </a:ext>
            </a:extLst>
          </p:cNvPr>
          <p:cNvSpPr/>
          <p:nvPr/>
        </p:nvSpPr>
        <p:spPr>
          <a:xfrm>
            <a:off x="4053686" y="1186553"/>
            <a:ext cx="3295841" cy="32241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Einstein Discovery</a:t>
            </a:r>
          </a:p>
        </p:txBody>
      </p:sp>
      <p:sp>
        <p:nvSpPr>
          <p:cNvPr id="91" name="Rectangle 90">
            <a:extLst>
              <a:ext uri="{FF2B5EF4-FFF2-40B4-BE49-F238E27FC236}">
                <a16:creationId xmlns:a16="http://schemas.microsoft.com/office/drawing/2014/main" id="{A79B0643-65A1-44D5-88DB-60A8EB9DEA89}"/>
              </a:ext>
            </a:extLst>
          </p:cNvPr>
          <p:cNvSpPr/>
          <p:nvPr/>
        </p:nvSpPr>
        <p:spPr>
          <a:xfrm>
            <a:off x="4092035" y="1503947"/>
            <a:ext cx="3219142" cy="4070174"/>
          </a:xfrm>
          <a:prstGeom prst="rect">
            <a:avLst/>
          </a:prstGeom>
          <a:solidFill>
            <a:srgbClr val="FFFFFF"/>
          </a:solidFill>
          <a:ln w="12700" cap="flat" cmpd="sng" algn="ctr">
            <a:solidFill>
              <a:srgbClr val="FFFFFF">
                <a:lumMod val="75000"/>
              </a:srgbClr>
            </a:solid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Verdana"/>
              <a:ea typeface="+mn-ea"/>
              <a:cs typeface="+mn-cs"/>
            </a:endParaRPr>
          </a:p>
        </p:txBody>
      </p:sp>
      <p:sp>
        <p:nvSpPr>
          <p:cNvPr id="92" name="Text Placeholder 2">
            <a:extLst>
              <a:ext uri="{FF2B5EF4-FFF2-40B4-BE49-F238E27FC236}">
                <a16:creationId xmlns:a16="http://schemas.microsoft.com/office/drawing/2014/main" id="{3B89179E-8E82-4D59-B7DD-508D5EF41D23}"/>
              </a:ext>
            </a:extLst>
          </p:cNvPr>
          <p:cNvSpPr txBox="1">
            <a:spLocks/>
          </p:cNvSpPr>
          <p:nvPr/>
        </p:nvSpPr>
        <p:spPr>
          <a:xfrm>
            <a:off x="4116483" y="1947546"/>
            <a:ext cx="3194694" cy="2600712"/>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300">
                <a:solidFill>
                  <a:srgbClr val="222222"/>
                </a:solidFill>
                <a:latin typeface="Verdana"/>
                <a:ea typeface="Verdana"/>
                <a:cs typeface="+mj-lt"/>
              </a:rPr>
              <a:t>Einstein Discovery derives customer insights using your CRM data as well as other internal and external data sources such as your website, email marketing campaign results, or social media.</a:t>
            </a:r>
            <a:endParaRPr lang="en-US" sz="1300">
              <a:solidFill>
                <a:prstClr val="black"/>
              </a:solidFill>
              <a:latin typeface="Verdana"/>
              <a:ea typeface="Verdana"/>
              <a:cs typeface="+mj-lt"/>
            </a:endParaRPr>
          </a:p>
          <a:p>
            <a:pPr>
              <a:lnSpc>
                <a:spcPct val="100000"/>
              </a:lnSpc>
              <a:spcBef>
                <a:spcPts val="0"/>
              </a:spcBef>
            </a:pPr>
            <a:endParaRPr lang="en-US" sz="1300">
              <a:solidFill>
                <a:prstClr val="black"/>
              </a:solidFill>
              <a:latin typeface="Verdana"/>
              <a:ea typeface="Verdana"/>
              <a:cs typeface="+mj-lt"/>
            </a:endParaRPr>
          </a:p>
          <a:p>
            <a:pPr>
              <a:lnSpc>
                <a:spcPct val="100000"/>
              </a:lnSpc>
              <a:spcBef>
                <a:spcPts val="0"/>
              </a:spcBef>
            </a:pPr>
            <a:r>
              <a:rPr lang="en-US" sz="1300">
                <a:solidFill>
                  <a:srgbClr val="222222"/>
                </a:solidFill>
                <a:latin typeface="Verdana"/>
                <a:ea typeface="Verdana"/>
                <a:cs typeface="+mj-lt"/>
              </a:rPr>
              <a:t>It can analyze data more quickly than any manual method in order to help you understand what’s happening with your business and customers, as well as what the next best steps are for your reps.</a:t>
            </a:r>
            <a:endParaRPr lang="en-GB" sz="1300">
              <a:solidFill>
                <a:srgbClr val="222222"/>
              </a:solidFill>
              <a:latin typeface="Verdana"/>
              <a:ea typeface="Verdana"/>
              <a:cs typeface="+mj-lt"/>
            </a:endParaRPr>
          </a:p>
        </p:txBody>
      </p:sp>
      <p:sp>
        <p:nvSpPr>
          <p:cNvPr id="93" name="Rectangle 92">
            <a:extLst>
              <a:ext uri="{FF2B5EF4-FFF2-40B4-BE49-F238E27FC236}">
                <a16:creationId xmlns:a16="http://schemas.microsoft.com/office/drawing/2014/main" id="{7C8C28ED-67B0-4E00-BB08-C502F70DD08C}"/>
              </a:ext>
            </a:extLst>
          </p:cNvPr>
          <p:cNvSpPr/>
          <p:nvPr/>
        </p:nvSpPr>
        <p:spPr>
          <a:xfrm>
            <a:off x="7515665" y="1440640"/>
            <a:ext cx="3195278" cy="4133481"/>
          </a:xfrm>
          <a:prstGeom prst="rect">
            <a:avLst/>
          </a:prstGeom>
          <a:solidFill>
            <a:srgbClr val="FFFFFF"/>
          </a:solidFill>
          <a:ln w="12700" cap="flat" cmpd="sng" algn="ctr">
            <a:solidFill>
              <a:srgbClr val="FFFFFF">
                <a:lumMod val="75000"/>
              </a:srgbClr>
            </a:solid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5AFD9822-AF13-4C22-A0FA-CABB8E45C550}"/>
              </a:ext>
            </a:extLst>
          </p:cNvPr>
          <p:cNvSpPr/>
          <p:nvPr/>
        </p:nvSpPr>
        <p:spPr>
          <a:xfrm>
            <a:off x="7515665" y="1186553"/>
            <a:ext cx="3212585" cy="32241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Einstein Next Best Action</a:t>
            </a:r>
          </a:p>
        </p:txBody>
      </p:sp>
      <p:sp>
        <p:nvSpPr>
          <p:cNvPr id="95" name="Text Placeholder 2">
            <a:extLst>
              <a:ext uri="{FF2B5EF4-FFF2-40B4-BE49-F238E27FC236}">
                <a16:creationId xmlns:a16="http://schemas.microsoft.com/office/drawing/2014/main" id="{D97B2E4A-976B-4A35-9A58-CDF4B2B85532}"/>
              </a:ext>
            </a:extLst>
          </p:cNvPr>
          <p:cNvSpPr txBox="1">
            <a:spLocks/>
          </p:cNvSpPr>
          <p:nvPr/>
        </p:nvSpPr>
        <p:spPr>
          <a:xfrm>
            <a:off x="7560885" y="1947546"/>
            <a:ext cx="3195277" cy="3000821"/>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300">
                <a:solidFill>
                  <a:srgbClr val="222222"/>
                </a:solidFill>
                <a:latin typeface="Verdana"/>
                <a:ea typeface="Verdana"/>
                <a:cs typeface="+mj-lt"/>
              </a:rPr>
              <a:t>Einstein Next Best Action gives your employees recommendations based on past interactions and collected data. For instance, if Salesforce predicts a customer is likely to quit your services or move on to a competitor, it will tell your employee to contact a particular member of the customer’s team using their preferred method of contact (phone call or email) at their preferred time of day.</a:t>
            </a:r>
            <a:br>
              <a:rPr lang="en-US" sz="1300">
                <a:solidFill>
                  <a:srgbClr val="222222"/>
                </a:solidFill>
                <a:latin typeface="Verdana"/>
                <a:ea typeface="Verdana"/>
                <a:cs typeface="+mj-lt"/>
              </a:rPr>
            </a:br>
            <a:endParaRPr lang="en-US" sz="1300">
              <a:solidFill>
                <a:prstClr val="black"/>
              </a:solidFill>
              <a:latin typeface="Verdana"/>
              <a:ea typeface="Verdana"/>
              <a:cs typeface="+mj-lt"/>
            </a:endParaRPr>
          </a:p>
          <a:p>
            <a:pPr>
              <a:lnSpc>
                <a:spcPct val="100000"/>
              </a:lnSpc>
              <a:spcBef>
                <a:spcPts val="0"/>
              </a:spcBef>
            </a:pPr>
            <a:r>
              <a:rPr lang="en-US" sz="1300">
                <a:solidFill>
                  <a:srgbClr val="222222"/>
                </a:solidFill>
                <a:latin typeface="Verdana"/>
                <a:ea typeface="Verdana"/>
                <a:cs typeface="+mj-lt"/>
              </a:rPr>
              <a:t>If that action seems correct to your employee, Salesforce will then put it on their schedule and set reminders.</a:t>
            </a:r>
            <a:endParaRPr lang="en-GB" sz="1300">
              <a:solidFill>
                <a:prstClr val="black"/>
              </a:solidFill>
              <a:latin typeface="Verdana"/>
            </a:endParaRPr>
          </a:p>
        </p:txBody>
      </p:sp>
      <p:sp>
        <p:nvSpPr>
          <p:cNvPr id="96" name="Rectangle 95">
            <a:extLst>
              <a:ext uri="{FF2B5EF4-FFF2-40B4-BE49-F238E27FC236}">
                <a16:creationId xmlns:a16="http://schemas.microsoft.com/office/drawing/2014/main" id="{E2CB78D1-06EB-4B28-95AF-F082E1435424}"/>
              </a:ext>
            </a:extLst>
          </p:cNvPr>
          <p:cNvSpPr/>
          <p:nvPr/>
        </p:nvSpPr>
        <p:spPr>
          <a:xfrm>
            <a:off x="671088" y="1186553"/>
            <a:ext cx="3176122" cy="32241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Einstein Prediction Builder</a:t>
            </a:r>
          </a:p>
        </p:txBody>
      </p:sp>
      <p:sp>
        <p:nvSpPr>
          <p:cNvPr id="97" name="Text Placeholder 2">
            <a:extLst>
              <a:ext uri="{FF2B5EF4-FFF2-40B4-BE49-F238E27FC236}">
                <a16:creationId xmlns:a16="http://schemas.microsoft.com/office/drawing/2014/main" id="{33E2BC48-8675-4BC6-9C00-A2992E3EE8EB}"/>
              </a:ext>
            </a:extLst>
          </p:cNvPr>
          <p:cNvSpPr txBox="1">
            <a:spLocks/>
          </p:cNvSpPr>
          <p:nvPr/>
        </p:nvSpPr>
        <p:spPr>
          <a:xfrm>
            <a:off x="671088" y="5678293"/>
            <a:ext cx="10329355" cy="646331"/>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a:solidFill>
                  <a:srgbClr val="1E1E1E"/>
                </a:solidFill>
                <a:latin typeface="Verdana"/>
                <a:ea typeface="Verdana"/>
                <a:cs typeface="Verdana"/>
              </a:rPr>
              <a:t>To get the most out of Einstein Analytics, we would like to do a Feasibility Study (optional activity)</a:t>
            </a:r>
            <a:endParaRPr lang="en-US" sz="1400">
              <a:solidFill>
                <a:prstClr val="black"/>
              </a:solidFill>
              <a:latin typeface="Verdana"/>
            </a:endParaRPr>
          </a:p>
          <a:p>
            <a:pPr>
              <a:lnSpc>
                <a:spcPct val="100000"/>
              </a:lnSpc>
              <a:spcBef>
                <a:spcPts val="0"/>
              </a:spcBef>
            </a:pPr>
            <a:r>
              <a:rPr lang="en-US" sz="1400">
                <a:solidFill>
                  <a:srgbClr val="1E1E1E"/>
                </a:solidFill>
                <a:latin typeface="Verdana"/>
                <a:ea typeface="Verdana"/>
                <a:cs typeface="Verdana"/>
              </a:rPr>
              <a:t>We can do a feasibility study on any topic, individually, or all together.  Even if one of the features is already implemented, feasibility studies always bring new insights.</a:t>
            </a:r>
          </a:p>
        </p:txBody>
      </p:sp>
      <p:pic>
        <p:nvPicPr>
          <p:cNvPr id="98" name="Picture 2" descr="Supercharge your Sitetracker data with Einstein Analytics">
            <a:extLst>
              <a:ext uri="{FF2B5EF4-FFF2-40B4-BE49-F238E27FC236}">
                <a16:creationId xmlns:a16="http://schemas.microsoft.com/office/drawing/2014/main" id="{FFA1E0BB-D2F7-4B8A-8DFF-484BD3DCAF5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10686086" y="4824008"/>
            <a:ext cx="1688959" cy="1688959"/>
          </a:xfrm>
          <a:prstGeom prst="rect">
            <a:avLst/>
          </a:prstGeom>
          <a:noFill/>
          <a:extLst>
            <a:ext uri="{909E8E84-426E-40DD-AFC4-6F175D3DCCD1}">
              <a14:hiddenFill xmlns:a14="http://schemas.microsoft.com/office/drawing/2010/main">
                <a:solidFill>
                  <a:srgbClr val="FFFFFF"/>
                </a:solidFill>
              </a14:hiddenFill>
            </a:ext>
          </a:extLst>
        </p:spPr>
      </p:pic>
      <p:sp>
        <p:nvSpPr>
          <p:cNvPr id="99" name="Title 2">
            <a:extLst>
              <a:ext uri="{FF2B5EF4-FFF2-40B4-BE49-F238E27FC236}">
                <a16:creationId xmlns:a16="http://schemas.microsoft.com/office/drawing/2014/main" id="{93331AB9-D911-4734-B6FF-BBCDB8D05031}"/>
              </a:ext>
            </a:extLst>
          </p:cNvPr>
          <p:cNvSpPr>
            <a:spLocks noGrp="1"/>
          </p:cNvSpPr>
          <p:nvPr>
            <p:ph type="title"/>
          </p:nvPr>
        </p:nvSpPr>
        <p:spPr>
          <a:xfrm>
            <a:off x="227349" y="0"/>
            <a:ext cx="10833175" cy="1104900"/>
          </a:xfrm>
        </p:spPr>
        <p:txBody>
          <a:bodyPr/>
          <a:lstStyle/>
          <a:p>
            <a:r>
              <a:rPr lang="en-US" sz="2300"/>
              <a:t>Our additional recommendations on Einstein Analytics </a:t>
            </a:r>
            <a:br>
              <a:rPr lang="en-US" sz="2300"/>
            </a:br>
            <a:r>
              <a:rPr lang="en-US" sz="2300"/>
              <a:t>(not included, but to be evaluated by Marelli)</a:t>
            </a:r>
          </a:p>
        </p:txBody>
      </p:sp>
    </p:spTree>
    <p:extLst>
      <p:ext uri="{BB962C8B-B14F-4D97-AF65-F5344CB8AC3E}">
        <p14:creationId xmlns:p14="http://schemas.microsoft.com/office/powerpoint/2010/main" val="159095918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1</a:t>
            </a:fld>
            <a:endParaRPr sz="800">
              <a:latin typeface="Verdana"/>
              <a:cs typeface="Verdana"/>
            </a:endParaRPr>
          </a:p>
        </p:txBody>
      </p:sp>
      <p:sp>
        <p:nvSpPr>
          <p:cNvPr id="7" name="Rounded Rectangle 54">
            <a:extLst>
              <a:ext uri="{FF2B5EF4-FFF2-40B4-BE49-F238E27FC236}">
                <a16:creationId xmlns:a16="http://schemas.microsoft.com/office/drawing/2014/main" id="{6A0C367D-4577-4741-BE9F-2471A9F3F2EC}"/>
              </a:ext>
            </a:extLst>
          </p:cNvPr>
          <p:cNvSpPr/>
          <p:nvPr/>
        </p:nvSpPr>
        <p:spPr>
          <a:xfrm flipH="1">
            <a:off x="2066458" y="1038225"/>
            <a:ext cx="8512990" cy="698141"/>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8" name="Rounded Rectangle 55">
            <a:extLst>
              <a:ext uri="{FF2B5EF4-FFF2-40B4-BE49-F238E27FC236}">
                <a16:creationId xmlns:a16="http://schemas.microsoft.com/office/drawing/2014/main" id="{B5620784-31CF-4844-8850-58A524288DF6}"/>
              </a:ext>
            </a:extLst>
          </p:cNvPr>
          <p:cNvSpPr/>
          <p:nvPr/>
        </p:nvSpPr>
        <p:spPr>
          <a:xfrm flipH="1">
            <a:off x="483242" y="1051410"/>
            <a:ext cx="1373077" cy="665432"/>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9" name="Rounded Rectangle 54">
            <a:extLst>
              <a:ext uri="{FF2B5EF4-FFF2-40B4-BE49-F238E27FC236}">
                <a16:creationId xmlns:a16="http://schemas.microsoft.com/office/drawing/2014/main" id="{032E2C1C-1B27-42A7-86D4-3C4B373679FD}"/>
              </a:ext>
            </a:extLst>
          </p:cNvPr>
          <p:cNvSpPr/>
          <p:nvPr/>
        </p:nvSpPr>
        <p:spPr>
          <a:xfrm flipH="1">
            <a:off x="2066458" y="1928933"/>
            <a:ext cx="8512986" cy="205472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10" name="Rounded Rectangle 54">
            <a:extLst>
              <a:ext uri="{FF2B5EF4-FFF2-40B4-BE49-F238E27FC236}">
                <a16:creationId xmlns:a16="http://schemas.microsoft.com/office/drawing/2014/main" id="{3A635097-76FE-48D8-AB6B-74D8DE57CCBB}"/>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11" name="Rounded Rectangle 55">
            <a:extLst>
              <a:ext uri="{FF2B5EF4-FFF2-40B4-BE49-F238E27FC236}">
                <a16:creationId xmlns:a16="http://schemas.microsoft.com/office/drawing/2014/main" id="{610DAA52-B597-460A-88B4-684312649813}"/>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12" name="Rectangle 11">
            <a:extLst>
              <a:ext uri="{FF2B5EF4-FFF2-40B4-BE49-F238E27FC236}">
                <a16:creationId xmlns:a16="http://schemas.microsoft.com/office/drawing/2014/main" id="{B5F18659-6D72-4A33-A1B1-2C751ECDA2FE}"/>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3" name="Group 12">
            <a:extLst>
              <a:ext uri="{FF2B5EF4-FFF2-40B4-BE49-F238E27FC236}">
                <a16:creationId xmlns:a16="http://schemas.microsoft.com/office/drawing/2014/main" id="{D638B7A9-FECB-4249-B14B-EC0882863B82}"/>
              </a:ext>
            </a:extLst>
          </p:cNvPr>
          <p:cNvGrpSpPr/>
          <p:nvPr/>
        </p:nvGrpSpPr>
        <p:grpSpPr>
          <a:xfrm flipH="1">
            <a:off x="1744516" y="5652074"/>
            <a:ext cx="330592" cy="409729"/>
            <a:chOff x="4144353" y="5853398"/>
            <a:chExt cx="289254" cy="374936"/>
          </a:xfrm>
          <a:effectLst/>
        </p:grpSpPr>
        <p:grpSp>
          <p:nvGrpSpPr>
            <p:cNvPr id="14" name="Group 13">
              <a:extLst>
                <a:ext uri="{FF2B5EF4-FFF2-40B4-BE49-F238E27FC236}">
                  <a16:creationId xmlns:a16="http://schemas.microsoft.com/office/drawing/2014/main" id="{C2F11C50-4897-4264-9DF1-965A96F65338}"/>
                </a:ext>
              </a:extLst>
            </p:cNvPr>
            <p:cNvGrpSpPr/>
            <p:nvPr/>
          </p:nvGrpSpPr>
          <p:grpSpPr>
            <a:xfrm rot="16200000">
              <a:off x="4246871" y="5750880"/>
              <a:ext cx="84217" cy="289253"/>
              <a:chOff x="666750" y="2236191"/>
              <a:chExt cx="137160" cy="471087"/>
            </a:xfrm>
          </p:grpSpPr>
          <p:sp>
            <p:nvSpPr>
              <p:cNvPr id="19" name="Oval 18">
                <a:extLst>
                  <a:ext uri="{FF2B5EF4-FFF2-40B4-BE49-F238E27FC236}">
                    <a16:creationId xmlns:a16="http://schemas.microsoft.com/office/drawing/2014/main" id="{073359F1-86B4-48E9-A891-C62E6C2C10BF}"/>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0" name="Oval 19">
                <a:extLst>
                  <a:ext uri="{FF2B5EF4-FFF2-40B4-BE49-F238E27FC236}">
                    <a16:creationId xmlns:a16="http://schemas.microsoft.com/office/drawing/2014/main" id="{99EAD510-C248-4C3D-AD29-43C7FF64828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1" name="Rounded Rectangle 116">
                <a:extLst>
                  <a:ext uri="{FF2B5EF4-FFF2-40B4-BE49-F238E27FC236}">
                    <a16:creationId xmlns:a16="http://schemas.microsoft.com/office/drawing/2014/main" id="{72773D8B-1727-40CD-81BA-0072CD2655DF}"/>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5" name="Group 14">
              <a:extLst>
                <a:ext uri="{FF2B5EF4-FFF2-40B4-BE49-F238E27FC236}">
                  <a16:creationId xmlns:a16="http://schemas.microsoft.com/office/drawing/2014/main" id="{9BC04C96-23B5-422B-8A4C-684B8E69202C}"/>
                </a:ext>
              </a:extLst>
            </p:cNvPr>
            <p:cNvGrpSpPr/>
            <p:nvPr/>
          </p:nvGrpSpPr>
          <p:grpSpPr>
            <a:xfrm rot="16200000">
              <a:off x="4246872" y="6041599"/>
              <a:ext cx="84217" cy="289253"/>
              <a:chOff x="666750" y="2236191"/>
              <a:chExt cx="137160" cy="471087"/>
            </a:xfrm>
          </p:grpSpPr>
          <p:sp>
            <p:nvSpPr>
              <p:cNvPr id="16" name="Oval 15">
                <a:extLst>
                  <a:ext uri="{FF2B5EF4-FFF2-40B4-BE49-F238E27FC236}">
                    <a16:creationId xmlns:a16="http://schemas.microsoft.com/office/drawing/2014/main" id="{0106F6DF-1CD1-440C-9321-01FE97A08BD9}"/>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7" name="Oval 16">
                <a:extLst>
                  <a:ext uri="{FF2B5EF4-FFF2-40B4-BE49-F238E27FC236}">
                    <a16:creationId xmlns:a16="http://schemas.microsoft.com/office/drawing/2014/main" id="{63D99F53-9563-4BE2-98AB-52B3C49B10F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8" name="Rounded Rectangle 113">
                <a:extLst>
                  <a:ext uri="{FF2B5EF4-FFF2-40B4-BE49-F238E27FC236}">
                    <a16:creationId xmlns:a16="http://schemas.microsoft.com/office/drawing/2014/main" id="{0B6E1298-36BA-45F5-9B1B-449A1FECC139}"/>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22" name="Rounded Rectangle 54">
            <a:extLst>
              <a:ext uri="{FF2B5EF4-FFF2-40B4-BE49-F238E27FC236}">
                <a16:creationId xmlns:a16="http://schemas.microsoft.com/office/drawing/2014/main" id="{9FB5FD6C-DB8E-4FF4-92F2-218B35BF7593}"/>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We will use Salesforce Bulk APIs instead of batch Apex so that we can process the data asynchronously. This will improve performances</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23" name="Rounded Rectangle 55">
            <a:extLst>
              <a:ext uri="{FF2B5EF4-FFF2-40B4-BE49-F238E27FC236}">
                <a16:creationId xmlns:a16="http://schemas.microsoft.com/office/drawing/2014/main" id="{9328C950-621C-4115-84CF-44CFC7D597B8}"/>
              </a:ext>
            </a:extLst>
          </p:cNvPr>
          <p:cNvSpPr/>
          <p:nvPr/>
        </p:nvSpPr>
        <p:spPr>
          <a:xfrm flipH="1">
            <a:off x="483238" y="1808751"/>
            <a:ext cx="1435608" cy="3405901"/>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24" name="Rectangle 23">
            <a:extLst>
              <a:ext uri="{FF2B5EF4-FFF2-40B4-BE49-F238E27FC236}">
                <a16:creationId xmlns:a16="http://schemas.microsoft.com/office/drawing/2014/main" id="{A4382993-07E6-4A67-81BC-AFF19060BF93}"/>
              </a:ext>
            </a:extLst>
          </p:cNvPr>
          <p:cNvSpPr/>
          <p:nvPr/>
        </p:nvSpPr>
        <p:spPr>
          <a:xfrm rot="10800000" flipH="1">
            <a:off x="1943617" y="1038224"/>
            <a:ext cx="350094" cy="665433"/>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C0861CAF-FFD0-450A-A212-54C595F78AEA}"/>
              </a:ext>
            </a:extLst>
          </p:cNvPr>
          <p:cNvSpPr/>
          <p:nvPr/>
        </p:nvSpPr>
        <p:spPr>
          <a:xfrm rot="10800000" flipH="1">
            <a:off x="1900001" y="1808745"/>
            <a:ext cx="299315" cy="340590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58AB69D0-CBCB-42ED-AF24-2961CA3E6177}"/>
              </a:ext>
            </a:extLst>
          </p:cNvPr>
          <p:cNvGrpSpPr/>
          <p:nvPr/>
        </p:nvGrpSpPr>
        <p:grpSpPr>
          <a:xfrm rot="5400000" flipH="1">
            <a:off x="1858021" y="3322439"/>
            <a:ext cx="90341" cy="294544"/>
            <a:chOff x="666750" y="2236191"/>
            <a:chExt cx="137160" cy="471087"/>
          </a:xfrm>
          <a:effectLst/>
        </p:grpSpPr>
        <p:sp>
          <p:nvSpPr>
            <p:cNvPr id="27" name="Oval 26">
              <a:extLst>
                <a:ext uri="{FF2B5EF4-FFF2-40B4-BE49-F238E27FC236}">
                  <a16:creationId xmlns:a16="http://schemas.microsoft.com/office/drawing/2014/main" id="{C4A99D68-9CA4-48C0-A390-C40B5819C1D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8" name="Oval 27">
              <a:extLst>
                <a:ext uri="{FF2B5EF4-FFF2-40B4-BE49-F238E27FC236}">
                  <a16:creationId xmlns:a16="http://schemas.microsoft.com/office/drawing/2014/main" id="{1DF4C043-1933-486E-987A-A4B34AE4D0F4}"/>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9" name="Rounded Rectangle 116">
              <a:extLst>
                <a:ext uri="{FF2B5EF4-FFF2-40B4-BE49-F238E27FC236}">
                  <a16:creationId xmlns:a16="http://schemas.microsoft.com/office/drawing/2014/main" id="{FED11DF9-741E-4B88-B1B5-F609AB2AD15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0" name="Group 29">
            <a:extLst>
              <a:ext uri="{FF2B5EF4-FFF2-40B4-BE49-F238E27FC236}">
                <a16:creationId xmlns:a16="http://schemas.microsoft.com/office/drawing/2014/main" id="{1C93D534-1B1D-4DFB-ABD7-C8066B095912}"/>
              </a:ext>
            </a:extLst>
          </p:cNvPr>
          <p:cNvGrpSpPr/>
          <p:nvPr/>
        </p:nvGrpSpPr>
        <p:grpSpPr>
          <a:xfrm rot="5400000" flipH="1">
            <a:off x="1858019" y="3640135"/>
            <a:ext cx="90341" cy="294544"/>
            <a:chOff x="666750" y="2236191"/>
            <a:chExt cx="137160" cy="471087"/>
          </a:xfrm>
          <a:effectLst/>
        </p:grpSpPr>
        <p:sp>
          <p:nvSpPr>
            <p:cNvPr id="31" name="Oval 30">
              <a:extLst>
                <a:ext uri="{FF2B5EF4-FFF2-40B4-BE49-F238E27FC236}">
                  <a16:creationId xmlns:a16="http://schemas.microsoft.com/office/drawing/2014/main" id="{BA520F33-7823-4DD0-B540-C842F1D8609C}"/>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2" name="Oval 31">
              <a:extLst>
                <a:ext uri="{FF2B5EF4-FFF2-40B4-BE49-F238E27FC236}">
                  <a16:creationId xmlns:a16="http://schemas.microsoft.com/office/drawing/2014/main" id="{6AA29F42-E811-4D29-9328-5A1CB3EFC05E}"/>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3" name="Rounded Rectangle 113">
              <a:extLst>
                <a:ext uri="{FF2B5EF4-FFF2-40B4-BE49-F238E27FC236}">
                  <a16:creationId xmlns:a16="http://schemas.microsoft.com/office/drawing/2014/main" id="{F08AA68C-6C43-40A5-B404-2D29BF2956B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34" name="Rounded Rectangle 54">
            <a:extLst>
              <a:ext uri="{FF2B5EF4-FFF2-40B4-BE49-F238E27FC236}">
                <a16:creationId xmlns:a16="http://schemas.microsoft.com/office/drawing/2014/main" id="{BAB3060E-23D0-4470-89E5-ED44A36D8291}"/>
              </a:ext>
            </a:extLst>
          </p:cNvPr>
          <p:cNvSpPr/>
          <p:nvPr/>
        </p:nvSpPr>
        <p:spPr>
          <a:xfrm flipH="1">
            <a:off x="2066453" y="1047751"/>
            <a:ext cx="8512989" cy="62392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Cloning</a:t>
            </a:r>
          </a:p>
        </p:txBody>
      </p:sp>
      <p:sp>
        <p:nvSpPr>
          <p:cNvPr id="35" name="Rounded Rectangle 54">
            <a:extLst>
              <a:ext uri="{FF2B5EF4-FFF2-40B4-BE49-F238E27FC236}">
                <a16:creationId xmlns:a16="http://schemas.microsoft.com/office/drawing/2014/main" id="{C363842D-A4CD-42C3-A240-3999DDA376E5}"/>
              </a:ext>
            </a:extLst>
          </p:cNvPr>
          <p:cNvSpPr/>
          <p:nvPr/>
        </p:nvSpPr>
        <p:spPr>
          <a:xfrm flipH="1">
            <a:off x="2041157" y="1809750"/>
            <a:ext cx="8512984" cy="3414426"/>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will align with the solution provided by the assessment tea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MuleSoft is being used as an ETL tool and we can assess Heroku on this approach. Also we understand that three options already been evaluated and MuleSoft has been chosen for this:</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lone with Apex, as per current implementation</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lone with Heroku</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lone with Bulk APIs (as per ETLs interfaces)</a:t>
            </a:r>
          </a:p>
          <a:p>
            <a:pPr marL="0" marR="0" lvl="0" indent="0" defTabSz="914400" eaLnBrk="1" fontAlgn="auto" latinLnBrk="0" hangingPunct="1">
              <a:lnSpc>
                <a:spcPct val="100000"/>
              </a:lnSpc>
              <a:spcBef>
                <a:spcPts val="0"/>
              </a:spcBef>
              <a:spcAft>
                <a:spcPts val="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By using Bulk API the performance would increase and we are aligned with the solution</a:t>
            </a:r>
          </a:p>
          <a:p>
            <a:pPr marL="0" marR="0" lvl="0" indent="0" defTabSz="914400" eaLnBrk="1" fontAlgn="auto" latinLnBrk="0" hangingPunct="1">
              <a:lnSpc>
                <a:spcPct val="100000"/>
              </a:lnSpc>
              <a:spcBef>
                <a:spcPts val="0"/>
              </a:spcBef>
              <a:spcAft>
                <a:spcPts val="0"/>
              </a:spcAft>
              <a:buClr>
                <a:srgbClr val="0070AD"/>
              </a:buClr>
              <a:buSzTx/>
              <a:buFontTx/>
              <a:buNone/>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Cloning using Bulk API</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MuleSoft process will query the following data from salesforce</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Opportunity</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Year Summary</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Volumes</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Opportunity Related: Part Number, Synthetic BOM, Opportunity Scenario, Savings &amp; Lump-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These entities will be cloned using the salesforce Bulk APIs.</a:t>
            </a:r>
          </a:p>
        </p:txBody>
      </p:sp>
      <p:sp>
        <p:nvSpPr>
          <p:cNvPr id="36" name="Rectangle 35">
            <a:extLst>
              <a:ext uri="{FF2B5EF4-FFF2-40B4-BE49-F238E27FC236}">
                <a16:creationId xmlns:a16="http://schemas.microsoft.com/office/drawing/2014/main" id="{93B5DB3B-AFED-43DE-BBB5-1611CF2683C3}"/>
              </a:ext>
            </a:extLst>
          </p:cNvPr>
          <p:cNvSpPr/>
          <p:nvPr/>
        </p:nvSpPr>
        <p:spPr>
          <a:xfrm rot="10800000" flipH="1">
            <a:off x="1880951" y="1046965"/>
            <a:ext cx="231261" cy="67867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37" name="Group 36">
            <a:extLst>
              <a:ext uri="{FF2B5EF4-FFF2-40B4-BE49-F238E27FC236}">
                <a16:creationId xmlns:a16="http://schemas.microsoft.com/office/drawing/2014/main" id="{FB844F42-3194-4431-8E4E-0653861AD23A}"/>
              </a:ext>
            </a:extLst>
          </p:cNvPr>
          <p:cNvGrpSpPr/>
          <p:nvPr/>
        </p:nvGrpSpPr>
        <p:grpSpPr>
          <a:xfrm flipH="1">
            <a:off x="1770562" y="1112349"/>
            <a:ext cx="294545" cy="527565"/>
            <a:chOff x="4144353" y="5853398"/>
            <a:chExt cx="289254" cy="374936"/>
          </a:xfrm>
          <a:effectLst/>
        </p:grpSpPr>
        <p:grpSp>
          <p:nvGrpSpPr>
            <p:cNvPr id="38" name="Group 37">
              <a:extLst>
                <a:ext uri="{FF2B5EF4-FFF2-40B4-BE49-F238E27FC236}">
                  <a16:creationId xmlns:a16="http://schemas.microsoft.com/office/drawing/2014/main" id="{9623420C-5FC0-41C6-80E6-C785CE15DE0F}"/>
                </a:ext>
              </a:extLst>
            </p:cNvPr>
            <p:cNvGrpSpPr/>
            <p:nvPr/>
          </p:nvGrpSpPr>
          <p:grpSpPr>
            <a:xfrm rot="16200000">
              <a:off x="4246871" y="5750880"/>
              <a:ext cx="84217" cy="289253"/>
              <a:chOff x="666750" y="2236191"/>
              <a:chExt cx="137160" cy="471087"/>
            </a:xfrm>
          </p:grpSpPr>
          <p:sp>
            <p:nvSpPr>
              <p:cNvPr id="43" name="Oval 42">
                <a:extLst>
                  <a:ext uri="{FF2B5EF4-FFF2-40B4-BE49-F238E27FC236}">
                    <a16:creationId xmlns:a16="http://schemas.microsoft.com/office/drawing/2014/main" id="{25FA0EB2-E923-4BA9-9198-FD2AADC69746}"/>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4" name="Oval 43">
                <a:extLst>
                  <a:ext uri="{FF2B5EF4-FFF2-40B4-BE49-F238E27FC236}">
                    <a16:creationId xmlns:a16="http://schemas.microsoft.com/office/drawing/2014/main" id="{1CAF25D6-95DE-45B2-A73A-C360439B52AA}"/>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5" name="Rounded Rectangle 116">
                <a:extLst>
                  <a:ext uri="{FF2B5EF4-FFF2-40B4-BE49-F238E27FC236}">
                    <a16:creationId xmlns:a16="http://schemas.microsoft.com/office/drawing/2014/main" id="{01D3B16E-DC6C-4F78-9EA7-1B615354572B}"/>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9" name="Group 38">
              <a:extLst>
                <a:ext uri="{FF2B5EF4-FFF2-40B4-BE49-F238E27FC236}">
                  <a16:creationId xmlns:a16="http://schemas.microsoft.com/office/drawing/2014/main" id="{B3BCDD0A-1B7A-4832-BCEE-BAF5A8A9329B}"/>
                </a:ext>
              </a:extLst>
            </p:cNvPr>
            <p:cNvGrpSpPr/>
            <p:nvPr/>
          </p:nvGrpSpPr>
          <p:grpSpPr>
            <a:xfrm rot="16200000">
              <a:off x="4246872" y="6041599"/>
              <a:ext cx="84217" cy="289253"/>
              <a:chOff x="666750" y="2236191"/>
              <a:chExt cx="137160" cy="471087"/>
            </a:xfrm>
          </p:grpSpPr>
          <p:sp>
            <p:nvSpPr>
              <p:cNvPr id="40" name="Oval 39">
                <a:extLst>
                  <a:ext uri="{FF2B5EF4-FFF2-40B4-BE49-F238E27FC236}">
                    <a16:creationId xmlns:a16="http://schemas.microsoft.com/office/drawing/2014/main" id="{718C733C-F1E8-4373-A3DF-A06B5C0B7AB5}"/>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1" name="Oval 40">
                <a:extLst>
                  <a:ext uri="{FF2B5EF4-FFF2-40B4-BE49-F238E27FC236}">
                    <a16:creationId xmlns:a16="http://schemas.microsoft.com/office/drawing/2014/main" id="{7CCDB5C7-9443-42C9-B6A8-705883618BCD}"/>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2" name="Rounded Rectangle 113">
                <a:extLst>
                  <a:ext uri="{FF2B5EF4-FFF2-40B4-BE49-F238E27FC236}">
                    <a16:creationId xmlns:a16="http://schemas.microsoft.com/office/drawing/2014/main" id="{5961F26B-8FEE-4F6E-9C8C-B8D3A2E7F7D3}"/>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pic>
        <p:nvPicPr>
          <p:cNvPr id="46" name="Picture 45">
            <a:extLst>
              <a:ext uri="{FF2B5EF4-FFF2-40B4-BE49-F238E27FC236}">
                <a16:creationId xmlns:a16="http://schemas.microsoft.com/office/drawing/2014/main" id="{E72DC9EE-8605-492C-A381-C99A9A30B8D8}"/>
              </a:ext>
            </a:extLst>
          </p:cNvPr>
          <p:cNvPicPr>
            <a:picLocks noChangeAspect="1"/>
          </p:cNvPicPr>
          <p:nvPr/>
        </p:nvPicPr>
        <p:blipFill>
          <a:blip r:embed="rId2"/>
          <a:stretch>
            <a:fillRect/>
          </a:stretch>
        </p:blipFill>
        <p:spPr>
          <a:xfrm>
            <a:off x="9300292" y="2885342"/>
            <a:ext cx="2545798" cy="1328712"/>
          </a:xfrm>
          <a:prstGeom prst="rect">
            <a:avLst/>
          </a:prstGeom>
        </p:spPr>
      </p:pic>
      <p:sp>
        <p:nvSpPr>
          <p:cNvPr id="49" name="object 10">
            <a:extLst>
              <a:ext uri="{FF2B5EF4-FFF2-40B4-BE49-F238E27FC236}">
                <a16:creationId xmlns:a16="http://schemas.microsoft.com/office/drawing/2014/main" id="{F10EA7E5-B2F8-48D1-8FB8-64E075503B57}"/>
              </a:ext>
            </a:extLst>
          </p:cNvPr>
          <p:cNvSpPr txBox="1">
            <a:spLocks noGrp="1"/>
          </p:cNvSpPr>
          <p:nvPr>
            <p:ph type="title"/>
          </p:nvPr>
        </p:nvSpPr>
        <p:spPr>
          <a:xfrm>
            <a:off x="214680" y="318896"/>
            <a:ext cx="8714740" cy="422275"/>
          </a:xfrm>
          <a:prstGeom prst="rect">
            <a:avLst/>
          </a:prstGeom>
        </p:spPr>
        <p:txBody>
          <a:bodyPr vert="horz" wrap="square" lIns="0" tIns="12700" rIns="0" bIns="0" rtlCol="0">
            <a:spAutoFit/>
          </a:bodyPr>
          <a:lstStyle/>
          <a:p>
            <a:pPr marL="12700">
              <a:lnSpc>
                <a:spcPct val="100000"/>
              </a:lnSpc>
              <a:spcBef>
                <a:spcPts val="100"/>
              </a:spcBef>
            </a:pPr>
            <a:r>
              <a:rPr lang="it-IT" sz="2600" spc="-5"/>
              <a:t>General Platform </a:t>
            </a:r>
            <a:r>
              <a:rPr lang="it-IT" sz="2600" spc="-5" err="1"/>
              <a:t>Optimization</a:t>
            </a:r>
            <a:endParaRPr sz="2600">
              <a:latin typeface="Verdana"/>
              <a:cs typeface="Verdana"/>
            </a:endParaRPr>
          </a:p>
        </p:txBody>
      </p:sp>
      <p:sp>
        <p:nvSpPr>
          <p:cNvPr id="50" name="object 5">
            <a:extLst>
              <a:ext uri="{FF2B5EF4-FFF2-40B4-BE49-F238E27FC236}">
                <a16:creationId xmlns:a16="http://schemas.microsoft.com/office/drawing/2014/main" id="{6ACA92B9-014F-45D0-B433-9AD896C21966}"/>
              </a:ext>
            </a:extLst>
          </p:cNvPr>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51" name="object 6">
            <a:extLst>
              <a:ext uri="{FF2B5EF4-FFF2-40B4-BE49-F238E27FC236}">
                <a16:creationId xmlns:a16="http://schemas.microsoft.com/office/drawing/2014/main" id="{5BF8C111-C539-4B8F-A441-ADD13E0B8694}"/>
              </a:ext>
            </a:extLst>
          </p:cNvPr>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52" name="object 7">
            <a:extLst>
              <a:ext uri="{FF2B5EF4-FFF2-40B4-BE49-F238E27FC236}">
                <a16:creationId xmlns:a16="http://schemas.microsoft.com/office/drawing/2014/main" id="{61C3FC3C-3D99-4676-AAC6-218EEF780212}"/>
              </a:ext>
            </a:extLst>
          </p:cNvPr>
          <p:cNvSpPr/>
          <p:nvPr/>
        </p:nvSpPr>
        <p:spPr>
          <a:xfrm>
            <a:off x="8535923" y="76200"/>
            <a:ext cx="97535" cy="251459"/>
          </a:xfrm>
          <a:prstGeom prst="rect">
            <a:avLst/>
          </a:prstGeom>
          <a:blipFill>
            <a:blip r:embed="rId3" cstate="print"/>
            <a:stretch>
              <a:fillRect/>
            </a:stretch>
          </a:blipFill>
        </p:spPr>
        <p:txBody>
          <a:bodyPr wrap="square" lIns="0" tIns="0" rIns="0" bIns="0" rtlCol="0"/>
          <a:lstStyle/>
          <a:p>
            <a:endParaRPr/>
          </a:p>
        </p:txBody>
      </p:sp>
      <p:sp>
        <p:nvSpPr>
          <p:cNvPr id="53" name="object 8">
            <a:extLst>
              <a:ext uri="{FF2B5EF4-FFF2-40B4-BE49-F238E27FC236}">
                <a16:creationId xmlns:a16="http://schemas.microsoft.com/office/drawing/2014/main" id="{090F2A87-E185-47C5-A5E8-2FB611EA4FA0}"/>
              </a:ext>
            </a:extLst>
          </p:cNvPr>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54" name="object 9">
            <a:extLst>
              <a:ext uri="{FF2B5EF4-FFF2-40B4-BE49-F238E27FC236}">
                <a16:creationId xmlns:a16="http://schemas.microsoft.com/office/drawing/2014/main" id="{B5B069D4-F53D-4E65-A23D-A0C62AC09C3B}"/>
              </a:ext>
            </a:extLst>
          </p:cNvPr>
          <p:cNvSpPr/>
          <p:nvPr/>
        </p:nvSpPr>
        <p:spPr>
          <a:xfrm>
            <a:off x="8535923" y="437387"/>
            <a:ext cx="97535" cy="251460"/>
          </a:xfrm>
          <a:prstGeom prst="rect">
            <a:avLst/>
          </a:prstGeom>
          <a:blipFill>
            <a:blip r:embed="rId3" cstate="print"/>
            <a:stretch>
              <a:fillRect/>
            </a:stretch>
          </a:blipFill>
        </p:spPr>
        <p:txBody>
          <a:bodyPr wrap="square" lIns="0" tIns="0" rIns="0" bIns="0" rtlCol="0"/>
          <a:lstStyle/>
          <a:p>
            <a:endParaRPr/>
          </a:p>
        </p:txBody>
      </p:sp>
      <p:sp>
        <p:nvSpPr>
          <p:cNvPr id="55" name="object 10">
            <a:extLst>
              <a:ext uri="{FF2B5EF4-FFF2-40B4-BE49-F238E27FC236}">
                <a16:creationId xmlns:a16="http://schemas.microsoft.com/office/drawing/2014/main" id="{9823B6BA-4AC6-4E10-8173-01FA73E7E61C}"/>
              </a:ext>
            </a:extLst>
          </p:cNvPr>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56" name="object 11">
            <a:extLst>
              <a:ext uri="{FF2B5EF4-FFF2-40B4-BE49-F238E27FC236}">
                <a16:creationId xmlns:a16="http://schemas.microsoft.com/office/drawing/2014/main" id="{4A7ECB33-B419-4DBD-B044-E93E68066483}"/>
              </a:ext>
            </a:extLst>
          </p:cNvPr>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57" name="object 12">
            <a:extLst>
              <a:ext uri="{FF2B5EF4-FFF2-40B4-BE49-F238E27FC236}">
                <a16:creationId xmlns:a16="http://schemas.microsoft.com/office/drawing/2014/main" id="{BC874D99-B40D-4187-A12D-B936B7614C81}"/>
              </a:ext>
            </a:extLst>
          </p:cNvPr>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58" name="object 13">
            <a:extLst>
              <a:ext uri="{FF2B5EF4-FFF2-40B4-BE49-F238E27FC236}">
                <a16:creationId xmlns:a16="http://schemas.microsoft.com/office/drawing/2014/main" id="{950E0CB9-2E25-44E0-8E0F-096FDCF33764}"/>
              </a:ext>
            </a:extLst>
          </p:cNvPr>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59" name="object 14">
            <a:extLst>
              <a:ext uri="{FF2B5EF4-FFF2-40B4-BE49-F238E27FC236}">
                <a16:creationId xmlns:a16="http://schemas.microsoft.com/office/drawing/2014/main" id="{5D6B4A2E-F2DD-4330-BCAE-1CB0D8B8E041}"/>
              </a:ext>
            </a:extLst>
          </p:cNvPr>
          <p:cNvSpPr/>
          <p:nvPr/>
        </p:nvSpPr>
        <p:spPr>
          <a:xfrm>
            <a:off x="10579607" y="76200"/>
            <a:ext cx="96012" cy="251459"/>
          </a:xfrm>
          <a:prstGeom prst="rect">
            <a:avLst/>
          </a:prstGeom>
          <a:blipFill>
            <a:blip r:embed="rId4" cstate="print"/>
            <a:stretch>
              <a:fillRect/>
            </a:stretch>
          </a:blipFill>
        </p:spPr>
        <p:txBody>
          <a:bodyPr wrap="square" lIns="0" tIns="0" rIns="0" bIns="0" rtlCol="0"/>
          <a:lstStyle/>
          <a:p>
            <a:endParaRPr/>
          </a:p>
        </p:txBody>
      </p:sp>
      <p:sp>
        <p:nvSpPr>
          <p:cNvPr id="60" name="object 15">
            <a:extLst>
              <a:ext uri="{FF2B5EF4-FFF2-40B4-BE49-F238E27FC236}">
                <a16:creationId xmlns:a16="http://schemas.microsoft.com/office/drawing/2014/main" id="{C5204B9B-C7FB-463F-9E20-272932F518B8}"/>
              </a:ext>
            </a:extLst>
          </p:cNvPr>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61" name="object 16">
            <a:extLst>
              <a:ext uri="{FF2B5EF4-FFF2-40B4-BE49-F238E27FC236}">
                <a16:creationId xmlns:a16="http://schemas.microsoft.com/office/drawing/2014/main" id="{C168F52E-7659-4088-B9EA-B479C45E129E}"/>
              </a:ext>
            </a:extLst>
          </p:cNvPr>
          <p:cNvSpPr/>
          <p:nvPr/>
        </p:nvSpPr>
        <p:spPr>
          <a:xfrm>
            <a:off x="10579607" y="437387"/>
            <a:ext cx="96012" cy="251460"/>
          </a:xfrm>
          <a:prstGeom prst="rect">
            <a:avLst/>
          </a:prstGeom>
          <a:blipFill>
            <a:blip r:embed="rId4" cstate="print"/>
            <a:stretch>
              <a:fillRect/>
            </a:stretch>
          </a:blipFill>
        </p:spPr>
        <p:txBody>
          <a:bodyPr wrap="square" lIns="0" tIns="0" rIns="0" bIns="0" rtlCol="0"/>
          <a:lstStyle/>
          <a:p>
            <a:endParaRPr/>
          </a:p>
        </p:txBody>
      </p:sp>
      <p:sp>
        <p:nvSpPr>
          <p:cNvPr id="62" name="object 17">
            <a:extLst>
              <a:ext uri="{FF2B5EF4-FFF2-40B4-BE49-F238E27FC236}">
                <a16:creationId xmlns:a16="http://schemas.microsoft.com/office/drawing/2014/main" id="{EB5276D6-D2D9-4BE2-85EC-26EBDD5478A0}"/>
              </a:ext>
            </a:extLst>
          </p:cNvPr>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63" name="object 18">
            <a:extLst>
              <a:ext uri="{FF2B5EF4-FFF2-40B4-BE49-F238E27FC236}">
                <a16:creationId xmlns:a16="http://schemas.microsoft.com/office/drawing/2014/main" id="{D1FA1ADE-3374-4F3A-B605-F87F903C27EF}"/>
              </a:ext>
            </a:extLst>
          </p:cNvPr>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64" name="object 19">
            <a:extLst>
              <a:ext uri="{FF2B5EF4-FFF2-40B4-BE49-F238E27FC236}">
                <a16:creationId xmlns:a16="http://schemas.microsoft.com/office/drawing/2014/main" id="{2FAABAAA-418F-4194-B678-825E4DD5701E}"/>
              </a:ext>
            </a:extLst>
          </p:cNvPr>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65" name="object 20">
            <a:extLst>
              <a:ext uri="{FF2B5EF4-FFF2-40B4-BE49-F238E27FC236}">
                <a16:creationId xmlns:a16="http://schemas.microsoft.com/office/drawing/2014/main" id="{C02E1D7C-BE8C-45C1-96FE-D2A833A6B18A}"/>
              </a:ext>
            </a:extLst>
          </p:cNvPr>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66" name="object 21">
            <a:extLst>
              <a:ext uri="{FF2B5EF4-FFF2-40B4-BE49-F238E27FC236}">
                <a16:creationId xmlns:a16="http://schemas.microsoft.com/office/drawing/2014/main" id="{E6601447-C84F-4E4D-87E9-62BC2EA0E817}"/>
              </a:ext>
            </a:extLst>
          </p:cNvPr>
          <p:cNvSpPr/>
          <p:nvPr/>
        </p:nvSpPr>
        <p:spPr>
          <a:xfrm>
            <a:off x="11105388" y="83819"/>
            <a:ext cx="97535" cy="251459"/>
          </a:xfrm>
          <a:prstGeom prst="rect">
            <a:avLst/>
          </a:prstGeom>
          <a:blipFill>
            <a:blip r:embed="rId5" cstate="print"/>
            <a:stretch>
              <a:fillRect/>
            </a:stretch>
          </a:blipFill>
        </p:spPr>
        <p:txBody>
          <a:bodyPr wrap="square" lIns="0" tIns="0" rIns="0" bIns="0" rtlCol="0"/>
          <a:lstStyle/>
          <a:p>
            <a:endParaRPr/>
          </a:p>
        </p:txBody>
      </p:sp>
      <p:sp>
        <p:nvSpPr>
          <p:cNvPr id="67" name="object 22">
            <a:extLst>
              <a:ext uri="{FF2B5EF4-FFF2-40B4-BE49-F238E27FC236}">
                <a16:creationId xmlns:a16="http://schemas.microsoft.com/office/drawing/2014/main" id="{F70A2E4E-7A91-42C5-BE96-8A3D00261415}"/>
              </a:ext>
            </a:extLst>
          </p:cNvPr>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68" name="object 23">
            <a:extLst>
              <a:ext uri="{FF2B5EF4-FFF2-40B4-BE49-F238E27FC236}">
                <a16:creationId xmlns:a16="http://schemas.microsoft.com/office/drawing/2014/main" id="{615FB03C-370A-458D-88AB-0059D7EDD610}"/>
              </a:ext>
            </a:extLst>
          </p:cNvPr>
          <p:cNvSpPr/>
          <p:nvPr/>
        </p:nvSpPr>
        <p:spPr>
          <a:xfrm>
            <a:off x="11105388" y="445008"/>
            <a:ext cx="97535" cy="251459"/>
          </a:xfrm>
          <a:prstGeom prst="rect">
            <a:avLst/>
          </a:prstGeom>
          <a:blipFill>
            <a:blip r:embed="rId6" cstate="print"/>
            <a:stretch>
              <a:fillRect/>
            </a:stretch>
          </a:blipFill>
        </p:spPr>
        <p:txBody>
          <a:bodyPr wrap="square" lIns="0" tIns="0" rIns="0" bIns="0" rtlCol="0"/>
          <a:lstStyle/>
          <a:p>
            <a:endParaRPr/>
          </a:p>
        </p:txBody>
      </p:sp>
      <p:sp>
        <p:nvSpPr>
          <p:cNvPr id="69" name="object 24">
            <a:extLst>
              <a:ext uri="{FF2B5EF4-FFF2-40B4-BE49-F238E27FC236}">
                <a16:creationId xmlns:a16="http://schemas.microsoft.com/office/drawing/2014/main" id="{A0B268AF-EFDA-452F-9871-CC3EB429C6F1}"/>
              </a:ext>
            </a:extLst>
          </p:cNvPr>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70" name="object 25">
            <a:extLst>
              <a:ext uri="{FF2B5EF4-FFF2-40B4-BE49-F238E27FC236}">
                <a16:creationId xmlns:a16="http://schemas.microsoft.com/office/drawing/2014/main" id="{9F1C9A12-F917-4A43-B68E-9E5B8673433F}"/>
              </a:ext>
            </a:extLst>
          </p:cNvPr>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71" name="object 26">
            <a:extLst>
              <a:ext uri="{FF2B5EF4-FFF2-40B4-BE49-F238E27FC236}">
                <a16:creationId xmlns:a16="http://schemas.microsoft.com/office/drawing/2014/main" id="{7A47B2DB-68FB-4110-98C8-320E67E4D80D}"/>
              </a:ext>
            </a:extLst>
          </p:cNvPr>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72" name="object 27">
            <a:extLst>
              <a:ext uri="{FF2B5EF4-FFF2-40B4-BE49-F238E27FC236}">
                <a16:creationId xmlns:a16="http://schemas.microsoft.com/office/drawing/2014/main" id="{81818EB9-F621-44AA-9CAF-3A07A99A4132}"/>
              </a:ext>
            </a:extLst>
          </p:cNvPr>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067050" cy="422275"/>
          </a:xfrm>
          <a:prstGeom prst="rect">
            <a:avLst/>
          </a:prstGeom>
        </p:spPr>
        <p:txBody>
          <a:bodyPr vert="horz" wrap="square" lIns="0" tIns="12700" rIns="0" bIns="0" rtlCol="0">
            <a:spAutoFit/>
          </a:bodyPr>
          <a:lstStyle/>
          <a:p>
            <a:pPr marL="12700">
              <a:lnSpc>
                <a:spcPct val="100000"/>
              </a:lnSpc>
              <a:spcBef>
                <a:spcPts val="100"/>
              </a:spcBef>
            </a:pPr>
            <a:r>
              <a:rPr sz="2600" spc="-5"/>
              <a:t>Data</a:t>
            </a:r>
            <a:r>
              <a:rPr sz="2600" spc="-40"/>
              <a:t> </a:t>
            </a:r>
            <a:r>
              <a:rPr sz="2600" spc="-5"/>
              <a:t>Management</a:t>
            </a:r>
            <a:endParaRPr sz="2600"/>
          </a:p>
        </p:txBody>
      </p:sp>
      <p:sp>
        <p:nvSpPr>
          <p:cNvPr id="3" name="object 3"/>
          <p:cNvSpPr/>
          <p:nvPr/>
        </p:nvSpPr>
        <p:spPr>
          <a:xfrm>
            <a:off x="8340852" y="83819"/>
            <a:ext cx="97536" cy="251459"/>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8340852" y="83819"/>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6" y="48768"/>
                </a:lnTo>
                <a:lnTo>
                  <a:pt x="97536" y="202691"/>
                </a:lnTo>
                <a:lnTo>
                  <a:pt x="93702" y="221670"/>
                </a:lnTo>
                <a:lnTo>
                  <a:pt x="83248" y="237172"/>
                </a:lnTo>
                <a:lnTo>
                  <a:pt x="67746" y="247626"/>
                </a:lnTo>
                <a:lnTo>
                  <a:pt x="48768"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5" name="object 5"/>
          <p:cNvSpPr/>
          <p:nvPr/>
        </p:nvSpPr>
        <p:spPr>
          <a:xfrm>
            <a:off x="8340852" y="445008"/>
            <a:ext cx="97536" cy="251459"/>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8340852" y="445008"/>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6" y="48767"/>
                </a:lnTo>
                <a:lnTo>
                  <a:pt x="97536" y="202691"/>
                </a:lnTo>
                <a:lnTo>
                  <a:pt x="93702" y="221670"/>
                </a:lnTo>
                <a:lnTo>
                  <a:pt x="83248" y="237172"/>
                </a:lnTo>
                <a:lnTo>
                  <a:pt x="67746" y="247626"/>
                </a:lnTo>
                <a:lnTo>
                  <a:pt x="48768"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7" name="object 7"/>
          <p:cNvSpPr/>
          <p:nvPr/>
        </p:nvSpPr>
        <p:spPr>
          <a:xfrm>
            <a:off x="8218931" y="141731"/>
            <a:ext cx="495300" cy="497205"/>
          </a:xfrm>
          <a:custGeom>
            <a:avLst/>
            <a:gdLst/>
            <a:ahLst/>
            <a:cxnLst/>
            <a:rect l="l" t="t" r="r" b="b"/>
            <a:pathLst>
              <a:path w="495300" h="497205">
                <a:moveTo>
                  <a:pt x="348869" y="0"/>
                </a:moveTo>
                <a:lnTo>
                  <a:pt x="0" y="0"/>
                </a:lnTo>
                <a:lnTo>
                  <a:pt x="0" y="496824"/>
                </a:lnTo>
                <a:lnTo>
                  <a:pt x="348869" y="496824"/>
                </a:lnTo>
                <a:lnTo>
                  <a:pt x="495300" y="248412"/>
                </a:lnTo>
                <a:lnTo>
                  <a:pt x="348869" y="0"/>
                </a:lnTo>
                <a:close/>
              </a:path>
            </a:pathLst>
          </a:custGeom>
          <a:solidFill>
            <a:srgbClr val="9AE0F7"/>
          </a:solidFill>
        </p:spPr>
        <p:txBody>
          <a:bodyPr wrap="square" lIns="0" tIns="0" rIns="0" bIns="0" rtlCol="0"/>
          <a:lstStyle/>
          <a:p>
            <a:endParaRPr/>
          </a:p>
        </p:txBody>
      </p:sp>
      <p:sp>
        <p:nvSpPr>
          <p:cNvPr id="8" name="object 8"/>
          <p:cNvSpPr/>
          <p:nvPr/>
        </p:nvSpPr>
        <p:spPr>
          <a:xfrm>
            <a:off x="8218931" y="141731"/>
            <a:ext cx="495300" cy="497205"/>
          </a:xfrm>
          <a:custGeom>
            <a:avLst/>
            <a:gdLst/>
            <a:ahLst/>
            <a:cxnLst/>
            <a:rect l="l" t="t" r="r" b="b"/>
            <a:pathLst>
              <a:path w="495300" h="497205">
                <a:moveTo>
                  <a:pt x="0" y="0"/>
                </a:moveTo>
                <a:lnTo>
                  <a:pt x="348869" y="0"/>
                </a:lnTo>
                <a:lnTo>
                  <a:pt x="495300" y="248412"/>
                </a:lnTo>
                <a:lnTo>
                  <a:pt x="348869" y="496824"/>
                </a:lnTo>
                <a:lnTo>
                  <a:pt x="0" y="496824"/>
                </a:lnTo>
                <a:lnTo>
                  <a:pt x="0" y="0"/>
                </a:lnTo>
                <a:close/>
              </a:path>
            </a:pathLst>
          </a:custGeom>
          <a:ln w="9144">
            <a:solidFill>
              <a:srgbClr val="FFFFFF"/>
            </a:solidFill>
          </a:ln>
        </p:spPr>
        <p:txBody>
          <a:bodyPr wrap="square" lIns="0" tIns="0" rIns="0" bIns="0" rtlCol="0"/>
          <a:lstStyle/>
          <a:p>
            <a:endParaRPr/>
          </a:p>
        </p:txBody>
      </p:sp>
      <p:sp>
        <p:nvSpPr>
          <p:cNvPr id="9" name="object 9"/>
          <p:cNvSpPr txBox="1"/>
          <p:nvPr/>
        </p:nvSpPr>
        <p:spPr>
          <a:xfrm>
            <a:off x="8298306"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0" name="object 10"/>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12" name="object 12"/>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4" name="object 14"/>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15" name="object 15"/>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16" name="object 16"/>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17" name="object 17"/>
          <p:cNvSpPr/>
          <p:nvPr/>
        </p:nvSpPr>
        <p:spPr>
          <a:xfrm>
            <a:off x="8915400" y="83819"/>
            <a:ext cx="1941830" cy="612775"/>
          </a:xfrm>
          <a:custGeom>
            <a:avLst/>
            <a:gdLst/>
            <a:ahLst/>
            <a:cxnLst/>
            <a:rect l="l" t="t" r="r" b="b"/>
            <a:pathLst>
              <a:path w="1941829" h="612775">
                <a:moveTo>
                  <a:pt x="1839468" y="0"/>
                </a:moveTo>
                <a:lnTo>
                  <a:pt x="102107" y="0"/>
                </a:lnTo>
                <a:lnTo>
                  <a:pt x="62364" y="8024"/>
                </a:lnTo>
                <a:lnTo>
                  <a:pt x="29908" y="29908"/>
                </a:lnTo>
                <a:lnTo>
                  <a:pt x="8024" y="62364"/>
                </a:lnTo>
                <a:lnTo>
                  <a:pt x="0" y="102107"/>
                </a:lnTo>
                <a:lnTo>
                  <a:pt x="0" y="612647"/>
                </a:lnTo>
                <a:lnTo>
                  <a:pt x="1941576" y="612647"/>
                </a:lnTo>
                <a:lnTo>
                  <a:pt x="1941576" y="102107"/>
                </a:lnTo>
                <a:lnTo>
                  <a:pt x="1933551" y="62364"/>
                </a:lnTo>
                <a:lnTo>
                  <a:pt x="1911667" y="29908"/>
                </a:lnTo>
                <a:lnTo>
                  <a:pt x="1879211" y="8024"/>
                </a:lnTo>
                <a:lnTo>
                  <a:pt x="1839468" y="0"/>
                </a:lnTo>
                <a:close/>
              </a:path>
            </a:pathLst>
          </a:custGeom>
          <a:solidFill>
            <a:srgbClr val="12ABDB"/>
          </a:solidFill>
        </p:spPr>
        <p:txBody>
          <a:bodyPr wrap="square" lIns="0" tIns="0" rIns="0" bIns="0" rtlCol="0"/>
          <a:lstStyle/>
          <a:p>
            <a:endParaRPr/>
          </a:p>
        </p:txBody>
      </p:sp>
      <p:sp>
        <p:nvSpPr>
          <p:cNvPr id="18" name="object 18"/>
          <p:cNvSpPr txBox="1"/>
          <p:nvPr/>
        </p:nvSpPr>
        <p:spPr>
          <a:xfrm>
            <a:off x="9344914" y="310641"/>
            <a:ext cx="1404620" cy="186690"/>
          </a:xfrm>
          <a:prstGeom prst="rect">
            <a:avLst/>
          </a:prstGeom>
        </p:spPr>
        <p:txBody>
          <a:bodyPr vert="horz" wrap="square" lIns="0" tIns="13335" rIns="0" bIns="0" rtlCol="0">
            <a:spAutoFit/>
          </a:bodyPr>
          <a:lstStyle/>
          <a:p>
            <a:pPr marL="12700">
              <a:lnSpc>
                <a:spcPct val="100000"/>
              </a:lnSpc>
              <a:spcBef>
                <a:spcPts val="105"/>
              </a:spcBef>
            </a:pPr>
            <a:r>
              <a:rPr sz="1050" b="1">
                <a:solidFill>
                  <a:srgbClr val="FFFFFF"/>
                </a:solidFill>
                <a:latin typeface="Verdana"/>
                <a:cs typeface="Verdana"/>
              </a:rPr>
              <a:t>Data</a:t>
            </a:r>
            <a:r>
              <a:rPr sz="1050" b="1" spc="-60">
                <a:solidFill>
                  <a:srgbClr val="FFFFFF"/>
                </a:solidFill>
                <a:latin typeface="Verdana"/>
                <a:cs typeface="Verdana"/>
              </a:rPr>
              <a:t> </a:t>
            </a:r>
            <a:r>
              <a:rPr sz="1050" b="1" spc="-5">
                <a:solidFill>
                  <a:srgbClr val="FFFFFF"/>
                </a:solidFill>
                <a:latin typeface="Verdana"/>
                <a:cs typeface="Verdana"/>
              </a:rPr>
              <a:t>management</a:t>
            </a:r>
            <a:endParaRPr sz="1050">
              <a:latin typeface="Verdana"/>
              <a:cs typeface="Verdana"/>
            </a:endParaRPr>
          </a:p>
        </p:txBody>
      </p:sp>
      <p:sp>
        <p:nvSpPr>
          <p:cNvPr id="19" name="object 19"/>
          <p:cNvSpPr/>
          <p:nvPr/>
        </p:nvSpPr>
        <p:spPr>
          <a:xfrm>
            <a:off x="8959595" y="83819"/>
            <a:ext cx="97535" cy="251459"/>
          </a:xfrm>
          <a:prstGeom prst="rect">
            <a:avLst/>
          </a:prstGeom>
          <a:blipFill>
            <a:blip r:embed="rId6" cstate="print"/>
            <a:stretch>
              <a:fillRect/>
            </a:stretch>
          </a:blipFill>
        </p:spPr>
        <p:txBody>
          <a:bodyPr wrap="square" lIns="0" tIns="0" rIns="0" bIns="0" rtlCol="0"/>
          <a:lstStyle/>
          <a:p>
            <a:endParaRPr/>
          </a:p>
        </p:txBody>
      </p:sp>
      <p:sp>
        <p:nvSpPr>
          <p:cNvPr id="20" name="object 20"/>
          <p:cNvSpPr/>
          <p:nvPr/>
        </p:nvSpPr>
        <p:spPr>
          <a:xfrm>
            <a:off x="8959595" y="83819"/>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1"/>
                </a:lnTo>
                <a:lnTo>
                  <a:pt x="93702" y="221670"/>
                </a:lnTo>
                <a:lnTo>
                  <a:pt x="83248" y="237172"/>
                </a:lnTo>
                <a:lnTo>
                  <a:pt x="67746" y="247626"/>
                </a:lnTo>
                <a:lnTo>
                  <a:pt x="48768"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21" name="object 21"/>
          <p:cNvSpPr/>
          <p:nvPr/>
        </p:nvSpPr>
        <p:spPr>
          <a:xfrm>
            <a:off x="8959595" y="445008"/>
            <a:ext cx="97535" cy="251459"/>
          </a:xfrm>
          <a:prstGeom prst="rect">
            <a:avLst/>
          </a:prstGeom>
          <a:blipFill>
            <a:blip r:embed="rId7" cstate="print"/>
            <a:stretch>
              <a:fillRect/>
            </a:stretch>
          </a:blipFill>
        </p:spPr>
        <p:txBody>
          <a:bodyPr wrap="square" lIns="0" tIns="0" rIns="0" bIns="0" rtlCol="0"/>
          <a:lstStyle/>
          <a:p>
            <a:endParaRPr/>
          </a:p>
        </p:txBody>
      </p:sp>
      <p:sp>
        <p:nvSpPr>
          <p:cNvPr id="22" name="object 22"/>
          <p:cNvSpPr/>
          <p:nvPr/>
        </p:nvSpPr>
        <p:spPr>
          <a:xfrm>
            <a:off x="8959595" y="445008"/>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3" name="object 23"/>
          <p:cNvSpPr/>
          <p:nvPr/>
        </p:nvSpPr>
        <p:spPr>
          <a:xfrm>
            <a:off x="8837676" y="141731"/>
            <a:ext cx="495300" cy="497205"/>
          </a:xfrm>
          <a:custGeom>
            <a:avLst/>
            <a:gdLst/>
            <a:ahLst/>
            <a:cxnLst/>
            <a:rect l="l" t="t" r="r" b="b"/>
            <a:pathLst>
              <a:path w="495300" h="497205">
                <a:moveTo>
                  <a:pt x="348869" y="0"/>
                </a:moveTo>
                <a:lnTo>
                  <a:pt x="0" y="0"/>
                </a:lnTo>
                <a:lnTo>
                  <a:pt x="0" y="496824"/>
                </a:lnTo>
                <a:lnTo>
                  <a:pt x="348869" y="496824"/>
                </a:lnTo>
                <a:lnTo>
                  <a:pt x="495300" y="248412"/>
                </a:lnTo>
                <a:lnTo>
                  <a:pt x="348869" y="0"/>
                </a:lnTo>
                <a:close/>
              </a:path>
            </a:pathLst>
          </a:custGeom>
          <a:solidFill>
            <a:srgbClr val="12ABDB"/>
          </a:solidFill>
        </p:spPr>
        <p:txBody>
          <a:bodyPr wrap="square" lIns="0" tIns="0" rIns="0" bIns="0" rtlCol="0"/>
          <a:lstStyle/>
          <a:p>
            <a:endParaRPr/>
          </a:p>
        </p:txBody>
      </p:sp>
      <p:sp>
        <p:nvSpPr>
          <p:cNvPr id="24" name="object 24"/>
          <p:cNvSpPr/>
          <p:nvPr/>
        </p:nvSpPr>
        <p:spPr>
          <a:xfrm>
            <a:off x="8837676" y="141731"/>
            <a:ext cx="495300" cy="497205"/>
          </a:xfrm>
          <a:custGeom>
            <a:avLst/>
            <a:gdLst/>
            <a:ahLst/>
            <a:cxnLst/>
            <a:rect l="l" t="t" r="r" b="b"/>
            <a:pathLst>
              <a:path w="495300" h="497205">
                <a:moveTo>
                  <a:pt x="0" y="0"/>
                </a:moveTo>
                <a:lnTo>
                  <a:pt x="348869" y="0"/>
                </a:lnTo>
                <a:lnTo>
                  <a:pt x="495300" y="248412"/>
                </a:lnTo>
                <a:lnTo>
                  <a:pt x="348869" y="496824"/>
                </a:lnTo>
                <a:lnTo>
                  <a:pt x="0" y="496824"/>
                </a:lnTo>
                <a:lnTo>
                  <a:pt x="0" y="0"/>
                </a:lnTo>
                <a:close/>
              </a:path>
            </a:pathLst>
          </a:custGeom>
          <a:ln w="9144">
            <a:solidFill>
              <a:srgbClr val="FFFFFF"/>
            </a:solidFill>
          </a:ln>
        </p:spPr>
        <p:txBody>
          <a:bodyPr wrap="square" lIns="0" tIns="0" rIns="0" bIns="0" rtlCol="0"/>
          <a:lstStyle/>
          <a:p>
            <a:endParaRPr/>
          </a:p>
        </p:txBody>
      </p:sp>
      <p:sp>
        <p:nvSpPr>
          <p:cNvPr id="25" name="object 25"/>
          <p:cNvSpPr txBox="1"/>
          <p:nvPr/>
        </p:nvSpPr>
        <p:spPr>
          <a:xfrm>
            <a:off x="891705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9" name="object 2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0" name="object 30"/>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2</a:t>
            </a:fld>
            <a:endParaRPr sz="800">
              <a:latin typeface="Verdana"/>
              <a:cs typeface="Verdana"/>
            </a:endParaRPr>
          </a:p>
        </p:txBody>
      </p:sp>
      <p:sp>
        <p:nvSpPr>
          <p:cNvPr id="70" name="Rounded Rectangle 54">
            <a:extLst>
              <a:ext uri="{FF2B5EF4-FFF2-40B4-BE49-F238E27FC236}">
                <a16:creationId xmlns:a16="http://schemas.microsoft.com/office/drawing/2014/main" id="{0961B9DC-F0F0-4D66-9F9D-9B14073FB502}"/>
              </a:ext>
            </a:extLst>
          </p:cNvPr>
          <p:cNvSpPr/>
          <p:nvPr/>
        </p:nvSpPr>
        <p:spPr>
          <a:xfrm flipH="1">
            <a:off x="2066458" y="1038225"/>
            <a:ext cx="8512990" cy="698141"/>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71" name="Rounded Rectangle 55">
            <a:extLst>
              <a:ext uri="{FF2B5EF4-FFF2-40B4-BE49-F238E27FC236}">
                <a16:creationId xmlns:a16="http://schemas.microsoft.com/office/drawing/2014/main" id="{4F263C2D-48CC-4E66-BA3F-81180B7A9580}"/>
              </a:ext>
            </a:extLst>
          </p:cNvPr>
          <p:cNvSpPr/>
          <p:nvPr/>
        </p:nvSpPr>
        <p:spPr>
          <a:xfrm flipH="1">
            <a:off x="483242" y="1051410"/>
            <a:ext cx="1373077" cy="665432"/>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72" name="Rounded Rectangle 54">
            <a:extLst>
              <a:ext uri="{FF2B5EF4-FFF2-40B4-BE49-F238E27FC236}">
                <a16:creationId xmlns:a16="http://schemas.microsoft.com/office/drawing/2014/main" id="{2819D8FB-8CE4-4209-959E-99CFC70A2E71}"/>
              </a:ext>
            </a:extLst>
          </p:cNvPr>
          <p:cNvSpPr/>
          <p:nvPr/>
        </p:nvSpPr>
        <p:spPr>
          <a:xfrm flipH="1">
            <a:off x="2066458" y="1928933"/>
            <a:ext cx="8512986" cy="205472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73" name="Rounded Rectangle 54">
            <a:extLst>
              <a:ext uri="{FF2B5EF4-FFF2-40B4-BE49-F238E27FC236}">
                <a16:creationId xmlns:a16="http://schemas.microsoft.com/office/drawing/2014/main" id="{1FB2D6EB-1A6F-4C49-B4AC-0D00710A9DFE}"/>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74" name="Rounded Rectangle 55">
            <a:extLst>
              <a:ext uri="{FF2B5EF4-FFF2-40B4-BE49-F238E27FC236}">
                <a16:creationId xmlns:a16="http://schemas.microsoft.com/office/drawing/2014/main" id="{F65C07EA-9B3B-40B3-AA58-6E9BDB5A6A67}"/>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75" name="Rectangle 74">
            <a:extLst>
              <a:ext uri="{FF2B5EF4-FFF2-40B4-BE49-F238E27FC236}">
                <a16:creationId xmlns:a16="http://schemas.microsoft.com/office/drawing/2014/main" id="{D3B30701-EE11-4946-9FF1-7B12324A16D6}"/>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76" name="Group 75">
            <a:extLst>
              <a:ext uri="{FF2B5EF4-FFF2-40B4-BE49-F238E27FC236}">
                <a16:creationId xmlns:a16="http://schemas.microsoft.com/office/drawing/2014/main" id="{F0F251CC-34B7-4BDD-AAD5-AC532E3E7584}"/>
              </a:ext>
            </a:extLst>
          </p:cNvPr>
          <p:cNvGrpSpPr/>
          <p:nvPr/>
        </p:nvGrpSpPr>
        <p:grpSpPr>
          <a:xfrm flipH="1">
            <a:off x="1744516" y="5652074"/>
            <a:ext cx="330592" cy="409729"/>
            <a:chOff x="4144353" y="5853398"/>
            <a:chExt cx="289254" cy="374936"/>
          </a:xfrm>
          <a:effectLst/>
        </p:grpSpPr>
        <p:grpSp>
          <p:nvGrpSpPr>
            <p:cNvPr id="77" name="Group 76">
              <a:extLst>
                <a:ext uri="{FF2B5EF4-FFF2-40B4-BE49-F238E27FC236}">
                  <a16:creationId xmlns:a16="http://schemas.microsoft.com/office/drawing/2014/main" id="{8F9BE2A2-95BB-4322-8A1D-839DD95D3BB3}"/>
                </a:ext>
              </a:extLst>
            </p:cNvPr>
            <p:cNvGrpSpPr/>
            <p:nvPr/>
          </p:nvGrpSpPr>
          <p:grpSpPr>
            <a:xfrm rot="16200000">
              <a:off x="4246871" y="5750880"/>
              <a:ext cx="84217" cy="289253"/>
              <a:chOff x="666750" y="2236191"/>
              <a:chExt cx="137160" cy="471087"/>
            </a:xfrm>
          </p:grpSpPr>
          <p:sp>
            <p:nvSpPr>
              <p:cNvPr id="82" name="Oval 81">
                <a:extLst>
                  <a:ext uri="{FF2B5EF4-FFF2-40B4-BE49-F238E27FC236}">
                    <a16:creationId xmlns:a16="http://schemas.microsoft.com/office/drawing/2014/main" id="{F2D37AE0-74CB-4EE6-BFA0-E098808471BB}"/>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3" name="Oval 82">
                <a:extLst>
                  <a:ext uri="{FF2B5EF4-FFF2-40B4-BE49-F238E27FC236}">
                    <a16:creationId xmlns:a16="http://schemas.microsoft.com/office/drawing/2014/main" id="{1340B667-0E77-47C6-8745-1F9695226A4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4" name="Rounded Rectangle 116">
                <a:extLst>
                  <a:ext uri="{FF2B5EF4-FFF2-40B4-BE49-F238E27FC236}">
                    <a16:creationId xmlns:a16="http://schemas.microsoft.com/office/drawing/2014/main" id="{4D66FF70-444F-4BAC-BF86-E4E0F0612EC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78" name="Group 77">
              <a:extLst>
                <a:ext uri="{FF2B5EF4-FFF2-40B4-BE49-F238E27FC236}">
                  <a16:creationId xmlns:a16="http://schemas.microsoft.com/office/drawing/2014/main" id="{D87B7508-9B99-4368-BC12-73BC7F59E26D}"/>
                </a:ext>
              </a:extLst>
            </p:cNvPr>
            <p:cNvGrpSpPr/>
            <p:nvPr/>
          </p:nvGrpSpPr>
          <p:grpSpPr>
            <a:xfrm rot="16200000">
              <a:off x="4246872" y="6041599"/>
              <a:ext cx="84217" cy="289253"/>
              <a:chOff x="666750" y="2236191"/>
              <a:chExt cx="137160" cy="471087"/>
            </a:xfrm>
          </p:grpSpPr>
          <p:sp>
            <p:nvSpPr>
              <p:cNvPr id="79" name="Oval 78">
                <a:extLst>
                  <a:ext uri="{FF2B5EF4-FFF2-40B4-BE49-F238E27FC236}">
                    <a16:creationId xmlns:a16="http://schemas.microsoft.com/office/drawing/2014/main" id="{08071B1E-E3FA-405A-BFC2-316B5CA7F24F}"/>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0" name="Oval 79">
                <a:extLst>
                  <a:ext uri="{FF2B5EF4-FFF2-40B4-BE49-F238E27FC236}">
                    <a16:creationId xmlns:a16="http://schemas.microsoft.com/office/drawing/2014/main" id="{F16F7397-2A83-4724-A2D3-F7B73B82066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1" name="Rounded Rectangle 113">
                <a:extLst>
                  <a:ext uri="{FF2B5EF4-FFF2-40B4-BE49-F238E27FC236}">
                    <a16:creationId xmlns:a16="http://schemas.microsoft.com/office/drawing/2014/main" id="{4B1F8CAA-80AC-40F5-A5E8-6A801C6C8ECF}"/>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85" name="Rounded Rectangle 54">
            <a:extLst>
              <a:ext uri="{FF2B5EF4-FFF2-40B4-BE49-F238E27FC236}">
                <a16:creationId xmlns:a16="http://schemas.microsoft.com/office/drawing/2014/main" id="{34178281-3504-46B4-AFA9-762E278ED4E7}"/>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By Archiving the old data from salesforce, the performance will increase, and the old data can be accessed by </a:t>
            </a:r>
            <a:r>
              <a:rPr kumimoji="0" lang="en-US" sz="1200" b="0" i="0" u="none" strike="noStrike" kern="0" cap="none" spc="0" normalizeH="0" baseline="0" noProof="0" err="1">
                <a:ln>
                  <a:noFill/>
                </a:ln>
                <a:solidFill>
                  <a:prstClr val="black"/>
                </a:solidFill>
                <a:effectLst/>
                <a:uLnTx/>
                <a:uFillTx/>
                <a:latin typeface="Verdana"/>
                <a:ea typeface="+mn-ea"/>
                <a:cs typeface="+mn-cs"/>
              </a:rPr>
              <a:t>Odata</a:t>
            </a:r>
            <a:r>
              <a:rPr kumimoji="0" lang="en-US" sz="1200" b="0" i="0" u="none" strike="noStrike" kern="0" cap="none" spc="0" normalizeH="0" baseline="0" noProof="0">
                <a:ln>
                  <a:noFill/>
                </a:ln>
                <a:solidFill>
                  <a:prstClr val="black"/>
                </a:solidFill>
                <a:effectLst/>
                <a:uLnTx/>
                <a:uFillTx/>
                <a:latin typeface="Verdana"/>
                <a:ea typeface="+mn-ea"/>
                <a:cs typeface="+mn-cs"/>
              </a:rPr>
              <a:t> interface</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86" name="Rounded Rectangle 55">
            <a:extLst>
              <a:ext uri="{FF2B5EF4-FFF2-40B4-BE49-F238E27FC236}">
                <a16:creationId xmlns:a16="http://schemas.microsoft.com/office/drawing/2014/main" id="{3F8EB691-134A-464E-8E36-DCA65FAAD5BC}"/>
              </a:ext>
            </a:extLst>
          </p:cNvPr>
          <p:cNvSpPr/>
          <p:nvPr/>
        </p:nvSpPr>
        <p:spPr>
          <a:xfrm flipH="1">
            <a:off x="483238" y="1808751"/>
            <a:ext cx="1435608" cy="3405901"/>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87" name="Rectangle 86">
            <a:extLst>
              <a:ext uri="{FF2B5EF4-FFF2-40B4-BE49-F238E27FC236}">
                <a16:creationId xmlns:a16="http://schemas.microsoft.com/office/drawing/2014/main" id="{35ADCC8E-722A-410C-BBAE-6591EB23C919}"/>
              </a:ext>
            </a:extLst>
          </p:cNvPr>
          <p:cNvSpPr/>
          <p:nvPr/>
        </p:nvSpPr>
        <p:spPr>
          <a:xfrm rot="10800000" flipH="1">
            <a:off x="1943617" y="1038224"/>
            <a:ext cx="350094" cy="665433"/>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88" name="Rectangle 87">
            <a:extLst>
              <a:ext uri="{FF2B5EF4-FFF2-40B4-BE49-F238E27FC236}">
                <a16:creationId xmlns:a16="http://schemas.microsoft.com/office/drawing/2014/main" id="{D9B8FA9A-5D40-42DB-BFD7-A6EE965914A0}"/>
              </a:ext>
            </a:extLst>
          </p:cNvPr>
          <p:cNvSpPr/>
          <p:nvPr/>
        </p:nvSpPr>
        <p:spPr>
          <a:xfrm rot="10800000" flipH="1">
            <a:off x="1900001" y="1808745"/>
            <a:ext cx="299315" cy="340590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89" name="Group 88">
            <a:extLst>
              <a:ext uri="{FF2B5EF4-FFF2-40B4-BE49-F238E27FC236}">
                <a16:creationId xmlns:a16="http://schemas.microsoft.com/office/drawing/2014/main" id="{34C1FB63-2A52-4A72-B19A-83254BF8B3D4}"/>
              </a:ext>
            </a:extLst>
          </p:cNvPr>
          <p:cNvGrpSpPr/>
          <p:nvPr/>
        </p:nvGrpSpPr>
        <p:grpSpPr>
          <a:xfrm rot="5400000" flipH="1">
            <a:off x="1858021" y="3322439"/>
            <a:ext cx="90341" cy="294544"/>
            <a:chOff x="666750" y="2236191"/>
            <a:chExt cx="137160" cy="471087"/>
          </a:xfrm>
          <a:effectLst/>
        </p:grpSpPr>
        <p:sp>
          <p:nvSpPr>
            <p:cNvPr id="90" name="Oval 89">
              <a:extLst>
                <a:ext uri="{FF2B5EF4-FFF2-40B4-BE49-F238E27FC236}">
                  <a16:creationId xmlns:a16="http://schemas.microsoft.com/office/drawing/2014/main" id="{0CF62D8D-0515-48B8-B1ED-4CF50148CB1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1" name="Oval 90">
              <a:extLst>
                <a:ext uri="{FF2B5EF4-FFF2-40B4-BE49-F238E27FC236}">
                  <a16:creationId xmlns:a16="http://schemas.microsoft.com/office/drawing/2014/main" id="{36CBC7C9-853B-4F2D-B9A2-D22404EA3E58}"/>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2" name="Rounded Rectangle 116">
              <a:extLst>
                <a:ext uri="{FF2B5EF4-FFF2-40B4-BE49-F238E27FC236}">
                  <a16:creationId xmlns:a16="http://schemas.microsoft.com/office/drawing/2014/main" id="{1246E47C-9A62-47B5-B49A-108D4433183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93" name="Group 92">
            <a:extLst>
              <a:ext uri="{FF2B5EF4-FFF2-40B4-BE49-F238E27FC236}">
                <a16:creationId xmlns:a16="http://schemas.microsoft.com/office/drawing/2014/main" id="{30037070-EA77-4D55-B0BE-6BFC8A81B37D}"/>
              </a:ext>
            </a:extLst>
          </p:cNvPr>
          <p:cNvGrpSpPr/>
          <p:nvPr/>
        </p:nvGrpSpPr>
        <p:grpSpPr>
          <a:xfrm rot="5400000" flipH="1">
            <a:off x="1858019" y="3640135"/>
            <a:ext cx="90341" cy="294544"/>
            <a:chOff x="666750" y="2236191"/>
            <a:chExt cx="137160" cy="471087"/>
          </a:xfrm>
          <a:effectLst/>
        </p:grpSpPr>
        <p:sp>
          <p:nvSpPr>
            <p:cNvPr id="94" name="Oval 93">
              <a:extLst>
                <a:ext uri="{FF2B5EF4-FFF2-40B4-BE49-F238E27FC236}">
                  <a16:creationId xmlns:a16="http://schemas.microsoft.com/office/drawing/2014/main" id="{FD4A7CB9-DF0B-4857-A871-B5768A5323D2}"/>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5" name="Oval 94">
              <a:extLst>
                <a:ext uri="{FF2B5EF4-FFF2-40B4-BE49-F238E27FC236}">
                  <a16:creationId xmlns:a16="http://schemas.microsoft.com/office/drawing/2014/main" id="{4B7813BD-0A48-414B-9481-CA2B303EDDE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6" name="Rounded Rectangle 113">
              <a:extLst>
                <a:ext uri="{FF2B5EF4-FFF2-40B4-BE49-F238E27FC236}">
                  <a16:creationId xmlns:a16="http://schemas.microsoft.com/office/drawing/2014/main" id="{372D9C80-3A37-4E1D-9753-821E7116785C}"/>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97" name="Rounded Rectangle 54">
            <a:extLst>
              <a:ext uri="{FF2B5EF4-FFF2-40B4-BE49-F238E27FC236}">
                <a16:creationId xmlns:a16="http://schemas.microsoft.com/office/drawing/2014/main" id="{B4E0954D-EEBD-4658-8FE4-546295FF0A1A}"/>
              </a:ext>
            </a:extLst>
          </p:cNvPr>
          <p:cNvSpPr/>
          <p:nvPr/>
        </p:nvSpPr>
        <p:spPr>
          <a:xfrm flipH="1">
            <a:off x="2066453" y="1047751"/>
            <a:ext cx="8512989" cy="62392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Archiving implementation: </a:t>
            </a:r>
            <a:r>
              <a:rPr kumimoji="0" lang="en-US" sz="1200" b="0" i="0" u="none" strike="noStrike" kern="0" cap="none" spc="0" normalizeH="0" baseline="0" noProof="0">
                <a:ln>
                  <a:noFill/>
                </a:ln>
                <a:solidFill>
                  <a:prstClr val="black"/>
                </a:solidFill>
                <a:effectLst/>
                <a:uLnTx/>
                <a:uFillTx/>
                <a:latin typeface="Verdana"/>
                <a:ea typeface="+mn-ea"/>
                <a:cs typeface="+mn-cs"/>
              </a:rPr>
              <a:t>implement archiving for old planning statuses, to reduce the amount of storage occupied</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Planning Status Management </a:t>
            </a:r>
            <a:r>
              <a:rPr kumimoji="0" lang="en-US" sz="1200" b="0" i="0" u="none" strike="noStrike" kern="0" cap="none" spc="0" normalizeH="0" baseline="0" noProof="0">
                <a:ln>
                  <a:noFill/>
                </a:ln>
                <a:solidFill>
                  <a:prstClr val="black"/>
                </a:solidFill>
                <a:effectLst/>
                <a:uLnTx/>
                <a:uFillTx/>
                <a:latin typeface="Verdana"/>
                <a:ea typeface="+mn-ea"/>
                <a:cs typeface="+mn-cs"/>
              </a:rPr>
              <a:t>review</a:t>
            </a: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98" name="Rounded Rectangle 54">
            <a:extLst>
              <a:ext uri="{FF2B5EF4-FFF2-40B4-BE49-F238E27FC236}">
                <a16:creationId xmlns:a16="http://schemas.microsoft.com/office/drawing/2014/main" id="{61AB94F3-9850-439A-B989-3A7F9AE1A8D0}"/>
              </a:ext>
            </a:extLst>
          </p:cNvPr>
          <p:cNvSpPr/>
          <p:nvPr/>
        </p:nvSpPr>
        <p:spPr>
          <a:xfrm flipH="1">
            <a:off x="2041157" y="1809750"/>
            <a:ext cx="8512984" cy="3414426"/>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Archiv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MuleSoft process will query the following data from salesforce:</a:t>
            </a:r>
          </a:p>
          <a:p>
            <a:pPr marL="342900" marR="0" lvl="0"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Opportunity</a:t>
            </a:r>
          </a:p>
          <a:p>
            <a:pPr marL="342900" marR="0" lvl="0"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Year Summary</a:t>
            </a:r>
          </a:p>
          <a:p>
            <a:pPr marL="342900" marR="0" lvl="0"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Volumes</a:t>
            </a:r>
          </a:p>
          <a:p>
            <a:pPr marL="342900" marR="0" lvl="0"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Opportunity Related</a:t>
            </a:r>
          </a:p>
          <a:p>
            <a:pPr marL="800100" marR="0" lvl="1"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Ø"/>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Part Number</a:t>
            </a:r>
          </a:p>
          <a:p>
            <a:pPr marL="800100" marR="0" lvl="1"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Ø"/>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Synthetic BOM</a:t>
            </a:r>
          </a:p>
          <a:p>
            <a:pPr marL="800100" marR="0" lvl="1"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Ø"/>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Opportunity Scenario</a:t>
            </a:r>
          </a:p>
          <a:p>
            <a:pPr marL="800100" marR="0" lvl="1" indent="-34290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Ø"/>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Savings &amp; Lump-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These entities will be stored in the external Databas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Planning Status Management Review</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Sales Process involves the redaction of Sales Planning Status (e.g. Budget, Forecast, </a:t>
            </a:r>
            <a:r>
              <a:rPr kumimoji="0" lang="en-US" sz="1200" b="0" i="0" u="none" strike="noStrike" kern="0" cap="none" spc="0" normalizeH="0" baseline="0" noProof="0" err="1">
                <a:ln>
                  <a:noFill/>
                </a:ln>
                <a:solidFill>
                  <a:prstClr val="black"/>
                </a:solidFill>
                <a:effectLst/>
                <a:uLnTx/>
                <a:uFillTx/>
                <a:latin typeface="Verdana"/>
                <a:ea typeface="+mn-ea"/>
                <a:cs typeface="+mn-cs"/>
              </a:rPr>
              <a:t>etc</a:t>
            </a:r>
            <a:r>
              <a:rPr kumimoji="0" lang="en-US" sz="1200" b="0" i="0" u="none" strike="noStrike" kern="0" cap="none" spc="0" normalizeH="0" baseline="0" noProof="0">
                <a:ln>
                  <a:noFill/>
                </a:ln>
                <a:solidFill>
                  <a:prstClr val="black"/>
                </a:solidFill>
                <a:effectLst/>
                <a:uLnTx/>
                <a:uFillTx/>
                <a:latin typeface="Verdana"/>
                <a:ea typeface="+mn-ea"/>
                <a:cs typeface="+mn-cs"/>
              </a:rPr>
              <a:t>). Current system configuration manages Planning Statuses by coping opportunities into scenarios via Apex sharing. In the TO-BE solution cloning of this scenario via external ETL (</a:t>
            </a:r>
            <a:r>
              <a:rPr kumimoji="0" lang="en-US" sz="1200" b="0" i="0" u="none" strike="noStrike" kern="0" cap="none" spc="0" normalizeH="0" baseline="0" noProof="0" err="1">
                <a:ln>
                  <a:noFill/>
                </a:ln>
                <a:solidFill>
                  <a:prstClr val="black"/>
                </a:solidFill>
                <a:effectLst/>
                <a:uLnTx/>
                <a:uFillTx/>
                <a:latin typeface="Verdana"/>
                <a:ea typeface="+mn-ea"/>
                <a:cs typeface="+mn-cs"/>
              </a:rPr>
              <a:t>Mulesoft</a:t>
            </a:r>
            <a:r>
              <a:rPr kumimoji="0" lang="en-US" sz="1200" b="0" i="0" u="none" strike="noStrike" kern="0" cap="none" spc="0" normalizeH="0" baseline="0" noProof="0">
                <a:ln>
                  <a:noFill/>
                </a:ln>
                <a:solidFill>
                  <a:prstClr val="black"/>
                </a:solidFill>
                <a:effectLst/>
                <a:uLnTx/>
                <a:uFillTx/>
                <a:latin typeface="Verdana"/>
                <a:ea typeface="+mn-ea"/>
                <a:cs typeface="+mn-cs"/>
              </a:rPr>
              <a:t> on premises) and Salesforce Bulk APIs will be activated</a:t>
            </a:r>
            <a:endParaRPr kumimoji="0" lang="en-US" sz="1400" b="0" i="0" u="none" strike="noStrike" kern="0" cap="none" spc="0" normalizeH="0" baseline="0" noProof="0">
              <a:ln>
                <a:noFill/>
              </a:ln>
              <a:solidFill>
                <a:srgbClr val="FFFFFF"/>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p:txBody>
      </p:sp>
      <p:sp>
        <p:nvSpPr>
          <p:cNvPr id="99" name="Rectangle 98">
            <a:extLst>
              <a:ext uri="{FF2B5EF4-FFF2-40B4-BE49-F238E27FC236}">
                <a16:creationId xmlns:a16="http://schemas.microsoft.com/office/drawing/2014/main" id="{9562C83B-0327-4414-AF4D-641C80DF24D6}"/>
              </a:ext>
            </a:extLst>
          </p:cNvPr>
          <p:cNvSpPr/>
          <p:nvPr/>
        </p:nvSpPr>
        <p:spPr>
          <a:xfrm rot="10800000" flipH="1">
            <a:off x="1880951" y="1046965"/>
            <a:ext cx="231261" cy="67867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00" name="Group 99">
            <a:extLst>
              <a:ext uri="{FF2B5EF4-FFF2-40B4-BE49-F238E27FC236}">
                <a16:creationId xmlns:a16="http://schemas.microsoft.com/office/drawing/2014/main" id="{149401EE-375D-476D-BA56-6B87F00D85BD}"/>
              </a:ext>
            </a:extLst>
          </p:cNvPr>
          <p:cNvGrpSpPr/>
          <p:nvPr/>
        </p:nvGrpSpPr>
        <p:grpSpPr>
          <a:xfrm flipH="1">
            <a:off x="1770562" y="1112349"/>
            <a:ext cx="294545" cy="527565"/>
            <a:chOff x="4144353" y="5853398"/>
            <a:chExt cx="289254" cy="374936"/>
          </a:xfrm>
          <a:effectLst/>
        </p:grpSpPr>
        <p:grpSp>
          <p:nvGrpSpPr>
            <p:cNvPr id="101" name="Group 100">
              <a:extLst>
                <a:ext uri="{FF2B5EF4-FFF2-40B4-BE49-F238E27FC236}">
                  <a16:creationId xmlns:a16="http://schemas.microsoft.com/office/drawing/2014/main" id="{4C94AFE8-0AF9-4752-8691-4AC4E3DA791A}"/>
                </a:ext>
              </a:extLst>
            </p:cNvPr>
            <p:cNvGrpSpPr/>
            <p:nvPr/>
          </p:nvGrpSpPr>
          <p:grpSpPr>
            <a:xfrm rot="16200000">
              <a:off x="4246871" y="5750880"/>
              <a:ext cx="84217" cy="289253"/>
              <a:chOff x="666750" y="2236191"/>
              <a:chExt cx="137160" cy="471087"/>
            </a:xfrm>
          </p:grpSpPr>
          <p:sp>
            <p:nvSpPr>
              <p:cNvPr id="106" name="Oval 105">
                <a:extLst>
                  <a:ext uri="{FF2B5EF4-FFF2-40B4-BE49-F238E27FC236}">
                    <a16:creationId xmlns:a16="http://schemas.microsoft.com/office/drawing/2014/main" id="{ECF6F15B-F2D3-4544-8A80-568F3B768A1A}"/>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7" name="Oval 106">
                <a:extLst>
                  <a:ext uri="{FF2B5EF4-FFF2-40B4-BE49-F238E27FC236}">
                    <a16:creationId xmlns:a16="http://schemas.microsoft.com/office/drawing/2014/main" id="{C63E3980-8354-40FA-A270-7BDCADEE2AFB}"/>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8" name="Rounded Rectangle 116">
                <a:extLst>
                  <a:ext uri="{FF2B5EF4-FFF2-40B4-BE49-F238E27FC236}">
                    <a16:creationId xmlns:a16="http://schemas.microsoft.com/office/drawing/2014/main" id="{9DC92BD1-C918-4EB1-AB6F-F7BB0B37C2C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02" name="Group 101">
              <a:extLst>
                <a:ext uri="{FF2B5EF4-FFF2-40B4-BE49-F238E27FC236}">
                  <a16:creationId xmlns:a16="http://schemas.microsoft.com/office/drawing/2014/main" id="{877EA5AA-2B0D-4898-89CD-22986CE6495A}"/>
                </a:ext>
              </a:extLst>
            </p:cNvPr>
            <p:cNvGrpSpPr/>
            <p:nvPr/>
          </p:nvGrpSpPr>
          <p:grpSpPr>
            <a:xfrm rot="16200000">
              <a:off x="4246872" y="6041599"/>
              <a:ext cx="84217" cy="289253"/>
              <a:chOff x="666750" y="2236191"/>
              <a:chExt cx="137160" cy="471087"/>
            </a:xfrm>
          </p:grpSpPr>
          <p:sp>
            <p:nvSpPr>
              <p:cNvPr id="103" name="Oval 102">
                <a:extLst>
                  <a:ext uri="{FF2B5EF4-FFF2-40B4-BE49-F238E27FC236}">
                    <a16:creationId xmlns:a16="http://schemas.microsoft.com/office/drawing/2014/main" id="{65C78AF5-C253-4C44-A96E-06B39702B57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4" name="Oval 103">
                <a:extLst>
                  <a:ext uri="{FF2B5EF4-FFF2-40B4-BE49-F238E27FC236}">
                    <a16:creationId xmlns:a16="http://schemas.microsoft.com/office/drawing/2014/main" id="{27ED08A9-7D2E-43EB-B7FD-E9A5ABB52AC1}"/>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5" name="Rounded Rectangle 113">
                <a:extLst>
                  <a:ext uri="{FF2B5EF4-FFF2-40B4-BE49-F238E27FC236}">
                    <a16:creationId xmlns:a16="http://schemas.microsoft.com/office/drawing/2014/main" id="{83951A06-689F-482C-BF94-BBABAA6BC74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pic>
        <p:nvPicPr>
          <p:cNvPr id="110" name="Picture 109">
            <a:extLst>
              <a:ext uri="{FF2B5EF4-FFF2-40B4-BE49-F238E27FC236}">
                <a16:creationId xmlns:a16="http://schemas.microsoft.com/office/drawing/2014/main" id="{6AE7B761-A148-493E-A6BC-52EC0EDEFA02}"/>
              </a:ext>
            </a:extLst>
          </p:cNvPr>
          <p:cNvPicPr>
            <a:picLocks noChangeAspect="1"/>
          </p:cNvPicPr>
          <p:nvPr/>
        </p:nvPicPr>
        <p:blipFill>
          <a:blip r:embed="rId8"/>
          <a:stretch>
            <a:fillRect/>
          </a:stretch>
        </p:blipFill>
        <p:spPr>
          <a:xfrm>
            <a:off x="7955705" y="1877527"/>
            <a:ext cx="3551090" cy="1836091"/>
          </a:xfrm>
          <a:prstGeom prst="rect">
            <a:avLst/>
          </a:prstGeom>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2275" y="292100"/>
            <a:ext cx="3389629" cy="422275"/>
          </a:xfrm>
          <a:prstGeom prst="rect">
            <a:avLst/>
          </a:prstGeom>
        </p:spPr>
        <p:txBody>
          <a:bodyPr vert="horz" wrap="square" lIns="0" tIns="12700" rIns="0" bIns="0" rtlCol="0">
            <a:spAutoFit/>
          </a:bodyPr>
          <a:lstStyle/>
          <a:p>
            <a:pPr marL="12700">
              <a:lnSpc>
                <a:spcPct val="100000"/>
              </a:lnSpc>
              <a:spcBef>
                <a:spcPts val="100"/>
              </a:spcBef>
            </a:pPr>
            <a:r>
              <a:rPr sz="2600"/>
              <a:t>Mobile</a:t>
            </a:r>
            <a:r>
              <a:rPr sz="2600" spc="-95"/>
              <a:t> </a:t>
            </a:r>
            <a:r>
              <a:rPr sz="2600"/>
              <a:t>Compatibility</a:t>
            </a:r>
          </a:p>
        </p:txBody>
      </p:sp>
      <p:sp>
        <p:nvSpPr>
          <p:cNvPr id="3" name="object 3"/>
          <p:cNvSpPr/>
          <p:nvPr/>
        </p:nvSpPr>
        <p:spPr>
          <a:xfrm>
            <a:off x="9573768" y="109728"/>
            <a:ext cx="1828800" cy="612775"/>
          </a:xfrm>
          <a:custGeom>
            <a:avLst/>
            <a:gdLst/>
            <a:ahLst/>
            <a:cxnLst/>
            <a:rect l="l" t="t" r="r" b="b"/>
            <a:pathLst>
              <a:path w="1828800" h="612775">
                <a:moveTo>
                  <a:pt x="1726691" y="0"/>
                </a:moveTo>
                <a:lnTo>
                  <a:pt x="102107" y="0"/>
                </a:lnTo>
                <a:lnTo>
                  <a:pt x="62364" y="8024"/>
                </a:lnTo>
                <a:lnTo>
                  <a:pt x="29908" y="29908"/>
                </a:lnTo>
                <a:lnTo>
                  <a:pt x="8024" y="62364"/>
                </a:lnTo>
                <a:lnTo>
                  <a:pt x="0" y="102107"/>
                </a:lnTo>
                <a:lnTo>
                  <a:pt x="0" y="612648"/>
                </a:lnTo>
                <a:lnTo>
                  <a:pt x="1828800" y="612648"/>
                </a:lnTo>
                <a:lnTo>
                  <a:pt x="1828800" y="102107"/>
                </a:lnTo>
                <a:lnTo>
                  <a:pt x="1820775" y="62364"/>
                </a:lnTo>
                <a:lnTo>
                  <a:pt x="1798891" y="29908"/>
                </a:lnTo>
                <a:lnTo>
                  <a:pt x="1766435" y="8024"/>
                </a:lnTo>
                <a:lnTo>
                  <a:pt x="1726691" y="0"/>
                </a:lnTo>
                <a:close/>
              </a:path>
            </a:pathLst>
          </a:custGeom>
          <a:solidFill>
            <a:srgbClr val="12ABDB"/>
          </a:solidFill>
        </p:spPr>
        <p:txBody>
          <a:bodyPr wrap="square" lIns="0" tIns="0" rIns="0" bIns="0" rtlCol="0"/>
          <a:lstStyle/>
          <a:p>
            <a:endParaRPr/>
          </a:p>
        </p:txBody>
      </p:sp>
      <p:sp>
        <p:nvSpPr>
          <p:cNvPr id="4" name="object 4"/>
          <p:cNvSpPr txBox="1"/>
          <p:nvPr/>
        </p:nvSpPr>
        <p:spPr>
          <a:xfrm>
            <a:off x="9957943" y="257302"/>
            <a:ext cx="1027430" cy="346710"/>
          </a:xfrm>
          <a:prstGeom prst="rect">
            <a:avLst/>
          </a:prstGeom>
        </p:spPr>
        <p:txBody>
          <a:bodyPr vert="horz" wrap="square" lIns="0" tIns="13335" rIns="0" bIns="0" rtlCol="0">
            <a:spAutoFit/>
          </a:bodyPr>
          <a:lstStyle/>
          <a:p>
            <a:pPr marL="12700" marR="5080">
              <a:lnSpc>
                <a:spcPct val="100000"/>
              </a:lnSpc>
              <a:spcBef>
                <a:spcPts val="105"/>
              </a:spcBef>
            </a:pPr>
            <a:r>
              <a:rPr sz="1050" b="1">
                <a:solidFill>
                  <a:srgbClr val="FFFFFF"/>
                </a:solidFill>
                <a:latin typeface="Verdana"/>
                <a:cs typeface="Verdana"/>
              </a:rPr>
              <a:t>Mobile  Compatibil</a:t>
            </a:r>
            <a:r>
              <a:rPr sz="1050" b="1" spc="-5">
                <a:solidFill>
                  <a:srgbClr val="FFFFFF"/>
                </a:solidFill>
                <a:latin typeface="Verdana"/>
                <a:cs typeface="Verdana"/>
              </a:rPr>
              <a:t>i</a:t>
            </a:r>
            <a:r>
              <a:rPr sz="1050" b="1">
                <a:solidFill>
                  <a:srgbClr val="FFFFFF"/>
                </a:solidFill>
                <a:latin typeface="Verdana"/>
                <a:cs typeface="Verdana"/>
              </a:rPr>
              <a:t>ty</a:t>
            </a:r>
            <a:endParaRPr sz="1050">
              <a:latin typeface="Verdana"/>
              <a:cs typeface="Verdana"/>
            </a:endParaRPr>
          </a:p>
        </p:txBody>
      </p:sp>
      <p:sp>
        <p:nvSpPr>
          <p:cNvPr id="6" name="object 6"/>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8" name="object 8"/>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0" name="object 10"/>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9AE0F7"/>
          </a:solidFill>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2" name="object 12"/>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3" name="object 13"/>
          <p:cNvSpPr/>
          <p:nvPr/>
        </p:nvSpPr>
        <p:spPr>
          <a:xfrm>
            <a:off x="9069323" y="79247"/>
            <a:ext cx="97535" cy="252983"/>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9069323" y="79247"/>
            <a:ext cx="97790" cy="253365"/>
          </a:xfrm>
          <a:custGeom>
            <a:avLst/>
            <a:gdLst/>
            <a:ahLst/>
            <a:cxnLst/>
            <a:rect l="l" t="t" r="r" b="b"/>
            <a:pathLst>
              <a:path w="97790" h="253365">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4216"/>
                </a:lnTo>
                <a:lnTo>
                  <a:pt x="93702" y="223194"/>
                </a:lnTo>
                <a:lnTo>
                  <a:pt x="83248" y="238696"/>
                </a:lnTo>
                <a:lnTo>
                  <a:pt x="67746" y="249150"/>
                </a:lnTo>
                <a:lnTo>
                  <a:pt x="48768" y="252983"/>
                </a:lnTo>
                <a:lnTo>
                  <a:pt x="29789" y="249150"/>
                </a:lnTo>
                <a:lnTo>
                  <a:pt x="14287" y="238696"/>
                </a:lnTo>
                <a:lnTo>
                  <a:pt x="3833" y="223194"/>
                </a:lnTo>
                <a:lnTo>
                  <a:pt x="0" y="204216"/>
                </a:lnTo>
                <a:lnTo>
                  <a:pt x="0" y="48768"/>
                </a:lnTo>
                <a:close/>
              </a:path>
            </a:pathLst>
          </a:custGeom>
          <a:ln w="9144">
            <a:solidFill>
              <a:srgbClr val="0D80A3"/>
            </a:solidFill>
          </a:ln>
        </p:spPr>
        <p:txBody>
          <a:bodyPr wrap="square" lIns="0" tIns="0" rIns="0" bIns="0" rtlCol="0"/>
          <a:lstStyle/>
          <a:p>
            <a:endParaRPr/>
          </a:p>
        </p:txBody>
      </p:sp>
      <p:sp>
        <p:nvSpPr>
          <p:cNvPr id="15" name="object 15"/>
          <p:cNvSpPr/>
          <p:nvPr/>
        </p:nvSpPr>
        <p:spPr>
          <a:xfrm>
            <a:off x="9069323" y="440436"/>
            <a:ext cx="97535" cy="252984"/>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9069323" y="440436"/>
            <a:ext cx="97790" cy="253365"/>
          </a:xfrm>
          <a:custGeom>
            <a:avLst/>
            <a:gdLst/>
            <a:ahLst/>
            <a:cxnLst/>
            <a:rect l="l" t="t" r="r" b="b"/>
            <a:pathLst>
              <a:path w="97790" h="253365">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4215"/>
                </a:lnTo>
                <a:lnTo>
                  <a:pt x="93702" y="223194"/>
                </a:lnTo>
                <a:lnTo>
                  <a:pt x="83248" y="238696"/>
                </a:lnTo>
                <a:lnTo>
                  <a:pt x="67746" y="249150"/>
                </a:lnTo>
                <a:lnTo>
                  <a:pt x="48768" y="252984"/>
                </a:lnTo>
                <a:lnTo>
                  <a:pt x="29789" y="249150"/>
                </a:lnTo>
                <a:lnTo>
                  <a:pt x="14287" y="238696"/>
                </a:lnTo>
                <a:lnTo>
                  <a:pt x="3833" y="223194"/>
                </a:lnTo>
                <a:lnTo>
                  <a:pt x="0" y="204215"/>
                </a:lnTo>
                <a:lnTo>
                  <a:pt x="0" y="48767"/>
                </a:lnTo>
                <a:close/>
              </a:path>
            </a:pathLst>
          </a:custGeom>
          <a:ln w="9144">
            <a:solidFill>
              <a:srgbClr val="0D80A3"/>
            </a:solidFill>
          </a:ln>
        </p:spPr>
        <p:txBody>
          <a:bodyPr wrap="square" lIns="0" tIns="0" rIns="0" bIns="0" rtlCol="0"/>
          <a:lstStyle/>
          <a:p>
            <a:endParaRPr/>
          </a:p>
        </p:txBody>
      </p:sp>
      <p:sp>
        <p:nvSpPr>
          <p:cNvPr id="17" name="object 17"/>
          <p:cNvSpPr/>
          <p:nvPr/>
        </p:nvSpPr>
        <p:spPr>
          <a:xfrm>
            <a:off x="8947404" y="137160"/>
            <a:ext cx="495300" cy="498475"/>
          </a:xfrm>
          <a:custGeom>
            <a:avLst/>
            <a:gdLst/>
            <a:ahLst/>
            <a:cxnLst/>
            <a:rect l="l" t="t" r="r" b="b"/>
            <a:pathLst>
              <a:path w="495300" h="498475">
                <a:moveTo>
                  <a:pt x="348869" y="0"/>
                </a:moveTo>
                <a:lnTo>
                  <a:pt x="0" y="0"/>
                </a:lnTo>
                <a:lnTo>
                  <a:pt x="0" y="498348"/>
                </a:lnTo>
                <a:lnTo>
                  <a:pt x="348869" y="498348"/>
                </a:lnTo>
                <a:lnTo>
                  <a:pt x="495300" y="249174"/>
                </a:lnTo>
                <a:lnTo>
                  <a:pt x="348869" y="0"/>
                </a:lnTo>
                <a:close/>
              </a:path>
            </a:pathLst>
          </a:custGeom>
          <a:solidFill>
            <a:srgbClr val="9AE0F7"/>
          </a:solidFill>
        </p:spPr>
        <p:txBody>
          <a:bodyPr wrap="square" lIns="0" tIns="0" rIns="0" bIns="0" rtlCol="0"/>
          <a:lstStyle/>
          <a:p>
            <a:endParaRPr/>
          </a:p>
        </p:txBody>
      </p:sp>
      <p:sp>
        <p:nvSpPr>
          <p:cNvPr id="18" name="object 18"/>
          <p:cNvSpPr/>
          <p:nvPr/>
        </p:nvSpPr>
        <p:spPr>
          <a:xfrm>
            <a:off x="8947404" y="137160"/>
            <a:ext cx="495300" cy="498475"/>
          </a:xfrm>
          <a:custGeom>
            <a:avLst/>
            <a:gdLst/>
            <a:ahLst/>
            <a:cxnLst/>
            <a:rect l="l" t="t" r="r" b="b"/>
            <a:pathLst>
              <a:path w="495300" h="498475">
                <a:moveTo>
                  <a:pt x="0" y="0"/>
                </a:moveTo>
                <a:lnTo>
                  <a:pt x="348869" y="0"/>
                </a:lnTo>
                <a:lnTo>
                  <a:pt x="495300" y="249174"/>
                </a:lnTo>
                <a:lnTo>
                  <a:pt x="348869" y="498348"/>
                </a:lnTo>
                <a:lnTo>
                  <a:pt x="0" y="498348"/>
                </a:lnTo>
                <a:lnTo>
                  <a:pt x="0" y="0"/>
                </a:lnTo>
                <a:close/>
              </a:path>
            </a:pathLst>
          </a:custGeom>
          <a:ln w="9144">
            <a:solidFill>
              <a:srgbClr val="FFFFFF"/>
            </a:solidFill>
          </a:ln>
        </p:spPr>
        <p:txBody>
          <a:bodyPr wrap="square" lIns="0" tIns="0" rIns="0" bIns="0" rtlCol="0"/>
          <a:lstStyle/>
          <a:p>
            <a:endParaRPr/>
          </a:p>
        </p:txBody>
      </p:sp>
      <p:sp>
        <p:nvSpPr>
          <p:cNvPr id="19" name="object 19"/>
          <p:cNvSpPr txBox="1"/>
          <p:nvPr/>
        </p:nvSpPr>
        <p:spPr>
          <a:xfrm>
            <a:off x="9027414" y="31127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0" name="object 20"/>
          <p:cNvSpPr/>
          <p:nvPr/>
        </p:nvSpPr>
        <p:spPr>
          <a:xfrm>
            <a:off x="9596628" y="86868"/>
            <a:ext cx="97536" cy="251459"/>
          </a:xfrm>
          <a:prstGeom prst="rect">
            <a:avLst/>
          </a:prstGeom>
          <a:blipFill>
            <a:blip r:embed="rId5" cstate="print"/>
            <a:stretch>
              <a:fillRect/>
            </a:stretch>
          </a:blipFill>
        </p:spPr>
        <p:txBody>
          <a:bodyPr wrap="square" lIns="0" tIns="0" rIns="0" bIns="0" rtlCol="0"/>
          <a:lstStyle/>
          <a:p>
            <a:endParaRPr/>
          </a:p>
        </p:txBody>
      </p:sp>
      <p:sp>
        <p:nvSpPr>
          <p:cNvPr id="21" name="object 21"/>
          <p:cNvSpPr/>
          <p:nvPr/>
        </p:nvSpPr>
        <p:spPr>
          <a:xfrm>
            <a:off x="9596628" y="86868"/>
            <a:ext cx="97790" cy="251460"/>
          </a:xfrm>
          <a:custGeom>
            <a:avLst/>
            <a:gdLst/>
            <a:ahLst/>
            <a:cxnLst/>
            <a:rect l="l" t="t" r="r" b="b"/>
            <a:pathLst>
              <a:path w="97790" h="251460">
                <a:moveTo>
                  <a:pt x="0" y="48767"/>
                </a:moveTo>
                <a:lnTo>
                  <a:pt x="3833" y="29789"/>
                </a:lnTo>
                <a:lnTo>
                  <a:pt x="14287" y="14287"/>
                </a:lnTo>
                <a:lnTo>
                  <a:pt x="29789" y="3833"/>
                </a:lnTo>
                <a:lnTo>
                  <a:pt x="48768" y="0"/>
                </a:lnTo>
                <a:lnTo>
                  <a:pt x="67746" y="3833"/>
                </a:lnTo>
                <a:lnTo>
                  <a:pt x="83248" y="14287"/>
                </a:lnTo>
                <a:lnTo>
                  <a:pt x="93702" y="29789"/>
                </a:lnTo>
                <a:lnTo>
                  <a:pt x="97536" y="48767"/>
                </a:lnTo>
                <a:lnTo>
                  <a:pt x="97536" y="202691"/>
                </a:lnTo>
                <a:lnTo>
                  <a:pt x="93702" y="221670"/>
                </a:lnTo>
                <a:lnTo>
                  <a:pt x="83248" y="237172"/>
                </a:lnTo>
                <a:lnTo>
                  <a:pt x="67746" y="247626"/>
                </a:lnTo>
                <a:lnTo>
                  <a:pt x="48768"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2" name="object 22"/>
          <p:cNvSpPr/>
          <p:nvPr/>
        </p:nvSpPr>
        <p:spPr>
          <a:xfrm>
            <a:off x="9596628" y="448055"/>
            <a:ext cx="97536" cy="251460"/>
          </a:xfrm>
          <a:prstGeom prst="rect">
            <a:avLst/>
          </a:prstGeom>
          <a:blipFill>
            <a:blip r:embed="rId5" cstate="print"/>
            <a:stretch>
              <a:fillRect/>
            </a:stretch>
          </a:blipFill>
        </p:spPr>
        <p:txBody>
          <a:bodyPr wrap="square" lIns="0" tIns="0" rIns="0" bIns="0" rtlCol="0"/>
          <a:lstStyle/>
          <a:p>
            <a:endParaRPr/>
          </a:p>
        </p:txBody>
      </p:sp>
      <p:sp>
        <p:nvSpPr>
          <p:cNvPr id="23" name="object 23"/>
          <p:cNvSpPr/>
          <p:nvPr/>
        </p:nvSpPr>
        <p:spPr>
          <a:xfrm>
            <a:off x="9596628" y="448055"/>
            <a:ext cx="97790" cy="251460"/>
          </a:xfrm>
          <a:custGeom>
            <a:avLst/>
            <a:gdLst/>
            <a:ahLst/>
            <a:cxnLst/>
            <a:rect l="l" t="t" r="r" b="b"/>
            <a:pathLst>
              <a:path w="97790" h="251459">
                <a:moveTo>
                  <a:pt x="0" y="48768"/>
                </a:moveTo>
                <a:lnTo>
                  <a:pt x="3833" y="29789"/>
                </a:lnTo>
                <a:lnTo>
                  <a:pt x="14287" y="14287"/>
                </a:lnTo>
                <a:lnTo>
                  <a:pt x="29789" y="3833"/>
                </a:lnTo>
                <a:lnTo>
                  <a:pt x="48768" y="0"/>
                </a:lnTo>
                <a:lnTo>
                  <a:pt x="67746" y="3833"/>
                </a:lnTo>
                <a:lnTo>
                  <a:pt x="83248" y="14287"/>
                </a:lnTo>
                <a:lnTo>
                  <a:pt x="93702" y="29789"/>
                </a:lnTo>
                <a:lnTo>
                  <a:pt x="97536" y="48768"/>
                </a:lnTo>
                <a:lnTo>
                  <a:pt x="97536" y="202692"/>
                </a:lnTo>
                <a:lnTo>
                  <a:pt x="93702" y="221670"/>
                </a:lnTo>
                <a:lnTo>
                  <a:pt x="83248" y="237172"/>
                </a:lnTo>
                <a:lnTo>
                  <a:pt x="67746" y="247626"/>
                </a:lnTo>
                <a:lnTo>
                  <a:pt x="48768" y="251460"/>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24" name="object 24"/>
          <p:cNvSpPr/>
          <p:nvPr/>
        </p:nvSpPr>
        <p:spPr>
          <a:xfrm>
            <a:off x="9473183" y="144779"/>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25" name="object 25"/>
          <p:cNvSpPr/>
          <p:nvPr/>
        </p:nvSpPr>
        <p:spPr>
          <a:xfrm>
            <a:off x="9473183" y="144779"/>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26" name="object 26"/>
          <p:cNvSpPr txBox="1"/>
          <p:nvPr/>
        </p:nvSpPr>
        <p:spPr>
          <a:xfrm>
            <a:off x="9554082" y="318007"/>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7" name="object 2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8" name="object 28"/>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3</a:t>
            </a:fld>
            <a:endParaRPr sz="800">
              <a:latin typeface="Verdana"/>
              <a:cs typeface="Verdana"/>
            </a:endParaRPr>
          </a:p>
        </p:txBody>
      </p:sp>
      <p:sp>
        <p:nvSpPr>
          <p:cNvPr id="107" name="Rounded Rectangle 54">
            <a:extLst>
              <a:ext uri="{FF2B5EF4-FFF2-40B4-BE49-F238E27FC236}">
                <a16:creationId xmlns:a16="http://schemas.microsoft.com/office/drawing/2014/main" id="{FDB92E61-0936-41BE-BE1D-E4B672B2F24D}"/>
              </a:ext>
            </a:extLst>
          </p:cNvPr>
          <p:cNvSpPr/>
          <p:nvPr/>
        </p:nvSpPr>
        <p:spPr>
          <a:xfrm flipH="1">
            <a:off x="2066458" y="1038225"/>
            <a:ext cx="8512990" cy="698141"/>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108" name="Rounded Rectangle 55">
            <a:extLst>
              <a:ext uri="{FF2B5EF4-FFF2-40B4-BE49-F238E27FC236}">
                <a16:creationId xmlns:a16="http://schemas.microsoft.com/office/drawing/2014/main" id="{72DF11A3-97E7-4963-BE78-48BBE833BE61}"/>
              </a:ext>
            </a:extLst>
          </p:cNvPr>
          <p:cNvSpPr/>
          <p:nvPr/>
        </p:nvSpPr>
        <p:spPr>
          <a:xfrm flipH="1">
            <a:off x="483242" y="1051410"/>
            <a:ext cx="1373077" cy="665432"/>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109" name="Rounded Rectangle 54">
            <a:extLst>
              <a:ext uri="{FF2B5EF4-FFF2-40B4-BE49-F238E27FC236}">
                <a16:creationId xmlns:a16="http://schemas.microsoft.com/office/drawing/2014/main" id="{0FE09BF9-AF95-4595-8670-1B077745FBEE}"/>
              </a:ext>
            </a:extLst>
          </p:cNvPr>
          <p:cNvSpPr/>
          <p:nvPr/>
        </p:nvSpPr>
        <p:spPr>
          <a:xfrm flipH="1">
            <a:off x="2066448" y="1799879"/>
            <a:ext cx="8512986" cy="340590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110" name="Rounded Rectangle 54">
            <a:extLst>
              <a:ext uri="{FF2B5EF4-FFF2-40B4-BE49-F238E27FC236}">
                <a16:creationId xmlns:a16="http://schemas.microsoft.com/office/drawing/2014/main" id="{7DAF1F04-8077-4684-BA3C-FA4CA582C3D1}"/>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111" name="Rounded Rectangle 55">
            <a:extLst>
              <a:ext uri="{FF2B5EF4-FFF2-40B4-BE49-F238E27FC236}">
                <a16:creationId xmlns:a16="http://schemas.microsoft.com/office/drawing/2014/main" id="{0093AF31-9F01-4649-AAF8-8574D5AF6D46}"/>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112" name="Rectangle 111">
            <a:extLst>
              <a:ext uri="{FF2B5EF4-FFF2-40B4-BE49-F238E27FC236}">
                <a16:creationId xmlns:a16="http://schemas.microsoft.com/office/drawing/2014/main" id="{DFA7D6C1-D64A-4323-B00C-9DCF2CD53A32}"/>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13" name="Group 112">
            <a:extLst>
              <a:ext uri="{FF2B5EF4-FFF2-40B4-BE49-F238E27FC236}">
                <a16:creationId xmlns:a16="http://schemas.microsoft.com/office/drawing/2014/main" id="{2CEE4F24-1B7C-404E-87D5-A5D2E7175310}"/>
              </a:ext>
            </a:extLst>
          </p:cNvPr>
          <p:cNvGrpSpPr/>
          <p:nvPr/>
        </p:nvGrpSpPr>
        <p:grpSpPr>
          <a:xfrm flipH="1">
            <a:off x="1744516" y="5652074"/>
            <a:ext cx="330592" cy="409729"/>
            <a:chOff x="4144353" y="5853398"/>
            <a:chExt cx="289254" cy="374936"/>
          </a:xfrm>
          <a:effectLst/>
        </p:grpSpPr>
        <p:grpSp>
          <p:nvGrpSpPr>
            <p:cNvPr id="114" name="Group 113">
              <a:extLst>
                <a:ext uri="{FF2B5EF4-FFF2-40B4-BE49-F238E27FC236}">
                  <a16:creationId xmlns:a16="http://schemas.microsoft.com/office/drawing/2014/main" id="{CB22BDA6-04F1-4FCE-84F8-63D5AAC18261}"/>
                </a:ext>
              </a:extLst>
            </p:cNvPr>
            <p:cNvGrpSpPr/>
            <p:nvPr/>
          </p:nvGrpSpPr>
          <p:grpSpPr>
            <a:xfrm rot="16200000">
              <a:off x="4246871" y="5750880"/>
              <a:ext cx="84217" cy="289253"/>
              <a:chOff x="666750" y="2236191"/>
              <a:chExt cx="137160" cy="471087"/>
            </a:xfrm>
          </p:grpSpPr>
          <p:sp>
            <p:nvSpPr>
              <p:cNvPr id="119" name="Oval 118">
                <a:extLst>
                  <a:ext uri="{FF2B5EF4-FFF2-40B4-BE49-F238E27FC236}">
                    <a16:creationId xmlns:a16="http://schemas.microsoft.com/office/drawing/2014/main" id="{689BE628-B15A-4451-958D-4A7E29414580}"/>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0" name="Oval 119">
                <a:extLst>
                  <a:ext uri="{FF2B5EF4-FFF2-40B4-BE49-F238E27FC236}">
                    <a16:creationId xmlns:a16="http://schemas.microsoft.com/office/drawing/2014/main" id="{D9E60C0D-DEB9-48D9-946B-0B34E2277FEE}"/>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1" name="Rounded Rectangle 116">
                <a:extLst>
                  <a:ext uri="{FF2B5EF4-FFF2-40B4-BE49-F238E27FC236}">
                    <a16:creationId xmlns:a16="http://schemas.microsoft.com/office/drawing/2014/main" id="{E807F9EC-8376-42C5-8D66-12BC88C63BB1}"/>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15" name="Group 114">
              <a:extLst>
                <a:ext uri="{FF2B5EF4-FFF2-40B4-BE49-F238E27FC236}">
                  <a16:creationId xmlns:a16="http://schemas.microsoft.com/office/drawing/2014/main" id="{CF829CE0-9210-4A25-806E-B072630F6620}"/>
                </a:ext>
              </a:extLst>
            </p:cNvPr>
            <p:cNvGrpSpPr/>
            <p:nvPr/>
          </p:nvGrpSpPr>
          <p:grpSpPr>
            <a:xfrm rot="16200000">
              <a:off x="4246872" y="6041599"/>
              <a:ext cx="84217" cy="289253"/>
              <a:chOff x="666750" y="2236191"/>
              <a:chExt cx="137160" cy="471087"/>
            </a:xfrm>
          </p:grpSpPr>
          <p:sp>
            <p:nvSpPr>
              <p:cNvPr id="116" name="Oval 115">
                <a:extLst>
                  <a:ext uri="{FF2B5EF4-FFF2-40B4-BE49-F238E27FC236}">
                    <a16:creationId xmlns:a16="http://schemas.microsoft.com/office/drawing/2014/main" id="{EA4F8B2F-2D80-4C2A-8DBA-25124B104CA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7" name="Oval 116">
                <a:extLst>
                  <a:ext uri="{FF2B5EF4-FFF2-40B4-BE49-F238E27FC236}">
                    <a16:creationId xmlns:a16="http://schemas.microsoft.com/office/drawing/2014/main" id="{87ABF9B0-3AB1-41A0-8B24-417E78B9F52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8" name="Rounded Rectangle 113">
                <a:extLst>
                  <a:ext uri="{FF2B5EF4-FFF2-40B4-BE49-F238E27FC236}">
                    <a16:creationId xmlns:a16="http://schemas.microsoft.com/office/drawing/2014/main" id="{ED03560E-7AE3-4A61-B30D-0B20B151822C}"/>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122" name="Rounded Rectangle 54">
            <a:extLst>
              <a:ext uri="{FF2B5EF4-FFF2-40B4-BE49-F238E27FC236}">
                <a16:creationId xmlns:a16="http://schemas.microsoft.com/office/drawing/2014/main" id="{76E57E2F-D575-4665-82BF-1A0E4373AF98}"/>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Improve usability and user experience</a:t>
            </a:r>
          </a:p>
          <a:p>
            <a:pPr marL="171450" marR="0" lvl="0" indent="-1714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123" name="Rounded Rectangle 55">
            <a:extLst>
              <a:ext uri="{FF2B5EF4-FFF2-40B4-BE49-F238E27FC236}">
                <a16:creationId xmlns:a16="http://schemas.microsoft.com/office/drawing/2014/main" id="{D967A4C1-AECC-42DF-958A-174373A14B78}"/>
              </a:ext>
            </a:extLst>
          </p:cNvPr>
          <p:cNvSpPr/>
          <p:nvPr/>
        </p:nvSpPr>
        <p:spPr>
          <a:xfrm flipH="1">
            <a:off x="483238" y="1808751"/>
            <a:ext cx="1435608" cy="3405901"/>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124" name="Rectangle 123">
            <a:extLst>
              <a:ext uri="{FF2B5EF4-FFF2-40B4-BE49-F238E27FC236}">
                <a16:creationId xmlns:a16="http://schemas.microsoft.com/office/drawing/2014/main" id="{EC3E362C-0941-49DA-97A7-39A53251D25F}"/>
              </a:ext>
            </a:extLst>
          </p:cNvPr>
          <p:cNvSpPr/>
          <p:nvPr/>
        </p:nvSpPr>
        <p:spPr>
          <a:xfrm rot="10800000" flipH="1">
            <a:off x="1943617" y="1038224"/>
            <a:ext cx="350094" cy="665433"/>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125" name="Rectangle 124">
            <a:extLst>
              <a:ext uri="{FF2B5EF4-FFF2-40B4-BE49-F238E27FC236}">
                <a16:creationId xmlns:a16="http://schemas.microsoft.com/office/drawing/2014/main" id="{EC94404D-7B8E-4005-894A-E33E55B9FAC4}"/>
              </a:ext>
            </a:extLst>
          </p:cNvPr>
          <p:cNvSpPr/>
          <p:nvPr/>
        </p:nvSpPr>
        <p:spPr>
          <a:xfrm rot="10800000" flipH="1">
            <a:off x="1900001" y="1808745"/>
            <a:ext cx="299315" cy="340590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26" name="Group 125">
            <a:extLst>
              <a:ext uri="{FF2B5EF4-FFF2-40B4-BE49-F238E27FC236}">
                <a16:creationId xmlns:a16="http://schemas.microsoft.com/office/drawing/2014/main" id="{5EE2B50E-6949-441A-AC4E-7C6F7DCD1A84}"/>
              </a:ext>
            </a:extLst>
          </p:cNvPr>
          <p:cNvGrpSpPr/>
          <p:nvPr/>
        </p:nvGrpSpPr>
        <p:grpSpPr>
          <a:xfrm rot="5400000" flipH="1">
            <a:off x="1858021" y="3322439"/>
            <a:ext cx="90341" cy="294544"/>
            <a:chOff x="666750" y="2236191"/>
            <a:chExt cx="137160" cy="471087"/>
          </a:xfrm>
          <a:effectLst/>
        </p:grpSpPr>
        <p:sp>
          <p:nvSpPr>
            <p:cNvPr id="127" name="Oval 126">
              <a:extLst>
                <a:ext uri="{FF2B5EF4-FFF2-40B4-BE49-F238E27FC236}">
                  <a16:creationId xmlns:a16="http://schemas.microsoft.com/office/drawing/2014/main" id="{BFE38E27-D90E-4037-BC68-CD634BC8C7C8}"/>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8" name="Oval 127">
              <a:extLst>
                <a:ext uri="{FF2B5EF4-FFF2-40B4-BE49-F238E27FC236}">
                  <a16:creationId xmlns:a16="http://schemas.microsoft.com/office/drawing/2014/main" id="{3E83366B-BAD9-498F-9F53-0C4502066B0B}"/>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9" name="Rounded Rectangle 116">
              <a:extLst>
                <a:ext uri="{FF2B5EF4-FFF2-40B4-BE49-F238E27FC236}">
                  <a16:creationId xmlns:a16="http://schemas.microsoft.com/office/drawing/2014/main" id="{5AA69545-006F-42EF-AFBB-B06876F92BDF}"/>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30" name="Group 129">
            <a:extLst>
              <a:ext uri="{FF2B5EF4-FFF2-40B4-BE49-F238E27FC236}">
                <a16:creationId xmlns:a16="http://schemas.microsoft.com/office/drawing/2014/main" id="{F859F202-F68C-4BCF-81D3-642023E5B253}"/>
              </a:ext>
            </a:extLst>
          </p:cNvPr>
          <p:cNvGrpSpPr/>
          <p:nvPr/>
        </p:nvGrpSpPr>
        <p:grpSpPr>
          <a:xfrm rot="5400000" flipH="1">
            <a:off x="1858019" y="3640135"/>
            <a:ext cx="90341" cy="294544"/>
            <a:chOff x="666750" y="2236191"/>
            <a:chExt cx="137160" cy="471087"/>
          </a:xfrm>
          <a:effectLst/>
        </p:grpSpPr>
        <p:sp>
          <p:nvSpPr>
            <p:cNvPr id="131" name="Oval 130">
              <a:extLst>
                <a:ext uri="{FF2B5EF4-FFF2-40B4-BE49-F238E27FC236}">
                  <a16:creationId xmlns:a16="http://schemas.microsoft.com/office/drawing/2014/main" id="{65BC0EE3-DA46-4A9F-BEC1-2C8E4D465BB5}"/>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2" name="Oval 131">
              <a:extLst>
                <a:ext uri="{FF2B5EF4-FFF2-40B4-BE49-F238E27FC236}">
                  <a16:creationId xmlns:a16="http://schemas.microsoft.com/office/drawing/2014/main" id="{01FFC4F4-7BE1-4F5E-9A67-84AAF4DE1DB8}"/>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3" name="Rounded Rectangle 113">
              <a:extLst>
                <a:ext uri="{FF2B5EF4-FFF2-40B4-BE49-F238E27FC236}">
                  <a16:creationId xmlns:a16="http://schemas.microsoft.com/office/drawing/2014/main" id="{71FF1F52-8353-40BD-B9B7-C54F627AB9FB}"/>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134" name="Rounded Rectangle 54">
            <a:extLst>
              <a:ext uri="{FF2B5EF4-FFF2-40B4-BE49-F238E27FC236}">
                <a16:creationId xmlns:a16="http://schemas.microsoft.com/office/drawing/2014/main" id="{C551097C-D022-4AFD-B2EA-A2381362FB2C}"/>
              </a:ext>
            </a:extLst>
          </p:cNvPr>
          <p:cNvSpPr/>
          <p:nvPr/>
        </p:nvSpPr>
        <p:spPr>
          <a:xfrm flipH="1">
            <a:off x="2066453" y="1047751"/>
            <a:ext cx="8512989" cy="62392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Mobile Compatibility of all pages both Standard and Custom</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Standard pages: Enable all functionalities of standard pag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ustom pages: Optimize custom pages layout and functionalities so to allow full use of them by users.</a:t>
            </a:r>
          </a:p>
        </p:txBody>
      </p:sp>
      <p:sp>
        <p:nvSpPr>
          <p:cNvPr id="135" name="Rounded Rectangle 54">
            <a:extLst>
              <a:ext uri="{FF2B5EF4-FFF2-40B4-BE49-F238E27FC236}">
                <a16:creationId xmlns:a16="http://schemas.microsoft.com/office/drawing/2014/main" id="{01E80D26-C211-4D51-9544-000506494463}"/>
              </a:ext>
            </a:extLst>
          </p:cNvPr>
          <p:cNvSpPr/>
          <p:nvPr/>
        </p:nvSpPr>
        <p:spPr>
          <a:xfrm flipH="1">
            <a:off x="2041157" y="1790700"/>
            <a:ext cx="8347702" cy="3433476"/>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perform Mobile Compatibility analysis in the discovery phase and will design solution based on inputs. </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identify Custom pages in the design phase that cannot be changed mobile compatibility.</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test the Mobile Compatibility in Tab and Mobile devices with Limited browsers.  </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cannot promise all functionalities of the standard page, the Custom page will be Mobile Compatibility.</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Assuming a maximum of 5 lightning pages. UX change efforts are not factored in this estimate</a:t>
            </a:r>
          </a:p>
          <a:p>
            <a:pPr marL="285750" marR="0" lvl="0" indent="-285750" defTabSz="91440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p:txBody>
      </p:sp>
      <p:sp>
        <p:nvSpPr>
          <p:cNvPr id="136" name="Rectangle 135">
            <a:extLst>
              <a:ext uri="{FF2B5EF4-FFF2-40B4-BE49-F238E27FC236}">
                <a16:creationId xmlns:a16="http://schemas.microsoft.com/office/drawing/2014/main" id="{3876E777-6A3E-4D1E-BA62-EA43AD925289}"/>
              </a:ext>
            </a:extLst>
          </p:cNvPr>
          <p:cNvSpPr/>
          <p:nvPr/>
        </p:nvSpPr>
        <p:spPr>
          <a:xfrm rot="10800000" flipH="1">
            <a:off x="1880951" y="1046965"/>
            <a:ext cx="231261" cy="67867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37" name="Group 136">
            <a:extLst>
              <a:ext uri="{FF2B5EF4-FFF2-40B4-BE49-F238E27FC236}">
                <a16:creationId xmlns:a16="http://schemas.microsoft.com/office/drawing/2014/main" id="{40AC07B1-63E7-4AA7-BB0F-41F4546E605D}"/>
              </a:ext>
            </a:extLst>
          </p:cNvPr>
          <p:cNvGrpSpPr/>
          <p:nvPr/>
        </p:nvGrpSpPr>
        <p:grpSpPr>
          <a:xfrm flipH="1">
            <a:off x="1770562" y="1112349"/>
            <a:ext cx="294545" cy="527565"/>
            <a:chOff x="4144353" y="5853398"/>
            <a:chExt cx="289254" cy="374936"/>
          </a:xfrm>
          <a:effectLst/>
        </p:grpSpPr>
        <p:grpSp>
          <p:nvGrpSpPr>
            <p:cNvPr id="138" name="Group 137">
              <a:extLst>
                <a:ext uri="{FF2B5EF4-FFF2-40B4-BE49-F238E27FC236}">
                  <a16:creationId xmlns:a16="http://schemas.microsoft.com/office/drawing/2014/main" id="{DE632DC0-8C10-4E8D-B02D-E497DBC6110D}"/>
                </a:ext>
              </a:extLst>
            </p:cNvPr>
            <p:cNvGrpSpPr/>
            <p:nvPr/>
          </p:nvGrpSpPr>
          <p:grpSpPr>
            <a:xfrm rot="16200000">
              <a:off x="4246871" y="5750880"/>
              <a:ext cx="84217" cy="289253"/>
              <a:chOff x="666750" y="2236191"/>
              <a:chExt cx="137160" cy="471087"/>
            </a:xfrm>
          </p:grpSpPr>
          <p:sp>
            <p:nvSpPr>
              <p:cNvPr id="143" name="Oval 142">
                <a:extLst>
                  <a:ext uri="{FF2B5EF4-FFF2-40B4-BE49-F238E27FC236}">
                    <a16:creationId xmlns:a16="http://schemas.microsoft.com/office/drawing/2014/main" id="{8EF1C17B-0371-4103-8909-7B5A6F56BCE7}"/>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44" name="Oval 143">
                <a:extLst>
                  <a:ext uri="{FF2B5EF4-FFF2-40B4-BE49-F238E27FC236}">
                    <a16:creationId xmlns:a16="http://schemas.microsoft.com/office/drawing/2014/main" id="{833BD85F-CF47-4FA8-BA53-05932E331B06}"/>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45" name="Rounded Rectangle 116">
                <a:extLst>
                  <a:ext uri="{FF2B5EF4-FFF2-40B4-BE49-F238E27FC236}">
                    <a16:creationId xmlns:a16="http://schemas.microsoft.com/office/drawing/2014/main" id="{BC72D751-C6CA-4BF2-BE74-723DFB7A5CCB}"/>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39" name="Group 138">
              <a:extLst>
                <a:ext uri="{FF2B5EF4-FFF2-40B4-BE49-F238E27FC236}">
                  <a16:creationId xmlns:a16="http://schemas.microsoft.com/office/drawing/2014/main" id="{1C04C2F9-A76A-4CBD-82E9-64D77793136A}"/>
                </a:ext>
              </a:extLst>
            </p:cNvPr>
            <p:cNvGrpSpPr/>
            <p:nvPr/>
          </p:nvGrpSpPr>
          <p:grpSpPr>
            <a:xfrm rot="16200000">
              <a:off x="4246872" y="6041599"/>
              <a:ext cx="84217" cy="289253"/>
              <a:chOff x="666750" y="2236191"/>
              <a:chExt cx="137160" cy="471087"/>
            </a:xfrm>
          </p:grpSpPr>
          <p:sp>
            <p:nvSpPr>
              <p:cNvPr id="140" name="Oval 139">
                <a:extLst>
                  <a:ext uri="{FF2B5EF4-FFF2-40B4-BE49-F238E27FC236}">
                    <a16:creationId xmlns:a16="http://schemas.microsoft.com/office/drawing/2014/main" id="{0A2CD4CB-915A-4020-81EF-00817050B130}"/>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41" name="Oval 140">
                <a:extLst>
                  <a:ext uri="{FF2B5EF4-FFF2-40B4-BE49-F238E27FC236}">
                    <a16:creationId xmlns:a16="http://schemas.microsoft.com/office/drawing/2014/main" id="{3F8304F9-E372-4DA3-9860-F456A2E8FAEE}"/>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42" name="Rounded Rectangle 113">
                <a:extLst>
                  <a:ext uri="{FF2B5EF4-FFF2-40B4-BE49-F238E27FC236}">
                    <a16:creationId xmlns:a16="http://schemas.microsoft.com/office/drawing/2014/main" id="{EE3F01AE-D60A-4612-B4F9-03342575637B}"/>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9573768" y="109728"/>
            <a:ext cx="1828800" cy="612775"/>
          </a:xfrm>
          <a:custGeom>
            <a:avLst/>
            <a:gdLst/>
            <a:ahLst/>
            <a:cxnLst/>
            <a:rect l="l" t="t" r="r" b="b"/>
            <a:pathLst>
              <a:path w="1828800" h="612775">
                <a:moveTo>
                  <a:pt x="1726691" y="0"/>
                </a:moveTo>
                <a:lnTo>
                  <a:pt x="102107" y="0"/>
                </a:lnTo>
                <a:lnTo>
                  <a:pt x="62364" y="8024"/>
                </a:lnTo>
                <a:lnTo>
                  <a:pt x="29908" y="29908"/>
                </a:lnTo>
                <a:lnTo>
                  <a:pt x="8024" y="62364"/>
                </a:lnTo>
                <a:lnTo>
                  <a:pt x="0" y="102107"/>
                </a:lnTo>
                <a:lnTo>
                  <a:pt x="0" y="612648"/>
                </a:lnTo>
                <a:lnTo>
                  <a:pt x="1828800" y="612648"/>
                </a:lnTo>
                <a:lnTo>
                  <a:pt x="1828800" y="102107"/>
                </a:lnTo>
                <a:lnTo>
                  <a:pt x="1820775" y="62364"/>
                </a:lnTo>
                <a:lnTo>
                  <a:pt x="1798891" y="29908"/>
                </a:lnTo>
                <a:lnTo>
                  <a:pt x="1766435" y="8024"/>
                </a:lnTo>
                <a:lnTo>
                  <a:pt x="1726691" y="0"/>
                </a:lnTo>
                <a:close/>
              </a:path>
            </a:pathLst>
          </a:custGeom>
          <a:solidFill>
            <a:srgbClr val="12ABDB"/>
          </a:solidFill>
        </p:spPr>
        <p:txBody>
          <a:bodyPr wrap="square" lIns="0" tIns="0" rIns="0" bIns="0" rtlCol="0"/>
          <a:lstStyle/>
          <a:p>
            <a:endParaRPr/>
          </a:p>
        </p:txBody>
      </p:sp>
      <p:sp>
        <p:nvSpPr>
          <p:cNvPr id="5" name="object 5"/>
          <p:cNvSpPr txBox="1"/>
          <p:nvPr/>
        </p:nvSpPr>
        <p:spPr>
          <a:xfrm>
            <a:off x="9957943" y="257302"/>
            <a:ext cx="1027430" cy="346710"/>
          </a:xfrm>
          <a:prstGeom prst="rect">
            <a:avLst/>
          </a:prstGeom>
        </p:spPr>
        <p:txBody>
          <a:bodyPr vert="horz" wrap="square" lIns="0" tIns="13335" rIns="0" bIns="0" rtlCol="0">
            <a:spAutoFit/>
          </a:bodyPr>
          <a:lstStyle/>
          <a:p>
            <a:pPr marL="12700" marR="5080">
              <a:lnSpc>
                <a:spcPct val="100000"/>
              </a:lnSpc>
              <a:spcBef>
                <a:spcPts val="105"/>
              </a:spcBef>
            </a:pPr>
            <a:r>
              <a:rPr sz="1050" b="1">
                <a:solidFill>
                  <a:srgbClr val="FFFFFF"/>
                </a:solidFill>
                <a:latin typeface="Verdana"/>
                <a:cs typeface="Verdana"/>
              </a:rPr>
              <a:t>Mobile  Compatibil</a:t>
            </a:r>
            <a:r>
              <a:rPr sz="1050" b="1" spc="-5">
                <a:solidFill>
                  <a:srgbClr val="FFFFFF"/>
                </a:solidFill>
                <a:latin typeface="Verdana"/>
                <a:cs typeface="Verdana"/>
              </a:rPr>
              <a:t>i</a:t>
            </a:r>
            <a:r>
              <a:rPr sz="1050" b="1">
                <a:solidFill>
                  <a:srgbClr val="FFFFFF"/>
                </a:solidFill>
                <a:latin typeface="Verdana"/>
                <a:cs typeface="Verdana"/>
              </a:rPr>
              <a:t>ty</a:t>
            </a:r>
            <a:endParaRPr sz="1050">
              <a:latin typeface="Verdana"/>
              <a:cs typeface="Verdana"/>
            </a:endParaRPr>
          </a:p>
        </p:txBody>
      </p:sp>
      <p:sp>
        <p:nvSpPr>
          <p:cNvPr id="6" name="object 6"/>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8" name="object 8"/>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0" name="object 10"/>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9AE0F7"/>
          </a:solidFill>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2" name="object 12"/>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3" name="object 13"/>
          <p:cNvSpPr/>
          <p:nvPr/>
        </p:nvSpPr>
        <p:spPr>
          <a:xfrm>
            <a:off x="9069323" y="79247"/>
            <a:ext cx="97535" cy="252983"/>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9069323" y="79247"/>
            <a:ext cx="97790" cy="253365"/>
          </a:xfrm>
          <a:custGeom>
            <a:avLst/>
            <a:gdLst/>
            <a:ahLst/>
            <a:cxnLst/>
            <a:rect l="l" t="t" r="r" b="b"/>
            <a:pathLst>
              <a:path w="97790" h="253365">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4216"/>
                </a:lnTo>
                <a:lnTo>
                  <a:pt x="93702" y="223194"/>
                </a:lnTo>
                <a:lnTo>
                  <a:pt x="83248" y="238696"/>
                </a:lnTo>
                <a:lnTo>
                  <a:pt x="67746" y="249150"/>
                </a:lnTo>
                <a:lnTo>
                  <a:pt x="48768" y="252983"/>
                </a:lnTo>
                <a:lnTo>
                  <a:pt x="29789" y="249150"/>
                </a:lnTo>
                <a:lnTo>
                  <a:pt x="14287" y="238696"/>
                </a:lnTo>
                <a:lnTo>
                  <a:pt x="3833" y="223194"/>
                </a:lnTo>
                <a:lnTo>
                  <a:pt x="0" y="204216"/>
                </a:lnTo>
                <a:lnTo>
                  <a:pt x="0" y="48768"/>
                </a:lnTo>
                <a:close/>
              </a:path>
            </a:pathLst>
          </a:custGeom>
          <a:ln w="9144">
            <a:solidFill>
              <a:srgbClr val="0D80A3"/>
            </a:solidFill>
          </a:ln>
        </p:spPr>
        <p:txBody>
          <a:bodyPr wrap="square" lIns="0" tIns="0" rIns="0" bIns="0" rtlCol="0"/>
          <a:lstStyle/>
          <a:p>
            <a:endParaRPr/>
          </a:p>
        </p:txBody>
      </p:sp>
      <p:sp>
        <p:nvSpPr>
          <p:cNvPr id="15" name="object 15"/>
          <p:cNvSpPr/>
          <p:nvPr/>
        </p:nvSpPr>
        <p:spPr>
          <a:xfrm>
            <a:off x="9069323" y="440436"/>
            <a:ext cx="97535" cy="252984"/>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9069323" y="440436"/>
            <a:ext cx="97790" cy="253365"/>
          </a:xfrm>
          <a:custGeom>
            <a:avLst/>
            <a:gdLst/>
            <a:ahLst/>
            <a:cxnLst/>
            <a:rect l="l" t="t" r="r" b="b"/>
            <a:pathLst>
              <a:path w="97790" h="253365">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4215"/>
                </a:lnTo>
                <a:lnTo>
                  <a:pt x="93702" y="223194"/>
                </a:lnTo>
                <a:lnTo>
                  <a:pt x="83248" y="238696"/>
                </a:lnTo>
                <a:lnTo>
                  <a:pt x="67746" y="249150"/>
                </a:lnTo>
                <a:lnTo>
                  <a:pt x="48768" y="252984"/>
                </a:lnTo>
                <a:lnTo>
                  <a:pt x="29789" y="249150"/>
                </a:lnTo>
                <a:lnTo>
                  <a:pt x="14287" y="238696"/>
                </a:lnTo>
                <a:lnTo>
                  <a:pt x="3833" y="223194"/>
                </a:lnTo>
                <a:lnTo>
                  <a:pt x="0" y="204215"/>
                </a:lnTo>
                <a:lnTo>
                  <a:pt x="0" y="48767"/>
                </a:lnTo>
                <a:close/>
              </a:path>
            </a:pathLst>
          </a:custGeom>
          <a:ln w="9144">
            <a:solidFill>
              <a:srgbClr val="0D80A3"/>
            </a:solidFill>
          </a:ln>
        </p:spPr>
        <p:txBody>
          <a:bodyPr wrap="square" lIns="0" tIns="0" rIns="0" bIns="0" rtlCol="0"/>
          <a:lstStyle/>
          <a:p>
            <a:endParaRPr/>
          </a:p>
        </p:txBody>
      </p:sp>
      <p:sp>
        <p:nvSpPr>
          <p:cNvPr id="17" name="object 17"/>
          <p:cNvSpPr/>
          <p:nvPr/>
        </p:nvSpPr>
        <p:spPr>
          <a:xfrm>
            <a:off x="8947404" y="137160"/>
            <a:ext cx="495300" cy="498475"/>
          </a:xfrm>
          <a:custGeom>
            <a:avLst/>
            <a:gdLst/>
            <a:ahLst/>
            <a:cxnLst/>
            <a:rect l="l" t="t" r="r" b="b"/>
            <a:pathLst>
              <a:path w="495300" h="498475">
                <a:moveTo>
                  <a:pt x="348869" y="0"/>
                </a:moveTo>
                <a:lnTo>
                  <a:pt x="0" y="0"/>
                </a:lnTo>
                <a:lnTo>
                  <a:pt x="0" y="498348"/>
                </a:lnTo>
                <a:lnTo>
                  <a:pt x="348869" y="498348"/>
                </a:lnTo>
                <a:lnTo>
                  <a:pt x="495300" y="249174"/>
                </a:lnTo>
                <a:lnTo>
                  <a:pt x="348869" y="0"/>
                </a:lnTo>
                <a:close/>
              </a:path>
            </a:pathLst>
          </a:custGeom>
          <a:solidFill>
            <a:srgbClr val="9AE0F7"/>
          </a:solidFill>
        </p:spPr>
        <p:txBody>
          <a:bodyPr wrap="square" lIns="0" tIns="0" rIns="0" bIns="0" rtlCol="0"/>
          <a:lstStyle/>
          <a:p>
            <a:endParaRPr/>
          </a:p>
        </p:txBody>
      </p:sp>
      <p:sp>
        <p:nvSpPr>
          <p:cNvPr id="18" name="object 18"/>
          <p:cNvSpPr/>
          <p:nvPr/>
        </p:nvSpPr>
        <p:spPr>
          <a:xfrm>
            <a:off x="8947404" y="137160"/>
            <a:ext cx="495300" cy="498475"/>
          </a:xfrm>
          <a:custGeom>
            <a:avLst/>
            <a:gdLst/>
            <a:ahLst/>
            <a:cxnLst/>
            <a:rect l="l" t="t" r="r" b="b"/>
            <a:pathLst>
              <a:path w="495300" h="498475">
                <a:moveTo>
                  <a:pt x="0" y="0"/>
                </a:moveTo>
                <a:lnTo>
                  <a:pt x="348869" y="0"/>
                </a:lnTo>
                <a:lnTo>
                  <a:pt x="495300" y="249174"/>
                </a:lnTo>
                <a:lnTo>
                  <a:pt x="348869" y="498348"/>
                </a:lnTo>
                <a:lnTo>
                  <a:pt x="0" y="498348"/>
                </a:lnTo>
                <a:lnTo>
                  <a:pt x="0" y="0"/>
                </a:lnTo>
                <a:close/>
              </a:path>
            </a:pathLst>
          </a:custGeom>
          <a:ln w="9144">
            <a:solidFill>
              <a:srgbClr val="FFFFFF"/>
            </a:solidFill>
          </a:ln>
        </p:spPr>
        <p:txBody>
          <a:bodyPr wrap="square" lIns="0" tIns="0" rIns="0" bIns="0" rtlCol="0"/>
          <a:lstStyle/>
          <a:p>
            <a:endParaRPr/>
          </a:p>
        </p:txBody>
      </p:sp>
      <p:sp>
        <p:nvSpPr>
          <p:cNvPr id="19" name="object 19"/>
          <p:cNvSpPr txBox="1"/>
          <p:nvPr/>
        </p:nvSpPr>
        <p:spPr>
          <a:xfrm>
            <a:off x="9027414" y="31127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0" name="object 20"/>
          <p:cNvSpPr/>
          <p:nvPr/>
        </p:nvSpPr>
        <p:spPr>
          <a:xfrm>
            <a:off x="9596628" y="86868"/>
            <a:ext cx="97536" cy="251459"/>
          </a:xfrm>
          <a:prstGeom prst="rect">
            <a:avLst/>
          </a:prstGeom>
          <a:blipFill>
            <a:blip r:embed="rId5" cstate="print"/>
            <a:stretch>
              <a:fillRect/>
            </a:stretch>
          </a:blipFill>
        </p:spPr>
        <p:txBody>
          <a:bodyPr wrap="square" lIns="0" tIns="0" rIns="0" bIns="0" rtlCol="0"/>
          <a:lstStyle/>
          <a:p>
            <a:endParaRPr/>
          </a:p>
        </p:txBody>
      </p:sp>
      <p:sp>
        <p:nvSpPr>
          <p:cNvPr id="21" name="object 21"/>
          <p:cNvSpPr/>
          <p:nvPr/>
        </p:nvSpPr>
        <p:spPr>
          <a:xfrm>
            <a:off x="9596628" y="86868"/>
            <a:ext cx="97790" cy="251460"/>
          </a:xfrm>
          <a:custGeom>
            <a:avLst/>
            <a:gdLst/>
            <a:ahLst/>
            <a:cxnLst/>
            <a:rect l="l" t="t" r="r" b="b"/>
            <a:pathLst>
              <a:path w="97790" h="251460">
                <a:moveTo>
                  <a:pt x="0" y="48767"/>
                </a:moveTo>
                <a:lnTo>
                  <a:pt x="3833" y="29789"/>
                </a:lnTo>
                <a:lnTo>
                  <a:pt x="14287" y="14287"/>
                </a:lnTo>
                <a:lnTo>
                  <a:pt x="29789" y="3833"/>
                </a:lnTo>
                <a:lnTo>
                  <a:pt x="48768" y="0"/>
                </a:lnTo>
                <a:lnTo>
                  <a:pt x="67746" y="3833"/>
                </a:lnTo>
                <a:lnTo>
                  <a:pt x="83248" y="14287"/>
                </a:lnTo>
                <a:lnTo>
                  <a:pt x="93702" y="29789"/>
                </a:lnTo>
                <a:lnTo>
                  <a:pt x="97536" y="48767"/>
                </a:lnTo>
                <a:lnTo>
                  <a:pt x="97536" y="202691"/>
                </a:lnTo>
                <a:lnTo>
                  <a:pt x="93702" y="221670"/>
                </a:lnTo>
                <a:lnTo>
                  <a:pt x="83248" y="237172"/>
                </a:lnTo>
                <a:lnTo>
                  <a:pt x="67746" y="247626"/>
                </a:lnTo>
                <a:lnTo>
                  <a:pt x="48768"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2" name="object 22"/>
          <p:cNvSpPr/>
          <p:nvPr/>
        </p:nvSpPr>
        <p:spPr>
          <a:xfrm>
            <a:off x="9596628" y="448055"/>
            <a:ext cx="97536" cy="251460"/>
          </a:xfrm>
          <a:prstGeom prst="rect">
            <a:avLst/>
          </a:prstGeom>
          <a:blipFill>
            <a:blip r:embed="rId5" cstate="print"/>
            <a:stretch>
              <a:fillRect/>
            </a:stretch>
          </a:blipFill>
        </p:spPr>
        <p:txBody>
          <a:bodyPr wrap="square" lIns="0" tIns="0" rIns="0" bIns="0" rtlCol="0"/>
          <a:lstStyle/>
          <a:p>
            <a:endParaRPr/>
          </a:p>
        </p:txBody>
      </p:sp>
      <p:sp>
        <p:nvSpPr>
          <p:cNvPr id="23" name="object 23"/>
          <p:cNvSpPr/>
          <p:nvPr/>
        </p:nvSpPr>
        <p:spPr>
          <a:xfrm>
            <a:off x="9596628" y="448055"/>
            <a:ext cx="97790" cy="251460"/>
          </a:xfrm>
          <a:custGeom>
            <a:avLst/>
            <a:gdLst/>
            <a:ahLst/>
            <a:cxnLst/>
            <a:rect l="l" t="t" r="r" b="b"/>
            <a:pathLst>
              <a:path w="97790" h="251459">
                <a:moveTo>
                  <a:pt x="0" y="48768"/>
                </a:moveTo>
                <a:lnTo>
                  <a:pt x="3833" y="29789"/>
                </a:lnTo>
                <a:lnTo>
                  <a:pt x="14287" y="14287"/>
                </a:lnTo>
                <a:lnTo>
                  <a:pt x="29789" y="3833"/>
                </a:lnTo>
                <a:lnTo>
                  <a:pt x="48768" y="0"/>
                </a:lnTo>
                <a:lnTo>
                  <a:pt x="67746" y="3833"/>
                </a:lnTo>
                <a:lnTo>
                  <a:pt x="83248" y="14287"/>
                </a:lnTo>
                <a:lnTo>
                  <a:pt x="93702" y="29789"/>
                </a:lnTo>
                <a:lnTo>
                  <a:pt x="97536" y="48768"/>
                </a:lnTo>
                <a:lnTo>
                  <a:pt x="97536" y="202692"/>
                </a:lnTo>
                <a:lnTo>
                  <a:pt x="93702" y="221670"/>
                </a:lnTo>
                <a:lnTo>
                  <a:pt x="83248" y="237172"/>
                </a:lnTo>
                <a:lnTo>
                  <a:pt x="67746" y="247626"/>
                </a:lnTo>
                <a:lnTo>
                  <a:pt x="48768" y="251460"/>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24" name="object 24"/>
          <p:cNvSpPr/>
          <p:nvPr/>
        </p:nvSpPr>
        <p:spPr>
          <a:xfrm>
            <a:off x="9473183" y="144779"/>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25" name="object 25"/>
          <p:cNvSpPr/>
          <p:nvPr/>
        </p:nvSpPr>
        <p:spPr>
          <a:xfrm>
            <a:off x="9473183" y="144779"/>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26" name="object 26"/>
          <p:cNvSpPr txBox="1"/>
          <p:nvPr/>
        </p:nvSpPr>
        <p:spPr>
          <a:xfrm>
            <a:off x="9554082" y="318007"/>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7" name="object 2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8" name="object 28"/>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4</a:t>
            </a:fld>
            <a:endParaRPr sz="800">
              <a:latin typeface="Verdana"/>
              <a:cs typeface="Verdana"/>
            </a:endParaRPr>
          </a:p>
        </p:txBody>
      </p:sp>
      <p:sp>
        <p:nvSpPr>
          <p:cNvPr id="31" name="Title 1">
            <a:extLst>
              <a:ext uri="{FF2B5EF4-FFF2-40B4-BE49-F238E27FC236}">
                <a16:creationId xmlns:a16="http://schemas.microsoft.com/office/drawing/2014/main" id="{4C7C53D5-143D-41B6-9B4C-A08539323538}"/>
              </a:ext>
            </a:extLst>
          </p:cNvPr>
          <p:cNvSpPr txBox="1">
            <a:spLocks/>
          </p:cNvSpPr>
          <p:nvPr/>
        </p:nvSpPr>
        <p:spPr>
          <a:xfrm>
            <a:off x="219075" y="333374"/>
            <a:ext cx="10841449" cy="771525"/>
          </a:xfrm>
          <a:prstGeom prst="rect">
            <a:avLst/>
          </a:prstGeom>
        </p:spPr>
        <p:txBody>
          <a:bodyPr wrap="square" lIns="0" tIns="0" rIns="0" bIns="0">
            <a:spAutoFit/>
          </a:bodyPr>
          <a:lstStyle>
            <a:lvl1pPr>
              <a:defRPr sz="2400" b="0" i="0">
                <a:solidFill>
                  <a:srgbClr val="006FAC"/>
                </a:solidFill>
                <a:latin typeface="Verdana"/>
                <a:ea typeface="+mj-ea"/>
                <a:cs typeface="Verdana"/>
              </a:defRPr>
            </a:lvl1pPr>
          </a:lstStyle>
          <a:p>
            <a:r>
              <a:rPr lang="en-US" sz="2200" kern="0"/>
              <a:t>Salesforce Customization: What’s Different or </a:t>
            </a:r>
            <a:br>
              <a:rPr lang="en-US" sz="2200" kern="0"/>
            </a:br>
            <a:r>
              <a:rPr lang="en-US" sz="2200" kern="0"/>
              <a:t>Not Available in the Salesforce Mobile App</a:t>
            </a:r>
            <a:br>
              <a:rPr lang="en-US" sz="2200" kern="0">
                <a:solidFill>
                  <a:srgbClr val="000000"/>
                </a:solidFill>
                <a:latin typeface="Calibri" panose="020F0502020204030204" pitchFamily="34" charset="0"/>
              </a:rPr>
            </a:br>
            <a:endParaRPr lang="nl-BE" sz="2200" kern="0"/>
          </a:p>
        </p:txBody>
      </p:sp>
      <p:sp>
        <p:nvSpPr>
          <p:cNvPr id="33" name="Rectangle 32">
            <a:extLst>
              <a:ext uri="{FF2B5EF4-FFF2-40B4-BE49-F238E27FC236}">
                <a16:creationId xmlns:a16="http://schemas.microsoft.com/office/drawing/2014/main" id="{6CA9378D-E092-4CE7-AA24-6CD5F5EE5A82}"/>
              </a:ext>
            </a:extLst>
          </p:cNvPr>
          <p:cNvSpPr/>
          <p:nvPr/>
        </p:nvSpPr>
        <p:spPr>
          <a:xfrm>
            <a:off x="258307" y="1168858"/>
            <a:ext cx="10969621" cy="5047536"/>
          </a:xfrm>
          <a:prstGeom prst="rect">
            <a:avLst/>
          </a:prstGeom>
        </p:spPr>
        <p:txBody>
          <a:bodyPr wrap="square">
            <a:spAutoFit/>
          </a:bodyPr>
          <a:lstStyle/>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The Salesforce mobile app doesn’t support login redirection to other Salesforce apps or custom home tabs like the Salesforce </a:t>
            </a:r>
            <a:r>
              <a:rPr lang="en-US" sz="1400" kern="0" err="1">
                <a:solidFill>
                  <a:prstClr val="black"/>
                </a:solidFill>
                <a:latin typeface="Verdana"/>
              </a:rPr>
              <a:t>Decktop</a:t>
            </a:r>
            <a:r>
              <a:rPr lang="en-US" sz="1400" kern="0">
                <a:solidFill>
                  <a:prstClr val="black"/>
                </a:solidFill>
                <a:latin typeface="Verdana"/>
              </a:rPr>
              <a:t> site does.</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Custom buttons are added to the Button section of a page layout and that define the content source as URL or Visualforce are supported in the Salesforce mobile app. Remember that Visualforce pages must be enabled for use in the Salesforce mobile app.</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Custom links, custom buttons that are added to list views, and custom buttons that define the content source as OnClick JavaScript aren’t available in the Salesforce mobile app.</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Using URL custom buttons to pass parameters to standard pages in Salesforce Classic—such as pre-populating fields when creating a record—doesn’t work in the Salesforce mobile app.</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Changes that you make to Lightning record page assignments aren’t immediately reflected in the Salesforce mobile app. To see a newly assigned record page, please close and restart the Salesforce mobile app.</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Custom images used for action icons must be less than 1 MB in size.</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The Help Menu isn’t supported in the Salesforce mobile app.</a:t>
            </a:r>
          </a:p>
          <a:p>
            <a:pPr marL="285750" indent="-285750" algn="just">
              <a:buFont typeface="Arial" panose="020B0604020202020204" pitchFamily="34" charset="0"/>
              <a:buChar char="•"/>
            </a:pPr>
            <a:endParaRPr lang="en-US" sz="1400" kern="0">
              <a:solidFill>
                <a:prstClr val="black"/>
              </a:solidFill>
              <a:latin typeface="Verdana"/>
            </a:endParaRPr>
          </a:p>
          <a:p>
            <a:pPr marL="285750" indent="-285750" algn="just">
              <a:buFont typeface="Arial" panose="020B0604020202020204" pitchFamily="34" charset="0"/>
              <a:buChar char="•"/>
            </a:pPr>
            <a:r>
              <a:rPr lang="en-US" sz="1400" kern="0">
                <a:solidFill>
                  <a:prstClr val="black"/>
                </a:solidFill>
                <a:latin typeface="Verdana"/>
              </a:rPr>
              <a:t>In-App Guidance isn’t supported in the Salesforce mobile app.</a:t>
            </a:r>
          </a:p>
          <a:p>
            <a:pPr marL="285750" indent="-285750" algn="just">
              <a:buFont typeface="Arial" panose="020B0604020202020204" pitchFamily="34" charset="0"/>
              <a:buChar char="•"/>
            </a:pPr>
            <a:endParaRPr lang="en-US" sz="1400" kern="0">
              <a:solidFill>
                <a:prstClr val="black"/>
              </a:solidFill>
              <a:latin typeface="Verdana"/>
            </a:endParaRPr>
          </a:p>
        </p:txBody>
      </p:sp>
      <p:grpSp>
        <p:nvGrpSpPr>
          <p:cNvPr id="34" name="Groupe 13">
            <a:extLst>
              <a:ext uri="{FF2B5EF4-FFF2-40B4-BE49-F238E27FC236}">
                <a16:creationId xmlns:a16="http://schemas.microsoft.com/office/drawing/2014/main" id="{02EE5734-D3E2-47D6-B442-F5D509752112}"/>
              </a:ext>
            </a:extLst>
          </p:cNvPr>
          <p:cNvGrpSpPr/>
          <p:nvPr/>
        </p:nvGrpSpPr>
        <p:grpSpPr>
          <a:xfrm flipH="1">
            <a:off x="9919445" y="4733924"/>
            <a:ext cx="1939471" cy="1670421"/>
            <a:chOff x="4392209" y="3488792"/>
            <a:chExt cx="2441403" cy="2411777"/>
          </a:xfrm>
        </p:grpSpPr>
        <p:grpSp>
          <p:nvGrpSpPr>
            <p:cNvPr id="35" name="Groupe 321">
              <a:extLst>
                <a:ext uri="{FF2B5EF4-FFF2-40B4-BE49-F238E27FC236}">
                  <a16:creationId xmlns:a16="http://schemas.microsoft.com/office/drawing/2014/main" id="{10D07299-E56A-4E92-8FE5-2D3EB40B35D3}"/>
                </a:ext>
              </a:extLst>
            </p:cNvPr>
            <p:cNvGrpSpPr/>
            <p:nvPr/>
          </p:nvGrpSpPr>
          <p:grpSpPr>
            <a:xfrm>
              <a:off x="4889892" y="4520934"/>
              <a:ext cx="739033" cy="1295745"/>
              <a:chOff x="2936912" y="5034553"/>
              <a:chExt cx="778894" cy="1365634"/>
            </a:xfrm>
          </p:grpSpPr>
          <p:sp>
            <p:nvSpPr>
              <p:cNvPr id="58" name="Freeform 1335">
                <a:extLst>
                  <a:ext uri="{FF2B5EF4-FFF2-40B4-BE49-F238E27FC236}">
                    <a16:creationId xmlns:a16="http://schemas.microsoft.com/office/drawing/2014/main" id="{7B866A8A-F203-46BD-83EC-5FA0A438AB9E}"/>
                  </a:ext>
                </a:extLst>
              </p:cNvPr>
              <p:cNvSpPr>
                <a:spLocks/>
              </p:cNvSpPr>
              <p:nvPr/>
            </p:nvSpPr>
            <p:spPr bwMode="auto">
              <a:xfrm>
                <a:off x="3142787" y="5432576"/>
                <a:ext cx="573019" cy="75487"/>
              </a:xfrm>
              <a:custGeom>
                <a:avLst/>
                <a:gdLst>
                  <a:gd name="T0" fmla="*/ 144 w 144"/>
                  <a:gd name="T1" fmla="*/ 10 h 19"/>
                  <a:gd name="T2" fmla="*/ 134 w 144"/>
                  <a:gd name="T3" fmla="*/ 19 h 19"/>
                  <a:gd name="T4" fmla="*/ 9 w 144"/>
                  <a:gd name="T5" fmla="*/ 19 h 19"/>
                  <a:gd name="T6" fmla="*/ 0 w 144"/>
                  <a:gd name="T7" fmla="*/ 10 h 19"/>
                  <a:gd name="T8" fmla="*/ 9 w 144"/>
                  <a:gd name="T9" fmla="*/ 0 h 19"/>
                  <a:gd name="T10" fmla="*/ 134 w 144"/>
                  <a:gd name="T11" fmla="*/ 0 h 19"/>
                  <a:gd name="T12" fmla="*/ 144 w 144"/>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144" h="19">
                    <a:moveTo>
                      <a:pt x="144" y="10"/>
                    </a:moveTo>
                    <a:cubicBezTo>
                      <a:pt x="144" y="15"/>
                      <a:pt x="139" y="19"/>
                      <a:pt x="134" y="19"/>
                    </a:cubicBezTo>
                    <a:cubicBezTo>
                      <a:pt x="9" y="19"/>
                      <a:pt x="9" y="19"/>
                      <a:pt x="9" y="19"/>
                    </a:cubicBezTo>
                    <a:cubicBezTo>
                      <a:pt x="4" y="19"/>
                      <a:pt x="0" y="15"/>
                      <a:pt x="0" y="10"/>
                    </a:cubicBezTo>
                    <a:cubicBezTo>
                      <a:pt x="0" y="5"/>
                      <a:pt x="4" y="0"/>
                      <a:pt x="9" y="0"/>
                    </a:cubicBezTo>
                    <a:cubicBezTo>
                      <a:pt x="134" y="0"/>
                      <a:pt x="134" y="0"/>
                      <a:pt x="134" y="0"/>
                    </a:cubicBezTo>
                    <a:cubicBezTo>
                      <a:pt x="139" y="0"/>
                      <a:pt x="144" y="5"/>
                      <a:pt x="144" y="10"/>
                    </a:cubicBezTo>
                  </a:path>
                </a:pathLst>
              </a:custGeom>
              <a:solidFill>
                <a:srgbClr val="047D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9" name="Rectangle 1384">
                <a:extLst>
                  <a:ext uri="{FF2B5EF4-FFF2-40B4-BE49-F238E27FC236}">
                    <a16:creationId xmlns:a16="http://schemas.microsoft.com/office/drawing/2014/main" id="{5A456EDE-E3A7-427E-A3A4-C256E3258DBC}"/>
                  </a:ext>
                </a:extLst>
              </p:cNvPr>
              <p:cNvSpPr>
                <a:spLocks noChangeArrowheads="1"/>
              </p:cNvSpPr>
              <p:nvPr/>
            </p:nvSpPr>
            <p:spPr bwMode="auto">
              <a:xfrm>
                <a:off x="3228567" y="6009024"/>
                <a:ext cx="308811" cy="20587"/>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60" name="Rectangle 1385">
                <a:extLst>
                  <a:ext uri="{FF2B5EF4-FFF2-40B4-BE49-F238E27FC236}">
                    <a16:creationId xmlns:a16="http://schemas.microsoft.com/office/drawing/2014/main" id="{13CBA720-D894-4624-8D4A-E63B98F247BE}"/>
                  </a:ext>
                </a:extLst>
              </p:cNvPr>
              <p:cNvSpPr>
                <a:spLocks noChangeArrowheads="1"/>
              </p:cNvSpPr>
              <p:nvPr/>
            </p:nvSpPr>
            <p:spPr bwMode="auto">
              <a:xfrm>
                <a:off x="3348662" y="5514925"/>
                <a:ext cx="65194" cy="813204"/>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61" name="Freeform 1386">
                <a:extLst>
                  <a:ext uri="{FF2B5EF4-FFF2-40B4-BE49-F238E27FC236}">
                    <a16:creationId xmlns:a16="http://schemas.microsoft.com/office/drawing/2014/main" id="{0E042DFA-28A0-4719-8D11-3DE3E179D35D}"/>
                  </a:ext>
                </a:extLst>
              </p:cNvPr>
              <p:cNvSpPr>
                <a:spLocks/>
              </p:cNvSpPr>
              <p:nvPr/>
            </p:nvSpPr>
            <p:spPr bwMode="auto">
              <a:xfrm>
                <a:off x="3379542" y="6359011"/>
                <a:ext cx="257344" cy="41176"/>
              </a:xfrm>
              <a:custGeom>
                <a:avLst/>
                <a:gdLst>
                  <a:gd name="T0" fmla="*/ 75 w 75"/>
                  <a:gd name="T1" fmla="*/ 12 h 12"/>
                  <a:gd name="T2" fmla="*/ 0 w 75"/>
                  <a:gd name="T3" fmla="*/ 12 h 12"/>
                  <a:gd name="T4" fmla="*/ 0 w 75"/>
                  <a:gd name="T5" fmla="*/ 0 h 12"/>
                  <a:gd name="T6" fmla="*/ 75 w 75"/>
                  <a:gd name="T7" fmla="*/ 4 h 12"/>
                  <a:gd name="T8" fmla="*/ 75 w 75"/>
                  <a:gd name="T9" fmla="*/ 12 h 12"/>
                </a:gdLst>
                <a:ahLst/>
                <a:cxnLst>
                  <a:cxn ang="0">
                    <a:pos x="T0" y="T1"/>
                  </a:cxn>
                  <a:cxn ang="0">
                    <a:pos x="T2" y="T3"/>
                  </a:cxn>
                  <a:cxn ang="0">
                    <a:pos x="T4" y="T5"/>
                  </a:cxn>
                  <a:cxn ang="0">
                    <a:pos x="T6" y="T7"/>
                  </a:cxn>
                  <a:cxn ang="0">
                    <a:pos x="T8" y="T9"/>
                  </a:cxn>
                </a:cxnLst>
                <a:rect l="0" t="0" r="r" b="b"/>
                <a:pathLst>
                  <a:path w="75" h="12">
                    <a:moveTo>
                      <a:pt x="75" y="12"/>
                    </a:moveTo>
                    <a:lnTo>
                      <a:pt x="0" y="12"/>
                    </a:lnTo>
                    <a:lnTo>
                      <a:pt x="0" y="0"/>
                    </a:lnTo>
                    <a:lnTo>
                      <a:pt x="75" y="4"/>
                    </a:lnTo>
                    <a:lnTo>
                      <a:pt x="75" y="12"/>
                    </a:ln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62" name="Freeform 1387">
                <a:extLst>
                  <a:ext uri="{FF2B5EF4-FFF2-40B4-BE49-F238E27FC236}">
                    <a16:creationId xmlns:a16="http://schemas.microsoft.com/office/drawing/2014/main" id="{048B171D-83B3-4746-BA7B-6EA79198B700}"/>
                  </a:ext>
                </a:extLst>
              </p:cNvPr>
              <p:cNvSpPr>
                <a:spLocks/>
              </p:cNvSpPr>
              <p:nvPr/>
            </p:nvSpPr>
            <p:spPr bwMode="auto">
              <a:xfrm>
                <a:off x="3129062" y="6359011"/>
                <a:ext cx="253912" cy="41176"/>
              </a:xfrm>
              <a:custGeom>
                <a:avLst/>
                <a:gdLst>
                  <a:gd name="T0" fmla="*/ 0 w 74"/>
                  <a:gd name="T1" fmla="*/ 12 h 12"/>
                  <a:gd name="T2" fmla="*/ 74 w 74"/>
                  <a:gd name="T3" fmla="*/ 12 h 12"/>
                  <a:gd name="T4" fmla="*/ 74 w 74"/>
                  <a:gd name="T5" fmla="*/ 0 h 12"/>
                  <a:gd name="T6" fmla="*/ 0 w 74"/>
                  <a:gd name="T7" fmla="*/ 4 h 12"/>
                  <a:gd name="T8" fmla="*/ 0 w 74"/>
                  <a:gd name="T9" fmla="*/ 12 h 12"/>
                </a:gdLst>
                <a:ahLst/>
                <a:cxnLst>
                  <a:cxn ang="0">
                    <a:pos x="T0" y="T1"/>
                  </a:cxn>
                  <a:cxn ang="0">
                    <a:pos x="T2" y="T3"/>
                  </a:cxn>
                  <a:cxn ang="0">
                    <a:pos x="T4" y="T5"/>
                  </a:cxn>
                  <a:cxn ang="0">
                    <a:pos x="T6" y="T7"/>
                  </a:cxn>
                  <a:cxn ang="0">
                    <a:pos x="T8" y="T9"/>
                  </a:cxn>
                </a:cxnLst>
                <a:rect l="0" t="0" r="r" b="b"/>
                <a:pathLst>
                  <a:path w="74" h="12">
                    <a:moveTo>
                      <a:pt x="0" y="12"/>
                    </a:moveTo>
                    <a:lnTo>
                      <a:pt x="74" y="12"/>
                    </a:lnTo>
                    <a:lnTo>
                      <a:pt x="74" y="0"/>
                    </a:lnTo>
                    <a:lnTo>
                      <a:pt x="0" y="4"/>
                    </a:lnTo>
                    <a:lnTo>
                      <a:pt x="0" y="12"/>
                    </a:ln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63" name="Freeform 1389">
                <a:extLst>
                  <a:ext uri="{FF2B5EF4-FFF2-40B4-BE49-F238E27FC236}">
                    <a16:creationId xmlns:a16="http://schemas.microsoft.com/office/drawing/2014/main" id="{29E57738-876B-46F7-B247-9840D40A59A4}"/>
                  </a:ext>
                </a:extLst>
              </p:cNvPr>
              <p:cNvSpPr>
                <a:spLocks/>
              </p:cNvSpPr>
              <p:nvPr/>
            </p:nvSpPr>
            <p:spPr bwMode="auto">
              <a:xfrm>
                <a:off x="3108476" y="5494338"/>
                <a:ext cx="542136" cy="37742"/>
              </a:xfrm>
              <a:custGeom>
                <a:avLst/>
                <a:gdLst>
                  <a:gd name="T0" fmla="*/ 136 w 136"/>
                  <a:gd name="T1" fmla="*/ 5 h 9"/>
                  <a:gd name="T2" fmla="*/ 132 w 136"/>
                  <a:gd name="T3" fmla="*/ 9 h 9"/>
                  <a:gd name="T4" fmla="*/ 4 w 136"/>
                  <a:gd name="T5" fmla="*/ 9 h 9"/>
                  <a:gd name="T6" fmla="*/ 0 w 136"/>
                  <a:gd name="T7" fmla="*/ 5 h 9"/>
                  <a:gd name="T8" fmla="*/ 4 w 136"/>
                  <a:gd name="T9" fmla="*/ 0 h 9"/>
                  <a:gd name="T10" fmla="*/ 132 w 136"/>
                  <a:gd name="T11" fmla="*/ 0 h 9"/>
                  <a:gd name="T12" fmla="*/ 136 w 136"/>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136" h="9">
                    <a:moveTo>
                      <a:pt x="136" y="5"/>
                    </a:moveTo>
                    <a:cubicBezTo>
                      <a:pt x="136" y="7"/>
                      <a:pt x="134" y="9"/>
                      <a:pt x="132" y="9"/>
                    </a:cubicBezTo>
                    <a:cubicBezTo>
                      <a:pt x="4" y="9"/>
                      <a:pt x="4" y="9"/>
                      <a:pt x="4" y="9"/>
                    </a:cubicBezTo>
                    <a:cubicBezTo>
                      <a:pt x="2" y="9"/>
                      <a:pt x="0" y="7"/>
                      <a:pt x="0" y="5"/>
                    </a:cubicBezTo>
                    <a:cubicBezTo>
                      <a:pt x="0" y="2"/>
                      <a:pt x="2" y="0"/>
                      <a:pt x="4" y="0"/>
                    </a:cubicBezTo>
                    <a:cubicBezTo>
                      <a:pt x="132" y="0"/>
                      <a:pt x="132" y="0"/>
                      <a:pt x="132" y="0"/>
                    </a:cubicBezTo>
                    <a:cubicBezTo>
                      <a:pt x="134" y="0"/>
                      <a:pt x="136" y="2"/>
                      <a:pt x="136" y="5"/>
                    </a:cubicBezTo>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64" name="Freeform 1390">
                <a:extLst>
                  <a:ext uri="{FF2B5EF4-FFF2-40B4-BE49-F238E27FC236}">
                    <a16:creationId xmlns:a16="http://schemas.microsoft.com/office/drawing/2014/main" id="{B7F1528D-7D93-4057-A26F-2C9B3665965F}"/>
                  </a:ext>
                </a:extLst>
              </p:cNvPr>
              <p:cNvSpPr>
                <a:spLocks/>
              </p:cNvSpPr>
              <p:nvPr/>
            </p:nvSpPr>
            <p:spPr bwMode="auto">
              <a:xfrm>
                <a:off x="2936912" y="5034553"/>
                <a:ext cx="219599" cy="476942"/>
              </a:xfrm>
              <a:custGeom>
                <a:avLst/>
                <a:gdLst>
                  <a:gd name="T0" fmla="*/ 48 w 55"/>
                  <a:gd name="T1" fmla="*/ 117 h 119"/>
                  <a:gd name="T2" fmla="*/ 36 w 55"/>
                  <a:gd name="T3" fmla="*/ 111 h 119"/>
                  <a:gd name="T4" fmla="*/ 2 w 55"/>
                  <a:gd name="T5" fmla="*/ 14 h 119"/>
                  <a:gd name="T6" fmla="*/ 8 w 55"/>
                  <a:gd name="T7" fmla="*/ 2 h 119"/>
                  <a:gd name="T8" fmla="*/ 20 w 55"/>
                  <a:gd name="T9" fmla="*/ 8 h 119"/>
                  <a:gd name="T10" fmla="*/ 54 w 55"/>
                  <a:gd name="T11" fmla="*/ 105 h 119"/>
                  <a:gd name="T12" fmla="*/ 48 w 55"/>
                  <a:gd name="T13" fmla="*/ 117 h 119"/>
                </a:gdLst>
                <a:ahLst/>
                <a:cxnLst>
                  <a:cxn ang="0">
                    <a:pos x="T0" y="T1"/>
                  </a:cxn>
                  <a:cxn ang="0">
                    <a:pos x="T2" y="T3"/>
                  </a:cxn>
                  <a:cxn ang="0">
                    <a:pos x="T4" y="T5"/>
                  </a:cxn>
                  <a:cxn ang="0">
                    <a:pos x="T6" y="T7"/>
                  </a:cxn>
                  <a:cxn ang="0">
                    <a:pos x="T8" y="T9"/>
                  </a:cxn>
                  <a:cxn ang="0">
                    <a:pos x="T10" y="T11"/>
                  </a:cxn>
                  <a:cxn ang="0">
                    <a:pos x="T12" y="T13"/>
                  </a:cxn>
                </a:cxnLst>
                <a:rect l="0" t="0" r="r" b="b"/>
                <a:pathLst>
                  <a:path w="55" h="119">
                    <a:moveTo>
                      <a:pt x="48" y="117"/>
                    </a:moveTo>
                    <a:cubicBezTo>
                      <a:pt x="43" y="119"/>
                      <a:pt x="37" y="116"/>
                      <a:pt x="36" y="111"/>
                    </a:cubicBezTo>
                    <a:cubicBezTo>
                      <a:pt x="2" y="14"/>
                      <a:pt x="2" y="14"/>
                      <a:pt x="2" y="14"/>
                    </a:cubicBezTo>
                    <a:cubicBezTo>
                      <a:pt x="0" y="9"/>
                      <a:pt x="3" y="4"/>
                      <a:pt x="8" y="2"/>
                    </a:cubicBezTo>
                    <a:cubicBezTo>
                      <a:pt x="13" y="0"/>
                      <a:pt x="18" y="3"/>
                      <a:pt x="20" y="8"/>
                    </a:cubicBezTo>
                    <a:cubicBezTo>
                      <a:pt x="54" y="105"/>
                      <a:pt x="54" y="105"/>
                      <a:pt x="54" y="105"/>
                    </a:cubicBezTo>
                    <a:cubicBezTo>
                      <a:pt x="55" y="110"/>
                      <a:pt x="53" y="115"/>
                      <a:pt x="48" y="117"/>
                    </a:cubicBezTo>
                  </a:path>
                </a:pathLst>
              </a:custGeom>
              <a:solidFill>
                <a:srgbClr val="05B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65" name="Freeform 1391">
                <a:extLst>
                  <a:ext uri="{FF2B5EF4-FFF2-40B4-BE49-F238E27FC236}">
                    <a16:creationId xmlns:a16="http://schemas.microsoft.com/office/drawing/2014/main" id="{710AB55F-7786-447D-B10B-1A2169D053E8}"/>
                  </a:ext>
                </a:extLst>
              </p:cNvPr>
              <p:cNvSpPr>
                <a:spLocks/>
              </p:cNvSpPr>
              <p:nvPr/>
            </p:nvSpPr>
            <p:spPr bwMode="auto">
              <a:xfrm>
                <a:off x="3070730" y="5271308"/>
                <a:ext cx="531843" cy="236756"/>
              </a:xfrm>
              <a:custGeom>
                <a:avLst/>
                <a:gdLst>
                  <a:gd name="T0" fmla="*/ 134 w 134"/>
                  <a:gd name="T1" fmla="*/ 48 h 59"/>
                  <a:gd name="T2" fmla="*/ 134 w 134"/>
                  <a:gd name="T3" fmla="*/ 48 h 59"/>
                  <a:gd name="T4" fmla="*/ 87 w 134"/>
                  <a:gd name="T5" fmla="*/ 0 h 59"/>
                  <a:gd name="T6" fmla="*/ 86 w 134"/>
                  <a:gd name="T7" fmla="*/ 0 h 59"/>
                  <a:gd name="T8" fmla="*/ 0 w 134"/>
                  <a:gd name="T9" fmla="*/ 0 h 59"/>
                  <a:gd name="T10" fmla="*/ 15 w 134"/>
                  <a:gd name="T11" fmla="*/ 40 h 59"/>
                  <a:gd name="T12" fmla="*/ 12 w 134"/>
                  <a:gd name="T13" fmla="*/ 40 h 59"/>
                  <a:gd name="T14" fmla="*/ 3 w 134"/>
                  <a:gd name="T15" fmla="*/ 50 h 59"/>
                  <a:gd name="T16" fmla="*/ 12 w 134"/>
                  <a:gd name="T17" fmla="*/ 59 h 59"/>
                  <a:gd name="T18" fmla="*/ 125 w 134"/>
                  <a:gd name="T19" fmla="*/ 59 h 59"/>
                  <a:gd name="T20" fmla="*/ 134 w 134"/>
                  <a:gd name="T21" fmla="*/ 50 h 59"/>
                  <a:gd name="T22" fmla="*/ 134 w 134"/>
                  <a:gd name="T23"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4" h="59">
                    <a:moveTo>
                      <a:pt x="134" y="48"/>
                    </a:moveTo>
                    <a:cubicBezTo>
                      <a:pt x="134" y="48"/>
                      <a:pt x="134" y="48"/>
                      <a:pt x="134" y="48"/>
                    </a:cubicBezTo>
                    <a:cubicBezTo>
                      <a:pt x="134" y="22"/>
                      <a:pt x="113" y="0"/>
                      <a:pt x="87" y="0"/>
                    </a:cubicBezTo>
                    <a:cubicBezTo>
                      <a:pt x="86" y="0"/>
                      <a:pt x="86" y="0"/>
                      <a:pt x="86" y="0"/>
                    </a:cubicBezTo>
                    <a:cubicBezTo>
                      <a:pt x="0" y="0"/>
                      <a:pt x="0" y="0"/>
                      <a:pt x="0" y="0"/>
                    </a:cubicBezTo>
                    <a:cubicBezTo>
                      <a:pt x="15" y="40"/>
                      <a:pt x="15" y="40"/>
                      <a:pt x="15" y="40"/>
                    </a:cubicBezTo>
                    <a:cubicBezTo>
                      <a:pt x="12" y="40"/>
                      <a:pt x="12" y="40"/>
                      <a:pt x="12" y="40"/>
                    </a:cubicBezTo>
                    <a:cubicBezTo>
                      <a:pt x="7" y="40"/>
                      <a:pt x="3" y="45"/>
                      <a:pt x="3" y="50"/>
                    </a:cubicBezTo>
                    <a:cubicBezTo>
                      <a:pt x="3" y="55"/>
                      <a:pt x="7" y="59"/>
                      <a:pt x="12" y="59"/>
                    </a:cubicBezTo>
                    <a:cubicBezTo>
                      <a:pt x="125" y="59"/>
                      <a:pt x="125" y="59"/>
                      <a:pt x="125" y="59"/>
                    </a:cubicBezTo>
                    <a:cubicBezTo>
                      <a:pt x="130" y="59"/>
                      <a:pt x="134" y="55"/>
                      <a:pt x="134" y="50"/>
                    </a:cubicBezTo>
                    <a:cubicBezTo>
                      <a:pt x="134" y="49"/>
                      <a:pt x="134" y="49"/>
                      <a:pt x="134" y="48"/>
                    </a:cubicBezTo>
                  </a:path>
                </a:pathLst>
              </a:custGeom>
              <a:solidFill>
                <a:srgbClr val="05B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grpSp>
        <p:sp>
          <p:nvSpPr>
            <p:cNvPr id="36" name="Freeform 965">
              <a:extLst>
                <a:ext uri="{FF2B5EF4-FFF2-40B4-BE49-F238E27FC236}">
                  <a16:creationId xmlns:a16="http://schemas.microsoft.com/office/drawing/2014/main" id="{A4D43672-9A92-4555-BB36-3C5B0E4379E6}"/>
                </a:ext>
              </a:extLst>
            </p:cNvPr>
            <p:cNvSpPr>
              <a:spLocks/>
            </p:cNvSpPr>
            <p:nvPr/>
          </p:nvSpPr>
          <p:spPr bwMode="auto">
            <a:xfrm>
              <a:off x="5633651" y="5586503"/>
              <a:ext cx="281474" cy="251844"/>
            </a:xfrm>
            <a:custGeom>
              <a:avLst/>
              <a:gdLst>
                <a:gd name="T0" fmla="*/ 29 w 82"/>
                <a:gd name="T1" fmla="*/ 9 h 73"/>
                <a:gd name="T2" fmla="*/ 73 w 82"/>
                <a:gd name="T3" fmla="*/ 73 h 73"/>
                <a:gd name="T4" fmla="*/ 7 w 82"/>
                <a:gd name="T5" fmla="*/ 28 h 73"/>
                <a:gd name="T6" fmla="*/ 9 w 82"/>
                <a:gd name="T7" fmla="*/ 0 h 73"/>
                <a:gd name="T8" fmla="*/ 29 w 82"/>
                <a:gd name="T9" fmla="*/ 9 h 73"/>
              </a:gdLst>
              <a:ahLst/>
              <a:cxnLst>
                <a:cxn ang="0">
                  <a:pos x="T0" y="T1"/>
                </a:cxn>
                <a:cxn ang="0">
                  <a:pos x="T2" y="T3"/>
                </a:cxn>
                <a:cxn ang="0">
                  <a:pos x="T4" y="T5"/>
                </a:cxn>
                <a:cxn ang="0">
                  <a:pos x="T6" y="T7"/>
                </a:cxn>
                <a:cxn ang="0">
                  <a:pos x="T8" y="T9"/>
                </a:cxn>
              </a:cxnLst>
              <a:rect l="0" t="0" r="r" b="b"/>
              <a:pathLst>
                <a:path w="82" h="73">
                  <a:moveTo>
                    <a:pt x="29" y="9"/>
                  </a:moveTo>
                  <a:cubicBezTo>
                    <a:pt x="29" y="9"/>
                    <a:pt x="82" y="47"/>
                    <a:pt x="73" y="73"/>
                  </a:cubicBezTo>
                  <a:cubicBezTo>
                    <a:pt x="73" y="73"/>
                    <a:pt x="14" y="48"/>
                    <a:pt x="7" y="28"/>
                  </a:cubicBezTo>
                  <a:cubicBezTo>
                    <a:pt x="0" y="8"/>
                    <a:pt x="9" y="0"/>
                    <a:pt x="9" y="0"/>
                  </a:cubicBezTo>
                  <a:lnTo>
                    <a:pt x="29" y="9"/>
                  </a:lnTo>
                  <a:close/>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37" name="Freeform 966">
              <a:extLst>
                <a:ext uri="{FF2B5EF4-FFF2-40B4-BE49-F238E27FC236}">
                  <a16:creationId xmlns:a16="http://schemas.microsoft.com/office/drawing/2014/main" id="{2D7EA7FA-F16A-4924-9140-53DD16955B20}"/>
                </a:ext>
              </a:extLst>
            </p:cNvPr>
            <p:cNvSpPr>
              <a:spLocks/>
            </p:cNvSpPr>
            <p:nvPr/>
          </p:nvSpPr>
          <p:spPr bwMode="auto">
            <a:xfrm>
              <a:off x="5672169" y="5506504"/>
              <a:ext cx="112589" cy="136291"/>
            </a:xfrm>
            <a:custGeom>
              <a:avLst/>
              <a:gdLst>
                <a:gd name="T0" fmla="*/ 10 w 33"/>
                <a:gd name="T1" fmla="*/ 0 h 39"/>
                <a:gd name="T2" fmla="*/ 1 w 33"/>
                <a:gd name="T3" fmla="*/ 25 h 39"/>
                <a:gd name="T4" fmla="*/ 4 w 33"/>
                <a:gd name="T5" fmla="*/ 35 h 39"/>
                <a:gd name="T6" fmla="*/ 12 w 33"/>
                <a:gd name="T7" fmla="*/ 38 h 39"/>
                <a:gd name="T8" fmla="*/ 23 w 33"/>
                <a:gd name="T9" fmla="*/ 33 h 39"/>
                <a:gd name="T10" fmla="*/ 33 w 33"/>
                <a:gd name="T11" fmla="*/ 13 h 39"/>
                <a:gd name="T12" fmla="*/ 10 w 33"/>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33" h="39">
                  <a:moveTo>
                    <a:pt x="10" y="0"/>
                  </a:moveTo>
                  <a:cubicBezTo>
                    <a:pt x="1" y="25"/>
                    <a:pt x="1" y="25"/>
                    <a:pt x="1" y="25"/>
                  </a:cubicBezTo>
                  <a:cubicBezTo>
                    <a:pt x="0" y="29"/>
                    <a:pt x="1" y="33"/>
                    <a:pt x="4" y="35"/>
                  </a:cubicBezTo>
                  <a:cubicBezTo>
                    <a:pt x="6" y="36"/>
                    <a:pt x="8" y="37"/>
                    <a:pt x="12" y="38"/>
                  </a:cubicBezTo>
                  <a:cubicBezTo>
                    <a:pt x="16" y="39"/>
                    <a:pt x="21" y="37"/>
                    <a:pt x="23" y="33"/>
                  </a:cubicBezTo>
                  <a:cubicBezTo>
                    <a:pt x="33" y="13"/>
                    <a:pt x="33" y="13"/>
                    <a:pt x="33" y="13"/>
                  </a:cubicBezTo>
                  <a:lnTo>
                    <a:pt x="10" y="0"/>
                  </a:lnTo>
                  <a:close/>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38" name="Freeform 967">
              <a:extLst>
                <a:ext uri="{FF2B5EF4-FFF2-40B4-BE49-F238E27FC236}">
                  <a16:creationId xmlns:a16="http://schemas.microsoft.com/office/drawing/2014/main" id="{C047C924-584B-45B5-BC0E-05897AF36BE2}"/>
                </a:ext>
              </a:extLst>
            </p:cNvPr>
            <p:cNvSpPr>
              <a:spLocks/>
            </p:cNvSpPr>
            <p:nvPr/>
          </p:nvSpPr>
          <p:spPr bwMode="auto">
            <a:xfrm>
              <a:off x="5334401" y="4724308"/>
              <a:ext cx="779235" cy="841455"/>
            </a:xfrm>
            <a:custGeom>
              <a:avLst/>
              <a:gdLst>
                <a:gd name="T0" fmla="*/ 23 w 226"/>
                <a:gd name="T1" fmla="*/ 0 h 244"/>
                <a:gd name="T2" fmla="*/ 179 w 226"/>
                <a:gd name="T3" fmla="*/ 62 h 244"/>
                <a:gd name="T4" fmla="*/ 136 w 226"/>
                <a:gd name="T5" fmla="*/ 244 h 244"/>
                <a:gd name="T6" fmla="*/ 104 w 226"/>
                <a:gd name="T7" fmla="*/ 229 h 244"/>
                <a:gd name="T8" fmla="*/ 111 w 226"/>
                <a:gd name="T9" fmla="*/ 94 h 244"/>
                <a:gd name="T10" fmla="*/ 0 w 226"/>
                <a:gd name="T11" fmla="*/ 53 h 244"/>
                <a:gd name="T12" fmla="*/ 22 w 226"/>
                <a:gd name="T13" fmla="*/ 3 h 244"/>
                <a:gd name="T14" fmla="*/ 23 w 226"/>
                <a:gd name="T15" fmla="*/ 0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244">
                  <a:moveTo>
                    <a:pt x="23" y="0"/>
                  </a:moveTo>
                  <a:cubicBezTo>
                    <a:pt x="23" y="0"/>
                    <a:pt x="132" y="19"/>
                    <a:pt x="179" y="62"/>
                  </a:cubicBezTo>
                  <a:cubicBezTo>
                    <a:pt x="226" y="106"/>
                    <a:pt x="136" y="244"/>
                    <a:pt x="136" y="244"/>
                  </a:cubicBezTo>
                  <a:cubicBezTo>
                    <a:pt x="136" y="244"/>
                    <a:pt x="121" y="244"/>
                    <a:pt x="104" y="229"/>
                  </a:cubicBezTo>
                  <a:cubicBezTo>
                    <a:pt x="104" y="229"/>
                    <a:pt x="157" y="125"/>
                    <a:pt x="111" y="94"/>
                  </a:cubicBezTo>
                  <a:cubicBezTo>
                    <a:pt x="59" y="60"/>
                    <a:pt x="0" y="53"/>
                    <a:pt x="0" y="53"/>
                  </a:cubicBezTo>
                  <a:cubicBezTo>
                    <a:pt x="22" y="3"/>
                    <a:pt x="22" y="3"/>
                    <a:pt x="22" y="3"/>
                  </a:cubicBezTo>
                  <a:lnTo>
                    <a:pt x="23" y="0"/>
                  </a:lnTo>
                  <a:close/>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39" name="Freeform 968">
              <a:extLst>
                <a:ext uri="{FF2B5EF4-FFF2-40B4-BE49-F238E27FC236}">
                  <a16:creationId xmlns:a16="http://schemas.microsoft.com/office/drawing/2014/main" id="{04AA80E7-5DDA-4B54-BEA0-A65C32DDBE74}"/>
                </a:ext>
              </a:extLst>
            </p:cNvPr>
            <p:cNvSpPr>
              <a:spLocks/>
            </p:cNvSpPr>
            <p:nvPr/>
          </p:nvSpPr>
          <p:spPr bwMode="auto">
            <a:xfrm>
              <a:off x="5615873" y="5684277"/>
              <a:ext cx="305177" cy="195549"/>
            </a:xfrm>
            <a:custGeom>
              <a:avLst/>
              <a:gdLst>
                <a:gd name="T0" fmla="*/ 68 w 88"/>
                <a:gd name="T1" fmla="*/ 31 h 57"/>
                <a:gd name="T2" fmla="*/ 18 w 88"/>
                <a:gd name="T3" fmla="*/ 1 h 57"/>
                <a:gd name="T4" fmla="*/ 3 w 88"/>
                <a:gd name="T5" fmla="*/ 7 h 57"/>
                <a:gd name="T6" fmla="*/ 3 w 88"/>
                <a:gd name="T7" fmla="*/ 18 h 57"/>
                <a:gd name="T8" fmla="*/ 51 w 88"/>
                <a:gd name="T9" fmla="*/ 52 h 57"/>
                <a:gd name="T10" fmla="*/ 88 w 88"/>
                <a:gd name="T11" fmla="*/ 47 h 57"/>
                <a:gd name="T12" fmla="*/ 68 w 88"/>
                <a:gd name="T13" fmla="*/ 31 h 57"/>
              </a:gdLst>
              <a:ahLst/>
              <a:cxnLst>
                <a:cxn ang="0">
                  <a:pos x="T0" y="T1"/>
                </a:cxn>
                <a:cxn ang="0">
                  <a:pos x="T2" y="T3"/>
                </a:cxn>
                <a:cxn ang="0">
                  <a:pos x="T4" y="T5"/>
                </a:cxn>
                <a:cxn ang="0">
                  <a:pos x="T6" y="T7"/>
                </a:cxn>
                <a:cxn ang="0">
                  <a:pos x="T8" y="T9"/>
                </a:cxn>
                <a:cxn ang="0">
                  <a:pos x="T10" y="T11"/>
                </a:cxn>
                <a:cxn ang="0">
                  <a:pos x="T12" y="T13"/>
                </a:cxn>
              </a:cxnLst>
              <a:rect l="0" t="0" r="r" b="b"/>
              <a:pathLst>
                <a:path w="88" h="57">
                  <a:moveTo>
                    <a:pt x="68" y="31"/>
                  </a:moveTo>
                  <a:cubicBezTo>
                    <a:pt x="57" y="25"/>
                    <a:pt x="24" y="2"/>
                    <a:pt x="18" y="1"/>
                  </a:cubicBezTo>
                  <a:cubicBezTo>
                    <a:pt x="12" y="0"/>
                    <a:pt x="3" y="7"/>
                    <a:pt x="3" y="7"/>
                  </a:cubicBezTo>
                  <a:cubicBezTo>
                    <a:pt x="3" y="7"/>
                    <a:pt x="0" y="11"/>
                    <a:pt x="3" y="18"/>
                  </a:cubicBezTo>
                  <a:cubicBezTo>
                    <a:pt x="11" y="28"/>
                    <a:pt x="28" y="46"/>
                    <a:pt x="51" y="52"/>
                  </a:cubicBezTo>
                  <a:cubicBezTo>
                    <a:pt x="68" y="57"/>
                    <a:pt x="80" y="53"/>
                    <a:pt x="88" y="47"/>
                  </a:cubicBezTo>
                  <a:cubicBezTo>
                    <a:pt x="84" y="41"/>
                    <a:pt x="76" y="34"/>
                    <a:pt x="68" y="31"/>
                  </a:cubicBezTo>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0" name="Freeform 969">
              <a:extLst>
                <a:ext uri="{FF2B5EF4-FFF2-40B4-BE49-F238E27FC236}">
                  <a16:creationId xmlns:a16="http://schemas.microsoft.com/office/drawing/2014/main" id="{2AB0E356-4DF4-4D54-9876-10C01AE19316}"/>
                </a:ext>
              </a:extLst>
            </p:cNvPr>
            <p:cNvSpPr>
              <a:spLocks/>
            </p:cNvSpPr>
            <p:nvPr/>
          </p:nvSpPr>
          <p:spPr bwMode="auto">
            <a:xfrm>
              <a:off x="5627724" y="5746499"/>
              <a:ext cx="308137" cy="154070"/>
            </a:xfrm>
            <a:custGeom>
              <a:avLst/>
              <a:gdLst>
                <a:gd name="T0" fmla="*/ 48 w 90"/>
                <a:gd name="T1" fmla="*/ 34 h 45"/>
                <a:gd name="T2" fmla="*/ 0 w 90"/>
                <a:gd name="T3" fmla="*/ 0 h 45"/>
                <a:gd name="T4" fmla="*/ 14 w 90"/>
                <a:gd name="T5" fmla="*/ 19 h 45"/>
                <a:gd name="T6" fmla="*/ 83 w 90"/>
                <a:gd name="T7" fmla="*/ 44 h 45"/>
                <a:gd name="T8" fmla="*/ 85 w 90"/>
                <a:gd name="T9" fmla="*/ 29 h 45"/>
                <a:gd name="T10" fmla="*/ 48 w 90"/>
                <a:gd name="T11" fmla="*/ 34 h 45"/>
              </a:gdLst>
              <a:ahLst/>
              <a:cxnLst>
                <a:cxn ang="0">
                  <a:pos x="T0" y="T1"/>
                </a:cxn>
                <a:cxn ang="0">
                  <a:pos x="T2" y="T3"/>
                </a:cxn>
                <a:cxn ang="0">
                  <a:pos x="T4" y="T5"/>
                </a:cxn>
                <a:cxn ang="0">
                  <a:pos x="T6" y="T7"/>
                </a:cxn>
                <a:cxn ang="0">
                  <a:pos x="T8" y="T9"/>
                </a:cxn>
                <a:cxn ang="0">
                  <a:pos x="T10" y="T11"/>
                </a:cxn>
              </a:cxnLst>
              <a:rect l="0" t="0" r="r" b="b"/>
              <a:pathLst>
                <a:path w="90" h="45">
                  <a:moveTo>
                    <a:pt x="48" y="34"/>
                  </a:moveTo>
                  <a:cubicBezTo>
                    <a:pt x="25" y="28"/>
                    <a:pt x="8" y="10"/>
                    <a:pt x="0" y="0"/>
                  </a:cubicBezTo>
                  <a:cubicBezTo>
                    <a:pt x="2" y="5"/>
                    <a:pt x="5" y="12"/>
                    <a:pt x="14" y="19"/>
                  </a:cubicBezTo>
                  <a:cubicBezTo>
                    <a:pt x="35" y="38"/>
                    <a:pt x="74" y="45"/>
                    <a:pt x="83" y="44"/>
                  </a:cubicBezTo>
                  <a:cubicBezTo>
                    <a:pt x="90" y="43"/>
                    <a:pt x="89" y="36"/>
                    <a:pt x="85" y="29"/>
                  </a:cubicBezTo>
                  <a:cubicBezTo>
                    <a:pt x="77" y="35"/>
                    <a:pt x="65" y="39"/>
                    <a:pt x="48" y="34"/>
                  </a:cubicBezTo>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1" name="Freeform 970">
              <a:extLst>
                <a:ext uri="{FF2B5EF4-FFF2-40B4-BE49-F238E27FC236}">
                  <a16:creationId xmlns:a16="http://schemas.microsoft.com/office/drawing/2014/main" id="{66F6BEEF-85E7-43CE-9EC5-55DF8E5618E7}"/>
                </a:ext>
              </a:extLst>
            </p:cNvPr>
            <p:cNvSpPr>
              <a:spLocks/>
            </p:cNvSpPr>
            <p:nvPr/>
          </p:nvSpPr>
          <p:spPr bwMode="auto">
            <a:xfrm>
              <a:off x="5592171" y="5616132"/>
              <a:ext cx="106664" cy="121479"/>
            </a:xfrm>
            <a:custGeom>
              <a:avLst/>
              <a:gdLst>
                <a:gd name="T0" fmla="*/ 0 w 31"/>
                <a:gd name="T1" fmla="*/ 9 h 35"/>
                <a:gd name="T2" fmla="*/ 10 w 31"/>
                <a:gd name="T3" fmla="*/ 30 h 35"/>
                <a:gd name="T4" fmla="*/ 19 w 31"/>
                <a:gd name="T5" fmla="*/ 35 h 35"/>
                <a:gd name="T6" fmla="*/ 26 w 31"/>
                <a:gd name="T7" fmla="*/ 34 h 35"/>
                <a:gd name="T8" fmla="*/ 30 w 31"/>
                <a:gd name="T9" fmla="*/ 26 h 35"/>
                <a:gd name="T10" fmla="*/ 23 w 31"/>
                <a:gd name="T11" fmla="*/ 0 h 35"/>
                <a:gd name="T12" fmla="*/ 0 w 31"/>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31" h="35">
                  <a:moveTo>
                    <a:pt x="0" y="9"/>
                  </a:moveTo>
                  <a:cubicBezTo>
                    <a:pt x="0" y="13"/>
                    <a:pt x="6" y="24"/>
                    <a:pt x="10" y="30"/>
                  </a:cubicBezTo>
                  <a:cubicBezTo>
                    <a:pt x="12" y="33"/>
                    <a:pt x="15" y="35"/>
                    <a:pt x="19" y="35"/>
                  </a:cubicBezTo>
                  <a:cubicBezTo>
                    <a:pt x="21" y="35"/>
                    <a:pt x="24" y="34"/>
                    <a:pt x="26" y="34"/>
                  </a:cubicBezTo>
                  <a:cubicBezTo>
                    <a:pt x="29" y="33"/>
                    <a:pt x="31" y="29"/>
                    <a:pt x="30" y="26"/>
                  </a:cubicBezTo>
                  <a:cubicBezTo>
                    <a:pt x="23" y="0"/>
                    <a:pt x="23" y="0"/>
                    <a:pt x="23" y="0"/>
                  </a:cubicBezTo>
                  <a:lnTo>
                    <a:pt x="0" y="9"/>
                  </a:lnTo>
                  <a:close/>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2" name="Freeform 971">
              <a:extLst>
                <a:ext uri="{FF2B5EF4-FFF2-40B4-BE49-F238E27FC236}">
                  <a16:creationId xmlns:a16="http://schemas.microsoft.com/office/drawing/2014/main" id="{FE189DB4-A154-4A9C-B096-C83C4CD37CBD}"/>
                </a:ext>
              </a:extLst>
            </p:cNvPr>
            <p:cNvSpPr>
              <a:spLocks/>
            </p:cNvSpPr>
            <p:nvPr/>
          </p:nvSpPr>
          <p:spPr bwMode="auto">
            <a:xfrm>
              <a:off x="4967006" y="4611720"/>
              <a:ext cx="731828" cy="1063669"/>
            </a:xfrm>
            <a:custGeom>
              <a:avLst/>
              <a:gdLst>
                <a:gd name="T0" fmla="*/ 25 w 213"/>
                <a:gd name="T1" fmla="*/ 0 h 309"/>
                <a:gd name="T2" fmla="*/ 25 w 213"/>
                <a:gd name="T3" fmla="*/ 85 h 309"/>
                <a:gd name="T4" fmla="*/ 120 w 213"/>
                <a:gd name="T5" fmla="*/ 166 h 309"/>
                <a:gd name="T6" fmla="*/ 184 w 213"/>
                <a:gd name="T7" fmla="*/ 309 h 309"/>
                <a:gd name="T8" fmla="*/ 213 w 213"/>
                <a:gd name="T9" fmla="*/ 299 h 309"/>
                <a:gd name="T10" fmla="*/ 185 w 213"/>
                <a:gd name="T11" fmla="*/ 156 h 309"/>
                <a:gd name="T12" fmla="*/ 134 w 213"/>
                <a:gd name="T13" fmla="*/ 73 h 309"/>
                <a:gd name="T14" fmla="*/ 131 w 213"/>
                <a:gd name="T15" fmla="*/ 49 h 309"/>
                <a:gd name="T16" fmla="*/ 138 w 213"/>
                <a:gd name="T17" fmla="*/ 33 h 309"/>
                <a:gd name="T18" fmla="*/ 25 w 213"/>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309">
                  <a:moveTo>
                    <a:pt x="25" y="0"/>
                  </a:moveTo>
                  <a:cubicBezTo>
                    <a:pt x="25" y="0"/>
                    <a:pt x="0" y="65"/>
                    <a:pt x="25" y="85"/>
                  </a:cubicBezTo>
                  <a:cubicBezTo>
                    <a:pt x="49" y="105"/>
                    <a:pt x="107" y="127"/>
                    <a:pt x="120" y="166"/>
                  </a:cubicBezTo>
                  <a:cubicBezTo>
                    <a:pt x="133" y="206"/>
                    <a:pt x="155" y="282"/>
                    <a:pt x="184" y="309"/>
                  </a:cubicBezTo>
                  <a:cubicBezTo>
                    <a:pt x="184" y="309"/>
                    <a:pt x="205" y="307"/>
                    <a:pt x="213" y="299"/>
                  </a:cubicBezTo>
                  <a:cubicBezTo>
                    <a:pt x="213" y="299"/>
                    <a:pt x="196" y="185"/>
                    <a:pt x="185" y="156"/>
                  </a:cubicBezTo>
                  <a:cubicBezTo>
                    <a:pt x="175" y="130"/>
                    <a:pt x="161" y="94"/>
                    <a:pt x="134" y="73"/>
                  </a:cubicBezTo>
                  <a:cubicBezTo>
                    <a:pt x="126" y="67"/>
                    <a:pt x="128" y="58"/>
                    <a:pt x="131" y="49"/>
                  </a:cubicBezTo>
                  <a:cubicBezTo>
                    <a:pt x="138" y="33"/>
                    <a:pt x="138" y="33"/>
                    <a:pt x="138" y="33"/>
                  </a:cubicBezTo>
                  <a:lnTo>
                    <a:pt x="25" y="0"/>
                  </a:lnTo>
                  <a:close/>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3" name="Freeform 972">
              <a:extLst>
                <a:ext uri="{FF2B5EF4-FFF2-40B4-BE49-F238E27FC236}">
                  <a16:creationId xmlns:a16="http://schemas.microsoft.com/office/drawing/2014/main" id="{BB2F729D-5EEA-4910-85DD-EE407A0E3C7D}"/>
                </a:ext>
              </a:extLst>
            </p:cNvPr>
            <p:cNvSpPr>
              <a:spLocks/>
            </p:cNvSpPr>
            <p:nvPr/>
          </p:nvSpPr>
          <p:spPr bwMode="auto">
            <a:xfrm>
              <a:off x="5615873" y="4211733"/>
              <a:ext cx="311103" cy="352582"/>
            </a:xfrm>
            <a:custGeom>
              <a:avLst/>
              <a:gdLst>
                <a:gd name="T0" fmla="*/ 89 w 90"/>
                <a:gd name="T1" fmla="*/ 65 h 102"/>
                <a:gd name="T2" fmla="*/ 62 w 90"/>
                <a:gd name="T3" fmla="*/ 0 h 102"/>
                <a:gd name="T4" fmla="*/ 0 w 90"/>
                <a:gd name="T5" fmla="*/ 44 h 102"/>
                <a:gd name="T6" fmla="*/ 55 w 90"/>
                <a:gd name="T7" fmla="*/ 97 h 102"/>
                <a:gd name="T8" fmla="*/ 90 w 90"/>
                <a:gd name="T9" fmla="*/ 99 h 102"/>
                <a:gd name="T10" fmla="*/ 89 w 90"/>
                <a:gd name="T11" fmla="*/ 65 h 102"/>
              </a:gdLst>
              <a:ahLst/>
              <a:cxnLst>
                <a:cxn ang="0">
                  <a:pos x="T0" y="T1"/>
                </a:cxn>
                <a:cxn ang="0">
                  <a:pos x="T2" y="T3"/>
                </a:cxn>
                <a:cxn ang="0">
                  <a:pos x="T4" y="T5"/>
                </a:cxn>
                <a:cxn ang="0">
                  <a:pos x="T6" y="T7"/>
                </a:cxn>
                <a:cxn ang="0">
                  <a:pos x="T8" y="T9"/>
                </a:cxn>
                <a:cxn ang="0">
                  <a:pos x="T10" y="T11"/>
                </a:cxn>
              </a:cxnLst>
              <a:rect l="0" t="0" r="r" b="b"/>
              <a:pathLst>
                <a:path w="90" h="102">
                  <a:moveTo>
                    <a:pt x="89" y="65"/>
                  </a:moveTo>
                  <a:cubicBezTo>
                    <a:pt x="48" y="68"/>
                    <a:pt x="61" y="3"/>
                    <a:pt x="62" y="0"/>
                  </a:cubicBezTo>
                  <a:cubicBezTo>
                    <a:pt x="0" y="44"/>
                    <a:pt x="0" y="44"/>
                    <a:pt x="0" y="44"/>
                  </a:cubicBezTo>
                  <a:cubicBezTo>
                    <a:pt x="0" y="44"/>
                    <a:pt x="3" y="79"/>
                    <a:pt x="55" y="97"/>
                  </a:cubicBezTo>
                  <a:cubicBezTo>
                    <a:pt x="68" y="101"/>
                    <a:pt x="79" y="102"/>
                    <a:pt x="90" y="99"/>
                  </a:cubicBezTo>
                  <a:cubicBezTo>
                    <a:pt x="85" y="86"/>
                    <a:pt x="86" y="75"/>
                    <a:pt x="89" y="65"/>
                  </a:cubicBezTo>
                </a:path>
              </a:pathLst>
            </a:custGeom>
            <a:solidFill>
              <a:srgbClr val="C93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4" name="Freeform 973">
              <a:extLst>
                <a:ext uri="{FF2B5EF4-FFF2-40B4-BE49-F238E27FC236}">
                  <a16:creationId xmlns:a16="http://schemas.microsoft.com/office/drawing/2014/main" id="{18457262-008D-45E2-949C-B045B185B904}"/>
                </a:ext>
              </a:extLst>
            </p:cNvPr>
            <p:cNvSpPr>
              <a:spLocks/>
            </p:cNvSpPr>
            <p:nvPr/>
          </p:nvSpPr>
          <p:spPr bwMode="auto">
            <a:xfrm>
              <a:off x="5909198" y="4333209"/>
              <a:ext cx="376286" cy="219251"/>
            </a:xfrm>
            <a:custGeom>
              <a:avLst/>
              <a:gdLst>
                <a:gd name="T0" fmla="*/ 83 w 109"/>
                <a:gd name="T1" fmla="*/ 11 h 64"/>
                <a:gd name="T2" fmla="*/ 50 w 109"/>
                <a:gd name="T3" fmla="*/ 11 h 64"/>
                <a:gd name="T4" fmla="*/ 4 w 109"/>
                <a:gd name="T5" fmla="*/ 30 h 64"/>
                <a:gd name="T6" fmla="*/ 5 w 109"/>
                <a:gd name="T7" fmla="*/ 64 h 64"/>
                <a:gd name="T8" fmla="*/ 51 w 109"/>
                <a:gd name="T9" fmla="*/ 35 h 64"/>
                <a:gd name="T10" fmla="*/ 61 w 109"/>
                <a:gd name="T11" fmla="*/ 34 h 64"/>
                <a:gd name="T12" fmla="*/ 67 w 109"/>
                <a:gd name="T13" fmla="*/ 43 h 64"/>
                <a:gd name="T14" fmla="*/ 75 w 109"/>
                <a:gd name="T15" fmla="*/ 50 h 64"/>
                <a:gd name="T16" fmla="*/ 72 w 109"/>
                <a:gd name="T17" fmla="*/ 32 h 64"/>
                <a:gd name="T18" fmla="*/ 95 w 109"/>
                <a:gd name="T19" fmla="*/ 55 h 64"/>
                <a:gd name="T20" fmla="*/ 109 w 109"/>
                <a:gd name="T21" fmla="*/ 55 h 64"/>
                <a:gd name="T22" fmla="*/ 83 w 109"/>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83" y="11"/>
                  </a:moveTo>
                  <a:cubicBezTo>
                    <a:pt x="68" y="0"/>
                    <a:pt x="50" y="11"/>
                    <a:pt x="50" y="11"/>
                  </a:cubicBezTo>
                  <a:cubicBezTo>
                    <a:pt x="30" y="24"/>
                    <a:pt x="15" y="30"/>
                    <a:pt x="4" y="30"/>
                  </a:cubicBezTo>
                  <a:cubicBezTo>
                    <a:pt x="1" y="40"/>
                    <a:pt x="0" y="51"/>
                    <a:pt x="5" y="64"/>
                  </a:cubicBezTo>
                  <a:cubicBezTo>
                    <a:pt x="28" y="60"/>
                    <a:pt x="44" y="43"/>
                    <a:pt x="51" y="35"/>
                  </a:cubicBezTo>
                  <a:cubicBezTo>
                    <a:pt x="54" y="32"/>
                    <a:pt x="58" y="31"/>
                    <a:pt x="61" y="34"/>
                  </a:cubicBezTo>
                  <a:cubicBezTo>
                    <a:pt x="64" y="36"/>
                    <a:pt x="67" y="39"/>
                    <a:pt x="67" y="43"/>
                  </a:cubicBezTo>
                  <a:cubicBezTo>
                    <a:pt x="66" y="50"/>
                    <a:pt x="74" y="52"/>
                    <a:pt x="75" y="50"/>
                  </a:cubicBezTo>
                  <a:cubicBezTo>
                    <a:pt x="75" y="47"/>
                    <a:pt x="72" y="32"/>
                    <a:pt x="72" y="32"/>
                  </a:cubicBezTo>
                  <a:cubicBezTo>
                    <a:pt x="72" y="32"/>
                    <a:pt x="88" y="49"/>
                    <a:pt x="95" y="55"/>
                  </a:cubicBezTo>
                  <a:cubicBezTo>
                    <a:pt x="101" y="61"/>
                    <a:pt x="109" y="55"/>
                    <a:pt x="109" y="55"/>
                  </a:cubicBezTo>
                  <a:cubicBezTo>
                    <a:pt x="109" y="55"/>
                    <a:pt x="98" y="21"/>
                    <a:pt x="83" y="11"/>
                  </a:cubicBezTo>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5" name="Freeform 974">
              <a:extLst>
                <a:ext uri="{FF2B5EF4-FFF2-40B4-BE49-F238E27FC236}">
                  <a16:creationId xmlns:a16="http://schemas.microsoft.com/office/drawing/2014/main" id="{8C609F6F-1F6F-43A1-B514-13B8D2A5172C}"/>
                </a:ext>
              </a:extLst>
            </p:cNvPr>
            <p:cNvSpPr>
              <a:spLocks/>
            </p:cNvSpPr>
            <p:nvPr/>
          </p:nvSpPr>
          <p:spPr bwMode="auto">
            <a:xfrm>
              <a:off x="5044042" y="3785080"/>
              <a:ext cx="841454" cy="1001449"/>
            </a:xfrm>
            <a:custGeom>
              <a:avLst/>
              <a:gdLst>
                <a:gd name="T0" fmla="*/ 66 w 245"/>
                <a:gd name="T1" fmla="*/ 24 h 291"/>
                <a:gd name="T2" fmla="*/ 236 w 245"/>
                <a:gd name="T3" fmla="*/ 91 h 291"/>
                <a:gd name="T4" fmla="*/ 235 w 245"/>
                <a:gd name="T5" fmla="*/ 127 h 291"/>
                <a:gd name="T6" fmla="*/ 116 w 245"/>
                <a:gd name="T7" fmla="*/ 273 h 291"/>
                <a:gd name="T8" fmla="*/ 0 w 245"/>
                <a:gd name="T9" fmla="*/ 247 h 291"/>
                <a:gd name="T10" fmla="*/ 66 w 245"/>
                <a:gd name="T11" fmla="*/ 24 h 291"/>
              </a:gdLst>
              <a:ahLst/>
              <a:cxnLst>
                <a:cxn ang="0">
                  <a:pos x="T0" y="T1"/>
                </a:cxn>
                <a:cxn ang="0">
                  <a:pos x="T2" y="T3"/>
                </a:cxn>
                <a:cxn ang="0">
                  <a:pos x="T4" y="T5"/>
                </a:cxn>
                <a:cxn ang="0">
                  <a:pos x="T6" y="T7"/>
                </a:cxn>
                <a:cxn ang="0">
                  <a:pos x="T8" y="T9"/>
                </a:cxn>
                <a:cxn ang="0">
                  <a:pos x="T10" y="T11"/>
                </a:cxn>
              </a:cxnLst>
              <a:rect l="0" t="0" r="r" b="b"/>
              <a:pathLst>
                <a:path w="245" h="291">
                  <a:moveTo>
                    <a:pt x="66" y="24"/>
                  </a:moveTo>
                  <a:cubicBezTo>
                    <a:pt x="66" y="24"/>
                    <a:pt x="125" y="0"/>
                    <a:pt x="236" y="91"/>
                  </a:cubicBezTo>
                  <a:cubicBezTo>
                    <a:pt x="236" y="91"/>
                    <a:pt x="245" y="110"/>
                    <a:pt x="235" y="127"/>
                  </a:cubicBezTo>
                  <a:cubicBezTo>
                    <a:pt x="225" y="144"/>
                    <a:pt x="129" y="227"/>
                    <a:pt x="116" y="273"/>
                  </a:cubicBezTo>
                  <a:cubicBezTo>
                    <a:pt x="116" y="273"/>
                    <a:pt x="59" y="291"/>
                    <a:pt x="0" y="247"/>
                  </a:cubicBezTo>
                  <a:cubicBezTo>
                    <a:pt x="0" y="247"/>
                    <a:pt x="5" y="119"/>
                    <a:pt x="66" y="24"/>
                  </a:cubicBezTo>
                </a:path>
              </a:pathLst>
            </a:custGeom>
            <a:solidFill>
              <a:srgbClr val="C93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6" name="Freeform 975">
              <a:extLst>
                <a:ext uri="{FF2B5EF4-FFF2-40B4-BE49-F238E27FC236}">
                  <a16:creationId xmlns:a16="http://schemas.microsoft.com/office/drawing/2014/main" id="{67F902BD-F975-441E-A2C6-B106E613ADE8}"/>
                </a:ext>
              </a:extLst>
            </p:cNvPr>
            <p:cNvSpPr>
              <a:spLocks/>
            </p:cNvSpPr>
            <p:nvPr/>
          </p:nvSpPr>
          <p:spPr bwMode="auto">
            <a:xfrm>
              <a:off x="5559579" y="3791006"/>
              <a:ext cx="248881" cy="239993"/>
            </a:xfrm>
            <a:custGeom>
              <a:avLst/>
              <a:gdLst>
                <a:gd name="T0" fmla="*/ 33 w 73"/>
                <a:gd name="T1" fmla="*/ 0 h 69"/>
                <a:gd name="T2" fmla="*/ 4 w 73"/>
                <a:gd name="T3" fmla="*/ 36 h 69"/>
                <a:gd name="T4" fmla="*/ 2 w 73"/>
                <a:gd name="T5" fmla="*/ 48 h 69"/>
                <a:gd name="T6" fmla="*/ 37 w 73"/>
                <a:gd name="T7" fmla="*/ 67 h 69"/>
                <a:gd name="T8" fmla="*/ 52 w 73"/>
                <a:gd name="T9" fmla="*/ 57 h 69"/>
                <a:gd name="T10" fmla="*/ 73 w 73"/>
                <a:gd name="T11" fmla="*/ 15 h 69"/>
                <a:gd name="T12" fmla="*/ 33 w 73"/>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3" h="69">
                  <a:moveTo>
                    <a:pt x="33" y="0"/>
                  </a:moveTo>
                  <a:cubicBezTo>
                    <a:pt x="4" y="36"/>
                    <a:pt x="4" y="36"/>
                    <a:pt x="4" y="36"/>
                  </a:cubicBezTo>
                  <a:cubicBezTo>
                    <a:pt x="1" y="39"/>
                    <a:pt x="0" y="44"/>
                    <a:pt x="2" y="48"/>
                  </a:cubicBezTo>
                  <a:cubicBezTo>
                    <a:pt x="7" y="57"/>
                    <a:pt x="16" y="69"/>
                    <a:pt x="37" y="67"/>
                  </a:cubicBezTo>
                  <a:cubicBezTo>
                    <a:pt x="44" y="66"/>
                    <a:pt x="49" y="63"/>
                    <a:pt x="52" y="57"/>
                  </a:cubicBezTo>
                  <a:cubicBezTo>
                    <a:pt x="73" y="15"/>
                    <a:pt x="73" y="15"/>
                    <a:pt x="73" y="15"/>
                  </a:cubicBezTo>
                  <a:lnTo>
                    <a:pt x="33" y="0"/>
                  </a:lnTo>
                  <a:close/>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7" name="Freeform 977">
              <a:extLst>
                <a:ext uri="{FF2B5EF4-FFF2-40B4-BE49-F238E27FC236}">
                  <a16:creationId xmlns:a16="http://schemas.microsoft.com/office/drawing/2014/main" id="{CE7AE33E-B643-4A90-A07C-7D9318D65259}"/>
                </a:ext>
              </a:extLst>
            </p:cNvPr>
            <p:cNvSpPr>
              <a:spLocks/>
            </p:cNvSpPr>
            <p:nvPr/>
          </p:nvSpPr>
          <p:spPr bwMode="auto">
            <a:xfrm>
              <a:off x="4753680" y="3868040"/>
              <a:ext cx="574796" cy="705161"/>
            </a:xfrm>
            <a:custGeom>
              <a:avLst/>
              <a:gdLst>
                <a:gd name="T0" fmla="*/ 104 w 167"/>
                <a:gd name="T1" fmla="*/ 151 h 205"/>
                <a:gd name="T2" fmla="*/ 167 w 167"/>
                <a:gd name="T3" fmla="*/ 61 h 205"/>
                <a:gd name="T4" fmla="*/ 150 w 167"/>
                <a:gd name="T5" fmla="*/ 0 h 205"/>
                <a:gd name="T6" fmla="*/ 38 w 167"/>
                <a:gd name="T7" fmla="*/ 180 h 205"/>
                <a:gd name="T8" fmla="*/ 59 w 167"/>
                <a:gd name="T9" fmla="*/ 205 h 205"/>
                <a:gd name="T10" fmla="*/ 104 w 167"/>
                <a:gd name="T11" fmla="*/ 151 h 205"/>
              </a:gdLst>
              <a:ahLst/>
              <a:cxnLst>
                <a:cxn ang="0">
                  <a:pos x="T0" y="T1"/>
                </a:cxn>
                <a:cxn ang="0">
                  <a:pos x="T2" y="T3"/>
                </a:cxn>
                <a:cxn ang="0">
                  <a:pos x="T4" y="T5"/>
                </a:cxn>
                <a:cxn ang="0">
                  <a:pos x="T6" y="T7"/>
                </a:cxn>
                <a:cxn ang="0">
                  <a:pos x="T8" y="T9"/>
                </a:cxn>
                <a:cxn ang="0">
                  <a:pos x="T10" y="T11"/>
                </a:cxn>
              </a:cxnLst>
              <a:rect l="0" t="0" r="r" b="b"/>
              <a:pathLst>
                <a:path w="167" h="205">
                  <a:moveTo>
                    <a:pt x="104" y="151"/>
                  </a:moveTo>
                  <a:cubicBezTo>
                    <a:pt x="97" y="123"/>
                    <a:pt x="167" y="61"/>
                    <a:pt x="167" y="61"/>
                  </a:cubicBezTo>
                  <a:cubicBezTo>
                    <a:pt x="150" y="0"/>
                    <a:pt x="150" y="0"/>
                    <a:pt x="150" y="0"/>
                  </a:cubicBezTo>
                  <a:cubicBezTo>
                    <a:pt x="150" y="0"/>
                    <a:pt x="0" y="100"/>
                    <a:pt x="38" y="180"/>
                  </a:cubicBezTo>
                  <a:cubicBezTo>
                    <a:pt x="43" y="192"/>
                    <a:pt x="51" y="200"/>
                    <a:pt x="59" y="205"/>
                  </a:cubicBezTo>
                  <a:cubicBezTo>
                    <a:pt x="71" y="173"/>
                    <a:pt x="91" y="158"/>
                    <a:pt x="104" y="151"/>
                  </a:cubicBezTo>
                </a:path>
              </a:pathLst>
            </a:custGeom>
            <a:solidFill>
              <a:srgbClr val="C93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8" name="Freeform 979">
              <a:extLst>
                <a:ext uri="{FF2B5EF4-FFF2-40B4-BE49-F238E27FC236}">
                  <a16:creationId xmlns:a16="http://schemas.microsoft.com/office/drawing/2014/main" id="{CCE5989C-25BE-490C-8B20-EEA61E373B14}"/>
                </a:ext>
              </a:extLst>
            </p:cNvPr>
            <p:cNvSpPr>
              <a:spLocks/>
            </p:cNvSpPr>
            <p:nvPr/>
          </p:nvSpPr>
          <p:spPr bwMode="auto">
            <a:xfrm>
              <a:off x="4958119" y="4339136"/>
              <a:ext cx="755531" cy="331841"/>
            </a:xfrm>
            <a:custGeom>
              <a:avLst/>
              <a:gdLst>
                <a:gd name="T0" fmla="*/ 151 w 220"/>
                <a:gd name="T1" fmla="*/ 12 h 96"/>
                <a:gd name="T2" fmla="*/ 48 w 220"/>
                <a:gd name="T3" fmla="*/ 20 h 96"/>
                <a:gd name="T4" fmla="*/ 45 w 220"/>
                <a:gd name="T5" fmla="*/ 14 h 96"/>
                <a:gd name="T6" fmla="*/ 0 w 220"/>
                <a:gd name="T7" fmla="*/ 68 h 96"/>
                <a:gd name="T8" fmla="*/ 138 w 220"/>
                <a:gd name="T9" fmla="*/ 40 h 96"/>
                <a:gd name="T10" fmla="*/ 149 w 220"/>
                <a:gd name="T11" fmla="*/ 38 h 96"/>
                <a:gd name="T12" fmla="*/ 177 w 220"/>
                <a:gd name="T13" fmla="*/ 41 h 96"/>
                <a:gd name="T14" fmla="*/ 220 w 220"/>
                <a:gd name="T15" fmla="*/ 65 h 96"/>
                <a:gd name="T16" fmla="*/ 151 w 220"/>
                <a:gd name="T17"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96">
                  <a:moveTo>
                    <a:pt x="151" y="12"/>
                  </a:moveTo>
                  <a:cubicBezTo>
                    <a:pt x="151" y="12"/>
                    <a:pt x="68" y="44"/>
                    <a:pt x="48" y="20"/>
                  </a:cubicBezTo>
                  <a:cubicBezTo>
                    <a:pt x="47" y="18"/>
                    <a:pt x="46" y="16"/>
                    <a:pt x="45" y="14"/>
                  </a:cubicBezTo>
                  <a:cubicBezTo>
                    <a:pt x="32" y="21"/>
                    <a:pt x="12" y="36"/>
                    <a:pt x="0" y="68"/>
                  </a:cubicBezTo>
                  <a:cubicBezTo>
                    <a:pt x="44" y="96"/>
                    <a:pt x="118" y="53"/>
                    <a:pt x="138" y="40"/>
                  </a:cubicBezTo>
                  <a:cubicBezTo>
                    <a:pt x="141" y="38"/>
                    <a:pt x="145" y="37"/>
                    <a:pt x="149" y="38"/>
                  </a:cubicBezTo>
                  <a:cubicBezTo>
                    <a:pt x="157" y="40"/>
                    <a:pt x="170" y="42"/>
                    <a:pt x="177" y="41"/>
                  </a:cubicBezTo>
                  <a:cubicBezTo>
                    <a:pt x="188" y="39"/>
                    <a:pt x="203" y="77"/>
                    <a:pt x="220" y="65"/>
                  </a:cubicBezTo>
                  <a:cubicBezTo>
                    <a:pt x="220" y="65"/>
                    <a:pt x="206" y="0"/>
                    <a:pt x="151" y="12"/>
                  </a:cubicBezTo>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49" name="Freeform 980">
              <a:extLst>
                <a:ext uri="{FF2B5EF4-FFF2-40B4-BE49-F238E27FC236}">
                  <a16:creationId xmlns:a16="http://schemas.microsoft.com/office/drawing/2014/main" id="{DE4166DD-7BFC-4CCA-A6B9-ADC9913F34DB}"/>
                </a:ext>
              </a:extLst>
            </p:cNvPr>
            <p:cNvSpPr>
              <a:spLocks/>
            </p:cNvSpPr>
            <p:nvPr/>
          </p:nvSpPr>
          <p:spPr bwMode="auto">
            <a:xfrm>
              <a:off x="5701798" y="3548051"/>
              <a:ext cx="189623" cy="337767"/>
            </a:xfrm>
            <a:custGeom>
              <a:avLst/>
              <a:gdLst>
                <a:gd name="T0" fmla="*/ 55 w 55"/>
                <a:gd name="T1" fmla="*/ 19 h 98"/>
                <a:gd name="T2" fmla="*/ 48 w 55"/>
                <a:gd name="T3" fmla="*/ 98 h 98"/>
                <a:gd name="T4" fmla="*/ 4 w 55"/>
                <a:gd name="T5" fmla="*/ 93 h 98"/>
                <a:gd name="T6" fmla="*/ 0 w 55"/>
                <a:gd name="T7" fmla="*/ 19 h 98"/>
                <a:gd name="T8" fmla="*/ 55 w 55"/>
                <a:gd name="T9" fmla="*/ 19 h 98"/>
              </a:gdLst>
              <a:ahLst/>
              <a:cxnLst>
                <a:cxn ang="0">
                  <a:pos x="T0" y="T1"/>
                </a:cxn>
                <a:cxn ang="0">
                  <a:pos x="T2" y="T3"/>
                </a:cxn>
                <a:cxn ang="0">
                  <a:pos x="T4" y="T5"/>
                </a:cxn>
                <a:cxn ang="0">
                  <a:pos x="T6" y="T7"/>
                </a:cxn>
                <a:cxn ang="0">
                  <a:pos x="T8" y="T9"/>
                </a:cxn>
              </a:cxnLst>
              <a:rect l="0" t="0" r="r" b="b"/>
              <a:pathLst>
                <a:path w="55" h="98">
                  <a:moveTo>
                    <a:pt x="55" y="19"/>
                  </a:moveTo>
                  <a:cubicBezTo>
                    <a:pt x="55" y="21"/>
                    <a:pt x="48" y="98"/>
                    <a:pt x="48" y="98"/>
                  </a:cubicBezTo>
                  <a:cubicBezTo>
                    <a:pt x="4" y="93"/>
                    <a:pt x="4" y="93"/>
                    <a:pt x="4" y="93"/>
                  </a:cubicBezTo>
                  <a:cubicBezTo>
                    <a:pt x="0" y="19"/>
                    <a:pt x="0" y="19"/>
                    <a:pt x="0" y="19"/>
                  </a:cubicBezTo>
                  <a:cubicBezTo>
                    <a:pt x="0" y="19"/>
                    <a:pt x="50" y="0"/>
                    <a:pt x="55" y="19"/>
                  </a:cubicBezTo>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0" name="Freeform 981">
              <a:extLst>
                <a:ext uri="{FF2B5EF4-FFF2-40B4-BE49-F238E27FC236}">
                  <a16:creationId xmlns:a16="http://schemas.microsoft.com/office/drawing/2014/main" id="{BF688EA0-5E98-493A-9B8F-74440DCA6129}"/>
                </a:ext>
              </a:extLst>
            </p:cNvPr>
            <p:cNvSpPr>
              <a:spLocks/>
            </p:cNvSpPr>
            <p:nvPr/>
          </p:nvSpPr>
          <p:spPr bwMode="auto">
            <a:xfrm>
              <a:off x="5589208" y="3488792"/>
              <a:ext cx="373322" cy="488874"/>
            </a:xfrm>
            <a:custGeom>
              <a:avLst/>
              <a:gdLst>
                <a:gd name="T0" fmla="*/ 44 w 108"/>
                <a:gd name="T1" fmla="*/ 51 h 142"/>
                <a:gd name="T2" fmla="*/ 43 w 108"/>
                <a:gd name="T3" fmla="*/ 90 h 142"/>
                <a:gd name="T4" fmla="*/ 43 w 108"/>
                <a:gd name="T5" fmla="*/ 92 h 142"/>
                <a:gd name="T6" fmla="*/ 58 w 108"/>
                <a:gd name="T7" fmla="*/ 101 h 142"/>
                <a:gd name="T8" fmla="*/ 81 w 108"/>
                <a:gd name="T9" fmla="*/ 95 h 142"/>
                <a:gd name="T10" fmla="*/ 86 w 108"/>
                <a:gd name="T11" fmla="*/ 101 h 142"/>
                <a:gd name="T12" fmla="*/ 80 w 108"/>
                <a:gd name="T13" fmla="*/ 137 h 142"/>
                <a:gd name="T14" fmla="*/ 74 w 108"/>
                <a:gd name="T15" fmla="*/ 141 h 142"/>
                <a:gd name="T16" fmla="*/ 34 w 108"/>
                <a:gd name="T17" fmla="*/ 130 h 142"/>
                <a:gd name="T18" fmla="*/ 31 w 108"/>
                <a:gd name="T19" fmla="*/ 125 h 142"/>
                <a:gd name="T20" fmla="*/ 26 w 108"/>
                <a:gd name="T21" fmla="*/ 77 h 142"/>
                <a:gd name="T22" fmla="*/ 10 w 108"/>
                <a:gd name="T23" fmla="*/ 65 h 142"/>
                <a:gd name="T24" fmla="*/ 7 w 108"/>
                <a:gd name="T25" fmla="*/ 62 h 142"/>
                <a:gd name="T26" fmla="*/ 14 w 108"/>
                <a:gd name="T27" fmla="*/ 40 h 142"/>
                <a:gd name="T28" fmla="*/ 17 w 108"/>
                <a:gd name="T29" fmla="*/ 33 h 142"/>
                <a:gd name="T30" fmla="*/ 22 w 108"/>
                <a:gd name="T31" fmla="*/ 12 h 142"/>
                <a:gd name="T32" fmla="*/ 47 w 108"/>
                <a:gd name="T33" fmla="*/ 16 h 142"/>
                <a:gd name="T34" fmla="*/ 54 w 108"/>
                <a:gd name="T35" fmla="*/ 16 h 142"/>
                <a:gd name="T36" fmla="*/ 59 w 108"/>
                <a:gd name="T37" fmla="*/ 15 h 142"/>
                <a:gd name="T38" fmla="*/ 66 w 108"/>
                <a:gd name="T39" fmla="*/ 12 h 142"/>
                <a:gd name="T40" fmla="*/ 84 w 108"/>
                <a:gd name="T41" fmla="*/ 1 h 142"/>
                <a:gd name="T42" fmla="*/ 105 w 108"/>
                <a:gd name="T43" fmla="*/ 36 h 142"/>
                <a:gd name="T44" fmla="*/ 69 w 108"/>
                <a:gd name="T45" fmla="*/ 41 h 142"/>
                <a:gd name="T46" fmla="*/ 46 w 108"/>
                <a:gd name="T47" fmla="*/ 47 h 142"/>
                <a:gd name="T48" fmla="*/ 44 w 108"/>
                <a:gd name="T49" fmla="*/ 5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42">
                  <a:moveTo>
                    <a:pt x="44" y="51"/>
                  </a:moveTo>
                  <a:cubicBezTo>
                    <a:pt x="43" y="90"/>
                    <a:pt x="43" y="90"/>
                    <a:pt x="43" y="90"/>
                  </a:cubicBezTo>
                  <a:cubicBezTo>
                    <a:pt x="43" y="91"/>
                    <a:pt x="43" y="91"/>
                    <a:pt x="43" y="92"/>
                  </a:cubicBezTo>
                  <a:cubicBezTo>
                    <a:pt x="44" y="95"/>
                    <a:pt x="48" y="105"/>
                    <a:pt x="58" y="101"/>
                  </a:cubicBezTo>
                  <a:cubicBezTo>
                    <a:pt x="67" y="97"/>
                    <a:pt x="75" y="94"/>
                    <a:pt x="81" y="95"/>
                  </a:cubicBezTo>
                  <a:cubicBezTo>
                    <a:pt x="84" y="95"/>
                    <a:pt x="86" y="98"/>
                    <a:pt x="86" y="101"/>
                  </a:cubicBezTo>
                  <a:cubicBezTo>
                    <a:pt x="85" y="108"/>
                    <a:pt x="83" y="124"/>
                    <a:pt x="80" y="137"/>
                  </a:cubicBezTo>
                  <a:cubicBezTo>
                    <a:pt x="79" y="140"/>
                    <a:pt x="76" y="142"/>
                    <a:pt x="74" y="141"/>
                  </a:cubicBezTo>
                  <a:cubicBezTo>
                    <a:pt x="65" y="140"/>
                    <a:pt x="48" y="136"/>
                    <a:pt x="34" y="130"/>
                  </a:cubicBezTo>
                  <a:cubicBezTo>
                    <a:pt x="32" y="129"/>
                    <a:pt x="31" y="127"/>
                    <a:pt x="31" y="125"/>
                  </a:cubicBezTo>
                  <a:cubicBezTo>
                    <a:pt x="30" y="115"/>
                    <a:pt x="28" y="85"/>
                    <a:pt x="26" y="77"/>
                  </a:cubicBezTo>
                  <a:cubicBezTo>
                    <a:pt x="24" y="70"/>
                    <a:pt x="14" y="66"/>
                    <a:pt x="10" y="65"/>
                  </a:cubicBezTo>
                  <a:cubicBezTo>
                    <a:pt x="9" y="64"/>
                    <a:pt x="7" y="63"/>
                    <a:pt x="7" y="62"/>
                  </a:cubicBezTo>
                  <a:cubicBezTo>
                    <a:pt x="4" y="57"/>
                    <a:pt x="0" y="47"/>
                    <a:pt x="14" y="40"/>
                  </a:cubicBezTo>
                  <a:cubicBezTo>
                    <a:pt x="17" y="39"/>
                    <a:pt x="18" y="36"/>
                    <a:pt x="17" y="33"/>
                  </a:cubicBezTo>
                  <a:cubicBezTo>
                    <a:pt x="14" y="27"/>
                    <a:pt x="12" y="19"/>
                    <a:pt x="22" y="12"/>
                  </a:cubicBezTo>
                  <a:cubicBezTo>
                    <a:pt x="33" y="6"/>
                    <a:pt x="42" y="11"/>
                    <a:pt x="47" y="16"/>
                  </a:cubicBezTo>
                  <a:cubicBezTo>
                    <a:pt x="49" y="17"/>
                    <a:pt x="52" y="17"/>
                    <a:pt x="54" y="16"/>
                  </a:cubicBezTo>
                  <a:cubicBezTo>
                    <a:pt x="55" y="15"/>
                    <a:pt x="57" y="14"/>
                    <a:pt x="59" y="15"/>
                  </a:cubicBezTo>
                  <a:cubicBezTo>
                    <a:pt x="62" y="17"/>
                    <a:pt x="65" y="15"/>
                    <a:pt x="66" y="12"/>
                  </a:cubicBezTo>
                  <a:cubicBezTo>
                    <a:pt x="68" y="6"/>
                    <a:pt x="73" y="0"/>
                    <a:pt x="84" y="1"/>
                  </a:cubicBezTo>
                  <a:cubicBezTo>
                    <a:pt x="104" y="2"/>
                    <a:pt x="108" y="23"/>
                    <a:pt x="105" y="36"/>
                  </a:cubicBezTo>
                  <a:cubicBezTo>
                    <a:pt x="101" y="49"/>
                    <a:pt x="80" y="47"/>
                    <a:pt x="69" y="41"/>
                  </a:cubicBezTo>
                  <a:cubicBezTo>
                    <a:pt x="60" y="37"/>
                    <a:pt x="50" y="44"/>
                    <a:pt x="46" y="47"/>
                  </a:cubicBezTo>
                  <a:cubicBezTo>
                    <a:pt x="45" y="48"/>
                    <a:pt x="44" y="49"/>
                    <a:pt x="44" y="51"/>
                  </a:cubicBezTo>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1" name="Freeform 982">
              <a:extLst>
                <a:ext uri="{FF2B5EF4-FFF2-40B4-BE49-F238E27FC236}">
                  <a16:creationId xmlns:a16="http://schemas.microsoft.com/office/drawing/2014/main" id="{FD1F6C44-3046-413F-92B2-8B273A8EFBAE}"/>
                </a:ext>
              </a:extLst>
            </p:cNvPr>
            <p:cNvSpPr>
              <a:spLocks/>
            </p:cNvSpPr>
            <p:nvPr/>
          </p:nvSpPr>
          <p:spPr bwMode="auto">
            <a:xfrm>
              <a:off x="5595135" y="3693232"/>
              <a:ext cx="100737" cy="136291"/>
            </a:xfrm>
            <a:custGeom>
              <a:avLst/>
              <a:gdLst>
                <a:gd name="T0" fmla="*/ 24 w 29"/>
                <a:gd name="T1" fmla="*/ 33 h 40"/>
                <a:gd name="T2" fmla="*/ 21 w 29"/>
                <a:gd name="T3" fmla="*/ 5 h 40"/>
                <a:gd name="T4" fmla="*/ 5 w 29"/>
                <a:gd name="T5" fmla="*/ 20 h 40"/>
                <a:gd name="T6" fmla="*/ 24 w 29"/>
                <a:gd name="T7" fmla="*/ 33 h 40"/>
              </a:gdLst>
              <a:ahLst/>
              <a:cxnLst>
                <a:cxn ang="0">
                  <a:pos x="T0" y="T1"/>
                </a:cxn>
                <a:cxn ang="0">
                  <a:pos x="T2" y="T3"/>
                </a:cxn>
                <a:cxn ang="0">
                  <a:pos x="T4" y="T5"/>
                </a:cxn>
                <a:cxn ang="0">
                  <a:pos x="T6" y="T7"/>
                </a:cxn>
              </a:cxnLst>
              <a:rect l="0" t="0" r="r" b="b"/>
              <a:pathLst>
                <a:path w="29" h="40">
                  <a:moveTo>
                    <a:pt x="24" y="33"/>
                  </a:moveTo>
                  <a:cubicBezTo>
                    <a:pt x="24" y="33"/>
                    <a:pt x="29" y="10"/>
                    <a:pt x="21" y="5"/>
                  </a:cubicBezTo>
                  <a:cubicBezTo>
                    <a:pt x="12" y="0"/>
                    <a:pt x="0" y="5"/>
                    <a:pt x="5" y="20"/>
                  </a:cubicBezTo>
                  <a:cubicBezTo>
                    <a:pt x="10" y="40"/>
                    <a:pt x="24" y="33"/>
                    <a:pt x="24" y="33"/>
                  </a:cubicBezTo>
                </a:path>
              </a:pathLst>
            </a:custGeom>
            <a:solidFill>
              <a:srgbClr val="F37D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2" name="Freeform 984">
              <a:extLst>
                <a:ext uri="{FF2B5EF4-FFF2-40B4-BE49-F238E27FC236}">
                  <a16:creationId xmlns:a16="http://schemas.microsoft.com/office/drawing/2014/main" id="{D85FBEDE-B3A0-4765-89B3-63B6D192A979}"/>
                </a:ext>
              </a:extLst>
            </p:cNvPr>
            <p:cNvSpPr>
              <a:spLocks/>
            </p:cNvSpPr>
            <p:nvPr/>
          </p:nvSpPr>
          <p:spPr bwMode="auto">
            <a:xfrm>
              <a:off x="5944753" y="4057665"/>
              <a:ext cx="856270" cy="539242"/>
            </a:xfrm>
            <a:custGeom>
              <a:avLst/>
              <a:gdLst>
                <a:gd name="T0" fmla="*/ 236 w 249"/>
                <a:gd name="T1" fmla="*/ 0 h 157"/>
                <a:gd name="T2" fmla="*/ 91 w 249"/>
                <a:gd name="T3" fmla="*/ 0 h 157"/>
                <a:gd name="T4" fmla="*/ 66 w 249"/>
                <a:gd name="T5" fmla="*/ 15 h 157"/>
                <a:gd name="T6" fmla="*/ 0 w 249"/>
                <a:gd name="T7" fmla="*/ 157 h 157"/>
                <a:gd name="T8" fmla="*/ 179 w 249"/>
                <a:gd name="T9" fmla="*/ 157 h 157"/>
                <a:gd name="T10" fmla="*/ 195 w 249"/>
                <a:gd name="T11" fmla="*/ 146 h 157"/>
                <a:gd name="T12" fmla="*/ 246 w 249"/>
                <a:gd name="T13" fmla="*/ 15 h 157"/>
                <a:gd name="T14" fmla="*/ 236 w 249"/>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9" h="157">
                  <a:moveTo>
                    <a:pt x="236" y="0"/>
                  </a:moveTo>
                  <a:cubicBezTo>
                    <a:pt x="91" y="0"/>
                    <a:pt x="91" y="0"/>
                    <a:pt x="91" y="0"/>
                  </a:cubicBezTo>
                  <a:cubicBezTo>
                    <a:pt x="81" y="0"/>
                    <a:pt x="71" y="6"/>
                    <a:pt x="66" y="15"/>
                  </a:cubicBezTo>
                  <a:cubicBezTo>
                    <a:pt x="0" y="157"/>
                    <a:pt x="0" y="157"/>
                    <a:pt x="0" y="157"/>
                  </a:cubicBezTo>
                  <a:cubicBezTo>
                    <a:pt x="179" y="157"/>
                    <a:pt x="179" y="157"/>
                    <a:pt x="179" y="157"/>
                  </a:cubicBezTo>
                  <a:cubicBezTo>
                    <a:pt x="186" y="157"/>
                    <a:pt x="192" y="153"/>
                    <a:pt x="195" y="146"/>
                  </a:cubicBezTo>
                  <a:cubicBezTo>
                    <a:pt x="246" y="15"/>
                    <a:pt x="246" y="15"/>
                    <a:pt x="246" y="15"/>
                  </a:cubicBezTo>
                  <a:cubicBezTo>
                    <a:pt x="249" y="8"/>
                    <a:pt x="244" y="0"/>
                    <a:pt x="236" y="0"/>
                  </a:cubicBezTo>
                </a:path>
              </a:pathLst>
            </a:custGeom>
            <a:solidFill>
              <a:srgbClr val="2C1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3" name="Freeform 986">
              <a:extLst>
                <a:ext uri="{FF2B5EF4-FFF2-40B4-BE49-F238E27FC236}">
                  <a16:creationId xmlns:a16="http://schemas.microsoft.com/office/drawing/2014/main" id="{DC1F1794-1007-4BC3-8595-54C9C39D8F64}"/>
                </a:ext>
              </a:extLst>
            </p:cNvPr>
            <p:cNvSpPr>
              <a:spLocks/>
            </p:cNvSpPr>
            <p:nvPr/>
          </p:nvSpPr>
          <p:spPr bwMode="auto">
            <a:xfrm>
              <a:off x="6119563" y="4641349"/>
              <a:ext cx="583686" cy="1238479"/>
            </a:xfrm>
            <a:custGeom>
              <a:avLst/>
              <a:gdLst>
                <a:gd name="T0" fmla="*/ 161 w 170"/>
                <a:gd name="T1" fmla="*/ 359 h 359"/>
                <a:gd name="T2" fmla="*/ 164 w 170"/>
                <a:gd name="T3" fmla="*/ 358 h 359"/>
                <a:gd name="T4" fmla="*/ 168 w 170"/>
                <a:gd name="T5" fmla="*/ 349 h 359"/>
                <a:gd name="T6" fmla="*/ 15 w 170"/>
                <a:gd name="T7" fmla="*/ 5 h 359"/>
                <a:gd name="T8" fmla="*/ 6 w 170"/>
                <a:gd name="T9" fmla="*/ 1 h 359"/>
                <a:gd name="T10" fmla="*/ 2 w 170"/>
                <a:gd name="T11" fmla="*/ 11 h 359"/>
                <a:gd name="T12" fmla="*/ 155 w 170"/>
                <a:gd name="T13" fmla="*/ 355 h 359"/>
                <a:gd name="T14" fmla="*/ 161 w 170"/>
                <a:gd name="T15" fmla="*/ 359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359">
                  <a:moveTo>
                    <a:pt x="161" y="359"/>
                  </a:moveTo>
                  <a:cubicBezTo>
                    <a:pt x="162" y="359"/>
                    <a:pt x="163" y="359"/>
                    <a:pt x="164" y="358"/>
                  </a:cubicBezTo>
                  <a:cubicBezTo>
                    <a:pt x="168" y="357"/>
                    <a:pt x="170" y="353"/>
                    <a:pt x="168" y="349"/>
                  </a:cubicBezTo>
                  <a:cubicBezTo>
                    <a:pt x="15" y="5"/>
                    <a:pt x="15" y="5"/>
                    <a:pt x="15" y="5"/>
                  </a:cubicBezTo>
                  <a:cubicBezTo>
                    <a:pt x="14" y="2"/>
                    <a:pt x="9" y="0"/>
                    <a:pt x="6" y="1"/>
                  </a:cubicBezTo>
                  <a:cubicBezTo>
                    <a:pt x="2" y="3"/>
                    <a:pt x="0" y="7"/>
                    <a:pt x="2" y="11"/>
                  </a:cubicBezTo>
                  <a:cubicBezTo>
                    <a:pt x="155" y="355"/>
                    <a:pt x="155" y="355"/>
                    <a:pt x="155" y="355"/>
                  </a:cubicBezTo>
                  <a:cubicBezTo>
                    <a:pt x="156" y="357"/>
                    <a:pt x="158" y="359"/>
                    <a:pt x="161" y="359"/>
                  </a:cubicBezTo>
                </a:path>
              </a:pathLst>
            </a:custGeom>
            <a:solidFill>
              <a:srgbClr val="90D7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4" name="Freeform 987">
              <a:extLst>
                <a:ext uri="{FF2B5EF4-FFF2-40B4-BE49-F238E27FC236}">
                  <a16:creationId xmlns:a16="http://schemas.microsoft.com/office/drawing/2014/main" id="{35E38E14-832E-4D97-98E6-A875BFE3EA92}"/>
                </a:ext>
              </a:extLst>
            </p:cNvPr>
            <p:cNvSpPr>
              <a:spLocks/>
            </p:cNvSpPr>
            <p:nvPr/>
          </p:nvSpPr>
          <p:spPr bwMode="auto">
            <a:xfrm>
              <a:off x="6054380" y="4641349"/>
              <a:ext cx="580722" cy="1238479"/>
            </a:xfrm>
            <a:custGeom>
              <a:avLst/>
              <a:gdLst>
                <a:gd name="T0" fmla="*/ 8 w 169"/>
                <a:gd name="T1" fmla="*/ 359 h 359"/>
                <a:gd name="T2" fmla="*/ 15 w 169"/>
                <a:gd name="T3" fmla="*/ 355 h 359"/>
                <a:gd name="T4" fmla="*/ 168 w 169"/>
                <a:gd name="T5" fmla="*/ 11 h 359"/>
                <a:gd name="T6" fmla="*/ 164 w 169"/>
                <a:gd name="T7" fmla="*/ 1 h 359"/>
                <a:gd name="T8" fmla="*/ 154 w 169"/>
                <a:gd name="T9" fmla="*/ 5 h 359"/>
                <a:gd name="T10" fmla="*/ 1 w 169"/>
                <a:gd name="T11" fmla="*/ 349 h 359"/>
                <a:gd name="T12" fmla="*/ 5 w 169"/>
                <a:gd name="T13" fmla="*/ 358 h 359"/>
                <a:gd name="T14" fmla="*/ 8 w 169"/>
                <a:gd name="T15" fmla="*/ 359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359">
                  <a:moveTo>
                    <a:pt x="8" y="359"/>
                  </a:moveTo>
                  <a:cubicBezTo>
                    <a:pt x="11" y="359"/>
                    <a:pt x="14" y="357"/>
                    <a:pt x="15" y="355"/>
                  </a:cubicBezTo>
                  <a:cubicBezTo>
                    <a:pt x="168" y="11"/>
                    <a:pt x="168" y="11"/>
                    <a:pt x="168" y="11"/>
                  </a:cubicBezTo>
                  <a:cubicBezTo>
                    <a:pt x="169" y="7"/>
                    <a:pt x="168" y="3"/>
                    <a:pt x="164" y="1"/>
                  </a:cubicBezTo>
                  <a:cubicBezTo>
                    <a:pt x="160" y="0"/>
                    <a:pt x="156" y="2"/>
                    <a:pt x="154" y="5"/>
                  </a:cubicBezTo>
                  <a:cubicBezTo>
                    <a:pt x="1" y="349"/>
                    <a:pt x="1" y="349"/>
                    <a:pt x="1" y="349"/>
                  </a:cubicBezTo>
                  <a:cubicBezTo>
                    <a:pt x="0" y="353"/>
                    <a:pt x="2" y="357"/>
                    <a:pt x="5" y="358"/>
                  </a:cubicBezTo>
                  <a:cubicBezTo>
                    <a:pt x="6" y="359"/>
                    <a:pt x="7" y="359"/>
                    <a:pt x="8" y="359"/>
                  </a:cubicBezTo>
                </a:path>
              </a:pathLst>
            </a:custGeom>
            <a:solidFill>
              <a:srgbClr val="90D7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5" name="Freeform 988">
              <a:extLst>
                <a:ext uri="{FF2B5EF4-FFF2-40B4-BE49-F238E27FC236}">
                  <a16:creationId xmlns:a16="http://schemas.microsoft.com/office/drawing/2014/main" id="{86D918BB-21D3-4DFF-B8A6-C3C696D6366C}"/>
                </a:ext>
              </a:extLst>
            </p:cNvPr>
            <p:cNvSpPr>
              <a:spLocks/>
            </p:cNvSpPr>
            <p:nvPr/>
          </p:nvSpPr>
          <p:spPr bwMode="auto">
            <a:xfrm>
              <a:off x="4492947" y="4641349"/>
              <a:ext cx="583686" cy="1238479"/>
            </a:xfrm>
            <a:custGeom>
              <a:avLst/>
              <a:gdLst>
                <a:gd name="T0" fmla="*/ 161 w 170"/>
                <a:gd name="T1" fmla="*/ 359 h 359"/>
                <a:gd name="T2" fmla="*/ 164 w 170"/>
                <a:gd name="T3" fmla="*/ 358 h 359"/>
                <a:gd name="T4" fmla="*/ 168 w 170"/>
                <a:gd name="T5" fmla="*/ 349 h 359"/>
                <a:gd name="T6" fmla="*/ 15 w 170"/>
                <a:gd name="T7" fmla="*/ 5 h 359"/>
                <a:gd name="T8" fmla="*/ 6 w 170"/>
                <a:gd name="T9" fmla="*/ 1 h 359"/>
                <a:gd name="T10" fmla="*/ 2 w 170"/>
                <a:gd name="T11" fmla="*/ 11 h 359"/>
                <a:gd name="T12" fmla="*/ 155 w 170"/>
                <a:gd name="T13" fmla="*/ 355 h 359"/>
                <a:gd name="T14" fmla="*/ 161 w 170"/>
                <a:gd name="T15" fmla="*/ 359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359">
                  <a:moveTo>
                    <a:pt x="161" y="359"/>
                  </a:moveTo>
                  <a:cubicBezTo>
                    <a:pt x="162" y="359"/>
                    <a:pt x="163" y="359"/>
                    <a:pt x="164" y="358"/>
                  </a:cubicBezTo>
                  <a:cubicBezTo>
                    <a:pt x="168" y="357"/>
                    <a:pt x="170" y="353"/>
                    <a:pt x="168" y="349"/>
                  </a:cubicBezTo>
                  <a:cubicBezTo>
                    <a:pt x="15" y="5"/>
                    <a:pt x="15" y="5"/>
                    <a:pt x="15" y="5"/>
                  </a:cubicBezTo>
                  <a:cubicBezTo>
                    <a:pt x="14" y="2"/>
                    <a:pt x="9" y="0"/>
                    <a:pt x="6" y="1"/>
                  </a:cubicBezTo>
                  <a:cubicBezTo>
                    <a:pt x="2" y="3"/>
                    <a:pt x="0" y="7"/>
                    <a:pt x="2" y="11"/>
                  </a:cubicBezTo>
                  <a:cubicBezTo>
                    <a:pt x="155" y="355"/>
                    <a:pt x="155" y="355"/>
                    <a:pt x="155" y="355"/>
                  </a:cubicBezTo>
                  <a:cubicBezTo>
                    <a:pt x="156" y="357"/>
                    <a:pt x="158" y="359"/>
                    <a:pt x="161" y="359"/>
                  </a:cubicBezTo>
                </a:path>
              </a:pathLst>
            </a:custGeom>
            <a:solidFill>
              <a:srgbClr val="90D7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6" name="Freeform 989">
              <a:extLst>
                <a:ext uri="{FF2B5EF4-FFF2-40B4-BE49-F238E27FC236}">
                  <a16:creationId xmlns:a16="http://schemas.microsoft.com/office/drawing/2014/main" id="{E8E749E6-F829-492E-B477-D6EDB49ABA8D}"/>
                </a:ext>
              </a:extLst>
            </p:cNvPr>
            <p:cNvSpPr>
              <a:spLocks/>
            </p:cNvSpPr>
            <p:nvPr/>
          </p:nvSpPr>
          <p:spPr bwMode="auto">
            <a:xfrm>
              <a:off x="4427764" y="4641349"/>
              <a:ext cx="580722" cy="1238479"/>
            </a:xfrm>
            <a:custGeom>
              <a:avLst/>
              <a:gdLst>
                <a:gd name="T0" fmla="*/ 8 w 169"/>
                <a:gd name="T1" fmla="*/ 359 h 359"/>
                <a:gd name="T2" fmla="*/ 15 w 169"/>
                <a:gd name="T3" fmla="*/ 355 h 359"/>
                <a:gd name="T4" fmla="*/ 168 w 169"/>
                <a:gd name="T5" fmla="*/ 11 h 359"/>
                <a:gd name="T6" fmla="*/ 164 w 169"/>
                <a:gd name="T7" fmla="*/ 1 h 359"/>
                <a:gd name="T8" fmla="*/ 154 w 169"/>
                <a:gd name="T9" fmla="*/ 5 h 359"/>
                <a:gd name="T10" fmla="*/ 1 w 169"/>
                <a:gd name="T11" fmla="*/ 349 h 359"/>
                <a:gd name="T12" fmla="*/ 5 w 169"/>
                <a:gd name="T13" fmla="*/ 358 h 359"/>
                <a:gd name="T14" fmla="*/ 8 w 169"/>
                <a:gd name="T15" fmla="*/ 359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359">
                  <a:moveTo>
                    <a:pt x="8" y="359"/>
                  </a:moveTo>
                  <a:cubicBezTo>
                    <a:pt x="11" y="359"/>
                    <a:pt x="14" y="357"/>
                    <a:pt x="15" y="355"/>
                  </a:cubicBezTo>
                  <a:cubicBezTo>
                    <a:pt x="168" y="11"/>
                    <a:pt x="168" y="11"/>
                    <a:pt x="168" y="11"/>
                  </a:cubicBezTo>
                  <a:cubicBezTo>
                    <a:pt x="169" y="7"/>
                    <a:pt x="168" y="3"/>
                    <a:pt x="164" y="1"/>
                  </a:cubicBezTo>
                  <a:cubicBezTo>
                    <a:pt x="160" y="0"/>
                    <a:pt x="156" y="2"/>
                    <a:pt x="154" y="5"/>
                  </a:cubicBezTo>
                  <a:cubicBezTo>
                    <a:pt x="1" y="349"/>
                    <a:pt x="1" y="349"/>
                    <a:pt x="1" y="349"/>
                  </a:cubicBezTo>
                  <a:cubicBezTo>
                    <a:pt x="0" y="353"/>
                    <a:pt x="2" y="357"/>
                    <a:pt x="5" y="358"/>
                  </a:cubicBezTo>
                  <a:cubicBezTo>
                    <a:pt x="6" y="359"/>
                    <a:pt x="7" y="359"/>
                    <a:pt x="8" y="359"/>
                  </a:cubicBezTo>
                </a:path>
              </a:pathLst>
            </a:custGeom>
            <a:solidFill>
              <a:srgbClr val="90D7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sp>
          <p:nvSpPr>
            <p:cNvPr id="57" name="Freeform 990">
              <a:extLst>
                <a:ext uri="{FF2B5EF4-FFF2-40B4-BE49-F238E27FC236}">
                  <a16:creationId xmlns:a16="http://schemas.microsoft.com/office/drawing/2014/main" id="{04C29032-A4A5-4919-BB3D-F03C86FC831C}"/>
                </a:ext>
              </a:extLst>
            </p:cNvPr>
            <p:cNvSpPr>
              <a:spLocks/>
            </p:cNvSpPr>
            <p:nvPr/>
          </p:nvSpPr>
          <p:spPr bwMode="auto">
            <a:xfrm>
              <a:off x="4392209" y="4590979"/>
              <a:ext cx="2441403" cy="130368"/>
            </a:xfrm>
            <a:custGeom>
              <a:avLst/>
              <a:gdLst>
                <a:gd name="T0" fmla="*/ 0 w 710"/>
                <a:gd name="T1" fmla="*/ 9 h 38"/>
                <a:gd name="T2" fmla="*/ 2 w 710"/>
                <a:gd name="T3" fmla="*/ 3 h 38"/>
                <a:gd name="T4" fmla="*/ 7 w 710"/>
                <a:gd name="T5" fmla="*/ 0 h 38"/>
                <a:gd name="T6" fmla="*/ 702 w 710"/>
                <a:gd name="T7" fmla="*/ 0 h 38"/>
                <a:gd name="T8" fmla="*/ 709 w 710"/>
                <a:gd name="T9" fmla="*/ 4 h 38"/>
                <a:gd name="T10" fmla="*/ 709 w 710"/>
                <a:gd name="T11" fmla="*/ 13 h 38"/>
                <a:gd name="T12" fmla="*/ 702 w 710"/>
                <a:gd name="T13" fmla="*/ 31 h 38"/>
                <a:gd name="T14" fmla="*/ 692 w 710"/>
                <a:gd name="T15" fmla="*/ 38 h 38"/>
                <a:gd name="T16" fmla="*/ 12 w 710"/>
                <a:gd name="T17" fmla="*/ 38 h 38"/>
                <a:gd name="T18" fmla="*/ 4 w 710"/>
                <a:gd name="T19" fmla="*/ 31 h 38"/>
                <a:gd name="T20" fmla="*/ 0 w 710"/>
                <a:gd name="T2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38">
                  <a:moveTo>
                    <a:pt x="0" y="9"/>
                  </a:moveTo>
                  <a:cubicBezTo>
                    <a:pt x="0" y="7"/>
                    <a:pt x="0" y="5"/>
                    <a:pt x="2" y="3"/>
                  </a:cubicBezTo>
                  <a:cubicBezTo>
                    <a:pt x="3" y="1"/>
                    <a:pt x="5" y="0"/>
                    <a:pt x="7" y="0"/>
                  </a:cubicBezTo>
                  <a:cubicBezTo>
                    <a:pt x="702" y="0"/>
                    <a:pt x="702" y="0"/>
                    <a:pt x="702" y="0"/>
                  </a:cubicBezTo>
                  <a:cubicBezTo>
                    <a:pt x="705" y="0"/>
                    <a:pt x="707" y="2"/>
                    <a:pt x="709" y="4"/>
                  </a:cubicBezTo>
                  <a:cubicBezTo>
                    <a:pt x="710" y="7"/>
                    <a:pt x="710" y="10"/>
                    <a:pt x="709" y="13"/>
                  </a:cubicBezTo>
                  <a:cubicBezTo>
                    <a:pt x="702" y="31"/>
                    <a:pt x="702" y="31"/>
                    <a:pt x="702" y="31"/>
                  </a:cubicBezTo>
                  <a:cubicBezTo>
                    <a:pt x="700" y="35"/>
                    <a:pt x="696" y="38"/>
                    <a:pt x="692" y="38"/>
                  </a:cubicBezTo>
                  <a:cubicBezTo>
                    <a:pt x="12" y="38"/>
                    <a:pt x="12" y="38"/>
                    <a:pt x="12" y="38"/>
                  </a:cubicBezTo>
                  <a:cubicBezTo>
                    <a:pt x="8" y="38"/>
                    <a:pt x="5" y="35"/>
                    <a:pt x="4" y="31"/>
                  </a:cubicBezTo>
                  <a:lnTo>
                    <a:pt x="0" y="9"/>
                  </a:lnTo>
                  <a:close/>
                </a:path>
              </a:pathLst>
            </a:custGeom>
            <a:solidFill>
              <a:srgbClr val="90D7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Verdana"/>
              </a:endParaRPr>
            </a:p>
          </p:txBody>
        </p:sp>
      </p:gr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626350" cy="422275"/>
          </a:xfrm>
          <a:prstGeom prst="rect">
            <a:avLst/>
          </a:prstGeom>
        </p:spPr>
        <p:txBody>
          <a:bodyPr vert="horz" wrap="square" lIns="0" tIns="12700" rIns="0" bIns="0" rtlCol="0">
            <a:spAutoFit/>
          </a:bodyPr>
          <a:lstStyle/>
          <a:p>
            <a:pPr marL="12700">
              <a:lnSpc>
                <a:spcPct val="100000"/>
              </a:lnSpc>
              <a:spcBef>
                <a:spcPts val="100"/>
              </a:spcBef>
            </a:pPr>
            <a:r>
              <a:rPr sz="2600" spc="-30"/>
              <a:t>Technical </a:t>
            </a:r>
            <a:r>
              <a:rPr sz="2600"/>
              <a:t>Implementation Approach – </a:t>
            </a:r>
            <a:r>
              <a:rPr sz="2600" spc="-45"/>
              <a:t>Wave</a:t>
            </a:r>
            <a:r>
              <a:rPr sz="2600" spc="-105"/>
              <a:t> </a:t>
            </a:r>
            <a:r>
              <a:rPr sz="2600"/>
              <a:t>1</a:t>
            </a:r>
          </a:p>
        </p:txBody>
      </p:sp>
      <p:sp>
        <p:nvSpPr>
          <p:cNvPr id="74" name="object 7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5" name="object 7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5</a:t>
            </a:fld>
            <a:endParaRPr sz="800">
              <a:latin typeface="Verdana"/>
              <a:cs typeface="Verdana"/>
            </a:endParaRPr>
          </a:p>
        </p:txBody>
      </p:sp>
      <p:sp>
        <p:nvSpPr>
          <p:cNvPr id="78" name="Rectangle 77">
            <a:extLst>
              <a:ext uri="{FF2B5EF4-FFF2-40B4-BE49-F238E27FC236}">
                <a16:creationId xmlns:a16="http://schemas.microsoft.com/office/drawing/2014/main" id="{C133A8DB-F590-4A17-8299-D280336B346E}"/>
              </a:ext>
            </a:extLst>
          </p:cNvPr>
          <p:cNvSpPr/>
          <p:nvPr/>
        </p:nvSpPr>
        <p:spPr>
          <a:xfrm>
            <a:off x="2240299" y="5313233"/>
            <a:ext cx="7811751"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CRM Functionalities (Automotive Lighting &amp; Electronics )</a:t>
            </a:r>
          </a:p>
        </p:txBody>
      </p:sp>
      <p:sp>
        <p:nvSpPr>
          <p:cNvPr id="79" name="Rectangle 78">
            <a:extLst>
              <a:ext uri="{FF2B5EF4-FFF2-40B4-BE49-F238E27FC236}">
                <a16:creationId xmlns:a16="http://schemas.microsoft.com/office/drawing/2014/main" id="{09761403-B100-4A2E-B1F9-8FDFEA5E7526}"/>
              </a:ext>
            </a:extLst>
          </p:cNvPr>
          <p:cNvSpPr/>
          <p:nvPr/>
        </p:nvSpPr>
        <p:spPr>
          <a:xfrm>
            <a:off x="2256616" y="5908893"/>
            <a:ext cx="7795434"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Integration (Actual Volume)</a:t>
            </a:r>
          </a:p>
        </p:txBody>
      </p:sp>
      <p:sp>
        <p:nvSpPr>
          <p:cNvPr id="80" name="Rectangle 79">
            <a:extLst>
              <a:ext uri="{FF2B5EF4-FFF2-40B4-BE49-F238E27FC236}">
                <a16:creationId xmlns:a16="http://schemas.microsoft.com/office/drawing/2014/main" id="{096545F9-10CC-4750-BCF9-AC0E74AF9866}"/>
              </a:ext>
            </a:extLst>
          </p:cNvPr>
          <p:cNvSpPr/>
          <p:nvPr/>
        </p:nvSpPr>
        <p:spPr>
          <a:xfrm>
            <a:off x="2139950" y="981000"/>
            <a:ext cx="7912099" cy="2111498"/>
          </a:xfrm>
          <a:prstGeom prst="rect">
            <a:avLst/>
          </a:pr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81" name="Shape 1171">
            <a:extLst>
              <a:ext uri="{FF2B5EF4-FFF2-40B4-BE49-F238E27FC236}">
                <a16:creationId xmlns:a16="http://schemas.microsoft.com/office/drawing/2014/main" id="{FFB77DBE-CF44-4E30-9A17-7CEF3679F9B4}"/>
              </a:ext>
            </a:extLst>
          </p:cNvPr>
          <p:cNvSpPr/>
          <p:nvPr/>
        </p:nvSpPr>
        <p:spPr>
          <a:xfrm>
            <a:off x="6380844" y="1047407"/>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eneral Platform</a:t>
            </a:r>
          </a:p>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Optimization</a:t>
            </a:r>
          </a:p>
        </p:txBody>
      </p:sp>
      <p:grpSp>
        <p:nvGrpSpPr>
          <p:cNvPr id="82" name="Group 81">
            <a:extLst>
              <a:ext uri="{FF2B5EF4-FFF2-40B4-BE49-F238E27FC236}">
                <a16:creationId xmlns:a16="http://schemas.microsoft.com/office/drawing/2014/main" id="{CE61B223-E3EF-4776-8DCE-0165BAA2E2E8}"/>
              </a:ext>
            </a:extLst>
          </p:cNvPr>
          <p:cNvGrpSpPr/>
          <p:nvPr/>
        </p:nvGrpSpPr>
        <p:grpSpPr>
          <a:xfrm>
            <a:off x="6380844" y="1060995"/>
            <a:ext cx="573576" cy="613118"/>
            <a:chOff x="227349" y="1656672"/>
            <a:chExt cx="331451" cy="613118"/>
          </a:xfrm>
          <a:solidFill>
            <a:srgbClr val="FFFFFF">
              <a:lumMod val="85000"/>
            </a:srgbClr>
          </a:solidFill>
        </p:grpSpPr>
        <p:sp>
          <p:nvSpPr>
            <p:cNvPr id="83" name="Rounded Rectangle 41">
              <a:extLst>
                <a:ext uri="{FF2B5EF4-FFF2-40B4-BE49-F238E27FC236}">
                  <a16:creationId xmlns:a16="http://schemas.microsoft.com/office/drawing/2014/main" id="{1AB11BD2-5DF5-44D3-BCC8-1B983B3ACF1B}"/>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84" name="Rounded Rectangle 41">
              <a:extLst>
                <a:ext uri="{FF2B5EF4-FFF2-40B4-BE49-F238E27FC236}">
                  <a16:creationId xmlns:a16="http://schemas.microsoft.com/office/drawing/2014/main" id="{7E366E39-2AF8-4BB8-831A-7662E6497D59}"/>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85" name="Freeform 42">
              <a:extLst>
                <a:ext uri="{FF2B5EF4-FFF2-40B4-BE49-F238E27FC236}">
                  <a16:creationId xmlns:a16="http://schemas.microsoft.com/office/drawing/2014/main" id="{8AFE7C9C-C608-4244-91D1-68EC7DBA6183}"/>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86" name="Shape 1171">
            <a:extLst>
              <a:ext uri="{FF2B5EF4-FFF2-40B4-BE49-F238E27FC236}">
                <a16:creationId xmlns:a16="http://schemas.microsoft.com/office/drawing/2014/main" id="{935B8124-9BA2-48AB-B0BC-E0786FD41C9D}"/>
              </a:ext>
            </a:extLst>
          </p:cNvPr>
          <p:cNvSpPr/>
          <p:nvPr/>
        </p:nvSpPr>
        <p:spPr>
          <a:xfrm>
            <a:off x="6380844" y="1725681"/>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Data management</a:t>
            </a:r>
          </a:p>
        </p:txBody>
      </p:sp>
      <p:grpSp>
        <p:nvGrpSpPr>
          <p:cNvPr id="87" name="Group 86">
            <a:extLst>
              <a:ext uri="{FF2B5EF4-FFF2-40B4-BE49-F238E27FC236}">
                <a16:creationId xmlns:a16="http://schemas.microsoft.com/office/drawing/2014/main" id="{D708B105-6BF5-438C-A284-A4A68D39AA29}"/>
              </a:ext>
            </a:extLst>
          </p:cNvPr>
          <p:cNvGrpSpPr/>
          <p:nvPr/>
        </p:nvGrpSpPr>
        <p:grpSpPr>
          <a:xfrm>
            <a:off x="6380845" y="1725681"/>
            <a:ext cx="606269" cy="613118"/>
            <a:chOff x="227349" y="1656672"/>
            <a:chExt cx="331451" cy="613118"/>
          </a:xfrm>
          <a:solidFill>
            <a:srgbClr val="FFFFFF">
              <a:lumMod val="85000"/>
            </a:srgbClr>
          </a:solidFill>
        </p:grpSpPr>
        <p:sp>
          <p:nvSpPr>
            <p:cNvPr id="88" name="Rounded Rectangle 41">
              <a:extLst>
                <a:ext uri="{FF2B5EF4-FFF2-40B4-BE49-F238E27FC236}">
                  <a16:creationId xmlns:a16="http://schemas.microsoft.com/office/drawing/2014/main" id="{3F528386-5A22-413C-A51C-2EFB3E269CC5}"/>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89" name="Rounded Rectangle 41">
              <a:extLst>
                <a:ext uri="{FF2B5EF4-FFF2-40B4-BE49-F238E27FC236}">
                  <a16:creationId xmlns:a16="http://schemas.microsoft.com/office/drawing/2014/main" id="{8FA6082B-8F0D-4E93-BA5E-2CD2B93719D8}"/>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90" name="Freeform 42">
              <a:extLst>
                <a:ext uri="{FF2B5EF4-FFF2-40B4-BE49-F238E27FC236}">
                  <a16:creationId xmlns:a16="http://schemas.microsoft.com/office/drawing/2014/main" id="{414F8878-0E80-4777-B7F6-5F41EC1C27AF}"/>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91" name="Shape 1171">
            <a:extLst>
              <a:ext uri="{FF2B5EF4-FFF2-40B4-BE49-F238E27FC236}">
                <a16:creationId xmlns:a16="http://schemas.microsoft.com/office/drawing/2014/main" id="{219BB969-851E-471A-A23D-0E24E68DD3CB}"/>
              </a:ext>
            </a:extLst>
          </p:cNvPr>
          <p:cNvSpPr/>
          <p:nvPr/>
        </p:nvSpPr>
        <p:spPr>
          <a:xfrm>
            <a:off x="6391580" y="2389429"/>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Mobile Compatibility</a:t>
            </a:r>
          </a:p>
        </p:txBody>
      </p:sp>
      <p:sp>
        <p:nvSpPr>
          <p:cNvPr id="92" name="Rectangle 91">
            <a:extLst>
              <a:ext uri="{FF2B5EF4-FFF2-40B4-BE49-F238E27FC236}">
                <a16:creationId xmlns:a16="http://schemas.microsoft.com/office/drawing/2014/main" id="{3484777D-3EF0-4BD5-916E-3FBFB22B0378}"/>
              </a:ext>
            </a:extLst>
          </p:cNvPr>
          <p:cNvSpPr/>
          <p:nvPr/>
        </p:nvSpPr>
        <p:spPr>
          <a:xfrm>
            <a:off x="2856140" y="1930068"/>
            <a:ext cx="2955017"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Platform Optimization</a:t>
            </a:r>
          </a:p>
        </p:txBody>
      </p:sp>
      <p:sp>
        <p:nvSpPr>
          <p:cNvPr id="93" name="Rectangle 92">
            <a:extLst>
              <a:ext uri="{FF2B5EF4-FFF2-40B4-BE49-F238E27FC236}">
                <a16:creationId xmlns:a16="http://schemas.microsoft.com/office/drawing/2014/main" id="{D4605DD9-825C-48CB-AA9F-5B1FA73E1F83}"/>
              </a:ext>
            </a:extLst>
          </p:cNvPr>
          <p:cNvSpPr/>
          <p:nvPr/>
        </p:nvSpPr>
        <p:spPr>
          <a:xfrm>
            <a:off x="2139951" y="3111005"/>
            <a:ext cx="7912099" cy="2111498"/>
          </a:xfrm>
          <a:prstGeom prst="rect">
            <a:avLst/>
          </a:prstGeom>
          <a:solidFill>
            <a:srgbClr val="0070AD">
              <a:alpha val="31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94" name="Rectangle 93">
            <a:extLst>
              <a:ext uri="{FF2B5EF4-FFF2-40B4-BE49-F238E27FC236}">
                <a16:creationId xmlns:a16="http://schemas.microsoft.com/office/drawing/2014/main" id="{CB102E71-BCBA-464F-B290-1125D83D9494}"/>
              </a:ext>
            </a:extLst>
          </p:cNvPr>
          <p:cNvSpPr/>
          <p:nvPr/>
        </p:nvSpPr>
        <p:spPr>
          <a:xfrm>
            <a:off x="2322741" y="3730479"/>
            <a:ext cx="3611750" cy="646331"/>
          </a:xfrm>
          <a:prstGeom prst="rect">
            <a:avLst/>
          </a:prstGeom>
          <a:noFill/>
          <a:ln>
            <a:noFill/>
          </a:ln>
        </p:spPr>
        <p:txBody>
          <a:bodyPr wrap="square">
            <a:spAutoFit/>
          </a:bodyPr>
          <a:lstStyle/>
          <a:p>
            <a:pPr algn="ctr" fontAlgn="ctr"/>
            <a:r>
              <a:rPr lang="en-US">
                <a:solidFill>
                  <a:srgbClr val="FFFFFF"/>
                </a:solidFill>
                <a:latin typeface="Verdana"/>
              </a:rPr>
              <a:t>Salesforce Enhancements and Rollout</a:t>
            </a:r>
          </a:p>
        </p:txBody>
      </p:sp>
      <p:sp>
        <p:nvSpPr>
          <p:cNvPr id="95" name="Shape 1171">
            <a:extLst>
              <a:ext uri="{FF2B5EF4-FFF2-40B4-BE49-F238E27FC236}">
                <a16:creationId xmlns:a16="http://schemas.microsoft.com/office/drawing/2014/main" id="{4C7A809E-4D2A-4008-9418-596B4EB1ED6C}"/>
              </a:ext>
            </a:extLst>
          </p:cNvPr>
          <p:cNvSpPr/>
          <p:nvPr/>
        </p:nvSpPr>
        <p:spPr>
          <a:xfrm>
            <a:off x="6414340" y="3134211"/>
            <a:ext cx="3589052" cy="613118"/>
          </a:xfrm>
          <a:prstGeom prst="round2SameRect">
            <a:avLst/>
          </a:prstGeom>
          <a:solidFill>
            <a:srgbClr val="0070AD"/>
          </a:solidFill>
          <a:ln>
            <a:noFill/>
          </a:ln>
        </p:spPr>
        <p:txBody>
          <a:bodyPr lIns="365760" tIns="91440" rIns="91440" bIns="91440" anchor="ctr" anchorCtr="0">
            <a:noAutofit/>
          </a:bodyPr>
          <a:lstStyle/>
          <a:p>
            <a:pPr>
              <a:buClr>
                <a:srgbClr val="FFFFFF"/>
              </a:buClr>
              <a:buSzPct val="25000"/>
            </a:pPr>
            <a:r>
              <a:rPr lang="en-US" sz="1400" b="1">
                <a:solidFill>
                  <a:srgbClr val="FFFFFF"/>
                </a:solidFill>
                <a:latin typeface="Verdana"/>
                <a:sym typeface="Open Sans"/>
              </a:rPr>
              <a:t>    Electric Powertrain (ePW)</a:t>
            </a:r>
          </a:p>
        </p:txBody>
      </p:sp>
      <p:grpSp>
        <p:nvGrpSpPr>
          <p:cNvPr id="96" name="Group 95">
            <a:extLst>
              <a:ext uri="{FF2B5EF4-FFF2-40B4-BE49-F238E27FC236}">
                <a16:creationId xmlns:a16="http://schemas.microsoft.com/office/drawing/2014/main" id="{E68F23E5-718F-4E93-9108-47C078BB0C76}"/>
              </a:ext>
            </a:extLst>
          </p:cNvPr>
          <p:cNvGrpSpPr/>
          <p:nvPr/>
        </p:nvGrpSpPr>
        <p:grpSpPr>
          <a:xfrm>
            <a:off x="6414341" y="3134211"/>
            <a:ext cx="572664" cy="613118"/>
            <a:chOff x="227349" y="1656672"/>
            <a:chExt cx="331451" cy="613118"/>
          </a:xfrm>
          <a:solidFill>
            <a:srgbClr val="0070AD"/>
          </a:solidFill>
        </p:grpSpPr>
        <p:sp>
          <p:nvSpPr>
            <p:cNvPr id="97" name="Rounded Rectangle 41">
              <a:extLst>
                <a:ext uri="{FF2B5EF4-FFF2-40B4-BE49-F238E27FC236}">
                  <a16:creationId xmlns:a16="http://schemas.microsoft.com/office/drawing/2014/main" id="{C094B4BD-7085-4BFD-9F56-5FEC76479C14}"/>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98" name="Rounded Rectangle 41">
              <a:extLst>
                <a:ext uri="{FF2B5EF4-FFF2-40B4-BE49-F238E27FC236}">
                  <a16:creationId xmlns:a16="http://schemas.microsoft.com/office/drawing/2014/main" id="{5FFA00E6-EA20-4352-A49C-A70E392F65D2}"/>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99" name="Freeform 42">
              <a:extLst>
                <a:ext uri="{FF2B5EF4-FFF2-40B4-BE49-F238E27FC236}">
                  <a16:creationId xmlns:a16="http://schemas.microsoft.com/office/drawing/2014/main" id="{DAA20CDD-B02F-4296-A4E2-73C6FE2D8118}"/>
                </a:ext>
              </a:extLst>
            </p:cNvPr>
            <p:cNvSpPr/>
            <p:nvPr/>
          </p:nvSpPr>
          <p:spPr>
            <a:xfrm>
              <a:off x="227349" y="1714500"/>
              <a:ext cx="331451"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00" name="Shape 1171">
            <a:extLst>
              <a:ext uri="{FF2B5EF4-FFF2-40B4-BE49-F238E27FC236}">
                <a16:creationId xmlns:a16="http://schemas.microsoft.com/office/drawing/2014/main" id="{1B160F77-DD19-41F3-8024-F41F2E0CED1B}"/>
              </a:ext>
            </a:extLst>
          </p:cNvPr>
          <p:cNvSpPr/>
          <p:nvPr/>
        </p:nvSpPr>
        <p:spPr>
          <a:xfrm>
            <a:off x="6414340" y="3838814"/>
            <a:ext cx="3589052" cy="613118"/>
          </a:xfrm>
          <a:prstGeom prst="round2SameRect">
            <a:avLst/>
          </a:prstGeom>
          <a:solidFill>
            <a:srgbClr val="0070AD"/>
          </a:solidFill>
          <a:ln>
            <a:noFill/>
          </a:ln>
        </p:spPr>
        <p:txBody>
          <a:bodyPr lIns="365760" tIns="91440" rIns="91440" bIns="91440" anchor="ctr" anchorCtr="0">
            <a:noAutofit/>
          </a:bodyPr>
          <a:lstStyle/>
          <a:p>
            <a:pPr>
              <a:buClr>
                <a:srgbClr val="FFFFFF"/>
              </a:buClr>
              <a:buSzPct val="25000"/>
            </a:pPr>
            <a:r>
              <a:rPr lang="en-US" sz="1400" b="1">
                <a:solidFill>
                  <a:srgbClr val="FFFFFF"/>
                </a:solidFill>
                <a:latin typeface="Verdana"/>
                <a:sym typeface="Open Sans"/>
              </a:rPr>
              <a:t>    Powertrain (PW)</a:t>
            </a:r>
          </a:p>
        </p:txBody>
      </p:sp>
      <p:grpSp>
        <p:nvGrpSpPr>
          <p:cNvPr id="101" name="Group 100">
            <a:extLst>
              <a:ext uri="{FF2B5EF4-FFF2-40B4-BE49-F238E27FC236}">
                <a16:creationId xmlns:a16="http://schemas.microsoft.com/office/drawing/2014/main" id="{9A6CB8FB-DD02-4E1F-B69E-C60CD6018B41}"/>
              </a:ext>
            </a:extLst>
          </p:cNvPr>
          <p:cNvGrpSpPr/>
          <p:nvPr/>
        </p:nvGrpSpPr>
        <p:grpSpPr>
          <a:xfrm>
            <a:off x="6414341" y="3838815"/>
            <a:ext cx="572664" cy="613118"/>
            <a:chOff x="227349" y="1656672"/>
            <a:chExt cx="331451" cy="613118"/>
          </a:xfrm>
          <a:solidFill>
            <a:srgbClr val="0070AD"/>
          </a:solidFill>
        </p:grpSpPr>
        <p:sp>
          <p:nvSpPr>
            <p:cNvPr id="102" name="Rounded Rectangle 41">
              <a:extLst>
                <a:ext uri="{FF2B5EF4-FFF2-40B4-BE49-F238E27FC236}">
                  <a16:creationId xmlns:a16="http://schemas.microsoft.com/office/drawing/2014/main" id="{B7C0CF56-2F59-4B41-8C51-D8310D5D00E3}"/>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03" name="Rounded Rectangle 41">
              <a:extLst>
                <a:ext uri="{FF2B5EF4-FFF2-40B4-BE49-F238E27FC236}">
                  <a16:creationId xmlns:a16="http://schemas.microsoft.com/office/drawing/2014/main" id="{4718BF6C-5E63-414C-ADE1-2E83D7271115}"/>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04" name="Freeform 42">
              <a:extLst>
                <a:ext uri="{FF2B5EF4-FFF2-40B4-BE49-F238E27FC236}">
                  <a16:creationId xmlns:a16="http://schemas.microsoft.com/office/drawing/2014/main" id="{A97FF66C-0175-450C-A53D-F9719F8B8CF3}"/>
                </a:ext>
              </a:extLst>
            </p:cNvPr>
            <p:cNvSpPr/>
            <p:nvPr/>
          </p:nvSpPr>
          <p:spPr>
            <a:xfrm>
              <a:off x="227349" y="1714500"/>
              <a:ext cx="331451"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05" name="Shape 1171">
            <a:extLst>
              <a:ext uri="{FF2B5EF4-FFF2-40B4-BE49-F238E27FC236}">
                <a16:creationId xmlns:a16="http://schemas.microsoft.com/office/drawing/2014/main" id="{E34C4EE9-0359-4EE2-B611-4D90B96D8A1A}"/>
              </a:ext>
            </a:extLst>
          </p:cNvPr>
          <p:cNvSpPr/>
          <p:nvPr/>
        </p:nvSpPr>
        <p:spPr>
          <a:xfrm>
            <a:off x="6414340" y="4525682"/>
            <a:ext cx="3611750" cy="613118"/>
          </a:xfrm>
          <a:prstGeom prst="round2SameRect">
            <a:avLst/>
          </a:prstGeom>
          <a:solidFill>
            <a:srgbClr val="0070AD"/>
          </a:solidFill>
          <a:ln>
            <a:noFill/>
          </a:ln>
        </p:spPr>
        <p:txBody>
          <a:bodyPr lIns="365760" tIns="91440" rIns="91440" bIns="91440" anchor="ctr" anchorCtr="0">
            <a:noAutofit/>
          </a:bodyPr>
          <a:lstStyle/>
          <a:p>
            <a:pPr>
              <a:buClr>
                <a:srgbClr val="FFFFFF"/>
              </a:buClr>
              <a:buSzPct val="25000"/>
            </a:pPr>
            <a:r>
              <a:rPr lang="en-US" sz="1400" b="1">
                <a:solidFill>
                  <a:srgbClr val="FFFFFF"/>
                </a:solidFill>
                <a:latin typeface="Verdana"/>
                <a:sym typeface="Open Sans"/>
              </a:rPr>
              <a:t>    Green Technology Solutions       </a:t>
            </a:r>
          </a:p>
        </p:txBody>
      </p:sp>
      <p:grpSp>
        <p:nvGrpSpPr>
          <p:cNvPr id="106" name="Group 105">
            <a:extLst>
              <a:ext uri="{FF2B5EF4-FFF2-40B4-BE49-F238E27FC236}">
                <a16:creationId xmlns:a16="http://schemas.microsoft.com/office/drawing/2014/main" id="{7305EA74-06DE-4810-AC6F-E33CACF32FB6}"/>
              </a:ext>
            </a:extLst>
          </p:cNvPr>
          <p:cNvGrpSpPr/>
          <p:nvPr/>
        </p:nvGrpSpPr>
        <p:grpSpPr>
          <a:xfrm>
            <a:off x="6414341" y="4525682"/>
            <a:ext cx="572664" cy="613118"/>
            <a:chOff x="227349" y="1656672"/>
            <a:chExt cx="331451" cy="613118"/>
          </a:xfrm>
          <a:solidFill>
            <a:srgbClr val="0070AD"/>
          </a:solidFill>
        </p:grpSpPr>
        <p:sp>
          <p:nvSpPr>
            <p:cNvPr id="107" name="Rounded Rectangle 41">
              <a:extLst>
                <a:ext uri="{FF2B5EF4-FFF2-40B4-BE49-F238E27FC236}">
                  <a16:creationId xmlns:a16="http://schemas.microsoft.com/office/drawing/2014/main" id="{95E72BF9-7ACE-49C9-964E-4CF6BD5869FF}"/>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08" name="Rounded Rectangle 41">
              <a:extLst>
                <a:ext uri="{FF2B5EF4-FFF2-40B4-BE49-F238E27FC236}">
                  <a16:creationId xmlns:a16="http://schemas.microsoft.com/office/drawing/2014/main" id="{80E0DAEF-0EC3-4A51-BCDD-D9285119474E}"/>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09" name="Freeform 42">
              <a:extLst>
                <a:ext uri="{FF2B5EF4-FFF2-40B4-BE49-F238E27FC236}">
                  <a16:creationId xmlns:a16="http://schemas.microsoft.com/office/drawing/2014/main" id="{AE67EB2A-F92C-44F7-A884-45EADB29AAE1}"/>
                </a:ext>
              </a:extLst>
            </p:cNvPr>
            <p:cNvSpPr/>
            <p:nvPr/>
          </p:nvSpPr>
          <p:spPr>
            <a:xfrm>
              <a:off x="227349" y="1714500"/>
              <a:ext cx="331451"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3</a:t>
              </a:r>
              <a:endParaRPr kumimoji="0" lang="en-US" sz="1200" b="1" i="0" u="none" strike="noStrike" kern="0" cap="none" spc="0" normalizeH="0" baseline="0" noProof="0">
                <a:ln>
                  <a:noFill/>
                </a:ln>
                <a:solidFill>
                  <a:srgbClr val="FFFFFF"/>
                </a:solidFill>
                <a:effectLst/>
                <a:uLnTx/>
                <a:uFillTx/>
                <a:latin typeface="Verdana"/>
              </a:endParaRPr>
            </a:p>
          </p:txBody>
        </p:sp>
      </p:grpSp>
      <p:grpSp>
        <p:nvGrpSpPr>
          <p:cNvPr id="110" name="Group 109">
            <a:extLst>
              <a:ext uri="{FF2B5EF4-FFF2-40B4-BE49-F238E27FC236}">
                <a16:creationId xmlns:a16="http://schemas.microsoft.com/office/drawing/2014/main" id="{10D294CD-2998-4E29-A699-9D401009F011}"/>
              </a:ext>
            </a:extLst>
          </p:cNvPr>
          <p:cNvGrpSpPr/>
          <p:nvPr/>
        </p:nvGrpSpPr>
        <p:grpSpPr>
          <a:xfrm>
            <a:off x="6380845" y="2402129"/>
            <a:ext cx="606269" cy="613118"/>
            <a:chOff x="227349" y="1656672"/>
            <a:chExt cx="331451" cy="613118"/>
          </a:xfrm>
          <a:solidFill>
            <a:srgbClr val="FFFFFF">
              <a:lumMod val="85000"/>
            </a:srgbClr>
          </a:solidFill>
        </p:grpSpPr>
        <p:sp>
          <p:nvSpPr>
            <p:cNvPr id="111" name="Rounded Rectangle 41">
              <a:extLst>
                <a:ext uri="{FF2B5EF4-FFF2-40B4-BE49-F238E27FC236}">
                  <a16:creationId xmlns:a16="http://schemas.microsoft.com/office/drawing/2014/main" id="{E5CF7441-AF2E-4FA2-BB88-B28E529F5F43}"/>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12" name="Rounded Rectangle 41">
              <a:extLst>
                <a:ext uri="{FF2B5EF4-FFF2-40B4-BE49-F238E27FC236}">
                  <a16:creationId xmlns:a16="http://schemas.microsoft.com/office/drawing/2014/main" id="{04682DF9-C56D-4B0B-AAE9-3A8B1AC242F7}"/>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13" name="Freeform 42">
              <a:extLst>
                <a:ext uri="{FF2B5EF4-FFF2-40B4-BE49-F238E27FC236}">
                  <a16:creationId xmlns:a16="http://schemas.microsoft.com/office/drawing/2014/main" id="{B83215C7-05CB-4667-9BD4-01457AF19EE0}"/>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3</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14" name="Oval 20">
            <a:extLst>
              <a:ext uri="{FF2B5EF4-FFF2-40B4-BE49-F238E27FC236}">
                <a16:creationId xmlns:a16="http://schemas.microsoft.com/office/drawing/2014/main" id="{5832D212-D851-4133-A0D6-D72EA89416ED}"/>
              </a:ext>
            </a:extLst>
          </p:cNvPr>
          <p:cNvSpPr/>
          <p:nvPr/>
        </p:nvSpPr>
        <p:spPr>
          <a:xfrm>
            <a:off x="1750079" y="5251200"/>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3</a:t>
            </a:r>
          </a:p>
        </p:txBody>
      </p:sp>
      <p:sp>
        <p:nvSpPr>
          <p:cNvPr id="115" name="Oval 20">
            <a:extLst>
              <a:ext uri="{FF2B5EF4-FFF2-40B4-BE49-F238E27FC236}">
                <a16:creationId xmlns:a16="http://schemas.microsoft.com/office/drawing/2014/main" id="{71042C84-649B-40FE-8475-2B4A2A269BAE}"/>
              </a:ext>
            </a:extLst>
          </p:cNvPr>
          <p:cNvSpPr/>
          <p:nvPr/>
        </p:nvSpPr>
        <p:spPr>
          <a:xfrm>
            <a:off x="1750080" y="3115742"/>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2</a:t>
            </a:r>
          </a:p>
        </p:txBody>
      </p:sp>
      <p:sp>
        <p:nvSpPr>
          <p:cNvPr id="116" name="Oval 20">
            <a:extLst>
              <a:ext uri="{FF2B5EF4-FFF2-40B4-BE49-F238E27FC236}">
                <a16:creationId xmlns:a16="http://schemas.microsoft.com/office/drawing/2014/main" id="{1E616642-5286-47D3-8FBE-9773CC0F7D53}"/>
              </a:ext>
            </a:extLst>
          </p:cNvPr>
          <p:cNvSpPr/>
          <p:nvPr/>
        </p:nvSpPr>
        <p:spPr>
          <a:xfrm>
            <a:off x="1750079" y="899033"/>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1</a:t>
            </a:r>
          </a:p>
        </p:txBody>
      </p:sp>
      <p:sp>
        <p:nvSpPr>
          <p:cNvPr id="117" name="Oval 20">
            <a:extLst>
              <a:ext uri="{FF2B5EF4-FFF2-40B4-BE49-F238E27FC236}">
                <a16:creationId xmlns:a16="http://schemas.microsoft.com/office/drawing/2014/main" id="{7E283A9B-62E1-4E18-95F2-2E7C942F173A}"/>
              </a:ext>
            </a:extLst>
          </p:cNvPr>
          <p:cNvSpPr/>
          <p:nvPr/>
        </p:nvSpPr>
        <p:spPr>
          <a:xfrm>
            <a:off x="1762780" y="5828677"/>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4</a:t>
            </a:r>
          </a:p>
        </p:txBody>
      </p:sp>
    </p:spTree>
    <p:extLst>
      <p:ext uri="{BB962C8B-B14F-4D97-AF65-F5344CB8AC3E}">
        <p14:creationId xmlns:p14="http://schemas.microsoft.com/office/powerpoint/2010/main" val="259640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5" name="object 2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6</a:t>
            </a:fld>
            <a:endParaRPr sz="800">
              <a:latin typeface="Verdana"/>
              <a:cs typeface="Verdana"/>
            </a:endParaRPr>
          </a:p>
        </p:txBody>
      </p:sp>
      <p:sp>
        <p:nvSpPr>
          <p:cNvPr id="303" name="Text Placeholder 4">
            <a:extLst>
              <a:ext uri="{FF2B5EF4-FFF2-40B4-BE49-F238E27FC236}">
                <a16:creationId xmlns:a16="http://schemas.microsoft.com/office/drawing/2014/main" id="{6EC7F96F-0F6D-414C-942B-950BAC43C854}"/>
              </a:ext>
            </a:extLst>
          </p:cNvPr>
          <p:cNvSpPr txBox="1">
            <a:spLocks/>
          </p:cNvSpPr>
          <p:nvPr/>
        </p:nvSpPr>
        <p:spPr>
          <a:xfrm>
            <a:off x="189249" y="1035042"/>
            <a:ext cx="11737302" cy="5445165"/>
          </a:xfrm>
          <a:prstGeom prst="roundRect">
            <a:avLst>
              <a:gd name="adj" fmla="val 292"/>
            </a:avLst>
          </a:prstGeom>
          <a:solidFill>
            <a:srgbClr val="FFFFFF"/>
          </a:solidFill>
        </p:spPr>
        <p:txBody>
          <a:bodyPr vert="horz" lIns="108000" tIns="108000" rIns="108000" bIns="0" rtlCol="0" anchor="ctr" anchorCtr="1">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prstClr val="black"/>
              </a:solidFill>
              <a:effectLst/>
              <a:uLnTx/>
              <a:uFillTx/>
              <a:latin typeface="Verdana"/>
              <a:ea typeface="+mn-ea"/>
              <a:cs typeface="+mn-cs"/>
            </a:endParaRPr>
          </a:p>
        </p:txBody>
      </p:sp>
      <p:sp>
        <p:nvSpPr>
          <p:cNvPr id="304" name="Rectangle 303">
            <a:extLst>
              <a:ext uri="{FF2B5EF4-FFF2-40B4-BE49-F238E27FC236}">
                <a16:creationId xmlns:a16="http://schemas.microsoft.com/office/drawing/2014/main" id="{DF9B0D92-1315-454F-9D34-6C825777FA45}"/>
              </a:ext>
            </a:extLst>
          </p:cNvPr>
          <p:cNvSpPr/>
          <p:nvPr/>
        </p:nvSpPr>
        <p:spPr>
          <a:xfrm>
            <a:off x="5688708" y="1114518"/>
            <a:ext cx="3205156" cy="1023717"/>
          </a:xfrm>
          <a:prstGeom prst="rect">
            <a:avLst/>
          </a:prstGeom>
          <a:solidFill>
            <a:srgbClr val="12ABDB">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sp>
        <p:nvSpPr>
          <p:cNvPr id="305" name="TextBox 251">
            <a:extLst>
              <a:ext uri="{FF2B5EF4-FFF2-40B4-BE49-F238E27FC236}">
                <a16:creationId xmlns:a16="http://schemas.microsoft.com/office/drawing/2014/main" id="{208606B4-605F-489A-9653-F28EFB056343}"/>
              </a:ext>
            </a:extLst>
          </p:cNvPr>
          <p:cNvSpPr txBox="1"/>
          <p:nvPr/>
        </p:nvSpPr>
        <p:spPr>
          <a:xfrm>
            <a:off x="1112984" y="2874829"/>
            <a:ext cx="1344548" cy="153888"/>
          </a:xfrm>
          <a:prstGeom prst="rect">
            <a:avLst/>
          </a:prstGeom>
          <a:noFill/>
        </p:spPr>
        <p:txBody>
          <a:bodyPr wrap="square" lIns="0" tIns="0" rIns="0" bIns="0" rtlCol="0">
            <a:spAutoFit/>
          </a:bodyPr>
          <a:lstStyle/>
          <a:p>
            <a:pPr algn="ctr" defTabSz="913998">
              <a:defRPr/>
            </a:pPr>
            <a:r>
              <a:rPr lang="en-US" sz="1000" b="1">
                <a:solidFill>
                  <a:prstClr val="black"/>
                </a:solidFill>
                <a:latin typeface="Verdana"/>
              </a:rPr>
              <a:t>Global Model</a:t>
            </a:r>
          </a:p>
        </p:txBody>
      </p:sp>
      <p:sp>
        <p:nvSpPr>
          <p:cNvPr id="306" name="TextBox 255">
            <a:extLst>
              <a:ext uri="{FF2B5EF4-FFF2-40B4-BE49-F238E27FC236}">
                <a16:creationId xmlns:a16="http://schemas.microsoft.com/office/drawing/2014/main" id="{EE2F2C2D-A532-4012-9AD0-A881B7CED316}"/>
              </a:ext>
            </a:extLst>
          </p:cNvPr>
          <p:cNvSpPr txBox="1"/>
          <p:nvPr/>
        </p:nvSpPr>
        <p:spPr>
          <a:xfrm>
            <a:off x="3223988" y="3560325"/>
            <a:ext cx="1637996" cy="153888"/>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Workshops</a:t>
            </a:r>
          </a:p>
        </p:txBody>
      </p:sp>
      <p:cxnSp>
        <p:nvCxnSpPr>
          <p:cNvPr id="307" name="Straight Arrow Connector 256">
            <a:extLst>
              <a:ext uri="{FF2B5EF4-FFF2-40B4-BE49-F238E27FC236}">
                <a16:creationId xmlns:a16="http://schemas.microsoft.com/office/drawing/2014/main" id="{58E4725E-F7AD-48AA-BFF0-960D08049D9E}"/>
              </a:ext>
            </a:extLst>
          </p:cNvPr>
          <p:cNvCxnSpPr>
            <a:cxnSpLocks/>
          </p:cNvCxnSpPr>
          <p:nvPr/>
        </p:nvCxnSpPr>
        <p:spPr>
          <a:xfrm>
            <a:off x="2602653" y="3308791"/>
            <a:ext cx="603473" cy="0"/>
          </a:xfrm>
          <a:prstGeom prst="straightConnector1">
            <a:avLst/>
          </a:prstGeom>
          <a:noFill/>
          <a:ln w="57150" cap="flat" cmpd="sng" algn="ctr">
            <a:solidFill>
              <a:srgbClr val="2B143D"/>
            </a:solidFill>
            <a:prstDash val="solid"/>
            <a:headEnd type="none" w="med" len="med"/>
            <a:tailEnd type="triangle" w="med" len="med"/>
          </a:ln>
          <a:effectLst/>
        </p:spPr>
      </p:cxnSp>
      <p:cxnSp>
        <p:nvCxnSpPr>
          <p:cNvPr id="308" name="Straight Arrow Connector 305">
            <a:extLst>
              <a:ext uri="{FF2B5EF4-FFF2-40B4-BE49-F238E27FC236}">
                <a16:creationId xmlns:a16="http://schemas.microsoft.com/office/drawing/2014/main" id="{B0FA8B24-DC65-4D10-9369-A8B9033F54B7}"/>
              </a:ext>
            </a:extLst>
          </p:cNvPr>
          <p:cNvCxnSpPr>
            <a:cxnSpLocks/>
          </p:cNvCxnSpPr>
          <p:nvPr/>
        </p:nvCxnSpPr>
        <p:spPr>
          <a:xfrm>
            <a:off x="4465412" y="3367889"/>
            <a:ext cx="376959" cy="0"/>
          </a:xfrm>
          <a:prstGeom prst="straightConnector1">
            <a:avLst/>
          </a:prstGeom>
          <a:noFill/>
          <a:ln w="57150" cap="flat" cmpd="sng" algn="ctr">
            <a:solidFill>
              <a:srgbClr val="2B143D"/>
            </a:solidFill>
            <a:prstDash val="solid"/>
            <a:headEnd type="none" w="med" len="med"/>
            <a:tailEnd type="triangle" w="med" len="med"/>
          </a:ln>
          <a:effectLst/>
        </p:spPr>
      </p:cxnSp>
      <p:cxnSp>
        <p:nvCxnSpPr>
          <p:cNvPr id="309" name="Straight Arrow Connector 306">
            <a:extLst>
              <a:ext uri="{FF2B5EF4-FFF2-40B4-BE49-F238E27FC236}">
                <a16:creationId xmlns:a16="http://schemas.microsoft.com/office/drawing/2014/main" id="{2CE6E5C1-93B1-4263-B57B-3570AA3F1248}"/>
              </a:ext>
            </a:extLst>
          </p:cNvPr>
          <p:cNvCxnSpPr>
            <a:cxnSpLocks/>
          </p:cNvCxnSpPr>
          <p:nvPr/>
        </p:nvCxnSpPr>
        <p:spPr>
          <a:xfrm>
            <a:off x="6707818" y="3365274"/>
            <a:ext cx="603473" cy="0"/>
          </a:xfrm>
          <a:prstGeom prst="straightConnector1">
            <a:avLst/>
          </a:prstGeom>
          <a:noFill/>
          <a:ln w="57150" cap="flat" cmpd="sng" algn="ctr">
            <a:solidFill>
              <a:srgbClr val="2B143D"/>
            </a:solidFill>
            <a:prstDash val="solid"/>
            <a:headEnd type="none" w="med" len="med"/>
            <a:tailEnd type="triangle" w="med" len="med"/>
          </a:ln>
          <a:effectLst/>
        </p:spPr>
      </p:cxnSp>
      <p:cxnSp>
        <p:nvCxnSpPr>
          <p:cNvPr id="310" name="Straight Arrow Connector 307">
            <a:extLst>
              <a:ext uri="{FF2B5EF4-FFF2-40B4-BE49-F238E27FC236}">
                <a16:creationId xmlns:a16="http://schemas.microsoft.com/office/drawing/2014/main" id="{14D22FBC-6945-4198-8FD5-DA6F18353742}"/>
              </a:ext>
            </a:extLst>
          </p:cNvPr>
          <p:cNvCxnSpPr>
            <a:cxnSpLocks/>
          </p:cNvCxnSpPr>
          <p:nvPr/>
        </p:nvCxnSpPr>
        <p:spPr>
          <a:xfrm>
            <a:off x="8524911" y="3386396"/>
            <a:ext cx="689684" cy="0"/>
          </a:xfrm>
          <a:prstGeom prst="straightConnector1">
            <a:avLst/>
          </a:prstGeom>
          <a:noFill/>
          <a:ln w="57150" cap="flat" cmpd="sng" algn="ctr">
            <a:solidFill>
              <a:srgbClr val="2B143D"/>
            </a:solidFill>
            <a:prstDash val="solid"/>
            <a:headEnd type="none" w="med" len="med"/>
            <a:tailEnd type="triangle" w="med" len="med"/>
          </a:ln>
          <a:effectLst/>
        </p:spPr>
      </p:cxnSp>
      <p:cxnSp>
        <p:nvCxnSpPr>
          <p:cNvPr id="311" name="Straight Arrow Connector 310">
            <a:extLst>
              <a:ext uri="{FF2B5EF4-FFF2-40B4-BE49-F238E27FC236}">
                <a16:creationId xmlns:a16="http://schemas.microsoft.com/office/drawing/2014/main" id="{79EB3A86-7EED-43BA-AAB6-82CDF60D9C69}"/>
              </a:ext>
            </a:extLst>
          </p:cNvPr>
          <p:cNvCxnSpPr>
            <a:cxnSpLocks/>
          </p:cNvCxnSpPr>
          <p:nvPr/>
        </p:nvCxnSpPr>
        <p:spPr>
          <a:xfrm>
            <a:off x="7823651" y="2128365"/>
            <a:ext cx="0" cy="556875"/>
          </a:xfrm>
          <a:prstGeom prst="straightConnector1">
            <a:avLst/>
          </a:prstGeom>
          <a:noFill/>
          <a:ln w="57150" cap="flat" cmpd="sng" algn="ctr">
            <a:solidFill>
              <a:srgbClr val="0070AD"/>
            </a:solidFill>
            <a:prstDash val="solid"/>
            <a:headEnd type="none" w="med" len="med"/>
            <a:tailEnd type="triangle" w="med" len="med"/>
          </a:ln>
          <a:effectLst/>
        </p:spPr>
      </p:cxnSp>
      <p:sp>
        <p:nvSpPr>
          <p:cNvPr id="312" name="TextBox 314">
            <a:extLst>
              <a:ext uri="{FF2B5EF4-FFF2-40B4-BE49-F238E27FC236}">
                <a16:creationId xmlns:a16="http://schemas.microsoft.com/office/drawing/2014/main" id="{221D8B27-2ED0-4AD0-97A1-AEE79535438E}"/>
              </a:ext>
            </a:extLst>
          </p:cNvPr>
          <p:cNvSpPr txBox="1"/>
          <p:nvPr/>
        </p:nvSpPr>
        <p:spPr>
          <a:xfrm>
            <a:off x="3010353" y="5061087"/>
            <a:ext cx="1916562" cy="307777"/>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Marelli Key country Representatives</a:t>
            </a:r>
          </a:p>
        </p:txBody>
      </p:sp>
      <p:sp>
        <p:nvSpPr>
          <p:cNvPr id="313" name="TextBox 315">
            <a:extLst>
              <a:ext uri="{FF2B5EF4-FFF2-40B4-BE49-F238E27FC236}">
                <a16:creationId xmlns:a16="http://schemas.microsoft.com/office/drawing/2014/main" id="{29B46876-D3CE-4EC5-B161-92EB7599DA3F}"/>
              </a:ext>
            </a:extLst>
          </p:cNvPr>
          <p:cNvSpPr txBox="1"/>
          <p:nvPr/>
        </p:nvSpPr>
        <p:spPr>
          <a:xfrm>
            <a:off x="3115352" y="1279859"/>
            <a:ext cx="1548562" cy="461665"/>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Marelli</a:t>
            </a:r>
          </a:p>
          <a:p>
            <a:pPr algn="ctr" defTabSz="913998">
              <a:defRPr/>
            </a:pPr>
            <a:r>
              <a:rPr lang="en-US" sz="1000">
                <a:solidFill>
                  <a:prstClr val="black"/>
                </a:solidFill>
                <a:latin typeface="Verdana"/>
              </a:rPr>
              <a:t> Representatives Key BUs and IT</a:t>
            </a:r>
          </a:p>
        </p:txBody>
      </p:sp>
      <p:sp>
        <p:nvSpPr>
          <p:cNvPr id="314" name="TextBox 318">
            <a:extLst>
              <a:ext uri="{FF2B5EF4-FFF2-40B4-BE49-F238E27FC236}">
                <a16:creationId xmlns:a16="http://schemas.microsoft.com/office/drawing/2014/main" id="{8F18B432-C3F6-483C-9978-5256C502AB09}"/>
              </a:ext>
            </a:extLst>
          </p:cNvPr>
          <p:cNvSpPr txBox="1"/>
          <p:nvPr/>
        </p:nvSpPr>
        <p:spPr>
          <a:xfrm>
            <a:off x="9500405" y="1457742"/>
            <a:ext cx="955722" cy="461665"/>
          </a:xfrm>
          <a:prstGeom prst="rect">
            <a:avLst/>
          </a:prstGeom>
          <a:noFill/>
        </p:spPr>
        <p:txBody>
          <a:bodyPr wrap="square" lIns="0" tIns="0" rIns="0" bIns="0" rtlCol="0">
            <a:spAutoFit/>
          </a:bodyPr>
          <a:lstStyle/>
          <a:p>
            <a:pPr algn="ctr" defTabSz="913998">
              <a:defRPr/>
            </a:pPr>
            <a:r>
              <a:rPr lang="en-US" sz="1000" b="1">
                <a:solidFill>
                  <a:prstClr val="black"/>
                </a:solidFill>
                <a:latin typeface="Verdana"/>
              </a:rPr>
              <a:t>Modified Process (preferred)</a:t>
            </a:r>
          </a:p>
        </p:txBody>
      </p:sp>
      <p:sp>
        <p:nvSpPr>
          <p:cNvPr id="315" name="TextBox 319">
            <a:extLst>
              <a:ext uri="{FF2B5EF4-FFF2-40B4-BE49-F238E27FC236}">
                <a16:creationId xmlns:a16="http://schemas.microsoft.com/office/drawing/2014/main" id="{AC7B6C5E-4D94-4CB8-8664-C7832096C00D}"/>
              </a:ext>
            </a:extLst>
          </p:cNvPr>
          <p:cNvSpPr txBox="1"/>
          <p:nvPr/>
        </p:nvSpPr>
        <p:spPr>
          <a:xfrm>
            <a:off x="9142444" y="3794353"/>
            <a:ext cx="1206945" cy="461665"/>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Marelli</a:t>
            </a:r>
          </a:p>
          <a:p>
            <a:pPr algn="ctr" defTabSz="913998">
              <a:defRPr/>
            </a:pPr>
            <a:r>
              <a:rPr lang="en-US" sz="1000">
                <a:solidFill>
                  <a:prstClr val="black"/>
                </a:solidFill>
                <a:latin typeface="Verdana"/>
              </a:rPr>
              <a:t>Global &amp; Local templates</a:t>
            </a:r>
          </a:p>
        </p:txBody>
      </p:sp>
      <p:sp>
        <p:nvSpPr>
          <p:cNvPr id="316" name="TextBox 320">
            <a:extLst>
              <a:ext uri="{FF2B5EF4-FFF2-40B4-BE49-F238E27FC236}">
                <a16:creationId xmlns:a16="http://schemas.microsoft.com/office/drawing/2014/main" id="{FBDDA2E3-DF7D-4FC0-9F85-65508A1A80D4}"/>
              </a:ext>
            </a:extLst>
          </p:cNvPr>
          <p:cNvSpPr txBox="1"/>
          <p:nvPr/>
        </p:nvSpPr>
        <p:spPr>
          <a:xfrm>
            <a:off x="5218154" y="4305506"/>
            <a:ext cx="1199542" cy="307777"/>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Key country/BUs</a:t>
            </a:r>
          </a:p>
          <a:p>
            <a:pPr algn="ctr" defTabSz="913998">
              <a:defRPr/>
            </a:pPr>
            <a:r>
              <a:rPr lang="en-US" sz="1000">
                <a:solidFill>
                  <a:prstClr val="black"/>
                </a:solidFill>
                <a:latin typeface="Verdana"/>
              </a:rPr>
              <a:t>Localization inputs</a:t>
            </a:r>
          </a:p>
        </p:txBody>
      </p:sp>
      <p:sp>
        <p:nvSpPr>
          <p:cNvPr id="317" name="TextBox 321">
            <a:extLst>
              <a:ext uri="{FF2B5EF4-FFF2-40B4-BE49-F238E27FC236}">
                <a16:creationId xmlns:a16="http://schemas.microsoft.com/office/drawing/2014/main" id="{B31F9BC1-B4F3-4BBC-BF18-043552CC0AC9}"/>
              </a:ext>
            </a:extLst>
          </p:cNvPr>
          <p:cNvSpPr txBox="1"/>
          <p:nvPr/>
        </p:nvSpPr>
        <p:spPr>
          <a:xfrm>
            <a:off x="7589230" y="3958102"/>
            <a:ext cx="939362" cy="307777"/>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Agile</a:t>
            </a:r>
          </a:p>
          <a:p>
            <a:pPr algn="ctr" defTabSz="913998">
              <a:defRPr/>
            </a:pPr>
            <a:r>
              <a:rPr lang="en-US" sz="1000">
                <a:solidFill>
                  <a:prstClr val="black"/>
                </a:solidFill>
                <a:latin typeface="Verdana"/>
              </a:rPr>
              <a:t>Co-creation</a:t>
            </a:r>
          </a:p>
        </p:txBody>
      </p:sp>
      <p:sp>
        <p:nvSpPr>
          <p:cNvPr id="318" name="TextBox 434">
            <a:extLst>
              <a:ext uri="{FF2B5EF4-FFF2-40B4-BE49-F238E27FC236}">
                <a16:creationId xmlns:a16="http://schemas.microsoft.com/office/drawing/2014/main" id="{C99A276E-2E9D-4304-877E-DD132512BDC0}"/>
              </a:ext>
            </a:extLst>
          </p:cNvPr>
          <p:cNvSpPr txBox="1"/>
          <p:nvPr/>
        </p:nvSpPr>
        <p:spPr>
          <a:xfrm>
            <a:off x="5117238" y="2641332"/>
            <a:ext cx="716171" cy="307777"/>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Identified Gaps</a:t>
            </a:r>
          </a:p>
        </p:txBody>
      </p:sp>
      <p:sp>
        <p:nvSpPr>
          <p:cNvPr id="319" name="TextBox 435">
            <a:extLst>
              <a:ext uri="{FF2B5EF4-FFF2-40B4-BE49-F238E27FC236}">
                <a16:creationId xmlns:a16="http://schemas.microsoft.com/office/drawing/2014/main" id="{EAD9389D-3111-4CD0-B734-7AB567AA1D72}"/>
              </a:ext>
            </a:extLst>
          </p:cNvPr>
          <p:cNvSpPr txBox="1"/>
          <p:nvPr/>
        </p:nvSpPr>
        <p:spPr>
          <a:xfrm>
            <a:off x="5371506" y="3001708"/>
            <a:ext cx="1323082" cy="461665"/>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Agreed Solution Design Global Template</a:t>
            </a:r>
          </a:p>
        </p:txBody>
      </p:sp>
      <p:cxnSp>
        <p:nvCxnSpPr>
          <p:cNvPr id="320" name="Straight Arrow Connector 436">
            <a:extLst>
              <a:ext uri="{FF2B5EF4-FFF2-40B4-BE49-F238E27FC236}">
                <a16:creationId xmlns:a16="http://schemas.microsoft.com/office/drawing/2014/main" id="{90935568-173D-412B-B6FA-0F3325E9F6D1}"/>
              </a:ext>
            </a:extLst>
          </p:cNvPr>
          <p:cNvCxnSpPr/>
          <p:nvPr/>
        </p:nvCxnSpPr>
        <p:spPr>
          <a:xfrm>
            <a:off x="3697074" y="2451643"/>
            <a:ext cx="294018" cy="437257"/>
          </a:xfrm>
          <a:prstGeom prst="straightConnector1">
            <a:avLst/>
          </a:prstGeom>
          <a:noFill/>
          <a:ln w="9525" cap="flat" cmpd="sng" algn="ctr">
            <a:solidFill>
              <a:sysClr val="windowText" lastClr="000000"/>
            </a:solidFill>
            <a:prstDash val="solid"/>
            <a:headEnd type="oval" w="med" len="med"/>
            <a:tailEnd type="triangle" w="med" len="med"/>
          </a:ln>
          <a:effectLst/>
        </p:spPr>
      </p:cxnSp>
      <p:cxnSp>
        <p:nvCxnSpPr>
          <p:cNvPr id="321" name="Straight Arrow Connector 437">
            <a:extLst>
              <a:ext uri="{FF2B5EF4-FFF2-40B4-BE49-F238E27FC236}">
                <a16:creationId xmlns:a16="http://schemas.microsoft.com/office/drawing/2014/main" id="{0119425E-D4A9-45F8-840F-168354D07BE0}"/>
              </a:ext>
            </a:extLst>
          </p:cNvPr>
          <p:cNvCxnSpPr>
            <a:cxnSpLocks/>
          </p:cNvCxnSpPr>
          <p:nvPr/>
        </p:nvCxnSpPr>
        <p:spPr>
          <a:xfrm>
            <a:off x="4094992" y="2519133"/>
            <a:ext cx="190118" cy="324519"/>
          </a:xfrm>
          <a:prstGeom prst="straightConnector1">
            <a:avLst/>
          </a:prstGeom>
          <a:noFill/>
          <a:ln w="9525" cap="flat" cmpd="sng" algn="ctr">
            <a:solidFill>
              <a:sysClr val="windowText" lastClr="000000"/>
            </a:solidFill>
            <a:prstDash val="solid"/>
            <a:headEnd type="oval" w="med" len="med"/>
            <a:tailEnd type="triangle" w="med" len="med"/>
          </a:ln>
          <a:effectLst/>
        </p:spPr>
      </p:cxnSp>
      <p:cxnSp>
        <p:nvCxnSpPr>
          <p:cNvPr id="322" name="Straight Arrow Connector 438">
            <a:extLst>
              <a:ext uri="{FF2B5EF4-FFF2-40B4-BE49-F238E27FC236}">
                <a16:creationId xmlns:a16="http://schemas.microsoft.com/office/drawing/2014/main" id="{BBF59448-FD38-45ED-8B07-2F29854F1DD0}"/>
              </a:ext>
            </a:extLst>
          </p:cNvPr>
          <p:cNvCxnSpPr>
            <a:cxnSpLocks/>
          </p:cNvCxnSpPr>
          <p:nvPr/>
        </p:nvCxnSpPr>
        <p:spPr>
          <a:xfrm flipV="1">
            <a:off x="3380308" y="4177118"/>
            <a:ext cx="330356" cy="165431"/>
          </a:xfrm>
          <a:prstGeom prst="straightConnector1">
            <a:avLst/>
          </a:prstGeom>
          <a:noFill/>
          <a:ln w="9525" cap="flat" cmpd="sng" algn="ctr">
            <a:solidFill>
              <a:sysClr val="windowText" lastClr="000000"/>
            </a:solidFill>
            <a:prstDash val="solid"/>
            <a:headEnd type="oval" w="med" len="med"/>
            <a:tailEnd type="triangle" w="med" len="med"/>
          </a:ln>
          <a:effectLst/>
        </p:spPr>
      </p:cxnSp>
      <p:cxnSp>
        <p:nvCxnSpPr>
          <p:cNvPr id="323" name="Straight Arrow Connector 439">
            <a:extLst>
              <a:ext uri="{FF2B5EF4-FFF2-40B4-BE49-F238E27FC236}">
                <a16:creationId xmlns:a16="http://schemas.microsoft.com/office/drawing/2014/main" id="{7C604E49-4F02-43AC-8F5E-F65BD94C6EDE}"/>
              </a:ext>
            </a:extLst>
          </p:cNvPr>
          <p:cNvCxnSpPr>
            <a:cxnSpLocks/>
          </p:cNvCxnSpPr>
          <p:nvPr/>
        </p:nvCxnSpPr>
        <p:spPr>
          <a:xfrm flipV="1">
            <a:off x="3841378" y="4177119"/>
            <a:ext cx="226461" cy="165430"/>
          </a:xfrm>
          <a:prstGeom prst="straightConnector1">
            <a:avLst/>
          </a:prstGeom>
          <a:noFill/>
          <a:ln w="9525" cap="flat" cmpd="sng" algn="ctr">
            <a:solidFill>
              <a:sysClr val="windowText" lastClr="000000"/>
            </a:solidFill>
            <a:prstDash val="solid"/>
            <a:headEnd type="oval" w="med" len="med"/>
            <a:tailEnd type="triangle" w="med" len="med"/>
          </a:ln>
          <a:effectLst/>
        </p:spPr>
      </p:cxnSp>
      <p:cxnSp>
        <p:nvCxnSpPr>
          <p:cNvPr id="324" name="Straight Arrow Connector 440">
            <a:extLst>
              <a:ext uri="{FF2B5EF4-FFF2-40B4-BE49-F238E27FC236}">
                <a16:creationId xmlns:a16="http://schemas.microsoft.com/office/drawing/2014/main" id="{A33B5A5A-2B2C-481D-ABE7-F30A01B97072}"/>
              </a:ext>
            </a:extLst>
          </p:cNvPr>
          <p:cNvCxnSpPr>
            <a:cxnSpLocks/>
          </p:cNvCxnSpPr>
          <p:nvPr/>
        </p:nvCxnSpPr>
        <p:spPr>
          <a:xfrm flipV="1">
            <a:off x="4347338" y="4177118"/>
            <a:ext cx="19443" cy="165431"/>
          </a:xfrm>
          <a:prstGeom prst="straightConnector1">
            <a:avLst/>
          </a:prstGeom>
          <a:noFill/>
          <a:ln w="9525" cap="flat" cmpd="sng" algn="ctr">
            <a:solidFill>
              <a:sysClr val="windowText" lastClr="000000"/>
            </a:solidFill>
            <a:prstDash val="solid"/>
            <a:headEnd type="oval" w="med" len="med"/>
            <a:tailEnd type="triangle" w="med" len="med"/>
          </a:ln>
          <a:effectLst/>
        </p:spPr>
      </p:cxnSp>
      <p:cxnSp>
        <p:nvCxnSpPr>
          <p:cNvPr id="325" name="Straight Arrow Connector 308">
            <a:extLst>
              <a:ext uri="{FF2B5EF4-FFF2-40B4-BE49-F238E27FC236}">
                <a16:creationId xmlns:a16="http://schemas.microsoft.com/office/drawing/2014/main" id="{484ECB9F-73FF-4C0A-A093-820DC86CD1CD}"/>
              </a:ext>
            </a:extLst>
          </p:cNvPr>
          <p:cNvCxnSpPr>
            <a:cxnSpLocks/>
          </p:cNvCxnSpPr>
          <p:nvPr/>
        </p:nvCxnSpPr>
        <p:spPr>
          <a:xfrm flipV="1">
            <a:off x="8278913" y="1651056"/>
            <a:ext cx="550390" cy="3132"/>
          </a:xfrm>
          <a:prstGeom prst="straightConnector1">
            <a:avLst/>
          </a:prstGeom>
          <a:noFill/>
          <a:ln w="57150" cap="flat" cmpd="sng" algn="ctr">
            <a:solidFill>
              <a:srgbClr val="0070AD"/>
            </a:solidFill>
            <a:prstDash val="solid"/>
            <a:headEnd type="none" w="med" len="med"/>
            <a:tailEnd type="triangle" w="med" len="med"/>
          </a:ln>
          <a:effectLst/>
        </p:spPr>
      </p:cxnSp>
      <p:cxnSp>
        <p:nvCxnSpPr>
          <p:cNvPr id="326" name="Straight Arrow Connector 309">
            <a:extLst>
              <a:ext uri="{FF2B5EF4-FFF2-40B4-BE49-F238E27FC236}">
                <a16:creationId xmlns:a16="http://schemas.microsoft.com/office/drawing/2014/main" id="{A3C1E19F-5A08-46F4-BEDD-200B8222E022}"/>
              </a:ext>
            </a:extLst>
          </p:cNvPr>
          <p:cNvCxnSpPr>
            <a:cxnSpLocks/>
          </p:cNvCxnSpPr>
          <p:nvPr/>
        </p:nvCxnSpPr>
        <p:spPr>
          <a:xfrm>
            <a:off x="6134149" y="1708195"/>
            <a:ext cx="1313234" cy="0"/>
          </a:xfrm>
          <a:prstGeom prst="straightConnector1">
            <a:avLst/>
          </a:prstGeom>
          <a:noFill/>
          <a:ln w="57150" cap="flat" cmpd="sng" algn="ctr">
            <a:solidFill>
              <a:srgbClr val="0070AD"/>
            </a:solidFill>
            <a:prstDash val="solid"/>
            <a:headEnd type="none" w="med" len="med"/>
            <a:tailEnd type="triangle" w="med" len="med"/>
          </a:ln>
          <a:effectLst/>
        </p:spPr>
      </p:cxnSp>
      <p:sp>
        <p:nvSpPr>
          <p:cNvPr id="327" name="TextBox 316">
            <a:extLst>
              <a:ext uri="{FF2B5EF4-FFF2-40B4-BE49-F238E27FC236}">
                <a16:creationId xmlns:a16="http://schemas.microsoft.com/office/drawing/2014/main" id="{52293AC3-A615-454C-8067-9C215EF904FA}"/>
              </a:ext>
            </a:extLst>
          </p:cNvPr>
          <p:cNvSpPr txBox="1"/>
          <p:nvPr/>
        </p:nvSpPr>
        <p:spPr>
          <a:xfrm>
            <a:off x="6242774" y="1787759"/>
            <a:ext cx="965009" cy="161583"/>
          </a:xfrm>
          <a:prstGeom prst="rect">
            <a:avLst/>
          </a:prstGeom>
          <a:noFill/>
        </p:spPr>
        <p:txBody>
          <a:bodyPr wrap="none" lIns="0" tIns="0" rIns="0" bIns="0" rtlCol="0">
            <a:spAutoFit/>
          </a:bodyPr>
          <a:lstStyle/>
          <a:p>
            <a:pPr algn="ctr" defTabSz="913998">
              <a:defRPr/>
            </a:pPr>
            <a:r>
              <a:rPr lang="en-US" sz="1050">
                <a:solidFill>
                  <a:prstClr val="black"/>
                </a:solidFill>
                <a:latin typeface="Verdana"/>
              </a:rPr>
              <a:t>Business Case</a:t>
            </a:r>
          </a:p>
        </p:txBody>
      </p:sp>
      <p:sp>
        <p:nvSpPr>
          <p:cNvPr id="328" name="TextBox 317">
            <a:extLst>
              <a:ext uri="{FF2B5EF4-FFF2-40B4-BE49-F238E27FC236}">
                <a16:creationId xmlns:a16="http://schemas.microsoft.com/office/drawing/2014/main" id="{37D50641-CC10-4565-94B9-9305C9F397DF}"/>
              </a:ext>
            </a:extLst>
          </p:cNvPr>
          <p:cNvSpPr txBox="1"/>
          <p:nvPr/>
        </p:nvSpPr>
        <p:spPr>
          <a:xfrm>
            <a:off x="6056220" y="1277340"/>
            <a:ext cx="1190591" cy="161583"/>
          </a:xfrm>
          <a:prstGeom prst="rect">
            <a:avLst/>
          </a:prstGeom>
          <a:noFill/>
        </p:spPr>
        <p:txBody>
          <a:bodyPr wrap="square" lIns="0" tIns="0" rIns="0" bIns="0" rtlCol="0">
            <a:spAutoFit/>
          </a:bodyPr>
          <a:lstStyle/>
          <a:p>
            <a:pPr algn="ctr" defTabSz="913998">
              <a:defRPr/>
            </a:pPr>
            <a:r>
              <a:rPr lang="en-US" sz="1050" b="1">
                <a:solidFill>
                  <a:prstClr val="black"/>
                </a:solidFill>
                <a:latin typeface="Verdana"/>
              </a:rPr>
              <a:t>Change Control</a:t>
            </a:r>
          </a:p>
        </p:txBody>
      </p:sp>
      <p:sp>
        <p:nvSpPr>
          <p:cNvPr id="329" name="TextBox 322">
            <a:extLst>
              <a:ext uri="{FF2B5EF4-FFF2-40B4-BE49-F238E27FC236}">
                <a16:creationId xmlns:a16="http://schemas.microsoft.com/office/drawing/2014/main" id="{A4905B4B-E0D5-4C59-AF2E-4B768952529A}"/>
              </a:ext>
            </a:extLst>
          </p:cNvPr>
          <p:cNvSpPr txBox="1"/>
          <p:nvPr/>
        </p:nvSpPr>
        <p:spPr>
          <a:xfrm>
            <a:off x="7549997" y="1889716"/>
            <a:ext cx="876843" cy="161583"/>
          </a:xfrm>
          <a:prstGeom prst="rect">
            <a:avLst/>
          </a:prstGeom>
          <a:noFill/>
        </p:spPr>
        <p:txBody>
          <a:bodyPr wrap="none" lIns="0" tIns="0" rIns="0" bIns="0" rtlCol="0">
            <a:spAutoFit/>
          </a:bodyPr>
          <a:lstStyle/>
          <a:p>
            <a:pPr algn="ctr" defTabSz="913998">
              <a:defRPr/>
            </a:pPr>
            <a:r>
              <a:rPr lang="en-US" sz="1050">
                <a:solidFill>
                  <a:prstClr val="black"/>
                </a:solidFill>
                <a:latin typeface="Verdana"/>
              </a:rPr>
              <a:t>Approved CR</a:t>
            </a:r>
          </a:p>
        </p:txBody>
      </p:sp>
      <p:sp>
        <p:nvSpPr>
          <p:cNvPr id="330" name="Freeform 103">
            <a:extLst>
              <a:ext uri="{FF2B5EF4-FFF2-40B4-BE49-F238E27FC236}">
                <a16:creationId xmlns:a16="http://schemas.microsoft.com/office/drawing/2014/main" id="{C3CA5F31-93C6-4D3E-A2AA-B5FFA4A9AA3D}"/>
              </a:ext>
            </a:extLst>
          </p:cNvPr>
          <p:cNvSpPr>
            <a:spLocks/>
          </p:cNvSpPr>
          <p:nvPr/>
        </p:nvSpPr>
        <p:spPr bwMode="auto">
          <a:xfrm rot="21360570">
            <a:off x="7499983" y="2726449"/>
            <a:ext cx="803189" cy="280086"/>
          </a:xfrm>
          <a:custGeom>
            <a:avLst/>
            <a:gdLst>
              <a:gd name="T0" fmla="*/ 0 w 137"/>
              <a:gd name="T1" fmla="*/ 39 h 52"/>
              <a:gd name="T2" fmla="*/ 42 w 137"/>
              <a:gd name="T3" fmla="*/ 42 h 52"/>
              <a:gd name="T4" fmla="*/ 36 w 137"/>
              <a:gd name="T5" fmla="*/ 33 h 52"/>
              <a:gd name="T6" fmla="*/ 85 w 137"/>
              <a:gd name="T7" fmla="*/ 25 h 52"/>
              <a:gd name="T8" fmla="*/ 137 w 137"/>
              <a:gd name="T9" fmla="*/ 52 h 52"/>
              <a:gd name="T10" fmla="*/ 94 w 137"/>
              <a:gd name="T11" fmla="*/ 15 h 52"/>
              <a:gd name="T12" fmla="*/ 27 w 137"/>
              <a:gd name="T13" fmla="*/ 14 h 52"/>
              <a:gd name="T14" fmla="*/ 23 w 137"/>
              <a:gd name="T15" fmla="*/ 4 h 52"/>
              <a:gd name="T16" fmla="*/ 0 w 137"/>
              <a:gd name="T17"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52">
                <a:moveTo>
                  <a:pt x="0" y="39"/>
                </a:moveTo>
                <a:cubicBezTo>
                  <a:pt x="42" y="42"/>
                  <a:pt x="42" y="42"/>
                  <a:pt x="42" y="42"/>
                </a:cubicBezTo>
                <a:cubicBezTo>
                  <a:pt x="36" y="33"/>
                  <a:pt x="36" y="33"/>
                  <a:pt x="36" y="33"/>
                </a:cubicBezTo>
                <a:cubicBezTo>
                  <a:pt x="36" y="33"/>
                  <a:pt x="58" y="20"/>
                  <a:pt x="85" y="25"/>
                </a:cubicBezTo>
                <a:cubicBezTo>
                  <a:pt x="116" y="31"/>
                  <a:pt x="137" y="52"/>
                  <a:pt x="137" y="52"/>
                </a:cubicBezTo>
                <a:cubicBezTo>
                  <a:pt x="137" y="52"/>
                  <a:pt x="120" y="25"/>
                  <a:pt x="94" y="15"/>
                </a:cubicBezTo>
                <a:cubicBezTo>
                  <a:pt x="58" y="0"/>
                  <a:pt x="27" y="14"/>
                  <a:pt x="27" y="14"/>
                </a:cubicBezTo>
                <a:cubicBezTo>
                  <a:pt x="23" y="4"/>
                  <a:pt x="23" y="4"/>
                  <a:pt x="23" y="4"/>
                </a:cubicBezTo>
                <a:lnTo>
                  <a:pt x="0" y="39"/>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3998"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Verdana"/>
            </a:endParaRPr>
          </a:p>
        </p:txBody>
      </p:sp>
      <p:sp>
        <p:nvSpPr>
          <p:cNvPr id="331" name="Freeform 103">
            <a:extLst>
              <a:ext uri="{FF2B5EF4-FFF2-40B4-BE49-F238E27FC236}">
                <a16:creationId xmlns:a16="http://schemas.microsoft.com/office/drawing/2014/main" id="{0E0D6183-3873-4FEB-8F08-60859865A6A5}"/>
              </a:ext>
            </a:extLst>
          </p:cNvPr>
          <p:cNvSpPr>
            <a:spLocks/>
          </p:cNvSpPr>
          <p:nvPr/>
        </p:nvSpPr>
        <p:spPr bwMode="auto">
          <a:xfrm rot="10976907">
            <a:off x="7586823" y="3599436"/>
            <a:ext cx="803189" cy="280086"/>
          </a:xfrm>
          <a:custGeom>
            <a:avLst/>
            <a:gdLst>
              <a:gd name="T0" fmla="*/ 0 w 137"/>
              <a:gd name="T1" fmla="*/ 39 h 52"/>
              <a:gd name="T2" fmla="*/ 42 w 137"/>
              <a:gd name="T3" fmla="*/ 42 h 52"/>
              <a:gd name="T4" fmla="*/ 36 w 137"/>
              <a:gd name="T5" fmla="*/ 33 h 52"/>
              <a:gd name="T6" fmla="*/ 85 w 137"/>
              <a:gd name="T7" fmla="*/ 25 h 52"/>
              <a:gd name="T8" fmla="*/ 137 w 137"/>
              <a:gd name="T9" fmla="*/ 52 h 52"/>
              <a:gd name="T10" fmla="*/ 94 w 137"/>
              <a:gd name="T11" fmla="*/ 15 h 52"/>
              <a:gd name="T12" fmla="*/ 27 w 137"/>
              <a:gd name="T13" fmla="*/ 14 h 52"/>
              <a:gd name="T14" fmla="*/ 23 w 137"/>
              <a:gd name="T15" fmla="*/ 4 h 52"/>
              <a:gd name="T16" fmla="*/ 0 w 137"/>
              <a:gd name="T17"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52">
                <a:moveTo>
                  <a:pt x="0" y="39"/>
                </a:moveTo>
                <a:cubicBezTo>
                  <a:pt x="42" y="42"/>
                  <a:pt x="42" y="42"/>
                  <a:pt x="42" y="42"/>
                </a:cubicBezTo>
                <a:cubicBezTo>
                  <a:pt x="36" y="33"/>
                  <a:pt x="36" y="33"/>
                  <a:pt x="36" y="33"/>
                </a:cubicBezTo>
                <a:cubicBezTo>
                  <a:pt x="36" y="33"/>
                  <a:pt x="58" y="20"/>
                  <a:pt x="85" y="25"/>
                </a:cubicBezTo>
                <a:cubicBezTo>
                  <a:pt x="116" y="31"/>
                  <a:pt x="137" y="52"/>
                  <a:pt x="137" y="52"/>
                </a:cubicBezTo>
                <a:cubicBezTo>
                  <a:pt x="137" y="52"/>
                  <a:pt x="120" y="25"/>
                  <a:pt x="94" y="15"/>
                </a:cubicBezTo>
                <a:cubicBezTo>
                  <a:pt x="58" y="0"/>
                  <a:pt x="27" y="14"/>
                  <a:pt x="27" y="14"/>
                </a:cubicBezTo>
                <a:cubicBezTo>
                  <a:pt x="23" y="4"/>
                  <a:pt x="23" y="4"/>
                  <a:pt x="23" y="4"/>
                </a:cubicBezTo>
                <a:lnTo>
                  <a:pt x="0" y="39"/>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3998"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Verdana"/>
            </a:endParaRPr>
          </a:p>
        </p:txBody>
      </p:sp>
      <p:sp>
        <p:nvSpPr>
          <p:cNvPr id="332" name="TextBox 254">
            <a:extLst>
              <a:ext uri="{FF2B5EF4-FFF2-40B4-BE49-F238E27FC236}">
                <a16:creationId xmlns:a16="http://schemas.microsoft.com/office/drawing/2014/main" id="{84266DB0-4C18-41ED-9969-95E010942085}"/>
              </a:ext>
            </a:extLst>
          </p:cNvPr>
          <p:cNvSpPr txBox="1"/>
          <p:nvPr/>
        </p:nvSpPr>
        <p:spPr>
          <a:xfrm>
            <a:off x="1045250" y="3714066"/>
            <a:ext cx="1577223" cy="307777"/>
          </a:xfrm>
          <a:prstGeom prst="rect">
            <a:avLst/>
          </a:prstGeom>
          <a:noFill/>
        </p:spPr>
        <p:txBody>
          <a:bodyPr wrap="square" lIns="0" tIns="0" rIns="0" bIns="0" rtlCol="0">
            <a:spAutoFit/>
          </a:bodyPr>
          <a:lstStyle/>
          <a:p>
            <a:pPr algn="ctr" defTabSz="913998">
              <a:defRPr/>
            </a:pPr>
            <a:r>
              <a:rPr lang="en-US" sz="1000">
                <a:solidFill>
                  <a:prstClr val="black"/>
                </a:solidFill>
                <a:latin typeface="Verdana"/>
              </a:rPr>
              <a:t>Reference Template</a:t>
            </a:r>
          </a:p>
          <a:p>
            <a:pPr algn="ctr" defTabSz="913998">
              <a:defRPr/>
            </a:pPr>
            <a:r>
              <a:rPr lang="en-US" sz="1000">
                <a:solidFill>
                  <a:prstClr val="black"/>
                </a:solidFill>
                <a:latin typeface="Verdana"/>
              </a:rPr>
              <a:t>&amp; User Journeys</a:t>
            </a:r>
          </a:p>
        </p:txBody>
      </p:sp>
      <p:sp>
        <p:nvSpPr>
          <p:cNvPr id="333" name="TextBox 251">
            <a:extLst>
              <a:ext uri="{FF2B5EF4-FFF2-40B4-BE49-F238E27FC236}">
                <a16:creationId xmlns:a16="http://schemas.microsoft.com/office/drawing/2014/main" id="{CFF00A31-A7B6-40EB-BCC9-517DA2FBDB84}"/>
              </a:ext>
            </a:extLst>
          </p:cNvPr>
          <p:cNvSpPr txBox="1"/>
          <p:nvPr/>
        </p:nvSpPr>
        <p:spPr>
          <a:xfrm>
            <a:off x="7180363" y="931739"/>
            <a:ext cx="1344548" cy="153888"/>
          </a:xfrm>
          <a:prstGeom prst="rect">
            <a:avLst/>
          </a:prstGeom>
          <a:noFill/>
        </p:spPr>
        <p:txBody>
          <a:bodyPr wrap="square" lIns="0" tIns="0" rIns="0" bIns="0" rtlCol="0">
            <a:spAutoFit/>
          </a:bodyPr>
          <a:lstStyle/>
          <a:p>
            <a:pPr algn="ctr" defTabSz="913998">
              <a:defRPr/>
            </a:pPr>
            <a:r>
              <a:rPr lang="en-US" sz="1000" b="1">
                <a:solidFill>
                  <a:prstClr val="black"/>
                </a:solidFill>
                <a:latin typeface="Verdana"/>
              </a:rPr>
              <a:t>Design Authority</a:t>
            </a:r>
          </a:p>
        </p:txBody>
      </p:sp>
      <p:sp>
        <p:nvSpPr>
          <p:cNvPr id="334" name="Titre 196">
            <a:extLst>
              <a:ext uri="{FF2B5EF4-FFF2-40B4-BE49-F238E27FC236}">
                <a16:creationId xmlns:a16="http://schemas.microsoft.com/office/drawing/2014/main" id="{B822099B-6DF4-40BC-8B81-A49C41E2833C}"/>
              </a:ext>
            </a:extLst>
          </p:cNvPr>
          <p:cNvSpPr txBox="1">
            <a:spLocks/>
          </p:cNvSpPr>
          <p:nvPr/>
        </p:nvSpPr>
        <p:spPr>
          <a:xfrm>
            <a:off x="227349" y="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600" b="0" i="0" u="none" strike="noStrike" kern="1200" cap="none" spc="0" normalizeH="0" baseline="0" noProof="0">
                <a:ln>
                  <a:noFill/>
                </a:ln>
                <a:solidFill>
                  <a:srgbClr val="0070AD"/>
                </a:solidFill>
                <a:effectLst/>
                <a:uLnTx/>
                <a:uFillTx/>
                <a:latin typeface="Verdana"/>
                <a:ea typeface="+mj-ea"/>
                <a:cs typeface="+mj-cs"/>
              </a:rPr>
              <a:t>Our Approach for Rollout Management</a:t>
            </a:r>
            <a:endParaRPr kumimoji="0" lang="fr-FR" sz="2600" b="0" i="0" u="none" strike="noStrike" kern="1200" cap="none" spc="0" normalizeH="0" baseline="0" noProof="0">
              <a:ln>
                <a:noFill/>
              </a:ln>
              <a:solidFill>
                <a:srgbClr val="0070AD"/>
              </a:solidFill>
              <a:effectLst/>
              <a:uLnTx/>
              <a:uFillTx/>
              <a:latin typeface="Verdana"/>
              <a:ea typeface="+mj-ea"/>
              <a:cs typeface="+mj-cs"/>
            </a:endParaRPr>
          </a:p>
        </p:txBody>
      </p:sp>
      <p:grpSp>
        <p:nvGrpSpPr>
          <p:cNvPr id="335" name="Groupe 207">
            <a:extLst>
              <a:ext uri="{FF2B5EF4-FFF2-40B4-BE49-F238E27FC236}">
                <a16:creationId xmlns:a16="http://schemas.microsoft.com/office/drawing/2014/main" id="{08ABEC51-A3E6-4554-8681-12558F8D2F1C}"/>
              </a:ext>
            </a:extLst>
          </p:cNvPr>
          <p:cNvGrpSpPr/>
          <p:nvPr/>
        </p:nvGrpSpPr>
        <p:grpSpPr>
          <a:xfrm>
            <a:off x="7567842" y="1266064"/>
            <a:ext cx="726227" cy="679048"/>
            <a:chOff x="7720651" y="5557066"/>
            <a:chExt cx="907994" cy="849006"/>
          </a:xfrm>
        </p:grpSpPr>
        <p:sp>
          <p:nvSpPr>
            <p:cNvPr id="336" name="Freeform 20">
              <a:extLst>
                <a:ext uri="{FF2B5EF4-FFF2-40B4-BE49-F238E27FC236}">
                  <a16:creationId xmlns:a16="http://schemas.microsoft.com/office/drawing/2014/main" id="{04C4B612-4B68-4928-A31D-721D02CF91CE}"/>
                </a:ext>
              </a:extLst>
            </p:cNvPr>
            <p:cNvSpPr>
              <a:spLocks noChangeAspect="1"/>
            </p:cNvSpPr>
            <p:nvPr/>
          </p:nvSpPr>
          <p:spPr bwMode="auto">
            <a:xfrm>
              <a:off x="7720651" y="5557066"/>
              <a:ext cx="907994" cy="84900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12ABDB"/>
            </a:solidFill>
            <a:ln w="12700" cap="flat" cmpd="sng" algn="ctr">
              <a:noFill/>
              <a:prstDash val="solid"/>
              <a:miter lim="800000"/>
            </a:ln>
            <a:effectLst/>
            <a:extLst>
              <a:ext uri="{91240B29-F687-4f45-9708-019B960494DF}">
                <a14:hiddenLine xmlns="" xmlns:a14="http://schemas.microsoft.com/office/drawing/2010/main" w="9525">
                  <a:solidFill>
                    <a:srgbClr val="000000"/>
                  </a:solidFill>
                  <a:round/>
                  <a:headEnd/>
                  <a:tailEn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Verdana"/>
                <a:ea typeface="+mn-ea"/>
                <a:cs typeface="+mn-cs"/>
              </a:endParaRPr>
            </a:p>
          </p:txBody>
        </p:sp>
        <p:sp>
          <p:nvSpPr>
            <p:cNvPr id="337" name="Freeform 37">
              <a:extLst>
                <a:ext uri="{FF2B5EF4-FFF2-40B4-BE49-F238E27FC236}">
                  <a16:creationId xmlns:a16="http://schemas.microsoft.com/office/drawing/2014/main" id="{ECDB6F39-62ED-4D07-B6A5-4446F30AB646}"/>
                </a:ext>
              </a:extLst>
            </p:cNvPr>
            <p:cNvSpPr>
              <a:spLocks/>
            </p:cNvSpPr>
            <p:nvPr/>
          </p:nvSpPr>
          <p:spPr bwMode="auto">
            <a:xfrm>
              <a:off x="8105476" y="5834726"/>
              <a:ext cx="139925" cy="171943"/>
            </a:xfrm>
            <a:custGeom>
              <a:avLst/>
              <a:gdLst>
                <a:gd name="T0" fmla="*/ 193 w 216"/>
                <a:gd name="T1" fmla="*/ 108 h 264"/>
                <a:gd name="T2" fmla="*/ 205 w 216"/>
                <a:gd name="T3" fmla="*/ 133 h 264"/>
                <a:gd name="T4" fmla="*/ 196 w 216"/>
                <a:gd name="T5" fmla="*/ 185 h 264"/>
                <a:gd name="T6" fmla="*/ 181 w 216"/>
                <a:gd name="T7" fmla="*/ 201 h 264"/>
                <a:gd name="T8" fmla="*/ 106 w 216"/>
                <a:gd name="T9" fmla="*/ 263 h 264"/>
                <a:gd name="T10" fmla="*/ 33 w 216"/>
                <a:gd name="T11" fmla="*/ 201 h 264"/>
                <a:gd name="T12" fmla="*/ 18 w 216"/>
                <a:gd name="T13" fmla="*/ 185 h 264"/>
                <a:gd name="T14" fmla="*/ 5 w 216"/>
                <a:gd name="T15" fmla="*/ 155 h 264"/>
                <a:gd name="T16" fmla="*/ 18 w 216"/>
                <a:gd name="T17" fmla="*/ 129 h 264"/>
                <a:gd name="T18" fmla="*/ 21 w 216"/>
                <a:gd name="T19" fmla="*/ 110 h 264"/>
                <a:gd name="T20" fmla="*/ 79 w 216"/>
                <a:gd name="T21" fmla="*/ 19 h 264"/>
                <a:gd name="T22" fmla="*/ 193 w 216"/>
                <a:gd name="T23" fmla="*/ 10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 h="264">
                  <a:moveTo>
                    <a:pt x="193" y="108"/>
                  </a:moveTo>
                  <a:cubicBezTo>
                    <a:pt x="193" y="118"/>
                    <a:pt x="188" y="129"/>
                    <a:pt x="205" y="133"/>
                  </a:cubicBezTo>
                  <a:cubicBezTo>
                    <a:pt x="216" y="136"/>
                    <a:pt x="209" y="178"/>
                    <a:pt x="196" y="185"/>
                  </a:cubicBezTo>
                  <a:cubicBezTo>
                    <a:pt x="188" y="189"/>
                    <a:pt x="184" y="194"/>
                    <a:pt x="181" y="201"/>
                  </a:cubicBezTo>
                  <a:cubicBezTo>
                    <a:pt x="166" y="234"/>
                    <a:pt x="145" y="264"/>
                    <a:pt x="106" y="263"/>
                  </a:cubicBezTo>
                  <a:cubicBezTo>
                    <a:pt x="69" y="263"/>
                    <a:pt x="47" y="234"/>
                    <a:pt x="33" y="201"/>
                  </a:cubicBezTo>
                  <a:cubicBezTo>
                    <a:pt x="30" y="194"/>
                    <a:pt x="27" y="189"/>
                    <a:pt x="18" y="185"/>
                  </a:cubicBezTo>
                  <a:cubicBezTo>
                    <a:pt x="8" y="180"/>
                    <a:pt x="6" y="167"/>
                    <a:pt x="5" y="155"/>
                  </a:cubicBezTo>
                  <a:cubicBezTo>
                    <a:pt x="5" y="145"/>
                    <a:pt x="0" y="133"/>
                    <a:pt x="18" y="129"/>
                  </a:cubicBezTo>
                  <a:cubicBezTo>
                    <a:pt x="26" y="128"/>
                    <a:pt x="21" y="116"/>
                    <a:pt x="21" y="110"/>
                  </a:cubicBezTo>
                  <a:cubicBezTo>
                    <a:pt x="20" y="65"/>
                    <a:pt x="41" y="31"/>
                    <a:pt x="79" y="19"/>
                  </a:cubicBezTo>
                  <a:cubicBezTo>
                    <a:pt x="139" y="0"/>
                    <a:pt x="194" y="42"/>
                    <a:pt x="193" y="108"/>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38" name="Freeform 38">
              <a:extLst>
                <a:ext uri="{FF2B5EF4-FFF2-40B4-BE49-F238E27FC236}">
                  <a16:creationId xmlns:a16="http://schemas.microsoft.com/office/drawing/2014/main" id="{1FC94A30-29A2-4DCD-8758-03960BFDBA5D}"/>
                </a:ext>
              </a:extLst>
            </p:cNvPr>
            <p:cNvSpPr>
              <a:spLocks/>
            </p:cNvSpPr>
            <p:nvPr/>
          </p:nvSpPr>
          <p:spPr bwMode="auto">
            <a:xfrm>
              <a:off x="7941834" y="5851723"/>
              <a:ext cx="122929" cy="141112"/>
            </a:xfrm>
            <a:custGeom>
              <a:avLst/>
              <a:gdLst>
                <a:gd name="T0" fmla="*/ 95 w 190"/>
                <a:gd name="T1" fmla="*/ 0 h 217"/>
                <a:gd name="T2" fmla="*/ 170 w 190"/>
                <a:gd name="T3" fmla="*/ 79 h 217"/>
                <a:gd name="T4" fmla="*/ 181 w 190"/>
                <a:gd name="T5" fmla="*/ 103 h 217"/>
                <a:gd name="T6" fmla="*/ 172 w 190"/>
                <a:gd name="T7" fmla="*/ 147 h 217"/>
                <a:gd name="T8" fmla="*/ 158 w 190"/>
                <a:gd name="T9" fmla="*/ 165 h 217"/>
                <a:gd name="T10" fmla="*/ 157 w 190"/>
                <a:gd name="T11" fmla="*/ 168 h 217"/>
                <a:gd name="T12" fmla="*/ 94 w 190"/>
                <a:gd name="T13" fmla="*/ 217 h 217"/>
                <a:gd name="T14" fmla="*/ 33 w 190"/>
                <a:gd name="T15" fmla="*/ 169 h 217"/>
                <a:gd name="T16" fmla="*/ 15 w 190"/>
                <a:gd name="T17" fmla="*/ 146 h 217"/>
                <a:gd name="T18" fmla="*/ 18 w 190"/>
                <a:gd name="T19" fmla="*/ 100 h 217"/>
                <a:gd name="T20" fmla="*/ 20 w 190"/>
                <a:gd name="T21" fmla="*/ 80 h 217"/>
                <a:gd name="T22" fmla="*/ 95 w 190"/>
                <a:gd name="T23"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0" h="217">
                  <a:moveTo>
                    <a:pt x="95" y="0"/>
                  </a:moveTo>
                  <a:cubicBezTo>
                    <a:pt x="139" y="0"/>
                    <a:pt x="170" y="33"/>
                    <a:pt x="170" y="79"/>
                  </a:cubicBezTo>
                  <a:cubicBezTo>
                    <a:pt x="170" y="88"/>
                    <a:pt x="164" y="99"/>
                    <a:pt x="181" y="103"/>
                  </a:cubicBezTo>
                  <a:cubicBezTo>
                    <a:pt x="190" y="106"/>
                    <a:pt x="184" y="142"/>
                    <a:pt x="172" y="147"/>
                  </a:cubicBezTo>
                  <a:cubicBezTo>
                    <a:pt x="163" y="151"/>
                    <a:pt x="161" y="158"/>
                    <a:pt x="158" y="165"/>
                  </a:cubicBezTo>
                  <a:cubicBezTo>
                    <a:pt x="158" y="166"/>
                    <a:pt x="157" y="167"/>
                    <a:pt x="157" y="168"/>
                  </a:cubicBezTo>
                  <a:cubicBezTo>
                    <a:pt x="143" y="194"/>
                    <a:pt x="125" y="217"/>
                    <a:pt x="94" y="217"/>
                  </a:cubicBezTo>
                  <a:cubicBezTo>
                    <a:pt x="64" y="216"/>
                    <a:pt x="46" y="194"/>
                    <a:pt x="33" y="169"/>
                  </a:cubicBezTo>
                  <a:cubicBezTo>
                    <a:pt x="28" y="160"/>
                    <a:pt x="25" y="152"/>
                    <a:pt x="15" y="146"/>
                  </a:cubicBezTo>
                  <a:cubicBezTo>
                    <a:pt x="0" y="137"/>
                    <a:pt x="4" y="111"/>
                    <a:pt x="18" y="100"/>
                  </a:cubicBezTo>
                  <a:cubicBezTo>
                    <a:pt x="25" y="94"/>
                    <a:pt x="21" y="86"/>
                    <a:pt x="20" y="80"/>
                  </a:cubicBezTo>
                  <a:cubicBezTo>
                    <a:pt x="19" y="33"/>
                    <a:pt x="50" y="0"/>
                    <a:pt x="95" y="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39" name="Freeform 39">
              <a:extLst>
                <a:ext uri="{FF2B5EF4-FFF2-40B4-BE49-F238E27FC236}">
                  <a16:creationId xmlns:a16="http://schemas.microsoft.com/office/drawing/2014/main" id="{23F0975B-5D22-47DC-BAA6-D9CA3E614D40}"/>
                </a:ext>
              </a:extLst>
            </p:cNvPr>
            <p:cNvSpPr>
              <a:spLocks/>
            </p:cNvSpPr>
            <p:nvPr/>
          </p:nvSpPr>
          <p:spPr bwMode="auto">
            <a:xfrm>
              <a:off x="8040652" y="6003902"/>
              <a:ext cx="1581"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2" y="0"/>
                    <a:pt x="2" y="0"/>
                    <a:pt x="2" y="0"/>
                  </a:cubicBezTo>
                  <a:cubicBezTo>
                    <a:pt x="1" y="0"/>
                    <a:pt x="0" y="0"/>
                    <a:pt x="0" y="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0" name="Freeform 40">
              <a:extLst>
                <a:ext uri="{FF2B5EF4-FFF2-40B4-BE49-F238E27FC236}">
                  <a16:creationId xmlns:a16="http://schemas.microsoft.com/office/drawing/2014/main" id="{0A130156-035D-4797-B7CD-FF4A81F49A6A}"/>
                </a:ext>
              </a:extLst>
            </p:cNvPr>
            <p:cNvSpPr>
              <a:spLocks/>
            </p:cNvSpPr>
            <p:nvPr/>
          </p:nvSpPr>
          <p:spPr bwMode="auto">
            <a:xfrm>
              <a:off x="7965946" y="6003506"/>
              <a:ext cx="39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1" name="Freeform 41">
              <a:extLst>
                <a:ext uri="{FF2B5EF4-FFF2-40B4-BE49-F238E27FC236}">
                  <a16:creationId xmlns:a16="http://schemas.microsoft.com/office/drawing/2014/main" id="{D1CD1F2E-731B-4168-A46E-13FF8388D1A1}"/>
                </a:ext>
              </a:extLst>
            </p:cNvPr>
            <p:cNvSpPr>
              <a:spLocks/>
            </p:cNvSpPr>
            <p:nvPr/>
          </p:nvSpPr>
          <p:spPr bwMode="auto">
            <a:xfrm>
              <a:off x="7965155" y="6003506"/>
              <a:ext cx="79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2" name="Freeform 42">
              <a:extLst>
                <a:ext uri="{FF2B5EF4-FFF2-40B4-BE49-F238E27FC236}">
                  <a16:creationId xmlns:a16="http://schemas.microsoft.com/office/drawing/2014/main" id="{EE0562F2-D256-44D9-BE1C-19A4CCE92B4E}"/>
                </a:ext>
              </a:extLst>
            </p:cNvPr>
            <p:cNvSpPr>
              <a:spLocks/>
            </p:cNvSpPr>
            <p:nvPr/>
          </p:nvSpPr>
          <p:spPr bwMode="auto">
            <a:xfrm>
              <a:off x="7966341" y="6003506"/>
              <a:ext cx="31226" cy="57709"/>
            </a:xfrm>
            <a:custGeom>
              <a:avLst/>
              <a:gdLst>
                <a:gd name="T0" fmla="*/ 5 w 48"/>
                <a:gd name="T1" fmla="*/ 10 h 89"/>
                <a:gd name="T2" fmla="*/ 34 w 48"/>
                <a:gd name="T3" fmla="*/ 89 h 89"/>
                <a:gd name="T4" fmla="*/ 26 w 48"/>
                <a:gd name="T5" fmla="*/ 4 h 89"/>
                <a:gd name="T6" fmla="*/ 0 w 48"/>
                <a:gd name="T7" fmla="*/ 0 h 89"/>
                <a:gd name="T8" fmla="*/ 1 w 48"/>
                <a:gd name="T9" fmla="*/ 1 h 89"/>
                <a:gd name="T10" fmla="*/ 5 w 48"/>
                <a:gd name="T11" fmla="*/ 10 h 89"/>
              </a:gdLst>
              <a:ahLst/>
              <a:cxnLst>
                <a:cxn ang="0">
                  <a:pos x="T0" y="T1"/>
                </a:cxn>
                <a:cxn ang="0">
                  <a:pos x="T2" y="T3"/>
                </a:cxn>
                <a:cxn ang="0">
                  <a:pos x="T4" y="T5"/>
                </a:cxn>
                <a:cxn ang="0">
                  <a:pos x="T6" y="T7"/>
                </a:cxn>
                <a:cxn ang="0">
                  <a:pos x="T8" y="T9"/>
                </a:cxn>
                <a:cxn ang="0">
                  <a:pos x="T10" y="T11"/>
                </a:cxn>
              </a:cxnLst>
              <a:rect l="0" t="0" r="r" b="b"/>
              <a:pathLst>
                <a:path w="48" h="89">
                  <a:moveTo>
                    <a:pt x="5" y="10"/>
                  </a:moveTo>
                  <a:cubicBezTo>
                    <a:pt x="14" y="37"/>
                    <a:pt x="23" y="63"/>
                    <a:pt x="34" y="89"/>
                  </a:cubicBezTo>
                  <a:cubicBezTo>
                    <a:pt x="32" y="61"/>
                    <a:pt x="48" y="32"/>
                    <a:pt x="26" y="4"/>
                  </a:cubicBezTo>
                  <a:cubicBezTo>
                    <a:pt x="0" y="0"/>
                    <a:pt x="0" y="0"/>
                    <a:pt x="0" y="0"/>
                  </a:cubicBezTo>
                  <a:cubicBezTo>
                    <a:pt x="0" y="1"/>
                    <a:pt x="1" y="1"/>
                    <a:pt x="1" y="1"/>
                  </a:cubicBezTo>
                  <a:cubicBezTo>
                    <a:pt x="3" y="2"/>
                    <a:pt x="4" y="5"/>
                    <a:pt x="5"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3" name="Freeform 43">
              <a:extLst>
                <a:ext uri="{FF2B5EF4-FFF2-40B4-BE49-F238E27FC236}">
                  <a16:creationId xmlns:a16="http://schemas.microsoft.com/office/drawing/2014/main" id="{90FB6096-507B-4A09-AFF0-8B0190F18C04}"/>
                </a:ext>
              </a:extLst>
            </p:cNvPr>
            <p:cNvSpPr>
              <a:spLocks/>
            </p:cNvSpPr>
            <p:nvPr/>
          </p:nvSpPr>
          <p:spPr bwMode="auto">
            <a:xfrm>
              <a:off x="8014169" y="6003902"/>
              <a:ext cx="26483" cy="60081"/>
            </a:xfrm>
            <a:custGeom>
              <a:avLst/>
              <a:gdLst>
                <a:gd name="T0" fmla="*/ 6 w 41"/>
                <a:gd name="T1" fmla="*/ 92 h 92"/>
                <a:gd name="T2" fmla="*/ 33 w 41"/>
                <a:gd name="T3" fmla="*/ 13 h 92"/>
                <a:gd name="T4" fmla="*/ 41 w 41"/>
                <a:gd name="T5" fmla="*/ 0 h 92"/>
                <a:gd name="T6" fmla="*/ 8 w 41"/>
                <a:gd name="T7" fmla="*/ 5 h 92"/>
                <a:gd name="T8" fmla="*/ 6 w 41"/>
                <a:gd name="T9" fmla="*/ 92 h 92"/>
              </a:gdLst>
              <a:ahLst/>
              <a:cxnLst>
                <a:cxn ang="0">
                  <a:pos x="T0" y="T1"/>
                </a:cxn>
                <a:cxn ang="0">
                  <a:pos x="T2" y="T3"/>
                </a:cxn>
                <a:cxn ang="0">
                  <a:pos x="T4" y="T5"/>
                </a:cxn>
                <a:cxn ang="0">
                  <a:pos x="T6" y="T7"/>
                </a:cxn>
                <a:cxn ang="0">
                  <a:pos x="T8" y="T9"/>
                </a:cxn>
              </a:cxnLst>
              <a:rect l="0" t="0" r="r" b="b"/>
              <a:pathLst>
                <a:path w="41" h="92">
                  <a:moveTo>
                    <a:pt x="6" y="92"/>
                  </a:moveTo>
                  <a:cubicBezTo>
                    <a:pt x="16" y="63"/>
                    <a:pt x="26" y="38"/>
                    <a:pt x="33" y="13"/>
                  </a:cubicBezTo>
                  <a:cubicBezTo>
                    <a:pt x="35" y="4"/>
                    <a:pt x="37" y="1"/>
                    <a:pt x="41" y="0"/>
                  </a:cubicBezTo>
                  <a:cubicBezTo>
                    <a:pt x="8" y="5"/>
                    <a:pt x="8" y="5"/>
                    <a:pt x="8" y="5"/>
                  </a:cubicBezTo>
                  <a:cubicBezTo>
                    <a:pt x="1" y="30"/>
                    <a:pt x="0" y="61"/>
                    <a:pt x="6" y="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4" name="Freeform 44">
              <a:extLst>
                <a:ext uri="{FF2B5EF4-FFF2-40B4-BE49-F238E27FC236}">
                  <a16:creationId xmlns:a16="http://schemas.microsoft.com/office/drawing/2014/main" id="{02A0C4A9-4B71-4BF9-BF99-145389E10FCB}"/>
                </a:ext>
              </a:extLst>
            </p:cNvPr>
            <p:cNvSpPr>
              <a:spLocks/>
            </p:cNvSpPr>
            <p:nvPr/>
          </p:nvSpPr>
          <p:spPr bwMode="auto">
            <a:xfrm>
              <a:off x="7891240" y="6003506"/>
              <a:ext cx="202773" cy="92098"/>
            </a:xfrm>
            <a:custGeom>
              <a:avLst/>
              <a:gdLst>
                <a:gd name="T0" fmla="*/ 243 w 313"/>
                <a:gd name="T1" fmla="*/ 4 h 142"/>
                <a:gd name="T2" fmla="*/ 242 w 313"/>
                <a:gd name="T3" fmla="*/ 4 h 142"/>
                <a:gd name="T4" fmla="*/ 233 w 313"/>
                <a:gd name="T5" fmla="*/ 1 h 142"/>
                <a:gd name="T6" fmla="*/ 231 w 313"/>
                <a:gd name="T7" fmla="*/ 1 h 142"/>
                <a:gd name="T8" fmla="*/ 223 w 313"/>
                <a:gd name="T9" fmla="*/ 14 h 142"/>
                <a:gd name="T10" fmla="*/ 196 w 313"/>
                <a:gd name="T11" fmla="*/ 93 h 142"/>
                <a:gd name="T12" fmla="*/ 198 w 313"/>
                <a:gd name="T13" fmla="*/ 6 h 142"/>
                <a:gd name="T14" fmla="*/ 142 w 313"/>
                <a:gd name="T15" fmla="*/ 4 h 142"/>
                <a:gd name="T16" fmla="*/ 150 w 313"/>
                <a:gd name="T17" fmla="*/ 89 h 142"/>
                <a:gd name="T18" fmla="*/ 121 w 313"/>
                <a:gd name="T19" fmla="*/ 10 h 142"/>
                <a:gd name="T20" fmla="*/ 117 w 313"/>
                <a:gd name="T21" fmla="*/ 1 h 142"/>
                <a:gd name="T22" fmla="*/ 116 w 313"/>
                <a:gd name="T23" fmla="*/ 0 h 142"/>
                <a:gd name="T24" fmla="*/ 115 w 313"/>
                <a:gd name="T25" fmla="*/ 0 h 142"/>
                <a:gd name="T26" fmla="*/ 114 w 313"/>
                <a:gd name="T27" fmla="*/ 0 h 142"/>
                <a:gd name="T28" fmla="*/ 112 w 313"/>
                <a:gd name="T29" fmla="*/ 1 h 142"/>
                <a:gd name="T30" fmla="*/ 107 w 313"/>
                <a:gd name="T31" fmla="*/ 3 h 142"/>
                <a:gd name="T32" fmla="*/ 71 w 313"/>
                <a:gd name="T33" fmla="*/ 18 h 142"/>
                <a:gd name="T34" fmla="*/ 37 w 313"/>
                <a:gd name="T35" fmla="*/ 31 h 142"/>
                <a:gd name="T36" fmla="*/ 17 w 313"/>
                <a:gd name="T37" fmla="*/ 54 h 142"/>
                <a:gd name="T38" fmla="*/ 0 w 313"/>
                <a:gd name="T39" fmla="*/ 104 h 142"/>
                <a:gd name="T40" fmla="*/ 0 w 313"/>
                <a:gd name="T41" fmla="*/ 124 h 142"/>
                <a:gd name="T42" fmla="*/ 39 w 313"/>
                <a:gd name="T43" fmla="*/ 142 h 142"/>
                <a:gd name="T44" fmla="*/ 205 w 313"/>
                <a:gd name="T45" fmla="*/ 142 h 142"/>
                <a:gd name="T46" fmla="*/ 238 w 313"/>
                <a:gd name="T47" fmla="*/ 117 h 142"/>
                <a:gd name="T48" fmla="*/ 266 w 313"/>
                <a:gd name="T49" fmla="*/ 56 h 142"/>
                <a:gd name="T50" fmla="*/ 313 w 313"/>
                <a:gd name="T51" fmla="*/ 33 h 142"/>
                <a:gd name="T52" fmla="*/ 243 w 313"/>
                <a:gd name="T53" fmla="*/ 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3" h="142">
                  <a:moveTo>
                    <a:pt x="243" y="4"/>
                  </a:moveTo>
                  <a:cubicBezTo>
                    <a:pt x="243" y="4"/>
                    <a:pt x="242" y="4"/>
                    <a:pt x="242" y="4"/>
                  </a:cubicBezTo>
                  <a:cubicBezTo>
                    <a:pt x="238" y="2"/>
                    <a:pt x="235" y="1"/>
                    <a:pt x="233" y="1"/>
                  </a:cubicBezTo>
                  <a:cubicBezTo>
                    <a:pt x="231" y="1"/>
                    <a:pt x="231" y="1"/>
                    <a:pt x="231" y="1"/>
                  </a:cubicBezTo>
                  <a:cubicBezTo>
                    <a:pt x="227" y="2"/>
                    <a:pt x="225" y="5"/>
                    <a:pt x="223" y="14"/>
                  </a:cubicBezTo>
                  <a:cubicBezTo>
                    <a:pt x="216" y="39"/>
                    <a:pt x="206" y="64"/>
                    <a:pt x="196" y="93"/>
                  </a:cubicBezTo>
                  <a:cubicBezTo>
                    <a:pt x="190" y="62"/>
                    <a:pt x="191" y="31"/>
                    <a:pt x="198" y="6"/>
                  </a:cubicBezTo>
                  <a:cubicBezTo>
                    <a:pt x="180" y="10"/>
                    <a:pt x="162" y="10"/>
                    <a:pt x="142" y="4"/>
                  </a:cubicBezTo>
                  <a:cubicBezTo>
                    <a:pt x="164" y="32"/>
                    <a:pt x="148" y="61"/>
                    <a:pt x="150" y="89"/>
                  </a:cubicBezTo>
                  <a:cubicBezTo>
                    <a:pt x="139" y="63"/>
                    <a:pt x="130" y="37"/>
                    <a:pt x="121" y="10"/>
                  </a:cubicBezTo>
                  <a:cubicBezTo>
                    <a:pt x="120" y="5"/>
                    <a:pt x="119" y="2"/>
                    <a:pt x="117" y="1"/>
                  </a:cubicBezTo>
                  <a:cubicBezTo>
                    <a:pt x="117" y="1"/>
                    <a:pt x="116" y="1"/>
                    <a:pt x="116" y="0"/>
                  </a:cubicBezTo>
                  <a:cubicBezTo>
                    <a:pt x="115" y="0"/>
                    <a:pt x="115" y="0"/>
                    <a:pt x="115" y="0"/>
                  </a:cubicBezTo>
                  <a:cubicBezTo>
                    <a:pt x="115" y="0"/>
                    <a:pt x="115" y="0"/>
                    <a:pt x="114" y="0"/>
                  </a:cubicBezTo>
                  <a:cubicBezTo>
                    <a:pt x="114" y="0"/>
                    <a:pt x="113" y="0"/>
                    <a:pt x="112" y="1"/>
                  </a:cubicBezTo>
                  <a:cubicBezTo>
                    <a:pt x="110" y="1"/>
                    <a:pt x="109" y="2"/>
                    <a:pt x="107" y="3"/>
                  </a:cubicBezTo>
                  <a:cubicBezTo>
                    <a:pt x="95" y="9"/>
                    <a:pt x="83" y="14"/>
                    <a:pt x="71" y="18"/>
                  </a:cubicBezTo>
                  <a:cubicBezTo>
                    <a:pt x="59" y="23"/>
                    <a:pt x="48" y="27"/>
                    <a:pt x="37" y="31"/>
                  </a:cubicBezTo>
                  <a:cubicBezTo>
                    <a:pt x="26" y="35"/>
                    <a:pt x="21" y="44"/>
                    <a:pt x="17" y="54"/>
                  </a:cubicBezTo>
                  <a:cubicBezTo>
                    <a:pt x="11" y="71"/>
                    <a:pt x="9" y="89"/>
                    <a:pt x="0" y="104"/>
                  </a:cubicBezTo>
                  <a:cubicBezTo>
                    <a:pt x="0" y="111"/>
                    <a:pt x="0" y="117"/>
                    <a:pt x="0" y="124"/>
                  </a:cubicBezTo>
                  <a:cubicBezTo>
                    <a:pt x="10" y="137"/>
                    <a:pt x="22" y="142"/>
                    <a:pt x="39" y="142"/>
                  </a:cubicBezTo>
                  <a:cubicBezTo>
                    <a:pt x="94" y="141"/>
                    <a:pt x="149" y="140"/>
                    <a:pt x="205" y="142"/>
                  </a:cubicBezTo>
                  <a:cubicBezTo>
                    <a:pt x="225" y="142"/>
                    <a:pt x="233" y="136"/>
                    <a:pt x="238" y="117"/>
                  </a:cubicBezTo>
                  <a:cubicBezTo>
                    <a:pt x="243" y="95"/>
                    <a:pt x="247" y="72"/>
                    <a:pt x="266" y="56"/>
                  </a:cubicBezTo>
                  <a:cubicBezTo>
                    <a:pt x="279" y="46"/>
                    <a:pt x="296" y="42"/>
                    <a:pt x="313" y="33"/>
                  </a:cubicBezTo>
                  <a:cubicBezTo>
                    <a:pt x="288" y="23"/>
                    <a:pt x="266" y="14"/>
                    <a:pt x="243" y="4"/>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5" name="Freeform 45">
              <a:extLst>
                <a:ext uri="{FF2B5EF4-FFF2-40B4-BE49-F238E27FC236}">
                  <a16:creationId xmlns:a16="http://schemas.microsoft.com/office/drawing/2014/main" id="{A6670C7D-5C1D-4D4B-B8DF-98C998C9CE9F}"/>
                </a:ext>
              </a:extLst>
            </p:cNvPr>
            <p:cNvSpPr>
              <a:spLocks/>
            </p:cNvSpPr>
            <p:nvPr/>
          </p:nvSpPr>
          <p:spPr bwMode="auto">
            <a:xfrm>
              <a:off x="8126425" y="6020108"/>
              <a:ext cx="395" cy="791"/>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1"/>
                    <a:pt x="0" y="1"/>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6" name="Freeform 46">
              <a:extLst>
                <a:ext uri="{FF2B5EF4-FFF2-40B4-BE49-F238E27FC236}">
                  <a16:creationId xmlns:a16="http://schemas.microsoft.com/office/drawing/2014/main" id="{521C91E4-6319-4DB2-8025-62DB4F27B2CD}"/>
                </a:ext>
              </a:extLst>
            </p:cNvPr>
            <p:cNvSpPr>
              <a:spLocks/>
            </p:cNvSpPr>
            <p:nvPr/>
          </p:nvSpPr>
          <p:spPr bwMode="auto">
            <a:xfrm>
              <a:off x="8126425" y="60208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7" name="Freeform 47">
              <a:extLst>
                <a:ext uri="{FF2B5EF4-FFF2-40B4-BE49-F238E27FC236}">
                  <a16:creationId xmlns:a16="http://schemas.microsoft.com/office/drawing/2014/main" id="{BB7EB720-A547-4409-A413-F53E64B2C3A3}"/>
                </a:ext>
              </a:extLst>
            </p:cNvPr>
            <p:cNvSpPr>
              <a:spLocks/>
            </p:cNvSpPr>
            <p:nvPr/>
          </p:nvSpPr>
          <p:spPr bwMode="auto">
            <a:xfrm>
              <a:off x="8126820" y="6018131"/>
              <a:ext cx="40317" cy="67196"/>
            </a:xfrm>
            <a:custGeom>
              <a:avLst/>
              <a:gdLst>
                <a:gd name="T0" fmla="*/ 25 w 62"/>
                <a:gd name="T1" fmla="*/ 41 h 103"/>
                <a:gd name="T2" fmla="*/ 46 w 62"/>
                <a:gd name="T3" fmla="*/ 102 h 103"/>
                <a:gd name="T4" fmla="*/ 50 w 62"/>
                <a:gd name="T5" fmla="*/ 103 h 103"/>
                <a:gd name="T6" fmla="*/ 38 w 62"/>
                <a:gd name="T7" fmla="*/ 3 h 103"/>
                <a:gd name="T8" fmla="*/ 35 w 62"/>
                <a:gd name="T9" fmla="*/ 0 h 103"/>
                <a:gd name="T10" fmla="*/ 0 w 62"/>
                <a:gd name="T11" fmla="*/ 3 h 103"/>
                <a:gd name="T12" fmla="*/ 25 w 62"/>
                <a:gd name="T13" fmla="*/ 41 h 103"/>
              </a:gdLst>
              <a:ahLst/>
              <a:cxnLst>
                <a:cxn ang="0">
                  <a:pos x="T0" y="T1"/>
                </a:cxn>
                <a:cxn ang="0">
                  <a:pos x="T2" y="T3"/>
                </a:cxn>
                <a:cxn ang="0">
                  <a:pos x="T4" y="T5"/>
                </a:cxn>
                <a:cxn ang="0">
                  <a:pos x="T6" y="T7"/>
                </a:cxn>
                <a:cxn ang="0">
                  <a:pos x="T8" y="T9"/>
                </a:cxn>
                <a:cxn ang="0">
                  <a:pos x="T10" y="T11"/>
                </a:cxn>
                <a:cxn ang="0">
                  <a:pos x="T12" y="T13"/>
                </a:cxn>
              </a:cxnLst>
              <a:rect l="0" t="0" r="r" b="b"/>
              <a:pathLst>
                <a:path w="62" h="103">
                  <a:moveTo>
                    <a:pt x="25" y="41"/>
                  </a:moveTo>
                  <a:cubicBezTo>
                    <a:pt x="31" y="61"/>
                    <a:pt x="39" y="82"/>
                    <a:pt x="46" y="102"/>
                  </a:cubicBezTo>
                  <a:cubicBezTo>
                    <a:pt x="47" y="102"/>
                    <a:pt x="48" y="102"/>
                    <a:pt x="50" y="103"/>
                  </a:cubicBezTo>
                  <a:cubicBezTo>
                    <a:pt x="48" y="70"/>
                    <a:pt x="62" y="36"/>
                    <a:pt x="38" y="3"/>
                  </a:cubicBezTo>
                  <a:cubicBezTo>
                    <a:pt x="36" y="1"/>
                    <a:pt x="35" y="0"/>
                    <a:pt x="35" y="0"/>
                  </a:cubicBezTo>
                  <a:cubicBezTo>
                    <a:pt x="0" y="3"/>
                    <a:pt x="0" y="3"/>
                    <a:pt x="0" y="3"/>
                  </a:cubicBezTo>
                  <a:cubicBezTo>
                    <a:pt x="12" y="3"/>
                    <a:pt x="16" y="13"/>
                    <a:pt x="25"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8" name="Freeform 48">
              <a:extLst>
                <a:ext uri="{FF2B5EF4-FFF2-40B4-BE49-F238E27FC236}">
                  <a16:creationId xmlns:a16="http://schemas.microsoft.com/office/drawing/2014/main" id="{4CD745AB-ED91-4EBB-B7D4-78260B0C934A}"/>
                </a:ext>
              </a:extLst>
            </p:cNvPr>
            <p:cNvSpPr>
              <a:spLocks/>
            </p:cNvSpPr>
            <p:nvPr/>
          </p:nvSpPr>
          <p:spPr bwMode="auto">
            <a:xfrm>
              <a:off x="8183344" y="6018922"/>
              <a:ext cx="38736" cy="66405"/>
            </a:xfrm>
            <a:custGeom>
              <a:avLst/>
              <a:gdLst>
                <a:gd name="T0" fmla="*/ 14 w 60"/>
                <a:gd name="T1" fmla="*/ 102 h 102"/>
                <a:gd name="T2" fmla="*/ 37 w 60"/>
                <a:gd name="T3" fmla="*/ 39 h 102"/>
                <a:gd name="T4" fmla="*/ 60 w 60"/>
                <a:gd name="T5" fmla="*/ 2 h 102"/>
                <a:gd name="T6" fmla="*/ 60 w 60"/>
                <a:gd name="T7" fmla="*/ 2 h 102"/>
                <a:gd name="T8" fmla="*/ 23 w 60"/>
                <a:gd name="T9" fmla="*/ 0 h 102"/>
                <a:gd name="T10" fmla="*/ 14 w 60"/>
                <a:gd name="T11" fmla="*/ 102 h 102"/>
              </a:gdLst>
              <a:ahLst/>
              <a:cxnLst>
                <a:cxn ang="0">
                  <a:pos x="T0" y="T1"/>
                </a:cxn>
                <a:cxn ang="0">
                  <a:pos x="T2" y="T3"/>
                </a:cxn>
                <a:cxn ang="0">
                  <a:pos x="T4" y="T5"/>
                </a:cxn>
                <a:cxn ang="0">
                  <a:pos x="T6" y="T7"/>
                </a:cxn>
                <a:cxn ang="0">
                  <a:pos x="T8" y="T9"/>
                </a:cxn>
                <a:cxn ang="0">
                  <a:pos x="T10" y="T11"/>
                </a:cxn>
              </a:cxnLst>
              <a:rect l="0" t="0" r="r" b="b"/>
              <a:pathLst>
                <a:path w="60" h="102">
                  <a:moveTo>
                    <a:pt x="14" y="102"/>
                  </a:moveTo>
                  <a:cubicBezTo>
                    <a:pt x="22" y="81"/>
                    <a:pt x="30" y="60"/>
                    <a:pt x="37" y="39"/>
                  </a:cubicBezTo>
                  <a:cubicBezTo>
                    <a:pt x="45" y="13"/>
                    <a:pt x="49" y="2"/>
                    <a:pt x="60" y="2"/>
                  </a:cubicBezTo>
                  <a:cubicBezTo>
                    <a:pt x="60" y="2"/>
                    <a:pt x="60" y="2"/>
                    <a:pt x="60" y="2"/>
                  </a:cubicBezTo>
                  <a:cubicBezTo>
                    <a:pt x="23" y="0"/>
                    <a:pt x="23" y="0"/>
                    <a:pt x="23" y="0"/>
                  </a:cubicBezTo>
                  <a:cubicBezTo>
                    <a:pt x="0" y="34"/>
                    <a:pt x="12" y="68"/>
                    <a:pt x="14"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49" name="Freeform 49">
              <a:extLst>
                <a:ext uri="{FF2B5EF4-FFF2-40B4-BE49-F238E27FC236}">
                  <a16:creationId xmlns:a16="http://schemas.microsoft.com/office/drawing/2014/main" id="{EEDBCFE8-0976-4AD3-A5C7-659EE0889919}"/>
                </a:ext>
              </a:extLst>
            </p:cNvPr>
            <p:cNvSpPr>
              <a:spLocks/>
            </p:cNvSpPr>
            <p:nvPr/>
          </p:nvSpPr>
          <p:spPr bwMode="auto">
            <a:xfrm>
              <a:off x="8304296" y="6010621"/>
              <a:ext cx="113047" cy="69963"/>
            </a:xfrm>
            <a:custGeom>
              <a:avLst/>
              <a:gdLst>
                <a:gd name="T0" fmla="*/ 7 w 175"/>
                <a:gd name="T1" fmla="*/ 56 h 108"/>
                <a:gd name="T2" fmla="*/ 10 w 175"/>
                <a:gd name="T3" fmla="*/ 56 h 108"/>
                <a:gd name="T4" fmla="*/ 50 w 175"/>
                <a:gd name="T5" fmla="*/ 62 h 108"/>
                <a:gd name="T6" fmla="*/ 70 w 175"/>
                <a:gd name="T7" fmla="*/ 87 h 108"/>
                <a:gd name="T8" fmla="*/ 105 w 175"/>
                <a:gd name="T9" fmla="*/ 87 h 108"/>
                <a:gd name="T10" fmla="*/ 127 w 175"/>
                <a:gd name="T11" fmla="*/ 56 h 108"/>
                <a:gd name="T12" fmla="*/ 159 w 175"/>
                <a:gd name="T13" fmla="*/ 52 h 108"/>
                <a:gd name="T14" fmla="*/ 167 w 175"/>
                <a:gd name="T15" fmla="*/ 58 h 108"/>
                <a:gd name="T16" fmla="*/ 146 w 175"/>
                <a:gd name="T17" fmla="*/ 0 h 108"/>
                <a:gd name="T18" fmla="*/ 121 w 175"/>
                <a:gd name="T19" fmla="*/ 0 h 108"/>
                <a:gd name="T20" fmla="*/ 121 w 175"/>
                <a:gd name="T21" fmla="*/ 0 h 108"/>
                <a:gd name="T22" fmla="*/ 98 w 175"/>
                <a:gd name="T23" fmla="*/ 56 h 108"/>
                <a:gd name="T24" fmla="*/ 76 w 175"/>
                <a:gd name="T25" fmla="*/ 57 h 108"/>
                <a:gd name="T26" fmla="*/ 53 w 175"/>
                <a:gd name="T27" fmla="*/ 0 h 108"/>
                <a:gd name="T28" fmla="*/ 53 w 175"/>
                <a:gd name="T29" fmla="*/ 0 h 108"/>
                <a:gd name="T30" fmla="*/ 20 w 175"/>
                <a:gd name="T31" fmla="*/ 5 h 108"/>
                <a:gd name="T32" fmla="*/ 7 w 175"/>
                <a:gd name="T33"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08">
                  <a:moveTo>
                    <a:pt x="7" y="56"/>
                  </a:moveTo>
                  <a:cubicBezTo>
                    <a:pt x="8" y="56"/>
                    <a:pt x="9" y="57"/>
                    <a:pt x="10" y="56"/>
                  </a:cubicBezTo>
                  <a:cubicBezTo>
                    <a:pt x="33" y="38"/>
                    <a:pt x="33" y="38"/>
                    <a:pt x="50" y="62"/>
                  </a:cubicBezTo>
                  <a:cubicBezTo>
                    <a:pt x="56" y="71"/>
                    <a:pt x="63" y="79"/>
                    <a:pt x="70" y="87"/>
                  </a:cubicBezTo>
                  <a:cubicBezTo>
                    <a:pt x="87" y="108"/>
                    <a:pt x="87" y="108"/>
                    <a:pt x="105" y="87"/>
                  </a:cubicBezTo>
                  <a:cubicBezTo>
                    <a:pt x="113" y="77"/>
                    <a:pt x="122" y="68"/>
                    <a:pt x="127" y="56"/>
                  </a:cubicBezTo>
                  <a:cubicBezTo>
                    <a:pt x="136" y="37"/>
                    <a:pt x="146" y="40"/>
                    <a:pt x="159" y="52"/>
                  </a:cubicBezTo>
                  <a:cubicBezTo>
                    <a:pt x="161" y="54"/>
                    <a:pt x="163" y="55"/>
                    <a:pt x="167" y="58"/>
                  </a:cubicBezTo>
                  <a:cubicBezTo>
                    <a:pt x="175" y="35"/>
                    <a:pt x="164" y="19"/>
                    <a:pt x="146" y="0"/>
                  </a:cubicBezTo>
                  <a:cubicBezTo>
                    <a:pt x="121" y="0"/>
                    <a:pt x="121" y="0"/>
                    <a:pt x="121" y="0"/>
                  </a:cubicBezTo>
                  <a:cubicBezTo>
                    <a:pt x="121" y="0"/>
                    <a:pt x="121" y="0"/>
                    <a:pt x="121" y="0"/>
                  </a:cubicBezTo>
                  <a:cubicBezTo>
                    <a:pt x="124" y="21"/>
                    <a:pt x="115" y="39"/>
                    <a:pt x="98" y="56"/>
                  </a:cubicBezTo>
                  <a:cubicBezTo>
                    <a:pt x="90" y="64"/>
                    <a:pt x="85" y="64"/>
                    <a:pt x="76" y="57"/>
                  </a:cubicBezTo>
                  <a:cubicBezTo>
                    <a:pt x="59" y="43"/>
                    <a:pt x="50" y="21"/>
                    <a:pt x="53" y="0"/>
                  </a:cubicBezTo>
                  <a:cubicBezTo>
                    <a:pt x="53" y="0"/>
                    <a:pt x="53" y="0"/>
                    <a:pt x="53" y="0"/>
                  </a:cubicBezTo>
                  <a:cubicBezTo>
                    <a:pt x="20" y="5"/>
                    <a:pt x="20" y="5"/>
                    <a:pt x="20" y="5"/>
                  </a:cubicBezTo>
                  <a:cubicBezTo>
                    <a:pt x="8" y="21"/>
                    <a:pt x="0" y="36"/>
                    <a:pt x="7"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50" name="Freeform 50">
              <a:extLst>
                <a:ext uri="{FF2B5EF4-FFF2-40B4-BE49-F238E27FC236}">
                  <a16:creationId xmlns:a16="http://schemas.microsoft.com/office/drawing/2014/main" id="{C87AB0EA-2A85-4602-9EF3-70F1345D4F41}"/>
                </a:ext>
              </a:extLst>
            </p:cNvPr>
            <p:cNvSpPr>
              <a:spLocks/>
            </p:cNvSpPr>
            <p:nvPr/>
          </p:nvSpPr>
          <p:spPr bwMode="auto">
            <a:xfrm>
              <a:off x="8273861" y="6010621"/>
              <a:ext cx="184195" cy="84983"/>
            </a:xfrm>
            <a:custGeom>
              <a:avLst/>
              <a:gdLst>
                <a:gd name="T0" fmla="*/ 193 w 285"/>
                <a:gd name="T1" fmla="*/ 0 h 131"/>
                <a:gd name="T2" fmla="*/ 214 w 285"/>
                <a:gd name="T3" fmla="*/ 58 h 131"/>
                <a:gd name="T4" fmla="*/ 206 w 285"/>
                <a:gd name="T5" fmla="*/ 52 h 131"/>
                <a:gd name="T6" fmla="*/ 174 w 285"/>
                <a:gd name="T7" fmla="*/ 56 h 131"/>
                <a:gd name="T8" fmla="*/ 152 w 285"/>
                <a:gd name="T9" fmla="*/ 87 h 131"/>
                <a:gd name="T10" fmla="*/ 117 w 285"/>
                <a:gd name="T11" fmla="*/ 87 h 131"/>
                <a:gd name="T12" fmla="*/ 97 w 285"/>
                <a:gd name="T13" fmla="*/ 62 h 131"/>
                <a:gd name="T14" fmla="*/ 57 w 285"/>
                <a:gd name="T15" fmla="*/ 56 h 131"/>
                <a:gd name="T16" fmla="*/ 54 w 285"/>
                <a:gd name="T17" fmla="*/ 56 h 131"/>
                <a:gd name="T18" fmla="*/ 67 w 285"/>
                <a:gd name="T19" fmla="*/ 5 h 131"/>
                <a:gd name="T20" fmla="*/ 0 w 285"/>
                <a:gd name="T21" fmla="*/ 32 h 131"/>
                <a:gd name="T22" fmla="*/ 41 w 285"/>
                <a:gd name="T23" fmla="*/ 85 h 131"/>
                <a:gd name="T24" fmla="*/ 50 w 285"/>
                <a:gd name="T25" fmla="*/ 115 h 131"/>
                <a:gd name="T26" fmla="*/ 70 w 285"/>
                <a:gd name="T27" fmla="*/ 131 h 131"/>
                <a:gd name="T28" fmla="*/ 240 w 285"/>
                <a:gd name="T29" fmla="*/ 131 h 131"/>
                <a:gd name="T30" fmla="*/ 285 w 285"/>
                <a:gd name="T31" fmla="*/ 105 h 131"/>
                <a:gd name="T32" fmla="*/ 285 w 285"/>
                <a:gd name="T33" fmla="*/ 69 h 131"/>
                <a:gd name="T34" fmla="*/ 193 w 28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5" h="131">
                  <a:moveTo>
                    <a:pt x="193" y="0"/>
                  </a:moveTo>
                  <a:cubicBezTo>
                    <a:pt x="211" y="19"/>
                    <a:pt x="222" y="35"/>
                    <a:pt x="214" y="58"/>
                  </a:cubicBezTo>
                  <a:cubicBezTo>
                    <a:pt x="210" y="55"/>
                    <a:pt x="208" y="54"/>
                    <a:pt x="206" y="52"/>
                  </a:cubicBezTo>
                  <a:cubicBezTo>
                    <a:pt x="193" y="40"/>
                    <a:pt x="183" y="37"/>
                    <a:pt x="174" y="56"/>
                  </a:cubicBezTo>
                  <a:cubicBezTo>
                    <a:pt x="169" y="68"/>
                    <a:pt x="160" y="77"/>
                    <a:pt x="152" y="87"/>
                  </a:cubicBezTo>
                  <a:cubicBezTo>
                    <a:pt x="134" y="108"/>
                    <a:pt x="134" y="108"/>
                    <a:pt x="117" y="87"/>
                  </a:cubicBezTo>
                  <a:cubicBezTo>
                    <a:pt x="110" y="79"/>
                    <a:pt x="103" y="71"/>
                    <a:pt x="97" y="62"/>
                  </a:cubicBezTo>
                  <a:cubicBezTo>
                    <a:pt x="80" y="38"/>
                    <a:pt x="80" y="38"/>
                    <a:pt x="57" y="56"/>
                  </a:cubicBezTo>
                  <a:cubicBezTo>
                    <a:pt x="56" y="57"/>
                    <a:pt x="55" y="56"/>
                    <a:pt x="54" y="56"/>
                  </a:cubicBezTo>
                  <a:cubicBezTo>
                    <a:pt x="47" y="36"/>
                    <a:pt x="55" y="21"/>
                    <a:pt x="67" y="5"/>
                  </a:cubicBezTo>
                  <a:cubicBezTo>
                    <a:pt x="43" y="9"/>
                    <a:pt x="19" y="13"/>
                    <a:pt x="0" y="32"/>
                  </a:cubicBezTo>
                  <a:cubicBezTo>
                    <a:pt x="28" y="51"/>
                    <a:pt x="32" y="57"/>
                    <a:pt x="41" y="85"/>
                  </a:cubicBezTo>
                  <a:cubicBezTo>
                    <a:pt x="44" y="95"/>
                    <a:pt x="48" y="105"/>
                    <a:pt x="50" y="115"/>
                  </a:cubicBezTo>
                  <a:cubicBezTo>
                    <a:pt x="53" y="127"/>
                    <a:pt x="58" y="131"/>
                    <a:pt x="70" y="131"/>
                  </a:cubicBezTo>
                  <a:cubicBezTo>
                    <a:pt x="127" y="130"/>
                    <a:pt x="184" y="130"/>
                    <a:pt x="240" y="131"/>
                  </a:cubicBezTo>
                  <a:cubicBezTo>
                    <a:pt x="261" y="131"/>
                    <a:pt x="276" y="124"/>
                    <a:pt x="285" y="105"/>
                  </a:cubicBezTo>
                  <a:cubicBezTo>
                    <a:pt x="285" y="93"/>
                    <a:pt x="285" y="81"/>
                    <a:pt x="285" y="69"/>
                  </a:cubicBezTo>
                  <a:cubicBezTo>
                    <a:pt x="277" y="20"/>
                    <a:pt x="237" y="12"/>
                    <a:pt x="193" y="0"/>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51" name="Freeform 51">
              <a:extLst>
                <a:ext uri="{FF2B5EF4-FFF2-40B4-BE49-F238E27FC236}">
                  <a16:creationId xmlns:a16="http://schemas.microsoft.com/office/drawing/2014/main" id="{06E82BA1-4301-4E5B-A213-944ED9DA57B2}"/>
                </a:ext>
              </a:extLst>
            </p:cNvPr>
            <p:cNvSpPr>
              <a:spLocks/>
            </p:cNvSpPr>
            <p:nvPr/>
          </p:nvSpPr>
          <p:spPr bwMode="auto">
            <a:xfrm>
              <a:off x="8286114" y="5850537"/>
              <a:ext cx="144273" cy="201588"/>
            </a:xfrm>
            <a:custGeom>
              <a:avLst/>
              <a:gdLst>
                <a:gd name="T0" fmla="*/ 186 w 223"/>
                <a:gd name="T1" fmla="*/ 37 h 310"/>
                <a:gd name="T2" fmla="*/ 85 w 223"/>
                <a:gd name="T3" fmla="*/ 11 h 310"/>
                <a:gd name="T4" fmla="*/ 19 w 223"/>
                <a:gd name="T5" fmla="*/ 146 h 310"/>
                <a:gd name="T6" fmla="*/ 20 w 223"/>
                <a:gd name="T7" fmla="*/ 195 h 310"/>
                <a:gd name="T8" fmla="*/ 27 w 223"/>
                <a:gd name="T9" fmla="*/ 207 h 310"/>
                <a:gd name="T10" fmla="*/ 76 w 223"/>
                <a:gd name="T11" fmla="*/ 222 h 310"/>
                <a:gd name="T12" fmla="*/ 84 w 223"/>
                <a:gd name="T13" fmla="*/ 236 h 310"/>
                <a:gd name="T14" fmla="*/ 81 w 223"/>
                <a:gd name="T15" fmla="*/ 246 h 310"/>
                <a:gd name="T16" fmla="*/ 104 w 223"/>
                <a:gd name="T17" fmla="*/ 303 h 310"/>
                <a:gd name="T18" fmla="*/ 126 w 223"/>
                <a:gd name="T19" fmla="*/ 302 h 310"/>
                <a:gd name="T20" fmla="*/ 149 w 223"/>
                <a:gd name="T21" fmla="*/ 246 h 310"/>
                <a:gd name="T22" fmla="*/ 142 w 223"/>
                <a:gd name="T23" fmla="*/ 225 h 310"/>
                <a:gd name="T24" fmla="*/ 200 w 223"/>
                <a:gd name="T25" fmla="*/ 208 h 310"/>
                <a:gd name="T26" fmla="*/ 209 w 223"/>
                <a:gd name="T27" fmla="*/ 196 h 310"/>
                <a:gd name="T28" fmla="*/ 212 w 223"/>
                <a:gd name="T29" fmla="*/ 141 h 310"/>
                <a:gd name="T30" fmla="*/ 186 w 223"/>
                <a:gd name="T31" fmla="*/ 37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3" h="310">
                  <a:moveTo>
                    <a:pt x="186" y="37"/>
                  </a:moveTo>
                  <a:cubicBezTo>
                    <a:pt x="158" y="8"/>
                    <a:pt x="123" y="0"/>
                    <a:pt x="85" y="11"/>
                  </a:cubicBezTo>
                  <a:cubicBezTo>
                    <a:pt x="30" y="28"/>
                    <a:pt x="0" y="89"/>
                    <a:pt x="19" y="146"/>
                  </a:cubicBezTo>
                  <a:cubicBezTo>
                    <a:pt x="25" y="162"/>
                    <a:pt x="32" y="178"/>
                    <a:pt x="20" y="195"/>
                  </a:cubicBezTo>
                  <a:cubicBezTo>
                    <a:pt x="15" y="202"/>
                    <a:pt x="23" y="204"/>
                    <a:pt x="27" y="207"/>
                  </a:cubicBezTo>
                  <a:cubicBezTo>
                    <a:pt x="41" y="217"/>
                    <a:pt x="59" y="220"/>
                    <a:pt x="76" y="222"/>
                  </a:cubicBezTo>
                  <a:cubicBezTo>
                    <a:pt x="86" y="224"/>
                    <a:pt x="87" y="226"/>
                    <a:pt x="84" y="236"/>
                  </a:cubicBezTo>
                  <a:cubicBezTo>
                    <a:pt x="83" y="239"/>
                    <a:pt x="82" y="243"/>
                    <a:pt x="81" y="246"/>
                  </a:cubicBezTo>
                  <a:cubicBezTo>
                    <a:pt x="78" y="267"/>
                    <a:pt x="87" y="289"/>
                    <a:pt x="104" y="303"/>
                  </a:cubicBezTo>
                  <a:cubicBezTo>
                    <a:pt x="113" y="310"/>
                    <a:pt x="118" y="310"/>
                    <a:pt x="126" y="302"/>
                  </a:cubicBezTo>
                  <a:cubicBezTo>
                    <a:pt x="143" y="285"/>
                    <a:pt x="152" y="267"/>
                    <a:pt x="149" y="246"/>
                  </a:cubicBezTo>
                  <a:cubicBezTo>
                    <a:pt x="148" y="239"/>
                    <a:pt x="146" y="232"/>
                    <a:pt x="142" y="225"/>
                  </a:cubicBezTo>
                  <a:cubicBezTo>
                    <a:pt x="163" y="220"/>
                    <a:pt x="183" y="219"/>
                    <a:pt x="200" y="208"/>
                  </a:cubicBezTo>
                  <a:cubicBezTo>
                    <a:pt x="205" y="205"/>
                    <a:pt x="214" y="202"/>
                    <a:pt x="209" y="196"/>
                  </a:cubicBezTo>
                  <a:cubicBezTo>
                    <a:pt x="195" y="176"/>
                    <a:pt x="207" y="159"/>
                    <a:pt x="212" y="141"/>
                  </a:cubicBezTo>
                  <a:cubicBezTo>
                    <a:pt x="223" y="102"/>
                    <a:pt x="215" y="66"/>
                    <a:pt x="186" y="37"/>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52" name="Freeform 52">
              <a:extLst>
                <a:ext uri="{FF2B5EF4-FFF2-40B4-BE49-F238E27FC236}">
                  <a16:creationId xmlns:a16="http://schemas.microsoft.com/office/drawing/2014/main" id="{764B797B-8460-4A7F-A653-D21F712104A0}"/>
                </a:ext>
              </a:extLst>
            </p:cNvPr>
            <p:cNvSpPr>
              <a:spLocks/>
            </p:cNvSpPr>
            <p:nvPr/>
          </p:nvSpPr>
          <p:spPr bwMode="auto">
            <a:xfrm>
              <a:off x="8042233" y="6018131"/>
              <a:ext cx="262459" cy="110281"/>
            </a:xfrm>
            <a:custGeom>
              <a:avLst/>
              <a:gdLst>
                <a:gd name="T0" fmla="*/ 399 w 406"/>
                <a:gd name="T1" fmla="*/ 114 h 169"/>
                <a:gd name="T2" fmla="*/ 310 w 406"/>
                <a:gd name="T3" fmla="*/ 14 h 169"/>
                <a:gd name="T4" fmla="*/ 278 w 406"/>
                <a:gd name="T5" fmla="*/ 3 h 169"/>
                <a:gd name="T6" fmla="*/ 255 w 406"/>
                <a:gd name="T7" fmla="*/ 40 h 169"/>
                <a:gd name="T8" fmla="*/ 232 w 406"/>
                <a:gd name="T9" fmla="*/ 103 h 169"/>
                <a:gd name="T10" fmla="*/ 241 w 406"/>
                <a:gd name="T11" fmla="*/ 1 h 169"/>
                <a:gd name="T12" fmla="*/ 167 w 406"/>
                <a:gd name="T13" fmla="*/ 0 h 169"/>
                <a:gd name="T14" fmla="*/ 169 w 406"/>
                <a:gd name="T15" fmla="*/ 3 h 169"/>
                <a:gd name="T16" fmla="*/ 181 w 406"/>
                <a:gd name="T17" fmla="*/ 103 h 169"/>
                <a:gd name="T18" fmla="*/ 177 w 406"/>
                <a:gd name="T19" fmla="*/ 102 h 169"/>
                <a:gd name="T20" fmla="*/ 156 w 406"/>
                <a:gd name="T21" fmla="*/ 41 h 169"/>
                <a:gd name="T22" fmla="*/ 131 w 406"/>
                <a:gd name="T23" fmla="*/ 3 h 169"/>
                <a:gd name="T24" fmla="*/ 130 w 406"/>
                <a:gd name="T25" fmla="*/ 4 h 169"/>
                <a:gd name="T26" fmla="*/ 130 w 406"/>
                <a:gd name="T27" fmla="*/ 4 h 169"/>
                <a:gd name="T28" fmla="*/ 100 w 406"/>
                <a:gd name="T29" fmla="*/ 14 h 169"/>
                <a:gd name="T30" fmla="*/ 11 w 406"/>
                <a:gd name="T31" fmla="*/ 113 h 169"/>
                <a:gd name="T32" fmla="*/ 68 w 406"/>
                <a:gd name="T33" fmla="*/ 169 h 169"/>
                <a:gd name="T34" fmla="*/ 392 w 406"/>
                <a:gd name="T35" fmla="*/ 169 h 169"/>
                <a:gd name="T36" fmla="*/ 399 w 406"/>
                <a:gd name="T37"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6" h="169">
                  <a:moveTo>
                    <a:pt x="399" y="114"/>
                  </a:moveTo>
                  <a:cubicBezTo>
                    <a:pt x="372" y="27"/>
                    <a:pt x="388" y="48"/>
                    <a:pt x="310" y="14"/>
                  </a:cubicBezTo>
                  <a:cubicBezTo>
                    <a:pt x="295" y="8"/>
                    <a:pt x="285" y="4"/>
                    <a:pt x="278" y="3"/>
                  </a:cubicBezTo>
                  <a:cubicBezTo>
                    <a:pt x="267" y="3"/>
                    <a:pt x="263" y="14"/>
                    <a:pt x="255" y="40"/>
                  </a:cubicBezTo>
                  <a:cubicBezTo>
                    <a:pt x="248" y="61"/>
                    <a:pt x="240" y="82"/>
                    <a:pt x="232" y="103"/>
                  </a:cubicBezTo>
                  <a:cubicBezTo>
                    <a:pt x="230" y="69"/>
                    <a:pt x="218" y="35"/>
                    <a:pt x="241" y="1"/>
                  </a:cubicBezTo>
                  <a:cubicBezTo>
                    <a:pt x="214" y="14"/>
                    <a:pt x="192" y="13"/>
                    <a:pt x="167" y="0"/>
                  </a:cubicBezTo>
                  <a:cubicBezTo>
                    <a:pt x="168" y="1"/>
                    <a:pt x="169" y="2"/>
                    <a:pt x="169" y="3"/>
                  </a:cubicBezTo>
                  <a:cubicBezTo>
                    <a:pt x="193" y="36"/>
                    <a:pt x="179" y="70"/>
                    <a:pt x="181" y="103"/>
                  </a:cubicBezTo>
                  <a:cubicBezTo>
                    <a:pt x="179" y="102"/>
                    <a:pt x="178" y="102"/>
                    <a:pt x="177" y="102"/>
                  </a:cubicBezTo>
                  <a:cubicBezTo>
                    <a:pt x="170" y="82"/>
                    <a:pt x="162" y="61"/>
                    <a:pt x="156" y="41"/>
                  </a:cubicBezTo>
                  <a:cubicBezTo>
                    <a:pt x="147" y="13"/>
                    <a:pt x="143" y="3"/>
                    <a:pt x="131" y="3"/>
                  </a:cubicBezTo>
                  <a:cubicBezTo>
                    <a:pt x="130" y="4"/>
                    <a:pt x="130" y="4"/>
                    <a:pt x="130" y="4"/>
                  </a:cubicBezTo>
                  <a:cubicBezTo>
                    <a:pt x="130" y="4"/>
                    <a:pt x="130" y="4"/>
                    <a:pt x="130" y="4"/>
                  </a:cubicBezTo>
                  <a:cubicBezTo>
                    <a:pt x="123" y="4"/>
                    <a:pt x="114" y="8"/>
                    <a:pt x="100" y="14"/>
                  </a:cubicBezTo>
                  <a:cubicBezTo>
                    <a:pt x="21" y="48"/>
                    <a:pt x="33" y="27"/>
                    <a:pt x="11" y="113"/>
                  </a:cubicBezTo>
                  <a:cubicBezTo>
                    <a:pt x="0" y="158"/>
                    <a:pt x="34" y="169"/>
                    <a:pt x="68" y="169"/>
                  </a:cubicBezTo>
                  <a:cubicBezTo>
                    <a:pt x="335" y="137"/>
                    <a:pt x="392" y="169"/>
                    <a:pt x="392" y="169"/>
                  </a:cubicBezTo>
                  <a:cubicBezTo>
                    <a:pt x="392" y="169"/>
                    <a:pt x="406" y="146"/>
                    <a:pt x="399" y="114"/>
                  </a:cubicBez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sp>
        <p:nvSpPr>
          <p:cNvPr id="353" name="Freeform 7">
            <a:extLst>
              <a:ext uri="{FF2B5EF4-FFF2-40B4-BE49-F238E27FC236}">
                <a16:creationId xmlns:a16="http://schemas.microsoft.com/office/drawing/2014/main" id="{5B6895C1-CC85-4992-8911-2FB468961B79}"/>
              </a:ext>
            </a:extLst>
          </p:cNvPr>
          <p:cNvSpPr>
            <a:spLocks/>
          </p:cNvSpPr>
          <p:nvPr/>
        </p:nvSpPr>
        <p:spPr bwMode="auto">
          <a:xfrm rot="12677493">
            <a:off x="8796037" y="1756763"/>
            <a:ext cx="1167203" cy="1095850"/>
          </a:xfrm>
          <a:custGeom>
            <a:avLst/>
            <a:gdLst/>
            <a:ahLst/>
            <a:cxnLst>
              <a:cxn ang="0">
                <a:pos x="18" y="0"/>
              </a:cxn>
              <a:cxn ang="0">
                <a:pos x="0" y="33"/>
              </a:cxn>
              <a:cxn ang="0">
                <a:pos x="13" y="29"/>
              </a:cxn>
              <a:cxn ang="0">
                <a:pos x="13" y="32"/>
              </a:cxn>
              <a:cxn ang="0">
                <a:pos x="97" y="83"/>
              </a:cxn>
              <a:cxn ang="0">
                <a:pos x="28" y="30"/>
              </a:cxn>
              <a:cxn ang="0">
                <a:pos x="28" y="28"/>
              </a:cxn>
              <a:cxn ang="0">
                <a:pos x="41" y="30"/>
              </a:cxn>
              <a:cxn ang="0">
                <a:pos x="18" y="0"/>
              </a:cxn>
            </a:cxnLst>
            <a:rect l="0" t="0" r="r" b="b"/>
            <a:pathLst>
              <a:path w="97" h="91">
                <a:moveTo>
                  <a:pt x="18" y="0"/>
                </a:moveTo>
                <a:cubicBezTo>
                  <a:pt x="0" y="33"/>
                  <a:pt x="0" y="33"/>
                  <a:pt x="0" y="33"/>
                </a:cubicBezTo>
                <a:cubicBezTo>
                  <a:pt x="13" y="29"/>
                  <a:pt x="13" y="29"/>
                  <a:pt x="13" y="29"/>
                </a:cubicBezTo>
                <a:cubicBezTo>
                  <a:pt x="13" y="30"/>
                  <a:pt x="13" y="31"/>
                  <a:pt x="13" y="32"/>
                </a:cubicBezTo>
                <a:cubicBezTo>
                  <a:pt x="23" y="69"/>
                  <a:pt x="60" y="91"/>
                  <a:pt x="97" y="83"/>
                </a:cubicBezTo>
                <a:cubicBezTo>
                  <a:pt x="66" y="83"/>
                  <a:pt x="37" y="62"/>
                  <a:pt x="28" y="30"/>
                </a:cubicBezTo>
                <a:cubicBezTo>
                  <a:pt x="28" y="29"/>
                  <a:pt x="28" y="29"/>
                  <a:pt x="28" y="28"/>
                </a:cubicBezTo>
                <a:cubicBezTo>
                  <a:pt x="41" y="30"/>
                  <a:pt x="41" y="30"/>
                  <a:pt x="41" y="30"/>
                </a:cubicBezTo>
                <a:lnTo>
                  <a:pt x="18" y="0"/>
                </a:ln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nvGrpSpPr>
          <p:cNvPr id="354" name="Groupe 1">
            <a:extLst>
              <a:ext uri="{FF2B5EF4-FFF2-40B4-BE49-F238E27FC236}">
                <a16:creationId xmlns:a16="http://schemas.microsoft.com/office/drawing/2014/main" id="{AD696337-742F-42AF-9927-2EF6FA8DC862}"/>
              </a:ext>
            </a:extLst>
          </p:cNvPr>
          <p:cNvGrpSpPr/>
          <p:nvPr/>
        </p:nvGrpSpPr>
        <p:grpSpPr>
          <a:xfrm>
            <a:off x="3706382" y="2904192"/>
            <a:ext cx="695244" cy="650076"/>
            <a:chOff x="3048206" y="5557066"/>
            <a:chExt cx="907994" cy="849006"/>
          </a:xfrm>
        </p:grpSpPr>
        <p:sp>
          <p:nvSpPr>
            <p:cNvPr id="355" name="Freeform 20">
              <a:extLst>
                <a:ext uri="{FF2B5EF4-FFF2-40B4-BE49-F238E27FC236}">
                  <a16:creationId xmlns:a16="http://schemas.microsoft.com/office/drawing/2014/main" id="{396A400E-E688-4F65-9B66-832D9E8F54B3}"/>
                </a:ext>
              </a:extLst>
            </p:cNvPr>
            <p:cNvSpPr>
              <a:spLocks noChangeAspect="1"/>
            </p:cNvSpPr>
            <p:nvPr/>
          </p:nvSpPr>
          <p:spPr bwMode="auto">
            <a:xfrm>
              <a:off x="3048206" y="5557066"/>
              <a:ext cx="907994" cy="84900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0070AD"/>
            </a:solidFill>
            <a:ln w="12700" cap="flat" cmpd="sng" algn="ctr">
              <a:noFill/>
              <a:prstDash val="solid"/>
              <a:miter lim="800000"/>
            </a:ln>
            <a:effectLst/>
            <a:extLst>
              <a:ext uri="{91240B29-F687-4f45-9708-019B960494DF}">
                <a14:hiddenLine xmlns="" xmlns:a14="http://schemas.microsoft.com/office/drawing/2010/main" w="9525">
                  <a:solidFill>
                    <a:srgbClr val="000000"/>
                  </a:solidFill>
                  <a:round/>
                  <a:headEnd/>
                  <a:tailEnd/>
                </a14:hiddenLine>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356" name="Groupe 227">
              <a:extLst>
                <a:ext uri="{FF2B5EF4-FFF2-40B4-BE49-F238E27FC236}">
                  <a16:creationId xmlns:a16="http://schemas.microsoft.com/office/drawing/2014/main" id="{8BD5F3D2-E6C1-4237-8F6B-79FD415682E1}"/>
                </a:ext>
              </a:extLst>
            </p:cNvPr>
            <p:cNvGrpSpPr/>
            <p:nvPr/>
          </p:nvGrpSpPr>
          <p:grpSpPr>
            <a:xfrm>
              <a:off x="3380656" y="5711186"/>
              <a:ext cx="269097" cy="160428"/>
              <a:chOff x="3380656" y="5645578"/>
              <a:chExt cx="269097" cy="160428"/>
            </a:xfrm>
          </p:grpSpPr>
          <p:sp>
            <p:nvSpPr>
              <p:cNvPr id="361" name="Freeform 98">
                <a:extLst>
                  <a:ext uri="{FF2B5EF4-FFF2-40B4-BE49-F238E27FC236}">
                    <a16:creationId xmlns:a16="http://schemas.microsoft.com/office/drawing/2014/main" id="{323AB222-2064-4ECC-A856-5B77B4F26AA2}"/>
                  </a:ext>
                </a:extLst>
              </p:cNvPr>
              <p:cNvSpPr>
                <a:spLocks/>
              </p:cNvSpPr>
              <p:nvPr/>
            </p:nvSpPr>
            <p:spPr bwMode="auto">
              <a:xfrm>
                <a:off x="3380656" y="5645578"/>
                <a:ext cx="168154" cy="140600"/>
              </a:xfrm>
              <a:custGeom>
                <a:avLst/>
                <a:gdLst>
                  <a:gd name="T0" fmla="*/ 399 w 603"/>
                  <a:gd name="T1" fmla="*/ 206 h 502"/>
                  <a:gd name="T2" fmla="*/ 509 w 603"/>
                  <a:gd name="T3" fmla="*/ 97 h 502"/>
                  <a:gd name="T4" fmla="*/ 603 w 603"/>
                  <a:gd name="T5" fmla="*/ 97 h 502"/>
                  <a:gd name="T6" fmla="*/ 603 w 603"/>
                  <a:gd name="T7" fmla="*/ 84 h 502"/>
                  <a:gd name="T8" fmla="*/ 519 w 603"/>
                  <a:gd name="T9" fmla="*/ 0 h 502"/>
                  <a:gd name="T10" fmla="*/ 88 w 603"/>
                  <a:gd name="T11" fmla="*/ 0 h 502"/>
                  <a:gd name="T12" fmla="*/ 2 w 603"/>
                  <a:gd name="T13" fmla="*/ 84 h 502"/>
                  <a:gd name="T14" fmla="*/ 2 w 603"/>
                  <a:gd name="T15" fmla="*/ 303 h 502"/>
                  <a:gd name="T16" fmla="*/ 91 w 603"/>
                  <a:gd name="T17" fmla="*/ 387 h 502"/>
                  <a:gd name="T18" fmla="*/ 191 w 603"/>
                  <a:gd name="T19" fmla="*/ 387 h 502"/>
                  <a:gd name="T20" fmla="*/ 217 w 603"/>
                  <a:gd name="T21" fmla="*/ 413 h 502"/>
                  <a:gd name="T22" fmla="*/ 216 w 603"/>
                  <a:gd name="T23" fmla="*/ 502 h 502"/>
                  <a:gd name="T24" fmla="*/ 295 w 603"/>
                  <a:gd name="T25" fmla="*/ 410 h 502"/>
                  <a:gd name="T26" fmla="*/ 347 w 603"/>
                  <a:gd name="T27" fmla="*/ 387 h 502"/>
                  <a:gd name="T28" fmla="*/ 399 w 603"/>
                  <a:gd name="T29" fmla="*/ 387 h 502"/>
                  <a:gd name="T30" fmla="*/ 399 w 603"/>
                  <a:gd name="T31" fmla="*/ 20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3" h="502">
                    <a:moveTo>
                      <a:pt x="399" y="206"/>
                    </a:moveTo>
                    <a:cubicBezTo>
                      <a:pt x="400" y="141"/>
                      <a:pt x="444" y="97"/>
                      <a:pt x="509" y="97"/>
                    </a:cubicBezTo>
                    <a:cubicBezTo>
                      <a:pt x="540" y="97"/>
                      <a:pt x="572" y="97"/>
                      <a:pt x="603" y="97"/>
                    </a:cubicBezTo>
                    <a:cubicBezTo>
                      <a:pt x="603" y="92"/>
                      <a:pt x="603" y="88"/>
                      <a:pt x="603" y="84"/>
                    </a:cubicBezTo>
                    <a:cubicBezTo>
                      <a:pt x="603" y="32"/>
                      <a:pt x="571" y="0"/>
                      <a:pt x="519" y="0"/>
                    </a:cubicBezTo>
                    <a:cubicBezTo>
                      <a:pt x="376" y="0"/>
                      <a:pt x="232" y="0"/>
                      <a:pt x="88" y="0"/>
                    </a:cubicBezTo>
                    <a:cubicBezTo>
                      <a:pt x="38" y="0"/>
                      <a:pt x="4" y="32"/>
                      <a:pt x="2" y="84"/>
                    </a:cubicBezTo>
                    <a:cubicBezTo>
                      <a:pt x="0" y="157"/>
                      <a:pt x="0" y="230"/>
                      <a:pt x="2" y="303"/>
                    </a:cubicBezTo>
                    <a:cubicBezTo>
                      <a:pt x="3" y="356"/>
                      <a:pt x="37" y="387"/>
                      <a:pt x="91" y="387"/>
                    </a:cubicBezTo>
                    <a:cubicBezTo>
                      <a:pt x="124" y="388"/>
                      <a:pt x="157" y="388"/>
                      <a:pt x="191" y="387"/>
                    </a:cubicBezTo>
                    <a:cubicBezTo>
                      <a:pt x="211" y="386"/>
                      <a:pt x="218" y="393"/>
                      <a:pt x="217" y="413"/>
                    </a:cubicBezTo>
                    <a:cubicBezTo>
                      <a:pt x="216" y="502"/>
                      <a:pt x="216" y="502"/>
                      <a:pt x="216" y="502"/>
                    </a:cubicBezTo>
                    <a:cubicBezTo>
                      <a:pt x="247" y="466"/>
                      <a:pt x="273" y="439"/>
                      <a:pt x="295" y="410"/>
                    </a:cubicBezTo>
                    <a:cubicBezTo>
                      <a:pt x="309" y="391"/>
                      <a:pt x="325" y="386"/>
                      <a:pt x="347" y="387"/>
                    </a:cubicBezTo>
                    <a:cubicBezTo>
                      <a:pt x="364" y="387"/>
                      <a:pt x="382" y="387"/>
                      <a:pt x="399" y="387"/>
                    </a:cubicBezTo>
                    <a:cubicBezTo>
                      <a:pt x="399" y="323"/>
                      <a:pt x="399" y="264"/>
                      <a:pt x="399" y="206"/>
                    </a:cubicBezTo>
                    <a:close/>
                  </a:path>
                </a:pathLst>
              </a:custGeom>
              <a:solidFill>
                <a:srgbClr val="FFFFF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62" name="Freeform 103">
                <a:extLst>
                  <a:ext uri="{FF2B5EF4-FFF2-40B4-BE49-F238E27FC236}">
                    <a16:creationId xmlns:a16="http://schemas.microsoft.com/office/drawing/2014/main" id="{7C7DF305-696C-423E-978D-3456C8B777F9}"/>
                  </a:ext>
                </a:extLst>
              </p:cNvPr>
              <p:cNvSpPr>
                <a:spLocks/>
              </p:cNvSpPr>
              <p:nvPr/>
            </p:nvSpPr>
            <p:spPr bwMode="auto">
              <a:xfrm>
                <a:off x="3501943" y="5682917"/>
                <a:ext cx="147810" cy="123089"/>
              </a:xfrm>
              <a:custGeom>
                <a:avLst/>
                <a:gdLst>
                  <a:gd name="T0" fmla="*/ 340 w 529"/>
                  <a:gd name="T1" fmla="*/ 440 h 440"/>
                  <a:gd name="T2" fmla="*/ 271 w 529"/>
                  <a:gd name="T3" fmla="*/ 359 h 440"/>
                  <a:gd name="T4" fmla="*/ 225 w 529"/>
                  <a:gd name="T5" fmla="*/ 339 h 440"/>
                  <a:gd name="T6" fmla="*/ 73 w 529"/>
                  <a:gd name="T7" fmla="*/ 339 h 440"/>
                  <a:gd name="T8" fmla="*/ 0 w 529"/>
                  <a:gd name="T9" fmla="*/ 266 h 440"/>
                  <a:gd name="T10" fmla="*/ 0 w 529"/>
                  <a:gd name="T11" fmla="*/ 73 h 440"/>
                  <a:gd name="T12" fmla="*/ 74 w 529"/>
                  <a:gd name="T13" fmla="*/ 0 h 440"/>
                  <a:gd name="T14" fmla="*/ 452 w 529"/>
                  <a:gd name="T15" fmla="*/ 0 h 440"/>
                  <a:gd name="T16" fmla="*/ 528 w 529"/>
                  <a:gd name="T17" fmla="*/ 73 h 440"/>
                  <a:gd name="T18" fmla="*/ 528 w 529"/>
                  <a:gd name="T19" fmla="*/ 265 h 440"/>
                  <a:gd name="T20" fmla="*/ 450 w 529"/>
                  <a:gd name="T21" fmla="*/ 339 h 440"/>
                  <a:gd name="T22" fmla="*/ 362 w 529"/>
                  <a:gd name="T23" fmla="*/ 339 h 440"/>
                  <a:gd name="T24" fmla="*/ 340 w 529"/>
                  <a:gd name="T25" fmla="*/ 362 h 440"/>
                  <a:gd name="T26" fmla="*/ 340 w 529"/>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9" h="440">
                    <a:moveTo>
                      <a:pt x="340" y="440"/>
                    </a:moveTo>
                    <a:cubicBezTo>
                      <a:pt x="313" y="408"/>
                      <a:pt x="290" y="385"/>
                      <a:pt x="271" y="359"/>
                    </a:cubicBezTo>
                    <a:cubicBezTo>
                      <a:pt x="259" y="343"/>
                      <a:pt x="245" y="338"/>
                      <a:pt x="225" y="339"/>
                    </a:cubicBezTo>
                    <a:cubicBezTo>
                      <a:pt x="175" y="340"/>
                      <a:pt x="124" y="340"/>
                      <a:pt x="73" y="339"/>
                    </a:cubicBezTo>
                    <a:cubicBezTo>
                      <a:pt x="27" y="339"/>
                      <a:pt x="1" y="312"/>
                      <a:pt x="0" y="266"/>
                    </a:cubicBezTo>
                    <a:cubicBezTo>
                      <a:pt x="0" y="201"/>
                      <a:pt x="0" y="137"/>
                      <a:pt x="0" y="73"/>
                    </a:cubicBezTo>
                    <a:cubicBezTo>
                      <a:pt x="1" y="28"/>
                      <a:pt x="29" y="0"/>
                      <a:pt x="74" y="0"/>
                    </a:cubicBezTo>
                    <a:cubicBezTo>
                      <a:pt x="200" y="0"/>
                      <a:pt x="326" y="0"/>
                      <a:pt x="452" y="0"/>
                    </a:cubicBezTo>
                    <a:cubicBezTo>
                      <a:pt x="496" y="0"/>
                      <a:pt x="526" y="28"/>
                      <a:pt x="528" y="73"/>
                    </a:cubicBezTo>
                    <a:cubicBezTo>
                      <a:pt x="529" y="137"/>
                      <a:pt x="529" y="201"/>
                      <a:pt x="528" y="265"/>
                    </a:cubicBezTo>
                    <a:cubicBezTo>
                      <a:pt x="527" y="312"/>
                      <a:pt x="497" y="339"/>
                      <a:pt x="450" y="339"/>
                    </a:cubicBezTo>
                    <a:cubicBezTo>
                      <a:pt x="421" y="339"/>
                      <a:pt x="392" y="340"/>
                      <a:pt x="362" y="339"/>
                    </a:cubicBezTo>
                    <a:cubicBezTo>
                      <a:pt x="344" y="338"/>
                      <a:pt x="339" y="345"/>
                      <a:pt x="340" y="362"/>
                    </a:cubicBezTo>
                    <a:lnTo>
                      <a:pt x="340" y="440"/>
                    </a:lnTo>
                    <a:close/>
                  </a:path>
                </a:pathLst>
              </a:custGeom>
              <a:solidFill>
                <a:srgbClr val="FFFFF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nvGrpSpPr>
            <p:cNvPr id="357" name="Group 415">
              <a:extLst>
                <a:ext uri="{FF2B5EF4-FFF2-40B4-BE49-F238E27FC236}">
                  <a16:creationId xmlns:a16="http://schemas.microsoft.com/office/drawing/2014/main" id="{21FADCCD-FC29-4AC4-BC0F-79A0DC212528}"/>
                </a:ext>
              </a:extLst>
            </p:cNvPr>
            <p:cNvGrpSpPr>
              <a:grpSpLocks/>
            </p:cNvGrpSpPr>
            <p:nvPr/>
          </p:nvGrpSpPr>
          <p:grpSpPr>
            <a:xfrm>
              <a:off x="3263487" y="5872918"/>
              <a:ext cx="477023" cy="348518"/>
              <a:chOff x="5870576" y="5030788"/>
              <a:chExt cx="2330449" cy="1760538"/>
            </a:xfrm>
            <a:solidFill>
              <a:srgbClr val="FFFFFF"/>
            </a:solidFill>
          </p:grpSpPr>
          <p:sp>
            <p:nvSpPr>
              <p:cNvPr id="358" name="Freeform 9">
                <a:extLst>
                  <a:ext uri="{FF2B5EF4-FFF2-40B4-BE49-F238E27FC236}">
                    <a16:creationId xmlns:a16="http://schemas.microsoft.com/office/drawing/2014/main" id="{51669616-2069-4D8D-95C5-7400C2B8A2EA}"/>
                  </a:ext>
                </a:extLst>
              </p:cNvPr>
              <p:cNvSpPr>
                <a:spLocks/>
              </p:cNvSpPr>
              <p:nvPr/>
            </p:nvSpPr>
            <p:spPr bwMode="auto">
              <a:xfrm>
                <a:off x="6434138" y="5627688"/>
                <a:ext cx="1127125" cy="1163638"/>
              </a:xfrm>
              <a:custGeom>
                <a:avLst/>
                <a:gdLst>
                  <a:gd name="T0" fmla="*/ 962 w 962"/>
                  <a:gd name="T1" fmla="*/ 858 h 991"/>
                  <a:gd name="T2" fmla="*/ 960 w 962"/>
                  <a:gd name="T3" fmla="*/ 839 h 991"/>
                  <a:gd name="T4" fmla="*/ 956 w 962"/>
                  <a:gd name="T5" fmla="*/ 814 h 991"/>
                  <a:gd name="T6" fmla="*/ 923 w 962"/>
                  <a:gd name="T7" fmla="*/ 709 h 991"/>
                  <a:gd name="T8" fmla="*/ 922 w 962"/>
                  <a:gd name="T9" fmla="*/ 708 h 991"/>
                  <a:gd name="T10" fmla="*/ 899 w 962"/>
                  <a:gd name="T11" fmla="*/ 669 h 991"/>
                  <a:gd name="T12" fmla="*/ 850 w 962"/>
                  <a:gd name="T13" fmla="*/ 625 h 991"/>
                  <a:gd name="T14" fmla="*/ 626 w 962"/>
                  <a:gd name="T15" fmla="*/ 516 h 991"/>
                  <a:gd name="T16" fmla="*/ 729 w 962"/>
                  <a:gd name="T17" fmla="*/ 278 h 991"/>
                  <a:gd name="T18" fmla="*/ 516 w 962"/>
                  <a:gd name="T19" fmla="*/ 0 h 991"/>
                  <a:gd name="T20" fmla="*/ 516 w 962"/>
                  <a:gd name="T21" fmla="*/ 0 h 991"/>
                  <a:gd name="T22" fmla="*/ 303 w 962"/>
                  <a:gd name="T23" fmla="*/ 278 h 991"/>
                  <a:gd name="T24" fmla="*/ 406 w 962"/>
                  <a:gd name="T25" fmla="*/ 516 h 991"/>
                  <a:gd name="T26" fmla="*/ 180 w 962"/>
                  <a:gd name="T27" fmla="*/ 625 h 991"/>
                  <a:gd name="T28" fmla="*/ 133 w 962"/>
                  <a:gd name="T29" fmla="*/ 669 h 991"/>
                  <a:gd name="T30" fmla="*/ 108 w 962"/>
                  <a:gd name="T31" fmla="*/ 711 h 991"/>
                  <a:gd name="T32" fmla="*/ 107 w 962"/>
                  <a:gd name="T33" fmla="*/ 712 h 991"/>
                  <a:gd name="T34" fmla="*/ 104 w 962"/>
                  <a:gd name="T35" fmla="*/ 718 h 991"/>
                  <a:gd name="T36" fmla="*/ 74 w 962"/>
                  <a:gd name="T37" fmla="*/ 815 h 991"/>
                  <a:gd name="T38" fmla="*/ 73 w 962"/>
                  <a:gd name="T39" fmla="*/ 817 h 991"/>
                  <a:gd name="T40" fmla="*/ 73 w 962"/>
                  <a:gd name="T41" fmla="*/ 821 h 991"/>
                  <a:gd name="T42" fmla="*/ 524 w 962"/>
                  <a:gd name="T43" fmla="*/ 843 h 991"/>
                  <a:gd name="T44" fmla="*/ 962 w 962"/>
                  <a:gd name="T45" fmla="*/ 858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2" h="991">
                    <a:moveTo>
                      <a:pt x="962" y="858"/>
                    </a:moveTo>
                    <a:cubicBezTo>
                      <a:pt x="962" y="858"/>
                      <a:pt x="961" y="843"/>
                      <a:pt x="960" y="839"/>
                    </a:cubicBezTo>
                    <a:cubicBezTo>
                      <a:pt x="959" y="830"/>
                      <a:pt x="958" y="822"/>
                      <a:pt x="956" y="814"/>
                    </a:cubicBezTo>
                    <a:cubicBezTo>
                      <a:pt x="950" y="778"/>
                      <a:pt x="940" y="742"/>
                      <a:pt x="923" y="709"/>
                    </a:cubicBezTo>
                    <a:cubicBezTo>
                      <a:pt x="922" y="709"/>
                      <a:pt x="922" y="708"/>
                      <a:pt x="922" y="708"/>
                    </a:cubicBezTo>
                    <a:cubicBezTo>
                      <a:pt x="915" y="694"/>
                      <a:pt x="907" y="681"/>
                      <a:pt x="899" y="669"/>
                    </a:cubicBezTo>
                    <a:cubicBezTo>
                      <a:pt x="884" y="649"/>
                      <a:pt x="867" y="634"/>
                      <a:pt x="850" y="625"/>
                    </a:cubicBezTo>
                    <a:cubicBezTo>
                      <a:pt x="792" y="593"/>
                      <a:pt x="702" y="562"/>
                      <a:pt x="626" y="516"/>
                    </a:cubicBezTo>
                    <a:cubicBezTo>
                      <a:pt x="687" y="467"/>
                      <a:pt x="729" y="379"/>
                      <a:pt x="729" y="278"/>
                    </a:cubicBezTo>
                    <a:cubicBezTo>
                      <a:pt x="729" y="125"/>
                      <a:pt x="633" y="0"/>
                      <a:pt x="516" y="0"/>
                    </a:cubicBezTo>
                    <a:cubicBezTo>
                      <a:pt x="516" y="0"/>
                      <a:pt x="516" y="0"/>
                      <a:pt x="516" y="0"/>
                    </a:cubicBezTo>
                    <a:cubicBezTo>
                      <a:pt x="397" y="0"/>
                      <a:pt x="303" y="125"/>
                      <a:pt x="303" y="278"/>
                    </a:cubicBezTo>
                    <a:cubicBezTo>
                      <a:pt x="303" y="379"/>
                      <a:pt x="343" y="467"/>
                      <a:pt x="406" y="516"/>
                    </a:cubicBezTo>
                    <a:cubicBezTo>
                      <a:pt x="330" y="562"/>
                      <a:pt x="239" y="593"/>
                      <a:pt x="180" y="625"/>
                    </a:cubicBezTo>
                    <a:cubicBezTo>
                      <a:pt x="164" y="634"/>
                      <a:pt x="146" y="649"/>
                      <a:pt x="133" y="669"/>
                    </a:cubicBezTo>
                    <a:cubicBezTo>
                      <a:pt x="123" y="682"/>
                      <a:pt x="114" y="696"/>
                      <a:pt x="108" y="711"/>
                    </a:cubicBezTo>
                    <a:cubicBezTo>
                      <a:pt x="107" y="711"/>
                      <a:pt x="107" y="712"/>
                      <a:pt x="107" y="712"/>
                    </a:cubicBezTo>
                    <a:cubicBezTo>
                      <a:pt x="105" y="715"/>
                      <a:pt x="105" y="717"/>
                      <a:pt x="104" y="718"/>
                    </a:cubicBezTo>
                    <a:cubicBezTo>
                      <a:pt x="89" y="750"/>
                      <a:pt x="79" y="782"/>
                      <a:pt x="74" y="815"/>
                    </a:cubicBezTo>
                    <a:cubicBezTo>
                      <a:pt x="74" y="816"/>
                      <a:pt x="74" y="816"/>
                      <a:pt x="73" y="817"/>
                    </a:cubicBezTo>
                    <a:cubicBezTo>
                      <a:pt x="73" y="818"/>
                      <a:pt x="73" y="820"/>
                      <a:pt x="73" y="821"/>
                    </a:cubicBezTo>
                    <a:cubicBezTo>
                      <a:pt x="73" y="821"/>
                      <a:pt x="0" y="991"/>
                      <a:pt x="524" y="843"/>
                    </a:cubicBezTo>
                    <a:cubicBezTo>
                      <a:pt x="524" y="843"/>
                      <a:pt x="830" y="718"/>
                      <a:pt x="962" y="858"/>
                    </a:cubicBezTo>
                    <a:close/>
                  </a:path>
                </a:pathLst>
              </a:custGeom>
              <a:grp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59" name="Freeform 10">
                <a:extLst>
                  <a:ext uri="{FF2B5EF4-FFF2-40B4-BE49-F238E27FC236}">
                    <a16:creationId xmlns:a16="http://schemas.microsoft.com/office/drawing/2014/main" id="{4BE2A685-C0BF-4BED-8C88-B08748EFC807}"/>
                  </a:ext>
                </a:extLst>
              </p:cNvPr>
              <p:cNvSpPr>
                <a:spLocks/>
              </p:cNvSpPr>
              <p:nvPr/>
            </p:nvSpPr>
            <p:spPr bwMode="auto">
              <a:xfrm>
                <a:off x="7272338" y="5030788"/>
                <a:ext cx="928687" cy="1201738"/>
              </a:xfrm>
              <a:custGeom>
                <a:avLst/>
                <a:gdLst>
                  <a:gd name="T0" fmla="*/ 793 w 793"/>
                  <a:gd name="T1" fmla="*/ 894 h 1023"/>
                  <a:gd name="T2" fmla="*/ 792 w 793"/>
                  <a:gd name="T3" fmla="*/ 873 h 1023"/>
                  <a:gd name="T4" fmla="*/ 787 w 793"/>
                  <a:gd name="T5" fmla="*/ 848 h 1023"/>
                  <a:gd name="T6" fmla="*/ 753 w 793"/>
                  <a:gd name="T7" fmla="*/ 739 h 1023"/>
                  <a:gd name="T8" fmla="*/ 752 w 793"/>
                  <a:gd name="T9" fmla="*/ 738 h 1023"/>
                  <a:gd name="T10" fmla="*/ 727 w 793"/>
                  <a:gd name="T11" fmla="*/ 696 h 1023"/>
                  <a:gd name="T12" fmla="*/ 678 w 793"/>
                  <a:gd name="T13" fmla="*/ 651 h 1023"/>
                  <a:gd name="T14" fmla="*/ 444 w 793"/>
                  <a:gd name="T15" fmla="*/ 538 h 1023"/>
                  <a:gd name="T16" fmla="*/ 551 w 793"/>
                  <a:gd name="T17" fmla="*/ 289 h 1023"/>
                  <a:gd name="T18" fmla="*/ 330 w 793"/>
                  <a:gd name="T19" fmla="*/ 0 h 1023"/>
                  <a:gd name="T20" fmla="*/ 330 w 793"/>
                  <a:gd name="T21" fmla="*/ 0 h 1023"/>
                  <a:gd name="T22" fmla="*/ 108 w 793"/>
                  <a:gd name="T23" fmla="*/ 289 h 1023"/>
                  <a:gd name="T24" fmla="*/ 215 w 793"/>
                  <a:gd name="T25" fmla="*/ 538 h 1023"/>
                  <a:gd name="T26" fmla="*/ 58 w 793"/>
                  <a:gd name="T27" fmla="*/ 615 h 1023"/>
                  <a:gd name="T28" fmla="*/ 82 w 793"/>
                  <a:gd name="T29" fmla="*/ 871 h 1023"/>
                  <a:gd name="T30" fmla="*/ 414 w 793"/>
                  <a:gd name="T31" fmla="*/ 863 h 1023"/>
                  <a:gd name="T32" fmla="*/ 793 w 793"/>
                  <a:gd name="T33" fmla="*/ 894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3" h="1023">
                    <a:moveTo>
                      <a:pt x="793" y="894"/>
                    </a:moveTo>
                    <a:cubicBezTo>
                      <a:pt x="793" y="894"/>
                      <a:pt x="793" y="878"/>
                      <a:pt x="792" y="873"/>
                    </a:cubicBezTo>
                    <a:cubicBezTo>
                      <a:pt x="791" y="865"/>
                      <a:pt x="789" y="856"/>
                      <a:pt x="787" y="848"/>
                    </a:cubicBezTo>
                    <a:cubicBezTo>
                      <a:pt x="781" y="810"/>
                      <a:pt x="770" y="773"/>
                      <a:pt x="753" y="739"/>
                    </a:cubicBezTo>
                    <a:cubicBezTo>
                      <a:pt x="752" y="738"/>
                      <a:pt x="752" y="738"/>
                      <a:pt x="752" y="738"/>
                    </a:cubicBezTo>
                    <a:cubicBezTo>
                      <a:pt x="745" y="723"/>
                      <a:pt x="737" y="710"/>
                      <a:pt x="727" y="696"/>
                    </a:cubicBezTo>
                    <a:cubicBezTo>
                      <a:pt x="713" y="676"/>
                      <a:pt x="694" y="661"/>
                      <a:pt x="678" y="651"/>
                    </a:cubicBezTo>
                    <a:cubicBezTo>
                      <a:pt x="616" y="619"/>
                      <a:pt x="523" y="586"/>
                      <a:pt x="444" y="538"/>
                    </a:cubicBezTo>
                    <a:cubicBezTo>
                      <a:pt x="508" y="487"/>
                      <a:pt x="551" y="395"/>
                      <a:pt x="551" y="289"/>
                    </a:cubicBezTo>
                    <a:cubicBezTo>
                      <a:pt x="551" y="130"/>
                      <a:pt x="452" y="0"/>
                      <a:pt x="330" y="0"/>
                    </a:cubicBezTo>
                    <a:cubicBezTo>
                      <a:pt x="330" y="0"/>
                      <a:pt x="330" y="0"/>
                      <a:pt x="330" y="0"/>
                    </a:cubicBezTo>
                    <a:cubicBezTo>
                      <a:pt x="208" y="0"/>
                      <a:pt x="108" y="130"/>
                      <a:pt x="108" y="289"/>
                    </a:cubicBezTo>
                    <a:cubicBezTo>
                      <a:pt x="108" y="395"/>
                      <a:pt x="151" y="487"/>
                      <a:pt x="215" y="538"/>
                    </a:cubicBezTo>
                    <a:cubicBezTo>
                      <a:pt x="164" y="569"/>
                      <a:pt x="108" y="593"/>
                      <a:pt x="58" y="615"/>
                    </a:cubicBezTo>
                    <a:cubicBezTo>
                      <a:pt x="92" y="695"/>
                      <a:pt x="100" y="786"/>
                      <a:pt x="82" y="871"/>
                    </a:cubicBezTo>
                    <a:cubicBezTo>
                      <a:pt x="82" y="871"/>
                      <a:pt x="0" y="1023"/>
                      <a:pt x="414" y="863"/>
                    </a:cubicBezTo>
                    <a:cubicBezTo>
                      <a:pt x="414" y="863"/>
                      <a:pt x="688" y="738"/>
                      <a:pt x="793" y="894"/>
                    </a:cubicBezTo>
                    <a:close/>
                  </a:path>
                </a:pathLst>
              </a:custGeom>
              <a:grp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60" name="Freeform 11">
                <a:extLst>
                  <a:ext uri="{FF2B5EF4-FFF2-40B4-BE49-F238E27FC236}">
                    <a16:creationId xmlns:a16="http://schemas.microsoft.com/office/drawing/2014/main" id="{D6BEEEEF-61F0-404C-9CC8-A2ABBE1B3FD0}"/>
                  </a:ext>
                </a:extLst>
              </p:cNvPr>
              <p:cNvSpPr>
                <a:spLocks/>
              </p:cNvSpPr>
              <p:nvPr/>
            </p:nvSpPr>
            <p:spPr bwMode="auto">
              <a:xfrm>
                <a:off x="5870576" y="5030788"/>
                <a:ext cx="869950" cy="1225550"/>
              </a:xfrm>
              <a:custGeom>
                <a:avLst/>
                <a:gdLst>
                  <a:gd name="T0" fmla="*/ 43 w 743"/>
                  <a:gd name="T1" fmla="*/ 893 h 1043"/>
                  <a:gd name="T2" fmla="*/ 458 w 743"/>
                  <a:gd name="T3" fmla="*/ 923 h 1043"/>
                  <a:gd name="T4" fmla="*/ 743 w 743"/>
                  <a:gd name="T5" fmla="*/ 959 h 1043"/>
                  <a:gd name="T6" fmla="*/ 720 w 743"/>
                  <a:gd name="T7" fmla="*/ 670 h 1043"/>
                  <a:gd name="T8" fmla="*/ 737 w 743"/>
                  <a:gd name="T9" fmla="*/ 615 h 1043"/>
                  <a:gd name="T10" fmla="*/ 589 w 743"/>
                  <a:gd name="T11" fmla="*/ 538 h 1043"/>
                  <a:gd name="T12" fmla="*/ 690 w 743"/>
                  <a:gd name="T13" fmla="*/ 289 h 1043"/>
                  <a:gd name="T14" fmla="*/ 481 w 743"/>
                  <a:gd name="T15" fmla="*/ 0 h 1043"/>
                  <a:gd name="T16" fmla="*/ 481 w 743"/>
                  <a:gd name="T17" fmla="*/ 0 h 1043"/>
                  <a:gd name="T18" fmla="*/ 271 w 743"/>
                  <a:gd name="T19" fmla="*/ 289 h 1043"/>
                  <a:gd name="T20" fmla="*/ 373 w 743"/>
                  <a:gd name="T21" fmla="*/ 538 h 1043"/>
                  <a:gd name="T22" fmla="*/ 151 w 743"/>
                  <a:gd name="T23" fmla="*/ 651 h 1043"/>
                  <a:gd name="T24" fmla="*/ 104 w 743"/>
                  <a:gd name="T25" fmla="*/ 696 h 1043"/>
                  <a:gd name="T26" fmla="*/ 80 w 743"/>
                  <a:gd name="T27" fmla="*/ 741 h 1043"/>
                  <a:gd name="T28" fmla="*/ 79 w 743"/>
                  <a:gd name="T29" fmla="*/ 742 h 1043"/>
                  <a:gd name="T30" fmla="*/ 76 w 743"/>
                  <a:gd name="T31" fmla="*/ 749 h 1043"/>
                  <a:gd name="T32" fmla="*/ 48 w 743"/>
                  <a:gd name="T33" fmla="*/ 849 h 1043"/>
                  <a:gd name="T34" fmla="*/ 47 w 743"/>
                  <a:gd name="T35" fmla="*/ 851 h 1043"/>
                  <a:gd name="T36" fmla="*/ 46 w 743"/>
                  <a:gd name="T37" fmla="*/ 856 h 1043"/>
                  <a:gd name="T38" fmla="*/ 44 w 743"/>
                  <a:gd name="T39" fmla="*/ 873 h 1043"/>
                  <a:gd name="T40" fmla="*/ 43 w 743"/>
                  <a:gd name="T41" fmla="*/ 893 h 1043"/>
                  <a:gd name="T42" fmla="*/ 43 w 743"/>
                  <a:gd name="T43" fmla="*/ 894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3" h="1043">
                    <a:moveTo>
                      <a:pt x="43" y="893"/>
                    </a:moveTo>
                    <a:cubicBezTo>
                      <a:pt x="43" y="893"/>
                      <a:pt x="0" y="1043"/>
                      <a:pt x="458" y="923"/>
                    </a:cubicBezTo>
                    <a:cubicBezTo>
                      <a:pt x="458" y="923"/>
                      <a:pt x="663" y="840"/>
                      <a:pt x="743" y="959"/>
                    </a:cubicBezTo>
                    <a:cubicBezTo>
                      <a:pt x="688" y="878"/>
                      <a:pt x="698" y="765"/>
                      <a:pt x="720" y="670"/>
                    </a:cubicBezTo>
                    <a:cubicBezTo>
                      <a:pt x="724" y="651"/>
                      <a:pt x="729" y="633"/>
                      <a:pt x="737" y="615"/>
                    </a:cubicBezTo>
                    <a:cubicBezTo>
                      <a:pt x="689" y="592"/>
                      <a:pt x="637" y="569"/>
                      <a:pt x="589" y="538"/>
                    </a:cubicBezTo>
                    <a:cubicBezTo>
                      <a:pt x="650" y="487"/>
                      <a:pt x="690" y="395"/>
                      <a:pt x="690" y="289"/>
                    </a:cubicBezTo>
                    <a:cubicBezTo>
                      <a:pt x="690" y="130"/>
                      <a:pt x="597" y="0"/>
                      <a:pt x="481" y="0"/>
                    </a:cubicBezTo>
                    <a:cubicBezTo>
                      <a:pt x="481" y="0"/>
                      <a:pt x="481" y="0"/>
                      <a:pt x="481" y="0"/>
                    </a:cubicBezTo>
                    <a:cubicBezTo>
                      <a:pt x="365" y="0"/>
                      <a:pt x="271" y="130"/>
                      <a:pt x="271" y="289"/>
                    </a:cubicBezTo>
                    <a:cubicBezTo>
                      <a:pt x="271" y="395"/>
                      <a:pt x="312" y="487"/>
                      <a:pt x="373" y="538"/>
                    </a:cubicBezTo>
                    <a:cubicBezTo>
                      <a:pt x="298" y="586"/>
                      <a:pt x="210" y="619"/>
                      <a:pt x="151" y="651"/>
                    </a:cubicBezTo>
                    <a:cubicBezTo>
                      <a:pt x="136" y="661"/>
                      <a:pt x="119" y="676"/>
                      <a:pt x="104" y="696"/>
                    </a:cubicBezTo>
                    <a:cubicBezTo>
                      <a:pt x="96" y="711"/>
                      <a:pt x="87" y="725"/>
                      <a:pt x="80" y="741"/>
                    </a:cubicBezTo>
                    <a:cubicBezTo>
                      <a:pt x="80" y="741"/>
                      <a:pt x="80" y="741"/>
                      <a:pt x="79" y="742"/>
                    </a:cubicBezTo>
                    <a:cubicBezTo>
                      <a:pt x="78" y="745"/>
                      <a:pt x="78" y="746"/>
                      <a:pt x="76" y="749"/>
                    </a:cubicBezTo>
                    <a:cubicBezTo>
                      <a:pt x="63" y="780"/>
                      <a:pt x="53" y="814"/>
                      <a:pt x="48" y="849"/>
                    </a:cubicBezTo>
                    <a:cubicBezTo>
                      <a:pt x="48" y="849"/>
                      <a:pt x="47" y="850"/>
                      <a:pt x="47" y="851"/>
                    </a:cubicBezTo>
                    <a:cubicBezTo>
                      <a:pt x="47" y="852"/>
                      <a:pt x="46" y="854"/>
                      <a:pt x="46" y="856"/>
                    </a:cubicBezTo>
                    <a:cubicBezTo>
                      <a:pt x="46" y="861"/>
                      <a:pt x="45" y="868"/>
                      <a:pt x="44" y="873"/>
                    </a:cubicBezTo>
                    <a:cubicBezTo>
                      <a:pt x="43" y="878"/>
                      <a:pt x="42" y="888"/>
                      <a:pt x="43" y="893"/>
                    </a:cubicBezTo>
                    <a:cubicBezTo>
                      <a:pt x="43" y="894"/>
                      <a:pt x="43" y="894"/>
                      <a:pt x="43" y="894"/>
                    </a:cubicBezTo>
                  </a:path>
                </a:pathLst>
              </a:custGeom>
              <a:grp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grpSp>
      <p:grpSp>
        <p:nvGrpSpPr>
          <p:cNvPr id="363" name="Groupe 566">
            <a:extLst>
              <a:ext uri="{FF2B5EF4-FFF2-40B4-BE49-F238E27FC236}">
                <a16:creationId xmlns:a16="http://schemas.microsoft.com/office/drawing/2014/main" id="{085F69F7-56F5-4AED-9BF7-6452A92E4F43}"/>
              </a:ext>
            </a:extLst>
          </p:cNvPr>
          <p:cNvGrpSpPr>
            <a:grpSpLocks noChangeAspect="1"/>
          </p:cNvGrpSpPr>
          <p:nvPr/>
        </p:nvGrpSpPr>
        <p:grpSpPr>
          <a:xfrm>
            <a:off x="4860266" y="2925691"/>
            <a:ext cx="659972" cy="619692"/>
            <a:chOff x="6273800" y="1787525"/>
            <a:chExt cx="1014413" cy="952500"/>
          </a:xfrm>
        </p:grpSpPr>
        <p:sp>
          <p:nvSpPr>
            <p:cNvPr id="364" name="Freeform 93">
              <a:extLst>
                <a:ext uri="{FF2B5EF4-FFF2-40B4-BE49-F238E27FC236}">
                  <a16:creationId xmlns:a16="http://schemas.microsoft.com/office/drawing/2014/main" id="{14E6F46E-91E9-422B-B815-A3F46F4731CB}"/>
                </a:ext>
              </a:extLst>
            </p:cNvPr>
            <p:cNvSpPr>
              <a:spLocks/>
            </p:cNvSpPr>
            <p:nvPr/>
          </p:nvSpPr>
          <p:spPr bwMode="auto">
            <a:xfrm>
              <a:off x="6273800" y="1787525"/>
              <a:ext cx="1014413" cy="952500"/>
            </a:xfrm>
            <a:custGeom>
              <a:avLst/>
              <a:gdLst>
                <a:gd name="T0" fmla="*/ 43 w 300"/>
                <a:gd name="T1" fmla="*/ 219 h 281"/>
                <a:gd name="T2" fmla="*/ 72 w 300"/>
                <a:gd name="T3" fmla="*/ 42 h 281"/>
                <a:gd name="T4" fmla="*/ 257 w 300"/>
                <a:gd name="T5" fmla="*/ 68 h 281"/>
                <a:gd name="T6" fmla="*/ 223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4"/>
                    <a:pt x="72" y="42"/>
                  </a:cubicBezTo>
                  <a:cubicBezTo>
                    <a:pt x="131" y="0"/>
                    <a:pt x="214" y="12"/>
                    <a:pt x="257" y="68"/>
                  </a:cubicBezTo>
                  <a:cubicBezTo>
                    <a:pt x="300" y="124"/>
                    <a:pt x="282" y="197"/>
                    <a:pt x="223" y="239"/>
                  </a:cubicBezTo>
                  <a:cubicBezTo>
                    <a:pt x="164" y="281"/>
                    <a:pt x="86" y="276"/>
                    <a:pt x="43" y="21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nvGrpSpPr>
            <p:cNvPr id="365" name="Groupe 568">
              <a:extLst>
                <a:ext uri="{FF2B5EF4-FFF2-40B4-BE49-F238E27FC236}">
                  <a16:creationId xmlns:a16="http://schemas.microsoft.com/office/drawing/2014/main" id="{971377C0-24E9-4714-8DF7-E93621EA347F}"/>
                </a:ext>
              </a:extLst>
            </p:cNvPr>
            <p:cNvGrpSpPr/>
            <p:nvPr/>
          </p:nvGrpSpPr>
          <p:grpSpPr>
            <a:xfrm>
              <a:off x="6557963" y="1939925"/>
              <a:ext cx="544512" cy="644526"/>
              <a:chOff x="6557963" y="1939925"/>
              <a:chExt cx="544512" cy="644526"/>
            </a:xfrm>
          </p:grpSpPr>
          <p:sp>
            <p:nvSpPr>
              <p:cNvPr id="366" name="Rectangle 94">
                <a:extLst>
                  <a:ext uri="{FF2B5EF4-FFF2-40B4-BE49-F238E27FC236}">
                    <a16:creationId xmlns:a16="http://schemas.microsoft.com/office/drawing/2014/main" id="{B60B8C6D-2D7E-4232-A11B-BB90C11B4266}"/>
                  </a:ext>
                </a:extLst>
              </p:cNvPr>
              <p:cNvSpPr>
                <a:spLocks noChangeArrowheads="1"/>
              </p:cNvSpPr>
              <p:nvPr/>
            </p:nvSpPr>
            <p:spPr bwMode="auto">
              <a:xfrm>
                <a:off x="6557963" y="1976438"/>
                <a:ext cx="412750" cy="56673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67" name="Freeform 95">
                <a:extLst>
                  <a:ext uri="{FF2B5EF4-FFF2-40B4-BE49-F238E27FC236}">
                    <a16:creationId xmlns:a16="http://schemas.microsoft.com/office/drawing/2014/main" id="{34F4BFCB-932D-4E06-9C3C-98D85B63989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68" name="Rectangle 96">
                <a:extLst>
                  <a:ext uri="{FF2B5EF4-FFF2-40B4-BE49-F238E27FC236}">
                    <a16:creationId xmlns:a16="http://schemas.microsoft.com/office/drawing/2014/main" id="{F599969F-6A99-4D85-ADAE-8AEC09673953}"/>
                  </a:ext>
                </a:extLst>
              </p:cNvPr>
              <p:cNvSpPr>
                <a:spLocks noChangeArrowheads="1"/>
              </p:cNvSpPr>
              <p:nvPr/>
            </p:nvSpPr>
            <p:spPr bwMode="auto">
              <a:xfrm>
                <a:off x="6672263" y="1963738"/>
                <a:ext cx="179388" cy="6826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69" name="Rectangle 97">
                <a:extLst>
                  <a:ext uri="{FF2B5EF4-FFF2-40B4-BE49-F238E27FC236}">
                    <a16:creationId xmlns:a16="http://schemas.microsoft.com/office/drawing/2014/main" id="{9273C2BA-1A0A-4064-A0F8-82E94867B9FB}"/>
                  </a:ext>
                </a:extLst>
              </p:cNvPr>
              <p:cNvSpPr>
                <a:spLocks noChangeArrowheads="1"/>
              </p:cNvSpPr>
              <p:nvPr/>
            </p:nvSpPr>
            <p:spPr bwMode="auto">
              <a:xfrm>
                <a:off x="6723063" y="1939925"/>
                <a:ext cx="77788" cy="365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0" name="Freeform 98">
                <a:extLst>
                  <a:ext uri="{FF2B5EF4-FFF2-40B4-BE49-F238E27FC236}">
                    <a16:creationId xmlns:a16="http://schemas.microsoft.com/office/drawing/2014/main" id="{13DD376D-5B68-464F-8120-09D0A61540C8}"/>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1" name="Freeform 99">
                <a:extLst>
                  <a:ext uri="{FF2B5EF4-FFF2-40B4-BE49-F238E27FC236}">
                    <a16:creationId xmlns:a16="http://schemas.microsoft.com/office/drawing/2014/main" id="{91117DAF-1052-444B-8C6B-21D1B1F42675}"/>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2" name="Freeform 100">
                <a:extLst>
                  <a:ext uri="{FF2B5EF4-FFF2-40B4-BE49-F238E27FC236}">
                    <a16:creationId xmlns:a16="http://schemas.microsoft.com/office/drawing/2014/main" id="{18955C27-F847-4BBF-B4E9-D370D1CB7FCC}"/>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3" name="Freeform 101">
                <a:extLst>
                  <a:ext uri="{FF2B5EF4-FFF2-40B4-BE49-F238E27FC236}">
                    <a16:creationId xmlns:a16="http://schemas.microsoft.com/office/drawing/2014/main" id="{8B418DF1-04EB-465E-A73C-31C97221FE2A}"/>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4" name="Freeform 102">
                <a:extLst>
                  <a:ext uri="{FF2B5EF4-FFF2-40B4-BE49-F238E27FC236}">
                    <a16:creationId xmlns:a16="http://schemas.microsoft.com/office/drawing/2014/main" id="{56B7B541-725C-4179-8453-6EB559A699B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5" name="Freeform 103">
                <a:extLst>
                  <a:ext uri="{FF2B5EF4-FFF2-40B4-BE49-F238E27FC236}">
                    <a16:creationId xmlns:a16="http://schemas.microsoft.com/office/drawing/2014/main" id="{E7CAA61B-637A-42ED-993E-DEB009A3445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6" name="Freeform 104">
                <a:extLst>
                  <a:ext uri="{FF2B5EF4-FFF2-40B4-BE49-F238E27FC236}">
                    <a16:creationId xmlns:a16="http://schemas.microsoft.com/office/drawing/2014/main" id="{0AC7A8A5-05B8-46E3-B618-21AC0A282F91}"/>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7" name="Freeform 105">
                <a:extLst>
                  <a:ext uri="{FF2B5EF4-FFF2-40B4-BE49-F238E27FC236}">
                    <a16:creationId xmlns:a16="http://schemas.microsoft.com/office/drawing/2014/main" id="{056C4FB3-8AA9-47D8-BB60-13AF536A92E2}"/>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378" name="Freeform 106">
                <a:extLst>
                  <a:ext uri="{FF2B5EF4-FFF2-40B4-BE49-F238E27FC236}">
                    <a16:creationId xmlns:a16="http://schemas.microsoft.com/office/drawing/2014/main" id="{97D953E1-E090-4FEC-8D0B-4C653A1819B1}"/>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379" name="Groupe 284">
            <a:extLst>
              <a:ext uri="{FF2B5EF4-FFF2-40B4-BE49-F238E27FC236}">
                <a16:creationId xmlns:a16="http://schemas.microsoft.com/office/drawing/2014/main" id="{0D242CBF-9CBE-43FD-8221-A597DD2A1961}"/>
              </a:ext>
            </a:extLst>
          </p:cNvPr>
          <p:cNvGrpSpPr/>
          <p:nvPr/>
        </p:nvGrpSpPr>
        <p:grpSpPr>
          <a:xfrm>
            <a:off x="5018119" y="3717542"/>
            <a:ext cx="633405" cy="599083"/>
            <a:chOff x="8250877" y="4179552"/>
            <a:chExt cx="761250" cy="720000"/>
          </a:xfrm>
        </p:grpSpPr>
        <p:grpSp>
          <p:nvGrpSpPr>
            <p:cNvPr id="380" name="Groupe 599">
              <a:extLst>
                <a:ext uri="{FF2B5EF4-FFF2-40B4-BE49-F238E27FC236}">
                  <a16:creationId xmlns:a16="http://schemas.microsoft.com/office/drawing/2014/main" id="{7AB47ACD-787A-420A-A514-2217BDF49795}"/>
                </a:ext>
              </a:extLst>
            </p:cNvPr>
            <p:cNvGrpSpPr>
              <a:grpSpLocks noChangeAspect="1"/>
            </p:cNvGrpSpPr>
            <p:nvPr/>
          </p:nvGrpSpPr>
          <p:grpSpPr>
            <a:xfrm>
              <a:off x="8250877" y="4179552"/>
              <a:ext cx="761250" cy="720000"/>
              <a:chOff x="1290638" y="4187826"/>
              <a:chExt cx="966788" cy="914400"/>
            </a:xfrm>
          </p:grpSpPr>
          <p:sp>
            <p:nvSpPr>
              <p:cNvPr id="388" name="Freeform 216">
                <a:extLst>
                  <a:ext uri="{FF2B5EF4-FFF2-40B4-BE49-F238E27FC236}">
                    <a16:creationId xmlns:a16="http://schemas.microsoft.com/office/drawing/2014/main" id="{4774CFF2-8D0F-42F0-97F0-1B50EABA38CB}"/>
                  </a:ext>
                </a:extLst>
              </p:cNvPr>
              <p:cNvSpPr>
                <a:spLocks/>
              </p:cNvSpPr>
              <p:nvPr/>
            </p:nvSpPr>
            <p:spPr bwMode="auto">
              <a:xfrm>
                <a:off x="1290638" y="4187826"/>
                <a:ext cx="966788" cy="914400"/>
              </a:xfrm>
              <a:custGeom>
                <a:avLst/>
                <a:gdLst>
                  <a:gd name="T0" fmla="*/ 41 w 286"/>
                  <a:gd name="T1" fmla="*/ 211 h 270"/>
                  <a:gd name="T2" fmla="*/ 68 w 286"/>
                  <a:gd name="T3" fmla="*/ 40 h 270"/>
                  <a:gd name="T4" fmla="*/ 245 w 286"/>
                  <a:gd name="T5" fmla="*/ 65 h 270"/>
                  <a:gd name="T6" fmla="*/ 213 w 286"/>
                  <a:gd name="T7" fmla="*/ 229 h 270"/>
                  <a:gd name="T8" fmla="*/ 41 w 286"/>
                  <a:gd name="T9" fmla="*/ 211 h 270"/>
                </a:gdLst>
                <a:ahLst/>
                <a:cxnLst>
                  <a:cxn ang="0">
                    <a:pos x="T0" y="T1"/>
                  </a:cxn>
                  <a:cxn ang="0">
                    <a:pos x="T2" y="T3"/>
                  </a:cxn>
                  <a:cxn ang="0">
                    <a:pos x="T4" y="T5"/>
                  </a:cxn>
                  <a:cxn ang="0">
                    <a:pos x="T6" y="T7"/>
                  </a:cxn>
                  <a:cxn ang="0">
                    <a:pos x="T8" y="T9"/>
                  </a:cxn>
                </a:cxnLst>
                <a:rect l="0" t="0" r="r" b="b"/>
                <a:pathLst>
                  <a:path w="286" h="270">
                    <a:moveTo>
                      <a:pt x="41" y="211"/>
                    </a:moveTo>
                    <a:cubicBezTo>
                      <a:pt x="0" y="156"/>
                      <a:pt x="12" y="80"/>
                      <a:pt x="68" y="40"/>
                    </a:cubicBezTo>
                    <a:cubicBezTo>
                      <a:pt x="125" y="0"/>
                      <a:pt x="204" y="11"/>
                      <a:pt x="245" y="65"/>
                    </a:cubicBezTo>
                    <a:cubicBezTo>
                      <a:pt x="286" y="119"/>
                      <a:pt x="269" y="189"/>
                      <a:pt x="213" y="229"/>
                    </a:cubicBezTo>
                    <a:cubicBezTo>
                      <a:pt x="156" y="270"/>
                      <a:pt x="82" y="264"/>
                      <a:pt x="41" y="211"/>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nvGrpSpPr>
              <p:cNvPr id="389" name="Groupe 601">
                <a:extLst>
                  <a:ext uri="{FF2B5EF4-FFF2-40B4-BE49-F238E27FC236}">
                    <a16:creationId xmlns:a16="http://schemas.microsoft.com/office/drawing/2014/main" id="{2A4FEEDF-1AB1-4707-B20A-C968FD82204D}"/>
                  </a:ext>
                </a:extLst>
              </p:cNvPr>
              <p:cNvGrpSpPr/>
              <p:nvPr/>
            </p:nvGrpSpPr>
            <p:grpSpPr>
              <a:xfrm>
                <a:off x="1472883" y="4400551"/>
                <a:ext cx="361003" cy="491921"/>
                <a:chOff x="1472883" y="4400551"/>
                <a:chExt cx="361003" cy="491921"/>
              </a:xfrm>
            </p:grpSpPr>
            <p:sp>
              <p:nvSpPr>
                <p:cNvPr id="390" name="Freeform 217">
                  <a:extLst>
                    <a:ext uri="{FF2B5EF4-FFF2-40B4-BE49-F238E27FC236}">
                      <a16:creationId xmlns:a16="http://schemas.microsoft.com/office/drawing/2014/main" id="{90EBF98E-562A-431B-829A-7118425B8D3E}"/>
                    </a:ext>
                  </a:extLst>
                </p:cNvPr>
                <p:cNvSpPr>
                  <a:spLocks/>
                </p:cNvSpPr>
                <p:nvPr/>
              </p:nvSpPr>
              <p:spPr bwMode="auto">
                <a:xfrm>
                  <a:off x="1472883" y="4427334"/>
                  <a:ext cx="326261" cy="465138"/>
                </a:xfrm>
                <a:custGeom>
                  <a:avLst/>
                  <a:gdLst>
                    <a:gd name="T0" fmla="*/ 17 w 102"/>
                    <a:gd name="T1" fmla="*/ 0 h 137"/>
                    <a:gd name="T2" fmla="*/ 102 w 102"/>
                    <a:gd name="T3" fmla="*/ 0 h 137"/>
                    <a:gd name="T4" fmla="*/ 102 w 102"/>
                    <a:gd name="T5" fmla="*/ 120 h 137"/>
                    <a:gd name="T6" fmla="*/ 85 w 102"/>
                    <a:gd name="T7" fmla="*/ 137 h 137"/>
                    <a:gd name="T8" fmla="*/ 0 w 102"/>
                    <a:gd name="T9" fmla="*/ 137 h 137"/>
                    <a:gd name="T10" fmla="*/ 0 w 102"/>
                    <a:gd name="T11" fmla="*/ 17 h 137"/>
                    <a:gd name="T12" fmla="*/ 17 w 10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2" h="137">
                      <a:moveTo>
                        <a:pt x="17" y="0"/>
                      </a:moveTo>
                      <a:cubicBezTo>
                        <a:pt x="102" y="0"/>
                        <a:pt x="102" y="0"/>
                        <a:pt x="102" y="0"/>
                      </a:cubicBezTo>
                      <a:cubicBezTo>
                        <a:pt x="102" y="120"/>
                        <a:pt x="102" y="120"/>
                        <a:pt x="102" y="120"/>
                      </a:cubicBezTo>
                      <a:cubicBezTo>
                        <a:pt x="102" y="129"/>
                        <a:pt x="94" y="137"/>
                        <a:pt x="85" y="137"/>
                      </a:cubicBezTo>
                      <a:cubicBezTo>
                        <a:pt x="0" y="137"/>
                        <a:pt x="0" y="137"/>
                        <a:pt x="0" y="137"/>
                      </a:cubicBezTo>
                      <a:cubicBezTo>
                        <a:pt x="0" y="17"/>
                        <a:pt x="0" y="17"/>
                        <a:pt x="0" y="17"/>
                      </a:cubicBezTo>
                      <a:cubicBezTo>
                        <a:pt x="0" y="7"/>
                        <a:pt x="7" y="0"/>
                        <a:pt x="17" y="0"/>
                      </a:cubicBezTo>
                      <a:close/>
                    </a:path>
                  </a:pathLst>
                </a:custGeom>
                <a:solidFill>
                  <a:srgbClr val="08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391" name="Freeform 217">
                  <a:extLst>
                    <a:ext uri="{FF2B5EF4-FFF2-40B4-BE49-F238E27FC236}">
                      <a16:creationId xmlns:a16="http://schemas.microsoft.com/office/drawing/2014/main" id="{1ABECA9C-A068-477F-8262-F76B43004D85}"/>
                    </a:ext>
                  </a:extLst>
                </p:cNvPr>
                <p:cNvSpPr>
                  <a:spLocks/>
                </p:cNvSpPr>
                <p:nvPr/>
              </p:nvSpPr>
              <p:spPr bwMode="auto">
                <a:xfrm>
                  <a:off x="1489398" y="4400551"/>
                  <a:ext cx="344488" cy="465138"/>
                </a:xfrm>
                <a:custGeom>
                  <a:avLst/>
                  <a:gdLst>
                    <a:gd name="T0" fmla="*/ 17 w 102"/>
                    <a:gd name="T1" fmla="*/ 0 h 137"/>
                    <a:gd name="T2" fmla="*/ 102 w 102"/>
                    <a:gd name="T3" fmla="*/ 0 h 137"/>
                    <a:gd name="T4" fmla="*/ 102 w 102"/>
                    <a:gd name="T5" fmla="*/ 120 h 137"/>
                    <a:gd name="T6" fmla="*/ 85 w 102"/>
                    <a:gd name="T7" fmla="*/ 137 h 137"/>
                    <a:gd name="T8" fmla="*/ 0 w 102"/>
                    <a:gd name="T9" fmla="*/ 137 h 137"/>
                    <a:gd name="T10" fmla="*/ 0 w 102"/>
                    <a:gd name="T11" fmla="*/ 17 h 137"/>
                    <a:gd name="T12" fmla="*/ 17 w 10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2" h="137">
                      <a:moveTo>
                        <a:pt x="17" y="0"/>
                      </a:moveTo>
                      <a:cubicBezTo>
                        <a:pt x="102" y="0"/>
                        <a:pt x="102" y="0"/>
                        <a:pt x="102" y="0"/>
                      </a:cubicBezTo>
                      <a:cubicBezTo>
                        <a:pt x="102" y="120"/>
                        <a:pt x="102" y="120"/>
                        <a:pt x="102" y="120"/>
                      </a:cubicBezTo>
                      <a:cubicBezTo>
                        <a:pt x="102" y="129"/>
                        <a:pt x="94" y="137"/>
                        <a:pt x="85" y="137"/>
                      </a:cubicBezTo>
                      <a:cubicBezTo>
                        <a:pt x="0" y="137"/>
                        <a:pt x="0" y="137"/>
                        <a:pt x="0" y="137"/>
                      </a:cubicBezTo>
                      <a:cubicBezTo>
                        <a:pt x="0" y="17"/>
                        <a:pt x="0" y="17"/>
                        <a:pt x="0" y="17"/>
                      </a:cubicBezTo>
                      <a:cubicBezTo>
                        <a:pt x="0" y="7"/>
                        <a:pt x="7" y="0"/>
                        <a:pt x="17" y="0"/>
                      </a:cubicBezTo>
                      <a:close/>
                    </a:path>
                  </a:pathLst>
                </a:custGeom>
                <a:solidFill>
                  <a:srgbClr val="15BA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392" name="Freeform 218">
                  <a:extLst>
                    <a:ext uri="{FF2B5EF4-FFF2-40B4-BE49-F238E27FC236}">
                      <a16:creationId xmlns:a16="http://schemas.microsoft.com/office/drawing/2014/main" id="{2B78D1BC-68F3-467F-B674-BB3C4E57DD8E}"/>
                    </a:ext>
                  </a:extLst>
                </p:cNvPr>
                <p:cNvSpPr>
                  <a:spLocks noEditPoints="1"/>
                </p:cNvSpPr>
                <p:nvPr/>
              </p:nvSpPr>
              <p:spPr bwMode="auto">
                <a:xfrm>
                  <a:off x="1525910" y="4597401"/>
                  <a:ext cx="271464" cy="203200"/>
                </a:xfrm>
                <a:custGeom>
                  <a:avLst/>
                  <a:gdLst>
                    <a:gd name="T0" fmla="*/ 171 w 171"/>
                    <a:gd name="T1" fmla="*/ 17 h 128"/>
                    <a:gd name="T2" fmla="*/ 0 w 171"/>
                    <a:gd name="T3" fmla="*/ 17 h 128"/>
                    <a:gd name="T4" fmla="*/ 0 w 171"/>
                    <a:gd name="T5" fmla="*/ 0 h 128"/>
                    <a:gd name="T6" fmla="*/ 171 w 171"/>
                    <a:gd name="T7" fmla="*/ 0 h 128"/>
                    <a:gd name="T8" fmla="*/ 171 w 171"/>
                    <a:gd name="T9" fmla="*/ 17 h 128"/>
                    <a:gd name="T10" fmla="*/ 171 w 171"/>
                    <a:gd name="T11" fmla="*/ 17 h 128"/>
                    <a:gd name="T12" fmla="*/ 171 w 171"/>
                    <a:gd name="T13" fmla="*/ 17 h 128"/>
                    <a:gd name="T14" fmla="*/ 171 w 171"/>
                    <a:gd name="T15" fmla="*/ 36 h 128"/>
                    <a:gd name="T16" fmla="*/ 0 w 171"/>
                    <a:gd name="T17" fmla="*/ 36 h 128"/>
                    <a:gd name="T18" fmla="*/ 0 w 171"/>
                    <a:gd name="T19" fmla="*/ 54 h 128"/>
                    <a:gd name="T20" fmla="*/ 171 w 171"/>
                    <a:gd name="T21" fmla="*/ 54 h 128"/>
                    <a:gd name="T22" fmla="*/ 171 w 171"/>
                    <a:gd name="T23" fmla="*/ 36 h 128"/>
                    <a:gd name="T24" fmla="*/ 171 w 171"/>
                    <a:gd name="T25" fmla="*/ 36 h 128"/>
                    <a:gd name="T26" fmla="*/ 171 w 171"/>
                    <a:gd name="T27" fmla="*/ 36 h 128"/>
                    <a:gd name="T28" fmla="*/ 171 w 171"/>
                    <a:gd name="T29" fmla="*/ 73 h 128"/>
                    <a:gd name="T30" fmla="*/ 0 w 171"/>
                    <a:gd name="T31" fmla="*/ 73 h 128"/>
                    <a:gd name="T32" fmla="*/ 0 w 171"/>
                    <a:gd name="T33" fmla="*/ 92 h 128"/>
                    <a:gd name="T34" fmla="*/ 171 w 171"/>
                    <a:gd name="T35" fmla="*/ 92 h 128"/>
                    <a:gd name="T36" fmla="*/ 171 w 171"/>
                    <a:gd name="T37" fmla="*/ 73 h 128"/>
                    <a:gd name="T38" fmla="*/ 171 w 171"/>
                    <a:gd name="T39" fmla="*/ 73 h 128"/>
                    <a:gd name="T40" fmla="*/ 171 w 171"/>
                    <a:gd name="T41" fmla="*/ 73 h 128"/>
                    <a:gd name="T42" fmla="*/ 171 w 171"/>
                    <a:gd name="T43" fmla="*/ 109 h 128"/>
                    <a:gd name="T44" fmla="*/ 0 w 171"/>
                    <a:gd name="T45" fmla="*/ 109 h 128"/>
                    <a:gd name="T46" fmla="*/ 0 w 171"/>
                    <a:gd name="T47" fmla="*/ 128 h 128"/>
                    <a:gd name="T48" fmla="*/ 171 w 171"/>
                    <a:gd name="T49" fmla="*/ 128 h 128"/>
                    <a:gd name="T50" fmla="*/ 171 w 171"/>
                    <a:gd name="T51" fmla="*/ 109 h 128"/>
                    <a:gd name="T52" fmla="*/ 171 w 171"/>
                    <a:gd name="T53" fmla="*/ 109 h 128"/>
                    <a:gd name="T54" fmla="*/ 171 w 171"/>
                    <a:gd name="T55"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28">
                      <a:moveTo>
                        <a:pt x="171" y="17"/>
                      </a:moveTo>
                      <a:lnTo>
                        <a:pt x="0" y="17"/>
                      </a:lnTo>
                      <a:lnTo>
                        <a:pt x="0" y="0"/>
                      </a:lnTo>
                      <a:lnTo>
                        <a:pt x="171" y="0"/>
                      </a:lnTo>
                      <a:lnTo>
                        <a:pt x="171" y="17"/>
                      </a:lnTo>
                      <a:lnTo>
                        <a:pt x="171" y="17"/>
                      </a:lnTo>
                      <a:lnTo>
                        <a:pt x="171" y="17"/>
                      </a:lnTo>
                      <a:close/>
                      <a:moveTo>
                        <a:pt x="171" y="36"/>
                      </a:moveTo>
                      <a:lnTo>
                        <a:pt x="0" y="36"/>
                      </a:lnTo>
                      <a:lnTo>
                        <a:pt x="0" y="54"/>
                      </a:lnTo>
                      <a:lnTo>
                        <a:pt x="171" y="54"/>
                      </a:lnTo>
                      <a:lnTo>
                        <a:pt x="171" y="36"/>
                      </a:lnTo>
                      <a:lnTo>
                        <a:pt x="171" y="36"/>
                      </a:lnTo>
                      <a:lnTo>
                        <a:pt x="171" y="36"/>
                      </a:lnTo>
                      <a:close/>
                      <a:moveTo>
                        <a:pt x="171" y="73"/>
                      </a:moveTo>
                      <a:lnTo>
                        <a:pt x="0" y="73"/>
                      </a:lnTo>
                      <a:lnTo>
                        <a:pt x="0" y="92"/>
                      </a:lnTo>
                      <a:lnTo>
                        <a:pt x="171" y="92"/>
                      </a:lnTo>
                      <a:lnTo>
                        <a:pt x="171" y="73"/>
                      </a:lnTo>
                      <a:lnTo>
                        <a:pt x="171" y="73"/>
                      </a:lnTo>
                      <a:lnTo>
                        <a:pt x="171" y="73"/>
                      </a:lnTo>
                      <a:close/>
                      <a:moveTo>
                        <a:pt x="171" y="109"/>
                      </a:moveTo>
                      <a:lnTo>
                        <a:pt x="0" y="109"/>
                      </a:lnTo>
                      <a:lnTo>
                        <a:pt x="0" y="128"/>
                      </a:lnTo>
                      <a:lnTo>
                        <a:pt x="171" y="128"/>
                      </a:lnTo>
                      <a:lnTo>
                        <a:pt x="171" y="109"/>
                      </a:lnTo>
                      <a:lnTo>
                        <a:pt x="171" y="109"/>
                      </a:lnTo>
                      <a:lnTo>
                        <a:pt x="171" y="109"/>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381" name="Group 544">
              <a:extLst>
                <a:ext uri="{FF2B5EF4-FFF2-40B4-BE49-F238E27FC236}">
                  <a16:creationId xmlns:a16="http://schemas.microsoft.com/office/drawing/2014/main" id="{193C2A9C-AC03-4476-9888-2D537D57ECF0}"/>
                </a:ext>
              </a:extLst>
            </p:cNvPr>
            <p:cNvGrpSpPr/>
            <p:nvPr/>
          </p:nvGrpSpPr>
          <p:grpSpPr>
            <a:xfrm>
              <a:off x="8640167" y="4452431"/>
              <a:ext cx="225567" cy="287042"/>
              <a:chOff x="8042276" y="2738581"/>
              <a:chExt cx="369040" cy="469616"/>
            </a:xfrm>
          </p:grpSpPr>
          <p:sp>
            <p:nvSpPr>
              <p:cNvPr id="383" name="Freeform 353">
                <a:extLst>
                  <a:ext uri="{FF2B5EF4-FFF2-40B4-BE49-F238E27FC236}">
                    <a16:creationId xmlns:a16="http://schemas.microsoft.com/office/drawing/2014/main" id="{DC1F748D-944D-4831-80E0-97C46725662F}"/>
                  </a:ext>
                </a:extLst>
              </p:cNvPr>
              <p:cNvSpPr>
                <a:spLocks/>
              </p:cNvSpPr>
              <p:nvPr/>
            </p:nvSpPr>
            <p:spPr bwMode="auto">
              <a:xfrm>
                <a:off x="8042276" y="2967379"/>
                <a:ext cx="369040" cy="240818"/>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solidFill>
                <a:srgbClr val="2B143D"/>
              </a:solidFill>
              <a:ln w="635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84" name="Freeform 354">
                <a:extLst>
                  <a:ext uri="{FF2B5EF4-FFF2-40B4-BE49-F238E27FC236}">
                    <a16:creationId xmlns:a16="http://schemas.microsoft.com/office/drawing/2014/main" id="{CAC7C49A-3C0D-469D-8FEE-6A4139CEA05E}"/>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solidFill>
                <a:srgbClr val="2B143D"/>
              </a:solidFill>
              <a:ln w="635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85" name="Freeform 355">
                <a:extLst>
                  <a:ext uri="{FF2B5EF4-FFF2-40B4-BE49-F238E27FC236}">
                    <a16:creationId xmlns:a16="http://schemas.microsoft.com/office/drawing/2014/main" id="{6FD5A9CC-5DF2-4393-9946-6CE4396478B4}"/>
                  </a:ext>
                </a:extLst>
              </p:cNvPr>
              <p:cNvSpPr>
                <a:spLocks/>
              </p:cNvSpPr>
              <p:nvPr/>
            </p:nvSpPr>
            <p:spPr bwMode="auto">
              <a:xfrm>
                <a:off x="8140046" y="2738581"/>
                <a:ext cx="168292" cy="125418"/>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solidFill>
                <a:srgbClr val="2B143D"/>
              </a:solidFill>
              <a:ln w="635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86" name="Freeform 356">
                <a:extLst>
                  <a:ext uri="{FF2B5EF4-FFF2-40B4-BE49-F238E27FC236}">
                    <a16:creationId xmlns:a16="http://schemas.microsoft.com/office/drawing/2014/main" id="{8695A296-0660-46A0-95AC-7C439227366C}"/>
                  </a:ext>
                </a:extLst>
              </p:cNvPr>
              <p:cNvSpPr>
                <a:spLocks/>
              </p:cNvSpPr>
              <p:nvPr/>
            </p:nvSpPr>
            <p:spPr bwMode="auto">
              <a:xfrm>
                <a:off x="8144453" y="2807501"/>
                <a:ext cx="163885" cy="159877"/>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FFFF"/>
              </a:solidFill>
              <a:ln w="635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387" name="Freeform 357">
                <a:extLst>
                  <a:ext uri="{FF2B5EF4-FFF2-40B4-BE49-F238E27FC236}">
                    <a16:creationId xmlns:a16="http://schemas.microsoft.com/office/drawing/2014/main" id="{877C4D91-D9CD-4136-A5B2-112CE7D74F94}"/>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solidFill>
                <a:srgbClr val="2B143D"/>
              </a:solidFill>
              <a:ln w="6350"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grpSp>
        <p:sp>
          <p:nvSpPr>
            <p:cNvPr id="382" name="Rectangle : coins arrondis 287">
              <a:extLst>
                <a:ext uri="{FF2B5EF4-FFF2-40B4-BE49-F238E27FC236}">
                  <a16:creationId xmlns:a16="http://schemas.microsoft.com/office/drawing/2014/main" id="{47F9A13E-F6B7-4A69-965D-E2F4F75725FF}"/>
                </a:ext>
              </a:extLst>
            </p:cNvPr>
            <p:cNvSpPr/>
            <p:nvPr/>
          </p:nvSpPr>
          <p:spPr>
            <a:xfrm>
              <a:off x="8565470" y="4380302"/>
              <a:ext cx="74697" cy="88371"/>
            </a:xfrm>
            <a:prstGeom prst="roundRect">
              <a:avLst>
                <a:gd name="adj" fmla="val 0"/>
              </a:avLst>
            </a:prstGeom>
            <a:solidFill>
              <a:srgbClr val="E6E7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grpSp>
        <p:nvGrpSpPr>
          <p:cNvPr id="393" name="Groupe 413">
            <a:extLst>
              <a:ext uri="{FF2B5EF4-FFF2-40B4-BE49-F238E27FC236}">
                <a16:creationId xmlns:a16="http://schemas.microsoft.com/office/drawing/2014/main" id="{937E17EB-BB81-4D37-A9CE-FEEC84911349}"/>
              </a:ext>
            </a:extLst>
          </p:cNvPr>
          <p:cNvGrpSpPr/>
          <p:nvPr/>
        </p:nvGrpSpPr>
        <p:grpSpPr>
          <a:xfrm>
            <a:off x="4187896" y="4395731"/>
            <a:ext cx="312313" cy="312313"/>
            <a:chOff x="6070550" y="5123333"/>
            <a:chExt cx="312313" cy="312313"/>
          </a:xfrm>
        </p:grpSpPr>
        <p:sp>
          <p:nvSpPr>
            <p:cNvPr id="394" name="Ellipse 374">
              <a:extLst>
                <a:ext uri="{FF2B5EF4-FFF2-40B4-BE49-F238E27FC236}">
                  <a16:creationId xmlns:a16="http://schemas.microsoft.com/office/drawing/2014/main" id="{17E6AD10-69E9-4BAF-8203-D631584439B4}"/>
                </a:ext>
              </a:extLst>
            </p:cNvPr>
            <p:cNvSpPr/>
            <p:nvPr/>
          </p:nvSpPr>
          <p:spPr>
            <a:xfrm>
              <a:off x="6070550" y="5123333"/>
              <a:ext cx="312313" cy="312313"/>
            </a:xfrm>
            <a:prstGeom prst="ellipse">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395" name="Groupe 236">
              <a:extLst>
                <a:ext uri="{FF2B5EF4-FFF2-40B4-BE49-F238E27FC236}">
                  <a16:creationId xmlns:a16="http://schemas.microsoft.com/office/drawing/2014/main" id="{3AF2421B-06E0-4900-9BB5-A6C0D7D8A6B4}"/>
                </a:ext>
              </a:extLst>
            </p:cNvPr>
            <p:cNvGrpSpPr/>
            <p:nvPr/>
          </p:nvGrpSpPr>
          <p:grpSpPr>
            <a:xfrm>
              <a:off x="6109215" y="5169927"/>
              <a:ext cx="234982" cy="219126"/>
              <a:chOff x="6621463" y="1658938"/>
              <a:chExt cx="454025" cy="458787"/>
            </a:xfrm>
            <a:solidFill>
              <a:srgbClr val="FFFFFF"/>
            </a:solidFill>
          </p:grpSpPr>
          <p:sp>
            <p:nvSpPr>
              <p:cNvPr id="396" name="Freeform 96">
                <a:extLst>
                  <a:ext uri="{FF2B5EF4-FFF2-40B4-BE49-F238E27FC236}">
                    <a16:creationId xmlns:a16="http://schemas.microsoft.com/office/drawing/2014/main" id="{FF0114FB-FA76-4E03-9963-15A67AA9ADC8}"/>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397" name="Freeform 97">
                <a:extLst>
                  <a:ext uri="{FF2B5EF4-FFF2-40B4-BE49-F238E27FC236}">
                    <a16:creationId xmlns:a16="http://schemas.microsoft.com/office/drawing/2014/main" id="{CE9FC189-52BD-4867-92CE-5474D34AE8CD}"/>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398" name="Freeform 98">
                <a:extLst>
                  <a:ext uri="{FF2B5EF4-FFF2-40B4-BE49-F238E27FC236}">
                    <a16:creationId xmlns:a16="http://schemas.microsoft.com/office/drawing/2014/main" id="{C34B76BE-C328-4EC5-9281-C39D587040C9}"/>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399" name="Freeform 99">
                <a:extLst>
                  <a:ext uri="{FF2B5EF4-FFF2-40B4-BE49-F238E27FC236}">
                    <a16:creationId xmlns:a16="http://schemas.microsoft.com/office/drawing/2014/main" id="{4DCD195D-0DD2-4CFE-9711-4D808B1A6AF5}"/>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0" name="Freeform 100">
                <a:extLst>
                  <a:ext uri="{FF2B5EF4-FFF2-40B4-BE49-F238E27FC236}">
                    <a16:creationId xmlns:a16="http://schemas.microsoft.com/office/drawing/2014/main" id="{09807301-F127-461A-AE4B-B355301666A3}"/>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1" name="Freeform 101">
                <a:extLst>
                  <a:ext uri="{FF2B5EF4-FFF2-40B4-BE49-F238E27FC236}">
                    <a16:creationId xmlns:a16="http://schemas.microsoft.com/office/drawing/2014/main" id="{473E74C6-9ECF-48E3-911A-8481B7687A75}"/>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2" name="Freeform 102">
                <a:extLst>
                  <a:ext uri="{FF2B5EF4-FFF2-40B4-BE49-F238E27FC236}">
                    <a16:creationId xmlns:a16="http://schemas.microsoft.com/office/drawing/2014/main" id="{3DB68ECF-2BB4-4C38-84D0-7E271C104A65}"/>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3" name="Freeform 103">
                <a:extLst>
                  <a:ext uri="{FF2B5EF4-FFF2-40B4-BE49-F238E27FC236}">
                    <a16:creationId xmlns:a16="http://schemas.microsoft.com/office/drawing/2014/main" id="{65839511-0322-4EEA-B33F-83F51A36CA4B}"/>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4" name="Freeform 104">
                <a:extLst>
                  <a:ext uri="{FF2B5EF4-FFF2-40B4-BE49-F238E27FC236}">
                    <a16:creationId xmlns:a16="http://schemas.microsoft.com/office/drawing/2014/main" id="{4050B823-4A00-4E5D-849C-922D5AEFC980}"/>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5" name="Freeform 105">
                <a:extLst>
                  <a:ext uri="{FF2B5EF4-FFF2-40B4-BE49-F238E27FC236}">
                    <a16:creationId xmlns:a16="http://schemas.microsoft.com/office/drawing/2014/main" id="{273A30D4-38A3-45ED-8963-F6C2C84AD08E}"/>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6" name="Freeform 106">
                <a:extLst>
                  <a:ext uri="{FF2B5EF4-FFF2-40B4-BE49-F238E27FC236}">
                    <a16:creationId xmlns:a16="http://schemas.microsoft.com/office/drawing/2014/main" id="{65C8DB2D-5DD7-4805-95E9-A93EE7F275BC}"/>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7" name="Freeform 107">
                <a:extLst>
                  <a:ext uri="{FF2B5EF4-FFF2-40B4-BE49-F238E27FC236}">
                    <a16:creationId xmlns:a16="http://schemas.microsoft.com/office/drawing/2014/main" id="{C9D0A47F-BFFD-45C8-B0C3-00FAB3111B64}"/>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8" name="Freeform 108">
                <a:extLst>
                  <a:ext uri="{FF2B5EF4-FFF2-40B4-BE49-F238E27FC236}">
                    <a16:creationId xmlns:a16="http://schemas.microsoft.com/office/drawing/2014/main" id="{480494DE-AF17-40B5-9224-84A47EEA544C}"/>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09" name="Freeform 109">
                <a:extLst>
                  <a:ext uri="{FF2B5EF4-FFF2-40B4-BE49-F238E27FC236}">
                    <a16:creationId xmlns:a16="http://schemas.microsoft.com/office/drawing/2014/main" id="{639D743F-540E-46CF-BC2C-741F1FB3A655}"/>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10" name="Freeform 110">
                <a:extLst>
                  <a:ext uri="{FF2B5EF4-FFF2-40B4-BE49-F238E27FC236}">
                    <a16:creationId xmlns:a16="http://schemas.microsoft.com/office/drawing/2014/main" id="{4E7232B3-53B1-4304-A461-DAA22DF4E5E2}"/>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11" name="Freeform 111">
                <a:extLst>
                  <a:ext uri="{FF2B5EF4-FFF2-40B4-BE49-F238E27FC236}">
                    <a16:creationId xmlns:a16="http://schemas.microsoft.com/office/drawing/2014/main" id="{D8C91693-D153-4B03-9F9F-27ECA1C7B6E3}"/>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412" name="Groupe 202">
            <a:extLst>
              <a:ext uri="{FF2B5EF4-FFF2-40B4-BE49-F238E27FC236}">
                <a16:creationId xmlns:a16="http://schemas.microsoft.com/office/drawing/2014/main" id="{8D245DEF-05F1-4EFF-962B-E84CCC8008AD}"/>
              </a:ext>
            </a:extLst>
          </p:cNvPr>
          <p:cNvGrpSpPr/>
          <p:nvPr/>
        </p:nvGrpSpPr>
        <p:grpSpPr>
          <a:xfrm>
            <a:off x="3603061" y="4395731"/>
            <a:ext cx="312313" cy="312313"/>
            <a:chOff x="5485715" y="5123333"/>
            <a:chExt cx="312313" cy="312313"/>
          </a:xfrm>
        </p:grpSpPr>
        <p:sp>
          <p:nvSpPr>
            <p:cNvPr id="413" name="Ellipse 372">
              <a:extLst>
                <a:ext uri="{FF2B5EF4-FFF2-40B4-BE49-F238E27FC236}">
                  <a16:creationId xmlns:a16="http://schemas.microsoft.com/office/drawing/2014/main" id="{A7767C40-B238-46FA-BACE-EBAB63D200E4}"/>
                </a:ext>
              </a:extLst>
            </p:cNvPr>
            <p:cNvSpPr/>
            <p:nvPr/>
          </p:nvSpPr>
          <p:spPr>
            <a:xfrm>
              <a:off x="5485715" y="5123333"/>
              <a:ext cx="312313" cy="312313"/>
            </a:xfrm>
            <a:prstGeom prst="ellipse">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414" name="Groupe 236">
              <a:extLst>
                <a:ext uri="{FF2B5EF4-FFF2-40B4-BE49-F238E27FC236}">
                  <a16:creationId xmlns:a16="http://schemas.microsoft.com/office/drawing/2014/main" id="{D243572E-AA43-4CD9-8D72-B2F38CB3EF5A}"/>
                </a:ext>
              </a:extLst>
            </p:cNvPr>
            <p:cNvGrpSpPr/>
            <p:nvPr/>
          </p:nvGrpSpPr>
          <p:grpSpPr>
            <a:xfrm>
              <a:off x="5524380" y="5169927"/>
              <a:ext cx="234982" cy="219126"/>
              <a:chOff x="6621463" y="1658938"/>
              <a:chExt cx="454025" cy="458787"/>
            </a:xfrm>
            <a:solidFill>
              <a:srgbClr val="FFFFFF"/>
            </a:solidFill>
          </p:grpSpPr>
          <p:sp>
            <p:nvSpPr>
              <p:cNvPr id="415" name="Freeform 96">
                <a:extLst>
                  <a:ext uri="{FF2B5EF4-FFF2-40B4-BE49-F238E27FC236}">
                    <a16:creationId xmlns:a16="http://schemas.microsoft.com/office/drawing/2014/main" id="{AF6D1FEA-BA18-46AE-8003-47F35F198D7C}"/>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16" name="Freeform 97">
                <a:extLst>
                  <a:ext uri="{FF2B5EF4-FFF2-40B4-BE49-F238E27FC236}">
                    <a16:creationId xmlns:a16="http://schemas.microsoft.com/office/drawing/2014/main" id="{9D0B46C6-E10B-4B64-9A17-BFAE5A36219B}"/>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17" name="Freeform 98">
                <a:extLst>
                  <a:ext uri="{FF2B5EF4-FFF2-40B4-BE49-F238E27FC236}">
                    <a16:creationId xmlns:a16="http://schemas.microsoft.com/office/drawing/2014/main" id="{787B7E4B-FEF7-4227-AD04-FD7BCF716874}"/>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18" name="Freeform 99">
                <a:extLst>
                  <a:ext uri="{FF2B5EF4-FFF2-40B4-BE49-F238E27FC236}">
                    <a16:creationId xmlns:a16="http://schemas.microsoft.com/office/drawing/2014/main" id="{3C1D9113-EA13-4365-8BB1-F6868668EA2E}"/>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19" name="Freeform 100">
                <a:extLst>
                  <a:ext uri="{FF2B5EF4-FFF2-40B4-BE49-F238E27FC236}">
                    <a16:creationId xmlns:a16="http://schemas.microsoft.com/office/drawing/2014/main" id="{642AD959-5DA1-411C-B99F-F6DC054CCFF7}"/>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0" name="Freeform 101">
                <a:extLst>
                  <a:ext uri="{FF2B5EF4-FFF2-40B4-BE49-F238E27FC236}">
                    <a16:creationId xmlns:a16="http://schemas.microsoft.com/office/drawing/2014/main" id="{53158A00-3CB9-4489-9772-9C47FD4C047C}"/>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1" name="Freeform 102">
                <a:extLst>
                  <a:ext uri="{FF2B5EF4-FFF2-40B4-BE49-F238E27FC236}">
                    <a16:creationId xmlns:a16="http://schemas.microsoft.com/office/drawing/2014/main" id="{0502749A-0896-4BD0-89A6-16484F57464B}"/>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2" name="Freeform 103">
                <a:extLst>
                  <a:ext uri="{FF2B5EF4-FFF2-40B4-BE49-F238E27FC236}">
                    <a16:creationId xmlns:a16="http://schemas.microsoft.com/office/drawing/2014/main" id="{11427D26-1A81-4DF6-B0DA-5B1EB6C9A824}"/>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3" name="Freeform 104">
                <a:extLst>
                  <a:ext uri="{FF2B5EF4-FFF2-40B4-BE49-F238E27FC236}">
                    <a16:creationId xmlns:a16="http://schemas.microsoft.com/office/drawing/2014/main" id="{157FE827-44E6-4BB6-B2C2-4C54099284B9}"/>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4" name="Freeform 105">
                <a:extLst>
                  <a:ext uri="{FF2B5EF4-FFF2-40B4-BE49-F238E27FC236}">
                    <a16:creationId xmlns:a16="http://schemas.microsoft.com/office/drawing/2014/main" id="{79D6423E-8CD9-4EF0-A06B-08CD4C4A0CD9}"/>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5" name="Freeform 106">
                <a:extLst>
                  <a:ext uri="{FF2B5EF4-FFF2-40B4-BE49-F238E27FC236}">
                    <a16:creationId xmlns:a16="http://schemas.microsoft.com/office/drawing/2014/main" id="{EB1AE3AF-3888-4C3D-B172-4C9B6E05BB13}"/>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6" name="Freeform 107">
                <a:extLst>
                  <a:ext uri="{FF2B5EF4-FFF2-40B4-BE49-F238E27FC236}">
                    <a16:creationId xmlns:a16="http://schemas.microsoft.com/office/drawing/2014/main" id="{2BEC49E6-9C77-436E-9FE2-AD74C1538A46}"/>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7" name="Freeform 108">
                <a:extLst>
                  <a:ext uri="{FF2B5EF4-FFF2-40B4-BE49-F238E27FC236}">
                    <a16:creationId xmlns:a16="http://schemas.microsoft.com/office/drawing/2014/main" id="{D02AF191-CD44-4C75-9BC5-9FB1DCB201A1}"/>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8" name="Freeform 109">
                <a:extLst>
                  <a:ext uri="{FF2B5EF4-FFF2-40B4-BE49-F238E27FC236}">
                    <a16:creationId xmlns:a16="http://schemas.microsoft.com/office/drawing/2014/main" id="{CB3AFB99-96D5-4D23-9AEF-D4ED2E839348}"/>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29" name="Freeform 110">
                <a:extLst>
                  <a:ext uri="{FF2B5EF4-FFF2-40B4-BE49-F238E27FC236}">
                    <a16:creationId xmlns:a16="http://schemas.microsoft.com/office/drawing/2014/main" id="{79411896-E5F3-4FAE-9EC9-00CC8BF72052}"/>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30" name="Freeform 111">
                <a:extLst>
                  <a:ext uri="{FF2B5EF4-FFF2-40B4-BE49-F238E27FC236}">
                    <a16:creationId xmlns:a16="http://schemas.microsoft.com/office/drawing/2014/main" id="{680B5B8A-44A0-45E8-81B0-E3F512446942}"/>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431" name="Groupe 197">
            <a:extLst>
              <a:ext uri="{FF2B5EF4-FFF2-40B4-BE49-F238E27FC236}">
                <a16:creationId xmlns:a16="http://schemas.microsoft.com/office/drawing/2014/main" id="{9BF01B42-5385-4A91-911D-A8C606E9A2B9}"/>
              </a:ext>
            </a:extLst>
          </p:cNvPr>
          <p:cNvGrpSpPr/>
          <p:nvPr/>
        </p:nvGrpSpPr>
        <p:grpSpPr>
          <a:xfrm>
            <a:off x="3022036" y="4395731"/>
            <a:ext cx="312313" cy="312313"/>
            <a:chOff x="4904690" y="5123333"/>
            <a:chExt cx="312313" cy="312313"/>
          </a:xfrm>
        </p:grpSpPr>
        <p:sp>
          <p:nvSpPr>
            <p:cNvPr id="432" name="Ellipse 373">
              <a:extLst>
                <a:ext uri="{FF2B5EF4-FFF2-40B4-BE49-F238E27FC236}">
                  <a16:creationId xmlns:a16="http://schemas.microsoft.com/office/drawing/2014/main" id="{8DDB9BAD-D8D3-43E7-B700-31BCA2C8A50C}"/>
                </a:ext>
              </a:extLst>
            </p:cNvPr>
            <p:cNvSpPr/>
            <p:nvPr/>
          </p:nvSpPr>
          <p:spPr>
            <a:xfrm>
              <a:off x="4904690" y="5123333"/>
              <a:ext cx="312313" cy="312313"/>
            </a:xfrm>
            <a:prstGeom prst="ellipse">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433" name="Groupe 236">
              <a:extLst>
                <a:ext uri="{FF2B5EF4-FFF2-40B4-BE49-F238E27FC236}">
                  <a16:creationId xmlns:a16="http://schemas.microsoft.com/office/drawing/2014/main" id="{F36714C2-9939-46DE-A8AD-E905684A1AC4}"/>
                </a:ext>
              </a:extLst>
            </p:cNvPr>
            <p:cNvGrpSpPr/>
            <p:nvPr/>
          </p:nvGrpSpPr>
          <p:grpSpPr>
            <a:xfrm>
              <a:off x="4943355" y="5169927"/>
              <a:ext cx="234982" cy="219126"/>
              <a:chOff x="6621463" y="1658938"/>
              <a:chExt cx="454025" cy="458787"/>
            </a:xfrm>
            <a:solidFill>
              <a:srgbClr val="FFFFFF"/>
            </a:solidFill>
          </p:grpSpPr>
          <p:sp>
            <p:nvSpPr>
              <p:cNvPr id="434" name="Freeform 96">
                <a:extLst>
                  <a:ext uri="{FF2B5EF4-FFF2-40B4-BE49-F238E27FC236}">
                    <a16:creationId xmlns:a16="http://schemas.microsoft.com/office/drawing/2014/main" id="{A7557257-DF27-4896-A260-CDE90890F182}"/>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35" name="Freeform 97">
                <a:extLst>
                  <a:ext uri="{FF2B5EF4-FFF2-40B4-BE49-F238E27FC236}">
                    <a16:creationId xmlns:a16="http://schemas.microsoft.com/office/drawing/2014/main" id="{268E1E6C-412D-4D18-9ACB-5BACF3D6998F}"/>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36" name="Freeform 98">
                <a:extLst>
                  <a:ext uri="{FF2B5EF4-FFF2-40B4-BE49-F238E27FC236}">
                    <a16:creationId xmlns:a16="http://schemas.microsoft.com/office/drawing/2014/main" id="{BBDC886F-CA46-45E2-A4FE-C8DC17F5A6E7}"/>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37" name="Freeform 99">
                <a:extLst>
                  <a:ext uri="{FF2B5EF4-FFF2-40B4-BE49-F238E27FC236}">
                    <a16:creationId xmlns:a16="http://schemas.microsoft.com/office/drawing/2014/main" id="{2D544C03-2ED4-4113-831C-973125964317}"/>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38" name="Freeform 100">
                <a:extLst>
                  <a:ext uri="{FF2B5EF4-FFF2-40B4-BE49-F238E27FC236}">
                    <a16:creationId xmlns:a16="http://schemas.microsoft.com/office/drawing/2014/main" id="{596616DA-35FC-454B-BE5D-7EB99ED6E561}"/>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39" name="Freeform 101">
                <a:extLst>
                  <a:ext uri="{FF2B5EF4-FFF2-40B4-BE49-F238E27FC236}">
                    <a16:creationId xmlns:a16="http://schemas.microsoft.com/office/drawing/2014/main" id="{B797EC0D-ED50-45E8-8F40-B35CB740AA15}"/>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0" name="Freeform 102">
                <a:extLst>
                  <a:ext uri="{FF2B5EF4-FFF2-40B4-BE49-F238E27FC236}">
                    <a16:creationId xmlns:a16="http://schemas.microsoft.com/office/drawing/2014/main" id="{D486F999-B1B3-4534-843E-825EFA9FB0B4}"/>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1" name="Freeform 103">
                <a:extLst>
                  <a:ext uri="{FF2B5EF4-FFF2-40B4-BE49-F238E27FC236}">
                    <a16:creationId xmlns:a16="http://schemas.microsoft.com/office/drawing/2014/main" id="{1544E7C1-3C33-478B-AA2D-A318B6CE84A1}"/>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2" name="Freeform 104">
                <a:extLst>
                  <a:ext uri="{FF2B5EF4-FFF2-40B4-BE49-F238E27FC236}">
                    <a16:creationId xmlns:a16="http://schemas.microsoft.com/office/drawing/2014/main" id="{E7FB523E-1E6F-47A9-ADCB-512E5030B980}"/>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3" name="Freeform 105">
                <a:extLst>
                  <a:ext uri="{FF2B5EF4-FFF2-40B4-BE49-F238E27FC236}">
                    <a16:creationId xmlns:a16="http://schemas.microsoft.com/office/drawing/2014/main" id="{4328C20B-AE40-41C9-8E40-083B45891037}"/>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4" name="Freeform 106">
                <a:extLst>
                  <a:ext uri="{FF2B5EF4-FFF2-40B4-BE49-F238E27FC236}">
                    <a16:creationId xmlns:a16="http://schemas.microsoft.com/office/drawing/2014/main" id="{B7D6463C-3A3D-42DF-BCC1-F52B23920FEC}"/>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5" name="Freeform 107">
                <a:extLst>
                  <a:ext uri="{FF2B5EF4-FFF2-40B4-BE49-F238E27FC236}">
                    <a16:creationId xmlns:a16="http://schemas.microsoft.com/office/drawing/2014/main" id="{97AEB099-98E0-42EF-ABB6-3C7BDAC93D1C}"/>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6" name="Freeform 108">
                <a:extLst>
                  <a:ext uri="{FF2B5EF4-FFF2-40B4-BE49-F238E27FC236}">
                    <a16:creationId xmlns:a16="http://schemas.microsoft.com/office/drawing/2014/main" id="{0BE7981B-E01C-4BDD-9756-C48A23D9A184}"/>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7" name="Freeform 109">
                <a:extLst>
                  <a:ext uri="{FF2B5EF4-FFF2-40B4-BE49-F238E27FC236}">
                    <a16:creationId xmlns:a16="http://schemas.microsoft.com/office/drawing/2014/main" id="{A604E9AF-C5F1-4B52-B767-A485D98D959C}"/>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8" name="Freeform 110">
                <a:extLst>
                  <a:ext uri="{FF2B5EF4-FFF2-40B4-BE49-F238E27FC236}">
                    <a16:creationId xmlns:a16="http://schemas.microsoft.com/office/drawing/2014/main" id="{F018BD9B-A4C7-4008-BAC7-2EAA3A659A77}"/>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49" name="Freeform 111">
                <a:extLst>
                  <a:ext uri="{FF2B5EF4-FFF2-40B4-BE49-F238E27FC236}">
                    <a16:creationId xmlns:a16="http://schemas.microsoft.com/office/drawing/2014/main" id="{0A0D0167-C116-4EA1-91CD-DFAA3E2E9871}"/>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450" name="Groupe 224">
            <a:extLst>
              <a:ext uri="{FF2B5EF4-FFF2-40B4-BE49-F238E27FC236}">
                <a16:creationId xmlns:a16="http://schemas.microsoft.com/office/drawing/2014/main" id="{16C5A2A9-C323-44FC-BF12-6B2D517DB203}"/>
              </a:ext>
            </a:extLst>
          </p:cNvPr>
          <p:cNvGrpSpPr>
            <a:grpSpLocks noChangeAspect="1"/>
          </p:cNvGrpSpPr>
          <p:nvPr/>
        </p:nvGrpSpPr>
        <p:grpSpPr>
          <a:xfrm>
            <a:off x="4326295" y="4631438"/>
            <a:ext cx="450648" cy="426428"/>
            <a:chOff x="5167313" y="1449388"/>
            <a:chExt cx="974725" cy="922337"/>
          </a:xfrm>
        </p:grpSpPr>
        <p:sp>
          <p:nvSpPr>
            <p:cNvPr id="451" name="Freeform 87">
              <a:extLst>
                <a:ext uri="{FF2B5EF4-FFF2-40B4-BE49-F238E27FC236}">
                  <a16:creationId xmlns:a16="http://schemas.microsoft.com/office/drawing/2014/main" id="{D9C3A5A7-9020-4A2D-80C4-6275705DCA48}"/>
                </a:ext>
              </a:extLst>
            </p:cNvPr>
            <p:cNvSpPr>
              <a:spLocks/>
            </p:cNvSpPr>
            <p:nvPr/>
          </p:nvSpPr>
          <p:spPr bwMode="auto">
            <a:xfrm>
              <a:off x="5167313" y="1449388"/>
              <a:ext cx="974725" cy="922337"/>
            </a:xfrm>
            <a:custGeom>
              <a:avLst/>
              <a:gdLst>
                <a:gd name="T0" fmla="*/ 41 w 288"/>
                <a:gd name="T1" fmla="*/ 211 h 269"/>
                <a:gd name="T2" fmla="*/ 69 w 288"/>
                <a:gd name="T3" fmla="*/ 40 h 269"/>
                <a:gd name="T4" fmla="*/ 247 w 288"/>
                <a:gd name="T5" fmla="*/ 65 h 269"/>
                <a:gd name="T6" fmla="*/ 215 w 288"/>
                <a:gd name="T7" fmla="*/ 229 h 269"/>
                <a:gd name="T8" fmla="*/ 41 w 288"/>
                <a:gd name="T9" fmla="*/ 211 h 269"/>
              </a:gdLst>
              <a:ahLst/>
              <a:cxnLst>
                <a:cxn ang="0">
                  <a:pos x="T0" y="T1"/>
                </a:cxn>
                <a:cxn ang="0">
                  <a:pos x="T2" y="T3"/>
                </a:cxn>
                <a:cxn ang="0">
                  <a:pos x="T4" y="T5"/>
                </a:cxn>
                <a:cxn ang="0">
                  <a:pos x="T6" y="T7"/>
                </a:cxn>
                <a:cxn ang="0">
                  <a:pos x="T8" y="T9"/>
                </a:cxn>
              </a:cxnLst>
              <a:rect l="0" t="0" r="r" b="b"/>
              <a:pathLst>
                <a:path w="288" h="269">
                  <a:moveTo>
                    <a:pt x="41" y="211"/>
                  </a:moveTo>
                  <a:cubicBezTo>
                    <a:pt x="0" y="157"/>
                    <a:pt x="12" y="80"/>
                    <a:pt x="69" y="40"/>
                  </a:cubicBezTo>
                  <a:cubicBezTo>
                    <a:pt x="126" y="0"/>
                    <a:pt x="206" y="11"/>
                    <a:pt x="247" y="65"/>
                  </a:cubicBezTo>
                  <a:cubicBezTo>
                    <a:pt x="288" y="119"/>
                    <a:pt x="271" y="189"/>
                    <a:pt x="215" y="229"/>
                  </a:cubicBezTo>
                  <a:cubicBezTo>
                    <a:pt x="158" y="269"/>
                    <a:pt x="83" y="265"/>
                    <a:pt x="41"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nvGrpSpPr>
            <p:cNvPr id="452" name="Groupe 226">
              <a:extLst>
                <a:ext uri="{FF2B5EF4-FFF2-40B4-BE49-F238E27FC236}">
                  <a16:creationId xmlns:a16="http://schemas.microsoft.com/office/drawing/2014/main" id="{2F12B23E-2900-42CC-982A-35041AC8F88E}"/>
                </a:ext>
              </a:extLst>
            </p:cNvPr>
            <p:cNvGrpSpPr/>
            <p:nvPr/>
          </p:nvGrpSpPr>
          <p:grpSpPr>
            <a:xfrm>
              <a:off x="5403850" y="1685925"/>
              <a:ext cx="493713" cy="401638"/>
              <a:chOff x="5403850" y="1685925"/>
              <a:chExt cx="493713" cy="401638"/>
            </a:xfrm>
          </p:grpSpPr>
          <p:sp>
            <p:nvSpPr>
              <p:cNvPr id="453" name="Freeform 88">
                <a:extLst>
                  <a:ext uri="{FF2B5EF4-FFF2-40B4-BE49-F238E27FC236}">
                    <a16:creationId xmlns:a16="http://schemas.microsoft.com/office/drawing/2014/main" id="{71FC64C7-93D0-45E4-AADD-7498391BEAA0}"/>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54" name="Freeform 89">
                <a:extLst>
                  <a:ext uri="{FF2B5EF4-FFF2-40B4-BE49-F238E27FC236}">
                    <a16:creationId xmlns:a16="http://schemas.microsoft.com/office/drawing/2014/main" id="{AA0E1451-6FCF-45C0-9256-B62267D8F1E0}"/>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55" name="Freeform 90">
                <a:extLst>
                  <a:ext uri="{FF2B5EF4-FFF2-40B4-BE49-F238E27FC236}">
                    <a16:creationId xmlns:a16="http://schemas.microsoft.com/office/drawing/2014/main" id="{C3AE215A-FC3B-497D-9A87-227EF2E6D1ED}"/>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56" name="Freeform 91">
                <a:extLst>
                  <a:ext uri="{FF2B5EF4-FFF2-40B4-BE49-F238E27FC236}">
                    <a16:creationId xmlns:a16="http://schemas.microsoft.com/office/drawing/2014/main" id="{41131A8E-9499-4104-B742-E05FF3C385B1}"/>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57" name="Freeform 92">
                <a:extLst>
                  <a:ext uri="{FF2B5EF4-FFF2-40B4-BE49-F238E27FC236}">
                    <a16:creationId xmlns:a16="http://schemas.microsoft.com/office/drawing/2014/main" id="{BB19880D-C9E8-484E-86ED-C06CDBD9F475}"/>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58" name="Freeform 93">
                <a:extLst>
                  <a:ext uri="{FF2B5EF4-FFF2-40B4-BE49-F238E27FC236}">
                    <a16:creationId xmlns:a16="http://schemas.microsoft.com/office/drawing/2014/main" id="{D66B16FF-2B81-4589-BC3B-1E3ABB329DA5}"/>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459" name="Groupe 224">
            <a:extLst>
              <a:ext uri="{FF2B5EF4-FFF2-40B4-BE49-F238E27FC236}">
                <a16:creationId xmlns:a16="http://schemas.microsoft.com/office/drawing/2014/main" id="{13FF8FDE-51FD-4F69-BC43-5F5D072EC2FF}"/>
              </a:ext>
            </a:extLst>
          </p:cNvPr>
          <p:cNvGrpSpPr>
            <a:grpSpLocks noChangeAspect="1"/>
          </p:cNvGrpSpPr>
          <p:nvPr/>
        </p:nvGrpSpPr>
        <p:grpSpPr>
          <a:xfrm>
            <a:off x="3749080" y="4631438"/>
            <a:ext cx="450648" cy="426428"/>
            <a:chOff x="5167313" y="1449388"/>
            <a:chExt cx="974725" cy="922337"/>
          </a:xfrm>
        </p:grpSpPr>
        <p:sp>
          <p:nvSpPr>
            <p:cNvPr id="460" name="Freeform 87">
              <a:extLst>
                <a:ext uri="{FF2B5EF4-FFF2-40B4-BE49-F238E27FC236}">
                  <a16:creationId xmlns:a16="http://schemas.microsoft.com/office/drawing/2014/main" id="{F9BCA4D1-DEBE-4206-B9D9-9B6A47277AC8}"/>
                </a:ext>
              </a:extLst>
            </p:cNvPr>
            <p:cNvSpPr>
              <a:spLocks/>
            </p:cNvSpPr>
            <p:nvPr/>
          </p:nvSpPr>
          <p:spPr bwMode="auto">
            <a:xfrm>
              <a:off x="5167313" y="1449388"/>
              <a:ext cx="974725" cy="922337"/>
            </a:xfrm>
            <a:custGeom>
              <a:avLst/>
              <a:gdLst>
                <a:gd name="T0" fmla="*/ 41 w 288"/>
                <a:gd name="T1" fmla="*/ 211 h 269"/>
                <a:gd name="T2" fmla="*/ 69 w 288"/>
                <a:gd name="T3" fmla="*/ 40 h 269"/>
                <a:gd name="T4" fmla="*/ 247 w 288"/>
                <a:gd name="T5" fmla="*/ 65 h 269"/>
                <a:gd name="T6" fmla="*/ 215 w 288"/>
                <a:gd name="T7" fmla="*/ 229 h 269"/>
                <a:gd name="T8" fmla="*/ 41 w 288"/>
                <a:gd name="T9" fmla="*/ 211 h 269"/>
              </a:gdLst>
              <a:ahLst/>
              <a:cxnLst>
                <a:cxn ang="0">
                  <a:pos x="T0" y="T1"/>
                </a:cxn>
                <a:cxn ang="0">
                  <a:pos x="T2" y="T3"/>
                </a:cxn>
                <a:cxn ang="0">
                  <a:pos x="T4" y="T5"/>
                </a:cxn>
                <a:cxn ang="0">
                  <a:pos x="T6" y="T7"/>
                </a:cxn>
                <a:cxn ang="0">
                  <a:pos x="T8" y="T9"/>
                </a:cxn>
              </a:cxnLst>
              <a:rect l="0" t="0" r="r" b="b"/>
              <a:pathLst>
                <a:path w="288" h="269">
                  <a:moveTo>
                    <a:pt x="41" y="211"/>
                  </a:moveTo>
                  <a:cubicBezTo>
                    <a:pt x="0" y="157"/>
                    <a:pt x="12" y="80"/>
                    <a:pt x="69" y="40"/>
                  </a:cubicBezTo>
                  <a:cubicBezTo>
                    <a:pt x="126" y="0"/>
                    <a:pt x="206" y="11"/>
                    <a:pt x="247" y="65"/>
                  </a:cubicBezTo>
                  <a:cubicBezTo>
                    <a:pt x="288" y="119"/>
                    <a:pt x="271" y="189"/>
                    <a:pt x="215" y="229"/>
                  </a:cubicBezTo>
                  <a:cubicBezTo>
                    <a:pt x="158" y="269"/>
                    <a:pt x="83" y="265"/>
                    <a:pt x="41"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nvGrpSpPr>
            <p:cNvPr id="461" name="Groupe 226">
              <a:extLst>
                <a:ext uri="{FF2B5EF4-FFF2-40B4-BE49-F238E27FC236}">
                  <a16:creationId xmlns:a16="http://schemas.microsoft.com/office/drawing/2014/main" id="{F8A0F1FD-91CF-4C96-B886-EAC61889047B}"/>
                </a:ext>
              </a:extLst>
            </p:cNvPr>
            <p:cNvGrpSpPr/>
            <p:nvPr/>
          </p:nvGrpSpPr>
          <p:grpSpPr>
            <a:xfrm>
              <a:off x="5403850" y="1685925"/>
              <a:ext cx="493713" cy="401638"/>
              <a:chOff x="5403850" y="1685925"/>
              <a:chExt cx="493713" cy="401638"/>
            </a:xfrm>
          </p:grpSpPr>
          <p:sp>
            <p:nvSpPr>
              <p:cNvPr id="462" name="Freeform 88">
                <a:extLst>
                  <a:ext uri="{FF2B5EF4-FFF2-40B4-BE49-F238E27FC236}">
                    <a16:creationId xmlns:a16="http://schemas.microsoft.com/office/drawing/2014/main" id="{D35F5CBC-7C52-438C-A370-5D2B76F7CDAE}"/>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63" name="Freeform 89">
                <a:extLst>
                  <a:ext uri="{FF2B5EF4-FFF2-40B4-BE49-F238E27FC236}">
                    <a16:creationId xmlns:a16="http://schemas.microsoft.com/office/drawing/2014/main" id="{04950796-BC89-42E0-873C-7005826183D1}"/>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64" name="Freeform 90">
                <a:extLst>
                  <a:ext uri="{FF2B5EF4-FFF2-40B4-BE49-F238E27FC236}">
                    <a16:creationId xmlns:a16="http://schemas.microsoft.com/office/drawing/2014/main" id="{56178F3E-B474-432D-A9E1-DFAD3A19BBE2}"/>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65" name="Freeform 91">
                <a:extLst>
                  <a:ext uri="{FF2B5EF4-FFF2-40B4-BE49-F238E27FC236}">
                    <a16:creationId xmlns:a16="http://schemas.microsoft.com/office/drawing/2014/main" id="{2279D3CE-BE4F-4FE1-8D2F-98D09A13B2EF}"/>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66" name="Freeform 92">
                <a:extLst>
                  <a:ext uri="{FF2B5EF4-FFF2-40B4-BE49-F238E27FC236}">
                    <a16:creationId xmlns:a16="http://schemas.microsoft.com/office/drawing/2014/main" id="{34B71AAB-9B9D-4FB3-95E0-592BC494B335}"/>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67" name="Freeform 93">
                <a:extLst>
                  <a:ext uri="{FF2B5EF4-FFF2-40B4-BE49-F238E27FC236}">
                    <a16:creationId xmlns:a16="http://schemas.microsoft.com/office/drawing/2014/main" id="{168CB1C5-AE8D-41F4-B38E-AA598BB4ADE1}"/>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468" name="Groupe 224">
            <a:extLst>
              <a:ext uri="{FF2B5EF4-FFF2-40B4-BE49-F238E27FC236}">
                <a16:creationId xmlns:a16="http://schemas.microsoft.com/office/drawing/2014/main" id="{9C9DB387-E357-4AEF-9308-AA37DA323A3E}"/>
              </a:ext>
            </a:extLst>
          </p:cNvPr>
          <p:cNvGrpSpPr>
            <a:grpSpLocks noChangeAspect="1"/>
          </p:cNvGrpSpPr>
          <p:nvPr/>
        </p:nvGrpSpPr>
        <p:grpSpPr>
          <a:xfrm>
            <a:off x="3171865" y="4631438"/>
            <a:ext cx="450648" cy="426428"/>
            <a:chOff x="5167313" y="1449388"/>
            <a:chExt cx="974725" cy="922337"/>
          </a:xfrm>
        </p:grpSpPr>
        <p:sp>
          <p:nvSpPr>
            <p:cNvPr id="469" name="Freeform 87">
              <a:extLst>
                <a:ext uri="{FF2B5EF4-FFF2-40B4-BE49-F238E27FC236}">
                  <a16:creationId xmlns:a16="http://schemas.microsoft.com/office/drawing/2014/main" id="{0AF60EEC-15E8-48C0-97C1-28304936DFBB}"/>
                </a:ext>
              </a:extLst>
            </p:cNvPr>
            <p:cNvSpPr>
              <a:spLocks/>
            </p:cNvSpPr>
            <p:nvPr/>
          </p:nvSpPr>
          <p:spPr bwMode="auto">
            <a:xfrm>
              <a:off x="5167313" y="1449388"/>
              <a:ext cx="974725" cy="922337"/>
            </a:xfrm>
            <a:custGeom>
              <a:avLst/>
              <a:gdLst>
                <a:gd name="T0" fmla="*/ 41 w 288"/>
                <a:gd name="T1" fmla="*/ 211 h 269"/>
                <a:gd name="T2" fmla="*/ 69 w 288"/>
                <a:gd name="T3" fmla="*/ 40 h 269"/>
                <a:gd name="T4" fmla="*/ 247 w 288"/>
                <a:gd name="T5" fmla="*/ 65 h 269"/>
                <a:gd name="T6" fmla="*/ 215 w 288"/>
                <a:gd name="T7" fmla="*/ 229 h 269"/>
                <a:gd name="T8" fmla="*/ 41 w 288"/>
                <a:gd name="T9" fmla="*/ 211 h 269"/>
              </a:gdLst>
              <a:ahLst/>
              <a:cxnLst>
                <a:cxn ang="0">
                  <a:pos x="T0" y="T1"/>
                </a:cxn>
                <a:cxn ang="0">
                  <a:pos x="T2" y="T3"/>
                </a:cxn>
                <a:cxn ang="0">
                  <a:pos x="T4" y="T5"/>
                </a:cxn>
                <a:cxn ang="0">
                  <a:pos x="T6" y="T7"/>
                </a:cxn>
                <a:cxn ang="0">
                  <a:pos x="T8" y="T9"/>
                </a:cxn>
              </a:cxnLst>
              <a:rect l="0" t="0" r="r" b="b"/>
              <a:pathLst>
                <a:path w="288" h="269">
                  <a:moveTo>
                    <a:pt x="41" y="211"/>
                  </a:moveTo>
                  <a:cubicBezTo>
                    <a:pt x="0" y="157"/>
                    <a:pt x="12" y="80"/>
                    <a:pt x="69" y="40"/>
                  </a:cubicBezTo>
                  <a:cubicBezTo>
                    <a:pt x="126" y="0"/>
                    <a:pt x="206" y="11"/>
                    <a:pt x="247" y="65"/>
                  </a:cubicBezTo>
                  <a:cubicBezTo>
                    <a:pt x="288" y="119"/>
                    <a:pt x="271" y="189"/>
                    <a:pt x="215" y="229"/>
                  </a:cubicBezTo>
                  <a:cubicBezTo>
                    <a:pt x="158" y="269"/>
                    <a:pt x="83" y="265"/>
                    <a:pt x="41"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nvGrpSpPr>
            <p:cNvPr id="470" name="Groupe 226">
              <a:extLst>
                <a:ext uri="{FF2B5EF4-FFF2-40B4-BE49-F238E27FC236}">
                  <a16:creationId xmlns:a16="http://schemas.microsoft.com/office/drawing/2014/main" id="{DFE6E463-C3DB-4AFE-8A49-E523F4301C43}"/>
                </a:ext>
              </a:extLst>
            </p:cNvPr>
            <p:cNvGrpSpPr/>
            <p:nvPr/>
          </p:nvGrpSpPr>
          <p:grpSpPr>
            <a:xfrm>
              <a:off x="5403850" y="1685925"/>
              <a:ext cx="493713" cy="401638"/>
              <a:chOff x="5403850" y="1685925"/>
              <a:chExt cx="493713" cy="401638"/>
            </a:xfrm>
          </p:grpSpPr>
          <p:sp>
            <p:nvSpPr>
              <p:cNvPr id="471" name="Freeform 88">
                <a:extLst>
                  <a:ext uri="{FF2B5EF4-FFF2-40B4-BE49-F238E27FC236}">
                    <a16:creationId xmlns:a16="http://schemas.microsoft.com/office/drawing/2014/main" id="{65F87FF7-1ABA-4903-8D99-4241EFA1E439}"/>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72" name="Freeform 89">
                <a:extLst>
                  <a:ext uri="{FF2B5EF4-FFF2-40B4-BE49-F238E27FC236}">
                    <a16:creationId xmlns:a16="http://schemas.microsoft.com/office/drawing/2014/main" id="{6247FC8F-73A6-48BB-8A44-473E114F665A}"/>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73" name="Freeform 90">
                <a:extLst>
                  <a:ext uri="{FF2B5EF4-FFF2-40B4-BE49-F238E27FC236}">
                    <a16:creationId xmlns:a16="http://schemas.microsoft.com/office/drawing/2014/main" id="{17E47893-C451-406D-9B26-82D0C47304FE}"/>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74" name="Freeform 91">
                <a:extLst>
                  <a:ext uri="{FF2B5EF4-FFF2-40B4-BE49-F238E27FC236}">
                    <a16:creationId xmlns:a16="http://schemas.microsoft.com/office/drawing/2014/main" id="{F2DD66D0-C1AC-4A25-A723-F889C095B6A4}"/>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75" name="Freeform 92">
                <a:extLst>
                  <a:ext uri="{FF2B5EF4-FFF2-40B4-BE49-F238E27FC236}">
                    <a16:creationId xmlns:a16="http://schemas.microsoft.com/office/drawing/2014/main" id="{1536377A-76A2-448B-B6DD-FD89DAB19657}"/>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476" name="Freeform 93">
                <a:extLst>
                  <a:ext uri="{FF2B5EF4-FFF2-40B4-BE49-F238E27FC236}">
                    <a16:creationId xmlns:a16="http://schemas.microsoft.com/office/drawing/2014/main" id="{599EE44C-2EF5-4452-98E1-2169F42A8110}"/>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477" name="Groupe 471">
            <a:extLst>
              <a:ext uri="{FF2B5EF4-FFF2-40B4-BE49-F238E27FC236}">
                <a16:creationId xmlns:a16="http://schemas.microsoft.com/office/drawing/2014/main" id="{52C5374F-0B78-4C44-B428-E07C37E488F6}"/>
              </a:ext>
            </a:extLst>
          </p:cNvPr>
          <p:cNvGrpSpPr/>
          <p:nvPr/>
        </p:nvGrpSpPr>
        <p:grpSpPr>
          <a:xfrm>
            <a:off x="4113111" y="1780445"/>
            <a:ext cx="312313" cy="312313"/>
            <a:chOff x="4904690" y="5123333"/>
            <a:chExt cx="312313" cy="312313"/>
          </a:xfrm>
        </p:grpSpPr>
        <p:sp>
          <p:nvSpPr>
            <p:cNvPr id="478" name="Ellipse 472">
              <a:extLst>
                <a:ext uri="{FF2B5EF4-FFF2-40B4-BE49-F238E27FC236}">
                  <a16:creationId xmlns:a16="http://schemas.microsoft.com/office/drawing/2014/main" id="{64D350E3-F30E-4FFF-9AC8-766D68E65837}"/>
                </a:ext>
              </a:extLst>
            </p:cNvPr>
            <p:cNvSpPr/>
            <p:nvPr/>
          </p:nvSpPr>
          <p:spPr>
            <a:xfrm>
              <a:off x="4904690" y="5123333"/>
              <a:ext cx="312313" cy="312313"/>
            </a:xfrm>
            <a:prstGeom prst="ellipse">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479" name="Groupe 236">
              <a:extLst>
                <a:ext uri="{FF2B5EF4-FFF2-40B4-BE49-F238E27FC236}">
                  <a16:creationId xmlns:a16="http://schemas.microsoft.com/office/drawing/2014/main" id="{8340941F-E2A7-4CB2-AB4B-6021FC87AC91}"/>
                </a:ext>
              </a:extLst>
            </p:cNvPr>
            <p:cNvGrpSpPr/>
            <p:nvPr/>
          </p:nvGrpSpPr>
          <p:grpSpPr>
            <a:xfrm>
              <a:off x="4943355" y="5169927"/>
              <a:ext cx="234982" cy="219126"/>
              <a:chOff x="6621463" y="1658938"/>
              <a:chExt cx="454025" cy="458787"/>
            </a:xfrm>
            <a:solidFill>
              <a:srgbClr val="FFFFFF"/>
            </a:solidFill>
          </p:grpSpPr>
          <p:sp>
            <p:nvSpPr>
              <p:cNvPr id="480" name="Freeform 96">
                <a:extLst>
                  <a:ext uri="{FF2B5EF4-FFF2-40B4-BE49-F238E27FC236}">
                    <a16:creationId xmlns:a16="http://schemas.microsoft.com/office/drawing/2014/main" id="{5A9092AF-C072-45D3-B70E-DB26CF82F3F7}"/>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1" name="Freeform 97">
                <a:extLst>
                  <a:ext uri="{FF2B5EF4-FFF2-40B4-BE49-F238E27FC236}">
                    <a16:creationId xmlns:a16="http://schemas.microsoft.com/office/drawing/2014/main" id="{46B90524-1EA7-4EF3-A02B-862FAB914CAF}"/>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2" name="Freeform 98">
                <a:extLst>
                  <a:ext uri="{FF2B5EF4-FFF2-40B4-BE49-F238E27FC236}">
                    <a16:creationId xmlns:a16="http://schemas.microsoft.com/office/drawing/2014/main" id="{C4C8A783-3361-4B49-ABE1-BAB17A35205E}"/>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3" name="Freeform 99">
                <a:extLst>
                  <a:ext uri="{FF2B5EF4-FFF2-40B4-BE49-F238E27FC236}">
                    <a16:creationId xmlns:a16="http://schemas.microsoft.com/office/drawing/2014/main" id="{C46FBF69-B2B1-4998-8077-FBBE021446BE}"/>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4" name="Freeform 100">
                <a:extLst>
                  <a:ext uri="{FF2B5EF4-FFF2-40B4-BE49-F238E27FC236}">
                    <a16:creationId xmlns:a16="http://schemas.microsoft.com/office/drawing/2014/main" id="{E9789406-8936-4B9C-9186-317C98F46EA3}"/>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5" name="Freeform 101">
                <a:extLst>
                  <a:ext uri="{FF2B5EF4-FFF2-40B4-BE49-F238E27FC236}">
                    <a16:creationId xmlns:a16="http://schemas.microsoft.com/office/drawing/2014/main" id="{D2A3B89F-1175-4E4C-9746-29666FC5442A}"/>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6" name="Freeform 102">
                <a:extLst>
                  <a:ext uri="{FF2B5EF4-FFF2-40B4-BE49-F238E27FC236}">
                    <a16:creationId xmlns:a16="http://schemas.microsoft.com/office/drawing/2014/main" id="{013736C0-AAE6-4466-8138-A550D6F94009}"/>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7" name="Freeform 103">
                <a:extLst>
                  <a:ext uri="{FF2B5EF4-FFF2-40B4-BE49-F238E27FC236}">
                    <a16:creationId xmlns:a16="http://schemas.microsoft.com/office/drawing/2014/main" id="{9D1E9A72-4CF9-48F4-A0CE-185246D41E5C}"/>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8" name="Freeform 104">
                <a:extLst>
                  <a:ext uri="{FF2B5EF4-FFF2-40B4-BE49-F238E27FC236}">
                    <a16:creationId xmlns:a16="http://schemas.microsoft.com/office/drawing/2014/main" id="{B3ECF808-7340-4BEB-AC69-8D73F53FA119}"/>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89" name="Freeform 105">
                <a:extLst>
                  <a:ext uri="{FF2B5EF4-FFF2-40B4-BE49-F238E27FC236}">
                    <a16:creationId xmlns:a16="http://schemas.microsoft.com/office/drawing/2014/main" id="{BB1D9353-E92F-4D98-8FDA-7E1D2CB8F84C}"/>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90" name="Freeform 106">
                <a:extLst>
                  <a:ext uri="{FF2B5EF4-FFF2-40B4-BE49-F238E27FC236}">
                    <a16:creationId xmlns:a16="http://schemas.microsoft.com/office/drawing/2014/main" id="{2130CFF3-1F09-4723-9768-0D5E80FFA486}"/>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91" name="Freeform 107">
                <a:extLst>
                  <a:ext uri="{FF2B5EF4-FFF2-40B4-BE49-F238E27FC236}">
                    <a16:creationId xmlns:a16="http://schemas.microsoft.com/office/drawing/2014/main" id="{BD50A11C-5FAB-4C4A-ACE4-2BB72A2B8794}"/>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92" name="Freeform 108">
                <a:extLst>
                  <a:ext uri="{FF2B5EF4-FFF2-40B4-BE49-F238E27FC236}">
                    <a16:creationId xmlns:a16="http://schemas.microsoft.com/office/drawing/2014/main" id="{A82ABE95-A9BB-4447-97C3-66550F4FF9A9}"/>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93" name="Freeform 109">
                <a:extLst>
                  <a:ext uri="{FF2B5EF4-FFF2-40B4-BE49-F238E27FC236}">
                    <a16:creationId xmlns:a16="http://schemas.microsoft.com/office/drawing/2014/main" id="{0B8CE55F-DCDD-434E-945D-A87D9154F445}"/>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94" name="Freeform 110">
                <a:extLst>
                  <a:ext uri="{FF2B5EF4-FFF2-40B4-BE49-F238E27FC236}">
                    <a16:creationId xmlns:a16="http://schemas.microsoft.com/office/drawing/2014/main" id="{212A24B1-CC5F-4586-A775-1BD4679B6338}"/>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495" name="Freeform 111">
                <a:extLst>
                  <a:ext uri="{FF2B5EF4-FFF2-40B4-BE49-F238E27FC236}">
                    <a16:creationId xmlns:a16="http://schemas.microsoft.com/office/drawing/2014/main" id="{8CE7E532-D8C5-4199-A88F-79FBE35BC3AF}"/>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496" name="Groupe 224">
            <a:extLst>
              <a:ext uri="{FF2B5EF4-FFF2-40B4-BE49-F238E27FC236}">
                <a16:creationId xmlns:a16="http://schemas.microsoft.com/office/drawing/2014/main" id="{386997AC-4BC1-48BB-BFC2-B319419D88EF}"/>
              </a:ext>
            </a:extLst>
          </p:cNvPr>
          <p:cNvGrpSpPr>
            <a:grpSpLocks noChangeAspect="1"/>
          </p:cNvGrpSpPr>
          <p:nvPr/>
        </p:nvGrpSpPr>
        <p:grpSpPr>
          <a:xfrm>
            <a:off x="3886549" y="2049721"/>
            <a:ext cx="450648" cy="426428"/>
            <a:chOff x="5167313" y="1449388"/>
            <a:chExt cx="974725" cy="922337"/>
          </a:xfrm>
        </p:grpSpPr>
        <p:sp>
          <p:nvSpPr>
            <p:cNvPr id="497" name="Freeform 87">
              <a:extLst>
                <a:ext uri="{FF2B5EF4-FFF2-40B4-BE49-F238E27FC236}">
                  <a16:creationId xmlns:a16="http://schemas.microsoft.com/office/drawing/2014/main" id="{6B8A48FC-D024-4DDB-92B8-78CFC7CCB740}"/>
                </a:ext>
              </a:extLst>
            </p:cNvPr>
            <p:cNvSpPr>
              <a:spLocks/>
            </p:cNvSpPr>
            <p:nvPr/>
          </p:nvSpPr>
          <p:spPr bwMode="auto">
            <a:xfrm>
              <a:off x="5167313" y="1449388"/>
              <a:ext cx="974725" cy="922337"/>
            </a:xfrm>
            <a:custGeom>
              <a:avLst/>
              <a:gdLst>
                <a:gd name="T0" fmla="*/ 41 w 288"/>
                <a:gd name="T1" fmla="*/ 211 h 269"/>
                <a:gd name="T2" fmla="*/ 69 w 288"/>
                <a:gd name="T3" fmla="*/ 40 h 269"/>
                <a:gd name="T4" fmla="*/ 247 w 288"/>
                <a:gd name="T5" fmla="*/ 65 h 269"/>
                <a:gd name="T6" fmla="*/ 215 w 288"/>
                <a:gd name="T7" fmla="*/ 229 h 269"/>
                <a:gd name="T8" fmla="*/ 41 w 288"/>
                <a:gd name="T9" fmla="*/ 211 h 269"/>
              </a:gdLst>
              <a:ahLst/>
              <a:cxnLst>
                <a:cxn ang="0">
                  <a:pos x="T0" y="T1"/>
                </a:cxn>
                <a:cxn ang="0">
                  <a:pos x="T2" y="T3"/>
                </a:cxn>
                <a:cxn ang="0">
                  <a:pos x="T4" y="T5"/>
                </a:cxn>
                <a:cxn ang="0">
                  <a:pos x="T6" y="T7"/>
                </a:cxn>
                <a:cxn ang="0">
                  <a:pos x="T8" y="T9"/>
                </a:cxn>
              </a:cxnLst>
              <a:rect l="0" t="0" r="r" b="b"/>
              <a:pathLst>
                <a:path w="288" h="269">
                  <a:moveTo>
                    <a:pt x="41" y="211"/>
                  </a:moveTo>
                  <a:cubicBezTo>
                    <a:pt x="0" y="157"/>
                    <a:pt x="12" y="80"/>
                    <a:pt x="69" y="40"/>
                  </a:cubicBezTo>
                  <a:cubicBezTo>
                    <a:pt x="126" y="0"/>
                    <a:pt x="206" y="11"/>
                    <a:pt x="247" y="65"/>
                  </a:cubicBezTo>
                  <a:cubicBezTo>
                    <a:pt x="288" y="119"/>
                    <a:pt x="271" y="189"/>
                    <a:pt x="215" y="229"/>
                  </a:cubicBezTo>
                  <a:cubicBezTo>
                    <a:pt x="158" y="269"/>
                    <a:pt x="83" y="265"/>
                    <a:pt x="41"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nvGrpSpPr>
            <p:cNvPr id="498" name="Groupe 226">
              <a:extLst>
                <a:ext uri="{FF2B5EF4-FFF2-40B4-BE49-F238E27FC236}">
                  <a16:creationId xmlns:a16="http://schemas.microsoft.com/office/drawing/2014/main" id="{AE0E213D-28CA-4A16-AB46-ECACAAC828EF}"/>
                </a:ext>
              </a:extLst>
            </p:cNvPr>
            <p:cNvGrpSpPr/>
            <p:nvPr/>
          </p:nvGrpSpPr>
          <p:grpSpPr>
            <a:xfrm>
              <a:off x="5403850" y="1685925"/>
              <a:ext cx="493713" cy="401638"/>
              <a:chOff x="5403850" y="1685925"/>
              <a:chExt cx="493713" cy="401638"/>
            </a:xfrm>
          </p:grpSpPr>
          <p:sp>
            <p:nvSpPr>
              <p:cNvPr id="499" name="Freeform 88">
                <a:extLst>
                  <a:ext uri="{FF2B5EF4-FFF2-40B4-BE49-F238E27FC236}">
                    <a16:creationId xmlns:a16="http://schemas.microsoft.com/office/drawing/2014/main" id="{9FD05D7A-0025-4C55-8CEC-0DBB78597E64}"/>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00" name="Freeform 89">
                <a:extLst>
                  <a:ext uri="{FF2B5EF4-FFF2-40B4-BE49-F238E27FC236}">
                    <a16:creationId xmlns:a16="http://schemas.microsoft.com/office/drawing/2014/main" id="{0D67C289-73C4-4E4D-9C9A-4AF625371275}"/>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01" name="Freeform 90">
                <a:extLst>
                  <a:ext uri="{FF2B5EF4-FFF2-40B4-BE49-F238E27FC236}">
                    <a16:creationId xmlns:a16="http://schemas.microsoft.com/office/drawing/2014/main" id="{988E17D7-FC4D-4497-985A-219232D8813D}"/>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02" name="Freeform 91">
                <a:extLst>
                  <a:ext uri="{FF2B5EF4-FFF2-40B4-BE49-F238E27FC236}">
                    <a16:creationId xmlns:a16="http://schemas.microsoft.com/office/drawing/2014/main" id="{A2B2D20B-9DAE-40A0-8C79-A4CBEA69D363}"/>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03" name="Freeform 92">
                <a:extLst>
                  <a:ext uri="{FF2B5EF4-FFF2-40B4-BE49-F238E27FC236}">
                    <a16:creationId xmlns:a16="http://schemas.microsoft.com/office/drawing/2014/main" id="{272BC165-0A41-4771-B063-C07B23FE5429}"/>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04" name="Freeform 93">
                <a:extLst>
                  <a:ext uri="{FF2B5EF4-FFF2-40B4-BE49-F238E27FC236}">
                    <a16:creationId xmlns:a16="http://schemas.microsoft.com/office/drawing/2014/main" id="{2A718F89-8609-4036-8776-50B059D42D85}"/>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505" name="Groupe 224">
            <a:extLst>
              <a:ext uri="{FF2B5EF4-FFF2-40B4-BE49-F238E27FC236}">
                <a16:creationId xmlns:a16="http://schemas.microsoft.com/office/drawing/2014/main" id="{FF76CD5B-9BD5-4B84-AC87-BC25D77E8E8E}"/>
              </a:ext>
            </a:extLst>
          </p:cNvPr>
          <p:cNvGrpSpPr>
            <a:grpSpLocks noChangeAspect="1"/>
          </p:cNvGrpSpPr>
          <p:nvPr/>
        </p:nvGrpSpPr>
        <p:grpSpPr>
          <a:xfrm>
            <a:off x="3292345" y="2015800"/>
            <a:ext cx="450648" cy="426428"/>
            <a:chOff x="5167313" y="1449388"/>
            <a:chExt cx="974725" cy="922337"/>
          </a:xfrm>
        </p:grpSpPr>
        <p:sp>
          <p:nvSpPr>
            <p:cNvPr id="506" name="Freeform 87">
              <a:extLst>
                <a:ext uri="{FF2B5EF4-FFF2-40B4-BE49-F238E27FC236}">
                  <a16:creationId xmlns:a16="http://schemas.microsoft.com/office/drawing/2014/main" id="{A4C439B7-64F0-44DE-86DC-F0198803679E}"/>
                </a:ext>
              </a:extLst>
            </p:cNvPr>
            <p:cNvSpPr>
              <a:spLocks/>
            </p:cNvSpPr>
            <p:nvPr/>
          </p:nvSpPr>
          <p:spPr bwMode="auto">
            <a:xfrm>
              <a:off x="5167313" y="1449388"/>
              <a:ext cx="974725" cy="922337"/>
            </a:xfrm>
            <a:custGeom>
              <a:avLst/>
              <a:gdLst>
                <a:gd name="T0" fmla="*/ 41 w 288"/>
                <a:gd name="T1" fmla="*/ 211 h 269"/>
                <a:gd name="T2" fmla="*/ 69 w 288"/>
                <a:gd name="T3" fmla="*/ 40 h 269"/>
                <a:gd name="T4" fmla="*/ 247 w 288"/>
                <a:gd name="T5" fmla="*/ 65 h 269"/>
                <a:gd name="T6" fmla="*/ 215 w 288"/>
                <a:gd name="T7" fmla="*/ 229 h 269"/>
                <a:gd name="T8" fmla="*/ 41 w 288"/>
                <a:gd name="T9" fmla="*/ 211 h 269"/>
              </a:gdLst>
              <a:ahLst/>
              <a:cxnLst>
                <a:cxn ang="0">
                  <a:pos x="T0" y="T1"/>
                </a:cxn>
                <a:cxn ang="0">
                  <a:pos x="T2" y="T3"/>
                </a:cxn>
                <a:cxn ang="0">
                  <a:pos x="T4" y="T5"/>
                </a:cxn>
                <a:cxn ang="0">
                  <a:pos x="T6" y="T7"/>
                </a:cxn>
                <a:cxn ang="0">
                  <a:pos x="T8" y="T9"/>
                </a:cxn>
              </a:cxnLst>
              <a:rect l="0" t="0" r="r" b="b"/>
              <a:pathLst>
                <a:path w="288" h="269">
                  <a:moveTo>
                    <a:pt x="41" y="211"/>
                  </a:moveTo>
                  <a:cubicBezTo>
                    <a:pt x="0" y="157"/>
                    <a:pt x="12" y="80"/>
                    <a:pt x="69" y="40"/>
                  </a:cubicBezTo>
                  <a:cubicBezTo>
                    <a:pt x="126" y="0"/>
                    <a:pt x="206" y="11"/>
                    <a:pt x="247" y="65"/>
                  </a:cubicBezTo>
                  <a:cubicBezTo>
                    <a:pt x="288" y="119"/>
                    <a:pt x="271" y="189"/>
                    <a:pt x="215" y="229"/>
                  </a:cubicBezTo>
                  <a:cubicBezTo>
                    <a:pt x="158" y="269"/>
                    <a:pt x="83" y="265"/>
                    <a:pt x="41"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nvGrpSpPr>
            <p:cNvPr id="507" name="Groupe 226">
              <a:extLst>
                <a:ext uri="{FF2B5EF4-FFF2-40B4-BE49-F238E27FC236}">
                  <a16:creationId xmlns:a16="http://schemas.microsoft.com/office/drawing/2014/main" id="{60D6A7D2-78CA-4166-BE73-A7E13A66252F}"/>
                </a:ext>
              </a:extLst>
            </p:cNvPr>
            <p:cNvGrpSpPr/>
            <p:nvPr/>
          </p:nvGrpSpPr>
          <p:grpSpPr>
            <a:xfrm>
              <a:off x="5403850" y="1685925"/>
              <a:ext cx="493713" cy="401638"/>
              <a:chOff x="5403850" y="1685925"/>
              <a:chExt cx="493713" cy="401638"/>
            </a:xfrm>
          </p:grpSpPr>
          <p:sp>
            <p:nvSpPr>
              <p:cNvPr id="508" name="Freeform 88">
                <a:extLst>
                  <a:ext uri="{FF2B5EF4-FFF2-40B4-BE49-F238E27FC236}">
                    <a16:creationId xmlns:a16="http://schemas.microsoft.com/office/drawing/2014/main" id="{EC4C24CF-9C4F-41A5-BFFD-569E15068CBB}"/>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09" name="Freeform 89">
                <a:extLst>
                  <a:ext uri="{FF2B5EF4-FFF2-40B4-BE49-F238E27FC236}">
                    <a16:creationId xmlns:a16="http://schemas.microsoft.com/office/drawing/2014/main" id="{FF6E6C70-10FC-466D-8482-0BB4458AEB1E}"/>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10" name="Freeform 90">
                <a:extLst>
                  <a:ext uri="{FF2B5EF4-FFF2-40B4-BE49-F238E27FC236}">
                    <a16:creationId xmlns:a16="http://schemas.microsoft.com/office/drawing/2014/main" id="{093661E4-E7C6-48B8-A7FE-8080BB3E5542}"/>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11" name="Freeform 91">
                <a:extLst>
                  <a:ext uri="{FF2B5EF4-FFF2-40B4-BE49-F238E27FC236}">
                    <a16:creationId xmlns:a16="http://schemas.microsoft.com/office/drawing/2014/main" id="{0948D525-5041-4303-8BE1-1336EC0EACB0}"/>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12" name="Freeform 92">
                <a:extLst>
                  <a:ext uri="{FF2B5EF4-FFF2-40B4-BE49-F238E27FC236}">
                    <a16:creationId xmlns:a16="http://schemas.microsoft.com/office/drawing/2014/main" id="{70AEAEB3-8D18-471B-B26B-1E8E1FB4D051}"/>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sp>
            <p:nvSpPr>
              <p:cNvPr id="513" name="Freeform 93">
                <a:extLst>
                  <a:ext uri="{FF2B5EF4-FFF2-40B4-BE49-F238E27FC236}">
                    <a16:creationId xmlns:a16="http://schemas.microsoft.com/office/drawing/2014/main" id="{E7454C2B-E37B-490A-A41A-CFF14A29C0EA}"/>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514" name="Groupe 526">
            <a:extLst>
              <a:ext uri="{FF2B5EF4-FFF2-40B4-BE49-F238E27FC236}">
                <a16:creationId xmlns:a16="http://schemas.microsoft.com/office/drawing/2014/main" id="{AA2905B9-8AC4-4E17-8F61-FC6630C061A6}"/>
              </a:ext>
            </a:extLst>
          </p:cNvPr>
          <p:cNvGrpSpPr/>
          <p:nvPr/>
        </p:nvGrpSpPr>
        <p:grpSpPr>
          <a:xfrm>
            <a:off x="3603061" y="1781068"/>
            <a:ext cx="312313" cy="312313"/>
            <a:chOff x="5485715" y="5123333"/>
            <a:chExt cx="312313" cy="312313"/>
          </a:xfrm>
        </p:grpSpPr>
        <p:sp>
          <p:nvSpPr>
            <p:cNvPr id="515" name="Ellipse 527">
              <a:extLst>
                <a:ext uri="{FF2B5EF4-FFF2-40B4-BE49-F238E27FC236}">
                  <a16:creationId xmlns:a16="http://schemas.microsoft.com/office/drawing/2014/main" id="{898E639E-3139-485A-BE8C-FDD7C8122C65}"/>
                </a:ext>
              </a:extLst>
            </p:cNvPr>
            <p:cNvSpPr/>
            <p:nvPr/>
          </p:nvSpPr>
          <p:spPr>
            <a:xfrm>
              <a:off x="5485715" y="5123333"/>
              <a:ext cx="312313" cy="312313"/>
            </a:xfrm>
            <a:prstGeom prst="ellipse">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516" name="Groupe 236">
              <a:extLst>
                <a:ext uri="{FF2B5EF4-FFF2-40B4-BE49-F238E27FC236}">
                  <a16:creationId xmlns:a16="http://schemas.microsoft.com/office/drawing/2014/main" id="{E6D0F6D3-D1B4-4C35-BCD7-9D6A7E481E8F}"/>
                </a:ext>
              </a:extLst>
            </p:cNvPr>
            <p:cNvGrpSpPr/>
            <p:nvPr/>
          </p:nvGrpSpPr>
          <p:grpSpPr>
            <a:xfrm>
              <a:off x="5524380" y="5169927"/>
              <a:ext cx="234982" cy="219126"/>
              <a:chOff x="6621463" y="1658938"/>
              <a:chExt cx="454025" cy="458787"/>
            </a:xfrm>
            <a:solidFill>
              <a:srgbClr val="FFFFFF"/>
            </a:solidFill>
          </p:grpSpPr>
          <p:sp>
            <p:nvSpPr>
              <p:cNvPr id="517" name="Freeform 96">
                <a:extLst>
                  <a:ext uri="{FF2B5EF4-FFF2-40B4-BE49-F238E27FC236}">
                    <a16:creationId xmlns:a16="http://schemas.microsoft.com/office/drawing/2014/main" id="{C4022F95-45C8-4136-B098-0099FEA0261A}"/>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18" name="Freeform 97">
                <a:extLst>
                  <a:ext uri="{FF2B5EF4-FFF2-40B4-BE49-F238E27FC236}">
                    <a16:creationId xmlns:a16="http://schemas.microsoft.com/office/drawing/2014/main" id="{CBC447A4-5900-4D08-A5C5-11C6497AB02B}"/>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19" name="Freeform 98">
                <a:extLst>
                  <a:ext uri="{FF2B5EF4-FFF2-40B4-BE49-F238E27FC236}">
                    <a16:creationId xmlns:a16="http://schemas.microsoft.com/office/drawing/2014/main" id="{8DEB1069-EE53-4D64-B004-D2E8AC547DD8}"/>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0" name="Freeform 99">
                <a:extLst>
                  <a:ext uri="{FF2B5EF4-FFF2-40B4-BE49-F238E27FC236}">
                    <a16:creationId xmlns:a16="http://schemas.microsoft.com/office/drawing/2014/main" id="{BF3257E7-A96A-4FB7-AB67-3E237A615D86}"/>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1" name="Freeform 100">
                <a:extLst>
                  <a:ext uri="{FF2B5EF4-FFF2-40B4-BE49-F238E27FC236}">
                    <a16:creationId xmlns:a16="http://schemas.microsoft.com/office/drawing/2014/main" id="{884F8938-4767-4C08-BC1D-524D32BFE64D}"/>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2" name="Freeform 101">
                <a:extLst>
                  <a:ext uri="{FF2B5EF4-FFF2-40B4-BE49-F238E27FC236}">
                    <a16:creationId xmlns:a16="http://schemas.microsoft.com/office/drawing/2014/main" id="{251E87A2-7A8A-4F43-BAB9-F012ABC54EDD}"/>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3" name="Freeform 102">
                <a:extLst>
                  <a:ext uri="{FF2B5EF4-FFF2-40B4-BE49-F238E27FC236}">
                    <a16:creationId xmlns:a16="http://schemas.microsoft.com/office/drawing/2014/main" id="{B8379B78-7670-4ACC-8538-D318187CC4CB}"/>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4" name="Freeform 103">
                <a:extLst>
                  <a:ext uri="{FF2B5EF4-FFF2-40B4-BE49-F238E27FC236}">
                    <a16:creationId xmlns:a16="http://schemas.microsoft.com/office/drawing/2014/main" id="{5063344E-2B3B-42E0-B206-01D87985E00E}"/>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5" name="Freeform 104">
                <a:extLst>
                  <a:ext uri="{FF2B5EF4-FFF2-40B4-BE49-F238E27FC236}">
                    <a16:creationId xmlns:a16="http://schemas.microsoft.com/office/drawing/2014/main" id="{01BBD840-43D8-4078-B34D-EC0AB9498129}"/>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6" name="Freeform 105">
                <a:extLst>
                  <a:ext uri="{FF2B5EF4-FFF2-40B4-BE49-F238E27FC236}">
                    <a16:creationId xmlns:a16="http://schemas.microsoft.com/office/drawing/2014/main" id="{02FFD2BF-FD15-4CE8-9CD2-2BFBFF08E5EC}"/>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7" name="Freeform 106">
                <a:extLst>
                  <a:ext uri="{FF2B5EF4-FFF2-40B4-BE49-F238E27FC236}">
                    <a16:creationId xmlns:a16="http://schemas.microsoft.com/office/drawing/2014/main" id="{01094328-09DE-4C8E-BDD1-815861FCDCC1}"/>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8" name="Freeform 107">
                <a:extLst>
                  <a:ext uri="{FF2B5EF4-FFF2-40B4-BE49-F238E27FC236}">
                    <a16:creationId xmlns:a16="http://schemas.microsoft.com/office/drawing/2014/main" id="{843EA732-F9F3-4F5C-9DAF-E627528E7618}"/>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29" name="Freeform 108">
                <a:extLst>
                  <a:ext uri="{FF2B5EF4-FFF2-40B4-BE49-F238E27FC236}">
                    <a16:creationId xmlns:a16="http://schemas.microsoft.com/office/drawing/2014/main" id="{45FBCE78-732A-4CB1-A37E-EEF5E4533437}"/>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30" name="Freeform 109">
                <a:extLst>
                  <a:ext uri="{FF2B5EF4-FFF2-40B4-BE49-F238E27FC236}">
                    <a16:creationId xmlns:a16="http://schemas.microsoft.com/office/drawing/2014/main" id="{722BA03A-9C2C-48E0-A5B3-A826141CE6A0}"/>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31" name="Freeform 110">
                <a:extLst>
                  <a:ext uri="{FF2B5EF4-FFF2-40B4-BE49-F238E27FC236}">
                    <a16:creationId xmlns:a16="http://schemas.microsoft.com/office/drawing/2014/main" id="{15013E2B-AD0A-4704-AFF9-37CA28370067}"/>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32" name="Freeform 111">
                <a:extLst>
                  <a:ext uri="{FF2B5EF4-FFF2-40B4-BE49-F238E27FC236}">
                    <a16:creationId xmlns:a16="http://schemas.microsoft.com/office/drawing/2014/main" id="{1A15FBED-B23C-4EA3-8E6B-56A02877BE08}"/>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533" name="Groupe 625">
            <a:extLst>
              <a:ext uri="{FF2B5EF4-FFF2-40B4-BE49-F238E27FC236}">
                <a16:creationId xmlns:a16="http://schemas.microsoft.com/office/drawing/2014/main" id="{21C920B8-905B-4EB3-9E70-B4FD1120082B}"/>
              </a:ext>
            </a:extLst>
          </p:cNvPr>
          <p:cNvGrpSpPr>
            <a:grpSpLocks noChangeAspect="1"/>
          </p:cNvGrpSpPr>
          <p:nvPr/>
        </p:nvGrpSpPr>
        <p:grpSpPr>
          <a:xfrm>
            <a:off x="7607732" y="2964703"/>
            <a:ext cx="772959" cy="720000"/>
            <a:chOff x="1738313" y="3314700"/>
            <a:chExt cx="973137" cy="906463"/>
          </a:xfrm>
        </p:grpSpPr>
        <p:sp>
          <p:nvSpPr>
            <p:cNvPr id="534" name="Freeform 229">
              <a:extLst>
                <a:ext uri="{FF2B5EF4-FFF2-40B4-BE49-F238E27FC236}">
                  <a16:creationId xmlns:a16="http://schemas.microsoft.com/office/drawing/2014/main" id="{626F552B-2CFD-48DE-82E8-A4C84AA91795}"/>
                </a:ext>
              </a:extLst>
            </p:cNvPr>
            <p:cNvSpPr>
              <a:spLocks/>
            </p:cNvSpPr>
            <p:nvPr/>
          </p:nvSpPr>
          <p:spPr bwMode="auto">
            <a:xfrm>
              <a:off x="1738313" y="3314700"/>
              <a:ext cx="973137" cy="906463"/>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nvGrpSpPr>
            <p:cNvPr id="535" name="Groupe 627">
              <a:extLst>
                <a:ext uri="{FF2B5EF4-FFF2-40B4-BE49-F238E27FC236}">
                  <a16:creationId xmlns:a16="http://schemas.microsoft.com/office/drawing/2014/main" id="{0064FC79-C6E9-49CF-A285-0AA0B34596B8}"/>
                </a:ext>
              </a:extLst>
            </p:cNvPr>
            <p:cNvGrpSpPr/>
            <p:nvPr/>
          </p:nvGrpSpPr>
          <p:grpSpPr>
            <a:xfrm>
              <a:off x="1960563" y="3559175"/>
              <a:ext cx="533400" cy="420688"/>
              <a:chOff x="1960563" y="3559175"/>
              <a:chExt cx="533400" cy="420688"/>
            </a:xfrm>
          </p:grpSpPr>
          <p:sp>
            <p:nvSpPr>
              <p:cNvPr id="536" name="Freeform 230">
                <a:extLst>
                  <a:ext uri="{FF2B5EF4-FFF2-40B4-BE49-F238E27FC236}">
                    <a16:creationId xmlns:a16="http://schemas.microsoft.com/office/drawing/2014/main" id="{420180E0-A879-48A9-BF80-42C6F6E5DD54}"/>
                  </a:ext>
                </a:extLst>
              </p:cNvPr>
              <p:cNvSpPr>
                <a:spLocks/>
              </p:cNvSpPr>
              <p:nvPr/>
            </p:nvSpPr>
            <p:spPr bwMode="auto">
              <a:xfrm>
                <a:off x="1960563" y="3559175"/>
                <a:ext cx="533400" cy="420688"/>
              </a:xfrm>
              <a:custGeom>
                <a:avLst/>
                <a:gdLst>
                  <a:gd name="T0" fmla="*/ 141 w 142"/>
                  <a:gd name="T1" fmla="*/ 98 h 112"/>
                  <a:gd name="T2" fmla="*/ 136 w 142"/>
                  <a:gd name="T3" fmla="*/ 81 h 112"/>
                  <a:gd name="T4" fmla="*/ 136 w 142"/>
                  <a:gd name="T5" fmla="*/ 5 h 112"/>
                  <a:gd name="T6" fmla="*/ 138 w 142"/>
                  <a:gd name="T7" fmla="*/ 5 h 112"/>
                  <a:gd name="T8" fmla="*/ 133 w 142"/>
                  <a:gd name="T9" fmla="*/ 0 h 112"/>
                  <a:gd name="T10" fmla="*/ 117 w 142"/>
                  <a:gd name="T11" fmla="*/ 0 h 112"/>
                  <a:gd name="T12" fmla="*/ 113 w 142"/>
                  <a:gd name="T13" fmla="*/ 5 h 112"/>
                  <a:gd name="T14" fmla="*/ 114 w 142"/>
                  <a:gd name="T15" fmla="*/ 5 h 112"/>
                  <a:gd name="T16" fmla="*/ 114 w 142"/>
                  <a:gd name="T17" fmla="*/ 15 h 112"/>
                  <a:gd name="T18" fmla="*/ 114 w 142"/>
                  <a:gd name="T19" fmla="*/ 16 h 112"/>
                  <a:gd name="T20" fmla="*/ 114 w 142"/>
                  <a:gd name="T21" fmla="*/ 38 h 112"/>
                  <a:gd name="T22" fmla="*/ 113 w 142"/>
                  <a:gd name="T23" fmla="*/ 38 h 112"/>
                  <a:gd name="T24" fmla="*/ 79 w 142"/>
                  <a:gd name="T25" fmla="*/ 16 h 112"/>
                  <a:gd name="T26" fmla="*/ 77 w 142"/>
                  <a:gd name="T27" fmla="*/ 16 h 112"/>
                  <a:gd name="T28" fmla="*/ 77 w 142"/>
                  <a:gd name="T29" fmla="*/ 38 h 112"/>
                  <a:gd name="T30" fmla="*/ 76 w 142"/>
                  <a:gd name="T31" fmla="*/ 38 h 112"/>
                  <a:gd name="T32" fmla="*/ 42 w 142"/>
                  <a:gd name="T33" fmla="*/ 16 h 112"/>
                  <a:gd name="T34" fmla="*/ 41 w 142"/>
                  <a:gd name="T35" fmla="*/ 16 h 112"/>
                  <a:gd name="T36" fmla="*/ 41 w 142"/>
                  <a:gd name="T37" fmla="*/ 38 h 112"/>
                  <a:gd name="T38" fmla="*/ 39 w 142"/>
                  <a:gd name="T39" fmla="*/ 38 h 112"/>
                  <a:gd name="T40" fmla="*/ 5 w 142"/>
                  <a:gd name="T41" fmla="*/ 16 h 112"/>
                  <a:gd name="T42" fmla="*/ 4 w 142"/>
                  <a:gd name="T43" fmla="*/ 16 h 112"/>
                  <a:gd name="T44" fmla="*/ 4 w 142"/>
                  <a:gd name="T45" fmla="*/ 104 h 112"/>
                  <a:gd name="T46" fmla="*/ 0 w 142"/>
                  <a:gd name="T47" fmla="*/ 108 h 112"/>
                  <a:gd name="T48" fmla="*/ 0 w 142"/>
                  <a:gd name="T49" fmla="*/ 109 h 112"/>
                  <a:gd name="T50" fmla="*/ 0 w 142"/>
                  <a:gd name="T51" fmla="*/ 112 h 112"/>
                  <a:gd name="T52" fmla="*/ 84 w 142"/>
                  <a:gd name="T53" fmla="*/ 112 h 112"/>
                  <a:gd name="T54" fmla="*/ 88 w 142"/>
                  <a:gd name="T55" fmla="*/ 112 h 112"/>
                  <a:gd name="T56" fmla="*/ 91 w 142"/>
                  <a:gd name="T57" fmla="*/ 112 h 112"/>
                  <a:gd name="T58" fmla="*/ 94 w 142"/>
                  <a:gd name="T59" fmla="*/ 112 h 112"/>
                  <a:gd name="T60" fmla="*/ 94 w 142"/>
                  <a:gd name="T61" fmla="*/ 112 h 112"/>
                  <a:gd name="T62" fmla="*/ 102 w 142"/>
                  <a:gd name="T63" fmla="*/ 112 h 112"/>
                  <a:gd name="T64" fmla="*/ 103 w 142"/>
                  <a:gd name="T65" fmla="*/ 112 h 112"/>
                  <a:gd name="T66" fmla="*/ 106 w 142"/>
                  <a:gd name="T67" fmla="*/ 111 h 112"/>
                  <a:gd name="T68" fmla="*/ 116 w 142"/>
                  <a:gd name="T69" fmla="*/ 111 h 112"/>
                  <a:gd name="T70" fmla="*/ 123 w 142"/>
                  <a:gd name="T71" fmla="*/ 111 h 112"/>
                  <a:gd name="T72" fmla="*/ 124 w 142"/>
                  <a:gd name="T73" fmla="*/ 111 h 112"/>
                  <a:gd name="T74" fmla="*/ 132 w 142"/>
                  <a:gd name="T75" fmla="*/ 111 h 112"/>
                  <a:gd name="T76" fmla="*/ 140 w 142"/>
                  <a:gd name="T77" fmla="*/ 112 h 112"/>
                  <a:gd name="T78" fmla="*/ 140 w 142"/>
                  <a:gd name="T79" fmla="*/ 112 h 112"/>
                  <a:gd name="T80" fmla="*/ 141 w 142"/>
                  <a:gd name="T81" fmla="*/ 112 h 112"/>
                  <a:gd name="T82" fmla="*/ 141 w 142"/>
                  <a:gd name="T83"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112">
                    <a:moveTo>
                      <a:pt x="141" y="98"/>
                    </a:moveTo>
                    <a:cubicBezTo>
                      <a:pt x="140" y="92"/>
                      <a:pt x="139" y="86"/>
                      <a:pt x="136" y="81"/>
                    </a:cubicBezTo>
                    <a:cubicBezTo>
                      <a:pt x="136" y="5"/>
                      <a:pt x="136" y="5"/>
                      <a:pt x="136" y="5"/>
                    </a:cubicBezTo>
                    <a:cubicBezTo>
                      <a:pt x="138" y="5"/>
                      <a:pt x="138" y="5"/>
                      <a:pt x="138" y="5"/>
                    </a:cubicBezTo>
                    <a:cubicBezTo>
                      <a:pt x="138" y="2"/>
                      <a:pt x="136" y="0"/>
                      <a:pt x="133" y="0"/>
                    </a:cubicBezTo>
                    <a:cubicBezTo>
                      <a:pt x="117" y="0"/>
                      <a:pt x="117" y="0"/>
                      <a:pt x="117" y="0"/>
                    </a:cubicBezTo>
                    <a:cubicBezTo>
                      <a:pt x="115" y="0"/>
                      <a:pt x="113" y="2"/>
                      <a:pt x="113" y="5"/>
                    </a:cubicBezTo>
                    <a:cubicBezTo>
                      <a:pt x="114" y="5"/>
                      <a:pt x="114" y="5"/>
                      <a:pt x="114" y="5"/>
                    </a:cubicBezTo>
                    <a:cubicBezTo>
                      <a:pt x="114" y="15"/>
                      <a:pt x="114" y="15"/>
                      <a:pt x="114" y="15"/>
                    </a:cubicBezTo>
                    <a:cubicBezTo>
                      <a:pt x="114" y="16"/>
                      <a:pt x="114" y="16"/>
                      <a:pt x="114" y="16"/>
                    </a:cubicBezTo>
                    <a:cubicBezTo>
                      <a:pt x="114" y="38"/>
                      <a:pt x="114" y="38"/>
                      <a:pt x="114" y="38"/>
                    </a:cubicBezTo>
                    <a:cubicBezTo>
                      <a:pt x="114" y="38"/>
                      <a:pt x="114" y="39"/>
                      <a:pt x="113" y="38"/>
                    </a:cubicBezTo>
                    <a:cubicBezTo>
                      <a:pt x="79" y="16"/>
                      <a:pt x="79" y="16"/>
                      <a:pt x="79" y="16"/>
                    </a:cubicBezTo>
                    <a:cubicBezTo>
                      <a:pt x="78" y="15"/>
                      <a:pt x="77" y="16"/>
                      <a:pt x="77" y="16"/>
                    </a:cubicBezTo>
                    <a:cubicBezTo>
                      <a:pt x="77" y="38"/>
                      <a:pt x="77" y="38"/>
                      <a:pt x="77" y="38"/>
                    </a:cubicBezTo>
                    <a:cubicBezTo>
                      <a:pt x="77" y="38"/>
                      <a:pt x="77" y="39"/>
                      <a:pt x="76" y="38"/>
                    </a:cubicBezTo>
                    <a:cubicBezTo>
                      <a:pt x="42" y="16"/>
                      <a:pt x="42" y="16"/>
                      <a:pt x="42" y="16"/>
                    </a:cubicBezTo>
                    <a:cubicBezTo>
                      <a:pt x="41" y="15"/>
                      <a:pt x="41" y="16"/>
                      <a:pt x="41" y="16"/>
                    </a:cubicBezTo>
                    <a:cubicBezTo>
                      <a:pt x="41" y="38"/>
                      <a:pt x="41" y="38"/>
                      <a:pt x="41" y="38"/>
                    </a:cubicBezTo>
                    <a:cubicBezTo>
                      <a:pt x="41" y="38"/>
                      <a:pt x="40" y="39"/>
                      <a:pt x="39" y="38"/>
                    </a:cubicBezTo>
                    <a:cubicBezTo>
                      <a:pt x="5" y="16"/>
                      <a:pt x="5" y="16"/>
                      <a:pt x="5" y="16"/>
                    </a:cubicBezTo>
                    <a:cubicBezTo>
                      <a:pt x="4" y="15"/>
                      <a:pt x="4" y="16"/>
                      <a:pt x="4" y="16"/>
                    </a:cubicBezTo>
                    <a:cubicBezTo>
                      <a:pt x="4" y="104"/>
                      <a:pt x="4" y="104"/>
                      <a:pt x="4" y="104"/>
                    </a:cubicBezTo>
                    <a:cubicBezTo>
                      <a:pt x="0" y="108"/>
                      <a:pt x="0" y="108"/>
                      <a:pt x="0" y="108"/>
                    </a:cubicBezTo>
                    <a:cubicBezTo>
                      <a:pt x="0" y="108"/>
                      <a:pt x="0" y="109"/>
                      <a:pt x="0" y="109"/>
                    </a:cubicBezTo>
                    <a:cubicBezTo>
                      <a:pt x="0" y="112"/>
                      <a:pt x="0" y="112"/>
                      <a:pt x="0" y="112"/>
                    </a:cubicBezTo>
                    <a:cubicBezTo>
                      <a:pt x="84" y="112"/>
                      <a:pt x="84" y="112"/>
                      <a:pt x="84" y="112"/>
                    </a:cubicBezTo>
                    <a:cubicBezTo>
                      <a:pt x="88" y="112"/>
                      <a:pt x="88" y="112"/>
                      <a:pt x="88" y="112"/>
                    </a:cubicBezTo>
                    <a:cubicBezTo>
                      <a:pt x="89" y="112"/>
                      <a:pt x="90" y="112"/>
                      <a:pt x="91" y="112"/>
                    </a:cubicBezTo>
                    <a:cubicBezTo>
                      <a:pt x="94" y="112"/>
                      <a:pt x="94" y="112"/>
                      <a:pt x="94" y="112"/>
                    </a:cubicBezTo>
                    <a:cubicBezTo>
                      <a:pt x="94" y="112"/>
                      <a:pt x="94" y="112"/>
                      <a:pt x="94" y="112"/>
                    </a:cubicBezTo>
                    <a:cubicBezTo>
                      <a:pt x="97" y="112"/>
                      <a:pt x="99" y="112"/>
                      <a:pt x="102" y="112"/>
                    </a:cubicBezTo>
                    <a:cubicBezTo>
                      <a:pt x="103" y="112"/>
                      <a:pt x="103" y="112"/>
                      <a:pt x="103" y="112"/>
                    </a:cubicBezTo>
                    <a:cubicBezTo>
                      <a:pt x="105" y="111"/>
                      <a:pt x="106" y="111"/>
                      <a:pt x="106" y="111"/>
                    </a:cubicBezTo>
                    <a:cubicBezTo>
                      <a:pt x="116" y="111"/>
                      <a:pt x="116" y="111"/>
                      <a:pt x="116" y="111"/>
                    </a:cubicBezTo>
                    <a:cubicBezTo>
                      <a:pt x="123" y="111"/>
                      <a:pt x="123" y="111"/>
                      <a:pt x="123" y="111"/>
                    </a:cubicBezTo>
                    <a:cubicBezTo>
                      <a:pt x="123" y="111"/>
                      <a:pt x="124" y="111"/>
                      <a:pt x="124" y="111"/>
                    </a:cubicBezTo>
                    <a:cubicBezTo>
                      <a:pt x="132" y="111"/>
                      <a:pt x="132" y="111"/>
                      <a:pt x="132" y="111"/>
                    </a:cubicBezTo>
                    <a:cubicBezTo>
                      <a:pt x="140" y="112"/>
                      <a:pt x="140" y="112"/>
                      <a:pt x="140" y="112"/>
                    </a:cubicBezTo>
                    <a:cubicBezTo>
                      <a:pt x="140" y="112"/>
                      <a:pt x="140" y="112"/>
                      <a:pt x="140" y="112"/>
                    </a:cubicBezTo>
                    <a:cubicBezTo>
                      <a:pt x="141" y="112"/>
                      <a:pt x="141" y="112"/>
                      <a:pt x="141" y="112"/>
                    </a:cubicBezTo>
                    <a:cubicBezTo>
                      <a:pt x="142" y="107"/>
                      <a:pt x="142" y="103"/>
                      <a:pt x="141" y="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37" name="Freeform 231">
                <a:extLst>
                  <a:ext uri="{FF2B5EF4-FFF2-40B4-BE49-F238E27FC236}">
                    <a16:creationId xmlns:a16="http://schemas.microsoft.com/office/drawing/2014/main" id="{63AB5DE2-4F6B-4F35-AE55-6FE9B1436732}"/>
                  </a:ext>
                </a:extLst>
              </p:cNvPr>
              <p:cNvSpPr>
                <a:spLocks/>
              </p:cNvSpPr>
              <p:nvPr/>
            </p:nvSpPr>
            <p:spPr bwMode="auto">
              <a:xfrm>
                <a:off x="2312988" y="3759200"/>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38" name="Freeform 232">
                <a:extLst>
                  <a:ext uri="{FF2B5EF4-FFF2-40B4-BE49-F238E27FC236}">
                    <a16:creationId xmlns:a16="http://schemas.microsoft.com/office/drawing/2014/main" id="{8E455B9B-1CA9-4774-801E-7935E493BF2E}"/>
                  </a:ext>
                </a:extLst>
              </p:cNvPr>
              <p:cNvSpPr>
                <a:spLocks/>
              </p:cNvSpPr>
              <p:nvPr/>
            </p:nvSpPr>
            <p:spPr bwMode="auto">
              <a:xfrm>
                <a:off x="2312988" y="3856037"/>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39" name="Freeform 233">
                <a:extLst>
                  <a:ext uri="{FF2B5EF4-FFF2-40B4-BE49-F238E27FC236}">
                    <a16:creationId xmlns:a16="http://schemas.microsoft.com/office/drawing/2014/main" id="{F3202941-ACEE-4E2F-B4A1-61CD549BD065}"/>
                  </a:ext>
                </a:extLst>
              </p:cNvPr>
              <p:cNvSpPr>
                <a:spLocks/>
              </p:cNvSpPr>
              <p:nvPr/>
            </p:nvSpPr>
            <p:spPr bwMode="auto">
              <a:xfrm>
                <a:off x="2170113" y="3759200"/>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40" name="Freeform 234">
                <a:extLst>
                  <a:ext uri="{FF2B5EF4-FFF2-40B4-BE49-F238E27FC236}">
                    <a16:creationId xmlns:a16="http://schemas.microsoft.com/office/drawing/2014/main" id="{C8F66C48-5C28-4442-9856-B676563ED7D0}"/>
                  </a:ext>
                </a:extLst>
              </p:cNvPr>
              <p:cNvSpPr>
                <a:spLocks/>
              </p:cNvSpPr>
              <p:nvPr/>
            </p:nvSpPr>
            <p:spPr bwMode="auto">
              <a:xfrm>
                <a:off x="2170113" y="3856037"/>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41" name="Freeform 235">
                <a:extLst>
                  <a:ext uri="{FF2B5EF4-FFF2-40B4-BE49-F238E27FC236}">
                    <a16:creationId xmlns:a16="http://schemas.microsoft.com/office/drawing/2014/main" id="{6B9F92BE-424E-448B-8028-2287A6A6E6AA}"/>
                  </a:ext>
                </a:extLst>
              </p:cNvPr>
              <p:cNvSpPr>
                <a:spLocks/>
              </p:cNvSpPr>
              <p:nvPr/>
            </p:nvSpPr>
            <p:spPr bwMode="auto">
              <a:xfrm>
                <a:off x="2032000" y="3759200"/>
                <a:ext cx="93662" cy="71438"/>
              </a:xfrm>
              <a:custGeom>
                <a:avLst/>
                <a:gdLst>
                  <a:gd name="T0" fmla="*/ 0 w 59"/>
                  <a:gd name="T1" fmla="*/ 0 h 45"/>
                  <a:gd name="T2" fmla="*/ 0 w 59"/>
                  <a:gd name="T3" fmla="*/ 45 h 45"/>
                  <a:gd name="T4" fmla="*/ 59 w 59"/>
                  <a:gd name="T5" fmla="*/ 45 h 45"/>
                  <a:gd name="T6" fmla="*/ 59 w 59"/>
                  <a:gd name="T7" fmla="*/ 0 h 45"/>
                  <a:gd name="T8" fmla="*/ 0 w 59"/>
                  <a:gd name="T9" fmla="*/ 0 h 45"/>
                  <a:gd name="T10" fmla="*/ 0 w 59"/>
                  <a:gd name="T11" fmla="*/ 0 h 45"/>
                </a:gdLst>
                <a:ahLst/>
                <a:cxnLst>
                  <a:cxn ang="0">
                    <a:pos x="T0" y="T1"/>
                  </a:cxn>
                  <a:cxn ang="0">
                    <a:pos x="T2" y="T3"/>
                  </a:cxn>
                  <a:cxn ang="0">
                    <a:pos x="T4" y="T5"/>
                  </a:cxn>
                  <a:cxn ang="0">
                    <a:pos x="T6" y="T7"/>
                  </a:cxn>
                  <a:cxn ang="0">
                    <a:pos x="T8" y="T9"/>
                  </a:cxn>
                  <a:cxn ang="0">
                    <a:pos x="T10" y="T11"/>
                  </a:cxn>
                </a:cxnLst>
                <a:rect l="0" t="0" r="r" b="b"/>
                <a:pathLst>
                  <a:path w="59" h="45">
                    <a:moveTo>
                      <a:pt x="0" y="0"/>
                    </a:moveTo>
                    <a:lnTo>
                      <a:pt x="0" y="45"/>
                    </a:lnTo>
                    <a:lnTo>
                      <a:pt x="59" y="45"/>
                    </a:lnTo>
                    <a:lnTo>
                      <a:pt x="59" y="0"/>
                    </a:lnTo>
                    <a:lnTo>
                      <a:pt x="0" y="0"/>
                    </a:lnTo>
                    <a:lnTo>
                      <a:pt x="0" y="0"/>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42" name="Rectangle 236">
                <a:extLst>
                  <a:ext uri="{FF2B5EF4-FFF2-40B4-BE49-F238E27FC236}">
                    <a16:creationId xmlns:a16="http://schemas.microsoft.com/office/drawing/2014/main" id="{542D26F0-43AE-446E-BCCA-43077DF438DD}"/>
                  </a:ext>
                </a:extLst>
              </p:cNvPr>
              <p:cNvSpPr>
                <a:spLocks noChangeArrowheads="1"/>
              </p:cNvSpPr>
              <p:nvPr/>
            </p:nvSpPr>
            <p:spPr bwMode="auto">
              <a:xfrm>
                <a:off x="2032000" y="3856037"/>
                <a:ext cx="93662" cy="71438"/>
              </a:xfrm>
              <a:prstGeom prst="rect">
                <a:avLst/>
              </a:prstGeom>
              <a:solidFill>
                <a:srgbClr val="12AB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grpSp>
        <p:nvGrpSpPr>
          <p:cNvPr id="543" name="Groupe 607">
            <a:extLst>
              <a:ext uri="{FF2B5EF4-FFF2-40B4-BE49-F238E27FC236}">
                <a16:creationId xmlns:a16="http://schemas.microsoft.com/office/drawing/2014/main" id="{C83F59D5-CFCE-426A-8612-11A535254A3C}"/>
              </a:ext>
            </a:extLst>
          </p:cNvPr>
          <p:cNvGrpSpPr/>
          <p:nvPr/>
        </p:nvGrpSpPr>
        <p:grpSpPr>
          <a:xfrm>
            <a:off x="1542225" y="3216930"/>
            <a:ext cx="483186" cy="483182"/>
            <a:chOff x="5485715" y="5123333"/>
            <a:chExt cx="312313" cy="312313"/>
          </a:xfrm>
        </p:grpSpPr>
        <p:sp>
          <p:nvSpPr>
            <p:cNvPr id="544" name="Ellipse 608">
              <a:extLst>
                <a:ext uri="{FF2B5EF4-FFF2-40B4-BE49-F238E27FC236}">
                  <a16:creationId xmlns:a16="http://schemas.microsoft.com/office/drawing/2014/main" id="{B250160A-7CF3-4D9B-AD0B-9970829AA71E}"/>
                </a:ext>
              </a:extLst>
            </p:cNvPr>
            <p:cNvSpPr/>
            <p:nvPr/>
          </p:nvSpPr>
          <p:spPr>
            <a:xfrm>
              <a:off x="5485715" y="5123333"/>
              <a:ext cx="312313" cy="312313"/>
            </a:xfrm>
            <a:prstGeom prst="ellipse">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545" name="Groupe 236">
              <a:extLst>
                <a:ext uri="{FF2B5EF4-FFF2-40B4-BE49-F238E27FC236}">
                  <a16:creationId xmlns:a16="http://schemas.microsoft.com/office/drawing/2014/main" id="{F9BCDCE7-54D4-4D1E-84D6-565196A1E0E9}"/>
                </a:ext>
              </a:extLst>
            </p:cNvPr>
            <p:cNvGrpSpPr/>
            <p:nvPr/>
          </p:nvGrpSpPr>
          <p:grpSpPr>
            <a:xfrm>
              <a:off x="5524381" y="5169933"/>
              <a:ext cx="234982" cy="219128"/>
              <a:chOff x="6621463" y="1658938"/>
              <a:chExt cx="454025" cy="458787"/>
            </a:xfrm>
            <a:solidFill>
              <a:srgbClr val="FFFFFF"/>
            </a:solidFill>
          </p:grpSpPr>
          <p:sp>
            <p:nvSpPr>
              <p:cNvPr id="546" name="Freeform 96">
                <a:extLst>
                  <a:ext uri="{FF2B5EF4-FFF2-40B4-BE49-F238E27FC236}">
                    <a16:creationId xmlns:a16="http://schemas.microsoft.com/office/drawing/2014/main" id="{8858A0C4-93A1-4853-B74A-1899044E8D4B}"/>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47" name="Freeform 97">
                <a:extLst>
                  <a:ext uri="{FF2B5EF4-FFF2-40B4-BE49-F238E27FC236}">
                    <a16:creationId xmlns:a16="http://schemas.microsoft.com/office/drawing/2014/main" id="{A5ECB172-B7A9-4AEF-B6C0-A9E3A020C772}"/>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48" name="Freeform 98">
                <a:extLst>
                  <a:ext uri="{FF2B5EF4-FFF2-40B4-BE49-F238E27FC236}">
                    <a16:creationId xmlns:a16="http://schemas.microsoft.com/office/drawing/2014/main" id="{7DF5A212-356B-4E93-B0EB-06C2A6D629B7}"/>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49" name="Freeform 99">
                <a:extLst>
                  <a:ext uri="{FF2B5EF4-FFF2-40B4-BE49-F238E27FC236}">
                    <a16:creationId xmlns:a16="http://schemas.microsoft.com/office/drawing/2014/main" id="{5BE80E7E-BBF6-43E4-95F1-D9AFED126AD6}"/>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0" name="Freeform 100">
                <a:extLst>
                  <a:ext uri="{FF2B5EF4-FFF2-40B4-BE49-F238E27FC236}">
                    <a16:creationId xmlns:a16="http://schemas.microsoft.com/office/drawing/2014/main" id="{A01469B2-51CC-4572-8A0A-DC3F61A4C2AE}"/>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1" name="Freeform 101">
                <a:extLst>
                  <a:ext uri="{FF2B5EF4-FFF2-40B4-BE49-F238E27FC236}">
                    <a16:creationId xmlns:a16="http://schemas.microsoft.com/office/drawing/2014/main" id="{5C273F81-41FA-47D5-8308-9498CF9B55E9}"/>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2" name="Freeform 102">
                <a:extLst>
                  <a:ext uri="{FF2B5EF4-FFF2-40B4-BE49-F238E27FC236}">
                    <a16:creationId xmlns:a16="http://schemas.microsoft.com/office/drawing/2014/main" id="{A10A347A-72E2-4E66-9343-C9F5CE627283}"/>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3" name="Freeform 103">
                <a:extLst>
                  <a:ext uri="{FF2B5EF4-FFF2-40B4-BE49-F238E27FC236}">
                    <a16:creationId xmlns:a16="http://schemas.microsoft.com/office/drawing/2014/main" id="{AEE7909B-46D7-4740-9910-45FE01B08FB2}"/>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4" name="Freeform 104">
                <a:extLst>
                  <a:ext uri="{FF2B5EF4-FFF2-40B4-BE49-F238E27FC236}">
                    <a16:creationId xmlns:a16="http://schemas.microsoft.com/office/drawing/2014/main" id="{FB5DB9F0-88DA-43C5-976D-6D9161191526}"/>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5" name="Freeform 105">
                <a:extLst>
                  <a:ext uri="{FF2B5EF4-FFF2-40B4-BE49-F238E27FC236}">
                    <a16:creationId xmlns:a16="http://schemas.microsoft.com/office/drawing/2014/main" id="{59EBA8B6-67EC-48C8-BE20-D4F769764A2C}"/>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6" name="Freeform 106">
                <a:extLst>
                  <a:ext uri="{FF2B5EF4-FFF2-40B4-BE49-F238E27FC236}">
                    <a16:creationId xmlns:a16="http://schemas.microsoft.com/office/drawing/2014/main" id="{DD0D159A-9AB4-4721-B283-18D5BDA3E259}"/>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7" name="Freeform 107">
                <a:extLst>
                  <a:ext uri="{FF2B5EF4-FFF2-40B4-BE49-F238E27FC236}">
                    <a16:creationId xmlns:a16="http://schemas.microsoft.com/office/drawing/2014/main" id="{7F9FE5D7-C381-4B3F-B805-2DDE11B319A9}"/>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8" name="Freeform 108">
                <a:extLst>
                  <a:ext uri="{FF2B5EF4-FFF2-40B4-BE49-F238E27FC236}">
                    <a16:creationId xmlns:a16="http://schemas.microsoft.com/office/drawing/2014/main" id="{BD4656A6-4761-4B5E-9550-F236999145AD}"/>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59" name="Freeform 109">
                <a:extLst>
                  <a:ext uri="{FF2B5EF4-FFF2-40B4-BE49-F238E27FC236}">
                    <a16:creationId xmlns:a16="http://schemas.microsoft.com/office/drawing/2014/main" id="{7171BFD9-AB47-4ED1-86F8-232CB5FF011F}"/>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60" name="Freeform 110">
                <a:extLst>
                  <a:ext uri="{FF2B5EF4-FFF2-40B4-BE49-F238E27FC236}">
                    <a16:creationId xmlns:a16="http://schemas.microsoft.com/office/drawing/2014/main" id="{6832C392-4B32-47BF-A2F1-6072C3E0E6F0}"/>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61" name="Freeform 111">
                <a:extLst>
                  <a:ext uri="{FF2B5EF4-FFF2-40B4-BE49-F238E27FC236}">
                    <a16:creationId xmlns:a16="http://schemas.microsoft.com/office/drawing/2014/main" id="{FF2E0732-FF42-43E7-BEB6-ADF009D1B39C}"/>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sp>
        <p:nvSpPr>
          <p:cNvPr id="562" name="Freeform 6">
            <a:extLst>
              <a:ext uri="{FF2B5EF4-FFF2-40B4-BE49-F238E27FC236}">
                <a16:creationId xmlns:a16="http://schemas.microsoft.com/office/drawing/2014/main" id="{207C1689-E0FC-46AE-82EE-2B800388408E}"/>
              </a:ext>
            </a:extLst>
          </p:cNvPr>
          <p:cNvSpPr>
            <a:spLocks/>
          </p:cNvSpPr>
          <p:nvPr/>
        </p:nvSpPr>
        <p:spPr bwMode="auto">
          <a:xfrm>
            <a:off x="1553756" y="3406057"/>
            <a:ext cx="165639" cy="117469"/>
          </a:xfrm>
          <a:custGeom>
            <a:avLst/>
            <a:gdLst>
              <a:gd name="T0" fmla="*/ 367 w 375"/>
              <a:gd name="T1" fmla="*/ 142 h 266"/>
              <a:gd name="T2" fmla="*/ 367 w 375"/>
              <a:gd name="T3" fmla="*/ 124 h 266"/>
              <a:gd name="T4" fmla="*/ 191 w 375"/>
              <a:gd name="T5" fmla="*/ 5 h 266"/>
              <a:gd name="T6" fmla="*/ 184 w 375"/>
              <a:gd name="T7" fmla="*/ 11 h 266"/>
              <a:gd name="T8" fmla="*/ 209 w 375"/>
              <a:gd name="T9" fmla="*/ 68 h 266"/>
              <a:gd name="T10" fmla="*/ 199 w 375"/>
              <a:gd name="T11" fmla="*/ 82 h 266"/>
              <a:gd name="T12" fmla="*/ 18 w 375"/>
              <a:gd name="T13" fmla="*/ 82 h 266"/>
              <a:gd name="T14" fmla="*/ 0 w 375"/>
              <a:gd name="T15" fmla="*/ 100 h 266"/>
              <a:gd name="T16" fmla="*/ 0 w 375"/>
              <a:gd name="T17" fmla="*/ 169 h 266"/>
              <a:gd name="T18" fmla="*/ 18 w 375"/>
              <a:gd name="T19" fmla="*/ 186 h 266"/>
              <a:gd name="T20" fmla="*/ 198 w 375"/>
              <a:gd name="T21" fmla="*/ 186 h 266"/>
              <a:gd name="T22" fmla="*/ 208 w 375"/>
              <a:gd name="T23" fmla="*/ 201 h 266"/>
              <a:gd name="T24" fmla="*/ 184 w 375"/>
              <a:gd name="T25" fmla="*/ 255 h 266"/>
              <a:gd name="T26" fmla="*/ 191 w 375"/>
              <a:gd name="T27" fmla="*/ 261 h 266"/>
              <a:gd name="T28" fmla="*/ 367 w 375"/>
              <a:gd name="T29" fmla="*/ 14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5" h="266">
                <a:moveTo>
                  <a:pt x="367" y="142"/>
                </a:moveTo>
                <a:cubicBezTo>
                  <a:pt x="375" y="137"/>
                  <a:pt x="375" y="129"/>
                  <a:pt x="367" y="124"/>
                </a:cubicBezTo>
                <a:cubicBezTo>
                  <a:pt x="191" y="5"/>
                  <a:pt x="191" y="5"/>
                  <a:pt x="191" y="5"/>
                </a:cubicBezTo>
                <a:cubicBezTo>
                  <a:pt x="184" y="0"/>
                  <a:pt x="181" y="2"/>
                  <a:pt x="184" y="11"/>
                </a:cubicBezTo>
                <a:cubicBezTo>
                  <a:pt x="209" y="68"/>
                  <a:pt x="209" y="68"/>
                  <a:pt x="209" y="68"/>
                </a:cubicBezTo>
                <a:cubicBezTo>
                  <a:pt x="212" y="76"/>
                  <a:pt x="208" y="82"/>
                  <a:pt x="199" y="82"/>
                </a:cubicBezTo>
                <a:cubicBezTo>
                  <a:pt x="18" y="82"/>
                  <a:pt x="18" y="82"/>
                  <a:pt x="18" y="82"/>
                </a:cubicBezTo>
                <a:cubicBezTo>
                  <a:pt x="9" y="82"/>
                  <a:pt x="0" y="91"/>
                  <a:pt x="0" y="100"/>
                </a:cubicBezTo>
                <a:cubicBezTo>
                  <a:pt x="0" y="169"/>
                  <a:pt x="0" y="169"/>
                  <a:pt x="0" y="169"/>
                </a:cubicBezTo>
                <a:cubicBezTo>
                  <a:pt x="0" y="178"/>
                  <a:pt x="9" y="186"/>
                  <a:pt x="18" y="186"/>
                </a:cubicBezTo>
                <a:cubicBezTo>
                  <a:pt x="198" y="186"/>
                  <a:pt x="198" y="186"/>
                  <a:pt x="198" y="186"/>
                </a:cubicBezTo>
                <a:cubicBezTo>
                  <a:pt x="207" y="186"/>
                  <a:pt x="212" y="193"/>
                  <a:pt x="208" y="201"/>
                </a:cubicBezTo>
                <a:cubicBezTo>
                  <a:pt x="184" y="255"/>
                  <a:pt x="184" y="255"/>
                  <a:pt x="184" y="255"/>
                </a:cubicBezTo>
                <a:cubicBezTo>
                  <a:pt x="181" y="264"/>
                  <a:pt x="184" y="266"/>
                  <a:pt x="191" y="261"/>
                </a:cubicBezTo>
                <a:lnTo>
                  <a:pt x="367" y="142"/>
                </a:ln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sp>
        <p:nvSpPr>
          <p:cNvPr id="563" name="Freeform 6">
            <a:extLst>
              <a:ext uri="{FF2B5EF4-FFF2-40B4-BE49-F238E27FC236}">
                <a16:creationId xmlns:a16="http://schemas.microsoft.com/office/drawing/2014/main" id="{7DF8F3DB-9AB4-4E3A-9C29-D4143A05506B}"/>
              </a:ext>
            </a:extLst>
          </p:cNvPr>
          <p:cNvSpPr>
            <a:spLocks/>
          </p:cNvSpPr>
          <p:nvPr/>
        </p:nvSpPr>
        <p:spPr bwMode="auto">
          <a:xfrm>
            <a:off x="1478518" y="3500834"/>
            <a:ext cx="165639" cy="117469"/>
          </a:xfrm>
          <a:custGeom>
            <a:avLst/>
            <a:gdLst>
              <a:gd name="T0" fmla="*/ 367 w 375"/>
              <a:gd name="T1" fmla="*/ 142 h 266"/>
              <a:gd name="T2" fmla="*/ 367 w 375"/>
              <a:gd name="T3" fmla="*/ 124 h 266"/>
              <a:gd name="T4" fmla="*/ 191 w 375"/>
              <a:gd name="T5" fmla="*/ 5 h 266"/>
              <a:gd name="T6" fmla="*/ 184 w 375"/>
              <a:gd name="T7" fmla="*/ 11 h 266"/>
              <a:gd name="T8" fmla="*/ 209 w 375"/>
              <a:gd name="T9" fmla="*/ 68 h 266"/>
              <a:gd name="T10" fmla="*/ 199 w 375"/>
              <a:gd name="T11" fmla="*/ 82 h 266"/>
              <a:gd name="T12" fmla="*/ 18 w 375"/>
              <a:gd name="T13" fmla="*/ 82 h 266"/>
              <a:gd name="T14" fmla="*/ 0 w 375"/>
              <a:gd name="T15" fmla="*/ 100 h 266"/>
              <a:gd name="T16" fmla="*/ 0 w 375"/>
              <a:gd name="T17" fmla="*/ 169 h 266"/>
              <a:gd name="T18" fmla="*/ 18 w 375"/>
              <a:gd name="T19" fmla="*/ 186 h 266"/>
              <a:gd name="T20" fmla="*/ 198 w 375"/>
              <a:gd name="T21" fmla="*/ 186 h 266"/>
              <a:gd name="T22" fmla="*/ 208 w 375"/>
              <a:gd name="T23" fmla="*/ 201 h 266"/>
              <a:gd name="T24" fmla="*/ 184 w 375"/>
              <a:gd name="T25" fmla="*/ 255 h 266"/>
              <a:gd name="T26" fmla="*/ 191 w 375"/>
              <a:gd name="T27" fmla="*/ 261 h 266"/>
              <a:gd name="T28" fmla="*/ 367 w 375"/>
              <a:gd name="T29" fmla="*/ 14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5" h="266">
                <a:moveTo>
                  <a:pt x="367" y="142"/>
                </a:moveTo>
                <a:cubicBezTo>
                  <a:pt x="375" y="137"/>
                  <a:pt x="375" y="129"/>
                  <a:pt x="367" y="124"/>
                </a:cubicBezTo>
                <a:cubicBezTo>
                  <a:pt x="191" y="5"/>
                  <a:pt x="191" y="5"/>
                  <a:pt x="191" y="5"/>
                </a:cubicBezTo>
                <a:cubicBezTo>
                  <a:pt x="184" y="0"/>
                  <a:pt x="181" y="2"/>
                  <a:pt x="184" y="11"/>
                </a:cubicBezTo>
                <a:cubicBezTo>
                  <a:pt x="209" y="68"/>
                  <a:pt x="209" y="68"/>
                  <a:pt x="209" y="68"/>
                </a:cubicBezTo>
                <a:cubicBezTo>
                  <a:pt x="212" y="76"/>
                  <a:pt x="208" y="82"/>
                  <a:pt x="199" y="82"/>
                </a:cubicBezTo>
                <a:cubicBezTo>
                  <a:pt x="18" y="82"/>
                  <a:pt x="18" y="82"/>
                  <a:pt x="18" y="82"/>
                </a:cubicBezTo>
                <a:cubicBezTo>
                  <a:pt x="9" y="82"/>
                  <a:pt x="0" y="91"/>
                  <a:pt x="0" y="100"/>
                </a:cubicBezTo>
                <a:cubicBezTo>
                  <a:pt x="0" y="169"/>
                  <a:pt x="0" y="169"/>
                  <a:pt x="0" y="169"/>
                </a:cubicBezTo>
                <a:cubicBezTo>
                  <a:pt x="0" y="178"/>
                  <a:pt x="9" y="186"/>
                  <a:pt x="18" y="186"/>
                </a:cubicBezTo>
                <a:cubicBezTo>
                  <a:pt x="198" y="186"/>
                  <a:pt x="198" y="186"/>
                  <a:pt x="198" y="186"/>
                </a:cubicBezTo>
                <a:cubicBezTo>
                  <a:pt x="207" y="186"/>
                  <a:pt x="212" y="193"/>
                  <a:pt x="208" y="201"/>
                </a:cubicBezTo>
                <a:cubicBezTo>
                  <a:pt x="184" y="255"/>
                  <a:pt x="184" y="255"/>
                  <a:pt x="184" y="255"/>
                </a:cubicBezTo>
                <a:cubicBezTo>
                  <a:pt x="181" y="264"/>
                  <a:pt x="184" y="266"/>
                  <a:pt x="191" y="261"/>
                </a:cubicBezTo>
                <a:lnTo>
                  <a:pt x="367" y="142"/>
                </a:ln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nvGrpSpPr>
          <p:cNvPr id="564" name="Groupe 384">
            <a:extLst>
              <a:ext uri="{FF2B5EF4-FFF2-40B4-BE49-F238E27FC236}">
                <a16:creationId xmlns:a16="http://schemas.microsoft.com/office/drawing/2014/main" id="{478AACF5-44FD-4EFA-9C57-B1D89D2B1259}"/>
              </a:ext>
            </a:extLst>
          </p:cNvPr>
          <p:cNvGrpSpPr>
            <a:grpSpLocks noChangeAspect="1"/>
          </p:cNvGrpSpPr>
          <p:nvPr/>
        </p:nvGrpSpPr>
        <p:grpSpPr>
          <a:xfrm>
            <a:off x="5107688" y="2215009"/>
            <a:ext cx="468632" cy="442016"/>
            <a:chOff x="357971" y="2931241"/>
            <a:chExt cx="912037" cy="860237"/>
          </a:xfrm>
        </p:grpSpPr>
        <p:sp>
          <p:nvSpPr>
            <p:cNvPr id="565" name="Freeform 227">
              <a:extLst>
                <a:ext uri="{FF2B5EF4-FFF2-40B4-BE49-F238E27FC236}">
                  <a16:creationId xmlns:a16="http://schemas.microsoft.com/office/drawing/2014/main" id="{A61F2AEE-2E6A-4246-B86D-46DD52AA4778}"/>
                </a:ext>
              </a:extLst>
            </p:cNvPr>
            <p:cNvSpPr>
              <a:spLocks/>
            </p:cNvSpPr>
            <p:nvPr/>
          </p:nvSpPr>
          <p:spPr bwMode="auto">
            <a:xfrm>
              <a:off x="357971" y="2931241"/>
              <a:ext cx="912037" cy="860237"/>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nvGrpSpPr>
            <p:cNvPr id="566" name="Group 838">
              <a:extLst>
                <a:ext uri="{FF2B5EF4-FFF2-40B4-BE49-F238E27FC236}">
                  <a16:creationId xmlns:a16="http://schemas.microsoft.com/office/drawing/2014/main" id="{F5DE8041-0724-4B8B-B358-3DF76B646106}"/>
                </a:ext>
              </a:extLst>
            </p:cNvPr>
            <p:cNvGrpSpPr/>
            <p:nvPr/>
          </p:nvGrpSpPr>
          <p:grpSpPr>
            <a:xfrm>
              <a:off x="597739" y="3155208"/>
              <a:ext cx="445982" cy="432344"/>
              <a:chOff x="2226469" y="3790850"/>
              <a:chExt cx="519112" cy="503238"/>
            </a:xfrm>
            <a:solidFill>
              <a:srgbClr val="95E616"/>
            </a:solidFill>
          </p:grpSpPr>
          <p:sp>
            <p:nvSpPr>
              <p:cNvPr id="567" name="Freeform 53">
                <a:extLst>
                  <a:ext uri="{FF2B5EF4-FFF2-40B4-BE49-F238E27FC236}">
                    <a16:creationId xmlns:a16="http://schemas.microsoft.com/office/drawing/2014/main" id="{B6BB966F-2EB2-4195-B8E9-48E47B30BB62}"/>
                  </a:ext>
                </a:extLst>
              </p:cNvPr>
              <p:cNvSpPr>
                <a:spLocks noEditPoints="1"/>
              </p:cNvSpPr>
              <p:nvPr/>
            </p:nvSpPr>
            <p:spPr bwMode="auto">
              <a:xfrm>
                <a:off x="2226469" y="3790850"/>
                <a:ext cx="322262" cy="503238"/>
              </a:xfrm>
              <a:custGeom>
                <a:avLst/>
                <a:gdLst>
                  <a:gd name="T0" fmla="*/ 203 w 203"/>
                  <a:gd name="T1" fmla="*/ 0 h 317"/>
                  <a:gd name="T2" fmla="*/ 173 w 203"/>
                  <a:gd name="T3" fmla="*/ 50 h 317"/>
                  <a:gd name="T4" fmla="*/ 173 w 203"/>
                  <a:gd name="T5" fmla="*/ 82 h 317"/>
                  <a:gd name="T6" fmla="*/ 191 w 203"/>
                  <a:gd name="T7" fmla="*/ 90 h 317"/>
                  <a:gd name="T8" fmla="*/ 173 w 203"/>
                  <a:gd name="T9" fmla="*/ 90 h 317"/>
                  <a:gd name="T10" fmla="*/ 191 w 203"/>
                  <a:gd name="T11" fmla="*/ 162 h 317"/>
                  <a:gd name="T12" fmla="*/ 173 w 203"/>
                  <a:gd name="T13" fmla="*/ 168 h 317"/>
                  <a:gd name="T14" fmla="*/ 173 w 203"/>
                  <a:gd name="T15" fmla="*/ 201 h 317"/>
                  <a:gd name="T16" fmla="*/ 191 w 203"/>
                  <a:gd name="T17" fmla="*/ 209 h 317"/>
                  <a:gd name="T18" fmla="*/ 173 w 203"/>
                  <a:gd name="T19" fmla="*/ 209 h 317"/>
                  <a:gd name="T20" fmla="*/ 191 w 203"/>
                  <a:gd name="T21" fmla="*/ 281 h 317"/>
                  <a:gd name="T22" fmla="*/ 140 w 203"/>
                  <a:gd name="T23" fmla="*/ 50 h 317"/>
                  <a:gd name="T24" fmla="*/ 140 w 203"/>
                  <a:gd name="T25" fmla="*/ 82 h 317"/>
                  <a:gd name="T26" fmla="*/ 158 w 203"/>
                  <a:gd name="T27" fmla="*/ 90 h 317"/>
                  <a:gd name="T28" fmla="*/ 140 w 203"/>
                  <a:gd name="T29" fmla="*/ 90 h 317"/>
                  <a:gd name="T30" fmla="*/ 158 w 203"/>
                  <a:gd name="T31" fmla="*/ 162 h 317"/>
                  <a:gd name="T32" fmla="*/ 140 w 203"/>
                  <a:gd name="T33" fmla="*/ 168 h 317"/>
                  <a:gd name="T34" fmla="*/ 140 w 203"/>
                  <a:gd name="T35" fmla="*/ 201 h 317"/>
                  <a:gd name="T36" fmla="*/ 158 w 203"/>
                  <a:gd name="T37" fmla="*/ 209 h 317"/>
                  <a:gd name="T38" fmla="*/ 140 w 203"/>
                  <a:gd name="T39" fmla="*/ 209 h 317"/>
                  <a:gd name="T40" fmla="*/ 158 w 203"/>
                  <a:gd name="T41" fmla="*/ 281 h 317"/>
                  <a:gd name="T42" fmla="*/ 107 w 203"/>
                  <a:gd name="T43" fmla="*/ 50 h 317"/>
                  <a:gd name="T44" fmla="*/ 107 w 203"/>
                  <a:gd name="T45" fmla="*/ 82 h 317"/>
                  <a:gd name="T46" fmla="*/ 126 w 203"/>
                  <a:gd name="T47" fmla="*/ 90 h 317"/>
                  <a:gd name="T48" fmla="*/ 107 w 203"/>
                  <a:gd name="T49" fmla="*/ 90 h 317"/>
                  <a:gd name="T50" fmla="*/ 126 w 203"/>
                  <a:gd name="T51" fmla="*/ 162 h 317"/>
                  <a:gd name="T52" fmla="*/ 107 w 203"/>
                  <a:gd name="T53" fmla="*/ 168 h 317"/>
                  <a:gd name="T54" fmla="*/ 107 w 203"/>
                  <a:gd name="T55" fmla="*/ 201 h 317"/>
                  <a:gd name="T56" fmla="*/ 126 w 203"/>
                  <a:gd name="T57" fmla="*/ 209 h 317"/>
                  <a:gd name="T58" fmla="*/ 107 w 203"/>
                  <a:gd name="T59" fmla="*/ 209 h 317"/>
                  <a:gd name="T60" fmla="*/ 126 w 203"/>
                  <a:gd name="T61" fmla="*/ 281 h 317"/>
                  <a:gd name="T62" fmla="*/ 78 w 203"/>
                  <a:gd name="T63" fmla="*/ 50 h 317"/>
                  <a:gd name="T64" fmla="*/ 78 w 203"/>
                  <a:gd name="T65" fmla="*/ 82 h 317"/>
                  <a:gd name="T66" fmla="*/ 96 w 203"/>
                  <a:gd name="T67" fmla="*/ 90 h 317"/>
                  <a:gd name="T68" fmla="*/ 78 w 203"/>
                  <a:gd name="T69" fmla="*/ 90 h 317"/>
                  <a:gd name="T70" fmla="*/ 96 w 203"/>
                  <a:gd name="T71" fmla="*/ 162 h 317"/>
                  <a:gd name="T72" fmla="*/ 78 w 203"/>
                  <a:gd name="T73" fmla="*/ 168 h 317"/>
                  <a:gd name="T74" fmla="*/ 78 w 203"/>
                  <a:gd name="T75" fmla="*/ 201 h 317"/>
                  <a:gd name="T76" fmla="*/ 96 w 203"/>
                  <a:gd name="T77" fmla="*/ 209 h 317"/>
                  <a:gd name="T78" fmla="*/ 78 w 203"/>
                  <a:gd name="T79" fmla="*/ 209 h 317"/>
                  <a:gd name="T80" fmla="*/ 96 w 203"/>
                  <a:gd name="T81" fmla="*/ 281 h 317"/>
                  <a:gd name="T82" fmla="*/ 45 w 203"/>
                  <a:gd name="T83" fmla="*/ 50 h 317"/>
                  <a:gd name="T84" fmla="*/ 45 w 203"/>
                  <a:gd name="T85" fmla="*/ 82 h 317"/>
                  <a:gd name="T86" fmla="*/ 64 w 203"/>
                  <a:gd name="T87" fmla="*/ 90 h 317"/>
                  <a:gd name="T88" fmla="*/ 45 w 203"/>
                  <a:gd name="T89" fmla="*/ 90 h 317"/>
                  <a:gd name="T90" fmla="*/ 64 w 203"/>
                  <a:gd name="T91" fmla="*/ 162 h 317"/>
                  <a:gd name="T92" fmla="*/ 45 w 203"/>
                  <a:gd name="T93" fmla="*/ 168 h 317"/>
                  <a:gd name="T94" fmla="*/ 45 w 203"/>
                  <a:gd name="T95" fmla="*/ 201 h 317"/>
                  <a:gd name="T96" fmla="*/ 64 w 203"/>
                  <a:gd name="T97" fmla="*/ 209 h 317"/>
                  <a:gd name="T98" fmla="*/ 45 w 203"/>
                  <a:gd name="T99" fmla="*/ 209 h 317"/>
                  <a:gd name="T100" fmla="*/ 64 w 203"/>
                  <a:gd name="T101" fmla="*/ 281 h 317"/>
                  <a:gd name="T102" fmla="*/ 13 w 203"/>
                  <a:gd name="T103" fmla="*/ 50 h 317"/>
                  <a:gd name="T104" fmla="*/ 13 w 203"/>
                  <a:gd name="T105" fmla="*/ 82 h 317"/>
                  <a:gd name="T106" fmla="*/ 31 w 203"/>
                  <a:gd name="T107" fmla="*/ 90 h 317"/>
                  <a:gd name="T108" fmla="*/ 13 w 203"/>
                  <a:gd name="T109" fmla="*/ 90 h 317"/>
                  <a:gd name="T110" fmla="*/ 31 w 203"/>
                  <a:gd name="T111" fmla="*/ 162 h 317"/>
                  <a:gd name="T112" fmla="*/ 13 w 203"/>
                  <a:gd name="T113" fmla="*/ 168 h 317"/>
                  <a:gd name="T114" fmla="*/ 13 w 203"/>
                  <a:gd name="T115" fmla="*/ 201 h 317"/>
                  <a:gd name="T116" fmla="*/ 31 w 203"/>
                  <a:gd name="T117" fmla="*/ 209 h 317"/>
                  <a:gd name="T118" fmla="*/ 13 w 203"/>
                  <a:gd name="T119" fmla="*/ 209 h 317"/>
                  <a:gd name="T120" fmla="*/ 31 w 203"/>
                  <a:gd name="T121" fmla="*/ 28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17">
                    <a:moveTo>
                      <a:pt x="0" y="317"/>
                    </a:moveTo>
                    <a:lnTo>
                      <a:pt x="203" y="317"/>
                    </a:lnTo>
                    <a:lnTo>
                      <a:pt x="203" y="0"/>
                    </a:lnTo>
                    <a:lnTo>
                      <a:pt x="0" y="0"/>
                    </a:lnTo>
                    <a:lnTo>
                      <a:pt x="0" y="317"/>
                    </a:lnTo>
                    <a:close/>
                    <a:moveTo>
                      <a:pt x="173" y="50"/>
                    </a:moveTo>
                    <a:lnTo>
                      <a:pt x="191" y="50"/>
                    </a:lnTo>
                    <a:lnTo>
                      <a:pt x="191" y="82"/>
                    </a:lnTo>
                    <a:lnTo>
                      <a:pt x="173" y="82"/>
                    </a:lnTo>
                    <a:lnTo>
                      <a:pt x="173" y="50"/>
                    </a:lnTo>
                    <a:close/>
                    <a:moveTo>
                      <a:pt x="173" y="90"/>
                    </a:moveTo>
                    <a:lnTo>
                      <a:pt x="191" y="90"/>
                    </a:lnTo>
                    <a:lnTo>
                      <a:pt x="191" y="122"/>
                    </a:lnTo>
                    <a:lnTo>
                      <a:pt x="173" y="122"/>
                    </a:lnTo>
                    <a:lnTo>
                      <a:pt x="173" y="90"/>
                    </a:lnTo>
                    <a:close/>
                    <a:moveTo>
                      <a:pt x="173" y="131"/>
                    </a:moveTo>
                    <a:lnTo>
                      <a:pt x="191" y="131"/>
                    </a:lnTo>
                    <a:lnTo>
                      <a:pt x="191" y="162"/>
                    </a:lnTo>
                    <a:lnTo>
                      <a:pt x="173" y="162"/>
                    </a:lnTo>
                    <a:lnTo>
                      <a:pt x="173" y="131"/>
                    </a:lnTo>
                    <a:close/>
                    <a:moveTo>
                      <a:pt x="173" y="168"/>
                    </a:moveTo>
                    <a:lnTo>
                      <a:pt x="191" y="168"/>
                    </a:lnTo>
                    <a:lnTo>
                      <a:pt x="191" y="201"/>
                    </a:lnTo>
                    <a:lnTo>
                      <a:pt x="173" y="201"/>
                    </a:lnTo>
                    <a:lnTo>
                      <a:pt x="173" y="168"/>
                    </a:lnTo>
                    <a:close/>
                    <a:moveTo>
                      <a:pt x="173" y="209"/>
                    </a:moveTo>
                    <a:lnTo>
                      <a:pt x="191" y="209"/>
                    </a:lnTo>
                    <a:lnTo>
                      <a:pt x="191" y="240"/>
                    </a:lnTo>
                    <a:lnTo>
                      <a:pt x="173" y="240"/>
                    </a:lnTo>
                    <a:lnTo>
                      <a:pt x="173" y="209"/>
                    </a:lnTo>
                    <a:close/>
                    <a:moveTo>
                      <a:pt x="173" y="249"/>
                    </a:moveTo>
                    <a:lnTo>
                      <a:pt x="191" y="249"/>
                    </a:lnTo>
                    <a:lnTo>
                      <a:pt x="191" y="281"/>
                    </a:lnTo>
                    <a:lnTo>
                      <a:pt x="173" y="281"/>
                    </a:lnTo>
                    <a:lnTo>
                      <a:pt x="173" y="249"/>
                    </a:lnTo>
                    <a:close/>
                    <a:moveTo>
                      <a:pt x="140" y="50"/>
                    </a:moveTo>
                    <a:lnTo>
                      <a:pt x="158" y="50"/>
                    </a:lnTo>
                    <a:lnTo>
                      <a:pt x="158" y="82"/>
                    </a:lnTo>
                    <a:lnTo>
                      <a:pt x="140" y="82"/>
                    </a:lnTo>
                    <a:lnTo>
                      <a:pt x="140" y="50"/>
                    </a:lnTo>
                    <a:close/>
                    <a:moveTo>
                      <a:pt x="140" y="90"/>
                    </a:moveTo>
                    <a:lnTo>
                      <a:pt x="158" y="90"/>
                    </a:lnTo>
                    <a:lnTo>
                      <a:pt x="158" y="122"/>
                    </a:lnTo>
                    <a:lnTo>
                      <a:pt x="140" y="122"/>
                    </a:lnTo>
                    <a:lnTo>
                      <a:pt x="140" y="90"/>
                    </a:lnTo>
                    <a:close/>
                    <a:moveTo>
                      <a:pt x="140" y="131"/>
                    </a:moveTo>
                    <a:lnTo>
                      <a:pt x="158" y="131"/>
                    </a:lnTo>
                    <a:lnTo>
                      <a:pt x="158" y="162"/>
                    </a:lnTo>
                    <a:lnTo>
                      <a:pt x="140" y="162"/>
                    </a:lnTo>
                    <a:lnTo>
                      <a:pt x="140" y="131"/>
                    </a:lnTo>
                    <a:close/>
                    <a:moveTo>
                      <a:pt x="140" y="168"/>
                    </a:moveTo>
                    <a:lnTo>
                      <a:pt x="158" y="168"/>
                    </a:lnTo>
                    <a:lnTo>
                      <a:pt x="158" y="201"/>
                    </a:lnTo>
                    <a:lnTo>
                      <a:pt x="140" y="201"/>
                    </a:lnTo>
                    <a:lnTo>
                      <a:pt x="140" y="168"/>
                    </a:lnTo>
                    <a:close/>
                    <a:moveTo>
                      <a:pt x="140" y="209"/>
                    </a:moveTo>
                    <a:lnTo>
                      <a:pt x="158" y="209"/>
                    </a:lnTo>
                    <a:lnTo>
                      <a:pt x="158" y="240"/>
                    </a:lnTo>
                    <a:lnTo>
                      <a:pt x="140" y="240"/>
                    </a:lnTo>
                    <a:lnTo>
                      <a:pt x="140" y="209"/>
                    </a:lnTo>
                    <a:close/>
                    <a:moveTo>
                      <a:pt x="140" y="249"/>
                    </a:moveTo>
                    <a:lnTo>
                      <a:pt x="158" y="249"/>
                    </a:lnTo>
                    <a:lnTo>
                      <a:pt x="158" y="281"/>
                    </a:lnTo>
                    <a:lnTo>
                      <a:pt x="140" y="281"/>
                    </a:lnTo>
                    <a:lnTo>
                      <a:pt x="140" y="249"/>
                    </a:lnTo>
                    <a:close/>
                    <a:moveTo>
                      <a:pt x="107" y="50"/>
                    </a:moveTo>
                    <a:lnTo>
                      <a:pt x="126" y="50"/>
                    </a:lnTo>
                    <a:lnTo>
                      <a:pt x="126" y="82"/>
                    </a:lnTo>
                    <a:lnTo>
                      <a:pt x="107" y="82"/>
                    </a:lnTo>
                    <a:lnTo>
                      <a:pt x="107" y="50"/>
                    </a:lnTo>
                    <a:close/>
                    <a:moveTo>
                      <a:pt x="107" y="90"/>
                    </a:moveTo>
                    <a:lnTo>
                      <a:pt x="126" y="90"/>
                    </a:lnTo>
                    <a:lnTo>
                      <a:pt x="126" y="122"/>
                    </a:lnTo>
                    <a:lnTo>
                      <a:pt x="107" y="122"/>
                    </a:lnTo>
                    <a:lnTo>
                      <a:pt x="107" y="90"/>
                    </a:lnTo>
                    <a:close/>
                    <a:moveTo>
                      <a:pt x="107" y="131"/>
                    </a:moveTo>
                    <a:lnTo>
                      <a:pt x="126" y="131"/>
                    </a:lnTo>
                    <a:lnTo>
                      <a:pt x="126" y="162"/>
                    </a:lnTo>
                    <a:lnTo>
                      <a:pt x="107" y="162"/>
                    </a:lnTo>
                    <a:lnTo>
                      <a:pt x="107" y="131"/>
                    </a:lnTo>
                    <a:close/>
                    <a:moveTo>
                      <a:pt x="107" y="168"/>
                    </a:moveTo>
                    <a:lnTo>
                      <a:pt x="126" y="168"/>
                    </a:lnTo>
                    <a:lnTo>
                      <a:pt x="126" y="201"/>
                    </a:lnTo>
                    <a:lnTo>
                      <a:pt x="107" y="201"/>
                    </a:lnTo>
                    <a:lnTo>
                      <a:pt x="107" y="168"/>
                    </a:lnTo>
                    <a:close/>
                    <a:moveTo>
                      <a:pt x="107" y="209"/>
                    </a:moveTo>
                    <a:lnTo>
                      <a:pt x="126" y="209"/>
                    </a:lnTo>
                    <a:lnTo>
                      <a:pt x="126" y="240"/>
                    </a:lnTo>
                    <a:lnTo>
                      <a:pt x="107" y="240"/>
                    </a:lnTo>
                    <a:lnTo>
                      <a:pt x="107" y="209"/>
                    </a:lnTo>
                    <a:close/>
                    <a:moveTo>
                      <a:pt x="107" y="249"/>
                    </a:moveTo>
                    <a:lnTo>
                      <a:pt x="126" y="249"/>
                    </a:lnTo>
                    <a:lnTo>
                      <a:pt x="126" y="281"/>
                    </a:lnTo>
                    <a:lnTo>
                      <a:pt x="107" y="281"/>
                    </a:lnTo>
                    <a:lnTo>
                      <a:pt x="107" y="249"/>
                    </a:lnTo>
                    <a:close/>
                    <a:moveTo>
                      <a:pt x="78" y="50"/>
                    </a:moveTo>
                    <a:lnTo>
                      <a:pt x="96" y="50"/>
                    </a:lnTo>
                    <a:lnTo>
                      <a:pt x="96" y="82"/>
                    </a:lnTo>
                    <a:lnTo>
                      <a:pt x="78" y="82"/>
                    </a:lnTo>
                    <a:lnTo>
                      <a:pt x="78" y="50"/>
                    </a:lnTo>
                    <a:close/>
                    <a:moveTo>
                      <a:pt x="78" y="90"/>
                    </a:moveTo>
                    <a:lnTo>
                      <a:pt x="96" y="90"/>
                    </a:lnTo>
                    <a:lnTo>
                      <a:pt x="96" y="122"/>
                    </a:lnTo>
                    <a:lnTo>
                      <a:pt x="78" y="122"/>
                    </a:lnTo>
                    <a:lnTo>
                      <a:pt x="78" y="90"/>
                    </a:lnTo>
                    <a:close/>
                    <a:moveTo>
                      <a:pt x="78" y="131"/>
                    </a:moveTo>
                    <a:lnTo>
                      <a:pt x="96" y="131"/>
                    </a:lnTo>
                    <a:lnTo>
                      <a:pt x="96" y="162"/>
                    </a:lnTo>
                    <a:lnTo>
                      <a:pt x="78" y="162"/>
                    </a:lnTo>
                    <a:lnTo>
                      <a:pt x="78" y="131"/>
                    </a:lnTo>
                    <a:close/>
                    <a:moveTo>
                      <a:pt x="78" y="168"/>
                    </a:moveTo>
                    <a:lnTo>
                      <a:pt x="96" y="168"/>
                    </a:lnTo>
                    <a:lnTo>
                      <a:pt x="96" y="201"/>
                    </a:lnTo>
                    <a:lnTo>
                      <a:pt x="78" y="201"/>
                    </a:lnTo>
                    <a:lnTo>
                      <a:pt x="78" y="168"/>
                    </a:lnTo>
                    <a:close/>
                    <a:moveTo>
                      <a:pt x="78" y="209"/>
                    </a:moveTo>
                    <a:lnTo>
                      <a:pt x="96" y="209"/>
                    </a:lnTo>
                    <a:lnTo>
                      <a:pt x="96" y="240"/>
                    </a:lnTo>
                    <a:lnTo>
                      <a:pt x="78" y="240"/>
                    </a:lnTo>
                    <a:lnTo>
                      <a:pt x="78" y="209"/>
                    </a:lnTo>
                    <a:close/>
                    <a:moveTo>
                      <a:pt x="78" y="249"/>
                    </a:moveTo>
                    <a:lnTo>
                      <a:pt x="96" y="249"/>
                    </a:lnTo>
                    <a:lnTo>
                      <a:pt x="96" y="281"/>
                    </a:lnTo>
                    <a:lnTo>
                      <a:pt x="78" y="281"/>
                    </a:lnTo>
                    <a:lnTo>
                      <a:pt x="78" y="249"/>
                    </a:lnTo>
                    <a:close/>
                    <a:moveTo>
                      <a:pt x="45" y="50"/>
                    </a:moveTo>
                    <a:lnTo>
                      <a:pt x="64" y="50"/>
                    </a:lnTo>
                    <a:lnTo>
                      <a:pt x="64" y="82"/>
                    </a:lnTo>
                    <a:lnTo>
                      <a:pt x="45" y="82"/>
                    </a:lnTo>
                    <a:lnTo>
                      <a:pt x="45" y="50"/>
                    </a:lnTo>
                    <a:close/>
                    <a:moveTo>
                      <a:pt x="45" y="90"/>
                    </a:moveTo>
                    <a:lnTo>
                      <a:pt x="64" y="90"/>
                    </a:lnTo>
                    <a:lnTo>
                      <a:pt x="64" y="122"/>
                    </a:lnTo>
                    <a:lnTo>
                      <a:pt x="45" y="122"/>
                    </a:lnTo>
                    <a:lnTo>
                      <a:pt x="45" y="90"/>
                    </a:lnTo>
                    <a:close/>
                    <a:moveTo>
                      <a:pt x="45" y="131"/>
                    </a:moveTo>
                    <a:lnTo>
                      <a:pt x="64" y="131"/>
                    </a:lnTo>
                    <a:lnTo>
                      <a:pt x="64" y="162"/>
                    </a:lnTo>
                    <a:lnTo>
                      <a:pt x="45" y="162"/>
                    </a:lnTo>
                    <a:lnTo>
                      <a:pt x="45" y="131"/>
                    </a:lnTo>
                    <a:close/>
                    <a:moveTo>
                      <a:pt x="45" y="168"/>
                    </a:moveTo>
                    <a:lnTo>
                      <a:pt x="64" y="168"/>
                    </a:lnTo>
                    <a:lnTo>
                      <a:pt x="64" y="201"/>
                    </a:lnTo>
                    <a:lnTo>
                      <a:pt x="45" y="201"/>
                    </a:lnTo>
                    <a:lnTo>
                      <a:pt x="45" y="168"/>
                    </a:lnTo>
                    <a:close/>
                    <a:moveTo>
                      <a:pt x="45" y="209"/>
                    </a:moveTo>
                    <a:lnTo>
                      <a:pt x="64" y="209"/>
                    </a:lnTo>
                    <a:lnTo>
                      <a:pt x="64" y="240"/>
                    </a:lnTo>
                    <a:lnTo>
                      <a:pt x="45" y="240"/>
                    </a:lnTo>
                    <a:lnTo>
                      <a:pt x="45" y="209"/>
                    </a:lnTo>
                    <a:close/>
                    <a:moveTo>
                      <a:pt x="45" y="249"/>
                    </a:moveTo>
                    <a:lnTo>
                      <a:pt x="64" y="249"/>
                    </a:lnTo>
                    <a:lnTo>
                      <a:pt x="64" y="281"/>
                    </a:lnTo>
                    <a:lnTo>
                      <a:pt x="45" y="281"/>
                    </a:lnTo>
                    <a:lnTo>
                      <a:pt x="45" y="249"/>
                    </a:lnTo>
                    <a:close/>
                    <a:moveTo>
                      <a:pt x="13" y="50"/>
                    </a:moveTo>
                    <a:lnTo>
                      <a:pt x="31" y="50"/>
                    </a:lnTo>
                    <a:lnTo>
                      <a:pt x="31" y="82"/>
                    </a:lnTo>
                    <a:lnTo>
                      <a:pt x="13" y="82"/>
                    </a:lnTo>
                    <a:lnTo>
                      <a:pt x="13" y="50"/>
                    </a:lnTo>
                    <a:close/>
                    <a:moveTo>
                      <a:pt x="13" y="90"/>
                    </a:moveTo>
                    <a:lnTo>
                      <a:pt x="31" y="90"/>
                    </a:lnTo>
                    <a:lnTo>
                      <a:pt x="31" y="122"/>
                    </a:lnTo>
                    <a:lnTo>
                      <a:pt x="13" y="122"/>
                    </a:lnTo>
                    <a:lnTo>
                      <a:pt x="13" y="90"/>
                    </a:lnTo>
                    <a:close/>
                    <a:moveTo>
                      <a:pt x="13" y="131"/>
                    </a:moveTo>
                    <a:lnTo>
                      <a:pt x="31" y="131"/>
                    </a:lnTo>
                    <a:lnTo>
                      <a:pt x="31" y="162"/>
                    </a:lnTo>
                    <a:lnTo>
                      <a:pt x="13" y="162"/>
                    </a:lnTo>
                    <a:lnTo>
                      <a:pt x="13" y="131"/>
                    </a:lnTo>
                    <a:close/>
                    <a:moveTo>
                      <a:pt x="13" y="168"/>
                    </a:moveTo>
                    <a:lnTo>
                      <a:pt x="31" y="168"/>
                    </a:lnTo>
                    <a:lnTo>
                      <a:pt x="31" y="201"/>
                    </a:lnTo>
                    <a:lnTo>
                      <a:pt x="13" y="201"/>
                    </a:lnTo>
                    <a:lnTo>
                      <a:pt x="13" y="168"/>
                    </a:lnTo>
                    <a:close/>
                    <a:moveTo>
                      <a:pt x="13" y="209"/>
                    </a:moveTo>
                    <a:lnTo>
                      <a:pt x="31" y="209"/>
                    </a:lnTo>
                    <a:lnTo>
                      <a:pt x="31" y="240"/>
                    </a:lnTo>
                    <a:lnTo>
                      <a:pt x="13" y="240"/>
                    </a:lnTo>
                    <a:lnTo>
                      <a:pt x="13" y="209"/>
                    </a:lnTo>
                    <a:close/>
                    <a:moveTo>
                      <a:pt x="13" y="249"/>
                    </a:moveTo>
                    <a:lnTo>
                      <a:pt x="31" y="249"/>
                    </a:lnTo>
                    <a:lnTo>
                      <a:pt x="31" y="281"/>
                    </a:lnTo>
                    <a:lnTo>
                      <a:pt x="13" y="281"/>
                    </a:lnTo>
                    <a:lnTo>
                      <a:pt x="13" y="2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Verdana"/>
                </a:endParaRPr>
              </a:p>
            </p:txBody>
          </p:sp>
          <p:sp>
            <p:nvSpPr>
              <p:cNvPr id="568" name="Freeform 55">
                <a:extLst>
                  <a:ext uri="{FF2B5EF4-FFF2-40B4-BE49-F238E27FC236}">
                    <a16:creationId xmlns:a16="http://schemas.microsoft.com/office/drawing/2014/main" id="{11269180-B0B4-4E07-A816-A617B19D9E9F}"/>
                  </a:ext>
                </a:extLst>
              </p:cNvPr>
              <p:cNvSpPr>
                <a:spLocks noEditPoints="1"/>
              </p:cNvSpPr>
              <p:nvPr/>
            </p:nvSpPr>
            <p:spPr bwMode="auto">
              <a:xfrm>
                <a:off x="2572544" y="4025800"/>
                <a:ext cx="173037" cy="268288"/>
              </a:xfrm>
              <a:custGeom>
                <a:avLst/>
                <a:gdLst>
                  <a:gd name="T0" fmla="*/ 0 w 109"/>
                  <a:gd name="T1" fmla="*/ 0 h 169"/>
                  <a:gd name="T2" fmla="*/ 0 w 109"/>
                  <a:gd name="T3" fmla="*/ 169 h 169"/>
                  <a:gd name="T4" fmla="*/ 109 w 109"/>
                  <a:gd name="T5" fmla="*/ 169 h 169"/>
                  <a:gd name="T6" fmla="*/ 109 w 109"/>
                  <a:gd name="T7" fmla="*/ 0 h 169"/>
                  <a:gd name="T8" fmla="*/ 0 w 109"/>
                  <a:gd name="T9" fmla="*/ 0 h 169"/>
                  <a:gd name="T10" fmla="*/ 32 w 109"/>
                  <a:gd name="T11" fmla="*/ 149 h 169"/>
                  <a:gd name="T12" fmla="*/ 14 w 109"/>
                  <a:gd name="T13" fmla="*/ 149 h 169"/>
                  <a:gd name="T14" fmla="*/ 14 w 109"/>
                  <a:gd name="T15" fmla="*/ 117 h 169"/>
                  <a:gd name="T16" fmla="*/ 32 w 109"/>
                  <a:gd name="T17" fmla="*/ 117 h 169"/>
                  <a:gd name="T18" fmla="*/ 32 w 109"/>
                  <a:gd name="T19" fmla="*/ 149 h 169"/>
                  <a:gd name="T20" fmla="*/ 32 w 109"/>
                  <a:gd name="T21" fmla="*/ 108 h 169"/>
                  <a:gd name="T22" fmla="*/ 14 w 109"/>
                  <a:gd name="T23" fmla="*/ 108 h 169"/>
                  <a:gd name="T24" fmla="*/ 14 w 109"/>
                  <a:gd name="T25" fmla="*/ 76 h 169"/>
                  <a:gd name="T26" fmla="*/ 32 w 109"/>
                  <a:gd name="T27" fmla="*/ 76 h 169"/>
                  <a:gd name="T28" fmla="*/ 32 w 109"/>
                  <a:gd name="T29" fmla="*/ 108 h 169"/>
                  <a:gd name="T30" fmla="*/ 32 w 109"/>
                  <a:gd name="T31" fmla="*/ 69 h 169"/>
                  <a:gd name="T32" fmla="*/ 14 w 109"/>
                  <a:gd name="T33" fmla="*/ 69 h 169"/>
                  <a:gd name="T34" fmla="*/ 14 w 109"/>
                  <a:gd name="T35" fmla="*/ 36 h 169"/>
                  <a:gd name="T36" fmla="*/ 32 w 109"/>
                  <a:gd name="T37" fmla="*/ 36 h 169"/>
                  <a:gd name="T38" fmla="*/ 32 w 109"/>
                  <a:gd name="T39" fmla="*/ 69 h 169"/>
                  <a:gd name="T40" fmla="*/ 63 w 109"/>
                  <a:gd name="T41" fmla="*/ 149 h 169"/>
                  <a:gd name="T42" fmla="*/ 45 w 109"/>
                  <a:gd name="T43" fmla="*/ 149 h 169"/>
                  <a:gd name="T44" fmla="*/ 45 w 109"/>
                  <a:gd name="T45" fmla="*/ 117 h 169"/>
                  <a:gd name="T46" fmla="*/ 63 w 109"/>
                  <a:gd name="T47" fmla="*/ 117 h 169"/>
                  <a:gd name="T48" fmla="*/ 63 w 109"/>
                  <a:gd name="T49" fmla="*/ 149 h 169"/>
                  <a:gd name="T50" fmla="*/ 63 w 109"/>
                  <a:gd name="T51" fmla="*/ 108 h 169"/>
                  <a:gd name="T52" fmla="*/ 45 w 109"/>
                  <a:gd name="T53" fmla="*/ 108 h 169"/>
                  <a:gd name="T54" fmla="*/ 45 w 109"/>
                  <a:gd name="T55" fmla="*/ 76 h 169"/>
                  <a:gd name="T56" fmla="*/ 63 w 109"/>
                  <a:gd name="T57" fmla="*/ 76 h 169"/>
                  <a:gd name="T58" fmla="*/ 63 w 109"/>
                  <a:gd name="T59" fmla="*/ 108 h 169"/>
                  <a:gd name="T60" fmla="*/ 63 w 109"/>
                  <a:gd name="T61" fmla="*/ 69 h 169"/>
                  <a:gd name="T62" fmla="*/ 45 w 109"/>
                  <a:gd name="T63" fmla="*/ 69 h 169"/>
                  <a:gd name="T64" fmla="*/ 45 w 109"/>
                  <a:gd name="T65" fmla="*/ 36 h 169"/>
                  <a:gd name="T66" fmla="*/ 63 w 109"/>
                  <a:gd name="T67" fmla="*/ 36 h 169"/>
                  <a:gd name="T68" fmla="*/ 63 w 109"/>
                  <a:gd name="T69" fmla="*/ 69 h 169"/>
                  <a:gd name="T70" fmla="*/ 96 w 109"/>
                  <a:gd name="T71" fmla="*/ 149 h 169"/>
                  <a:gd name="T72" fmla="*/ 78 w 109"/>
                  <a:gd name="T73" fmla="*/ 149 h 169"/>
                  <a:gd name="T74" fmla="*/ 78 w 109"/>
                  <a:gd name="T75" fmla="*/ 117 h 169"/>
                  <a:gd name="T76" fmla="*/ 96 w 109"/>
                  <a:gd name="T77" fmla="*/ 117 h 169"/>
                  <a:gd name="T78" fmla="*/ 96 w 109"/>
                  <a:gd name="T79" fmla="*/ 149 h 169"/>
                  <a:gd name="T80" fmla="*/ 96 w 109"/>
                  <a:gd name="T81" fmla="*/ 108 h 169"/>
                  <a:gd name="T82" fmla="*/ 78 w 109"/>
                  <a:gd name="T83" fmla="*/ 108 h 169"/>
                  <a:gd name="T84" fmla="*/ 78 w 109"/>
                  <a:gd name="T85" fmla="*/ 76 h 169"/>
                  <a:gd name="T86" fmla="*/ 96 w 109"/>
                  <a:gd name="T87" fmla="*/ 76 h 169"/>
                  <a:gd name="T88" fmla="*/ 96 w 109"/>
                  <a:gd name="T89" fmla="*/ 108 h 169"/>
                  <a:gd name="T90" fmla="*/ 96 w 109"/>
                  <a:gd name="T91" fmla="*/ 69 h 169"/>
                  <a:gd name="T92" fmla="*/ 78 w 109"/>
                  <a:gd name="T93" fmla="*/ 69 h 169"/>
                  <a:gd name="T94" fmla="*/ 78 w 109"/>
                  <a:gd name="T95" fmla="*/ 36 h 169"/>
                  <a:gd name="T96" fmla="*/ 96 w 109"/>
                  <a:gd name="T97" fmla="*/ 36 h 169"/>
                  <a:gd name="T98" fmla="*/ 96 w 109"/>
                  <a:gd name="T99" fmla="*/ 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169">
                    <a:moveTo>
                      <a:pt x="0" y="0"/>
                    </a:moveTo>
                    <a:lnTo>
                      <a:pt x="0" y="169"/>
                    </a:lnTo>
                    <a:lnTo>
                      <a:pt x="109" y="169"/>
                    </a:lnTo>
                    <a:lnTo>
                      <a:pt x="109" y="0"/>
                    </a:lnTo>
                    <a:lnTo>
                      <a:pt x="0" y="0"/>
                    </a:lnTo>
                    <a:close/>
                    <a:moveTo>
                      <a:pt x="32" y="149"/>
                    </a:moveTo>
                    <a:lnTo>
                      <a:pt x="14" y="149"/>
                    </a:lnTo>
                    <a:lnTo>
                      <a:pt x="14" y="117"/>
                    </a:lnTo>
                    <a:lnTo>
                      <a:pt x="32" y="117"/>
                    </a:lnTo>
                    <a:lnTo>
                      <a:pt x="32" y="149"/>
                    </a:lnTo>
                    <a:close/>
                    <a:moveTo>
                      <a:pt x="32" y="108"/>
                    </a:moveTo>
                    <a:lnTo>
                      <a:pt x="14" y="108"/>
                    </a:lnTo>
                    <a:lnTo>
                      <a:pt x="14" y="76"/>
                    </a:lnTo>
                    <a:lnTo>
                      <a:pt x="32" y="76"/>
                    </a:lnTo>
                    <a:lnTo>
                      <a:pt x="32" y="108"/>
                    </a:lnTo>
                    <a:close/>
                    <a:moveTo>
                      <a:pt x="32" y="69"/>
                    </a:moveTo>
                    <a:lnTo>
                      <a:pt x="14" y="69"/>
                    </a:lnTo>
                    <a:lnTo>
                      <a:pt x="14" y="36"/>
                    </a:lnTo>
                    <a:lnTo>
                      <a:pt x="32" y="36"/>
                    </a:lnTo>
                    <a:lnTo>
                      <a:pt x="32" y="69"/>
                    </a:lnTo>
                    <a:close/>
                    <a:moveTo>
                      <a:pt x="63" y="149"/>
                    </a:moveTo>
                    <a:lnTo>
                      <a:pt x="45" y="149"/>
                    </a:lnTo>
                    <a:lnTo>
                      <a:pt x="45" y="117"/>
                    </a:lnTo>
                    <a:lnTo>
                      <a:pt x="63" y="117"/>
                    </a:lnTo>
                    <a:lnTo>
                      <a:pt x="63" y="149"/>
                    </a:lnTo>
                    <a:close/>
                    <a:moveTo>
                      <a:pt x="63" y="108"/>
                    </a:moveTo>
                    <a:lnTo>
                      <a:pt x="45" y="108"/>
                    </a:lnTo>
                    <a:lnTo>
                      <a:pt x="45" y="76"/>
                    </a:lnTo>
                    <a:lnTo>
                      <a:pt x="63" y="76"/>
                    </a:lnTo>
                    <a:lnTo>
                      <a:pt x="63" y="108"/>
                    </a:lnTo>
                    <a:close/>
                    <a:moveTo>
                      <a:pt x="63" y="69"/>
                    </a:moveTo>
                    <a:lnTo>
                      <a:pt x="45" y="69"/>
                    </a:lnTo>
                    <a:lnTo>
                      <a:pt x="45" y="36"/>
                    </a:lnTo>
                    <a:lnTo>
                      <a:pt x="63" y="36"/>
                    </a:lnTo>
                    <a:lnTo>
                      <a:pt x="63" y="69"/>
                    </a:lnTo>
                    <a:close/>
                    <a:moveTo>
                      <a:pt x="96" y="149"/>
                    </a:moveTo>
                    <a:lnTo>
                      <a:pt x="78" y="149"/>
                    </a:lnTo>
                    <a:lnTo>
                      <a:pt x="78" y="117"/>
                    </a:lnTo>
                    <a:lnTo>
                      <a:pt x="96" y="117"/>
                    </a:lnTo>
                    <a:lnTo>
                      <a:pt x="96" y="149"/>
                    </a:lnTo>
                    <a:close/>
                    <a:moveTo>
                      <a:pt x="96" y="108"/>
                    </a:moveTo>
                    <a:lnTo>
                      <a:pt x="78" y="108"/>
                    </a:lnTo>
                    <a:lnTo>
                      <a:pt x="78" y="76"/>
                    </a:lnTo>
                    <a:lnTo>
                      <a:pt x="96" y="76"/>
                    </a:lnTo>
                    <a:lnTo>
                      <a:pt x="96" y="108"/>
                    </a:lnTo>
                    <a:close/>
                    <a:moveTo>
                      <a:pt x="96" y="69"/>
                    </a:moveTo>
                    <a:lnTo>
                      <a:pt x="78" y="69"/>
                    </a:lnTo>
                    <a:lnTo>
                      <a:pt x="78" y="36"/>
                    </a:lnTo>
                    <a:lnTo>
                      <a:pt x="96" y="36"/>
                    </a:lnTo>
                    <a:lnTo>
                      <a:pt x="96" y="69"/>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Verdana"/>
                </a:endParaRPr>
              </a:p>
            </p:txBody>
          </p:sp>
        </p:grpSp>
      </p:grpSp>
      <p:grpSp>
        <p:nvGrpSpPr>
          <p:cNvPr id="569" name="Groupe 384">
            <a:extLst>
              <a:ext uri="{FF2B5EF4-FFF2-40B4-BE49-F238E27FC236}">
                <a16:creationId xmlns:a16="http://schemas.microsoft.com/office/drawing/2014/main" id="{000FC06D-2307-472A-9DB0-CCC00C04E103}"/>
              </a:ext>
            </a:extLst>
          </p:cNvPr>
          <p:cNvGrpSpPr>
            <a:grpSpLocks noChangeAspect="1"/>
          </p:cNvGrpSpPr>
          <p:nvPr/>
        </p:nvGrpSpPr>
        <p:grpSpPr>
          <a:xfrm>
            <a:off x="5543933" y="2215009"/>
            <a:ext cx="468632" cy="442016"/>
            <a:chOff x="357971" y="2931241"/>
            <a:chExt cx="912037" cy="860237"/>
          </a:xfrm>
        </p:grpSpPr>
        <p:sp>
          <p:nvSpPr>
            <p:cNvPr id="570" name="Freeform 227">
              <a:extLst>
                <a:ext uri="{FF2B5EF4-FFF2-40B4-BE49-F238E27FC236}">
                  <a16:creationId xmlns:a16="http://schemas.microsoft.com/office/drawing/2014/main" id="{873BA4ED-950E-4519-B5FA-BB2854878916}"/>
                </a:ext>
              </a:extLst>
            </p:cNvPr>
            <p:cNvSpPr>
              <a:spLocks/>
            </p:cNvSpPr>
            <p:nvPr/>
          </p:nvSpPr>
          <p:spPr bwMode="auto">
            <a:xfrm>
              <a:off x="357971" y="2931241"/>
              <a:ext cx="912037" cy="860237"/>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rgbClr val="2B143D"/>
            </a:solidFill>
            <a:ln>
              <a:noFill/>
            </a:ln>
          </p:spPr>
          <p:txBody>
            <a:bodyPr vert="horz" wrap="square" lIns="74295" tIns="37148" rIns="74295" bIns="37148" numCol="1" anchor="t" anchorCtr="0" compatLnSpc="1">
              <a:prstTxWarp prst="textNoShape">
                <a:avLst/>
              </a:prstTxWarp>
            </a:bodyPr>
            <a:lstStyle/>
            <a:p>
              <a:pPr marL="0" marR="0" lvl="0" indent="0" defTabSz="74295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Verdana"/>
              </a:endParaRPr>
            </a:p>
          </p:txBody>
        </p:sp>
        <p:grpSp>
          <p:nvGrpSpPr>
            <p:cNvPr id="571" name="Group 838">
              <a:extLst>
                <a:ext uri="{FF2B5EF4-FFF2-40B4-BE49-F238E27FC236}">
                  <a16:creationId xmlns:a16="http://schemas.microsoft.com/office/drawing/2014/main" id="{D829FE44-F88C-4235-B4D9-2F6BBE7EF32B}"/>
                </a:ext>
              </a:extLst>
            </p:cNvPr>
            <p:cNvGrpSpPr/>
            <p:nvPr/>
          </p:nvGrpSpPr>
          <p:grpSpPr>
            <a:xfrm>
              <a:off x="597739" y="3155208"/>
              <a:ext cx="445982" cy="432344"/>
              <a:chOff x="2226469" y="3790850"/>
              <a:chExt cx="519112" cy="503238"/>
            </a:xfrm>
            <a:solidFill>
              <a:srgbClr val="95E616"/>
            </a:solidFill>
          </p:grpSpPr>
          <p:sp>
            <p:nvSpPr>
              <p:cNvPr id="572" name="Freeform 53">
                <a:extLst>
                  <a:ext uri="{FF2B5EF4-FFF2-40B4-BE49-F238E27FC236}">
                    <a16:creationId xmlns:a16="http://schemas.microsoft.com/office/drawing/2014/main" id="{A20D8F74-A9FE-4FC6-856F-F59570B7B979}"/>
                  </a:ext>
                </a:extLst>
              </p:cNvPr>
              <p:cNvSpPr>
                <a:spLocks noEditPoints="1"/>
              </p:cNvSpPr>
              <p:nvPr/>
            </p:nvSpPr>
            <p:spPr bwMode="auto">
              <a:xfrm>
                <a:off x="2226469" y="3790850"/>
                <a:ext cx="322262" cy="503238"/>
              </a:xfrm>
              <a:custGeom>
                <a:avLst/>
                <a:gdLst>
                  <a:gd name="T0" fmla="*/ 203 w 203"/>
                  <a:gd name="T1" fmla="*/ 0 h 317"/>
                  <a:gd name="T2" fmla="*/ 173 w 203"/>
                  <a:gd name="T3" fmla="*/ 50 h 317"/>
                  <a:gd name="T4" fmla="*/ 173 w 203"/>
                  <a:gd name="T5" fmla="*/ 82 h 317"/>
                  <a:gd name="T6" fmla="*/ 191 w 203"/>
                  <a:gd name="T7" fmla="*/ 90 h 317"/>
                  <a:gd name="T8" fmla="*/ 173 w 203"/>
                  <a:gd name="T9" fmla="*/ 90 h 317"/>
                  <a:gd name="T10" fmla="*/ 191 w 203"/>
                  <a:gd name="T11" fmla="*/ 162 h 317"/>
                  <a:gd name="T12" fmla="*/ 173 w 203"/>
                  <a:gd name="T13" fmla="*/ 168 h 317"/>
                  <a:gd name="T14" fmla="*/ 173 w 203"/>
                  <a:gd name="T15" fmla="*/ 201 h 317"/>
                  <a:gd name="T16" fmla="*/ 191 w 203"/>
                  <a:gd name="T17" fmla="*/ 209 h 317"/>
                  <a:gd name="T18" fmla="*/ 173 w 203"/>
                  <a:gd name="T19" fmla="*/ 209 h 317"/>
                  <a:gd name="T20" fmla="*/ 191 w 203"/>
                  <a:gd name="T21" fmla="*/ 281 h 317"/>
                  <a:gd name="T22" fmla="*/ 140 w 203"/>
                  <a:gd name="T23" fmla="*/ 50 h 317"/>
                  <a:gd name="T24" fmla="*/ 140 w 203"/>
                  <a:gd name="T25" fmla="*/ 82 h 317"/>
                  <a:gd name="T26" fmla="*/ 158 w 203"/>
                  <a:gd name="T27" fmla="*/ 90 h 317"/>
                  <a:gd name="T28" fmla="*/ 140 w 203"/>
                  <a:gd name="T29" fmla="*/ 90 h 317"/>
                  <a:gd name="T30" fmla="*/ 158 w 203"/>
                  <a:gd name="T31" fmla="*/ 162 h 317"/>
                  <a:gd name="T32" fmla="*/ 140 w 203"/>
                  <a:gd name="T33" fmla="*/ 168 h 317"/>
                  <a:gd name="T34" fmla="*/ 140 w 203"/>
                  <a:gd name="T35" fmla="*/ 201 h 317"/>
                  <a:gd name="T36" fmla="*/ 158 w 203"/>
                  <a:gd name="T37" fmla="*/ 209 h 317"/>
                  <a:gd name="T38" fmla="*/ 140 w 203"/>
                  <a:gd name="T39" fmla="*/ 209 h 317"/>
                  <a:gd name="T40" fmla="*/ 158 w 203"/>
                  <a:gd name="T41" fmla="*/ 281 h 317"/>
                  <a:gd name="T42" fmla="*/ 107 w 203"/>
                  <a:gd name="T43" fmla="*/ 50 h 317"/>
                  <a:gd name="T44" fmla="*/ 107 w 203"/>
                  <a:gd name="T45" fmla="*/ 82 h 317"/>
                  <a:gd name="T46" fmla="*/ 126 w 203"/>
                  <a:gd name="T47" fmla="*/ 90 h 317"/>
                  <a:gd name="T48" fmla="*/ 107 w 203"/>
                  <a:gd name="T49" fmla="*/ 90 h 317"/>
                  <a:gd name="T50" fmla="*/ 126 w 203"/>
                  <a:gd name="T51" fmla="*/ 162 h 317"/>
                  <a:gd name="T52" fmla="*/ 107 w 203"/>
                  <a:gd name="T53" fmla="*/ 168 h 317"/>
                  <a:gd name="T54" fmla="*/ 107 w 203"/>
                  <a:gd name="T55" fmla="*/ 201 h 317"/>
                  <a:gd name="T56" fmla="*/ 126 w 203"/>
                  <a:gd name="T57" fmla="*/ 209 h 317"/>
                  <a:gd name="T58" fmla="*/ 107 w 203"/>
                  <a:gd name="T59" fmla="*/ 209 h 317"/>
                  <a:gd name="T60" fmla="*/ 126 w 203"/>
                  <a:gd name="T61" fmla="*/ 281 h 317"/>
                  <a:gd name="T62" fmla="*/ 78 w 203"/>
                  <a:gd name="T63" fmla="*/ 50 h 317"/>
                  <a:gd name="T64" fmla="*/ 78 w 203"/>
                  <a:gd name="T65" fmla="*/ 82 h 317"/>
                  <a:gd name="T66" fmla="*/ 96 w 203"/>
                  <a:gd name="T67" fmla="*/ 90 h 317"/>
                  <a:gd name="T68" fmla="*/ 78 w 203"/>
                  <a:gd name="T69" fmla="*/ 90 h 317"/>
                  <a:gd name="T70" fmla="*/ 96 w 203"/>
                  <a:gd name="T71" fmla="*/ 162 h 317"/>
                  <a:gd name="T72" fmla="*/ 78 w 203"/>
                  <a:gd name="T73" fmla="*/ 168 h 317"/>
                  <a:gd name="T74" fmla="*/ 78 w 203"/>
                  <a:gd name="T75" fmla="*/ 201 h 317"/>
                  <a:gd name="T76" fmla="*/ 96 w 203"/>
                  <a:gd name="T77" fmla="*/ 209 h 317"/>
                  <a:gd name="T78" fmla="*/ 78 w 203"/>
                  <a:gd name="T79" fmla="*/ 209 h 317"/>
                  <a:gd name="T80" fmla="*/ 96 w 203"/>
                  <a:gd name="T81" fmla="*/ 281 h 317"/>
                  <a:gd name="T82" fmla="*/ 45 w 203"/>
                  <a:gd name="T83" fmla="*/ 50 h 317"/>
                  <a:gd name="T84" fmla="*/ 45 w 203"/>
                  <a:gd name="T85" fmla="*/ 82 h 317"/>
                  <a:gd name="T86" fmla="*/ 64 w 203"/>
                  <a:gd name="T87" fmla="*/ 90 h 317"/>
                  <a:gd name="T88" fmla="*/ 45 w 203"/>
                  <a:gd name="T89" fmla="*/ 90 h 317"/>
                  <a:gd name="T90" fmla="*/ 64 w 203"/>
                  <a:gd name="T91" fmla="*/ 162 h 317"/>
                  <a:gd name="T92" fmla="*/ 45 w 203"/>
                  <a:gd name="T93" fmla="*/ 168 h 317"/>
                  <a:gd name="T94" fmla="*/ 45 w 203"/>
                  <a:gd name="T95" fmla="*/ 201 h 317"/>
                  <a:gd name="T96" fmla="*/ 64 w 203"/>
                  <a:gd name="T97" fmla="*/ 209 h 317"/>
                  <a:gd name="T98" fmla="*/ 45 w 203"/>
                  <a:gd name="T99" fmla="*/ 209 h 317"/>
                  <a:gd name="T100" fmla="*/ 64 w 203"/>
                  <a:gd name="T101" fmla="*/ 281 h 317"/>
                  <a:gd name="T102" fmla="*/ 13 w 203"/>
                  <a:gd name="T103" fmla="*/ 50 h 317"/>
                  <a:gd name="T104" fmla="*/ 13 w 203"/>
                  <a:gd name="T105" fmla="*/ 82 h 317"/>
                  <a:gd name="T106" fmla="*/ 31 w 203"/>
                  <a:gd name="T107" fmla="*/ 90 h 317"/>
                  <a:gd name="T108" fmla="*/ 13 w 203"/>
                  <a:gd name="T109" fmla="*/ 90 h 317"/>
                  <a:gd name="T110" fmla="*/ 31 w 203"/>
                  <a:gd name="T111" fmla="*/ 162 h 317"/>
                  <a:gd name="T112" fmla="*/ 13 w 203"/>
                  <a:gd name="T113" fmla="*/ 168 h 317"/>
                  <a:gd name="T114" fmla="*/ 13 w 203"/>
                  <a:gd name="T115" fmla="*/ 201 h 317"/>
                  <a:gd name="T116" fmla="*/ 31 w 203"/>
                  <a:gd name="T117" fmla="*/ 209 h 317"/>
                  <a:gd name="T118" fmla="*/ 13 w 203"/>
                  <a:gd name="T119" fmla="*/ 209 h 317"/>
                  <a:gd name="T120" fmla="*/ 31 w 203"/>
                  <a:gd name="T121" fmla="*/ 28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17">
                    <a:moveTo>
                      <a:pt x="0" y="317"/>
                    </a:moveTo>
                    <a:lnTo>
                      <a:pt x="203" y="317"/>
                    </a:lnTo>
                    <a:lnTo>
                      <a:pt x="203" y="0"/>
                    </a:lnTo>
                    <a:lnTo>
                      <a:pt x="0" y="0"/>
                    </a:lnTo>
                    <a:lnTo>
                      <a:pt x="0" y="317"/>
                    </a:lnTo>
                    <a:close/>
                    <a:moveTo>
                      <a:pt x="173" y="50"/>
                    </a:moveTo>
                    <a:lnTo>
                      <a:pt x="191" y="50"/>
                    </a:lnTo>
                    <a:lnTo>
                      <a:pt x="191" y="82"/>
                    </a:lnTo>
                    <a:lnTo>
                      <a:pt x="173" y="82"/>
                    </a:lnTo>
                    <a:lnTo>
                      <a:pt x="173" y="50"/>
                    </a:lnTo>
                    <a:close/>
                    <a:moveTo>
                      <a:pt x="173" y="90"/>
                    </a:moveTo>
                    <a:lnTo>
                      <a:pt x="191" y="90"/>
                    </a:lnTo>
                    <a:lnTo>
                      <a:pt x="191" y="122"/>
                    </a:lnTo>
                    <a:lnTo>
                      <a:pt x="173" y="122"/>
                    </a:lnTo>
                    <a:lnTo>
                      <a:pt x="173" y="90"/>
                    </a:lnTo>
                    <a:close/>
                    <a:moveTo>
                      <a:pt x="173" y="131"/>
                    </a:moveTo>
                    <a:lnTo>
                      <a:pt x="191" y="131"/>
                    </a:lnTo>
                    <a:lnTo>
                      <a:pt x="191" y="162"/>
                    </a:lnTo>
                    <a:lnTo>
                      <a:pt x="173" y="162"/>
                    </a:lnTo>
                    <a:lnTo>
                      <a:pt x="173" y="131"/>
                    </a:lnTo>
                    <a:close/>
                    <a:moveTo>
                      <a:pt x="173" y="168"/>
                    </a:moveTo>
                    <a:lnTo>
                      <a:pt x="191" y="168"/>
                    </a:lnTo>
                    <a:lnTo>
                      <a:pt x="191" y="201"/>
                    </a:lnTo>
                    <a:lnTo>
                      <a:pt x="173" y="201"/>
                    </a:lnTo>
                    <a:lnTo>
                      <a:pt x="173" y="168"/>
                    </a:lnTo>
                    <a:close/>
                    <a:moveTo>
                      <a:pt x="173" y="209"/>
                    </a:moveTo>
                    <a:lnTo>
                      <a:pt x="191" y="209"/>
                    </a:lnTo>
                    <a:lnTo>
                      <a:pt x="191" y="240"/>
                    </a:lnTo>
                    <a:lnTo>
                      <a:pt x="173" y="240"/>
                    </a:lnTo>
                    <a:lnTo>
                      <a:pt x="173" y="209"/>
                    </a:lnTo>
                    <a:close/>
                    <a:moveTo>
                      <a:pt x="173" y="249"/>
                    </a:moveTo>
                    <a:lnTo>
                      <a:pt x="191" y="249"/>
                    </a:lnTo>
                    <a:lnTo>
                      <a:pt x="191" y="281"/>
                    </a:lnTo>
                    <a:lnTo>
                      <a:pt x="173" y="281"/>
                    </a:lnTo>
                    <a:lnTo>
                      <a:pt x="173" y="249"/>
                    </a:lnTo>
                    <a:close/>
                    <a:moveTo>
                      <a:pt x="140" y="50"/>
                    </a:moveTo>
                    <a:lnTo>
                      <a:pt x="158" y="50"/>
                    </a:lnTo>
                    <a:lnTo>
                      <a:pt x="158" y="82"/>
                    </a:lnTo>
                    <a:lnTo>
                      <a:pt x="140" y="82"/>
                    </a:lnTo>
                    <a:lnTo>
                      <a:pt x="140" y="50"/>
                    </a:lnTo>
                    <a:close/>
                    <a:moveTo>
                      <a:pt x="140" y="90"/>
                    </a:moveTo>
                    <a:lnTo>
                      <a:pt x="158" y="90"/>
                    </a:lnTo>
                    <a:lnTo>
                      <a:pt x="158" y="122"/>
                    </a:lnTo>
                    <a:lnTo>
                      <a:pt x="140" y="122"/>
                    </a:lnTo>
                    <a:lnTo>
                      <a:pt x="140" y="90"/>
                    </a:lnTo>
                    <a:close/>
                    <a:moveTo>
                      <a:pt x="140" y="131"/>
                    </a:moveTo>
                    <a:lnTo>
                      <a:pt x="158" y="131"/>
                    </a:lnTo>
                    <a:lnTo>
                      <a:pt x="158" y="162"/>
                    </a:lnTo>
                    <a:lnTo>
                      <a:pt x="140" y="162"/>
                    </a:lnTo>
                    <a:lnTo>
                      <a:pt x="140" y="131"/>
                    </a:lnTo>
                    <a:close/>
                    <a:moveTo>
                      <a:pt x="140" y="168"/>
                    </a:moveTo>
                    <a:lnTo>
                      <a:pt x="158" y="168"/>
                    </a:lnTo>
                    <a:lnTo>
                      <a:pt x="158" y="201"/>
                    </a:lnTo>
                    <a:lnTo>
                      <a:pt x="140" y="201"/>
                    </a:lnTo>
                    <a:lnTo>
                      <a:pt x="140" y="168"/>
                    </a:lnTo>
                    <a:close/>
                    <a:moveTo>
                      <a:pt x="140" y="209"/>
                    </a:moveTo>
                    <a:lnTo>
                      <a:pt x="158" y="209"/>
                    </a:lnTo>
                    <a:lnTo>
                      <a:pt x="158" y="240"/>
                    </a:lnTo>
                    <a:lnTo>
                      <a:pt x="140" y="240"/>
                    </a:lnTo>
                    <a:lnTo>
                      <a:pt x="140" y="209"/>
                    </a:lnTo>
                    <a:close/>
                    <a:moveTo>
                      <a:pt x="140" y="249"/>
                    </a:moveTo>
                    <a:lnTo>
                      <a:pt x="158" y="249"/>
                    </a:lnTo>
                    <a:lnTo>
                      <a:pt x="158" y="281"/>
                    </a:lnTo>
                    <a:lnTo>
                      <a:pt x="140" y="281"/>
                    </a:lnTo>
                    <a:lnTo>
                      <a:pt x="140" y="249"/>
                    </a:lnTo>
                    <a:close/>
                    <a:moveTo>
                      <a:pt x="107" y="50"/>
                    </a:moveTo>
                    <a:lnTo>
                      <a:pt x="126" y="50"/>
                    </a:lnTo>
                    <a:lnTo>
                      <a:pt x="126" y="82"/>
                    </a:lnTo>
                    <a:lnTo>
                      <a:pt x="107" y="82"/>
                    </a:lnTo>
                    <a:lnTo>
                      <a:pt x="107" y="50"/>
                    </a:lnTo>
                    <a:close/>
                    <a:moveTo>
                      <a:pt x="107" y="90"/>
                    </a:moveTo>
                    <a:lnTo>
                      <a:pt x="126" y="90"/>
                    </a:lnTo>
                    <a:lnTo>
                      <a:pt x="126" y="122"/>
                    </a:lnTo>
                    <a:lnTo>
                      <a:pt x="107" y="122"/>
                    </a:lnTo>
                    <a:lnTo>
                      <a:pt x="107" y="90"/>
                    </a:lnTo>
                    <a:close/>
                    <a:moveTo>
                      <a:pt x="107" y="131"/>
                    </a:moveTo>
                    <a:lnTo>
                      <a:pt x="126" y="131"/>
                    </a:lnTo>
                    <a:lnTo>
                      <a:pt x="126" y="162"/>
                    </a:lnTo>
                    <a:lnTo>
                      <a:pt x="107" y="162"/>
                    </a:lnTo>
                    <a:lnTo>
                      <a:pt x="107" y="131"/>
                    </a:lnTo>
                    <a:close/>
                    <a:moveTo>
                      <a:pt x="107" y="168"/>
                    </a:moveTo>
                    <a:lnTo>
                      <a:pt x="126" y="168"/>
                    </a:lnTo>
                    <a:lnTo>
                      <a:pt x="126" y="201"/>
                    </a:lnTo>
                    <a:lnTo>
                      <a:pt x="107" y="201"/>
                    </a:lnTo>
                    <a:lnTo>
                      <a:pt x="107" y="168"/>
                    </a:lnTo>
                    <a:close/>
                    <a:moveTo>
                      <a:pt x="107" y="209"/>
                    </a:moveTo>
                    <a:lnTo>
                      <a:pt x="126" y="209"/>
                    </a:lnTo>
                    <a:lnTo>
                      <a:pt x="126" y="240"/>
                    </a:lnTo>
                    <a:lnTo>
                      <a:pt x="107" y="240"/>
                    </a:lnTo>
                    <a:lnTo>
                      <a:pt x="107" y="209"/>
                    </a:lnTo>
                    <a:close/>
                    <a:moveTo>
                      <a:pt x="107" y="249"/>
                    </a:moveTo>
                    <a:lnTo>
                      <a:pt x="126" y="249"/>
                    </a:lnTo>
                    <a:lnTo>
                      <a:pt x="126" y="281"/>
                    </a:lnTo>
                    <a:lnTo>
                      <a:pt x="107" y="281"/>
                    </a:lnTo>
                    <a:lnTo>
                      <a:pt x="107" y="249"/>
                    </a:lnTo>
                    <a:close/>
                    <a:moveTo>
                      <a:pt x="78" y="50"/>
                    </a:moveTo>
                    <a:lnTo>
                      <a:pt x="96" y="50"/>
                    </a:lnTo>
                    <a:lnTo>
                      <a:pt x="96" y="82"/>
                    </a:lnTo>
                    <a:lnTo>
                      <a:pt x="78" y="82"/>
                    </a:lnTo>
                    <a:lnTo>
                      <a:pt x="78" y="50"/>
                    </a:lnTo>
                    <a:close/>
                    <a:moveTo>
                      <a:pt x="78" y="90"/>
                    </a:moveTo>
                    <a:lnTo>
                      <a:pt x="96" y="90"/>
                    </a:lnTo>
                    <a:lnTo>
                      <a:pt x="96" y="122"/>
                    </a:lnTo>
                    <a:lnTo>
                      <a:pt x="78" y="122"/>
                    </a:lnTo>
                    <a:lnTo>
                      <a:pt x="78" y="90"/>
                    </a:lnTo>
                    <a:close/>
                    <a:moveTo>
                      <a:pt x="78" y="131"/>
                    </a:moveTo>
                    <a:lnTo>
                      <a:pt x="96" y="131"/>
                    </a:lnTo>
                    <a:lnTo>
                      <a:pt x="96" y="162"/>
                    </a:lnTo>
                    <a:lnTo>
                      <a:pt x="78" y="162"/>
                    </a:lnTo>
                    <a:lnTo>
                      <a:pt x="78" y="131"/>
                    </a:lnTo>
                    <a:close/>
                    <a:moveTo>
                      <a:pt x="78" y="168"/>
                    </a:moveTo>
                    <a:lnTo>
                      <a:pt x="96" y="168"/>
                    </a:lnTo>
                    <a:lnTo>
                      <a:pt x="96" y="201"/>
                    </a:lnTo>
                    <a:lnTo>
                      <a:pt x="78" y="201"/>
                    </a:lnTo>
                    <a:lnTo>
                      <a:pt x="78" y="168"/>
                    </a:lnTo>
                    <a:close/>
                    <a:moveTo>
                      <a:pt x="78" y="209"/>
                    </a:moveTo>
                    <a:lnTo>
                      <a:pt x="96" y="209"/>
                    </a:lnTo>
                    <a:lnTo>
                      <a:pt x="96" y="240"/>
                    </a:lnTo>
                    <a:lnTo>
                      <a:pt x="78" y="240"/>
                    </a:lnTo>
                    <a:lnTo>
                      <a:pt x="78" y="209"/>
                    </a:lnTo>
                    <a:close/>
                    <a:moveTo>
                      <a:pt x="78" y="249"/>
                    </a:moveTo>
                    <a:lnTo>
                      <a:pt x="96" y="249"/>
                    </a:lnTo>
                    <a:lnTo>
                      <a:pt x="96" y="281"/>
                    </a:lnTo>
                    <a:lnTo>
                      <a:pt x="78" y="281"/>
                    </a:lnTo>
                    <a:lnTo>
                      <a:pt x="78" y="249"/>
                    </a:lnTo>
                    <a:close/>
                    <a:moveTo>
                      <a:pt x="45" y="50"/>
                    </a:moveTo>
                    <a:lnTo>
                      <a:pt x="64" y="50"/>
                    </a:lnTo>
                    <a:lnTo>
                      <a:pt x="64" y="82"/>
                    </a:lnTo>
                    <a:lnTo>
                      <a:pt x="45" y="82"/>
                    </a:lnTo>
                    <a:lnTo>
                      <a:pt x="45" y="50"/>
                    </a:lnTo>
                    <a:close/>
                    <a:moveTo>
                      <a:pt x="45" y="90"/>
                    </a:moveTo>
                    <a:lnTo>
                      <a:pt x="64" y="90"/>
                    </a:lnTo>
                    <a:lnTo>
                      <a:pt x="64" y="122"/>
                    </a:lnTo>
                    <a:lnTo>
                      <a:pt x="45" y="122"/>
                    </a:lnTo>
                    <a:lnTo>
                      <a:pt x="45" y="90"/>
                    </a:lnTo>
                    <a:close/>
                    <a:moveTo>
                      <a:pt x="45" y="131"/>
                    </a:moveTo>
                    <a:lnTo>
                      <a:pt x="64" y="131"/>
                    </a:lnTo>
                    <a:lnTo>
                      <a:pt x="64" y="162"/>
                    </a:lnTo>
                    <a:lnTo>
                      <a:pt x="45" y="162"/>
                    </a:lnTo>
                    <a:lnTo>
                      <a:pt x="45" y="131"/>
                    </a:lnTo>
                    <a:close/>
                    <a:moveTo>
                      <a:pt x="45" y="168"/>
                    </a:moveTo>
                    <a:lnTo>
                      <a:pt x="64" y="168"/>
                    </a:lnTo>
                    <a:lnTo>
                      <a:pt x="64" y="201"/>
                    </a:lnTo>
                    <a:lnTo>
                      <a:pt x="45" y="201"/>
                    </a:lnTo>
                    <a:lnTo>
                      <a:pt x="45" y="168"/>
                    </a:lnTo>
                    <a:close/>
                    <a:moveTo>
                      <a:pt x="45" y="209"/>
                    </a:moveTo>
                    <a:lnTo>
                      <a:pt x="64" y="209"/>
                    </a:lnTo>
                    <a:lnTo>
                      <a:pt x="64" y="240"/>
                    </a:lnTo>
                    <a:lnTo>
                      <a:pt x="45" y="240"/>
                    </a:lnTo>
                    <a:lnTo>
                      <a:pt x="45" y="209"/>
                    </a:lnTo>
                    <a:close/>
                    <a:moveTo>
                      <a:pt x="45" y="249"/>
                    </a:moveTo>
                    <a:lnTo>
                      <a:pt x="64" y="249"/>
                    </a:lnTo>
                    <a:lnTo>
                      <a:pt x="64" y="281"/>
                    </a:lnTo>
                    <a:lnTo>
                      <a:pt x="45" y="281"/>
                    </a:lnTo>
                    <a:lnTo>
                      <a:pt x="45" y="249"/>
                    </a:lnTo>
                    <a:close/>
                    <a:moveTo>
                      <a:pt x="13" y="50"/>
                    </a:moveTo>
                    <a:lnTo>
                      <a:pt x="31" y="50"/>
                    </a:lnTo>
                    <a:lnTo>
                      <a:pt x="31" y="82"/>
                    </a:lnTo>
                    <a:lnTo>
                      <a:pt x="13" y="82"/>
                    </a:lnTo>
                    <a:lnTo>
                      <a:pt x="13" y="50"/>
                    </a:lnTo>
                    <a:close/>
                    <a:moveTo>
                      <a:pt x="13" y="90"/>
                    </a:moveTo>
                    <a:lnTo>
                      <a:pt x="31" y="90"/>
                    </a:lnTo>
                    <a:lnTo>
                      <a:pt x="31" y="122"/>
                    </a:lnTo>
                    <a:lnTo>
                      <a:pt x="13" y="122"/>
                    </a:lnTo>
                    <a:lnTo>
                      <a:pt x="13" y="90"/>
                    </a:lnTo>
                    <a:close/>
                    <a:moveTo>
                      <a:pt x="13" y="131"/>
                    </a:moveTo>
                    <a:lnTo>
                      <a:pt x="31" y="131"/>
                    </a:lnTo>
                    <a:lnTo>
                      <a:pt x="31" y="162"/>
                    </a:lnTo>
                    <a:lnTo>
                      <a:pt x="13" y="162"/>
                    </a:lnTo>
                    <a:lnTo>
                      <a:pt x="13" y="131"/>
                    </a:lnTo>
                    <a:close/>
                    <a:moveTo>
                      <a:pt x="13" y="168"/>
                    </a:moveTo>
                    <a:lnTo>
                      <a:pt x="31" y="168"/>
                    </a:lnTo>
                    <a:lnTo>
                      <a:pt x="31" y="201"/>
                    </a:lnTo>
                    <a:lnTo>
                      <a:pt x="13" y="201"/>
                    </a:lnTo>
                    <a:lnTo>
                      <a:pt x="13" y="168"/>
                    </a:lnTo>
                    <a:close/>
                    <a:moveTo>
                      <a:pt x="13" y="209"/>
                    </a:moveTo>
                    <a:lnTo>
                      <a:pt x="31" y="209"/>
                    </a:lnTo>
                    <a:lnTo>
                      <a:pt x="31" y="240"/>
                    </a:lnTo>
                    <a:lnTo>
                      <a:pt x="13" y="240"/>
                    </a:lnTo>
                    <a:lnTo>
                      <a:pt x="13" y="209"/>
                    </a:lnTo>
                    <a:close/>
                    <a:moveTo>
                      <a:pt x="13" y="249"/>
                    </a:moveTo>
                    <a:lnTo>
                      <a:pt x="31" y="249"/>
                    </a:lnTo>
                    <a:lnTo>
                      <a:pt x="31" y="281"/>
                    </a:lnTo>
                    <a:lnTo>
                      <a:pt x="13" y="281"/>
                    </a:lnTo>
                    <a:lnTo>
                      <a:pt x="13" y="2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Verdana"/>
                </a:endParaRPr>
              </a:p>
            </p:txBody>
          </p:sp>
          <p:sp>
            <p:nvSpPr>
              <p:cNvPr id="573" name="Freeform 55">
                <a:extLst>
                  <a:ext uri="{FF2B5EF4-FFF2-40B4-BE49-F238E27FC236}">
                    <a16:creationId xmlns:a16="http://schemas.microsoft.com/office/drawing/2014/main" id="{BB3AE9C7-D03B-407F-98E1-DFD85BD43916}"/>
                  </a:ext>
                </a:extLst>
              </p:cNvPr>
              <p:cNvSpPr>
                <a:spLocks noEditPoints="1"/>
              </p:cNvSpPr>
              <p:nvPr/>
            </p:nvSpPr>
            <p:spPr bwMode="auto">
              <a:xfrm>
                <a:off x="2572544" y="4025800"/>
                <a:ext cx="173037" cy="268288"/>
              </a:xfrm>
              <a:custGeom>
                <a:avLst/>
                <a:gdLst>
                  <a:gd name="T0" fmla="*/ 0 w 109"/>
                  <a:gd name="T1" fmla="*/ 0 h 169"/>
                  <a:gd name="T2" fmla="*/ 0 w 109"/>
                  <a:gd name="T3" fmla="*/ 169 h 169"/>
                  <a:gd name="T4" fmla="*/ 109 w 109"/>
                  <a:gd name="T5" fmla="*/ 169 h 169"/>
                  <a:gd name="T6" fmla="*/ 109 w 109"/>
                  <a:gd name="T7" fmla="*/ 0 h 169"/>
                  <a:gd name="T8" fmla="*/ 0 w 109"/>
                  <a:gd name="T9" fmla="*/ 0 h 169"/>
                  <a:gd name="T10" fmla="*/ 32 w 109"/>
                  <a:gd name="T11" fmla="*/ 149 h 169"/>
                  <a:gd name="T12" fmla="*/ 14 w 109"/>
                  <a:gd name="T13" fmla="*/ 149 h 169"/>
                  <a:gd name="T14" fmla="*/ 14 w 109"/>
                  <a:gd name="T15" fmla="*/ 117 h 169"/>
                  <a:gd name="T16" fmla="*/ 32 w 109"/>
                  <a:gd name="T17" fmla="*/ 117 h 169"/>
                  <a:gd name="T18" fmla="*/ 32 w 109"/>
                  <a:gd name="T19" fmla="*/ 149 h 169"/>
                  <a:gd name="T20" fmla="*/ 32 w 109"/>
                  <a:gd name="T21" fmla="*/ 108 h 169"/>
                  <a:gd name="T22" fmla="*/ 14 w 109"/>
                  <a:gd name="T23" fmla="*/ 108 h 169"/>
                  <a:gd name="T24" fmla="*/ 14 w 109"/>
                  <a:gd name="T25" fmla="*/ 76 h 169"/>
                  <a:gd name="T26" fmla="*/ 32 w 109"/>
                  <a:gd name="T27" fmla="*/ 76 h 169"/>
                  <a:gd name="T28" fmla="*/ 32 w 109"/>
                  <a:gd name="T29" fmla="*/ 108 h 169"/>
                  <a:gd name="T30" fmla="*/ 32 w 109"/>
                  <a:gd name="T31" fmla="*/ 69 h 169"/>
                  <a:gd name="T32" fmla="*/ 14 w 109"/>
                  <a:gd name="T33" fmla="*/ 69 h 169"/>
                  <a:gd name="T34" fmla="*/ 14 w 109"/>
                  <a:gd name="T35" fmla="*/ 36 h 169"/>
                  <a:gd name="T36" fmla="*/ 32 w 109"/>
                  <a:gd name="T37" fmla="*/ 36 h 169"/>
                  <a:gd name="T38" fmla="*/ 32 w 109"/>
                  <a:gd name="T39" fmla="*/ 69 h 169"/>
                  <a:gd name="T40" fmla="*/ 63 w 109"/>
                  <a:gd name="T41" fmla="*/ 149 h 169"/>
                  <a:gd name="T42" fmla="*/ 45 w 109"/>
                  <a:gd name="T43" fmla="*/ 149 h 169"/>
                  <a:gd name="T44" fmla="*/ 45 w 109"/>
                  <a:gd name="T45" fmla="*/ 117 h 169"/>
                  <a:gd name="T46" fmla="*/ 63 w 109"/>
                  <a:gd name="T47" fmla="*/ 117 h 169"/>
                  <a:gd name="T48" fmla="*/ 63 w 109"/>
                  <a:gd name="T49" fmla="*/ 149 h 169"/>
                  <a:gd name="T50" fmla="*/ 63 w 109"/>
                  <a:gd name="T51" fmla="*/ 108 h 169"/>
                  <a:gd name="T52" fmla="*/ 45 w 109"/>
                  <a:gd name="T53" fmla="*/ 108 h 169"/>
                  <a:gd name="T54" fmla="*/ 45 w 109"/>
                  <a:gd name="T55" fmla="*/ 76 h 169"/>
                  <a:gd name="T56" fmla="*/ 63 w 109"/>
                  <a:gd name="T57" fmla="*/ 76 h 169"/>
                  <a:gd name="T58" fmla="*/ 63 w 109"/>
                  <a:gd name="T59" fmla="*/ 108 h 169"/>
                  <a:gd name="T60" fmla="*/ 63 w 109"/>
                  <a:gd name="T61" fmla="*/ 69 h 169"/>
                  <a:gd name="T62" fmla="*/ 45 w 109"/>
                  <a:gd name="T63" fmla="*/ 69 h 169"/>
                  <a:gd name="T64" fmla="*/ 45 w 109"/>
                  <a:gd name="T65" fmla="*/ 36 h 169"/>
                  <a:gd name="T66" fmla="*/ 63 w 109"/>
                  <a:gd name="T67" fmla="*/ 36 h 169"/>
                  <a:gd name="T68" fmla="*/ 63 w 109"/>
                  <a:gd name="T69" fmla="*/ 69 h 169"/>
                  <a:gd name="T70" fmla="*/ 96 w 109"/>
                  <a:gd name="T71" fmla="*/ 149 h 169"/>
                  <a:gd name="T72" fmla="*/ 78 w 109"/>
                  <a:gd name="T73" fmla="*/ 149 h 169"/>
                  <a:gd name="T74" fmla="*/ 78 w 109"/>
                  <a:gd name="T75" fmla="*/ 117 h 169"/>
                  <a:gd name="T76" fmla="*/ 96 w 109"/>
                  <a:gd name="T77" fmla="*/ 117 h 169"/>
                  <a:gd name="T78" fmla="*/ 96 w 109"/>
                  <a:gd name="T79" fmla="*/ 149 h 169"/>
                  <a:gd name="T80" fmla="*/ 96 w 109"/>
                  <a:gd name="T81" fmla="*/ 108 h 169"/>
                  <a:gd name="T82" fmla="*/ 78 w 109"/>
                  <a:gd name="T83" fmla="*/ 108 h 169"/>
                  <a:gd name="T84" fmla="*/ 78 w 109"/>
                  <a:gd name="T85" fmla="*/ 76 h 169"/>
                  <a:gd name="T86" fmla="*/ 96 w 109"/>
                  <a:gd name="T87" fmla="*/ 76 h 169"/>
                  <a:gd name="T88" fmla="*/ 96 w 109"/>
                  <a:gd name="T89" fmla="*/ 108 h 169"/>
                  <a:gd name="T90" fmla="*/ 96 w 109"/>
                  <a:gd name="T91" fmla="*/ 69 h 169"/>
                  <a:gd name="T92" fmla="*/ 78 w 109"/>
                  <a:gd name="T93" fmla="*/ 69 h 169"/>
                  <a:gd name="T94" fmla="*/ 78 w 109"/>
                  <a:gd name="T95" fmla="*/ 36 h 169"/>
                  <a:gd name="T96" fmla="*/ 96 w 109"/>
                  <a:gd name="T97" fmla="*/ 36 h 169"/>
                  <a:gd name="T98" fmla="*/ 96 w 109"/>
                  <a:gd name="T99" fmla="*/ 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169">
                    <a:moveTo>
                      <a:pt x="0" y="0"/>
                    </a:moveTo>
                    <a:lnTo>
                      <a:pt x="0" y="169"/>
                    </a:lnTo>
                    <a:lnTo>
                      <a:pt x="109" y="169"/>
                    </a:lnTo>
                    <a:lnTo>
                      <a:pt x="109" y="0"/>
                    </a:lnTo>
                    <a:lnTo>
                      <a:pt x="0" y="0"/>
                    </a:lnTo>
                    <a:close/>
                    <a:moveTo>
                      <a:pt x="32" y="149"/>
                    </a:moveTo>
                    <a:lnTo>
                      <a:pt x="14" y="149"/>
                    </a:lnTo>
                    <a:lnTo>
                      <a:pt x="14" y="117"/>
                    </a:lnTo>
                    <a:lnTo>
                      <a:pt x="32" y="117"/>
                    </a:lnTo>
                    <a:lnTo>
                      <a:pt x="32" y="149"/>
                    </a:lnTo>
                    <a:close/>
                    <a:moveTo>
                      <a:pt x="32" y="108"/>
                    </a:moveTo>
                    <a:lnTo>
                      <a:pt x="14" y="108"/>
                    </a:lnTo>
                    <a:lnTo>
                      <a:pt x="14" y="76"/>
                    </a:lnTo>
                    <a:lnTo>
                      <a:pt x="32" y="76"/>
                    </a:lnTo>
                    <a:lnTo>
                      <a:pt x="32" y="108"/>
                    </a:lnTo>
                    <a:close/>
                    <a:moveTo>
                      <a:pt x="32" y="69"/>
                    </a:moveTo>
                    <a:lnTo>
                      <a:pt x="14" y="69"/>
                    </a:lnTo>
                    <a:lnTo>
                      <a:pt x="14" y="36"/>
                    </a:lnTo>
                    <a:lnTo>
                      <a:pt x="32" y="36"/>
                    </a:lnTo>
                    <a:lnTo>
                      <a:pt x="32" y="69"/>
                    </a:lnTo>
                    <a:close/>
                    <a:moveTo>
                      <a:pt x="63" y="149"/>
                    </a:moveTo>
                    <a:lnTo>
                      <a:pt x="45" y="149"/>
                    </a:lnTo>
                    <a:lnTo>
                      <a:pt x="45" y="117"/>
                    </a:lnTo>
                    <a:lnTo>
                      <a:pt x="63" y="117"/>
                    </a:lnTo>
                    <a:lnTo>
                      <a:pt x="63" y="149"/>
                    </a:lnTo>
                    <a:close/>
                    <a:moveTo>
                      <a:pt x="63" y="108"/>
                    </a:moveTo>
                    <a:lnTo>
                      <a:pt x="45" y="108"/>
                    </a:lnTo>
                    <a:lnTo>
                      <a:pt x="45" y="76"/>
                    </a:lnTo>
                    <a:lnTo>
                      <a:pt x="63" y="76"/>
                    </a:lnTo>
                    <a:lnTo>
                      <a:pt x="63" y="108"/>
                    </a:lnTo>
                    <a:close/>
                    <a:moveTo>
                      <a:pt x="63" y="69"/>
                    </a:moveTo>
                    <a:lnTo>
                      <a:pt x="45" y="69"/>
                    </a:lnTo>
                    <a:lnTo>
                      <a:pt x="45" y="36"/>
                    </a:lnTo>
                    <a:lnTo>
                      <a:pt x="63" y="36"/>
                    </a:lnTo>
                    <a:lnTo>
                      <a:pt x="63" y="69"/>
                    </a:lnTo>
                    <a:close/>
                    <a:moveTo>
                      <a:pt x="96" y="149"/>
                    </a:moveTo>
                    <a:lnTo>
                      <a:pt x="78" y="149"/>
                    </a:lnTo>
                    <a:lnTo>
                      <a:pt x="78" y="117"/>
                    </a:lnTo>
                    <a:lnTo>
                      <a:pt x="96" y="117"/>
                    </a:lnTo>
                    <a:lnTo>
                      <a:pt x="96" y="149"/>
                    </a:lnTo>
                    <a:close/>
                    <a:moveTo>
                      <a:pt x="96" y="108"/>
                    </a:moveTo>
                    <a:lnTo>
                      <a:pt x="78" y="108"/>
                    </a:lnTo>
                    <a:lnTo>
                      <a:pt x="78" y="76"/>
                    </a:lnTo>
                    <a:lnTo>
                      <a:pt x="96" y="76"/>
                    </a:lnTo>
                    <a:lnTo>
                      <a:pt x="96" y="108"/>
                    </a:lnTo>
                    <a:close/>
                    <a:moveTo>
                      <a:pt x="96" y="69"/>
                    </a:moveTo>
                    <a:lnTo>
                      <a:pt x="78" y="69"/>
                    </a:lnTo>
                    <a:lnTo>
                      <a:pt x="78" y="36"/>
                    </a:lnTo>
                    <a:lnTo>
                      <a:pt x="96" y="36"/>
                    </a:lnTo>
                    <a:lnTo>
                      <a:pt x="96" y="69"/>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Verdana"/>
                </a:endParaRPr>
              </a:p>
            </p:txBody>
          </p:sp>
        </p:grpSp>
      </p:grpSp>
      <p:grpSp>
        <p:nvGrpSpPr>
          <p:cNvPr id="574" name="Groupe 647">
            <a:extLst>
              <a:ext uri="{FF2B5EF4-FFF2-40B4-BE49-F238E27FC236}">
                <a16:creationId xmlns:a16="http://schemas.microsoft.com/office/drawing/2014/main" id="{B3AF8D2E-E58E-41D7-89DE-D0ADC5F574C2}"/>
              </a:ext>
            </a:extLst>
          </p:cNvPr>
          <p:cNvGrpSpPr/>
          <p:nvPr/>
        </p:nvGrpSpPr>
        <p:grpSpPr>
          <a:xfrm>
            <a:off x="5503961" y="2121560"/>
            <a:ext cx="131642" cy="168972"/>
            <a:chOff x="2759680" y="999759"/>
            <a:chExt cx="249520" cy="320276"/>
          </a:xfrm>
          <a:solidFill>
            <a:srgbClr val="2B143D"/>
          </a:solidFill>
        </p:grpSpPr>
        <p:sp>
          <p:nvSpPr>
            <p:cNvPr id="575" name="Freeform 126">
              <a:extLst>
                <a:ext uri="{FF2B5EF4-FFF2-40B4-BE49-F238E27FC236}">
                  <a16:creationId xmlns:a16="http://schemas.microsoft.com/office/drawing/2014/main" id="{4ECDE568-6FDA-40B0-8D18-7119926C5729}"/>
                </a:ext>
              </a:extLst>
            </p:cNvPr>
            <p:cNvSpPr>
              <a:spLocks/>
            </p:cNvSpPr>
            <p:nvPr/>
          </p:nvSpPr>
          <p:spPr bwMode="auto">
            <a:xfrm>
              <a:off x="2818025" y="999759"/>
              <a:ext cx="132829" cy="141517"/>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Verdana"/>
              </a:endParaRPr>
            </a:p>
          </p:txBody>
        </p:sp>
        <p:sp>
          <p:nvSpPr>
            <p:cNvPr id="576" name="Freeform 127">
              <a:extLst>
                <a:ext uri="{FF2B5EF4-FFF2-40B4-BE49-F238E27FC236}">
                  <a16:creationId xmlns:a16="http://schemas.microsoft.com/office/drawing/2014/main" id="{B6401636-10EA-4D13-A1B9-98F2E913BAD4}"/>
                </a:ext>
              </a:extLst>
            </p:cNvPr>
            <p:cNvSpPr>
              <a:spLocks/>
            </p:cNvSpPr>
            <p:nvPr/>
          </p:nvSpPr>
          <p:spPr bwMode="auto">
            <a:xfrm>
              <a:off x="2759680" y="1158656"/>
              <a:ext cx="249520" cy="161379"/>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Verdana"/>
              </a:endParaRPr>
            </a:p>
          </p:txBody>
        </p:sp>
      </p:grpSp>
      <p:sp>
        <p:nvSpPr>
          <p:cNvPr id="577" name="Rounded Rectangle 53">
            <a:extLst>
              <a:ext uri="{FF2B5EF4-FFF2-40B4-BE49-F238E27FC236}">
                <a16:creationId xmlns:a16="http://schemas.microsoft.com/office/drawing/2014/main" id="{D3E0170A-2F1D-4293-8976-A7028DCCD2B1}"/>
              </a:ext>
            </a:extLst>
          </p:cNvPr>
          <p:cNvSpPr/>
          <p:nvPr/>
        </p:nvSpPr>
        <p:spPr>
          <a:xfrm>
            <a:off x="0" y="5456526"/>
            <a:ext cx="12192000" cy="1056246"/>
          </a:xfrm>
          <a:prstGeom prst="rect">
            <a:avLst/>
          </a:prstGeom>
          <a:solidFill>
            <a:srgbClr val="2B143D"/>
          </a:solidFill>
          <a:ln w="19050" cap="flat" cmpd="sng" algn="ctr">
            <a:solidFill>
              <a:srgbClr val="FFFFFF"/>
            </a:solidFill>
            <a:prstDash val="solid"/>
            <a:miter lim="800000"/>
          </a:ln>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Verdana"/>
                <a:ea typeface="+mn-ea"/>
                <a:cs typeface="+mn-cs"/>
              </a:rPr>
              <a:t>Solid Change Control Process, to ensure Consistency of Solution Scope and Global Templ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Verdana"/>
                <a:ea typeface="+mn-ea"/>
                <a:cs typeface="+mn-cs"/>
              </a:rPr>
              <a:t>Tailored Agile Co-Creation, to shorten Delivery Time and maximize solution adoption</a:t>
            </a:r>
          </a:p>
        </p:txBody>
      </p:sp>
      <p:grpSp>
        <p:nvGrpSpPr>
          <p:cNvPr id="578" name="Group 577">
            <a:extLst>
              <a:ext uri="{FF2B5EF4-FFF2-40B4-BE49-F238E27FC236}">
                <a16:creationId xmlns:a16="http://schemas.microsoft.com/office/drawing/2014/main" id="{6B6F743D-9F41-4674-8D5C-EA4E6D9EFF9E}"/>
              </a:ext>
            </a:extLst>
          </p:cNvPr>
          <p:cNvGrpSpPr/>
          <p:nvPr/>
        </p:nvGrpSpPr>
        <p:grpSpPr>
          <a:xfrm>
            <a:off x="9833348" y="57440"/>
            <a:ext cx="496062" cy="613118"/>
            <a:chOff x="149672" y="1656672"/>
            <a:chExt cx="314173" cy="613118"/>
          </a:xfrm>
          <a:solidFill>
            <a:srgbClr val="0070AD"/>
          </a:solidFill>
        </p:grpSpPr>
        <p:sp>
          <p:nvSpPr>
            <p:cNvPr id="579" name="Rounded Rectangle 41">
              <a:extLst>
                <a:ext uri="{FF2B5EF4-FFF2-40B4-BE49-F238E27FC236}">
                  <a16:creationId xmlns:a16="http://schemas.microsoft.com/office/drawing/2014/main" id="{5FBF48BD-E98A-4855-88F1-CDB3A8A9F3E7}"/>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580" name="Rounded Rectangle 41">
              <a:extLst>
                <a:ext uri="{FF2B5EF4-FFF2-40B4-BE49-F238E27FC236}">
                  <a16:creationId xmlns:a16="http://schemas.microsoft.com/office/drawing/2014/main" id="{ACBD74F2-8F50-44BD-BEB1-F27C876E0C2A}"/>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581" name="Freeform 42">
              <a:extLst>
                <a:ext uri="{FF2B5EF4-FFF2-40B4-BE49-F238E27FC236}">
                  <a16:creationId xmlns:a16="http://schemas.microsoft.com/office/drawing/2014/main" id="{548272D0-99B9-46DF-82AD-3E773E72A70C}"/>
                </a:ext>
              </a:extLst>
            </p:cNvPr>
            <p:cNvSpPr/>
            <p:nvPr/>
          </p:nvSpPr>
          <p:spPr>
            <a:xfrm>
              <a:off x="149672" y="1714500"/>
              <a:ext cx="314173"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1</a:t>
              </a:r>
              <a:endParaRPr kumimoji="0" lang="en-US" sz="800" b="1" i="0" u="none" strike="noStrike" kern="0" cap="none" spc="0" normalizeH="0" baseline="0" noProof="0">
                <a:ln>
                  <a:noFill/>
                </a:ln>
                <a:solidFill>
                  <a:srgbClr val="FFFFFF"/>
                </a:solidFill>
                <a:effectLst/>
                <a:uLnTx/>
                <a:uFillTx/>
                <a:latin typeface="Verdana"/>
              </a:endParaRPr>
            </a:p>
          </p:txBody>
        </p:sp>
      </p:grpSp>
      <p:grpSp>
        <p:nvGrpSpPr>
          <p:cNvPr id="582" name="Group 581">
            <a:extLst>
              <a:ext uri="{FF2B5EF4-FFF2-40B4-BE49-F238E27FC236}">
                <a16:creationId xmlns:a16="http://schemas.microsoft.com/office/drawing/2014/main" id="{7B9357A2-404E-42C0-93CE-C56CA2CF312B}"/>
              </a:ext>
            </a:extLst>
          </p:cNvPr>
          <p:cNvGrpSpPr/>
          <p:nvPr/>
        </p:nvGrpSpPr>
        <p:grpSpPr>
          <a:xfrm>
            <a:off x="10366606" y="60856"/>
            <a:ext cx="496062" cy="613118"/>
            <a:chOff x="149672" y="1656672"/>
            <a:chExt cx="314173" cy="613118"/>
          </a:xfrm>
          <a:solidFill>
            <a:srgbClr val="0070AD"/>
          </a:solidFill>
        </p:grpSpPr>
        <p:sp>
          <p:nvSpPr>
            <p:cNvPr id="583" name="Rounded Rectangle 41">
              <a:extLst>
                <a:ext uri="{FF2B5EF4-FFF2-40B4-BE49-F238E27FC236}">
                  <a16:creationId xmlns:a16="http://schemas.microsoft.com/office/drawing/2014/main" id="{D8F36C88-87BC-440F-8F2B-B36FABCAFCD1}"/>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584" name="Rounded Rectangle 41">
              <a:extLst>
                <a:ext uri="{FF2B5EF4-FFF2-40B4-BE49-F238E27FC236}">
                  <a16:creationId xmlns:a16="http://schemas.microsoft.com/office/drawing/2014/main" id="{E1FFDE7B-174A-4C17-BF00-02699BF93724}"/>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585" name="Freeform 42">
              <a:extLst>
                <a:ext uri="{FF2B5EF4-FFF2-40B4-BE49-F238E27FC236}">
                  <a16:creationId xmlns:a16="http://schemas.microsoft.com/office/drawing/2014/main" id="{5BA3BF72-1BFF-4BD7-90A0-1C9F2624F4D0}"/>
                </a:ext>
              </a:extLst>
            </p:cNvPr>
            <p:cNvSpPr/>
            <p:nvPr/>
          </p:nvSpPr>
          <p:spPr>
            <a:xfrm>
              <a:off x="149672" y="1714500"/>
              <a:ext cx="314173"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2</a:t>
              </a:r>
              <a:endParaRPr kumimoji="0" lang="en-US" sz="800" b="1" i="0" u="none" strike="noStrike" kern="0" cap="none" spc="0" normalizeH="0" baseline="0" noProof="0">
                <a:ln>
                  <a:noFill/>
                </a:ln>
                <a:solidFill>
                  <a:srgbClr val="FFFFFF"/>
                </a:solidFill>
                <a:effectLst/>
                <a:uLnTx/>
                <a:uFillTx/>
                <a:latin typeface="Verdana"/>
              </a:endParaRPr>
            </a:p>
          </p:txBody>
        </p:sp>
      </p:grpSp>
      <p:grpSp>
        <p:nvGrpSpPr>
          <p:cNvPr id="586" name="Group 585">
            <a:extLst>
              <a:ext uri="{FF2B5EF4-FFF2-40B4-BE49-F238E27FC236}">
                <a16:creationId xmlns:a16="http://schemas.microsoft.com/office/drawing/2014/main" id="{4C3A0435-CFB2-49C9-9C28-A44618657316}"/>
              </a:ext>
            </a:extLst>
          </p:cNvPr>
          <p:cNvGrpSpPr/>
          <p:nvPr/>
        </p:nvGrpSpPr>
        <p:grpSpPr>
          <a:xfrm>
            <a:off x="10861369" y="67814"/>
            <a:ext cx="496062" cy="613118"/>
            <a:chOff x="149672" y="1656672"/>
            <a:chExt cx="314173" cy="613118"/>
          </a:xfrm>
          <a:solidFill>
            <a:srgbClr val="12ABDB"/>
          </a:solidFill>
        </p:grpSpPr>
        <p:sp>
          <p:nvSpPr>
            <p:cNvPr id="587" name="Rounded Rectangle 41">
              <a:extLst>
                <a:ext uri="{FF2B5EF4-FFF2-40B4-BE49-F238E27FC236}">
                  <a16:creationId xmlns:a16="http://schemas.microsoft.com/office/drawing/2014/main" id="{DF0A0F5E-F4F5-4155-A9FC-4B81F7A8176A}"/>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588" name="Rounded Rectangle 41">
              <a:extLst>
                <a:ext uri="{FF2B5EF4-FFF2-40B4-BE49-F238E27FC236}">
                  <a16:creationId xmlns:a16="http://schemas.microsoft.com/office/drawing/2014/main" id="{6251166D-2F17-47F9-A209-70DA67CC6165}"/>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589" name="Freeform 42">
              <a:extLst>
                <a:ext uri="{FF2B5EF4-FFF2-40B4-BE49-F238E27FC236}">
                  <a16:creationId xmlns:a16="http://schemas.microsoft.com/office/drawing/2014/main" id="{B6A680AF-BE1B-472F-8F7C-9DDCA7AF5CB4}"/>
                </a:ext>
              </a:extLst>
            </p:cNvPr>
            <p:cNvSpPr/>
            <p:nvPr/>
          </p:nvSpPr>
          <p:spPr>
            <a:xfrm>
              <a:off x="149672" y="1714500"/>
              <a:ext cx="314173" cy="497462"/>
            </a:xfrm>
            <a:prstGeom prst="homePlate">
              <a:avLst>
                <a:gd name="adj" fmla="val 29565"/>
              </a:avLst>
            </a:prstGeom>
            <a:solidFill>
              <a:srgbClr val="0070AD"/>
            </a:solid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3</a:t>
              </a:r>
              <a:endParaRPr kumimoji="0" lang="en-US" sz="800" b="1" i="0" u="none" strike="noStrike" kern="0" cap="none" spc="0" normalizeH="0" baseline="0" noProof="0">
                <a:ln>
                  <a:noFill/>
                </a:ln>
                <a:solidFill>
                  <a:srgbClr val="FFFFFF"/>
                </a:solidFill>
                <a:effectLst/>
                <a:uLnTx/>
                <a:uFillTx/>
                <a:latin typeface="Verdana"/>
              </a:endParaRPr>
            </a:p>
          </p:txBody>
        </p:sp>
      </p:grpSp>
      <p:pic>
        <p:nvPicPr>
          <p:cNvPr id="590" name="Immagine 2" descr="03 Logo_Tavola disegno 200.png">
            <a:extLst>
              <a:ext uri="{FF2B5EF4-FFF2-40B4-BE49-F238E27FC236}">
                <a16:creationId xmlns:a16="http://schemas.microsoft.com/office/drawing/2014/main" id="{27FF57AA-5CA9-4A84-9670-8368E76989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7151" y="3696059"/>
            <a:ext cx="470030" cy="383786"/>
          </a:xfrm>
          <a:prstGeom prst="rect">
            <a:avLst/>
          </a:prstGeom>
        </p:spPr>
      </p:pic>
      <p:pic>
        <p:nvPicPr>
          <p:cNvPr id="591" name="Immagine 2" descr="03 Logo_Tavola disegno 200.png">
            <a:extLst>
              <a:ext uri="{FF2B5EF4-FFF2-40B4-BE49-F238E27FC236}">
                <a16:creationId xmlns:a16="http://schemas.microsoft.com/office/drawing/2014/main" id="{02D383BE-DB42-46B8-8683-BFBB45D171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4342" y="3184087"/>
            <a:ext cx="555381" cy="453476"/>
          </a:xfrm>
          <a:prstGeom prst="rect">
            <a:avLst/>
          </a:prstGeom>
        </p:spPr>
      </p:pic>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5" name="object 2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7</a:t>
            </a:fld>
            <a:endParaRPr sz="800">
              <a:latin typeface="Verdana"/>
              <a:cs typeface="Verdana"/>
            </a:endParaRPr>
          </a:p>
        </p:txBody>
      </p:sp>
      <p:sp>
        <p:nvSpPr>
          <p:cNvPr id="26" name="Rectangle 25">
            <a:extLst>
              <a:ext uri="{FF2B5EF4-FFF2-40B4-BE49-F238E27FC236}">
                <a16:creationId xmlns:a16="http://schemas.microsoft.com/office/drawing/2014/main" id="{40785907-2A0A-45A1-9750-78AAF17B1A3C}"/>
              </a:ext>
            </a:extLst>
          </p:cNvPr>
          <p:cNvSpPr/>
          <p:nvPr/>
        </p:nvSpPr>
        <p:spPr>
          <a:xfrm>
            <a:off x="329380" y="3247608"/>
            <a:ext cx="11643545" cy="646331"/>
          </a:xfrm>
          <a:prstGeom prst="rect">
            <a:avLst/>
          </a:prstGeom>
        </p:spPr>
        <p:txBody>
          <a:bodyPr wrap="square">
            <a:spAutoFit/>
          </a:bodyPr>
          <a:lstStyle/>
          <a:p>
            <a:endParaRPr lang="en-US" b="1" kern="0">
              <a:solidFill>
                <a:prstClr val="black"/>
              </a:solidFill>
              <a:latin typeface="Verdana"/>
              <a:cs typeface="Arial"/>
            </a:endParaRPr>
          </a:p>
          <a:p>
            <a:r>
              <a:rPr lang="en-US" b="1" kern="0">
                <a:solidFill>
                  <a:prstClr val="black"/>
                </a:solidFill>
                <a:latin typeface="Verdana"/>
                <a:cs typeface="Arial"/>
              </a:rPr>
              <a:t> </a:t>
            </a:r>
            <a:endParaRPr lang="nl-BE" b="1">
              <a:solidFill>
                <a:prstClr val="black"/>
              </a:solidFill>
              <a:latin typeface="Verdana"/>
            </a:endParaRPr>
          </a:p>
        </p:txBody>
      </p:sp>
      <p:sp>
        <p:nvSpPr>
          <p:cNvPr id="27" name="Title 1">
            <a:extLst>
              <a:ext uri="{FF2B5EF4-FFF2-40B4-BE49-F238E27FC236}">
                <a16:creationId xmlns:a16="http://schemas.microsoft.com/office/drawing/2014/main" id="{ABACA6A2-9BD6-40EC-8AF6-40198158463C}"/>
              </a:ext>
            </a:extLst>
          </p:cNvPr>
          <p:cNvSpPr txBox="1">
            <a:spLocks/>
          </p:cNvSpPr>
          <p:nvPr/>
        </p:nvSpPr>
        <p:spPr>
          <a:xfrm>
            <a:off x="219075" y="333374"/>
            <a:ext cx="10841449" cy="77152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0" cap="none" spc="0" normalizeH="0" baseline="0" noProof="0">
                <a:ln>
                  <a:noFill/>
                </a:ln>
                <a:solidFill>
                  <a:srgbClr val="0070AD"/>
                </a:solidFill>
                <a:effectLst/>
                <a:uLnTx/>
                <a:uFillTx/>
                <a:latin typeface="Verdana"/>
                <a:ea typeface="+mj-ea"/>
                <a:cs typeface="+mj-cs"/>
              </a:rPr>
              <a:t>Salesforce Roll out Strategy(ePW,PW,GTS Business Lines) </a:t>
            </a:r>
            <a:br>
              <a:rPr kumimoji="0" lang="en-US" sz="2600" b="0" i="0" u="none" strike="noStrike" kern="0" cap="none" spc="0" normalizeH="0" baseline="0" noProof="0">
                <a:ln>
                  <a:noFill/>
                </a:ln>
                <a:solidFill>
                  <a:srgbClr val="0070AD"/>
                </a:solidFill>
                <a:effectLst/>
                <a:uLnTx/>
                <a:uFillTx/>
                <a:latin typeface="Verdana"/>
                <a:ea typeface="+mj-ea"/>
                <a:cs typeface="+mj-cs"/>
              </a:rPr>
            </a:br>
            <a:endParaRPr kumimoji="0" lang="en-US" sz="2600" b="0" i="0" u="none" strike="noStrike" kern="1200" cap="none" spc="0" normalizeH="0" baseline="0" noProof="0">
              <a:ln>
                <a:noFill/>
              </a:ln>
              <a:solidFill>
                <a:srgbClr val="0070AD"/>
              </a:solidFill>
              <a:effectLst/>
              <a:uLnTx/>
              <a:uFillTx/>
              <a:latin typeface="Verdana"/>
              <a:ea typeface="+mj-ea"/>
              <a:cs typeface="+mj-cs"/>
            </a:endParaRPr>
          </a:p>
        </p:txBody>
      </p:sp>
      <p:sp>
        <p:nvSpPr>
          <p:cNvPr id="28" name="Rectangle 27">
            <a:extLst>
              <a:ext uri="{FF2B5EF4-FFF2-40B4-BE49-F238E27FC236}">
                <a16:creationId xmlns:a16="http://schemas.microsoft.com/office/drawing/2014/main" id="{98E01C27-0961-4CD2-9231-3BA482F3E353}"/>
              </a:ext>
            </a:extLst>
          </p:cNvPr>
          <p:cNvSpPr/>
          <p:nvPr/>
        </p:nvSpPr>
        <p:spPr>
          <a:xfrm>
            <a:off x="227349" y="934557"/>
            <a:ext cx="11497926" cy="523220"/>
          </a:xfrm>
          <a:prstGeom prst="rect">
            <a:avLst/>
          </a:prstGeom>
        </p:spPr>
        <p:txBody>
          <a:bodyPr wrap="square">
            <a:spAutoFit/>
          </a:bodyPr>
          <a:lstStyle/>
          <a:p>
            <a:r>
              <a:rPr lang="en-US" sz="1400">
                <a:solidFill>
                  <a:prstClr val="black"/>
                </a:solidFill>
                <a:latin typeface="Verdana"/>
              </a:rPr>
              <a:t>An incremental phased rollout approach is proposed to maximize business involvement and solution adoption</a:t>
            </a:r>
          </a:p>
          <a:p>
            <a:endParaRPr lang="en-US" sz="1400" b="1">
              <a:solidFill>
                <a:srgbClr val="12ABDB"/>
              </a:solidFill>
              <a:latin typeface="Verdana" panose="020B0604030504040204" pitchFamily="34" charset="0"/>
            </a:endParaRPr>
          </a:p>
        </p:txBody>
      </p:sp>
      <p:grpSp>
        <p:nvGrpSpPr>
          <p:cNvPr id="29" name="Group 28">
            <a:extLst>
              <a:ext uri="{FF2B5EF4-FFF2-40B4-BE49-F238E27FC236}">
                <a16:creationId xmlns:a16="http://schemas.microsoft.com/office/drawing/2014/main" id="{8B0F047C-25BA-4C84-915E-03A45AC12CD4}"/>
              </a:ext>
            </a:extLst>
          </p:cNvPr>
          <p:cNvGrpSpPr/>
          <p:nvPr/>
        </p:nvGrpSpPr>
        <p:grpSpPr>
          <a:xfrm>
            <a:off x="9833348" y="57440"/>
            <a:ext cx="496062" cy="613118"/>
            <a:chOff x="149672" y="1656672"/>
            <a:chExt cx="314173" cy="613118"/>
          </a:xfrm>
          <a:solidFill>
            <a:srgbClr val="0070AD"/>
          </a:solidFill>
        </p:grpSpPr>
        <p:sp>
          <p:nvSpPr>
            <p:cNvPr id="30" name="Rounded Rectangle 41">
              <a:extLst>
                <a:ext uri="{FF2B5EF4-FFF2-40B4-BE49-F238E27FC236}">
                  <a16:creationId xmlns:a16="http://schemas.microsoft.com/office/drawing/2014/main" id="{9D26D1EA-E767-4E6C-8FB6-5F734087F3E4}"/>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1" name="Rounded Rectangle 41">
              <a:extLst>
                <a:ext uri="{FF2B5EF4-FFF2-40B4-BE49-F238E27FC236}">
                  <a16:creationId xmlns:a16="http://schemas.microsoft.com/office/drawing/2014/main" id="{799CFAFD-D548-4743-8366-918DD3BE05D5}"/>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2" name="Freeform 42">
              <a:extLst>
                <a:ext uri="{FF2B5EF4-FFF2-40B4-BE49-F238E27FC236}">
                  <a16:creationId xmlns:a16="http://schemas.microsoft.com/office/drawing/2014/main" id="{B615C7B4-AB74-4096-B853-2C904A92DB1E}"/>
                </a:ext>
              </a:extLst>
            </p:cNvPr>
            <p:cNvSpPr/>
            <p:nvPr/>
          </p:nvSpPr>
          <p:spPr>
            <a:xfrm>
              <a:off x="149672" y="1714500"/>
              <a:ext cx="314173"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1</a:t>
              </a:r>
              <a:endParaRPr kumimoji="0" lang="en-US" sz="800" b="1" i="0" u="none" strike="noStrike" kern="0" cap="none" spc="0" normalizeH="0" baseline="0" noProof="0">
                <a:ln>
                  <a:noFill/>
                </a:ln>
                <a:solidFill>
                  <a:srgbClr val="FFFFFF"/>
                </a:solidFill>
                <a:effectLst/>
                <a:uLnTx/>
                <a:uFillTx/>
                <a:latin typeface="Verdana"/>
              </a:endParaRPr>
            </a:p>
          </p:txBody>
        </p:sp>
      </p:grpSp>
      <p:grpSp>
        <p:nvGrpSpPr>
          <p:cNvPr id="33" name="Group 32">
            <a:extLst>
              <a:ext uri="{FF2B5EF4-FFF2-40B4-BE49-F238E27FC236}">
                <a16:creationId xmlns:a16="http://schemas.microsoft.com/office/drawing/2014/main" id="{2C5755FC-174A-48E8-989C-6AF8F04F4A70}"/>
              </a:ext>
            </a:extLst>
          </p:cNvPr>
          <p:cNvGrpSpPr/>
          <p:nvPr/>
        </p:nvGrpSpPr>
        <p:grpSpPr>
          <a:xfrm>
            <a:off x="10366606" y="60856"/>
            <a:ext cx="496062" cy="613118"/>
            <a:chOff x="149672" y="1656672"/>
            <a:chExt cx="314173" cy="613118"/>
          </a:xfrm>
          <a:solidFill>
            <a:srgbClr val="0070AD"/>
          </a:solidFill>
        </p:grpSpPr>
        <p:sp>
          <p:nvSpPr>
            <p:cNvPr id="34" name="Rounded Rectangle 41">
              <a:extLst>
                <a:ext uri="{FF2B5EF4-FFF2-40B4-BE49-F238E27FC236}">
                  <a16:creationId xmlns:a16="http://schemas.microsoft.com/office/drawing/2014/main" id="{BB18AFBC-494F-4C75-BABB-D71EFC26B377}"/>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5" name="Rounded Rectangle 41">
              <a:extLst>
                <a:ext uri="{FF2B5EF4-FFF2-40B4-BE49-F238E27FC236}">
                  <a16:creationId xmlns:a16="http://schemas.microsoft.com/office/drawing/2014/main" id="{0DE32243-F1A0-47D5-9C5C-630BCE7B1AB4}"/>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6" name="Freeform 42">
              <a:extLst>
                <a:ext uri="{FF2B5EF4-FFF2-40B4-BE49-F238E27FC236}">
                  <a16:creationId xmlns:a16="http://schemas.microsoft.com/office/drawing/2014/main" id="{37714C5D-7D60-4C01-835D-ED2DAF30BC89}"/>
                </a:ext>
              </a:extLst>
            </p:cNvPr>
            <p:cNvSpPr/>
            <p:nvPr/>
          </p:nvSpPr>
          <p:spPr>
            <a:xfrm>
              <a:off x="149672" y="1714500"/>
              <a:ext cx="314173"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2</a:t>
              </a:r>
              <a:endParaRPr kumimoji="0" lang="en-US" sz="800" b="1" i="0" u="none" strike="noStrike" kern="0" cap="none" spc="0" normalizeH="0" baseline="0" noProof="0">
                <a:ln>
                  <a:noFill/>
                </a:ln>
                <a:solidFill>
                  <a:srgbClr val="FFFFFF"/>
                </a:solidFill>
                <a:effectLst/>
                <a:uLnTx/>
                <a:uFillTx/>
                <a:latin typeface="Verdana"/>
              </a:endParaRPr>
            </a:p>
          </p:txBody>
        </p:sp>
      </p:grpSp>
      <p:grpSp>
        <p:nvGrpSpPr>
          <p:cNvPr id="37" name="Group 36">
            <a:extLst>
              <a:ext uri="{FF2B5EF4-FFF2-40B4-BE49-F238E27FC236}">
                <a16:creationId xmlns:a16="http://schemas.microsoft.com/office/drawing/2014/main" id="{8951A3BB-CD38-41B6-9961-5A9F6E07BC9D}"/>
              </a:ext>
            </a:extLst>
          </p:cNvPr>
          <p:cNvGrpSpPr/>
          <p:nvPr/>
        </p:nvGrpSpPr>
        <p:grpSpPr>
          <a:xfrm>
            <a:off x="10861369" y="67814"/>
            <a:ext cx="496062" cy="613118"/>
            <a:chOff x="149672" y="1656672"/>
            <a:chExt cx="314173" cy="613118"/>
          </a:xfrm>
          <a:solidFill>
            <a:srgbClr val="12ABDB"/>
          </a:solidFill>
        </p:grpSpPr>
        <p:sp>
          <p:nvSpPr>
            <p:cNvPr id="38" name="Rounded Rectangle 41">
              <a:extLst>
                <a:ext uri="{FF2B5EF4-FFF2-40B4-BE49-F238E27FC236}">
                  <a16:creationId xmlns:a16="http://schemas.microsoft.com/office/drawing/2014/main" id="{EBBE9E14-0C19-4096-A0D4-C1879702F795}"/>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9" name="Rounded Rectangle 41">
              <a:extLst>
                <a:ext uri="{FF2B5EF4-FFF2-40B4-BE49-F238E27FC236}">
                  <a16:creationId xmlns:a16="http://schemas.microsoft.com/office/drawing/2014/main" id="{982BEE37-10B0-42EB-AEF2-8E08814B83B5}"/>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40" name="Freeform 42">
              <a:extLst>
                <a:ext uri="{FF2B5EF4-FFF2-40B4-BE49-F238E27FC236}">
                  <a16:creationId xmlns:a16="http://schemas.microsoft.com/office/drawing/2014/main" id="{478307C6-2DAD-40A0-8CC9-BCC136809A0C}"/>
                </a:ext>
              </a:extLst>
            </p:cNvPr>
            <p:cNvSpPr/>
            <p:nvPr/>
          </p:nvSpPr>
          <p:spPr>
            <a:xfrm>
              <a:off x="149672" y="1714500"/>
              <a:ext cx="314173" cy="497462"/>
            </a:xfrm>
            <a:prstGeom prst="homePlate">
              <a:avLst>
                <a:gd name="adj" fmla="val 29565"/>
              </a:avLst>
            </a:prstGeom>
            <a:solidFill>
              <a:srgbClr val="0070AD"/>
            </a:solid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3</a:t>
              </a:r>
              <a:endParaRPr kumimoji="0" lang="en-US" sz="800" b="1" i="0" u="none" strike="noStrike" kern="0" cap="none" spc="0" normalizeH="0" baseline="0" noProof="0">
                <a:ln>
                  <a:noFill/>
                </a:ln>
                <a:solidFill>
                  <a:srgbClr val="FFFFFF"/>
                </a:solidFill>
                <a:effectLst/>
                <a:uLnTx/>
                <a:uFillTx/>
                <a:latin typeface="Verdana"/>
              </a:endParaRPr>
            </a:p>
          </p:txBody>
        </p:sp>
      </p:grpSp>
      <p:sp>
        <p:nvSpPr>
          <p:cNvPr id="41" name="Rounded Rectangle 53">
            <a:extLst>
              <a:ext uri="{FF2B5EF4-FFF2-40B4-BE49-F238E27FC236}">
                <a16:creationId xmlns:a16="http://schemas.microsoft.com/office/drawing/2014/main" id="{EBE4ED02-982F-4314-A95F-5E4ED98E4ACC}"/>
              </a:ext>
            </a:extLst>
          </p:cNvPr>
          <p:cNvSpPr/>
          <p:nvPr/>
        </p:nvSpPr>
        <p:spPr>
          <a:xfrm>
            <a:off x="0" y="5508525"/>
            <a:ext cx="12192000" cy="1056246"/>
          </a:xfrm>
          <a:prstGeom prst="rect">
            <a:avLst/>
          </a:prstGeom>
          <a:solidFill>
            <a:srgbClr val="2B143D"/>
          </a:solidFill>
          <a:ln w="19050" cap="flat" cmpd="sng" algn="ctr">
            <a:solidFill>
              <a:srgbClr val="FFFFFF"/>
            </a:solidFill>
            <a:prstDash val="solid"/>
            <a:miter lim="800000"/>
          </a:ln>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Verdana"/>
                <a:ea typeface="+mn-ea"/>
                <a:cs typeface="+mn-cs"/>
              </a:rPr>
              <a:t>Critical Success Factor: include representatives from Electric Powertrain (</a:t>
            </a:r>
            <a:r>
              <a:rPr kumimoji="0" lang="en-US" sz="1600" b="0" i="0" u="none" strike="noStrike" kern="1200" cap="none" spc="0" normalizeH="0" baseline="0" noProof="0" err="1">
                <a:ln>
                  <a:noFill/>
                </a:ln>
                <a:solidFill>
                  <a:prstClr val="white"/>
                </a:solidFill>
                <a:effectLst/>
                <a:uLnTx/>
                <a:uFillTx/>
                <a:latin typeface="Verdana"/>
                <a:ea typeface="+mn-ea"/>
                <a:cs typeface="+mn-cs"/>
              </a:rPr>
              <a:t>ePW</a:t>
            </a:r>
            <a:r>
              <a:rPr kumimoji="0" lang="en-US" sz="1600" b="0" i="0" u="none" strike="noStrike" kern="1200" cap="none" spc="0" normalizeH="0" baseline="0" noProof="0">
                <a:ln>
                  <a:noFill/>
                </a:ln>
                <a:solidFill>
                  <a:prstClr val="white"/>
                </a:solidFill>
                <a:effectLst/>
                <a:uLnTx/>
                <a:uFillTx/>
                <a:latin typeface="Verdana"/>
                <a:ea typeface="+mn-ea"/>
                <a:cs typeface="+mn-cs"/>
              </a:rPr>
              <a:t>), Powertrain (P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Verdana"/>
                <a:ea typeface="+mn-ea"/>
                <a:cs typeface="+mn-cs"/>
              </a:rPr>
              <a:t>and Green Technology Solutions (GTS) during kick-off, analysis, design and build phases</a:t>
            </a:r>
          </a:p>
        </p:txBody>
      </p:sp>
      <p:sp>
        <p:nvSpPr>
          <p:cNvPr id="42" name="AutoShape 16">
            <a:extLst>
              <a:ext uri="{FF2B5EF4-FFF2-40B4-BE49-F238E27FC236}">
                <a16:creationId xmlns:a16="http://schemas.microsoft.com/office/drawing/2014/main" id="{ADE70199-24A7-4C44-81BA-34905BAA5568}"/>
              </a:ext>
            </a:extLst>
          </p:cNvPr>
          <p:cNvSpPr>
            <a:spLocks/>
          </p:cNvSpPr>
          <p:nvPr/>
        </p:nvSpPr>
        <p:spPr bwMode="auto">
          <a:xfrm>
            <a:off x="323035" y="1860931"/>
            <a:ext cx="3344090" cy="3320670"/>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216000" marR="0" lvl="0" indent="-216000" algn="just" defTabSz="914400" eaLnBrk="1" fontAlgn="auto" latinLnBrk="0" hangingPunct="1">
              <a:lnSpc>
                <a:spcPct val="100000"/>
              </a:lnSpc>
              <a:spcBef>
                <a:spcPts val="0"/>
              </a:spcBef>
              <a:spcAft>
                <a:spcPts val="1000"/>
              </a:spcAft>
              <a:buClr>
                <a:srgbClr val="0070AD"/>
              </a:buClr>
              <a:buSzTx/>
              <a:buFont typeface="Wingdings" panose="05000000000000000000" pitchFamily="2" charset="2"/>
              <a:buChar char="§"/>
              <a:tabLst/>
              <a:defRPr/>
            </a:pPr>
            <a:endParaRPr kumimoji="0" lang="en-US" sz="1300" b="0" i="0" u="none" strike="noStrike" kern="0" cap="none" spc="-10" normalizeH="0" baseline="0" noProof="0">
              <a:ln>
                <a:noFill/>
              </a:ln>
              <a:solidFill>
                <a:prstClr val="black"/>
              </a:solidFill>
              <a:effectLst/>
              <a:uLnTx/>
              <a:uFillTx/>
              <a:latin typeface="Verdana"/>
              <a:ea typeface="+mn-ea"/>
              <a:cs typeface="+mn-cs"/>
            </a:endParaRP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Understanding the true impact of business process flow change is the foundation of any effective roll out planning</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Marelli will conduct workshops to present the template model to new BLs/countries and Capgemini team will support this phase by identifying localizations and gaps</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Workshops will be common to key representatives from all BLs/countries</a:t>
            </a:r>
          </a:p>
        </p:txBody>
      </p:sp>
      <p:sp>
        <p:nvSpPr>
          <p:cNvPr id="43" name="Rectangle: Diagonal Corners Rounded 68">
            <a:extLst>
              <a:ext uri="{FF2B5EF4-FFF2-40B4-BE49-F238E27FC236}">
                <a16:creationId xmlns:a16="http://schemas.microsoft.com/office/drawing/2014/main" id="{6FCE2038-5D47-4394-A4B3-8CFE9267FA9F}"/>
              </a:ext>
            </a:extLst>
          </p:cNvPr>
          <p:cNvSpPr/>
          <p:nvPr/>
        </p:nvSpPr>
        <p:spPr bwMode="auto">
          <a:xfrm>
            <a:off x="323035" y="1494249"/>
            <a:ext cx="3344090" cy="646331"/>
          </a:xfrm>
          <a:prstGeom prst="round2DiagRect">
            <a:avLst/>
          </a:prstGeom>
          <a:solidFill>
            <a:srgbClr val="0070AD"/>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Understanding the business process change for each BLs</a:t>
            </a:r>
            <a:endParaRPr kumimoji="0" lang="da-DK" sz="1400" b="1" i="0" u="none" strike="noStrike" kern="0" cap="none" spc="0" normalizeH="0" baseline="0" noProof="0">
              <a:ln>
                <a:noFill/>
              </a:ln>
              <a:solidFill>
                <a:srgbClr val="FFFFFF"/>
              </a:solidFill>
              <a:effectLst/>
              <a:uLnTx/>
              <a:uFillTx/>
              <a:latin typeface="Verdana"/>
            </a:endParaRPr>
          </a:p>
        </p:txBody>
      </p:sp>
      <p:sp>
        <p:nvSpPr>
          <p:cNvPr id="44" name="AutoShape 16">
            <a:extLst>
              <a:ext uri="{FF2B5EF4-FFF2-40B4-BE49-F238E27FC236}">
                <a16:creationId xmlns:a16="http://schemas.microsoft.com/office/drawing/2014/main" id="{9FFD438D-84BF-402A-A0BF-87C12DD96D79}"/>
              </a:ext>
            </a:extLst>
          </p:cNvPr>
          <p:cNvSpPr>
            <a:spLocks/>
          </p:cNvSpPr>
          <p:nvPr/>
        </p:nvSpPr>
        <p:spPr bwMode="auto">
          <a:xfrm>
            <a:off x="4171135" y="1860931"/>
            <a:ext cx="3344090" cy="3320670"/>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216000" marR="0" lvl="0" indent="-216000" algn="just" defTabSz="914400" eaLnBrk="1" fontAlgn="auto" latinLnBrk="0" hangingPunct="1">
              <a:lnSpc>
                <a:spcPct val="100000"/>
              </a:lnSpc>
              <a:spcBef>
                <a:spcPts val="0"/>
              </a:spcBef>
              <a:spcAft>
                <a:spcPts val="1000"/>
              </a:spcAft>
              <a:buClr>
                <a:srgbClr val="0070AD"/>
              </a:buClr>
              <a:buSzTx/>
              <a:buFont typeface="Wingdings" panose="05000000000000000000" pitchFamily="2" charset="2"/>
              <a:buChar char="§"/>
              <a:tabLst/>
              <a:defRPr/>
            </a:pPr>
            <a:endParaRPr kumimoji="0" lang="en-US" sz="1300" b="0" i="0" u="none" strike="noStrike" kern="0" cap="none" spc="-10" normalizeH="0" baseline="0" noProof="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Capgemini will design the business process to fit with the existing solution with minimal changes up to a maximum of 50 md (distributed as following: 90 % Configuration and 10 % Customization/Development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Capgemini will leverage all standard Salesforce OOTB Functionalities and/or template features while activating the solution to new BLs/countries.</a:t>
            </a:r>
          </a:p>
        </p:txBody>
      </p:sp>
      <p:sp>
        <p:nvSpPr>
          <p:cNvPr id="45" name="Rectangle: Diagonal Corners Rounded 68">
            <a:extLst>
              <a:ext uri="{FF2B5EF4-FFF2-40B4-BE49-F238E27FC236}">
                <a16:creationId xmlns:a16="http://schemas.microsoft.com/office/drawing/2014/main" id="{EFD87E01-8037-4A02-8CFA-CB5C5EC09C1D}"/>
              </a:ext>
            </a:extLst>
          </p:cNvPr>
          <p:cNvSpPr/>
          <p:nvPr/>
        </p:nvSpPr>
        <p:spPr bwMode="auto">
          <a:xfrm>
            <a:off x="4171135" y="1494249"/>
            <a:ext cx="3344090" cy="646331"/>
          </a:xfrm>
          <a:prstGeom prst="round2DiagRect">
            <a:avLst/>
          </a:prstGeom>
          <a:solidFill>
            <a:srgbClr val="00C37B"/>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Planning and Designing Business Process Changes</a:t>
            </a:r>
            <a:endParaRPr kumimoji="0" lang="da-DK" sz="1400" b="1" i="0" u="none" strike="noStrike" kern="0" cap="none" spc="0" normalizeH="0" baseline="0" noProof="0">
              <a:ln>
                <a:noFill/>
              </a:ln>
              <a:solidFill>
                <a:srgbClr val="FFFFFF"/>
              </a:solidFill>
              <a:effectLst/>
              <a:uLnTx/>
              <a:uFillTx/>
              <a:latin typeface="Verdana"/>
            </a:endParaRPr>
          </a:p>
        </p:txBody>
      </p:sp>
      <p:sp>
        <p:nvSpPr>
          <p:cNvPr id="46" name="AutoShape 16">
            <a:extLst>
              <a:ext uri="{FF2B5EF4-FFF2-40B4-BE49-F238E27FC236}">
                <a16:creationId xmlns:a16="http://schemas.microsoft.com/office/drawing/2014/main" id="{165DE9F6-F516-44C2-9A30-9DBBEEA745F1}"/>
              </a:ext>
            </a:extLst>
          </p:cNvPr>
          <p:cNvSpPr>
            <a:spLocks/>
          </p:cNvSpPr>
          <p:nvPr/>
        </p:nvSpPr>
        <p:spPr bwMode="auto">
          <a:xfrm>
            <a:off x="8038285" y="1860931"/>
            <a:ext cx="3344090" cy="3320670"/>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216000" marR="0" lvl="0" indent="-216000" algn="just" defTabSz="914400" eaLnBrk="1" fontAlgn="auto" latinLnBrk="0" hangingPunct="1">
              <a:lnSpc>
                <a:spcPct val="100000"/>
              </a:lnSpc>
              <a:spcBef>
                <a:spcPts val="0"/>
              </a:spcBef>
              <a:spcAft>
                <a:spcPts val="1000"/>
              </a:spcAft>
              <a:buClr>
                <a:srgbClr val="0070AD"/>
              </a:buClr>
              <a:buSzTx/>
              <a:buFont typeface="Wingdings" panose="05000000000000000000" pitchFamily="2" charset="2"/>
              <a:buChar char="§"/>
              <a:tabLst/>
              <a:defRPr/>
            </a:pPr>
            <a:endParaRPr kumimoji="0" lang="en-US" sz="1300" b="0" i="0" u="none" strike="noStrike" kern="0" cap="none" spc="-10" normalizeH="0" baseline="0" noProof="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Capgemini team will configure and customize the business process of BLs in agile Methodology</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Key users will be involved during User Acceptance Tests (with common sessions to all BLs/countries) and train-the-trainer sessions (max 5 sessions)</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Regarding NRTs, it is assumed that, due to the limited number of localizations (i.e. &lt; 50 md), a maximum of 10 NRTs cases will be performed</a:t>
            </a:r>
          </a:p>
        </p:txBody>
      </p:sp>
      <p:sp>
        <p:nvSpPr>
          <p:cNvPr id="47" name="Rectangle: Diagonal Corners Rounded 68">
            <a:extLst>
              <a:ext uri="{FF2B5EF4-FFF2-40B4-BE49-F238E27FC236}">
                <a16:creationId xmlns:a16="http://schemas.microsoft.com/office/drawing/2014/main" id="{799812E1-AD39-45A7-BCAF-0D4045A58296}"/>
              </a:ext>
            </a:extLst>
          </p:cNvPr>
          <p:cNvSpPr/>
          <p:nvPr/>
        </p:nvSpPr>
        <p:spPr bwMode="auto">
          <a:xfrm>
            <a:off x="8038285" y="1494249"/>
            <a:ext cx="3344090" cy="646331"/>
          </a:xfrm>
          <a:prstGeom prst="round2DiagRect">
            <a:avLst/>
          </a:prstGeom>
          <a:solidFill>
            <a:srgbClr val="2B143D">
              <a:lumMod val="75000"/>
              <a:lumOff val="25000"/>
            </a:srgbClr>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Implementing Business Process Changes</a:t>
            </a:r>
            <a:endParaRPr kumimoji="0" lang="da-DK" sz="1400" b="1" i="0" u="none" strike="noStrike" kern="0" cap="none" spc="0" normalizeH="0" baseline="0" noProof="0">
              <a:ln>
                <a:noFill/>
              </a:ln>
              <a:solidFill>
                <a:srgbClr val="FFFFFF"/>
              </a:solidFill>
              <a:effectLst/>
              <a:uLnTx/>
              <a:uFillTx/>
              <a:latin typeface="Verdana"/>
            </a:endParaRPr>
          </a:p>
        </p:txBody>
      </p:sp>
      <p:sp>
        <p:nvSpPr>
          <p:cNvPr id="48" name="Oval 47">
            <a:extLst>
              <a:ext uri="{FF2B5EF4-FFF2-40B4-BE49-F238E27FC236}">
                <a16:creationId xmlns:a16="http://schemas.microsoft.com/office/drawing/2014/main" id="{067B39FF-6DCE-4FF8-8844-D5A159AB4075}"/>
              </a:ext>
            </a:extLst>
          </p:cNvPr>
          <p:cNvSpPr/>
          <p:nvPr/>
        </p:nvSpPr>
        <p:spPr>
          <a:xfrm>
            <a:off x="74134" y="1383960"/>
            <a:ext cx="457200" cy="430211"/>
          </a:xfrm>
          <a:prstGeom prst="ellipse">
            <a:avLst/>
          </a:prstGeom>
          <a:solidFill>
            <a:srgbClr val="0070AD"/>
          </a:solidFill>
          <a:ln w="12700" cap="flat" cmpd="sng" algn="ctr">
            <a:solidFill>
              <a:srgbClr val="0070AD">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1</a:t>
            </a:r>
          </a:p>
        </p:txBody>
      </p:sp>
      <p:sp>
        <p:nvSpPr>
          <p:cNvPr id="49" name="Oval 48">
            <a:extLst>
              <a:ext uri="{FF2B5EF4-FFF2-40B4-BE49-F238E27FC236}">
                <a16:creationId xmlns:a16="http://schemas.microsoft.com/office/drawing/2014/main" id="{96217CDF-854B-42EF-932F-B321EF035F92}"/>
              </a:ext>
            </a:extLst>
          </p:cNvPr>
          <p:cNvSpPr/>
          <p:nvPr/>
        </p:nvSpPr>
        <p:spPr>
          <a:xfrm>
            <a:off x="3961585" y="1412484"/>
            <a:ext cx="457200" cy="430211"/>
          </a:xfrm>
          <a:prstGeom prst="ellipse">
            <a:avLst/>
          </a:prstGeom>
          <a:solidFill>
            <a:srgbClr val="00C37B"/>
          </a:solidFill>
          <a:ln w="12700" cap="flat" cmpd="sng" algn="ctr">
            <a:solidFill>
              <a:srgbClr val="00C37B">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2</a:t>
            </a:r>
          </a:p>
        </p:txBody>
      </p:sp>
      <p:sp>
        <p:nvSpPr>
          <p:cNvPr id="50" name="Oval 49">
            <a:extLst>
              <a:ext uri="{FF2B5EF4-FFF2-40B4-BE49-F238E27FC236}">
                <a16:creationId xmlns:a16="http://schemas.microsoft.com/office/drawing/2014/main" id="{A9947191-8A4B-4214-87AB-26234DAED8EF}"/>
              </a:ext>
            </a:extLst>
          </p:cNvPr>
          <p:cNvSpPr/>
          <p:nvPr/>
        </p:nvSpPr>
        <p:spPr>
          <a:xfrm>
            <a:off x="7843430" y="1422505"/>
            <a:ext cx="457200" cy="430211"/>
          </a:xfrm>
          <a:prstGeom prst="ellipse">
            <a:avLst/>
          </a:prstGeom>
          <a:solidFill>
            <a:srgbClr val="2B143D">
              <a:lumMod val="75000"/>
              <a:lumOff val="25000"/>
            </a:srgbClr>
          </a:solidFill>
          <a:ln w="12700" cap="flat" cmpd="sng" algn="ctr">
            <a:solidFill>
              <a:srgbClr val="2B143D">
                <a:lumMod val="90000"/>
                <a:lumOff val="1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3</a:t>
            </a:r>
          </a:p>
        </p:txBody>
      </p:sp>
    </p:spTree>
    <p:extLst>
      <p:ext uri="{BB962C8B-B14F-4D97-AF65-F5344CB8AC3E}">
        <p14:creationId xmlns:p14="http://schemas.microsoft.com/office/powerpoint/2010/main" val="30217464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5" name="object 2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8</a:t>
            </a:fld>
            <a:endParaRPr sz="800">
              <a:latin typeface="Verdana"/>
              <a:cs typeface="Verdana"/>
            </a:endParaRPr>
          </a:p>
        </p:txBody>
      </p:sp>
      <p:sp>
        <p:nvSpPr>
          <p:cNvPr id="26" name="Title 1">
            <a:extLst>
              <a:ext uri="{FF2B5EF4-FFF2-40B4-BE49-F238E27FC236}">
                <a16:creationId xmlns:a16="http://schemas.microsoft.com/office/drawing/2014/main" id="{8D109476-C265-488C-9880-4327CCD0A7C9}"/>
              </a:ext>
            </a:extLst>
          </p:cNvPr>
          <p:cNvSpPr txBox="1">
            <a:spLocks/>
          </p:cNvSpPr>
          <p:nvPr/>
        </p:nvSpPr>
        <p:spPr>
          <a:xfrm>
            <a:off x="227349" y="0"/>
            <a:ext cx="10833175"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0" cap="none" spc="0" normalizeH="0" baseline="0" noProof="0">
                <a:ln>
                  <a:noFill/>
                </a:ln>
                <a:solidFill>
                  <a:srgbClr val="0070AD"/>
                </a:solidFill>
                <a:effectLst/>
                <a:uLnTx/>
                <a:uFillTx/>
                <a:latin typeface="Verdana"/>
                <a:ea typeface="+mj-ea"/>
                <a:cs typeface="+mj-cs"/>
              </a:rPr>
              <a:t>Salesforce Roll out Strategy – Estimation drivers</a:t>
            </a:r>
            <a:endParaRPr kumimoji="0" lang="en-US" sz="2600" b="0" i="0" u="none" strike="noStrike" kern="1200" cap="none" spc="0" normalizeH="0" baseline="0" noProof="0">
              <a:ln>
                <a:noFill/>
              </a:ln>
              <a:solidFill>
                <a:srgbClr val="0070AD"/>
              </a:solidFill>
              <a:effectLst/>
              <a:uLnTx/>
              <a:uFillTx/>
              <a:latin typeface="Verdana"/>
              <a:ea typeface="+mj-ea"/>
              <a:cs typeface="+mj-cs"/>
            </a:endParaRPr>
          </a:p>
        </p:txBody>
      </p:sp>
      <p:sp>
        <p:nvSpPr>
          <p:cNvPr id="27" name="Rectangle 26">
            <a:extLst>
              <a:ext uri="{FF2B5EF4-FFF2-40B4-BE49-F238E27FC236}">
                <a16:creationId xmlns:a16="http://schemas.microsoft.com/office/drawing/2014/main" id="{5A78B8E2-15F3-4F78-B717-085834B3614E}"/>
              </a:ext>
            </a:extLst>
          </p:cNvPr>
          <p:cNvSpPr/>
          <p:nvPr/>
        </p:nvSpPr>
        <p:spPr>
          <a:xfrm>
            <a:off x="213284" y="1263941"/>
            <a:ext cx="11752909" cy="4939814"/>
          </a:xfrm>
          <a:prstGeom prst="rect">
            <a:avLst/>
          </a:prstGeom>
        </p:spPr>
        <p:txBody>
          <a:bodyPr wrap="square">
            <a:spAutoFit/>
          </a:bodyPr>
          <a:lstStyle/>
          <a:p>
            <a:pPr marL="285750" indent="-285750" algn="just">
              <a:buFont typeface="Arial" panose="020B0604020202020204" pitchFamily="34" charset="0"/>
              <a:buChar char="•"/>
            </a:pPr>
            <a:r>
              <a:rPr lang="en-US" sz="1500" kern="0">
                <a:solidFill>
                  <a:prstClr val="black"/>
                </a:solidFill>
                <a:latin typeface="Verdana"/>
              </a:rPr>
              <a:t>Features to be used by new Business Lines (i.e. Electric Powertrain, Powertrain and Green Technology Solutions) are 90% equal to the features used by BLs already live (i.e. Automotive Lighting and Electronics): if there is more than </a:t>
            </a:r>
            <a:r>
              <a:rPr lang="en-US" sz="1500" b="1" kern="0">
                <a:solidFill>
                  <a:prstClr val="black"/>
                </a:solidFill>
                <a:latin typeface="Verdana"/>
              </a:rPr>
              <a:t>10% deviation </a:t>
            </a:r>
            <a:r>
              <a:rPr lang="en-US" sz="1500" kern="0">
                <a:solidFill>
                  <a:prstClr val="black"/>
                </a:solidFill>
                <a:latin typeface="Verdana"/>
              </a:rPr>
              <a:t>the change request management procedure will be adopted</a:t>
            </a:r>
          </a:p>
          <a:p>
            <a:pPr algn="just"/>
            <a:endParaRPr lang="en-US" sz="1500" kern="0">
              <a:solidFill>
                <a:prstClr val="black"/>
              </a:solidFill>
              <a:latin typeface="Verdana"/>
            </a:endParaRPr>
          </a:p>
          <a:p>
            <a:pPr marL="285750" indent="-285750" algn="just">
              <a:buFont typeface="Arial" panose="020B0604020202020204" pitchFamily="34" charset="0"/>
              <a:buChar char="•"/>
            </a:pPr>
            <a:r>
              <a:rPr lang="en-US" sz="1500" kern="0">
                <a:solidFill>
                  <a:prstClr val="black"/>
                </a:solidFill>
                <a:latin typeface="Verdana"/>
              </a:rPr>
              <a:t>As reported in the RFQ and discussed during orals sessions, it is assumed that Marelli will conduct business workshops and describe business processes and as-is features to local business users and Capgemini will be available for technical support and for assessing gaps. Capgemini can eventually provide availability of a business expert with in-depth knowledge about industry standards and demand planning business processes if required by Marelli (not included in current proposal)</a:t>
            </a:r>
          </a:p>
          <a:p>
            <a:pPr marL="285750" indent="-285750" algn="just">
              <a:buFont typeface="Arial" panose="020B0604020202020204" pitchFamily="34" charset="0"/>
              <a:buChar char="•"/>
            </a:pPr>
            <a:endParaRPr lang="en-US" sz="1500" kern="0">
              <a:solidFill>
                <a:prstClr val="black"/>
              </a:solidFill>
              <a:latin typeface="Verdana"/>
            </a:endParaRPr>
          </a:p>
          <a:p>
            <a:pPr marL="285750" indent="-285750" algn="just">
              <a:buFont typeface="Arial" panose="020B0604020202020204" pitchFamily="34" charset="0"/>
              <a:buChar char="•"/>
            </a:pPr>
            <a:r>
              <a:rPr lang="en-US" sz="1500" kern="0">
                <a:solidFill>
                  <a:prstClr val="black"/>
                </a:solidFill>
                <a:latin typeface="Verdana"/>
              </a:rPr>
              <a:t>Regarding trainings, the Capgemini project team will perform train-the-trainer sessions to the key users identified by Marelli. It has been assumed to execute common train-the-trainer sessions to users belonging to different BLs, assuming a maximum of 5 sessions (each one with a maximum of 10 key users)</a:t>
            </a:r>
          </a:p>
          <a:p>
            <a:pPr marL="285750" indent="-285750" algn="just">
              <a:buFont typeface="Arial" panose="020B0604020202020204" pitchFamily="34" charset="0"/>
              <a:buChar char="•"/>
            </a:pPr>
            <a:endParaRPr lang="en-US" sz="1500" kern="0">
              <a:solidFill>
                <a:prstClr val="black"/>
              </a:solidFill>
              <a:latin typeface="Verdana"/>
            </a:endParaRPr>
          </a:p>
          <a:p>
            <a:pPr marL="285750" indent="-285750" algn="just">
              <a:buFont typeface="Arial" panose="020B0604020202020204" pitchFamily="34" charset="0"/>
              <a:buChar char="•"/>
            </a:pPr>
            <a:r>
              <a:rPr lang="en-US" sz="1500" kern="0">
                <a:solidFill>
                  <a:prstClr val="black"/>
                </a:solidFill>
                <a:latin typeface="Verdana"/>
              </a:rPr>
              <a:t>This wave 1 rollout will apply to BLs in scope (ePW,PW,GTS) in Italy and Japan. English is the official language of the system for all BLs and countries, anyway the </a:t>
            </a:r>
            <a:r>
              <a:rPr lang="en-US" sz="1500" b="1" kern="0">
                <a:solidFill>
                  <a:prstClr val="black"/>
                </a:solidFill>
                <a:latin typeface="Verdana"/>
              </a:rPr>
              <a:t>availability of a local Capgemini business analysts </a:t>
            </a:r>
            <a:r>
              <a:rPr lang="en-US" sz="1500" kern="0">
                <a:solidFill>
                  <a:prstClr val="black"/>
                </a:solidFill>
                <a:latin typeface="Verdana"/>
              </a:rPr>
              <a:t>(Japan) has been foreseen during analysis and tests phases in order to facilitate interactions with business users</a:t>
            </a:r>
          </a:p>
          <a:p>
            <a:pPr algn="just"/>
            <a:endParaRPr lang="en-US" sz="1500" kern="0">
              <a:solidFill>
                <a:prstClr val="black"/>
              </a:solidFill>
              <a:latin typeface="Verdana"/>
            </a:endParaRPr>
          </a:p>
          <a:p>
            <a:pPr algn="just"/>
            <a:endParaRPr lang="en-US" sz="1500" kern="0">
              <a:solidFill>
                <a:prstClr val="black"/>
              </a:solidFill>
              <a:latin typeface="Verdana"/>
            </a:endParaRPr>
          </a:p>
          <a:p>
            <a:pPr marL="285750" indent="-285750" algn="just">
              <a:buFont typeface="Arial" panose="020B0604020202020204" pitchFamily="34" charset="0"/>
              <a:buChar char="•"/>
            </a:pPr>
            <a:r>
              <a:rPr lang="en-US" sz="1500" kern="0">
                <a:solidFill>
                  <a:prstClr val="black"/>
                </a:solidFill>
                <a:latin typeface="Verdana"/>
              </a:rPr>
              <a:t>Regarding Salesforce.com architecture, it is assumed that all business lines will be hosted on the </a:t>
            </a:r>
            <a:r>
              <a:rPr lang="en-US" sz="1500" b="1" kern="0">
                <a:solidFill>
                  <a:prstClr val="black"/>
                </a:solidFill>
                <a:latin typeface="Verdana"/>
              </a:rPr>
              <a:t>same org</a:t>
            </a:r>
          </a:p>
          <a:p>
            <a:pPr algn="just"/>
            <a:endParaRPr lang="en-US" sz="1500" kern="0">
              <a:solidFill>
                <a:prstClr val="black"/>
              </a:solidFill>
              <a:latin typeface="Verdana"/>
            </a:endParaRPr>
          </a:p>
        </p:txBody>
      </p:sp>
      <p:grpSp>
        <p:nvGrpSpPr>
          <p:cNvPr id="28" name="Group 27">
            <a:extLst>
              <a:ext uri="{FF2B5EF4-FFF2-40B4-BE49-F238E27FC236}">
                <a16:creationId xmlns:a16="http://schemas.microsoft.com/office/drawing/2014/main" id="{ED0E7411-3EDA-48A3-BD65-72BB18783AC2}"/>
              </a:ext>
            </a:extLst>
          </p:cNvPr>
          <p:cNvGrpSpPr/>
          <p:nvPr/>
        </p:nvGrpSpPr>
        <p:grpSpPr>
          <a:xfrm>
            <a:off x="9833348" y="57440"/>
            <a:ext cx="496062" cy="613118"/>
            <a:chOff x="149672" y="1656672"/>
            <a:chExt cx="314173" cy="613118"/>
          </a:xfrm>
          <a:solidFill>
            <a:srgbClr val="0070AD"/>
          </a:solidFill>
        </p:grpSpPr>
        <p:sp>
          <p:nvSpPr>
            <p:cNvPr id="29" name="Rounded Rectangle 41">
              <a:extLst>
                <a:ext uri="{FF2B5EF4-FFF2-40B4-BE49-F238E27FC236}">
                  <a16:creationId xmlns:a16="http://schemas.microsoft.com/office/drawing/2014/main" id="{333693C1-2BB0-4D80-8A73-3BE59E4633C3}"/>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0" name="Rounded Rectangle 41">
              <a:extLst>
                <a:ext uri="{FF2B5EF4-FFF2-40B4-BE49-F238E27FC236}">
                  <a16:creationId xmlns:a16="http://schemas.microsoft.com/office/drawing/2014/main" id="{78986232-B767-4DF9-8ECE-89FB5FCC70CF}"/>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1" name="Freeform 42">
              <a:extLst>
                <a:ext uri="{FF2B5EF4-FFF2-40B4-BE49-F238E27FC236}">
                  <a16:creationId xmlns:a16="http://schemas.microsoft.com/office/drawing/2014/main" id="{06B3FDBC-264C-4773-BADA-8F4CACF177AD}"/>
                </a:ext>
              </a:extLst>
            </p:cNvPr>
            <p:cNvSpPr/>
            <p:nvPr/>
          </p:nvSpPr>
          <p:spPr>
            <a:xfrm>
              <a:off x="149672" y="1714500"/>
              <a:ext cx="314173"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1</a:t>
              </a:r>
              <a:endParaRPr kumimoji="0" lang="en-US" sz="800" b="1" i="0" u="none" strike="noStrike" kern="0" cap="none" spc="0" normalizeH="0" baseline="0" noProof="0">
                <a:ln>
                  <a:noFill/>
                </a:ln>
                <a:solidFill>
                  <a:srgbClr val="FFFFFF"/>
                </a:solidFill>
                <a:effectLst/>
                <a:uLnTx/>
                <a:uFillTx/>
                <a:latin typeface="Verdana"/>
              </a:endParaRPr>
            </a:p>
          </p:txBody>
        </p:sp>
      </p:grpSp>
      <p:grpSp>
        <p:nvGrpSpPr>
          <p:cNvPr id="32" name="Group 31">
            <a:extLst>
              <a:ext uri="{FF2B5EF4-FFF2-40B4-BE49-F238E27FC236}">
                <a16:creationId xmlns:a16="http://schemas.microsoft.com/office/drawing/2014/main" id="{B883A414-ACC9-411B-B4F9-77A8DD9671A8}"/>
              </a:ext>
            </a:extLst>
          </p:cNvPr>
          <p:cNvGrpSpPr/>
          <p:nvPr/>
        </p:nvGrpSpPr>
        <p:grpSpPr>
          <a:xfrm>
            <a:off x="10366606" y="60856"/>
            <a:ext cx="496062" cy="613118"/>
            <a:chOff x="149672" y="1656672"/>
            <a:chExt cx="314173" cy="613118"/>
          </a:xfrm>
          <a:solidFill>
            <a:srgbClr val="0070AD"/>
          </a:solidFill>
        </p:grpSpPr>
        <p:sp>
          <p:nvSpPr>
            <p:cNvPr id="33" name="Rounded Rectangle 41">
              <a:extLst>
                <a:ext uri="{FF2B5EF4-FFF2-40B4-BE49-F238E27FC236}">
                  <a16:creationId xmlns:a16="http://schemas.microsoft.com/office/drawing/2014/main" id="{69B0BC2F-049F-4348-B2AD-6BB36128442D}"/>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4" name="Rounded Rectangle 41">
              <a:extLst>
                <a:ext uri="{FF2B5EF4-FFF2-40B4-BE49-F238E27FC236}">
                  <a16:creationId xmlns:a16="http://schemas.microsoft.com/office/drawing/2014/main" id="{F40E8C2A-2622-42EE-BDAF-29330C35F336}"/>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5" name="Freeform 42">
              <a:extLst>
                <a:ext uri="{FF2B5EF4-FFF2-40B4-BE49-F238E27FC236}">
                  <a16:creationId xmlns:a16="http://schemas.microsoft.com/office/drawing/2014/main" id="{A55745D3-D273-4237-BB12-638933C5998F}"/>
                </a:ext>
              </a:extLst>
            </p:cNvPr>
            <p:cNvSpPr/>
            <p:nvPr/>
          </p:nvSpPr>
          <p:spPr>
            <a:xfrm>
              <a:off x="149672" y="1714500"/>
              <a:ext cx="314173" cy="497462"/>
            </a:xfrm>
            <a:prstGeom prst="homePlate">
              <a:avLst>
                <a:gd name="adj" fmla="val 29565"/>
              </a:avLst>
            </a:prstGeom>
            <a:grp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2</a:t>
              </a:r>
              <a:endParaRPr kumimoji="0" lang="en-US" sz="800" b="1" i="0" u="none" strike="noStrike" kern="0" cap="none" spc="0" normalizeH="0" baseline="0" noProof="0">
                <a:ln>
                  <a:noFill/>
                </a:ln>
                <a:solidFill>
                  <a:srgbClr val="FFFFFF"/>
                </a:solidFill>
                <a:effectLst/>
                <a:uLnTx/>
                <a:uFillTx/>
                <a:latin typeface="Verdana"/>
              </a:endParaRPr>
            </a:p>
          </p:txBody>
        </p:sp>
      </p:grpSp>
      <p:grpSp>
        <p:nvGrpSpPr>
          <p:cNvPr id="36" name="Group 35">
            <a:extLst>
              <a:ext uri="{FF2B5EF4-FFF2-40B4-BE49-F238E27FC236}">
                <a16:creationId xmlns:a16="http://schemas.microsoft.com/office/drawing/2014/main" id="{2F9116A3-6555-4F6D-9170-3FCEA00AE189}"/>
              </a:ext>
            </a:extLst>
          </p:cNvPr>
          <p:cNvGrpSpPr/>
          <p:nvPr/>
        </p:nvGrpSpPr>
        <p:grpSpPr>
          <a:xfrm>
            <a:off x="10861369" y="67814"/>
            <a:ext cx="496062" cy="613118"/>
            <a:chOff x="149672" y="1656672"/>
            <a:chExt cx="314173" cy="613118"/>
          </a:xfrm>
          <a:solidFill>
            <a:srgbClr val="12ABDB"/>
          </a:solidFill>
        </p:grpSpPr>
        <p:sp>
          <p:nvSpPr>
            <p:cNvPr id="37" name="Rounded Rectangle 41">
              <a:extLst>
                <a:ext uri="{FF2B5EF4-FFF2-40B4-BE49-F238E27FC236}">
                  <a16:creationId xmlns:a16="http://schemas.microsoft.com/office/drawing/2014/main" id="{26DFDDA8-968A-42EA-ACFC-9F0F07D9A8B9}"/>
                </a:ext>
              </a:extLst>
            </p:cNvPr>
            <p:cNvSpPr/>
            <p:nvPr/>
          </p:nvSpPr>
          <p:spPr>
            <a:xfrm>
              <a:off x="227349" y="1656672"/>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8" name="Rounded Rectangle 41">
              <a:extLst>
                <a:ext uri="{FF2B5EF4-FFF2-40B4-BE49-F238E27FC236}">
                  <a16:creationId xmlns:a16="http://schemas.microsoft.com/office/drawing/2014/main" id="{093FBADB-32F5-4052-AC1A-85235258F100}"/>
                </a:ext>
              </a:extLst>
            </p:cNvPr>
            <p:cNvSpPr/>
            <p:nvPr/>
          </p:nvSpPr>
          <p:spPr>
            <a:xfrm>
              <a:off x="227349" y="2017929"/>
              <a:ext cx="61388" cy="251861"/>
            </a:xfrm>
            <a:prstGeom prst="roundRect">
              <a:avLst>
                <a:gd name="adj" fmla="val 50000"/>
              </a:avLst>
            </a:prstGeom>
            <a:grp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39" name="Freeform 42">
              <a:extLst>
                <a:ext uri="{FF2B5EF4-FFF2-40B4-BE49-F238E27FC236}">
                  <a16:creationId xmlns:a16="http://schemas.microsoft.com/office/drawing/2014/main" id="{EEF4C520-A7D0-4B21-AAC4-D5CE075A20E9}"/>
                </a:ext>
              </a:extLst>
            </p:cNvPr>
            <p:cNvSpPr/>
            <p:nvPr/>
          </p:nvSpPr>
          <p:spPr>
            <a:xfrm>
              <a:off x="149672" y="1714500"/>
              <a:ext cx="314173" cy="497462"/>
            </a:xfrm>
            <a:prstGeom prst="homePlate">
              <a:avLst>
                <a:gd name="adj" fmla="val 29565"/>
              </a:avLst>
            </a:prstGeom>
            <a:solidFill>
              <a:srgbClr val="0070AD"/>
            </a:solid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800" b="1" i="0" u="none" strike="noStrike" kern="0" cap="none" spc="0" normalizeH="0" baseline="0" noProof="0">
                  <a:ln>
                    <a:noFill/>
                  </a:ln>
                  <a:solidFill>
                    <a:srgbClr val="FFFFFF"/>
                  </a:solidFill>
                  <a:effectLst/>
                  <a:uLnTx/>
                  <a:uFillTx/>
                  <a:latin typeface="Verdana"/>
                </a:rPr>
                <a:t>2.3</a:t>
              </a:r>
              <a:endParaRPr kumimoji="0" lang="en-US" sz="800" b="1" i="0" u="none" strike="noStrike" kern="0" cap="none" spc="0" normalizeH="0" baseline="0" noProof="0">
                <a:ln>
                  <a:noFill/>
                </a:ln>
                <a:solidFill>
                  <a:srgbClr val="FFFFFF"/>
                </a:solidFill>
                <a:effectLst/>
                <a:uLnTx/>
                <a:uFillTx/>
                <a:latin typeface="Verdana"/>
              </a:endParaRPr>
            </a:p>
          </p:txBody>
        </p:sp>
      </p:grpSp>
    </p:spTree>
    <p:extLst>
      <p:ext uri="{BB962C8B-B14F-4D97-AF65-F5344CB8AC3E}">
        <p14:creationId xmlns:p14="http://schemas.microsoft.com/office/powerpoint/2010/main" val="7306848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626350" cy="422275"/>
          </a:xfrm>
          <a:prstGeom prst="rect">
            <a:avLst/>
          </a:prstGeom>
        </p:spPr>
        <p:txBody>
          <a:bodyPr vert="horz" wrap="square" lIns="0" tIns="12700" rIns="0" bIns="0" rtlCol="0">
            <a:spAutoFit/>
          </a:bodyPr>
          <a:lstStyle/>
          <a:p>
            <a:pPr marL="12700">
              <a:lnSpc>
                <a:spcPct val="100000"/>
              </a:lnSpc>
              <a:spcBef>
                <a:spcPts val="100"/>
              </a:spcBef>
            </a:pPr>
            <a:r>
              <a:rPr sz="2600" spc="-30"/>
              <a:t>Technical </a:t>
            </a:r>
            <a:r>
              <a:rPr sz="2600"/>
              <a:t>Implementation Approach – </a:t>
            </a:r>
            <a:r>
              <a:rPr sz="2600" spc="-45"/>
              <a:t>Wave</a:t>
            </a:r>
            <a:r>
              <a:rPr sz="2600" spc="-105"/>
              <a:t> </a:t>
            </a:r>
            <a:r>
              <a:rPr sz="2600"/>
              <a:t>1</a:t>
            </a:r>
          </a:p>
        </p:txBody>
      </p:sp>
      <p:sp>
        <p:nvSpPr>
          <p:cNvPr id="74" name="object 7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5" name="object 7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09</a:t>
            </a:fld>
            <a:endParaRPr sz="800">
              <a:latin typeface="Verdana"/>
              <a:cs typeface="Verdana"/>
            </a:endParaRPr>
          </a:p>
        </p:txBody>
      </p:sp>
      <p:sp>
        <p:nvSpPr>
          <p:cNvPr id="45" name="Rectangle 44">
            <a:extLst>
              <a:ext uri="{FF2B5EF4-FFF2-40B4-BE49-F238E27FC236}">
                <a16:creationId xmlns:a16="http://schemas.microsoft.com/office/drawing/2014/main" id="{B2C62E64-C5CF-40C5-9E5B-D59325233FDB}"/>
              </a:ext>
            </a:extLst>
          </p:cNvPr>
          <p:cNvSpPr/>
          <p:nvPr/>
        </p:nvSpPr>
        <p:spPr>
          <a:xfrm>
            <a:off x="2240299" y="5313233"/>
            <a:ext cx="7811751" cy="369332"/>
          </a:xfrm>
          <a:prstGeom prst="rect">
            <a:avLst/>
          </a:prstGeom>
          <a:solidFill>
            <a:srgbClr val="421F5D"/>
          </a:solidFill>
          <a:ln>
            <a:noFill/>
          </a:ln>
        </p:spPr>
        <p:txBody>
          <a:bodyPr wrap="square" anchor="ctr">
            <a:spAutoFit/>
          </a:bodyPr>
          <a:lstStyle/>
          <a:p>
            <a:pPr algn="ctr" fontAlgn="ctr"/>
            <a:r>
              <a:rPr lang="en-US">
                <a:solidFill>
                  <a:srgbClr val="FFFFFF"/>
                </a:solidFill>
                <a:latin typeface="Verdana"/>
              </a:rPr>
              <a:t>CRM Functionalities (Automotive Lighting &amp; Electronics )</a:t>
            </a:r>
          </a:p>
        </p:txBody>
      </p:sp>
      <p:sp>
        <p:nvSpPr>
          <p:cNvPr id="46" name="Rectangle 45">
            <a:extLst>
              <a:ext uri="{FF2B5EF4-FFF2-40B4-BE49-F238E27FC236}">
                <a16:creationId xmlns:a16="http://schemas.microsoft.com/office/drawing/2014/main" id="{9D38A08B-1215-427E-9EA1-B115BF9D3546}"/>
              </a:ext>
            </a:extLst>
          </p:cNvPr>
          <p:cNvSpPr/>
          <p:nvPr/>
        </p:nvSpPr>
        <p:spPr>
          <a:xfrm>
            <a:off x="2256616" y="5908893"/>
            <a:ext cx="7795434"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Integration (Actual Volume)</a:t>
            </a:r>
          </a:p>
        </p:txBody>
      </p:sp>
      <p:sp>
        <p:nvSpPr>
          <p:cNvPr id="47" name="Rectangle 46">
            <a:extLst>
              <a:ext uri="{FF2B5EF4-FFF2-40B4-BE49-F238E27FC236}">
                <a16:creationId xmlns:a16="http://schemas.microsoft.com/office/drawing/2014/main" id="{830A17B5-FA08-4B24-A8D0-BAA2AA4CE452}"/>
              </a:ext>
            </a:extLst>
          </p:cNvPr>
          <p:cNvSpPr/>
          <p:nvPr/>
        </p:nvSpPr>
        <p:spPr>
          <a:xfrm>
            <a:off x="2139950" y="981000"/>
            <a:ext cx="7912099" cy="2111498"/>
          </a:xfrm>
          <a:prstGeom prst="rect">
            <a:avLst/>
          </a:pr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48" name="Shape 1171">
            <a:extLst>
              <a:ext uri="{FF2B5EF4-FFF2-40B4-BE49-F238E27FC236}">
                <a16:creationId xmlns:a16="http://schemas.microsoft.com/office/drawing/2014/main" id="{09CF974E-B925-4E79-930D-ED469AC94C8B}"/>
              </a:ext>
            </a:extLst>
          </p:cNvPr>
          <p:cNvSpPr/>
          <p:nvPr/>
        </p:nvSpPr>
        <p:spPr>
          <a:xfrm>
            <a:off x="6380844" y="1047407"/>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eneral Platform</a:t>
            </a:r>
          </a:p>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Optimization</a:t>
            </a:r>
          </a:p>
        </p:txBody>
      </p:sp>
      <p:grpSp>
        <p:nvGrpSpPr>
          <p:cNvPr id="49" name="Group 48">
            <a:extLst>
              <a:ext uri="{FF2B5EF4-FFF2-40B4-BE49-F238E27FC236}">
                <a16:creationId xmlns:a16="http://schemas.microsoft.com/office/drawing/2014/main" id="{A769F5EC-E767-4EE0-AD70-72FF0834DF9B}"/>
              </a:ext>
            </a:extLst>
          </p:cNvPr>
          <p:cNvGrpSpPr/>
          <p:nvPr/>
        </p:nvGrpSpPr>
        <p:grpSpPr>
          <a:xfrm>
            <a:off x="6380844" y="1060995"/>
            <a:ext cx="573576" cy="613118"/>
            <a:chOff x="227349" y="1656672"/>
            <a:chExt cx="331451" cy="613118"/>
          </a:xfrm>
          <a:solidFill>
            <a:srgbClr val="FFFFFF">
              <a:lumMod val="85000"/>
            </a:srgbClr>
          </a:solidFill>
        </p:grpSpPr>
        <p:sp>
          <p:nvSpPr>
            <p:cNvPr id="50" name="Rounded Rectangle 41">
              <a:extLst>
                <a:ext uri="{FF2B5EF4-FFF2-40B4-BE49-F238E27FC236}">
                  <a16:creationId xmlns:a16="http://schemas.microsoft.com/office/drawing/2014/main" id="{028B280C-2447-483C-9B51-A194CCA2BF71}"/>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1" name="Rounded Rectangle 41">
              <a:extLst>
                <a:ext uri="{FF2B5EF4-FFF2-40B4-BE49-F238E27FC236}">
                  <a16:creationId xmlns:a16="http://schemas.microsoft.com/office/drawing/2014/main" id="{BB0077DC-FB19-4D41-A62B-D22D44E77967}"/>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2" name="Freeform 42">
              <a:extLst>
                <a:ext uri="{FF2B5EF4-FFF2-40B4-BE49-F238E27FC236}">
                  <a16:creationId xmlns:a16="http://schemas.microsoft.com/office/drawing/2014/main" id="{1D0B0BE6-9690-48D1-B0D9-2E8171CF2487}"/>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53" name="Shape 1171">
            <a:extLst>
              <a:ext uri="{FF2B5EF4-FFF2-40B4-BE49-F238E27FC236}">
                <a16:creationId xmlns:a16="http://schemas.microsoft.com/office/drawing/2014/main" id="{942A0C40-30BF-4263-B4CE-C25AB92D1EB3}"/>
              </a:ext>
            </a:extLst>
          </p:cNvPr>
          <p:cNvSpPr/>
          <p:nvPr/>
        </p:nvSpPr>
        <p:spPr>
          <a:xfrm>
            <a:off x="6380844" y="1725681"/>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Data management</a:t>
            </a:r>
          </a:p>
        </p:txBody>
      </p:sp>
      <p:grpSp>
        <p:nvGrpSpPr>
          <p:cNvPr id="54" name="Group 53">
            <a:extLst>
              <a:ext uri="{FF2B5EF4-FFF2-40B4-BE49-F238E27FC236}">
                <a16:creationId xmlns:a16="http://schemas.microsoft.com/office/drawing/2014/main" id="{7A275F9E-4B58-464E-BD03-B3FB0DAE13E9}"/>
              </a:ext>
            </a:extLst>
          </p:cNvPr>
          <p:cNvGrpSpPr/>
          <p:nvPr/>
        </p:nvGrpSpPr>
        <p:grpSpPr>
          <a:xfrm>
            <a:off x="6380845" y="1725681"/>
            <a:ext cx="606269" cy="613118"/>
            <a:chOff x="227349" y="1656672"/>
            <a:chExt cx="331451" cy="613118"/>
          </a:xfrm>
          <a:solidFill>
            <a:srgbClr val="FFFFFF">
              <a:lumMod val="85000"/>
            </a:srgbClr>
          </a:solidFill>
        </p:grpSpPr>
        <p:sp>
          <p:nvSpPr>
            <p:cNvPr id="55" name="Rounded Rectangle 41">
              <a:extLst>
                <a:ext uri="{FF2B5EF4-FFF2-40B4-BE49-F238E27FC236}">
                  <a16:creationId xmlns:a16="http://schemas.microsoft.com/office/drawing/2014/main" id="{B3F101E7-17DA-4535-8B94-BBC998F20DC3}"/>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6" name="Rounded Rectangle 41">
              <a:extLst>
                <a:ext uri="{FF2B5EF4-FFF2-40B4-BE49-F238E27FC236}">
                  <a16:creationId xmlns:a16="http://schemas.microsoft.com/office/drawing/2014/main" id="{C660A911-4D20-446F-A007-BF48C157D31B}"/>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7" name="Freeform 42">
              <a:extLst>
                <a:ext uri="{FF2B5EF4-FFF2-40B4-BE49-F238E27FC236}">
                  <a16:creationId xmlns:a16="http://schemas.microsoft.com/office/drawing/2014/main" id="{66B8942A-F5CF-4310-B60C-FEB31A830835}"/>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58" name="Shape 1171">
            <a:extLst>
              <a:ext uri="{FF2B5EF4-FFF2-40B4-BE49-F238E27FC236}">
                <a16:creationId xmlns:a16="http://schemas.microsoft.com/office/drawing/2014/main" id="{C32BA6DA-4A90-4E10-BD7C-3D2FD14221B3}"/>
              </a:ext>
            </a:extLst>
          </p:cNvPr>
          <p:cNvSpPr/>
          <p:nvPr/>
        </p:nvSpPr>
        <p:spPr>
          <a:xfrm>
            <a:off x="6391580" y="2389429"/>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Mobile Compatibility</a:t>
            </a:r>
          </a:p>
        </p:txBody>
      </p:sp>
      <p:sp>
        <p:nvSpPr>
          <p:cNvPr id="59" name="Rectangle 58">
            <a:extLst>
              <a:ext uri="{FF2B5EF4-FFF2-40B4-BE49-F238E27FC236}">
                <a16:creationId xmlns:a16="http://schemas.microsoft.com/office/drawing/2014/main" id="{76FC0395-A7FA-4F60-81E6-E04AB1B02B01}"/>
              </a:ext>
            </a:extLst>
          </p:cNvPr>
          <p:cNvSpPr/>
          <p:nvPr/>
        </p:nvSpPr>
        <p:spPr>
          <a:xfrm>
            <a:off x="2856140" y="1930068"/>
            <a:ext cx="2955017"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Platform Optimization</a:t>
            </a:r>
          </a:p>
        </p:txBody>
      </p:sp>
      <p:sp>
        <p:nvSpPr>
          <p:cNvPr id="60" name="Rectangle 59">
            <a:extLst>
              <a:ext uri="{FF2B5EF4-FFF2-40B4-BE49-F238E27FC236}">
                <a16:creationId xmlns:a16="http://schemas.microsoft.com/office/drawing/2014/main" id="{829A251B-0354-463A-A0FD-92D4B45DCF38}"/>
              </a:ext>
            </a:extLst>
          </p:cNvPr>
          <p:cNvSpPr/>
          <p:nvPr/>
        </p:nvSpPr>
        <p:spPr>
          <a:xfrm>
            <a:off x="2139951" y="3111005"/>
            <a:ext cx="7912099" cy="2111498"/>
          </a:xfrm>
          <a:prstGeom prst="rect">
            <a:avLst/>
          </a:pr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61" name="Rectangle 60">
            <a:extLst>
              <a:ext uri="{FF2B5EF4-FFF2-40B4-BE49-F238E27FC236}">
                <a16:creationId xmlns:a16="http://schemas.microsoft.com/office/drawing/2014/main" id="{DDDED8D0-CE61-424E-A9ED-E93AD4741784}"/>
              </a:ext>
            </a:extLst>
          </p:cNvPr>
          <p:cNvSpPr/>
          <p:nvPr/>
        </p:nvSpPr>
        <p:spPr>
          <a:xfrm>
            <a:off x="2322741" y="3730479"/>
            <a:ext cx="3611750" cy="646331"/>
          </a:xfrm>
          <a:prstGeom prst="rect">
            <a:avLst/>
          </a:prstGeom>
          <a:solidFill>
            <a:srgbClr val="FFFFFF">
              <a:lumMod val="85000"/>
            </a:srgbClr>
          </a:solidFill>
          <a:ln>
            <a:solidFill>
              <a:srgbClr val="FFFFFF">
                <a:lumMod val="65000"/>
              </a:srgbClr>
            </a:solidFill>
          </a:ln>
        </p:spPr>
        <p:txBody>
          <a:bodyPr wrap="square">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Salesforce Enhancements and Rollout</a:t>
            </a:r>
          </a:p>
        </p:txBody>
      </p:sp>
      <p:sp>
        <p:nvSpPr>
          <p:cNvPr id="62" name="Shape 1171">
            <a:extLst>
              <a:ext uri="{FF2B5EF4-FFF2-40B4-BE49-F238E27FC236}">
                <a16:creationId xmlns:a16="http://schemas.microsoft.com/office/drawing/2014/main" id="{0FC4D4EB-F522-4BFD-A76D-9E335098D276}"/>
              </a:ext>
            </a:extLst>
          </p:cNvPr>
          <p:cNvSpPr/>
          <p:nvPr/>
        </p:nvSpPr>
        <p:spPr>
          <a:xfrm>
            <a:off x="6414340" y="3134211"/>
            <a:ext cx="3589052"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Electric Powertrain (ePW)</a:t>
            </a:r>
          </a:p>
        </p:txBody>
      </p:sp>
      <p:grpSp>
        <p:nvGrpSpPr>
          <p:cNvPr id="63" name="Group 62">
            <a:extLst>
              <a:ext uri="{FF2B5EF4-FFF2-40B4-BE49-F238E27FC236}">
                <a16:creationId xmlns:a16="http://schemas.microsoft.com/office/drawing/2014/main" id="{FEFD2822-9F0F-4470-8D6C-399DFE7B45FA}"/>
              </a:ext>
            </a:extLst>
          </p:cNvPr>
          <p:cNvGrpSpPr/>
          <p:nvPr/>
        </p:nvGrpSpPr>
        <p:grpSpPr>
          <a:xfrm>
            <a:off x="6414341" y="3134211"/>
            <a:ext cx="572664" cy="613118"/>
            <a:chOff x="227349" y="1656672"/>
            <a:chExt cx="331451" cy="613118"/>
          </a:xfrm>
          <a:solidFill>
            <a:srgbClr val="FFFFFF">
              <a:lumMod val="85000"/>
            </a:srgbClr>
          </a:solidFill>
        </p:grpSpPr>
        <p:sp>
          <p:nvSpPr>
            <p:cNvPr id="64" name="Rounded Rectangle 41">
              <a:extLst>
                <a:ext uri="{FF2B5EF4-FFF2-40B4-BE49-F238E27FC236}">
                  <a16:creationId xmlns:a16="http://schemas.microsoft.com/office/drawing/2014/main" id="{93B8849C-4A5B-4C7C-8C5B-299CDDAEBC0D}"/>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65" name="Rounded Rectangle 41">
              <a:extLst>
                <a:ext uri="{FF2B5EF4-FFF2-40B4-BE49-F238E27FC236}">
                  <a16:creationId xmlns:a16="http://schemas.microsoft.com/office/drawing/2014/main" id="{37421A60-BC07-4831-8C18-2BB17DC448B9}"/>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66" name="Freeform 42">
              <a:extLst>
                <a:ext uri="{FF2B5EF4-FFF2-40B4-BE49-F238E27FC236}">
                  <a16:creationId xmlns:a16="http://schemas.microsoft.com/office/drawing/2014/main" id="{E14D871C-183B-44F4-A695-67BA836EB927}"/>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67" name="Shape 1171">
            <a:extLst>
              <a:ext uri="{FF2B5EF4-FFF2-40B4-BE49-F238E27FC236}">
                <a16:creationId xmlns:a16="http://schemas.microsoft.com/office/drawing/2014/main" id="{DE6852ED-B198-48E4-B261-7514C32C5E8D}"/>
              </a:ext>
            </a:extLst>
          </p:cNvPr>
          <p:cNvSpPr/>
          <p:nvPr/>
        </p:nvSpPr>
        <p:spPr>
          <a:xfrm>
            <a:off x="6414340" y="3838814"/>
            <a:ext cx="3589052"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Powertrain (PW)</a:t>
            </a:r>
          </a:p>
        </p:txBody>
      </p:sp>
      <p:grpSp>
        <p:nvGrpSpPr>
          <p:cNvPr id="68" name="Group 67">
            <a:extLst>
              <a:ext uri="{FF2B5EF4-FFF2-40B4-BE49-F238E27FC236}">
                <a16:creationId xmlns:a16="http://schemas.microsoft.com/office/drawing/2014/main" id="{154A8EAA-1E91-41A4-844F-02750A6E5630}"/>
              </a:ext>
            </a:extLst>
          </p:cNvPr>
          <p:cNvGrpSpPr/>
          <p:nvPr/>
        </p:nvGrpSpPr>
        <p:grpSpPr>
          <a:xfrm>
            <a:off x="6414341" y="3838815"/>
            <a:ext cx="572664" cy="613118"/>
            <a:chOff x="227349" y="1656672"/>
            <a:chExt cx="331451" cy="613118"/>
          </a:xfrm>
          <a:solidFill>
            <a:srgbClr val="FFFFFF">
              <a:lumMod val="85000"/>
            </a:srgbClr>
          </a:solidFill>
        </p:grpSpPr>
        <p:sp>
          <p:nvSpPr>
            <p:cNvPr id="69" name="Rounded Rectangle 41">
              <a:extLst>
                <a:ext uri="{FF2B5EF4-FFF2-40B4-BE49-F238E27FC236}">
                  <a16:creationId xmlns:a16="http://schemas.microsoft.com/office/drawing/2014/main" id="{F582717F-EF91-4BF6-BB5E-141DDB073780}"/>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70" name="Rounded Rectangle 41">
              <a:extLst>
                <a:ext uri="{FF2B5EF4-FFF2-40B4-BE49-F238E27FC236}">
                  <a16:creationId xmlns:a16="http://schemas.microsoft.com/office/drawing/2014/main" id="{CB5D1011-F57C-4FE7-AFED-951C9C0A6503}"/>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71" name="Freeform 42">
              <a:extLst>
                <a:ext uri="{FF2B5EF4-FFF2-40B4-BE49-F238E27FC236}">
                  <a16:creationId xmlns:a16="http://schemas.microsoft.com/office/drawing/2014/main" id="{FB077CC6-B445-4BE0-AF31-C64C69444FAB}"/>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72" name="Shape 1171">
            <a:extLst>
              <a:ext uri="{FF2B5EF4-FFF2-40B4-BE49-F238E27FC236}">
                <a16:creationId xmlns:a16="http://schemas.microsoft.com/office/drawing/2014/main" id="{568605CF-9D38-4D96-BA12-A3BC988FDC3D}"/>
              </a:ext>
            </a:extLst>
          </p:cNvPr>
          <p:cNvSpPr/>
          <p:nvPr/>
        </p:nvSpPr>
        <p:spPr>
          <a:xfrm>
            <a:off x="6414340" y="4525682"/>
            <a:ext cx="3611750"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reen Technology Solutions       </a:t>
            </a:r>
          </a:p>
        </p:txBody>
      </p:sp>
      <p:grpSp>
        <p:nvGrpSpPr>
          <p:cNvPr id="73" name="Group 72">
            <a:extLst>
              <a:ext uri="{FF2B5EF4-FFF2-40B4-BE49-F238E27FC236}">
                <a16:creationId xmlns:a16="http://schemas.microsoft.com/office/drawing/2014/main" id="{1DF04FA1-5E96-4B71-91E0-A2F6481AE3E0}"/>
              </a:ext>
            </a:extLst>
          </p:cNvPr>
          <p:cNvGrpSpPr/>
          <p:nvPr/>
        </p:nvGrpSpPr>
        <p:grpSpPr>
          <a:xfrm>
            <a:off x="6414341" y="4525682"/>
            <a:ext cx="572664" cy="613118"/>
            <a:chOff x="227349" y="1656672"/>
            <a:chExt cx="331451" cy="613118"/>
          </a:xfrm>
          <a:solidFill>
            <a:srgbClr val="FFFFFF">
              <a:lumMod val="85000"/>
            </a:srgbClr>
          </a:solidFill>
        </p:grpSpPr>
        <p:sp>
          <p:nvSpPr>
            <p:cNvPr id="76" name="Rounded Rectangle 41">
              <a:extLst>
                <a:ext uri="{FF2B5EF4-FFF2-40B4-BE49-F238E27FC236}">
                  <a16:creationId xmlns:a16="http://schemas.microsoft.com/office/drawing/2014/main" id="{2D6FB870-9C7B-4E70-A106-14B913E53E66}"/>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77" name="Rounded Rectangle 41">
              <a:extLst>
                <a:ext uri="{FF2B5EF4-FFF2-40B4-BE49-F238E27FC236}">
                  <a16:creationId xmlns:a16="http://schemas.microsoft.com/office/drawing/2014/main" id="{B76121A4-C5AB-4F63-8BFB-931D7A8B25B9}"/>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18" name="Freeform 42">
              <a:extLst>
                <a:ext uri="{FF2B5EF4-FFF2-40B4-BE49-F238E27FC236}">
                  <a16:creationId xmlns:a16="http://schemas.microsoft.com/office/drawing/2014/main" id="{4392C751-245F-4DFD-9AAD-0BADC2B1E3DA}"/>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3</a:t>
              </a:r>
              <a:endParaRPr kumimoji="0" lang="en-US" sz="1200" b="1" i="0" u="none" strike="noStrike" kern="0" cap="none" spc="0" normalizeH="0" baseline="0" noProof="0">
                <a:ln>
                  <a:noFill/>
                </a:ln>
                <a:solidFill>
                  <a:srgbClr val="FFFFFF"/>
                </a:solidFill>
                <a:effectLst/>
                <a:uLnTx/>
                <a:uFillTx/>
                <a:latin typeface="Verdana"/>
              </a:endParaRPr>
            </a:p>
          </p:txBody>
        </p:sp>
      </p:grpSp>
      <p:grpSp>
        <p:nvGrpSpPr>
          <p:cNvPr id="119" name="Group 118">
            <a:extLst>
              <a:ext uri="{FF2B5EF4-FFF2-40B4-BE49-F238E27FC236}">
                <a16:creationId xmlns:a16="http://schemas.microsoft.com/office/drawing/2014/main" id="{B50B5596-E4A1-417F-A5F2-236F6A926D34}"/>
              </a:ext>
            </a:extLst>
          </p:cNvPr>
          <p:cNvGrpSpPr/>
          <p:nvPr/>
        </p:nvGrpSpPr>
        <p:grpSpPr>
          <a:xfrm>
            <a:off x="6380845" y="2402129"/>
            <a:ext cx="606269" cy="613118"/>
            <a:chOff x="227349" y="1656672"/>
            <a:chExt cx="331451" cy="613118"/>
          </a:xfrm>
          <a:solidFill>
            <a:srgbClr val="FFFFFF">
              <a:lumMod val="85000"/>
            </a:srgbClr>
          </a:solidFill>
        </p:grpSpPr>
        <p:sp>
          <p:nvSpPr>
            <p:cNvPr id="120" name="Rounded Rectangle 41">
              <a:extLst>
                <a:ext uri="{FF2B5EF4-FFF2-40B4-BE49-F238E27FC236}">
                  <a16:creationId xmlns:a16="http://schemas.microsoft.com/office/drawing/2014/main" id="{3E1D31DB-BD99-40E7-969D-C170ECBA35C3}"/>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21" name="Rounded Rectangle 41">
              <a:extLst>
                <a:ext uri="{FF2B5EF4-FFF2-40B4-BE49-F238E27FC236}">
                  <a16:creationId xmlns:a16="http://schemas.microsoft.com/office/drawing/2014/main" id="{C7A4264F-272E-41BE-9852-678B802D0612}"/>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22" name="Freeform 42">
              <a:extLst>
                <a:ext uri="{FF2B5EF4-FFF2-40B4-BE49-F238E27FC236}">
                  <a16:creationId xmlns:a16="http://schemas.microsoft.com/office/drawing/2014/main" id="{96517478-98E5-48EA-AFBD-8C3C436938B4}"/>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3</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23" name="Oval 20">
            <a:extLst>
              <a:ext uri="{FF2B5EF4-FFF2-40B4-BE49-F238E27FC236}">
                <a16:creationId xmlns:a16="http://schemas.microsoft.com/office/drawing/2014/main" id="{0EE0582F-BC68-474F-A59D-8FC560ECB652}"/>
              </a:ext>
            </a:extLst>
          </p:cNvPr>
          <p:cNvSpPr/>
          <p:nvPr/>
        </p:nvSpPr>
        <p:spPr>
          <a:xfrm>
            <a:off x="1750079" y="5251200"/>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421F5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3</a:t>
            </a:r>
          </a:p>
        </p:txBody>
      </p:sp>
      <p:sp>
        <p:nvSpPr>
          <p:cNvPr id="124" name="Oval 20">
            <a:extLst>
              <a:ext uri="{FF2B5EF4-FFF2-40B4-BE49-F238E27FC236}">
                <a16:creationId xmlns:a16="http://schemas.microsoft.com/office/drawing/2014/main" id="{C9C720AE-92C3-40B0-BF7E-CF186BA08ADA}"/>
              </a:ext>
            </a:extLst>
          </p:cNvPr>
          <p:cNvSpPr/>
          <p:nvPr/>
        </p:nvSpPr>
        <p:spPr>
          <a:xfrm>
            <a:off x="1750080" y="3115742"/>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2</a:t>
            </a:r>
          </a:p>
        </p:txBody>
      </p:sp>
      <p:sp>
        <p:nvSpPr>
          <p:cNvPr id="125" name="Oval 20">
            <a:extLst>
              <a:ext uri="{FF2B5EF4-FFF2-40B4-BE49-F238E27FC236}">
                <a16:creationId xmlns:a16="http://schemas.microsoft.com/office/drawing/2014/main" id="{CF5BC208-CD33-4BFA-93ED-720C498361A4}"/>
              </a:ext>
            </a:extLst>
          </p:cNvPr>
          <p:cNvSpPr/>
          <p:nvPr/>
        </p:nvSpPr>
        <p:spPr>
          <a:xfrm>
            <a:off x="1750079" y="899033"/>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1</a:t>
            </a:r>
          </a:p>
        </p:txBody>
      </p:sp>
      <p:sp>
        <p:nvSpPr>
          <p:cNvPr id="126" name="Oval 20">
            <a:extLst>
              <a:ext uri="{FF2B5EF4-FFF2-40B4-BE49-F238E27FC236}">
                <a16:creationId xmlns:a16="http://schemas.microsoft.com/office/drawing/2014/main" id="{B5034EC0-EC9E-4670-AD5E-24CA496D1BD0}"/>
              </a:ext>
            </a:extLst>
          </p:cNvPr>
          <p:cNvSpPr/>
          <p:nvPr/>
        </p:nvSpPr>
        <p:spPr>
          <a:xfrm>
            <a:off x="1762780" y="5828677"/>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4</a:t>
            </a:r>
          </a:p>
        </p:txBody>
      </p:sp>
    </p:spTree>
    <p:extLst>
      <p:ext uri="{BB962C8B-B14F-4D97-AF65-F5344CB8AC3E}">
        <p14:creationId xmlns:p14="http://schemas.microsoft.com/office/powerpoint/2010/main" val="3442063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40588"/>
            <a:ext cx="9861550" cy="779145"/>
          </a:xfrm>
          <a:prstGeom prst="rect">
            <a:avLst/>
          </a:prstGeom>
        </p:spPr>
        <p:txBody>
          <a:bodyPr vert="horz" wrap="square" lIns="0" tIns="57785" rIns="0" bIns="0" rtlCol="0">
            <a:spAutoFit/>
          </a:bodyPr>
          <a:lstStyle/>
          <a:p>
            <a:pPr marL="12700" marR="5080">
              <a:lnSpc>
                <a:spcPts val="2810"/>
              </a:lnSpc>
              <a:spcBef>
                <a:spcPts val="455"/>
              </a:spcBef>
            </a:pPr>
            <a:r>
              <a:rPr sz="2600" spc="-5"/>
              <a:t>Capgemini </a:t>
            </a:r>
            <a:r>
              <a:rPr sz="2600" spc="-30"/>
              <a:t>Key </a:t>
            </a:r>
            <a:r>
              <a:rPr sz="2600"/>
              <a:t>Differentiators for Marelli Salesforce </a:t>
            </a:r>
            <a:r>
              <a:rPr sz="2600" spc="-10"/>
              <a:t>Rollout  </a:t>
            </a:r>
            <a:r>
              <a:rPr sz="2600" spc="-5"/>
              <a:t>Project</a:t>
            </a:r>
            <a:endParaRPr sz="2600"/>
          </a:p>
        </p:txBody>
      </p:sp>
      <p:sp>
        <p:nvSpPr>
          <p:cNvPr id="3" name="object 3"/>
          <p:cNvSpPr txBox="1"/>
          <p:nvPr/>
        </p:nvSpPr>
        <p:spPr>
          <a:xfrm>
            <a:off x="354888" y="1279905"/>
            <a:ext cx="4097020" cy="1854835"/>
          </a:xfrm>
          <a:prstGeom prst="rect">
            <a:avLst/>
          </a:prstGeom>
        </p:spPr>
        <p:txBody>
          <a:bodyPr vert="horz" wrap="square" lIns="0" tIns="12700" rIns="0" bIns="0" rtlCol="0">
            <a:spAutoFit/>
          </a:bodyPr>
          <a:lstStyle/>
          <a:p>
            <a:pPr marL="12700" marR="5080" indent="2813050" algn="r">
              <a:lnSpc>
                <a:spcPct val="100000"/>
              </a:lnSpc>
              <a:spcBef>
                <a:spcPts val="100"/>
              </a:spcBef>
            </a:pPr>
            <a:r>
              <a:rPr sz="1200" b="1" spc="-5">
                <a:solidFill>
                  <a:srgbClr val="12ABDB"/>
                </a:solidFill>
                <a:latin typeface="Verdana"/>
                <a:cs typeface="Verdana"/>
              </a:rPr>
              <a:t>R</a:t>
            </a:r>
            <a:r>
              <a:rPr sz="1200" b="1" spc="-10">
                <a:solidFill>
                  <a:srgbClr val="12ABDB"/>
                </a:solidFill>
                <a:latin typeface="Verdana"/>
                <a:cs typeface="Verdana"/>
              </a:rPr>
              <a:t>e</a:t>
            </a:r>
            <a:r>
              <a:rPr sz="1200" b="1" spc="-5">
                <a:solidFill>
                  <a:srgbClr val="12ABDB"/>
                </a:solidFill>
                <a:latin typeface="Verdana"/>
                <a:cs typeface="Verdana"/>
              </a:rPr>
              <a:t>m</a:t>
            </a:r>
            <a:r>
              <a:rPr sz="1200" b="1">
                <a:solidFill>
                  <a:srgbClr val="12ABDB"/>
                </a:solidFill>
                <a:latin typeface="Verdana"/>
                <a:cs typeface="Verdana"/>
              </a:rPr>
              <a:t>ote-</a:t>
            </a:r>
            <a:r>
              <a:rPr sz="1200" b="1" spc="-5">
                <a:solidFill>
                  <a:srgbClr val="12ABDB"/>
                </a:solidFill>
                <a:latin typeface="Verdana"/>
                <a:cs typeface="Verdana"/>
              </a:rPr>
              <a:t>R</a:t>
            </a:r>
            <a:r>
              <a:rPr sz="1200" b="1" spc="-10">
                <a:solidFill>
                  <a:srgbClr val="12ABDB"/>
                </a:solidFill>
                <a:latin typeface="Verdana"/>
                <a:cs typeface="Verdana"/>
              </a:rPr>
              <a:t>e</a:t>
            </a:r>
            <a:r>
              <a:rPr sz="1200" b="1">
                <a:solidFill>
                  <a:srgbClr val="12ABDB"/>
                </a:solidFill>
                <a:latin typeface="Verdana"/>
                <a:cs typeface="Verdana"/>
              </a:rPr>
              <a:t>ady  </a:t>
            </a:r>
            <a:r>
              <a:rPr sz="1200" spc="-30">
                <a:latin typeface="Verdana"/>
                <a:cs typeface="Verdana"/>
              </a:rPr>
              <a:t>We </a:t>
            </a:r>
            <a:r>
              <a:rPr sz="1200" spc="-10">
                <a:latin typeface="Verdana"/>
                <a:cs typeface="Verdana"/>
              </a:rPr>
              <a:t>believe </a:t>
            </a:r>
            <a:r>
              <a:rPr sz="1200" spc="-5">
                <a:latin typeface="Verdana"/>
                <a:cs typeface="Verdana"/>
              </a:rPr>
              <a:t>that the current global</a:t>
            </a:r>
            <a:r>
              <a:rPr sz="1200" spc="60">
                <a:latin typeface="Verdana"/>
                <a:cs typeface="Verdana"/>
              </a:rPr>
              <a:t> </a:t>
            </a:r>
            <a:r>
              <a:rPr sz="1200" spc="-5">
                <a:latin typeface="Verdana"/>
                <a:cs typeface="Verdana"/>
              </a:rPr>
              <a:t>situation</a:t>
            </a:r>
            <a:r>
              <a:rPr sz="1200" spc="20">
                <a:latin typeface="Verdana"/>
                <a:cs typeface="Verdana"/>
              </a:rPr>
              <a:t> </a:t>
            </a:r>
            <a:r>
              <a:rPr sz="1200" spc="-5">
                <a:latin typeface="Verdana"/>
                <a:cs typeface="Verdana"/>
              </a:rPr>
              <a:t>that </a:t>
            </a:r>
            <a:r>
              <a:rPr sz="1200">
                <a:latin typeface="Verdana"/>
                <a:cs typeface="Verdana"/>
              </a:rPr>
              <a:t> </a:t>
            </a:r>
            <a:r>
              <a:rPr sz="1200" spc="-10">
                <a:latin typeface="Verdana"/>
                <a:cs typeface="Verdana"/>
              </a:rPr>
              <a:t>limits travel </a:t>
            </a:r>
            <a:r>
              <a:rPr sz="1200" spc="-5">
                <a:latin typeface="Verdana"/>
                <a:cs typeface="Verdana"/>
              </a:rPr>
              <a:t>is making people </a:t>
            </a:r>
            <a:r>
              <a:rPr sz="1200" spc="-10">
                <a:latin typeface="Verdana"/>
                <a:cs typeface="Verdana"/>
              </a:rPr>
              <a:t>discover</a:t>
            </a:r>
            <a:r>
              <a:rPr sz="1200" spc="50">
                <a:latin typeface="Verdana"/>
                <a:cs typeface="Verdana"/>
              </a:rPr>
              <a:t> </a:t>
            </a:r>
            <a:r>
              <a:rPr sz="1200" spc="-5">
                <a:latin typeface="Verdana"/>
                <a:cs typeface="Verdana"/>
              </a:rPr>
              <a:t>one</a:t>
            </a:r>
            <a:r>
              <a:rPr sz="1200" spc="-10">
                <a:latin typeface="Verdana"/>
                <a:cs typeface="Verdana"/>
              </a:rPr>
              <a:t> </a:t>
            </a:r>
            <a:r>
              <a:rPr sz="1200" spc="-5">
                <a:latin typeface="Verdana"/>
                <a:cs typeface="Verdana"/>
              </a:rPr>
              <a:t>important </a:t>
            </a:r>
            <a:r>
              <a:rPr sz="1200">
                <a:latin typeface="Verdana"/>
                <a:cs typeface="Verdana"/>
              </a:rPr>
              <a:t> </a:t>
            </a:r>
            <a:r>
              <a:rPr sz="1200" spc="-5">
                <a:latin typeface="Verdana"/>
                <a:cs typeface="Verdana"/>
              </a:rPr>
              <a:t>truth that </a:t>
            </a:r>
            <a:r>
              <a:rPr sz="1200">
                <a:latin typeface="Verdana"/>
                <a:cs typeface="Verdana"/>
              </a:rPr>
              <a:t>at </a:t>
            </a:r>
            <a:r>
              <a:rPr sz="1200" spc="-5">
                <a:latin typeface="Verdana"/>
                <a:cs typeface="Verdana"/>
              </a:rPr>
              <a:t>Capgemini we </a:t>
            </a:r>
            <a:r>
              <a:rPr sz="1200" spc="-10">
                <a:latin typeface="Verdana"/>
                <a:cs typeface="Verdana"/>
              </a:rPr>
              <a:t>have </a:t>
            </a:r>
            <a:r>
              <a:rPr sz="1200" spc="-5">
                <a:latin typeface="Verdana"/>
                <a:cs typeface="Verdana"/>
              </a:rPr>
              <a:t>known </a:t>
            </a:r>
            <a:r>
              <a:rPr sz="1200">
                <a:latin typeface="Verdana"/>
                <a:cs typeface="Verdana"/>
              </a:rPr>
              <a:t>for</a:t>
            </a:r>
            <a:r>
              <a:rPr sz="1200" spc="60">
                <a:latin typeface="Verdana"/>
                <a:cs typeface="Verdana"/>
              </a:rPr>
              <a:t> </a:t>
            </a:r>
            <a:r>
              <a:rPr sz="1200">
                <a:latin typeface="Verdana"/>
                <a:cs typeface="Verdana"/>
              </a:rPr>
              <a:t>a </a:t>
            </a:r>
            <a:r>
              <a:rPr sz="1200" spc="-5">
                <a:latin typeface="Verdana"/>
                <a:cs typeface="Verdana"/>
              </a:rPr>
              <a:t>long  time: Remote working is possible and</a:t>
            </a:r>
            <a:r>
              <a:rPr sz="1200" spc="-15">
                <a:latin typeface="Verdana"/>
                <a:cs typeface="Verdana"/>
              </a:rPr>
              <a:t> </a:t>
            </a:r>
            <a:r>
              <a:rPr sz="1200" spc="-5">
                <a:latin typeface="Verdana"/>
                <a:cs typeface="Verdana"/>
              </a:rPr>
              <a:t>sustainable.</a:t>
            </a:r>
            <a:endParaRPr sz="1200">
              <a:latin typeface="Verdana"/>
              <a:cs typeface="Verdana"/>
            </a:endParaRPr>
          </a:p>
          <a:p>
            <a:pPr>
              <a:lnSpc>
                <a:spcPct val="100000"/>
              </a:lnSpc>
              <a:spcBef>
                <a:spcPts val="5"/>
              </a:spcBef>
            </a:pPr>
            <a:endParaRPr sz="1250">
              <a:latin typeface="Times New Roman"/>
              <a:cs typeface="Times New Roman"/>
            </a:endParaRPr>
          </a:p>
          <a:p>
            <a:pPr marL="17145" marR="6350" indent="205740" algn="r">
              <a:lnSpc>
                <a:spcPct val="100000"/>
              </a:lnSpc>
            </a:pPr>
            <a:r>
              <a:rPr sz="1200">
                <a:latin typeface="Verdana"/>
                <a:cs typeface="Verdana"/>
              </a:rPr>
              <a:t>If </a:t>
            </a:r>
            <a:r>
              <a:rPr sz="1200" spc="-5">
                <a:latin typeface="Verdana"/>
                <a:cs typeface="Verdana"/>
              </a:rPr>
              <a:t>Marelli </a:t>
            </a:r>
            <a:r>
              <a:rPr sz="1200">
                <a:latin typeface="Verdana"/>
                <a:cs typeface="Verdana"/>
              </a:rPr>
              <a:t>agrees, </a:t>
            </a:r>
            <a:r>
              <a:rPr sz="1200" spc="-5">
                <a:latin typeface="Verdana"/>
                <a:cs typeface="Verdana"/>
              </a:rPr>
              <a:t>we </a:t>
            </a:r>
            <a:r>
              <a:rPr sz="1200">
                <a:latin typeface="Verdana"/>
                <a:cs typeface="Verdana"/>
              </a:rPr>
              <a:t>are ready </a:t>
            </a:r>
            <a:r>
              <a:rPr sz="1200" spc="-5">
                <a:latin typeface="Verdana"/>
                <a:cs typeface="Verdana"/>
              </a:rPr>
              <a:t>to start</a:t>
            </a:r>
            <a:r>
              <a:rPr sz="1200" spc="-10">
                <a:latin typeface="Verdana"/>
                <a:cs typeface="Verdana"/>
              </a:rPr>
              <a:t> </a:t>
            </a:r>
            <a:r>
              <a:rPr sz="1200" spc="-5">
                <a:latin typeface="Verdana"/>
                <a:cs typeface="Verdana"/>
              </a:rPr>
              <a:t>the</a:t>
            </a:r>
            <a:r>
              <a:rPr sz="1200" spc="10">
                <a:latin typeface="Verdana"/>
                <a:cs typeface="Verdana"/>
              </a:rPr>
              <a:t> </a:t>
            </a:r>
            <a:r>
              <a:rPr sz="1200" spc="-5">
                <a:latin typeface="Verdana"/>
                <a:cs typeface="Verdana"/>
              </a:rPr>
              <a:t>project </a:t>
            </a:r>
            <a:r>
              <a:rPr sz="1200">
                <a:latin typeface="Verdana"/>
                <a:cs typeface="Verdana"/>
              </a:rPr>
              <a:t> from </a:t>
            </a:r>
            <a:r>
              <a:rPr sz="1200" spc="-10">
                <a:latin typeface="Verdana"/>
                <a:cs typeface="Verdana"/>
              </a:rPr>
              <a:t>day </a:t>
            </a:r>
            <a:r>
              <a:rPr sz="1200">
                <a:latin typeface="Verdana"/>
                <a:cs typeface="Verdana"/>
              </a:rPr>
              <a:t>1 </a:t>
            </a:r>
            <a:r>
              <a:rPr sz="1200" spc="-5">
                <a:latin typeface="Verdana"/>
                <a:cs typeface="Verdana"/>
              </a:rPr>
              <a:t>in </a:t>
            </a:r>
            <a:r>
              <a:rPr sz="1200">
                <a:latin typeface="Verdana"/>
                <a:cs typeface="Verdana"/>
              </a:rPr>
              <a:t>a </a:t>
            </a:r>
            <a:r>
              <a:rPr sz="1200" spc="-10">
                <a:latin typeface="Verdana"/>
                <a:cs typeface="Verdana"/>
              </a:rPr>
              <a:t>completely </a:t>
            </a:r>
            <a:r>
              <a:rPr sz="1200" spc="-5">
                <a:latin typeface="Verdana"/>
                <a:cs typeface="Verdana"/>
              </a:rPr>
              <a:t>remote</a:t>
            </a:r>
            <a:r>
              <a:rPr sz="1200" spc="5">
                <a:latin typeface="Verdana"/>
                <a:cs typeface="Verdana"/>
              </a:rPr>
              <a:t> </a:t>
            </a:r>
            <a:r>
              <a:rPr sz="1200" spc="-35">
                <a:latin typeface="Verdana"/>
                <a:cs typeface="Verdana"/>
              </a:rPr>
              <a:t>way,</a:t>
            </a:r>
            <a:r>
              <a:rPr sz="1200">
                <a:latin typeface="Verdana"/>
                <a:cs typeface="Verdana"/>
              </a:rPr>
              <a:t> </a:t>
            </a:r>
            <a:r>
              <a:rPr sz="1200" spc="-5">
                <a:latin typeface="Verdana"/>
                <a:cs typeface="Verdana"/>
              </a:rPr>
              <a:t>providing </a:t>
            </a:r>
            <a:r>
              <a:rPr sz="1200">
                <a:latin typeface="Verdana"/>
                <a:cs typeface="Verdana"/>
              </a:rPr>
              <a:t> correct </a:t>
            </a:r>
            <a:r>
              <a:rPr sz="1200" spc="-5">
                <a:latin typeface="Verdana"/>
                <a:cs typeface="Verdana"/>
              </a:rPr>
              <a:t>communication, change</a:t>
            </a:r>
            <a:r>
              <a:rPr sz="1200">
                <a:latin typeface="Verdana"/>
                <a:cs typeface="Verdana"/>
              </a:rPr>
              <a:t> </a:t>
            </a:r>
            <a:r>
              <a:rPr sz="1200" spc="-5">
                <a:latin typeface="Verdana"/>
                <a:cs typeface="Verdana"/>
              </a:rPr>
              <a:t>management</a:t>
            </a:r>
            <a:r>
              <a:rPr sz="1200" spc="10">
                <a:latin typeface="Verdana"/>
                <a:cs typeface="Verdana"/>
              </a:rPr>
              <a:t> </a:t>
            </a:r>
            <a:r>
              <a:rPr sz="1200" spc="-5">
                <a:latin typeface="Verdana"/>
                <a:cs typeface="Verdana"/>
              </a:rPr>
              <a:t>and </a:t>
            </a:r>
            <a:r>
              <a:rPr sz="1200">
                <a:latin typeface="Verdana"/>
                <a:cs typeface="Verdana"/>
              </a:rPr>
              <a:t> </a:t>
            </a:r>
            <a:r>
              <a:rPr sz="1200" spc="-5">
                <a:latin typeface="Verdana"/>
                <a:cs typeface="Verdana"/>
              </a:rPr>
              <a:t>technological tools to allow this kind </a:t>
            </a:r>
            <a:r>
              <a:rPr sz="1200">
                <a:latin typeface="Verdana"/>
                <a:cs typeface="Verdana"/>
              </a:rPr>
              <a:t>of</a:t>
            </a:r>
            <a:r>
              <a:rPr sz="1200" spc="50">
                <a:latin typeface="Verdana"/>
                <a:cs typeface="Verdana"/>
              </a:rPr>
              <a:t> </a:t>
            </a:r>
            <a:r>
              <a:rPr sz="1200" spc="-5">
                <a:latin typeface="Verdana"/>
                <a:cs typeface="Verdana"/>
              </a:rPr>
              <a:t>collaboration.</a:t>
            </a:r>
            <a:endParaRPr sz="1200">
              <a:latin typeface="Verdana"/>
              <a:cs typeface="Verdana"/>
            </a:endParaRPr>
          </a:p>
        </p:txBody>
      </p:sp>
      <p:sp>
        <p:nvSpPr>
          <p:cNvPr id="4" name="object 4"/>
          <p:cNvSpPr/>
          <p:nvPr/>
        </p:nvSpPr>
        <p:spPr>
          <a:xfrm>
            <a:off x="4577110" y="2154935"/>
            <a:ext cx="3041481" cy="2801513"/>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5202935" y="3276600"/>
            <a:ext cx="1571243" cy="368807"/>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489610" y="4030726"/>
            <a:ext cx="3931285" cy="1854835"/>
          </a:xfrm>
          <a:prstGeom prst="rect">
            <a:avLst/>
          </a:prstGeom>
        </p:spPr>
        <p:txBody>
          <a:bodyPr vert="horz" wrap="square" lIns="0" tIns="12700" rIns="0" bIns="0" rtlCol="0">
            <a:spAutoFit/>
          </a:bodyPr>
          <a:lstStyle/>
          <a:p>
            <a:pPr marL="12700" marR="5715" indent="1760220" algn="r">
              <a:lnSpc>
                <a:spcPct val="100000"/>
              </a:lnSpc>
              <a:spcBef>
                <a:spcPts val="100"/>
              </a:spcBef>
            </a:pPr>
            <a:r>
              <a:rPr sz="1200" b="1" spc="-5">
                <a:solidFill>
                  <a:srgbClr val="7E7E7E"/>
                </a:solidFill>
                <a:latin typeface="Verdana"/>
                <a:cs typeface="Verdana"/>
              </a:rPr>
              <a:t>Short</a:t>
            </a:r>
            <a:r>
              <a:rPr sz="1200" b="1" spc="-35">
                <a:solidFill>
                  <a:srgbClr val="7E7E7E"/>
                </a:solidFill>
                <a:latin typeface="Verdana"/>
                <a:cs typeface="Verdana"/>
              </a:rPr>
              <a:t> </a:t>
            </a:r>
            <a:r>
              <a:rPr sz="1200" b="1" spc="-5">
                <a:solidFill>
                  <a:srgbClr val="7E7E7E"/>
                </a:solidFill>
                <a:latin typeface="Verdana"/>
                <a:cs typeface="Verdana"/>
              </a:rPr>
              <a:t>Value-Added</a:t>
            </a:r>
            <a:r>
              <a:rPr sz="1200" b="1" spc="-25">
                <a:solidFill>
                  <a:srgbClr val="7E7E7E"/>
                </a:solidFill>
                <a:latin typeface="Verdana"/>
                <a:cs typeface="Verdana"/>
              </a:rPr>
              <a:t> </a:t>
            </a:r>
            <a:r>
              <a:rPr sz="1200" b="1" spc="-5">
                <a:solidFill>
                  <a:srgbClr val="7E7E7E"/>
                </a:solidFill>
                <a:latin typeface="Verdana"/>
                <a:cs typeface="Verdana"/>
              </a:rPr>
              <a:t>Chain  </a:t>
            </a:r>
            <a:r>
              <a:rPr sz="1200" spc="-5">
                <a:latin typeface="Verdana"/>
                <a:cs typeface="Verdana"/>
              </a:rPr>
              <a:t>Capgemini is </a:t>
            </a:r>
            <a:r>
              <a:rPr sz="1200">
                <a:latin typeface="Verdana"/>
                <a:cs typeface="Verdana"/>
              </a:rPr>
              <a:t>a </a:t>
            </a:r>
            <a:r>
              <a:rPr sz="1200" spc="-10">
                <a:latin typeface="Verdana"/>
                <a:cs typeface="Verdana"/>
              </a:rPr>
              <a:t>People </a:t>
            </a:r>
            <a:r>
              <a:rPr sz="1200" spc="-20">
                <a:latin typeface="Verdana"/>
                <a:cs typeface="Verdana"/>
              </a:rPr>
              <a:t>company, </a:t>
            </a:r>
            <a:r>
              <a:rPr sz="1200" spc="-5">
                <a:latin typeface="Verdana"/>
                <a:cs typeface="Verdana"/>
              </a:rPr>
              <a:t>with </a:t>
            </a:r>
            <a:r>
              <a:rPr sz="1200">
                <a:latin typeface="Verdana"/>
                <a:cs typeface="Verdana"/>
              </a:rPr>
              <a:t>a</a:t>
            </a:r>
            <a:r>
              <a:rPr sz="1200" spc="10">
                <a:latin typeface="Verdana"/>
                <a:cs typeface="Verdana"/>
              </a:rPr>
              <a:t> </a:t>
            </a:r>
            <a:r>
              <a:rPr sz="1200">
                <a:latin typeface="Verdana"/>
                <a:cs typeface="Verdana"/>
              </a:rPr>
              <a:t>broad</a:t>
            </a:r>
            <a:r>
              <a:rPr sz="1200" spc="-5">
                <a:latin typeface="Verdana"/>
                <a:cs typeface="Verdana"/>
              </a:rPr>
              <a:t> </a:t>
            </a:r>
            <a:r>
              <a:rPr sz="1200">
                <a:latin typeface="Verdana"/>
                <a:cs typeface="Verdana"/>
              </a:rPr>
              <a:t>set  of </a:t>
            </a:r>
            <a:r>
              <a:rPr sz="1200" spc="-5">
                <a:latin typeface="Verdana"/>
                <a:cs typeface="Verdana"/>
              </a:rPr>
              <a:t>skills </a:t>
            </a:r>
            <a:r>
              <a:rPr sz="1200" spc="-10">
                <a:latin typeface="Verdana"/>
                <a:cs typeface="Verdana"/>
              </a:rPr>
              <a:t>available. </a:t>
            </a:r>
            <a:r>
              <a:rPr sz="1200" spc="-30">
                <a:latin typeface="Verdana"/>
                <a:cs typeface="Verdana"/>
              </a:rPr>
              <a:t>We </a:t>
            </a:r>
            <a:r>
              <a:rPr sz="1200">
                <a:latin typeface="Verdana"/>
                <a:cs typeface="Verdana"/>
              </a:rPr>
              <a:t>are </a:t>
            </a:r>
            <a:r>
              <a:rPr sz="1200" spc="-5">
                <a:latin typeface="Verdana"/>
                <a:cs typeface="Verdana"/>
              </a:rPr>
              <a:t>convinced</a:t>
            </a:r>
            <a:r>
              <a:rPr sz="1200" spc="20">
                <a:latin typeface="Verdana"/>
                <a:cs typeface="Verdana"/>
              </a:rPr>
              <a:t> </a:t>
            </a:r>
            <a:r>
              <a:rPr sz="1200" spc="-5">
                <a:latin typeface="Verdana"/>
                <a:cs typeface="Verdana"/>
              </a:rPr>
              <a:t>the</a:t>
            </a:r>
            <a:r>
              <a:rPr sz="1200">
                <a:latin typeface="Verdana"/>
                <a:cs typeface="Verdana"/>
              </a:rPr>
              <a:t> CRM  </a:t>
            </a:r>
            <a:r>
              <a:rPr sz="1200" spc="-5">
                <a:latin typeface="Verdana"/>
                <a:cs typeface="Verdana"/>
              </a:rPr>
              <a:t>strategy is just the </a:t>
            </a:r>
            <a:r>
              <a:rPr sz="1200">
                <a:latin typeface="Verdana"/>
                <a:cs typeface="Verdana"/>
              </a:rPr>
              <a:t>cornerstone of</a:t>
            </a:r>
            <a:r>
              <a:rPr sz="1200" spc="10">
                <a:latin typeface="Verdana"/>
                <a:cs typeface="Verdana"/>
              </a:rPr>
              <a:t> </a:t>
            </a:r>
            <a:r>
              <a:rPr sz="1200" spc="-5">
                <a:latin typeface="Verdana"/>
                <a:cs typeface="Verdana"/>
              </a:rPr>
              <a:t>Marelli</a:t>
            </a:r>
            <a:r>
              <a:rPr sz="1200">
                <a:latin typeface="Verdana"/>
                <a:cs typeface="Verdana"/>
              </a:rPr>
              <a:t> </a:t>
            </a:r>
            <a:r>
              <a:rPr sz="1200" spc="-5">
                <a:latin typeface="Verdana"/>
                <a:cs typeface="Verdana"/>
              </a:rPr>
              <a:t>future </a:t>
            </a:r>
            <a:r>
              <a:rPr sz="1200">
                <a:latin typeface="Verdana"/>
                <a:cs typeface="Verdana"/>
              </a:rPr>
              <a:t> </a:t>
            </a:r>
            <a:r>
              <a:rPr sz="1200" spc="-5">
                <a:latin typeface="Verdana"/>
                <a:cs typeface="Verdana"/>
              </a:rPr>
              <a:t>business success. Capgemini </a:t>
            </a:r>
            <a:r>
              <a:rPr sz="1200">
                <a:latin typeface="Verdana"/>
                <a:cs typeface="Verdana"/>
              </a:rPr>
              <a:t>can </a:t>
            </a:r>
            <a:r>
              <a:rPr sz="1200" spc="-10">
                <a:latin typeface="Verdana"/>
                <a:cs typeface="Verdana"/>
              </a:rPr>
              <a:t>leverage</a:t>
            </a:r>
            <a:r>
              <a:rPr sz="1200" spc="20">
                <a:latin typeface="Verdana"/>
                <a:cs typeface="Verdana"/>
              </a:rPr>
              <a:t> </a:t>
            </a:r>
            <a:r>
              <a:rPr sz="1200" spc="-5">
                <a:latin typeface="Verdana"/>
                <a:cs typeface="Verdana"/>
              </a:rPr>
              <a:t>the</a:t>
            </a:r>
            <a:r>
              <a:rPr sz="1200" spc="40">
                <a:latin typeface="Verdana"/>
                <a:cs typeface="Verdana"/>
              </a:rPr>
              <a:t> </a:t>
            </a:r>
            <a:r>
              <a:rPr sz="1200" spc="-5">
                <a:latin typeface="Verdana"/>
                <a:cs typeface="Verdana"/>
              </a:rPr>
              <a:t>One  CX end-to-end approach to find the rights</a:t>
            </a:r>
            <a:r>
              <a:rPr sz="1200" spc="114">
                <a:latin typeface="Verdana"/>
                <a:cs typeface="Verdana"/>
              </a:rPr>
              <a:t> </a:t>
            </a:r>
            <a:r>
              <a:rPr sz="1200" spc="-5">
                <a:latin typeface="Verdana"/>
                <a:cs typeface="Verdana"/>
              </a:rPr>
              <a:t>skills</a:t>
            </a:r>
            <a:r>
              <a:rPr sz="1200">
                <a:latin typeface="Verdana"/>
                <a:cs typeface="Verdana"/>
              </a:rPr>
              <a:t> </a:t>
            </a:r>
            <a:r>
              <a:rPr sz="1200" spc="-5">
                <a:latin typeface="Verdana"/>
                <a:cs typeface="Verdana"/>
              </a:rPr>
              <a:t>in  the </a:t>
            </a:r>
            <a:r>
              <a:rPr sz="1200">
                <a:latin typeface="Verdana"/>
                <a:cs typeface="Verdana"/>
              </a:rPr>
              <a:t>areas of</a:t>
            </a:r>
            <a:r>
              <a:rPr sz="1200" spc="-45">
                <a:latin typeface="Verdana"/>
                <a:cs typeface="Verdana"/>
              </a:rPr>
              <a:t> </a:t>
            </a:r>
            <a:r>
              <a:rPr sz="1200" spc="-5">
                <a:latin typeface="Verdana"/>
                <a:cs typeface="Verdana"/>
              </a:rPr>
              <a:t>Communication, Customer </a:t>
            </a:r>
            <a:r>
              <a:rPr sz="1200">
                <a:latin typeface="Verdana"/>
                <a:cs typeface="Verdana"/>
              </a:rPr>
              <a:t> </a:t>
            </a:r>
            <a:r>
              <a:rPr sz="1200" spc="-5">
                <a:latin typeface="Verdana"/>
                <a:cs typeface="Verdana"/>
              </a:rPr>
              <a:t>Experience, Digital Sales, Automations, just</a:t>
            </a:r>
            <a:r>
              <a:rPr sz="1200" spc="55">
                <a:latin typeface="Verdana"/>
                <a:cs typeface="Verdana"/>
              </a:rPr>
              <a:t> </a:t>
            </a:r>
            <a:r>
              <a:rPr sz="1200" spc="-5">
                <a:latin typeface="Verdana"/>
                <a:cs typeface="Verdana"/>
              </a:rPr>
              <a:t>one</a:t>
            </a:r>
            <a:endParaRPr sz="1200">
              <a:latin typeface="Verdana"/>
              <a:cs typeface="Verdana"/>
            </a:endParaRPr>
          </a:p>
          <a:p>
            <a:pPr marR="5080" algn="r">
              <a:lnSpc>
                <a:spcPct val="100000"/>
              </a:lnSpc>
            </a:pPr>
            <a:r>
              <a:rPr sz="1200" spc="-5">
                <a:latin typeface="Verdana"/>
                <a:cs typeface="Verdana"/>
              </a:rPr>
              <a:t>step</a:t>
            </a:r>
            <a:r>
              <a:rPr sz="1200" spc="-80">
                <a:latin typeface="Verdana"/>
                <a:cs typeface="Verdana"/>
              </a:rPr>
              <a:t> </a:t>
            </a:r>
            <a:r>
              <a:rPr sz="1200" spc="-30">
                <a:latin typeface="Verdana"/>
                <a:cs typeface="Verdana"/>
              </a:rPr>
              <a:t>away.</a:t>
            </a:r>
            <a:endParaRPr sz="1200">
              <a:latin typeface="Verdana"/>
              <a:cs typeface="Verdana"/>
            </a:endParaRPr>
          </a:p>
          <a:p>
            <a:pPr marR="5080" algn="r">
              <a:lnSpc>
                <a:spcPct val="100000"/>
              </a:lnSpc>
            </a:pPr>
            <a:r>
              <a:rPr sz="1200">
                <a:latin typeface="Verdana"/>
                <a:cs typeface="Verdana"/>
              </a:rPr>
              <a:t>.</a:t>
            </a:r>
          </a:p>
        </p:txBody>
      </p:sp>
      <p:sp>
        <p:nvSpPr>
          <p:cNvPr id="7" name="object 7"/>
          <p:cNvSpPr txBox="1"/>
          <p:nvPr/>
        </p:nvSpPr>
        <p:spPr>
          <a:xfrm>
            <a:off x="6911085" y="3237991"/>
            <a:ext cx="4716780" cy="3195955"/>
          </a:xfrm>
          <a:prstGeom prst="rect">
            <a:avLst/>
          </a:prstGeom>
        </p:spPr>
        <p:txBody>
          <a:bodyPr vert="horz" wrap="square" lIns="0" tIns="12700" rIns="0" bIns="0" rtlCol="0">
            <a:spAutoFit/>
          </a:bodyPr>
          <a:lstStyle/>
          <a:p>
            <a:pPr marL="1007744">
              <a:lnSpc>
                <a:spcPct val="100000"/>
              </a:lnSpc>
              <a:spcBef>
                <a:spcPts val="100"/>
              </a:spcBef>
            </a:pPr>
            <a:r>
              <a:rPr sz="1200" b="1" spc="-5">
                <a:solidFill>
                  <a:srgbClr val="632D8E"/>
                </a:solidFill>
                <a:latin typeface="Verdana"/>
                <a:cs typeface="Verdana"/>
              </a:rPr>
              <a:t>Proven World-Wide</a:t>
            </a:r>
            <a:r>
              <a:rPr sz="1200" b="1" spc="-15">
                <a:solidFill>
                  <a:srgbClr val="632D8E"/>
                </a:solidFill>
                <a:latin typeface="Verdana"/>
                <a:cs typeface="Verdana"/>
              </a:rPr>
              <a:t> </a:t>
            </a:r>
            <a:r>
              <a:rPr sz="1200" b="1" spc="-5">
                <a:solidFill>
                  <a:srgbClr val="632D8E"/>
                </a:solidFill>
                <a:latin typeface="Verdana"/>
                <a:cs typeface="Verdana"/>
              </a:rPr>
              <a:t>experience</a:t>
            </a:r>
            <a:endParaRPr sz="1200">
              <a:latin typeface="Verdana"/>
              <a:cs typeface="Verdana"/>
            </a:endParaRPr>
          </a:p>
          <a:p>
            <a:pPr marL="1007744" marR="5080">
              <a:lnSpc>
                <a:spcPct val="100000"/>
              </a:lnSpc>
            </a:pPr>
            <a:r>
              <a:rPr sz="1200" spc="-10">
                <a:latin typeface="Verdana"/>
                <a:cs typeface="Verdana"/>
              </a:rPr>
              <a:t>Multi-national </a:t>
            </a:r>
            <a:r>
              <a:rPr sz="1200" spc="-5">
                <a:latin typeface="Verdana"/>
                <a:cs typeface="Verdana"/>
              </a:rPr>
              <a:t>collaboration is in our </a:t>
            </a:r>
            <a:r>
              <a:rPr sz="1200">
                <a:latin typeface="Verdana"/>
                <a:cs typeface="Verdana"/>
              </a:rPr>
              <a:t>DNA, as </a:t>
            </a:r>
            <a:r>
              <a:rPr sz="1200" spc="-5">
                <a:latin typeface="Verdana"/>
                <a:cs typeface="Verdana"/>
              </a:rPr>
              <a:t>we  </a:t>
            </a:r>
            <a:r>
              <a:rPr sz="1200" spc="-10">
                <a:latin typeface="Verdana"/>
                <a:cs typeface="Verdana"/>
              </a:rPr>
              <a:t>have </a:t>
            </a:r>
            <a:r>
              <a:rPr sz="1200" spc="-5">
                <a:latin typeface="Verdana"/>
                <a:cs typeface="Verdana"/>
              </a:rPr>
              <a:t>been committed for </a:t>
            </a:r>
            <a:r>
              <a:rPr sz="1200">
                <a:latin typeface="Verdana"/>
                <a:cs typeface="Verdana"/>
              </a:rPr>
              <a:t>a </a:t>
            </a:r>
            <a:r>
              <a:rPr sz="1200" spc="-5">
                <a:latin typeface="Verdana"/>
                <a:cs typeface="Verdana"/>
              </a:rPr>
              <a:t>long time to the  RightShore Model, combining the best needed  balance </a:t>
            </a:r>
            <a:r>
              <a:rPr sz="1200">
                <a:latin typeface="Verdana"/>
                <a:cs typeface="Verdana"/>
              </a:rPr>
              <a:t>of </a:t>
            </a:r>
            <a:r>
              <a:rPr sz="1200" spc="-5">
                <a:latin typeface="Verdana"/>
                <a:cs typeface="Verdana"/>
              </a:rPr>
              <a:t>On-Shore, Near-Shore, </a:t>
            </a:r>
            <a:r>
              <a:rPr sz="1200" spc="-10">
                <a:latin typeface="Verdana"/>
                <a:cs typeface="Verdana"/>
              </a:rPr>
              <a:t>Off-Shore  </a:t>
            </a:r>
            <a:r>
              <a:rPr sz="1200">
                <a:latin typeface="Verdana"/>
                <a:cs typeface="Verdana"/>
              </a:rPr>
              <a:t>resources </a:t>
            </a:r>
            <a:r>
              <a:rPr sz="1200" spc="-5">
                <a:latin typeface="Verdana"/>
                <a:cs typeface="Verdana"/>
              </a:rPr>
              <a:t>to support Marelli global</a:t>
            </a:r>
            <a:r>
              <a:rPr sz="1200">
                <a:latin typeface="Verdana"/>
                <a:cs typeface="Verdana"/>
              </a:rPr>
              <a:t> </a:t>
            </a:r>
            <a:r>
              <a:rPr sz="1200" spc="-5">
                <a:latin typeface="Verdana"/>
                <a:cs typeface="Verdana"/>
              </a:rPr>
              <a:t>rollout.</a:t>
            </a:r>
            <a:endParaRPr sz="1200">
              <a:latin typeface="Verdana"/>
              <a:cs typeface="Verdana"/>
            </a:endParaRPr>
          </a:p>
          <a:p>
            <a:pPr>
              <a:lnSpc>
                <a:spcPct val="100000"/>
              </a:lnSpc>
            </a:pPr>
            <a:endParaRPr sz="1400">
              <a:latin typeface="Times New Roman"/>
              <a:cs typeface="Times New Roman"/>
            </a:endParaRPr>
          </a:p>
          <a:p>
            <a:pPr>
              <a:lnSpc>
                <a:spcPct val="100000"/>
              </a:lnSpc>
              <a:spcBef>
                <a:spcPts val="25"/>
              </a:spcBef>
            </a:pPr>
            <a:endParaRPr sz="1500">
              <a:latin typeface="Times New Roman"/>
              <a:cs typeface="Times New Roman"/>
            </a:endParaRPr>
          </a:p>
          <a:p>
            <a:pPr marL="12700">
              <a:lnSpc>
                <a:spcPct val="100000"/>
              </a:lnSpc>
            </a:pPr>
            <a:r>
              <a:rPr sz="1200" b="1" spc="-5">
                <a:solidFill>
                  <a:srgbClr val="E2001F"/>
                </a:solidFill>
                <a:latin typeface="Verdana"/>
                <a:cs typeface="Verdana"/>
              </a:rPr>
              <a:t>Unique Project</a:t>
            </a:r>
            <a:r>
              <a:rPr sz="1200" b="1" spc="10">
                <a:solidFill>
                  <a:srgbClr val="E2001F"/>
                </a:solidFill>
                <a:latin typeface="Verdana"/>
                <a:cs typeface="Verdana"/>
              </a:rPr>
              <a:t> </a:t>
            </a:r>
            <a:r>
              <a:rPr sz="1200" b="1" spc="-5">
                <a:solidFill>
                  <a:srgbClr val="E2001F"/>
                </a:solidFill>
                <a:latin typeface="Verdana"/>
                <a:cs typeface="Verdana"/>
              </a:rPr>
              <a:t>approach</a:t>
            </a:r>
            <a:endParaRPr sz="1200">
              <a:latin typeface="Verdana"/>
              <a:cs typeface="Verdana"/>
            </a:endParaRPr>
          </a:p>
          <a:p>
            <a:pPr marL="12700" marR="144145">
              <a:lnSpc>
                <a:spcPct val="100000"/>
              </a:lnSpc>
            </a:pPr>
            <a:r>
              <a:rPr sz="1200" spc="-5">
                <a:latin typeface="Verdana"/>
                <a:cs typeface="Verdana"/>
              </a:rPr>
              <a:t>Our past experiences </a:t>
            </a:r>
            <a:r>
              <a:rPr sz="1200">
                <a:latin typeface="Verdana"/>
                <a:cs typeface="Verdana"/>
              </a:rPr>
              <a:t>on </a:t>
            </a:r>
            <a:r>
              <a:rPr sz="1200" spc="-5">
                <a:latin typeface="Verdana"/>
                <a:cs typeface="Verdana"/>
              </a:rPr>
              <a:t>similar Salesforce projects </a:t>
            </a:r>
            <a:r>
              <a:rPr sz="1200" spc="-10">
                <a:latin typeface="Verdana"/>
                <a:cs typeface="Verdana"/>
              </a:rPr>
              <a:t>have  </a:t>
            </a:r>
            <a:r>
              <a:rPr sz="1200" spc="-5">
                <a:latin typeface="Verdana"/>
                <a:cs typeface="Verdana"/>
              </a:rPr>
              <a:t>helped us </a:t>
            </a:r>
            <a:r>
              <a:rPr sz="1200" spc="-10">
                <a:latin typeface="Verdana"/>
                <a:cs typeface="Verdana"/>
              </a:rPr>
              <a:t>frame </a:t>
            </a:r>
            <a:r>
              <a:rPr sz="1200">
                <a:latin typeface="Verdana"/>
                <a:cs typeface="Verdana"/>
              </a:rPr>
              <a:t>a </a:t>
            </a:r>
            <a:r>
              <a:rPr sz="1200" spc="-20">
                <a:latin typeface="Verdana"/>
                <a:cs typeface="Verdana"/>
              </a:rPr>
              <a:t>Tailored </a:t>
            </a:r>
            <a:r>
              <a:rPr sz="1200" spc="-10">
                <a:latin typeface="Verdana"/>
                <a:cs typeface="Verdana"/>
              </a:rPr>
              <a:t>Agile </a:t>
            </a:r>
            <a:r>
              <a:rPr sz="1200" spc="-5">
                <a:latin typeface="Verdana"/>
                <a:cs typeface="Verdana"/>
              </a:rPr>
              <a:t>project approach, focusing  </a:t>
            </a:r>
            <a:r>
              <a:rPr sz="1200">
                <a:latin typeface="Verdana"/>
                <a:cs typeface="Verdana"/>
              </a:rPr>
              <a:t>on </a:t>
            </a:r>
            <a:r>
              <a:rPr sz="1200" spc="-30">
                <a:latin typeface="Verdana"/>
                <a:cs typeface="Verdana"/>
              </a:rPr>
              <a:t>Key-User, </a:t>
            </a:r>
            <a:r>
              <a:rPr sz="1200">
                <a:latin typeface="Verdana"/>
                <a:cs typeface="Verdana"/>
              </a:rPr>
              <a:t>Process </a:t>
            </a:r>
            <a:r>
              <a:rPr sz="1200" spc="-5">
                <a:latin typeface="Verdana"/>
                <a:cs typeface="Verdana"/>
              </a:rPr>
              <a:t>Owner and Product Owner inclusion  and frequent feedback during the project</a:t>
            </a:r>
            <a:r>
              <a:rPr sz="1200" spc="75">
                <a:latin typeface="Verdana"/>
                <a:cs typeface="Verdana"/>
              </a:rPr>
              <a:t> </a:t>
            </a:r>
            <a:r>
              <a:rPr sz="1200" spc="-5">
                <a:latin typeface="Verdana"/>
                <a:cs typeface="Verdana"/>
              </a:rPr>
              <a:t>lifecycle.</a:t>
            </a:r>
            <a:endParaRPr sz="1200">
              <a:latin typeface="Verdana"/>
              <a:cs typeface="Verdana"/>
            </a:endParaRPr>
          </a:p>
          <a:p>
            <a:pPr>
              <a:lnSpc>
                <a:spcPct val="100000"/>
              </a:lnSpc>
              <a:spcBef>
                <a:spcPts val="5"/>
              </a:spcBef>
            </a:pPr>
            <a:endParaRPr sz="1250">
              <a:latin typeface="Times New Roman"/>
              <a:cs typeface="Times New Roman"/>
            </a:endParaRPr>
          </a:p>
          <a:p>
            <a:pPr marL="12700" marR="360680" algn="just">
              <a:lnSpc>
                <a:spcPct val="100000"/>
              </a:lnSpc>
            </a:pPr>
            <a:r>
              <a:rPr sz="1200" spc="-5">
                <a:latin typeface="Verdana"/>
                <a:cs typeface="Verdana"/>
              </a:rPr>
              <a:t>This approach ensure </a:t>
            </a:r>
            <a:r>
              <a:rPr sz="1200">
                <a:latin typeface="Verdana"/>
                <a:cs typeface="Verdana"/>
              </a:rPr>
              <a:t>a </a:t>
            </a:r>
            <a:r>
              <a:rPr sz="1200" spc="-5">
                <a:latin typeface="Verdana"/>
                <a:cs typeface="Verdana"/>
              </a:rPr>
              <a:t>short communication chain, that  expedites the project, while ensuring User adoption with  standard-driven design and</a:t>
            </a:r>
            <a:r>
              <a:rPr sz="1200" spc="70">
                <a:latin typeface="Verdana"/>
                <a:cs typeface="Verdana"/>
              </a:rPr>
              <a:t> </a:t>
            </a:r>
            <a:r>
              <a:rPr sz="1200" spc="-5">
                <a:latin typeface="Verdana"/>
                <a:cs typeface="Verdana"/>
              </a:rPr>
              <a:t>development.</a:t>
            </a:r>
            <a:endParaRPr sz="1200">
              <a:latin typeface="Verdana"/>
              <a:cs typeface="Verdana"/>
            </a:endParaRPr>
          </a:p>
        </p:txBody>
      </p:sp>
      <p:sp>
        <p:nvSpPr>
          <p:cNvPr id="8" name="object 8"/>
          <p:cNvSpPr txBox="1"/>
          <p:nvPr/>
        </p:nvSpPr>
        <p:spPr>
          <a:xfrm>
            <a:off x="7380858" y="1232153"/>
            <a:ext cx="4422775" cy="939800"/>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006FAC"/>
                </a:solidFill>
                <a:latin typeface="Verdana"/>
                <a:cs typeface="Verdana"/>
              </a:rPr>
              <a:t>Best </a:t>
            </a:r>
            <a:r>
              <a:rPr sz="1200" b="1">
                <a:solidFill>
                  <a:srgbClr val="006FAC"/>
                </a:solidFill>
                <a:latin typeface="Verdana"/>
                <a:cs typeface="Verdana"/>
              </a:rPr>
              <a:t>of</a:t>
            </a:r>
            <a:r>
              <a:rPr sz="1200" b="1" spc="10">
                <a:solidFill>
                  <a:srgbClr val="006FAC"/>
                </a:solidFill>
                <a:latin typeface="Verdana"/>
                <a:cs typeface="Verdana"/>
              </a:rPr>
              <a:t> </a:t>
            </a:r>
            <a:r>
              <a:rPr sz="1200" b="1" spc="-5">
                <a:solidFill>
                  <a:srgbClr val="006FAC"/>
                </a:solidFill>
                <a:latin typeface="Verdana"/>
                <a:cs typeface="Verdana"/>
              </a:rPr>
              <a:t>Breed</a:t>
            </a:r>
            <a:endParaRPr sz="1200">
              <a:latin typeface="Verdana"/>
              <a:cs typeface="Verdana"/>
            </a:endParaRPr>
          </a:p>
          <a:p>
            <a:pPr marL="12700" marR="5080">
              <a:lnSpc>
                <a:spcPct val="100000"/>
              </a:lnSpc>
            </a:pPr>
            <a:r>
              <a:rPr sz="1200" spc="-30">
                <a:latin typeface="Verdana"/>
                <a:cs typeface="Verdana"/>
              </a:rPr>
              <a:t>We </a:t>
            </a:r>
            <a:r>
              <a:rPr sz="1200" spc="-10">
                <a:latin typeface="Verdana"/>
                <a:cs typeface="Verdana"/>
              </a:rPr>
              <a:t>have identified </a:t>
            </a:r>
            <a:r>
              <a:rPr sz="1200">
                <a:latin typeface="Verdana"/>
                <a:cs typeface="Verdana"/>
              </a:rPr>
              <a:t>a </a:t>
            </a:r>
            <a:r>
              <a:rPr sz="1200" spc="-5">
                <a:latin typeface="Verdana"/>
                <a:cs typeface="Verdana"/>
              </a:rPr>
              <a:t>Global talent project team to cover  the technology landscape in </a:t>
            </a:r>
            <a:r>
              <a:rPr sz="1200">
                <a:latin typeface="Verdana"/>
                <a:cs typeface="Verdana"/>
              </a:rPr>
              <a:t>scope </a:t>
            </a:r>
            <a:r>
              <a:rPr sz="1200" spc="-5">
                <a:latin typeface="Verdana"/>
                <a:cs typeface="Verdana"/>
              </a:rPr>
              <a:t>and </a:t>
            </a:r>
            <a:r>
              <a:rPr sz="1200">
                <a:latin typeface="Verdana"/>
                <a:cs typeface="Verdana"/>
              </a:rPr>
              <a:t>broad </a:t>
            </a:r>
            <a:r>
              <a:rPr sz="1200" spc="-10">
                <a:latin typeface="Verdana"/>
                <a:cs typeface="Verdana"/>
              </a:rPr>
              <a:t>geographic  </a:t>
            </a:r>
            <a:r>
              <a:rPr sz="1200">
                <a:latin typeface="Verdana"/>
                <a:cs typeface="Verdana"/>
              </a:rPr>
              <a:t>reach of </a:t>
            </a:r>
            <a:r>
              <a:rPr sz="1200" spc="-5">
                <a:latin typeface="Verdana"/>
                <a:cs typeface="Verdana"/>
              </a:rPr>
              <a:t>the </a:t>
            </a:r>
            <a:r>
              <a:rPr sz="1200" spc="-10">
                <a:latin typeface="Verdana"/>
                <a:cs typeface="Verdana"/>
              </a:rPr>
              <a:t>initiative, </a:t>
            </a:r>
            <a:r>
              <a:rPr sz="1200" spc="-5">
                <a:latin typeface="Verdana"/>
                <a:cs typeface="Verdana"/>
              </a:rPr>
              <a:t>engaging the right </a:t>
            </a:r>
            <a:r>
              <a:rPr sz="1200" spc="-10">
                <a:latin typeface="Verdana"/>
                <a:cs typeface="Verdana"/>
              </a:rPr>
              <a:t>geography </a:t>
            </a:r>
            <a:r>
              <a:rPr sz="1200" spc="-5">
                <a:latin typeface="Verdana"/>
                <a:cs typeface="Verdana"/>
              </a:rPr>
              <a:t>with  the right</a:t>
            </a:r>
            <a:r>
              <a:rPr sz="1200" spc="25">
                <a:latin typeface="Verdana"/>
                <a:cs typeface="Verdana"/>
              </a:rPr>
              <a:t> </a:t>
            </a:r>
            <a:r>
              <a:rPr sz="1200" spc="-5">
                <a:latin typeface="Verdana"/>
                <a:cs typeface="Verdana"/>
              </a:rPr>
              <a:t>people.</a:t>
            </a:r>
            <a:endParaRPr sz="1200">
              <a:latin typeface="Verdana"/>
              <a:cs typeface="Verdana"/>
            </a:endParaRPr>
          </a:p>
        </p:txBody>
      </p:sp>
      <p:sp>
        <p:nvSpPr>
          <p:cNvPr id="9" name="object 9"/>
          <p:cNvSpPr/>
          <p:nvPr/>
        </p:nvSpPr>
        <p:spPr>
          <a:xfrm>
            <a:off x="6566916" y="2346960"/>
            <a:ext cx="348995" cy="396239"/>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6993635" y="3357371"/>
            <a:ext cx="385572" cy="414527"/>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7351776" y="3444240"/>
            <a:ext cx="100965" cy="294640"/>
          </a:xfrm>
          <a:custGeom>
            <a:avLst/>
            <a:gdLst/>
            <a:ahLst/>
            <a:cxnLst/>
            <a:rect l="l" t="t" r="r" b="b"/>
            <a:pathLst>
              <a:path w="100965" h="294639">
                <a:moveTo>
                  <a:pt x="1016" y="0"/>
                </a:moveTo>
                <a:lnTo>
                  <a:pt x="0" y="0"/>
                </a:lnTo>
                <a:lnTo>
                  <a:pt x="1016" y="6858"/>
                </a:lnTo>
                <a:lnTo>
                  <a:pt x="11938" y="10795"/>
                </a:lnTo>
                <a:lnTo>
                  <a:pt x="21971" y="14732"/>
                </a:lnTo>
                <a:lnTo>
                  <a:pt x="30860" y="19685"/>
                </a:lnTo>
                <a:lnTo>
                  <a:pt x="39877" y="26543"/>
                </a:lnTo>
                <a:lnTo>
                  <a:pt x="47751" y="34417"/>
                </a:lnTo>
                <a:lnTo>
                  <a:pt x="55752" y="42290"/>
                </a:lnTo>
                <a:lnTo>
                  <a:pt x="77724" y="84582"/>
                </a:lnTo>
                <a:lnTo>
                  <a:pt x="80645" y="97409"/>
                </a:lnTo>
                <a:lnTo>
                  <a:pt x="83693" y="110236"/>
                </a:lnTo>
                <a:lnTo>
                  <a:pt x="84708" y="122936"/>
                </a:lnTo>
                <a:lnTo>
                  <a:pt x="84708" y="136779"/>
                </a:lnTo>
                <a:lnTo>
                  <a:pt x="78613" y="179959"/>
                </a:lnTo>
                <a:lnTo>
                  <a:pt x="61722" y="221361"/>
                </a:lnTo>
                <a:lnTo>
                  <a:pt x="36829" y="254762"/>
                </a:lnTo>
                <a:lnTo>
                  <a:pt x="26924" y="263652"/>
                </a:lnTo>
                <a:lnTo>
                  <a:pt x="29845" y="294132"/>
                </a:lnTo>
                <a:lnTo>
                  <a:pt x="41782" y="284353"/>
                </a:lnTo>
                <a:lnTo>
                  <a:pt x="53721" y="273431"/>
                </a:lnTo>
                <a:lnTo>
                  <a:pt x="63753" y="260731"/>
                </a:lnTo>
                <a:lnTo>
                  <a:pt x="72644" y="245872"/>
                </a:lnTo>
                <a:lnTo>
                  <a:pt x="81660" y="231140"/>
                </a:lnTo>
                <a:lnTo>
                  <a:pt x="97535" y="179070"/>
                </a:lnTo>
                <a:lnTo>
                  <a:pt x="100583" y="146558"/>
                </a:lnTo>
                <a:lnTo>
                  <a:pt x="100583" y="130810"/>
                </a:lnTo>
                <a:lnTo>
                  <a:pt x="91567" y="86613"/>
                </a:lnTo>
                <a:lnTo>
                  <a:pt x="73659" y="49149"/>
                </a:lnTo>
                <a:lnTo>
                  <a:pt x="46863" y="20700"/>
                </a:lnTo>
                <a:lnTo>
                  <a:pt x="13970" y="2921"/>
                </a:lnTo>
                <a:lnTo>
                  <a:pt x="1016" y="0"/>
                </a:lnTo>
                <a:close/>
              </a:path>
            </a:pathLst>
          </a:custGeom>
          <a:solidFill>
            <a:srgbClr val="FFFFFF"/>
          </a:solidFill>
        </p:spPr>
        <p:txBody>
          <a:bodyPr wrap="square" lIns="0" tIns="0" rIns="0" bIns="0" rtlCol="0"/>
          <a:lstStyle/>
          <a:p>
            <a:endParaRPr/>
          </a:p>
        </p:txBody>
      </p:sp>
      <p:sp>
        <p:nvSpPr>
          <p:cNvPr id="12" name="object 12"/>
          <p:cNvSpPr/>
          <p:nvPr/>
        </p:nvSpPr>
        <p:spPr>
          <a:xfrm>
            <a:off x="6262115" y="4408932"/>
            <a:ext cx="342900" cy="449580"/>
          </a:xfrm>
          <a:custGeom>
            <a:avLst/>
            <a:gdLst/>
            <a:ahLst/>
            <a:cxnLst/>
            <a:rect l="l" t="t" r="r" b="b"/>
            <a:pathLst>
              <a:path w="342900" h="449579">
                <a:moveTo>
                  <a:pt x="292735" y="0"/>
                </a:moveTo>
                <a:lnTo>
                  <a:pt x="276141" y="3423"/>
                </a:lnTo>
                <a:lnTo>
                  <a:pt x="262667" y="12715"/>
                </a:lnTo>
                <a:lnTo>
                  <a:pt x="253622" y="26414"/>
                </a:lnTo>
                <a:lnTo>
                  <a:pt x="250316" y="43053"/>
                </a:lnTo>
                <a:lnTo>
                  <a:pt x="253694" y="59765"/>
                </a:lnTo>
                <a:lnTo>
                  <a:pt x="262858" y="73501"/>
                </a:lnTo>
                <a:lnTo>
                  <a:pt x="276355" y="82807"/>
                </a:lnTo>
                <a:lnTo>
                  <a:pt x="292735" y="86233"/>
                </a:lnTo>
                <a:lnTo>
                  <a:pt x="309294" y="82807"/>
                </a:lnTo>
                <a:lnTo>
                  <a:pt x="322818" y="73501"/>
                </a:lnTo>
                <a:lnTo>
                  <a:pt x="328867" y="64389"/>
                </a:lnTo>
                <a:lnTo>
                  <a:pt x="292735" y="64389"/>
                </a:lnTo>
                <a:lnTo>
                  <a:pt x="284884" y="62745"/>
                </a:lnTo>
                <a:lnTo>
                  <a:pt x="278511" y="58293"/>
                </a:lnTo>
                <a:lnTo>
                  <a:pt x="274232" y="51744"/>
                </a:lnTo>
                <a:lnTo>
                  <a:pt x="272668" y="43815"/>
                </a:lnTo>
                <a:lnTo>
                  <a:pt x="274232" y="35792"/>
                </a:lnTo>
                <a:lnTo>
                  <a:pt x="278510" y="29162"/>
                </a:lnTo>
                <a:lnTo>
                  <a:pt x="284884" y="24651"/>
                </a:lnTo>
                <a:lnTo>
                  <a:pt x="292735" y="22987"/>
                </a:lnTo>
                <a:lnTo>
                  <a:pt x="329655" y="22987"/>
                </a:lnTo>
                <a:lnTo>
                  <a:pt x="322818" y="12715"/>
                </a:lnTo>
                <a:lnTo>
                  <a:pt x="309294" y="3423"/>
                </a:lnTo>
                <a:lnTo>
                  <a:pt x="292735" y="0"/>
                </a:lnTo>
                <a:close/>
              </a:path>
              <a:path w="342900" h="449579">
                <a:moveTo>
                  <a:pt x="329655" y="22987"/>
                </a:moveTo>
                <a:lnTo>
                  <a:pt x="292735" y="22987"/>
                </a:lnTo>
                <a:lnTo>
                  <a:pt x="300511" y="24651"/>
                </a:lnTo>
                <a:lnTo>
                  <a:pt x="306847" y="29162"/>
                </a:lnTo>
                <a:lnTo>
                  <a:pt x="311112" y="35792"/>
                </a:lnTo>
                <a:lnTo>
                  <a:pt x="312674" y="43815"/>
                </a:lnTo>
                <a:lnTo>
                  <a:pt x="311112" y="51744"/>
                </a:lnTo>
                <a:lnTo>
                  <a:pt x="306847" y="58293"/>
                </a:lnTo>
                <a:lnTo>
                  <a:pt x="300511" y="62745"/>
                </a:lnTo>
                <a:lnTo>
                  <a:pt x="292735" y="64389"/>
                </a:lnTo>
                <a:lnTo>
                  <a:pt x="328867" y="64389"/>
                </a:lnTo>
                <a:lnTo>
                  <a:pt x="331936" y="59765"/>
                </a:lnTo>
                <a:lnTo>
                  <a:pt x="335280" y="43053"/>
                </a:lnTo>
                <a:lnTo>
                  <a:pt x="331936" y="26414"/>
                </a:lnTo>
                <a:lnTo>
                  <a:pt x="329655" y="22987"/>
                </a:lnTo>
                <a:close/>
              </a:path>
              <a:path w="342900" h="449579">
                <a:moveTo>
                  <a:pt x="42291" y="363347"/>
                </a:moveTo>
                <a:lnTo>
                  <a:pt x="25771" y="366772"/>
                </a:lnTo>
                <a:lnTo>
                  <a:pt x="12334" y="376078"/>
                </a:lnTo>
                <a:lnTo>
                  <a:pt x="3303" y="389814"/>
                </a:lnTo>
                <a:lnTo>
                  <a:pt x="0" y="406527"/>
                </a:lnTo>
                <a:lnTo>
                  <a:pt x="3303" y="423165"/>
                </a:lnTo>
                <a:lnTo>
                  <a:pt x="12334" y="436864"/>
                </a:lnTo>
                <a:lnTo>
                  <a:pt x="25771" y="446156"/>
                </a:lnTo>
                <a:lnTo>
                  <a:pt x="42291" y="449580"/>
                </a:lnTo>
                <a:lnTo>
                  <a:pt x="58850" y="446156"/>
                </a:lnTo>
                <a:lnTo>
                  <a:pt x="72374" y="436864"/>
                </a:lnTo>
                <a:lnTo>
                  <a:pt x="79211" y="426593"/>
                </a:lnTo>
                <a:lnTo>
                  <a:pt x="42291" y="426593"/>
                </a:lnTo>
                <a:lnTo>
                  <a:pt x="34440" y="424932"/>
                </a:lnTo>
                <a:lnTo>
                  <a:pt x="28067" y="420449"/>
                </a:lnTo>
                <a:lnTo>
                  <a:pt x="23788" y="413894"/>
                </a:lnTo>
                <a:lnTo>
                  <a:pt x="22225" y="406019"/>
                </a:lnTo>
                <a:lnTo>
                  <a:pt x="23788" y="397942"/>
                </a:lnTo>
                <a:lnTo>
                  <a:pt x="28067" y="391318"/>
                </a:lnTo>
                <a:lnTo>
                  <a:pt x="34440" y="386838"/>
                </a:lnTo>
                <a:lnTo>
                  <a:pt x="42291" y="385191"/>
                </a:lnTo>
                <a:lnTo>
                  <a:pt x="78423" y="385191"/>
                </a:lnTo>
                <a:lnTo>
                  <a:pt x="72374" y="376078"/>
                </a:lnTo>
                <a:lnTo>
                  <a:pt x="58850" y="366772"/>
                </a:lnTo>
                <a:lnTo>
                  <a:pt x="42291" y="363347"/>
                </a:lnTo>
                <a:close/>
              </a:path>
              <a:path w="342900" h="449579">
                <a:moveTo>
                  <a:pt x="78423" y="385191"/>
                </a:moveTo>
                <a:lnTo>
                  <a:pt x="42291" y="385191"/>
                </a:lnTo>
                <a:lnTo>
                  <a:pt x="50141" y="386838"/>
                </a:lnTo>
                <a:lnTo>
                  <a:pt x="56515" y="391318"/>
                </a:lnTo>
                <a:lnTo>
                  <a:pt x="60793" y="397942"/>
                </a:lnTo>
                <a:lnTo>
                  <a:pt x="62357" y="406019"/>
                </a:lnTo>
                <a:lnTo>
                  <a:pt x="60793" y="413894"/>
                </a:lnTo>
                <a:lnTo>
                  <a:pt x="56514" y="420449"/>
                </a:lnTo>
                <a:lnTo>
                  <a:pt x="50141" y="424932"/>
                </a:lnTo>
                <a:lnTo>
                  <a:pt x="42291" y="426593"/>
                </a:lnTo>
                <a:lnTo>
                  <a:pt x="79211" y="426593"/>
                </a:lnTo>
                <a:lnTo>
                  <a:pt x="81492" y="423165"/>
                </a:lnTo>
                <a:lnTo>
                  <a:pt x="84836" y="406527"/>
                </a:lnTo>
                <a:lnTo>
                  <a:pt x="81492" y="389814"/>
                </a:lnTo>
                <a:lnTo>
                  <a:pt x="78423" y="385191"/>
                </a:lnTo>
                <a:close/>
              </a:path>
              <a:path w="342900" h="449579">
                <a:moveTo>
                  <a:pt x="136017" y="341630"/>
                </a:moveTo>
                <a:lnTo>
                  <a:pt x="128905" y="341630"/>
                </a:lnTo>
                <a:lnTo>
                  <a:pt x="124713" y="345821"/>
                </a:lnTo>
                <a:lnTo>
                  <a:pt x="120776" y="350520"/>
                </a:lnTo>
                <a:lnTo>
                  <a:pt x="120776" y="357378"/>
                </a:lnTo>
                <a:lnTo>
                  <a:pt x="124713" y="361696"/>
                </a:lnTo>
                <a:lnTo>
                  <a:pt x="147700" y="384683"/>
                </a:lnTo>
                <a:lnTo>
                  <a:pt x="124713" y="407670"/>
                </a:lnTo>
                <a:lnTo>
                  <a:pt x="120776" y="412369"/>
                </a:lnTo>
                <a:lnTo>
                  <a:pt x="120776" y="419354"/>
                </a:lnTo>
                <a:lnTo>
                  <a:pt x="124713" y="423545"/>
                </a:lnTo>
                <a:lnTo>
                  <a:pt x="126619" y="426085"/>
                </a:lnTo>
                <a:lnTo>
                  <a:pt x="129667" y="427101"/>
                </a:lnTo>
                <a:lnTo>
                  <a:pt x="134874" y="427101"/>
                </a:lnTo>
                <a:lnTo>
                  <a:pt x="137795" y="426085"/>
                </a:lnTo>
                <a:lnTo>
                  <a:pt x="140081" y="423545"/>
                </a:lnTo>
                <a:lnTo>
                  <a:pt x="163068" y="400558"/>
                </a:lnTo>
                <a:lnTo>
                  <a:pt x="194310" y="400558"/>
                </a:lnTo>
                <a:lnTo>
                  <a:pt x="178435" y="384683"/>
                </a:lnTo>
                <a:lnTo>
                  <a:pt x="194310" y="368808"/>
                </a:lnTo>
                <a:lnTo>
                  <a:pt x="163830" y="368808"/>
                </a:lnTo>
                <a:lnTo>
                  <a:pt x="140716" y="345821"/>
                </a:lnTo>
                <a:lnTo>
                  <a:pt x="136017" y="341630"/>
                </a:lnTo>
                <a:close/>
              </a:path>
              <a:path w="342900" h="449579">
                <a:moveTo>
                  <a:pt x="194310" y="400558"/>
                </a:moveTo>
                <a:lnTo>
                  <a:pt x="163068" y="400558"/>
                </a:lnTo>
                <a:lnTo>
                  <a:pt x="186055" y="423545"/>
                </a:lnTo>
                <a:lnTo>
                  <a:pt x="187833" y="426085"/>
                </a:lnTo>
                <a:lnTo>
                  <a:pt x="190754" y="427101"/>
                </a:lnTo>
                <a:lnTo>
                  <a:pt x="196214" y="427101"/>
                </a:lnTo>
                <a:lnTo>
                  <a:pt x="199136" y="426085"/>
                </a:lnTo>
                <a:lnTo>
                  <a:pt x="205612" y="418846"/>
                </a:lnTo>
                <a:lnTo>
                  <a:pt x="205612" y="411734"/>
                </a:lnTo>
                <a:lnTo>
                  <a:pt x="201422" y="407670"/>
                </a:lnTo>
                <a:lnTo>
                  <a:pt x="194310" y="400558"/>
                </a:lnTo>
                <a:close/>
              </a:path>
              <a:path w="342900" h="449579">
                <a:moveTo>
                  <a:pt x="266191" y="284861"/>
                </a:moveTo>
                <a:lnTo>
                  <a:pt x="259080" y="284861"/>
                </a:lnTo>
                <a:lnTo>
                  <a:pt x="255015" y="289052"/>
                </a:lnTo>
                <a:lnTo>
                  <a:pt x="250825" y="293751"/>
                </a:lnTo>
                <a:lnTo>
                  <a:pt x="250825" y="300990"/>
                </a:lnTo>
                <a:lnTo>
                  <a:pt x="255015" y="304927"/>
                </a:lnTo>
                <a:lnTo>
                  <a:pt x="278130" y="327914"/>
                </a:lnTo>
                <a:lnTo>
                  <a:pt x="255015" y="351028"/>
                </a:lnTo>
                <a:lnTo>
                  <a:pt x="250825" y="355727"/>
                </a:lnTo>
                <a:lnTo>
                  <a:pt x="250825" y="362839"/>
                </a:lnTo>
                <a:lnTo>
                  <a:pt x="255015" y="366903"/>
                </a:lnTo>
                <a:lnTo>
                  <a:pt x="256793" y="369316"/>
                </a:lnTo>
                <a:lnTo>
                  <a:pt x="259714" y="370586"/>
                </a:lnTo>
                <a:lnTo>
                  <a:pt x="264922" y="370586"/>
                </a:lnTo>
                <a:lnTo>
                  <a:pt x="267969" y="369316"/>
                </a:lnTo>
                <a:lnTo>
                  <a:pt x="293115" y="344043"/>
                </a:lnTo>
                <a:lnTo>
                  <a:pt x="324523" y="344043"/>
                </a:lnTo>
                <a:lnTo>
                  <a:pt x="308483" y="327914"/>
                </a:lnTo>
                <a:lnTo>
                  <a:pt x="324230" y="312166"/>
                </a:lnTo>
                <a:lnTo>
                  <a:pt x="293878" y="312166"/>
                </a:lnTo>
                <a:lnTo>
                  <a:pt x="270890" y="289052"/>
                </a:lnTo>
                <a:lnTo>
                  <a:pt x="266191" y="284861"/>
                </a:lnTo>
                <a:close/>
              </a:path>
              <a:path w="342900" h="449579">
                <a:moveTo>
                  <a:pt x="324523" y="344043"/>
                </a:moveTo>
                <a:lnTo>
                  <a:pt x="293115" y="344043"/>
                </a:lnTo>
                <a:lnTo>
                  <a:pt x="316230" y="366903"/>
                </a:lnTo>
                <a:lnTo>
                  <a:pt x="318135" y="369316"/>
                </a:lnTo>
                <a:lnTo>
                  <a:pt x="320929" y="370586"/>
                </a:lnTo>
                <a:lnTo>
                  <a:pt x="326263" y="370586"/>
                </a:lnTo>
                <a:lnTo>
                  <a:pt x="329311" y="369316"/>
                </a:lnTo>
                <a:lnTo>
                  <a:pt x="331469" y="366903"/>
                </a:lnTo>
                <a:lnTo>
                  <a:pt x="335788" y="362204"/>
                </a:lnTo>
                <a:lnTo>
                  <a:pt x="335788" y="355219"/>
                </a:lnTo>
                <a:lnTo>
                  <a:pt x="331469" y="351028"/>
                </a:lnTo>
                <a:lnTo>
                  <a:pt x="324523" y="344043"/>
                </a:lnTo>
                <a:close/>
              </a:path>
              <a:path w="342900" h="449579">
                <a:moveTo>
                  <a:pt x="197866" y="341630"/>
                </a:moveTo>
                <a:lnTo>
                  <a:pt x="190754" y="341630"/>
                </a:lnTo>
                <a:lnTo>
                  <a:pt x="186817" y="345821"/>
                </a:lnTo>
                <a:lnTo>
                  <a:pt x="163830" y="368808"/>
                </a:lnTo>
                <a:lnTo>
                  <a:pt x="194310" y="368808"/>
                </a:lnTo>
                <a:lnTo>
                  <a:pt x="201422" y="361696"/>
                </a:lnTo>
                <a:lnTo>
                  <a:pt x="205612" y="356997"/>
                </a:lnTo>
                <a:lnTo>
                  <a:pt x="205612" y="350520"/>
                </a:lnTo>
                <a:lnTo>
                  <a:pt x="202564" y="345821"/>
                </a:lnTo>
                <a:lnTo>
                  <a:pt x="197866" y="341630"/>
                </a:lnTo>
                <a:close/>
              </a:path>
              <a:path w="342900" h="449579">
                <a:moveTo>
                  <a:pt x="304545" y="152400"/>
                </a:moveTo>
                <a:lnTo>
                  <a:pt x="282066" y="152400"/>
                </a:lnTo>
                <a:lnTo>
                  <a:pt x="282066" y="177165"/>
                </a:lnTo>
                <a:lnTo>
                  <a:pt x="277016" y="202080"/>
                </a:lnTo>
                <a:lnTo>
                  <a:pt x="263191" y="222472"/>
                </a:lnTo>
                <a:lnTo>
                  <a:pt x="242579" y="236243"/>
                </a:lnTo>
                <a:lnTo>
                  <a:pt x="217170" y="241300"/>
                </a:lnTo>
                <a:lnTo>
                  <a:pt x="118237" y="241300"/>
                </a:lnTo>
                <a:lnTo>
                  <a:pt x="84264" y="248118"/>
                </a:lnTo>
                <a:lnTo>
                  <a:pt x="56578" y="266700"/>
                </a:lnTo>
                <a:lnTo>
                  <a:pt x="37941" y="294235"/>
                </a:lnTo>
                <a:lnTo>
                  <a:pt x="31114" y="327914"/>
                </a:lnTo>
                <a:lnTo>
                  <a:pt x="31114" y="334391"/>
                </a:lnTo>
                <a:lnTo>
                  <a:pt x="36322" y="339344"/>
                </a:lnTo>
                <a:lnTo>
                  <a:pt x="48768" y="339344"/>
                </a:lnTo>
                <a:lnTo>
                  <a:pt x="53467" y="333883"/>
                </a:lnTo>
                <a:lnTo>
                  <a:pt x="53467" y="327914"/>
                </a:lnTo>
                <a:lnTo>
                  <a:pt x="58550" y="302944"/>
                </a:lnTo>
                <a:lnTo>
                  <a:pt x="72421" y="282559"/>
                </a:lnTo>
                <a:lnTo>
                  <a:pt x="93007" y="268817"/>
                </a:lnTo>
                <a:lnTo>
                  <a:pt x="118237" y="263779"/>
                </a:lnTo>
                <a:lnTo>
                  <a:pt x="217170" y="263779"/>
                </a:lnTo>
                <a:lnTo>
                  <a:pt x="251289" y="256960"/>
                </a:lnTo>
                <a:lnTo>
                  <a:pt x="279050" y="238379"/>
                </a:lnTo>
                <a:lnTo>
                  <a:pt x="297715" y="210843"/>
                </a:lnTo>
                <a:lnTo>
                  <a:pt x="304545" y="177165"/>
                </a:lnTo>
                <a:lnTo>
                  <a:pt x="304545" y="152400"/>
                </a:lnTo>
                <a:close/>
              </a:path>
              <a:path w="342900" h="449579">
                <a:moveTo>
                  <a:pt x="328040" y="284861"/>
                </a:moveTo>
                <a:lnTo>
                  <a:pt x="320929" y="284861"/>
                </a:lnTo>
                <a:lnTo>
                  <a:pt x="316864" y="289052"/>
                </a:lnTo>
                <a:lnTo>
                  <a:pt x="293878" y="312166"/>
                </a:lnTo>
                <a:lnTo>
                  <a:pt x="324230" y="312166"/>
                </a:lnTo>
                <a:lnTo>
                  <a:pt x="331469" y="304927"/>
                </a:lnTo>
                <a:lnTo>
                  <a:pt x="335788" y="300228"/>
                </a:lnTo>
                <a:lnTo>
                  <a:pt x="335788" y="293243"/>
                </a:lnTo>
                <a:lnTo>
                  <a:pt x="332739" y="289052"/>
                </a:lnTo>
                <a:lnTo>
                  <a:pt x="328040" y="284861"/>
                </a:lnTo>
                <a:close/>
              </a:path>
              <a:path w="342900" h="449579">
                <a:moveTo>
                  <a:pt x="97282" y="107950"/>
                </a:moveTo>
                <a:lnTo>
                  <a:pt x="90043" y="107950"/>
                </a:lnTo>
                <a:lnTo>
                  <a:pt x="85851" y="112268"/>
                </a:lnTo>
                <a:lnTo>
                  <a:pt x="81914" y="116967"/>
                </a:lnTo>
                <a:lnTo>
                  <a:pt x="81914" y="123825"/>
                </a:lnTo>
                <a:lnTo>
                  <a:pt x="85851" y="128016"/>
                </a:lnTo>
                <a:lnTo>
                  <a:pt x="108838" y="151130"/>
                </a:lnTo>
                <a:lnTo>
                  <a:pt x="85851" y="174117"/>
                </a:lnTo>
                <a:lnTo>
                  <a:pt x="81914" y="178816"/>
                </a:lnTo>
                <a:lnTo>
                  <a:pt x="81914" y="185801"/>
                </a:lnTo>
                <a:lnTo>
                  <a:pt x="87122" y="189992"/>
                </a:lnTo>
                <a:lnTo>
                  <a:pt x="88773" y="192405"/>
                </a:lnTo>
                <a:lnTo>
                  <a:pt x="92583" y="193421"/>
                </a:lnTo>
                <a:lnTo>
                  <a:pt x="97282" y="193421"/>
                </a:lnTo>
                <a:lnTo>
                  <a:pt x="99949" y="192405"/>
                </a:lnTo>
                <a:lnTo>
                  <a:pt x="125475" y="167005"/>
                </a:lnTo>
                <a:lnTo>
                  <a:pt x="156678" y="167005"/>
                </a:lnTo>
                <a:lnTo>
                  <a:pt x="140716" y="151130"/>
                </a:lnTo>
                <a:lnTo>
                  <a:pt x="156591" y="135255"/>
                </a:lnTo>
                <a:lnTo>
                  <a:pt x="124713" y="135255"/>
                </a:lnTo>
                <a:lnTo>
                  <a:pt x="101981" y="112268"/>
                </a:lnTo>
                <a:lnTo>
                  <a:pt x="97282" y="107950"/>
                </a:lnTo>
                <a:close/>
              </a:path>
              <a:path w="342900" h="449579">
                <a:moveTo>
                  <a:pt x="156678" y="167005"/>
                </a:moveTo>
                <a:lnTo>
                  <a:pt x="125475" y="167005"/>
                </a:lnTo>
                <a:lnTo>
                  <a:pt x="148462" y="189992"/>
                </a:lnTo>
                <a:lnTo>
                  <a:pt x="150113" y="192405"/>
                </a:lnTo>
                <a:lnTo>
                  <a:pt x="153162" y="193421"/>
                </a:lnTo>
                <a:lnTo>
                  <a:pt x="158369" y="193421"/>
                </a:lnTo>
                <a:lnTo>
                  <a:pt x="161289" y="192405"/>
                </a:lnTo>
                <a:lnTo>
                  <a:pt x="163830" y="189992"/>
                </a:lnTo>
                <a:lnTo>
                  <a:pt x="167767" y="185293"/>
                </a:lnTo>
                <a:lnTo>
                  <a:pt x="167767" y="178054"/>
                </a:lnTo>
                <a:lnTo>
                  <a:pt x="156678" y="167005"/>
                </a:lnTo>
                <a:close/>
              </a:path>
              <a:path w="342900" h="449579">
                <a:moveTo>
                  <a:pt x="296926" y="113411"/>
                </a:moveTo>
                <a:lnTo>
                  <a:pt x="289687" y="113411"/>
                </a:lnTo>
                <a:lnTo>
                  <a:pt x="247904" y="155321"/>
                </a:lnTo>
                <a:lnTo>
                  <a:pt x="243712" y="160020"/>
                </a:lnTo>
                <a:lnTo>
                  <a:pt x="243712" y="167005"/>
                </a:lnTo>
                <a:lnTo>
                  <a:pt x="247904" y="171196"/>
                </a:lnTo>
                <a:lnTo>
                  <a:pt x="249682" y="173355"/>
                </a:lnTo>
                <a:lnTo>
                  <a:pt x="252603" y="174625"/>
                </a:lnTo>
                <a:lnTo>
                  <a:pt x="258063" y="174625"/>
                </a:lnTo>
                <a:lnTo>
                  <a:pt x="260985" y="173355"/>
                </a:lnTo>
                <a:lnTo>
                  <a:pt x="263270" y="171196"/>
                </a:lnTo>
                <a:lnTo>
                  <a:pt x="282066" y="152400"/>
                </a:lnTo>
                <a:lnTo>
                  <a:pt x="336325" y="152400"/>
                </a:lnTo>
                <a:lnTo>
                  <a:pt x="301625" y="117348"/>
                </a:lnTo>
                <a:lnTo>
                  <a:pt x="296926" y="113411"/>
                </a:lnTo>
                <a:close/>
              </a:path>
              <a:path w="342900" h="449579">
                <a:moveTo>
                  <a:pt x="336325" y="152400"/>
                </a:moveTo>
                <a:lnTo>
                  <a:pt x="304545" y="152400"/>
                </a:lnTo>
                <a:lnTo>
                  <a:pt x="323341" y="171196"/>
                </a:lnTo>
                <a:lnTo>
                  <a:pt x="325119" y="173355"/>
                </a:lnTo>
                <a:lnTo>
                  <a:pt x="328040" y="174625"/>
                </a:lnTo>
                <a:lnTo>
                  <a:pt x="333248" y="174625"/>
                </a:lnTo>
                <a:lnTo>
                  <a:pt x="336168" y="173355"/>
                </a:lnTo>
                <a:lnTo>
                  <a:pt x="338709" y="171196"/>
                </a:lnTo>
                <a:lnTo>
                  <a:pt x="342900" y="166497"/>
                </a:lnTo>
                <a:lnTo>
                  <a:pt x="342900" y="159258"/>
                </a:lnTo>
                <a:lnTo>
                  <a:pt x="339216" y="155321"/>
                </a:lnTo>
                <a:lnTo>
                  <a:pt x="336325" y="152400"/>
                </a:lnTo>
                <a:close/>
              </a:path>
              <a:path w="342900" h="449579">
                <a:moveTo>
                  <a:pt x="159131" y="107950"/>
                </a:moveTo>
                <a:lnTo>
                  <a:pt x="151892" y="107950"/>
                </a:lnTo>
                <a:lnTo>
                  <a:pt x="147700" y="112268"/>
                </a:lnTo>
                <a:lnTo>
                  <a:pt x="124713" y="135255"/>
                </a:lnTo>
                <a:lnTo>
                  <a:pt x="156591" y="135255"/>
                </a:lnTo>
                <a:lnTo>
                  <a:pt x="163830" y="128016"/>
                </a:lnTo>
                <a:lnTo>
                  <a:pt x="167767" y="123317"/>
                </a:lnTo>
                <a:lnTo>
                  <a:pt x="167767" y="116205"/>
                </a:lnTo>
                <a:lnTo>
                  <a:pt x="163830" y="112268"/>
                </a:lnTo>
                <a:lnTo>
                  <a:pt x="159131" y="107950"/>
                </a:lnTo>
                <a:close/>
              </a:path>
            </a:pathLst>
          </a:custGeom>
          <a:solidFill>
            <a:srgbClr val="FFFFFF"/>
          </a:solidFill>
        </p:spPr>
        <p:txBody>
          <a:bodyPr wrap="square" lIns="0" tIns="0" rIns="0" bIns="0" rtlCol="0"/>
          <a:lstStyle/>
          <a:p>
            <a:endParaRPr/>
          </a:p>
        </p:txBody>
      </p:sp>
      <p:sp>
        <p:nvSpPr>
          <p:cNvPr id="13" name="object 13"/>
          <p:cNvSpPr/>
          <p:nvPr/>
        </p:nvSpPr>
        <p:spPr>
          <a:xfrm>
            <a:off x="4731368" y="3765041"/>
            <a:ext cx="361727" cy="357631"/>
          </a:xfrm>
          <a:prstGeom prst="rect">
            <a:avLst/>
          </a:prstGeom>
          <a:blipFill>
            <a:blip r:embed="rId6" cstate="print"/>
            <a:stretch>
              <a:fillRect/>
            </a:stretch>
          </a:blipFill>
        </p:spPr>
        <p:txBody>
          <a:bodyPr wrap="square" lIns="0" tIns="0" rIns="0" bIns="0" rtlCol="0"/>
          <a:lstStyle/>
          <a:p>
            <a:endParaRPr/>
          </a:p>
        </p:txBody>
      </p:sp>
      <p:sp>
        <p:nvSpPr>
          <p:cNvPr id="14" name="object 14"/>
          <p:cNvSpPr/>
          <p:nvPr/>
        </p:nvSpPr>
        <p:spPr>
          <a:xfrm>
            <a:off x="5036820" y="2394204"/>
            <a:ext cx="152400" cy="407034"/>
          </a:xfrm>
          <a:custGeom>
            <a:avLst/>
            <a:gdLst/>
            <a:ahLst/>
            <a:cxnLst/>
            <a:rect l="l" t="t" r="r" b="b"/>
            <a:pathLst>
              <a:path w="152400" h="407035">
                <a:moveTo>
                  <a:pt x="88900" y="51181"/>
                </a:moveTo>
                <a:lnTo>
                  <a:pt x="63500" y="51181"/>
                </a:lnTo>
                <a:lnTo>
                  <a:pt x="48259" y="53721"/>
                </a:lnTo>
                <a:lnTo>
                  <a:pt x="35559" y="56261"/>
                </a:lnTo>
                <a:lnTo>
                  <a:pt x="22859" y="64008"/>
                </a:lnTo>
                <a:lnTo>
                  <a:pt x="35559" y="89535"/>
                </a:lnTo>
                <a:lnTo>
                  <a:pt x="55879" y="81915"/>
                </a:lnTo>
                <a:lnTo>
                  <a:pt x="76200" y="79375"/>
                </a:lnTo>
                <a:lnTo>
                  <a:pt x="120883" y="79375"/>
                </a:lnTo>
                <a:lnTo>
                  <a:pt x="127000" y="64008"/>
                </a:lnTo>
                <a:lnTo>
                  <a:pt x="116839" y="56261"/>
                </a:lnTo>
                <a:lnTo>
                  <a:pt x="101600" y="53721"/>
                </a:lnTo>
                <a:lnTo>
                  <a:pt x="88900" y="51181"/>
                </a:lnTo>
                <a:close/>
              </a:path>
              <a:path w="152400" h="407035">
                <a:moveTo>
                  <a:pt x="120883" y="79375"/>
                </a:moveTo>
                <a:lnTo>
                  <a:pt x="76200" y="79375"/>
                </a:lnTo>
                <a:lnTo>
                  <a:pt x="96519" y="81915"/>
                </a:lnTo>
                <a:lnTo>
                  <a:pt x="116839" y="89535"/>
                </a:lnTo>
                <a:lnTo>
                  <a:pt x="120883" y="79375"/>
                </a:lnTo>
                <a:close/>
              </a:path>
              <a:path w="152400" h="407035">
                <a:moveTo>
                  <a:pt x="76200" y="0"/>
                </a:moveTo>
                <a:lnTo>
                  <a:pt x="35559" y="5080"/>
                </a:lnTo>
                <a:lnTo>
                  <a:pt x="17779" y="10287"/>
                </a:lnTo>
                <a:lnTo>
                  <a:pt x="0" y="17907"/>
                </a:lnTo>
                <a:lnTo>
                  <a:pt x="10159" y="43561"/>
                </a:lnTo>
                <a:lnTo>
                  <a:pt x="25400" y="38354"/>
                </a:lnTo>
                <a:lnTo>
                  <a:pt x="43179" y="33274"/>
                </a:lnTo>
                <a:lnTo>
                  <a:pt x="58419" y="28194"/>
                </a:lnTo>
                <a:lnTo>
                  <a:pt x="147307" y="28194"/>
                </a:lnTo>
                <a:lnTo>
                  <a:pt x="152400" y="17907"/>
                </a:lnTo>
                <a:lnTo>
                  <a:pt x="134619" y="10287"/>
                </a:lnTo>
                <a:lnTo>
                  <a:pt x="114300" y="5080"/>
                </a:lnTo>
                <a:lnTo>
                  <a:pt x="96519" y="2540"/>
                </a:lnTo>
                <a:lnTo>
                  <a:pt x="76200" y="0"/>
                </a:lnTo>
                <a:close/>
              </a:path>
              <a:path w="152400" h="407035">
                <a:moveTo>
                  <a:pt x="147307" y="28194"/>
                </a:moveTo>
                <a:lnTo>
                  <a:pt x="91439" y="28194"/>
                </a:lnTo>
                <a:lnTo>
                  <a:pt x="109219" y="33274"/>
                </a:lnTo>
                <a:lnTo>
                  <a:pt x="139700" y="43561"/>
                </a:lnTo>
                <a:lnTo>
                  <a:pt x="147307" y="28194"/>
                </a:lnTo>
                <a:close/>
              </a:path>
              <a:path w="152400" h="407035">
                <a:moveTo>
                  <a:pt x="124459" y="115188"/>
                </a:moveTo>
                <a:lnTo>
                  <a:pt x="27939" y="115188"/>
                </a:lnTo>
                <a:lnTo>
                  <a:pt x="17779" y="117729"/>
                </a:lnTo>
                <a:lnTo>
                  <a:pt x="10159" y="122809"/>
                </a:lnTo>
                <a:lnTo>
                  <a:pt x="5079" y="130556"/>
                </a:lnTo>
                <a:lnTo>
                  <a:pt x="2539" y="140716"/>
                </a:lnTo>
                <a:lnTo>
                  <a:pt x="2539" y="383921"/>
                </a:lnTo>
                <a:lnTo>
                  <a:pt x="5079" y="391541"/>
                </a:lnTo>
                <a:lnTo>
                  <a:pt x="10159" y="399288"/>
                </a:lnTo>
                <a:lnTo>
                  <a:pt x="17779" y="404368"/>
                </a:lnTo>
                <a:lnTo>
                  <a:pt x="25400" y="406908"/>
                </a:lnTo>
                <a:lnTo>
                  <a:pt x="124459" y="406908"/>
                </a:lnTo>
                <a:lnTo>
                  <a:pt x="132079" y="404368"/>
                </a:lnTo>
                <a:lnTo>
                  <a:pt x="142239" y="399288"/>
                </a:lnTo>
                <a:lnTo>
                  <a:pt x="147319" y="391541"/>
                </a:lnTo>
                <a:lnTo>
                  <a:pt x="147319" y="371094"/>
                </a:lnTo>
                <a:lnTo>
                  <a:pt x="66039" y="371094"/>
                </a:lnTo>
                <a:lnTo>
                  <a:pt x="58419" y="368554"/>
                </a:lnTo>
                <a:lnTo>
                  <a:pt x="48259" y="363347"/>
                </a:lnTo>
                <a:lnTo>
                  <a:pt x="35559" y="350647"/>
                </a:lnTo>
                <a:lnTo>
                  <a:pt x="33019" y="342900"/>
                </a:lnTo>
                <a:lnTo>
                  <a:pt x="30479" y="335280"/>
                </a:lnTo>
                <a:lnTo>
                  <a:pt x="27939" y="324993"/>
                </a:lnTo>
                <a:lnTo>
                  <a:pt x="30479" y="314833"/>
                </a:lnTo>
                <a:lnTo>
                  <a:pt x="33019" y="307086"/>
                </a:lnTo>
                <a:lnTo>
                  <a:pt x="66039" y="278892"/>
                </a:lnTo>
                <a:lnTo>
                  <a:pt x="76200" y="276351"/>
                </a:lnTo>
                <a:lnTo>
                  <a:pt x="147319" y="276351"/>
                </a:lnTo>
                <a:lnTo>
                  <a:pt x="147319" y="250825"/>
                </a:lnTo>
                <a:lnTo>
                  <a:pt x="33019" y="250825"/>
                </a:lnTo>
                <a:lnTo>
                  <a:pt x="27939" y="248285"/>
                </a:lnTo>
                <a:lnTo>
                  <a:pt x="27939" y="227711"/>
                </a:lnTo>
                <a:lnTo>
                  <a:pt x="147319" y="227711"/>
                </a:lnTo>
                <a:lnTo>
                  <a:pt x="147319" y="212471"/>
                </a:lnTo>
                <a:lnTo>
                  <a:pt x="33019" y="212471"/>
                </a:lnTo>
                <a:lnTo>
                  <a:pt x="27939" y="209804"/>
                </a:lnTo>
                <a:lnTo>
                  <a:pt x="27939" y="189357"/>
                </a:lnTo>
                <a:lnTo>
                  <a:pt x="147319" y="189357"/>
                </a:lnTo>
                <a:lnTo>
                  <a:pt x="147319" y="173990"/>
                </a:lnTo>
                <a:lnTo>
                  <a:pt x="33019" y="173990"/>
                </a:lnTo>
                <a:lnTo>
                  <a:pt x="27939" y="171450"/>
                </a:lnTo>
                <a:lnTo>
                  <a:pt x="27939" y="151003"/>
                </a:lnTo>
                <a:lnTo>
                  <a:pt x="147319" y="151003"/>
                </a:lnTo>
                <a:lnTo>
                  <a:pt x="147319" y="130556"/>
                </a:lnTo>
                <a:lnTo>
                  <a:pt x="142239" y="122809"/>
                </a:lnTo>
                <a:lnTo>
                  <a:pt x="132079" y="117729"/>
                </a:lnTo>
                <a:lnTo>
                  <a:pt x="124459" y="115188"/>
                </a:lnTo>
                <a:close/>
              </a:path>
              <a:path w="152400" h="407035">
                <a:moveTo>
                  <a:pt x="147319" y="276351"/>
                </a:moveTo>
                <a:lnTo>
                  <a:pt x="76200" y="276351"/>
                </a:lnTo>
                <a:lnTo>
                  <a:pt x="86359" y="278892"/>
                </a:lnTo>
                <a:lnTo>
                  <a:pt x="93979" y="281559"/>
                </a:lnTo>
                <a:lnTo>
                  <a:pt x="109219" y="291719"/>
                </a:lnTo>
                <a:lnTo>
                  <a:pt x="114300" y="299466"/>
                </a:lnTo>
                <a:lnTo>
                  <a:pt x="119379" y="307086"/>
                </a:lnTo>
                <a:lnTo>
                  <a:pt x="121919" y="314833"/>
                </a:lnTo>
                <a:lnTo>
                  <a:pt x="121919" y="335280"/>
                </a:lnTo>
                <a:lnTo>
                  <a:pt x="119379" y="342900"/>
                </a:lnTo>
                <a:lnTo>
                  <a:pt x="114300" y="350647"/>
                </a:lnTo>
                <a:lnTo>
                  <a:pt x="109219" y="358267"/>
                </a:lnTo>
                <a:lnTo>
                  <a:pt x="101600" y="363347"/>
                </a:lnTo>
                <a:lnTo>
                  <a:pt x="93979" y="368554"/>
                </a:lnTo>
                <a:lnTo>
                  <a:pt x="86359" y="371094"/>
                </a:lnTo>
                <a:lnTo>
                  <a:pt x="147319" y="371094"/>
                </a:lnTo>
                <a:lnTo>
                  <a:pt x="147319" y="276351"/>
                </a:lnTo>
                <a:close/>
              </a:path>
              <a:path w="152400" h="407035">
                <a:moveTo>
                  <a:pt x="66039" y="296925"/>
                </a:moveTo>
                <a:lnTo>
                  <a:pt x="55879" y="296925"/>
                </a:lnTo>
                <a:lnTo>
                  <a:pt x="50800" y="299466"/>
                </a:lnTo>
                <a:lnTo>
                  <a:pt x="50800" y="342900"/>
                </a:lnTo>
                <a:lnTo>
                  <a:pt x="53339" y="348107"/>
                </a:lnTo>
                <a:lnTo>
                  <a:pt x="55879" y="353187"/>
                </a:lnTo>
                <a:lnTo>
                  <a:pt x="60959" y="353187"/>
                </a:lnTo>
                <a:lnTo>
                  <a:pt x="66039" y="350647"/>
                </a:lnTo>
                <a:lnTo>
                  <a:pt x="104139" y="332740"/>
                </a:lnTo>
                <a:lnTo>
                  <a:pt x="109219" y="330073"/>
                </a:lnTo>
                <a:lnTo>
                  <a:pt x="111759" y="324993"/>
                </a:lnTo>
                <a:lnTo>
                  <a:pt x="109219" y="319913"/>
                </a:lnTo>
                <a:lnTo>
                  <a:pt x="104139" y="317373"/>
                </a:lnTo>
                <a:lnTo>
                  <a:pt x="66039" y="296925"/>
                </a:lnTo>
                <a:close/>
              </a:path>
              <a:path w="152400" h="407035">
                <a:moveTo>
                  <a:pt x="86359" y="227711"/>
                </a:moveTo>
                <a:lnTo>
                  <a:pt x="66039" y="227711"/>
                </a:lnTo>
                <a:lnTo>
                  <a:pt x="66039" y="248285"/>
                </a:lnTo>
                <a:lnTo>
                  <a:pt x="63500" y="250825"/>
                </a:lnTo>
                <a:lnTo>
                  <a:pt x="88900" y="250825"/>
                </a:lnTo>
                <a:lnTo>
                  <a:pt x="86359" y="248285"/>
                </a:lnTo>
                <a:lnTo>
                  <a:pt x="83819" y="245618"/>
                </a:lnTo>
                <a:lnTo>
                  <a:pt x="83819" y="230378"/>
                </a:lnTo>
                <a:lnTo>
                  <a:pt x="86359" y="227711"/>
                </a:lnTo>
                <a:close/>
              </a:path>
              <a:path w="152400" h="407035">
                <a:moveTo>
                  <a:pt x="147319" y="227711"/>
                </a:moveTo>
                <a:lnTo>
                  <a:pt x="121919" y="227711"/>
                </a:lnTo>
                <a:lnTo>
                  <a:pt x="124459" y="230378"/>
                </a:lnTo>
                <a:lnTo>
                  <a:pt x="124459" y="245618"/>
                </a:lnTo>
                <a:lnTo>
                  <a:pt x="121919" y="248285"/>
                </a:lnTo>
                <a:lnTo>
                  <a:pt x="119379" y="250825"/>
                </a:lnTo>
                <a:lnTo>
                  <a:pt x="147319" y="250825"/>
                </a:lnTo>
                <a:lnTo>
                  <a:pt x="147319" y="227711"/>
                </a:lnTo>
                <a:close/>
              </a:path>
              <a:path w="152400" h="407035">
                <a:moveTo>
                  <a:pt x="86359" y="189357"/>
                </a:moveTo>
                <a:lnTo>
                  <a:pt x="66039" y="189357"/>
                </a:lnTo>
                <a:lnTo>
                  <a:pt x="66039" y="209804"/>
                </a:lnTo>
                <a:lnTo>
                  <a:pt x="63500" y="212471"/>
                </a:lnTo>
                <a:lnTo>
                  <a:pt x="88900" y="212471"/>
                </a:lnTo>
                <a:lnTo>
                  <a:pt x="86359" y="209804"/>
                </a:lnTo>
                <a:lnTo>
                  <a:pt x="83819" y="207263"/>
                </a:lnTo>
                <a:lnTo>
                  <a:pt x="83819" y="191897"/>
                </a:lnTo>
                <a:lnTo>
                  <a:pt x="86359" y="189357"/>
                </a:lnTo>
                <a:close/>
              </a:path>
              <a:path w="152400" h="407035">
                <a:moveTo>
                  <a:pt x="147319" y="189357"/>
                </a:moveTo>
                <a:lnTo>
                  <a:pt x="121919" y="189357"/>
                </a:lnTo>
                <a:lnTo>
                  <a:pt x="124459" y="191897"/>
                </a:lnTo>
                <a:lnTo>
                  <a:pt x="124459" y="207263"/>
                </a:lnTo>
                <a:lnTo>
                  <a:pt x="121919" y="209804"/>
                </a:lnTo>
                <a:lnTo>
                  <a:pt x="119379" y="212471"/>
                </a:lnTo>
                <a:lnTo>
                  <a:pt x="147319" y="212471"/>
                </a:lnTo>
                <a:lnTo>
                  <a:pt x="147319" y="189357"/>
                </a:lnTo>
                <a:close/>
              </a:path>
              <a:path w="152400" h="407035">
                <a:moveTo>
                  <a:pt x="86359" y="151003"/>
                </a:moveTo>
                <a:lnTo>
                  <a:pt x="66039" y="151003"/>
                </a:lnTo>
                <a:lnTo>
                  <a:pt x="66039" y="171450"/>
                </a:lnTo>
                <a:lnTo>
                  <a:pt x="63500" y="173990"/>
                </a:lnTo>
                <a:lnTo>
                  <a:pt x="88900" y="173990"/>
                </a:lnTo>
                <a:lnTo>
                  <a:pt x="83819" y="168910"/>
                </a:lnTo>
                <a:lnTo>
                  <a:pt x="83819" y="153543"/>
                </a:lnTo>
                <a:lnTo>
                  <a:pt x="86359" y="151003"/>
                </a:lnTo>
                <a:close/>
              </a:path>
              <a:path w="152400" h="407035">
                <a:moveTo>
                  <a:pt x="147319" y="151003"/>
                </a:moveTo>
                <a:lnTo>
                  <a:pt x="121919" y="151003"/>
                </a:lnTo>
                <a:lnTo>
                  <a:pt x="124459" y="153543"/>
                </a:lnTo>
                <a:lnTo>
                  <a:pt x="124459" y="168910"/>
                </a:lnTo>
                <a:lnTo>
                  <a:pt x="119379" y="173990"/>
                </a:lnTo>
                <a:lnTo>
                  <a:pt x="147319" y="173990"/>
                </a:lnTo>
                <a:lnTo>
                  <a:pt x="147319" y="151003"/>
                </a:lnTo>
                <a:close/>
              </a:path>
            </a:pathLst>
          </a:custGeom>
          <a:solidFill>
            <a:srgbClr val="FFFFFF"/>
          </a:solidFill>
        </p:spPr>
        <p:txBody>
          <a:bodyPr wrap="square" lIns="0" tIns="0" rIns="0" bIns="0" rtlCol="0"/>
          <a:lstStyle/>
          <a:p>
            <a:endParaRPr/>
          </a:p>
        </p:txBody>
      </p:sp>
      <p:sp>
        <p:nvSpPr>
          <p:cNvPr id="15" name="object 1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6" name="object 16"/>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11</a:t>
            </a:fld>
            <a:endParaRPr sz="800">
              <a:latin typeface="Verdana"/>
              <a:cs typeface="Verdana"/>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6451" y="307339"/>
            <a:ext cx="6957695" cy="422275"/>
          </a:xfrm>
          <a:prstGeom prst="rect">
            <a:avLst/>
          </a:prstGeom>
        </p:spPr>
        <p:txBody>
          <a:bodyPr vert="horz" wrap="square" lIns="0" tIns="12700" rIns="0" bIns="0" rtlCol="0">
            <a:spAutoFit/>
          </a:bodyPr>
          <a:lstStyle/>
          <a:p>
            <a:pPr marL="12700">
              <a:lnSpc>
                <a:spcPct val="100000"/>
              </a:lnSpc>
              <a:spcBef>
                <a:spcPts val="100"/>
              </a:spcBef>
            </a:pPr>
            <a:r>
              <a:rPr sz="2600"/>
              <a:t>CRM </a:t>
            </a:r>
            <a:r>
              <a:rPr sz="2600" spc="-5"/>
              <a:t>Standard </a:t>
            </a:r>
            <a:r>
              <a:rPr sz="2600"/>
              <a:t>Functionalities </a:t>
            </a:r>
            <a:r>
              <a:rPr sz="2600" spc="-5"/>
              <a:t>(AL and</a:t>
            </a:r>
            <a:r>
              <a:rPr sz="2600" spc="-40"/>
              <a:t> </a:t>
            </a:r>
            <a:r>
              <a:rPr sz="2600" spc="-5"/>
              <a:t>EL)</a:t>
            </a:r>
            <a:endParaRPr sz="2600"/>
          </a:p>
        </p:txBody>
      </p:sp>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0</a:t>
            </a:fld>
            <a:endParaRPr sz="800">
              <a:latin typeface="Verdana"/>
              <a:cs typeface="Verdana"/>
            </a:endParaRPr>
          </a:p>
        </p:txBody>
      </p:sp>
      <p:sp>
        <p:nvSpPr>
          <p:cNvPr id="6" name="Rectangle 5">
            <a:extLst>
              <a:ext uri="{FF2B5EF4-FFF2-40B4-BE49-F238E27FC236}">
                <a16:creationId xmlns:a16="http://schemas.microsoft.com/office/drawing/2014/main" id="{6F59909C-3B9D-4C4A-B0A6-0F9BD613762D}"/>
              </a:ext>
            </a:extLst>
          </p:cNvPr>
          <p:cNvSpPr/>
          <p:nvPr/>
        </p:nvSpPr>
        <p:spPr>
          <a:xfrm>
            <a:off x="329380" y="3171408"/>
            <a:ext cx="11643545" cy="646331"/>
          </a:xfrm>
          <a:prstGeom prst="rect">
            <a:avLst/>
          </a:prstGeom>
        </p:spPr>
        <p:txBody>
          <a:bodyPr wrap="square">
            <a:spAutoFit/>
          </a:bodyPr>
          <a:lstStyle/>
          <a:p>
            <a:endParaRPr lang="en-US" b="1" kern="0">
              <a:solidFill>
                <a:prstClr val="black"/>
              </a:solidFill>
              <a:latin typeface="Verdana"/>
              <a:cs typeface="Arial"/>
            </a:endParaRPr>
          </a:p>
          <a:p>
            <a:r>
              <a:rPr lang="en-US" b="1" kern="0">
                <a:solidFill>
                  <a:prstClr val="black"/>
                </a:solidFill>
                <a:latin typeface="Verdana"/>
                <a:cs typeface="Arial"/>
              </a:rPr>
              <a:t> </a:t>
            </a:r>
            <a:endParaRPr lang="nl-BE" b="1">
              <a:solidFill>
                <a:prstClr val="black"/>
              </a:solidFill>
              <a:latin typeface="Verdana"/>
            </a:endParaRPr>
          </a:p>
        </p:txBody>
      </p:sp>
      <p:sp>
        <p:nvSpPr>
          <p:cNvPr id="7" name="AutoShape 16">
            <a:extLst>
              <a:ext uri="{FF2B5EF4-FFF2-40B4-BE49-F238E27FC236}">
                <a16:creationId xmlns:a16="http://schemas.microsoft.com/office/drawing/2014/main" id="{5CF49EC4-A283-4876-8465-49FED9737803}"/>
              </a:ext>
            </a:extLst>
          </p:cNvPr>
          <p:cNvSpPr>
            <a:spLocks/>
          </p:cNvSpPr>
          <p:nvPr/>
        </p:nvSpPr>
        <p:spPr bwMode="auto">
          <a:xfrm>
            <a:off x="245828" y="2230372"/>
            <a:ext cx="11483618" cy="4218054"/>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216000" marR="0" lvl="0" indent="-216000" defTabSz="914400" eaLnBrk="1" fontAlgn="auto" latinLnBrk="0" hangingPunct="1">
              <a:lnSpc>
                <a:spcPct val="100000"/>
              </a:lnSpc>
              <a:spcBef>
                <a:spcPts val="0"/>
              </a:spcBef>
              <a:spcAft>
                <a:spcPts val="1000"/>
              </a:spcAft>
              <a:buClr>
                <a:srgbClr val="0070AD"/>
              </a:buClr>
              <a:buSzTx/>
              <a:buFont typeface="Wingdings" panose="05000000000000000000" pitchFamily="2" charset="2"/>
              <a:buChar char="§"/>
              <a:tabLst/>
              <a:defRPr/>
            </a:pPr>
            <a:endParaRPr kumimoji="0" lang="en-IN" sz="1400" b="0" i="0" u="none" strike="noStrike" kern="0" cap="none" spc="-10" normalizeH="0" baseline="0" noProof="0">
              <a:ln>
                <a:noFill/>
              </a:ln>
              <a:solidFill>
                <a:prstClr val="black"/>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FF52E70E-FC3E-451D-BE0B-9E809A2F0697}"/>
              </a:ext>
            </a:extLst>
          </p:cNvPr>
          <p:cNvSpPr/>
          <p:nvPr/>
        </p:nvSpPr>
        <p:spPr>
          <a:xfrm>
            <a:off x="329380" y="1104899"/>
            <a:ext cx="11316515" cy="5262979"/>
          </a:xfrm>
          <a:prstGeom prst="rect">
            <a:avLst/>
          </a:prstGeom>
        </p:spPr>
        <p:txBody>
          <a:bodyPr wrap="square">
            <a:spAutoFit/>
          </a:bodyPr>
          <a:lstStyle/>
          <a:p>
            <a:pPr algn="just"/>
            <a:r>
              <a:rPr lang="en-US" sz="1500">
                <a:solidFill>
                  <a:prstClr val="black"/>
                </a:solidFill>
                <a:latin typeface="Verdana"/>
              </a:rPr>
              <a:t>Take advantage of the hundreds of innovative features in Lightning Experience to transform how users work. There’s a lot to choose from, so start with the features that best benefit the users in the current rollout group. </a:t>
            </a:r>
          </a:p>
          <a:p>
            <a:pPr algn="just"/>
            <a:endParaRPr lang="en-US" sz="1400" b="1">
              <a:solidFill>
                <a:srgbClr val="12ABDB"/>
              </a:solidFill>
              <a:latin typeface="Verdana" panose="020B0604030504040204" pitchFamily="34" charset="0"/>
            </a:endParaRPr>
          </a:p>
          <a:p>
            <a:pPr algn="just"/>
            <a:endParaRPr lang="en-US" sz="1400" b="1">
              <a:solidFill>
                <a:srgbClr val="12ABDB"/>
              </a:solidFill>
              <a:latin typeface="Verdana" panose="020B0604030504040204" pitchFamily="34" charset="0"/>
            </a:endParaRPr>
          </a:p>
          <a:p>
            <a:pPr algn="just"/>
            <a:endParaRPr lang="en-US" sz="1400" b="1">
              <a:solidFill>
                <a:srgbClr val="12ABDB"/>
              </a:solidFill>
              <a:latin typeface="Verdana" panose="020B0604030504040204" pitchFamily="34" charset="0"/>
            </a:endParaRPr>
          </a:p>
          <a:p>
            <a:pPr algn="just"/>
            <a:endParaRPr lang="en-US" sz="1400" b="1">
              <a:solidFill>
                <a:srgbClr val="12ABDB"/>
              </a:solidFill>
              <a:latin typeface="Verdana" panose="020B0604030504040204" pitchFamily="34" charset="0"/>
            </a:endParaRPr>
          </a:p>
          <a:p>
            <a:pPr algn="just"/>
            <a:r>
              <a:rPr lang="en-US" sz="1400" b="1">
                <a:solidFill>
                  <a:prstClr val="black"/>
                </a:solidFill>
                <a:latin typeface="Verdana"/>
              </a:rPr>
              <a:t>Activity Timeline: </a:t>
            </a:r>
            <a:r>
              <a:rPr lang="en-US" sz="1200">
                <a:solidFill>
                  <a:prstClr val="black"/>
                </a:solidFill>
                <a:latin typeface="Verdana"/>
              </a:rPr>
              <a:t>Give users an easier, more efficient way to keep track of current and past activities. All the key details for each task, meeting, logged call, and sent email are bundled together, right on the page with other record details.</a:t>
            </a:r>
          </a:p>
          <a:p>
            <a:pPr algn="just"/>
            <a:endParaRPr lang="en-US" sz="1400">
              <a:solidFill>
                <a:prstClr val="black"/>
              </a:solidFill>
              <a:latin typeface="Verdana"/>
            </a:endParaRPr>
          </a:p>
          <a:p>
            <a:pPr algn="just"/>
            <a:r>
              <a:rPr lang="en-US" sz="1400" b="1">
                <a:solidFill>
                  <a:prstClr val="black"/>
                </a:solidFill>
                <a:latin typeface="Verdana"/>
              </a:rPr>
              <a:t>Shared Activities: </a:t>
            </a:r>
            <a:r>
              <a:rPr lang="en-US" sz="1200">
                <a:solidFill>
                  <a:prstClr val="black"/>
                </a:solidFill>
                <a:latin typeface="Verdana"/>
              </a:rPr>
              <a:t>Represent activity relationships more accurately by letting your sales reps relate multiple contacts to individual events and tasks. Shared Activities is forever. After the feature’s enabled, it can’t be disabled.</a:t>
            </a:r>
          </a:p>
          <a:p>
            <a:pPr algn="just"/>
            <a:endParaRPr lang="en-US" sz="1400">
              <a:solidFill>
                <a:prstClr val="black"/>
              </a:solidFill>
              <a:latin typeface="Verdana"/>
            </a:endParaRPr>
          </a:p>
          <a:p>
            <a:pPr algn="just"/>
            <a:r>
              <a:rPr lang="en-US" sz="1400" b="1">
                <a:solidFill>
                  <a:prstClr val="black"/>
                </a:solidFill>
                <a:latin typeface="Verdana"/>
              </a:rPr>
              <a:t>Enhanced Notes: </a:t>
            </a:r>
            <a:r>
              <a:rPr lang="en-US" sz="1200">
                <a:solidFill>
                  <a:prstClr val="black"/>
                </a:solidFill>
                <a:latin typeface="Verdana"/>
              </a:rPr>
              <a:t>Help your users stay organized with our enhanced note-taking tool. It’s a breeze to create rich-text notes and quickly relate them to specific records. When you turn on Enhanced Notes, remember to add the new Notes related list to page layouts. Adding the Notes related list lets your users create and read notes directly from their records.</a:t>
            </a:r>
          </a:p>
          <a:p>
            <a:pPr algn="just"/>
            <a:endParaRPr lang="en-US" sz="1400">
              <a:solidFill>
                <a:prstClr val="black"/>
              </a:solidFill>
              <a:latin typeface="Verdana"/>
            </a:endParaRPr>
          </a:p>
          <a:p>
            <a:pPr algn="just"/>
            <a:r>
              <a:rPr lang="en-US" sz="1400" b="1">
                <a:solidFill>
                  <a:prstClr val="black"/>
                </a:solidFill>
                <a:latin typeface="Verdana"/>
              </a:rPr>
              <a:t>Salesforce Files: </a:t>
            </a:r>
            <a:r>
              <a:rPr lang="en-US" sz="1200">
                <a:solidFill>
                  <a:prstClr val="black"/>
                </a:solidFill>
                <a:latin typeface="Verdana"/>
              </a:rPr>
              <a:t>Leverage the rich features and flexibility of Salesforce Files from standard Salesforce objects and your custom objects. Add the new Files related list to page layouts. Adding the Files related list lets users upload files to records, see files associated with records, and quickly page through files in the visually rich preview player.</a:t>
            </a:r>
          </a:p>
          <a:p>
            <a:pPr algn="just"/>
            <a:endParaRPr lang="en-US" sz="1400">
              <a:solidFill>
                <a:prstClr val="black"/>
              </a:solidFill>
              <a:latin typeface="Verdana"/>
            </a:endParaRPr>
          </a:p>
          <a:p>
            <a:pPr algn="just"/>
            <a:r>
              <a:rPr lang="en-US" sz="1400" b="1">
                <a:solidFill>
                  <a:prstClr val="black"/>
                </a:solidFill>
                <a:latin typeface="Verdana"/>
              </a:rPr>
              <a:t>Path: </a:t>
            </a:r>
            <a:r>
              <a:rPr lang="en-US" sz="1200">
                <a:solidFill>
                  <a:prstClr val="black"/>
                </a:solidFill>
                <a:latin typeface="Verdana"/>
              </a:rPr>
              <a:t>To work more efficiently or close more deals, help your users adopt your company’s processes. Set up a process based on an object’s status or stage. Add guidance for success at each step in the process.</a:t>
            </a:r>
          </a:p>
          <a:p>
            <a:pPr algn="just"/>
            <a:endParaRPr lang="en-US" sz="1400">
              <a:solidFill>
                <a:prstClr val="black"/>
              </a:solidFill>
              <a:latin typeface="Verdana"/>
            </a:endParaRPr>
          </a:p>
          <a:p>
            <a:pPr algn="just"/>
            <a:r>
              <a:rPr lang="en-US" sz="1400" b="1">
                <a:solidFill>
                  <a:prstClr val="black"/>
                </a:solidFill>
                <a:latin typeface="Verdana"/>
              </a:rPr>
              <a:t>News: </a:t>
            </a:r>
            <a:r>
              <a:rPr lang="en-US" sz="1200">
                <a:solidFill>
                  <a:prstClr val="black"/>
                </a:solidFill>
                <a:latin typeface="Verdana"/>
              </a:rPr>
              <a:t>Give your reps instant access to relevant, timely news about their accounts, contacts, leads, and opportunities. This feature is available only in English, so if your org uses a different primary language, consider whether you want this option.</a:t>
            </a:r>
            <a:endParaRPr lang="en-US" sz="1400">
              <a:solidFill>
                <a:prstClr val="black"/>
              </a:solidFill>
              <a:latin typeface="Verdana"/>
            </a:endParaRPr>
          </a:p>
        </p:txBody>
      </p:sp>
      <p:sp>
        <p:nvSpPr>
          <p:cNvPr id="9" name="Rectangle: Diagonal Corners Rounded 68">
            <a:extLst>
              <a:ext uri="{FF2B5EF4-FFF2-40B4-BE49-F238E27FC236}">
                <a16:creationId xmlns:a16="http://schemas.microsoft.com/office/drawing/2014/main" id="{C6C37F6D-D645-409C-A431-E0494949BEF3}"/>
              </a:ext>
            </a:extLst>
          </p:cNvPr>
          <p:cNvSpPr/>
          <p:nvPr/>
        </p:nvSpPr>
        <p:spPr bwMode="auto">
          <a:xfrm>
            <a:off x="2019300" y="1943100"/>
            <a:ext cx="7496176" cy="400942"/>
          </a:xfrm>
          <a:prstGeom prst="round2DiagRect">
            <a:avLst/>
          </a:prstGeom>
          <a:solidFill>
            <a:srgbClr val="2B143D">
              <a:lumMod val="90000"/>
              <a:lumOff val="10000"/>
            </a:srgbClr>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a:ln>
                  <a:noFill/>
                </a:ln>
                <a:solidFill>
                  <a:srgbClr val="FFFFFF"/>
                </a:solidFill>
                <a:effectLst/>
                <a:uLnTx/>
                <a:uFillTx/>
                <a:latin typeface="Verdana"/>
              </a:rPr>
              <a:t>Common Salesforce Lightning Features</a:t>
            </a:r>
          </a:p>
        </p:txBody>
      </p:sp>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626350" cy="422275"/>
          </a:xfrm>
          <a:prstGeom prst="rect">
            <a:avLst/>
          </a:prstGeom>
        </p:spPr>
        <p:txBody>
          <a:bodyPr vert="horz" wrap="square" lIns="0" tIns="12700" rIns="0" bIns="0" rtlCol="0">
            <a:spAutoFit/>
          </a:bodyPr>
          <a:lstStyle/>
          <a:p>
            <a:pPr marL="12700">
              <a:lnSpc>
                <a:spcPct val="100000"/>
              </a:lnSpc>
              <a:spcBef>
                <a:spcPts val="100"/>
              </a:spcBef>
            </a:pPr>
            <a:r>
              <a:rPr sz="2600" spc="-30"/>
              <a:t>Technical </a:t>
            </a:r>
            <a:r>
              <a:rPr sz="2600"/>
              <a:t>Implementation Approach – </a:t>
            </a:r>
            <a:r>
              <a:rPr sz="2600" spc="-45"/>
              <a:t>Wave</a:t>
            </a:r>
            <a:r>
              <a:rPr sz="2600" spc="-105"/>
              <a:t> </a:t>
            </a:r>
            <a:r>
              <a:rPr sz="2600"/>
              <a:t>1</a:t>
            </a:r>
          </a:p>
        </p:txBody>
      </p:sp>
      <p:sp>
        <p:nvSpPr>
          <p:cNvPr id="74" name="object 7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5" name="object 7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1</a:t>
            </a:fld>
            <a:endParaRPr sz="800">
              <a:latin typeface="Verdana"/>
              <a:cs typeface="Verdana"/>
            </a:endParaRPr>
          </a:p>
        </p:txBody>
      </p:sp>
      <p:sp>
        <p:nvSpPr>
          <p:cNvPr id="45" name="Rectangle 44">
            <a:extLst>
              <a:ext uri="{FF2B5EF4-FFF2-40B4-BE49-F238E27FC236}">
                <a16:creationId xmlns:a16="http://schemas.microsoft.com/office/drawing/2014/main" id="{D7972D8C-FAC9-49AF-A2E5-1A7D21B19C92}"/>
              </a:ext>
            </a:extLst>
          </p:cNvPr>
          <p:cNvSpPr/>
          <p:nvPr/>
        </p:nvSpPr>
        <p:spPr>
          <a:xfrm>
            <a:off x="2240299" y="5313233"/>
            <a:ext cx="7811751"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CRM Functionalities (Automotive Lighting &amp; Electronics )</a:t>
            </a:r>
          </a:p>
        </p:txBody>
      </p:sp>
      <p:sp>
        <p:nvSpPr>
          <p:cNvPr id="46" name="Rectangle 45">
            <a:extLst>
              <a:ext uri="{FF2B5EF4-FFF2-40B4-BE49-F238E27FC236}">
                <a16:creationId xmlns:a16="http://schemas.microsoft.com/office/drawing/2014/main" id="{BFEBC3B4-01BD-4833-816A-8E7DC6317F6F}"/>
              </a:ext>
            </a:extLst>
          </p:cNvPr>
          <p:cNvSpPr/>
          <p:nvPr/>
        </p:nvSpPr>
        <p:spPr>
          <a:xfrm>
            <a:off x="2256616" y="5908893"/>
            <a:ext cx="7795434" cy="369332"/>
          </a:xfrm>
          <a:prstGeom prst="rect">
            <a:avLst/>
          </a:prstGeom>
          <a:solidFill>
            <a:srgbClr val="D22238"/>
          </a:solidFill>
          <a:ln>
            <a:solidFill>
              <a:srgbClr val="D22238"/>
            </a:solidFill>
          </a:ln>
        </p:spPr>
        <p:txBody>
          <a:bodyPr wrap="square" anchor="ctr">
            <a:spAutoFit/>
          </a:bodyPr>
          <a:lstStyle/>
          <a:p>
            <a:pPr algn="ctr" fontAlgn="ctr"/>
            <a:r>
              <a:rPr lang="en-US">
                <a:solidFill>
                  <a:srgbClr val="FFFFFF"/>
                </a:solidFill>
                <a:latin typeface="Verdana"/>
              </a:rPr>
              <a:t>Integration (Actual Volume)</a:t>
            </a:r>
          </a:p>
        </p:txBody>
      </p:sp>
      <p:sp>
        <p:nvSpPr>
          <p:cNvPr id="47" name="Rectangle 46">
            <a:extLst>
              <a:ext uri="{FF2B5EF4-FFF2-40B4-BE49-F238E27FC236}">
                <a16:creationId xmlns:a16="http://schemas.microsoft.com/office/drawing/2014/main" id="{35ADC004-76D1-4EB3-B372-9E7095A1BABC}"/>
              </a:ext>
            </a:extLst>
          </p:cNvPr>
          <p:cNvSpPr/>
          <p:nvPr/>
        </p:nvSpPr>
        <p:spPr>
          <a:xfrm>
            <a:off x="2139950" y="981000"/>
            <a:ext cx="7912099" cy="2111498"/>
          </a:xfrm>
          <a:prstGeom prst="rect">
            <a:avLst/>
          </a:pr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48" name="Shape 1171">
            <a:extLst>
              <a:ext uri="{FF2B5EF4-FFF2-40B4-BE49-F238E27FC236}">
                <a16:creationId xmlns:a16="http://schemas.microsoft.com/office/drawing/2014/main" id="{93F0418C-467F-428E-9C72-41E5CD5B8696}"/>
              </a:ext>
            </a:extLst>
          </p:cNvPr>
          <p:cNvSpPr/>
          <p:nvPr/>
        </p:nvSpPr>
        <p:spPr>
          <a:xfrm>
            <a:off x="6380844" y="1047407"/>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eneral Platform</a:t>
            </a:r>
          </a:p>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Optimization</a:t>
            </a:r>
          </a:p>
        </p:txBody>
      </p:sp>
      <p:grpSp>
        <p:nvGrpSpPr>
          <p:cNvPr id="49" name="Group 48">
            <a:extLst>
              <a:ext uri="{FF2B5EF4-FFF2-40B4-BE49-F238E27FC236}">
                <a16:creationId xmlns:a16="http://schemas.microsoft.com/office/drawing/2014/main" id="{43679640-CB57-49BD-8921-22492429541A}"/>
              </a:ext>
            </a:extLst>
          </p:cNvPr>
          <p:cNvGrpSpPr/>
          <p:nvPr/>
        </p:nvGrpSpPr>
        <p:grpSpPr>
          <a:xfrm>
            <a:off x="6380844" y="1060995"/>
            <a:ext cx="573576" cy="613118"/>
            <a:chOff x="227349" y="1656672"/>
            <a:chExt cx="331451" cy="613118"/>
          </a:xfrm>
          <a:solidFill>
            <a:srgbClr val="FFFFFF">
              <a:lumMod val="85000"/>
            </a:srgbClr>
          </a:solidFill>
        </p:grpSpPr>
        <p:sp>
          <p:nvSpPr>
            <p:cNvPr id="50" name="Rounded Rectangle 41">
              <a:extLst>
                <a:ext uri="{FF2B5EF4-FFF2-40B4-BE49-F238E27FC236}">
                  <a16:creationId xmlns:a16="http://schemas.microsoft.com/office/drawing/2014/main" id="{12C8A9A7-014C-4E8D-BBD9-5A5FE5A079DD}"/>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1" name="Rounded Rectangle 41">
              <a:extLst>
                <a:ext uri="{FF2B5EF4-FFF2-40B4-BE49-F238E27FC236}">
                  <a16:creationId xmlns:a16="http://schemas.microsoft.com/office/drawing/2014/main" id="{24DE137D-B845-4FF2-B7C2-0AF1962628CA}"/>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2" name="Freeform 42">
              <a:extLst>
                <a:ext uri="{FF2B5EF4-FFF2-40B4-BE49-F238E27FC236}">
                  <a16:creationId xmlns:a16="http://schemas.microsoft.com/office/drawing/2014/main" id="{E8E5547F-3983-4678-8F5D-7FA6EDD49D9B}"/>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53" name="Shape 1171">
            <a:extLst>
              <a:ext uri="{FF2B5EF4-FFF2-40B4-BE49-F238E27FC236}">
                <a16:creationId xmlns:a16="http://schemas.microsoft.com/office/drawing/2014/main" id="{92EF20F2-C16B-4607-81A2-ED4EE8CCA117}"/>
              </a:ext>
            </a:extLst>
          </p:cNvPr>
          <p:cNvSpPr/>
          <p:nvPr/>
        </p:nvSpPr>
        <p:spPr>
          <a:xfrm>
            <a:off x="6380844" y="1725681"/>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Data management</a:t>
            </a:r>
          </a:p>
        </p:txBody>
      </p:sp>
      <p:grpSp>
        <p:nvGrpSpPr>
          <p:cNvPr id="54" name="Group 53">
            <a:extLst>
              <a:ext uri="{FF2B5EF4-FFF2-40B4-BE49-F238E27FC236}">
                <a16:creationId xmlns:a16="http://schemas.microsoft.com/office/drawing/2014/main" id="{2CE554F8-8728-4C6F-9F3D-6CA3E6125A53}"/>
              </a:ext>
            </a:extLst>
          </p:cNvPr>
          <p:cNvGrpSpPr/>
          <p:nvPr/>
        </p:nvGrpSpPr>
        <p:grpSpPr>
          <a:xfrm>
            <a:off x="6380845" y="1725681"/>
            <a:ext cx="606269" cy="613118"/>
            <a:chOff x="227349" y="1656672"/>
            <a:chExt cx="331451" cy="613118"/>
          </a:xfrm>
          <a:solidFill>
            <a:srgbClr val="FFFFFF">
              <a:lumMod val="85000"/>
            </a:srgbClr>
          </a:solidFill>
        </p:grpSpPr>
        <p:sp>
          <p:nvSpPr>
            <p:cNvPr id="55" name="Rounded Rectangle 41">
              <a:extLst>
                <a:ext uri="{FF2B5EF4-FFF2-40B4-BE49-F238E27FC236}">
                  <a16:creationId xmlns:a16="http://schemas.microsoft.com/office/drawing/2014/main" id="{0F9747FA-7349-4CB3-BE91-9CDA7063076E}"/>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6" name="Rounded Rectangle 41">
              <a:extLst>
                <a:ext uri="{FF2B5EF4-FFF2-40B4-BE49-F238E27FC236}">
                  <a16:creationId xmlns:a16="http://schemas.microsoft.com/office/drawing/2014/main" id="{127F805F-6AA8-4D84-8A19-2F5820AA65AA}"/>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57" name="Freeform 42">
              <a:extLst>
                <a:ext uri="{FF2B5EF4-FFF2-40B4-BE49-F238E27FC236}">
                  <a16:creationId xmlns:a16="http://schemas.microsoft.com/office/drawing/2014/main" id="{93D685E2-F219-4D6B-B0AE-4E752DA31F16}"/>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58" name="Shape 1171">
            <a:extLst>
              <a:ext uri="{FF2B5EF4-FFF2-40B4-BE49-F238E27FC236}">
                <a16:creationId xmlns:a16="http://schemas.microsoft.com/office/drawing/2014/main" id="{6EB93107-756B-4832-8AA2-4C0759CBBBFB}"/>
              </a:ext>
            </a:extLst>
          </p:cNvPr>
          <p:cNvSpPr/>
          <p:nvPr/>
        </p:nvSpPr>
        <p:spPr>
          <a:xfrm>
            <a:off x="6391580" y="2389429"/>
            <a:ext cx="3533648"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Mobile Compatibility</a:t>
            </a:r>
          </a:p>
        </p:txBody>
      </p:sp>
      <p:sp>
        <p:nvSpPr>
          <p:cNvPr id="59" name="Rectangle 58">
            <a:extLst>
              <a:ext uri="{FF2B5EF4-FFF2-40B4-BE49-F238E27FC236}">
                <a16:creationId xmlns:a16="http://schemas.microsoft.com/office/drawing/2014/main" id="{BEA4E971-6CB4-4776-87F4-404A933C01C9}"/>
              </a:ext>
            </a:extLst>
          </p:cNvPr>
          <p:cNvSpPr/>
          <p:nvPr/>
        </p:nvSpPr>
        <p:spPr>
          <a:xfrm>
            <a:off x="2856140" y="1930068"/>
            <a:ext cx="2955017"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Platform Optimization</a:t>
            </a:r>
          </a:p>
        </p:txBody>
      </p:sp>
      <p:sp>
        <p:nvSpPr>
          <p:cNvPr id="60" name="Rectangle 59">
            <a:extLst>
              <a:ext uri="{FF2B5EF4-FFF2-40B4-BE49-F238E27FC236}">
                <a16:creationId xmlns:a16="http://schemas.microsoft.com/office/drawing/2014/main" id="{3FA205F9-81DE-432D-8517-9907F40F2A56}"/>
              </a:ext>
            </a:extLst>
          </p:cNvPr>
          <p:cNvSpPr/>
          <p:nvPr/>
        </p:nvSpPr>
        <p:spPr>
          <a:xfrm>
            <a:off x="2139951" y="3111005"/>
            <a:ext cx="7912099" cy="2111498"/>
          </a:xfrm>
          <a:prstGeom prst="rect">
            <a:avLst/>
          </a:pr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61" name="Rectangle 60">
            <a:extLst>
              <a:ext uri="{FF2B5EF4-FFF2-40B4-BE49-F238E27FC236}">
                <a16:creationId xmlns:a16="http://schemas.microsoft.com/office/drawing/2014/main" id="{9EABF2D7-F6DE-4FCB-9850-8DB7CC20E04E}"/>
              </a:ext>
            </a:extLst>
          </p:cNvPr>
          <p:cNvSpPr/>
          <p:nvPr/>
        </p:nvSpPr>
        <p:spPr>
          <a:xfrm>
            <a:off x="2322741" y="3730479"/>
            <a:ext cx="3611750" cy="646331"/>
          </a:xfrm>
          <a:prstGeom prst="rect">
            <a:avLst/>
          </a:prstGeom>
          <a:solidFill>
            <a:srgbClr val="FFFFFF">
              <a:lumMod val="85000"/>
            </a:srgbClr>
          </a:solidFill>
          <a:ln>
            <a:solidFill>
              <a:srgbClr val="FFFFFF">
                <a:lumMod val="65000"/>
              </a:srgbClr>
            </a:solidFill>
          </a:ln>
        </p:spPr>
        <p:txBody>
          <a:bodyPr wrap="square">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Salesforce Enhancements and Rollout</a:t>
            </a:r>
          </a:p>
        </p:txBody>
      </p:sp>
      <p:sp>
        <p:nvSpPr>
          <p:cNvPr id="62" name="Shape 1171">
            <a:extLst>
              <a:ext uri="{FF2B5EF4-FFF2-40B4-BE49-F238E27FC236}">
                <a16:creationId xmlns:a16="http://schemas.microsoft.com/office/drawing/2014/main" id="{6AEFE81D-DBA2-4D5B-9AAA-CBEBD0AD11F1}"/>
              </a:ext>
            </a:extLst>
          </p:cNvPr>
          <p:cNvSpPr/>
          <p:nvPr/>
        </p:nvSpPr>
        <p:spPr>
          <a:xfrm>
            <a:off x="6414340" y="3134211"/>
            <a:ext cx="3589052"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Electric Powertrain (ePW)</a:t>
            </a:r>
          </a:p>
        </p:txBody>
      </p:sp>
      <p:grpSp>
        <p:nvGrpSpPr>
          <p:cNvPr id="63" name="Group 62">
            <a:extLst>
              <a:ext uri="{FF2B5EF4-FFF2-40B4-BE49-F238E27FC236}">
                <a16:creationId xmlns:a16="http://schemas.microsoft.com/office/drawing/2014/main" id="{253B7223-98C4-4E1D-A21D-DD286C86507C}"/>
              </a:ext>
            </a:extLst>
          </p:cNvPr>
          <p:cNvGrpSpPr/>
          <p:nvPr/>
        </p:nvGrpSpPr>
        <p:grpSpPr>
          <a:xfrm>
            <a:off x="6414341" y="3134211"/>
            <a:ext cx="572664" cy="613118"/>
            <a:chOff x="227349" y="1656672"/>
            <a:chExt cx="331451" cy="613118"/>
          </a:xfrm>
          <a:solidFill>
            <a:srgbClr val="FFFFFF">
              <a:lumMod val="85000"/>
            </a:srgbClr>
          </a:solidFill>
        </p:grpSpPr>
        <p:sp>
          <p:nvSpPr>
            <p:cNvPr id="64" name="Rounded Rectangle 41">
              <a:extLst>
                <a:ext uri="{FF2B5EF4-FFF2-40B4-BE49-F238E27FC236}">
                  <a16:creationId xmlns:a16="http://schemas.microsoft.com/office/drawing/2014/main" id="{F5E8A5AB-CF00-4A8F-86F2-BFF815D349BD}"/>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65" name="Rounded Rectangle 41">
              <a:extLst>
                <a:ext uri="{FF2B5EF4-FFF2-40B4-BE49-F238E27FC236}">
                  <a16:creationId xmlns:a16="http://schemas.microsoft.com/office/drawing/2014/main" id="{1C419E55-EE00-4713-8EB9-A39EA453A554}"/>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66" name="Freeform 42">
              <a:extLst>
                <a:ext uri="{FF2B5EF4-FFF2-40B4-BE49-F238E27FC236}">
                  <a16:creationId xmlns:a16="http://schemas.microsoft.com/office/drawing/2014/main" id="{ED3A90A0-C31D-4772-84D0-E19FB9ECD2B7}"/>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67" name="Shape 1171">
            <a:extLst>
              <a:ext uri="{FF2B5EF4-FFF2-40B4-BE49-F238E27FC236}">
                <a16:creationId xmlns:a16="http://schemas.microsoft.com/office/drawing/2014/main" id="{DA7B4DDF-C82B-440F-BDFC-7B5822E31CB8}"/>
              </a:ext>
            </a:extLst>
          </p:cNvPr>
          <p:cNvSpPr/>
          <p:nvPr/>
        </p:nvSpPr>
        <p:spPr>
          <a:xfrm>
            <a:off x="6414340" y="3838814"/>
            <a:ext cx="3589052"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Powertrain (PW)</a:t>
            </a:r>
          </a:p>
        </p:txBody>
      </p:sp>
      <p:grpSp>
        <p:nvGrpSpPr>
          <p:cNvPr id="68" name="Group 67">
            <a:extLst>
              <a:ext uri="{FF2B5EF4-FFF2-40B4-BE49-F238E27FC236}">
                <a16:creationId xmlns:a16="http://schemas.microsoft.com/office/drawing/2014/main" id="{387CA7C8-2089-4D20-B077-6B4498E6655E}"/>
              </a:ext>
            </a:extLst>
          </p:cNvPr>
          <p:cNvGrpSpPr/>
          <p:nvPr/>
        </p:nvGrpSpPr>
        <p:grpSpPr>
          <a:xfrm>
            <a:off x="6414341" y="3838815"/>
            <a:ext cx="572664" cy="613118"/>
            <a:chOff x="227349" y="1656672"/>
            <a:chExt cx="331451" cy="613118"/>
          </a:xfrm>
          <a:solidFill>
            <a:srgbClr val="FFFFFF">
              <a:lumMod val="85000"/>
            </a:srgbClr>
          </a:solidFill>
        </p:grpSpPr>
        <p:sp>
          <p:nvSpPr>
            <p:cNvPr id="69" name="Rounded Rectangle 41">
              <a:extLst>
                <a:ext uri="{FF2B5EF4-FFF2-40B4-BE49-F238E27FC236}">
                  <a16:creationId xmlns:a16="http://schemas.microsoft.com/office/drawing/2014/main" id="{28E623B0-F3E4-418F-97F0-3CC401B6C5AF}"/>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70" name="Rounded Rectangle 41">
              <a:extLst>
                <a:ext uri="{FF2B5EF4-FFF2-40B4-BE49-F238E27FC236}">
                  <a16:creationId xmlns:a16="http://schemas.microsoft.com/office/drawing/2014/main" id="{C66A9A00-2EFE-4EE2-9FEB-0650566737E1}"/>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71" name="Freeform 42">
              <a:extLst>
                <a:ext uri="{FF2B5EF4-FFF2-40B4-BE49-F238E27FC236}">
                  <a16:creationId xmlns:a16="http://schemas.microsoft.com/office/drawing/2014/main" id="{914391F0-72EF-4861-B1F4-8FAF3E29729B}"/>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72" name="Shape 1171">
            <a:extLst>
              <a:ext uri="{FF2B5EF4-FFF2-40B4-BE49-F238E27FC236}">
                <a16:creationId xmlns:a16="http://schemas.microsoft.com/office/drawing/2014/main" id="{92BECFAA-1EEB-4400-94A1-69AD641B089F}"/>
              </a:ext>
            </a:extLst>
          </p:cNvPr>
          <p:cNvSpPr/>
          <p:nvPr/>
        </p:nvSpPr>
        <p:spPr>
          <a:xfrm>
            <a:off x="6414340" y="4525682"/>
            <a:ext cx="3611750"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reen Technology Solutions       </a:t>
            </a:r>
          </a:p>
        </p:txBody>
      </p:sp>
      <p:grpSp>
        <p:nvGrpSpPr>
          <p:cNvPr id="73" name="Group 72">
            <a:extLst>
              <a:ext uri="{FF2B5EF4-FFF2-40B4-BE49-F238E27FC236}">
                <a16:creationId xmlns:a16="http://schemas.microsoft.com/office/drawing/2014/main" id="{73D1D70B-2AFF-40DC-B0B9-FCBC3757E28F}"/>
              </a:ext>
            </a:extLst>
          </p:cNvPr>
          <p:cNvGrpSpPr/>
          <p:nvPr/>
        </p:nvGrpSpPr>
        <p:grpSpPr>
          <a:xfrm>
            <a:off x="6414341" y="4525682"/>
            <a:ext cx="572664" cy="613118"/>
            <a:chOff x="227349" y="1656672"/>
            <a:chExt cx="331451" cy="613118"/>
          </a:xfrm>
          <a:solidFill>
            <a:srgbClr val="FFFFFF">
              <a:lumMod val="85000"/>
            </a:srgbClr>
          </a:solidFill>
        </p:grpSpPr>
        <p:sp>
          <p:nvSpPr>
            <p:cNvPr id="76" name="Rounded Rectangle 41">
              <a:extLst>
                <a:ext uri="{FF2B5EF4-FFF2-40B4-BE49-F238E27FC236}">
                  <a16:creationId xmlns:a16="http://schemas.microsoft.com/office/drawing/2014/main" id="{CB71E08C-D241-42AA-841C-B344AAC5D28E}"/>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77" name="Rounded Rectangle 41">
              <a:extLst>
                <a:ext uri="{FF2B5EF4-FFF2-40B4-BE49-F238E27FC236}">
                  <a16:creationId xmlns:a16="http://schemas.microsoft.com/office/drawing/2014/main" id="{03117844-969F-4E96-BE50-1F1A5D1B228C}"/>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18" name="Freeform 42">
              <a:extLst>
                <a:ext uri="{FF2B5EF4-FFF2-40B4-BE49-F238E27FC236}">
                  <a16:creationId xmlns:a16="http://schemas.microsoft.com/office/drawing/2014/main" id="{4DC6D900-EA7E-405E-BCDA-8FD159E8B2FB}"/>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3</a:t>
              </a:r>
              <a:endParaRPr kumimoji="0" lang="en-US" sz="1200" b="1" i="0" u="none" strike="noStrike" kern="0" cap="none" spc="0" normalizeH="0" baseline="0" noProof="0">
                <a:ln>
                  <a:noFill/>
                </a:ln>
                <a:solidFill>
                  <a:srgbClr val="FFFFFF"/>
                </a:solidFill>
                <a:effectLst/>
                <a:uLnTx/>
                <a:uFillTx/>
                <a:latin typeface="Verdana"/>
              </a:endParaRPr>
            </a:p>
          </p:txBody>
        </p:sp>
      </p:grpSp>
      <p:grpSp>
        <p:nvGrpSpPr>
          <p:cNvPr id="119" name="Group 118">
            <a:extLst>
              <a:ext uri="{FF2B5EF4-FFF2-40B4-BE49-F238E27FC236}">
                <a16:creationId xmlns:a16="http://schemas.microsoft.com/office/drawing/2014/main" id="{A5E12DA9-D6BE-477E-B7CD-5B7C89E2224A}"/>
              </a:ext>
            </a:extLst>
          </p:cNvPr>
          <p:cNvGrpSpPr/>
          <p:nvPr/>
        </p:nvGrpSpPr>
        <p:grpSpPr>
          <a:xfrm>
            <a:off x="6380845" y="2402129"/>
            <a:ext cx="606269" cy="613118"/>
            <a:chOff x="227349" y="1656672"/>
            <a:chExt cx="331451" cy="613118"/>
          </a:xfrm>
          <a:solidFill>
            <a:srgbClr val="FFFFFF">
              <a:lumMod val="85000"/>
            </a:srgbClr>
          </a:solidFill>
        </p:grpSpPr>
        <p:sp>
          <p:nvSpPr>
            <p:cNvPr id="120" name="Rounded Rectangle 41">
              <a:extLst>
                <a:ext uri="{FF2B5EF4-FFF2-40B4-BE49-F238E27FC236}">
                  <a16:creationId xmlns:a16="http://schemas.microsoft.com/office/drawing/2014/main" id="{F43149AF-E761-40DC-B959-549688777834}"/>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21" name="Rounded Rectangle 41">
              <a:extLst>
                <a:ext uri="{FF2B5EF4-FFF2-40B4-BE49-F238E27FC236}">
                  <a16:creationId xmlns:a16="http://schemas.microsoft.com/office/drawing/2014/main" id="{522D65DD-3855-420B-98F5-E4DEE5E6F59E}"/>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22" name="Freeform 42">
              <a:extLst>
                <a:ext uri="{FF2B5EF4-FFF2-40B4-BE49-F238E27FC236}">
                  <a16:creationId xmlns:a16="http://schemas.microsoft.com/office/drawing/2014/main" id="{4A04320E-AB37-4DDF-A765-2EAC0FD1DDD9}"/>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3</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23" name="Oval 20">
            <a:extLst>
              <a:ext uri="{FF2B5EF4-FFF2-40B4-BE49-F238E27FC236}">
                <a16:creationId xmlns:a16="http://schemas.microsoft.com/office/drawing/2014/main" id="{C8359C63-B509-4A5D-B0AC-95AEC858DD04}"/>
              </a:ext>
            </a:extLst>
          </p:cNvPr>
          <p:cNvSpPr/>
          <p:nvPr/>
        </p:nvSpPr>
        <p:spPr>
          <a:xfrm>
            <a:off x="1750079" y="5251200"/>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3</a:t>
            </a:r>
          </a:p>
        </p:txBody>
      </p:sp>
      <p:sp>
        <p:nvSpPr>
          <p:cNvPr id="124" name="Oval 20">
            <a:extLst>
              <a:ext uri="{FF2B5EF4-FFF2-40B4-BE49-F238E27FC236}">
                <a16:creationId xmlns:a16="http://schemas.microsoft.com/office/drawing/2014/main" id="{7FB38711-66C5-4C4D-B6B3-8588EAB8D803}"/>
              </a:ext>
            </a:extLst>
          </p:cNvPr>
          <p:cNvSpPr/>
          <p:nvPr/>
        </p:nvSpPr>
        <p:spPr>
          <a:xfrm>
            <a:off x="1750080" y="3115742"/>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2</a:t>
            </a:r>
          </a:p>
        </p:txBody>
      </p:sp>
      <p:sp>
        <p:nvSpPr>
          <p:cNvPr id="125" name="Oval 20">
            <a:extLst>
              <a:ext uri="{FF2B5EF4-FFF2-40B4-BE49-F238E27FC236}">
                <a16:creationId xmlns:a16="http://schemas.microsoft.com/office/drawing/2014/main" id="{35E677BD-DB40-4FDC-BA8C-FB7049408BBF}"/>
              </a:ext>
            </a:extLst>
          </p:cNvPr>
          <p:cNvSpPr/>
          <p:nvPr/>
        </p:nvSpPr>
        <p:spPr>
          <a:xfrm>
            <a:off x="1750079" y="899033"/>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1</a:t>
            </a:r>
          </a:p>
        </p:txBody>
      </p:sp>
      <p:sp>
        <p:nvSpPr>
          <p:cNvPr id="126" name="Oval 20">
            <a:extLst>
              <a:ext uri="{FF2B5EF4-FFF2-40B4-BE49-F238E27FC236}">
                <a16:creationId xmlns:a16="http://schemas.microsoft.com/office/drawing/2014/main" id="{B3F23BB8-B51B-4019-966C-8C8FBF52A50A}"/>
              </a:ext>
            </a:extLst>
          </p:cNvPr>
          <p:cNvSpPr/>
          <p:nvPr/>
        </p:nvSpPr>
        <p:spPr>
          <a:xfrm>
            <a:off x="1762780" y="5828677"/>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2223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4</a:t>
            </a:r>
          </a:p>
        </p:txBody>
      </p:sp>
    </p:spTree>
    <p:extLst>
      <p:ext uri="{BB962C8B-B14F-4D97-AF65-F5344CB8AC3E}">
        <p14:creationId xmlns:p14="http://schemas.microsoft.com/office/powerpoint/2010/main" val="40855619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315970" cy="422275"/>
          </a:xfrm>
          <a:prstGeom prst="rect">
            <a:avLst/>
          </a:prstGeom>
        </p:spPr>
        <p:txBody>
          <a:bodyPr vert="horz" wrap="square" lIns="0" tIns="12700" rIns="0" bIns="0" rtlCol="0">
            <a:spAutoFit/>
          </a:bodyPr>
          <a:lstStyle/>
          <a:p>
            <a:pPr marL="12700">
              <a:lnSpc>
                <a:spcPct val="100000"/>
              </a:lnSpc>
              <a:spcBef>
                <a:spcPts val="100"/>
              </a:spcBef>
            </a:pPr>
            <a:r>
              <a:rPr sz="2600" spc="-5"/>
              <a:t>Integration </a:t>
            </a:r>
            <a:r>
              <a:rPr sz="2600"/>
              <a:t>- 3</a:t>
            </a:r>
            <a:r>
              <a:rPr sz="2600" spc="-65"/>
              <a:t> </a:t>
            </a:r>
            <a:r>
              <a:rPr sz="2600"/>
              <a:t>BU’s</a:t>
            </a:r>
          </a:p>
        </p:txBody>
      </p:sp>
      <p:sp>
        <p:nvSpPr>
          <p:cNvPr id="6" name="object 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 name="object 7"/>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2</a:t>
            </a:fld>
            <a:endParaRPr sz="800">
              <a:latin typeface="Verdana"/>
              <a:cs typeface="Verdana"/>
            </a:endParaRPr>
          </a:p>
        </p:txBody>
      </p:sp>
      <p:sp>
        <p:nvSpPr>
          <p:cNvPr id="11" name="TextBox 10">
            <a:extLst>
              <a:ext uri="{FF2B5EF4-FFF2-40B4-BE49-F238E27FC236}">
                <a16:creationId xmlns:a16="http://schemas.microsoft.com/office/drawing/2014/main" id="{EC7642D4-A6F8-4A03-B939-301E271F4D9A}"/>
              </a:ext>
            </a:extLst>
          </p:cNvPr>
          <p:cNvSpPr txBox="1"/>
          <p:nvPr/>
        </p:nvSpPr>
        <p:spPr>
          <a:xfrm>
            <a:off x="214680" y="806808"/>
            <a:ext cx="11892737" cy="5906218"/>
          </a:xfrm>
          <a:prstGeom prst="rect">
            <a:avLst/>
          </a:prstGeom>
        </p:spPr>
        <p:txBody>
          <a:bodyPr vert="horz" lIns="91440" tIns="45720" rIns="91440" bIns="45720" rtlCol="0" anchor="t" anchorCtr="0">
            <a:normAutofit lnSpcReduction="10000"/>
          </a:bodyPr>
          <a:lstStyle/>
          <a:p>
            <a:pPr marL="285750" indent="-285750" algn="just">
              <a:lnSpc>
                <a:spcPct val="90000"/>
              </a:lnSpc>
              <a:spcAft>
                <a:spcPts val="600"/>
              </a:spcAft>
              <a:buClr>
                <a:srgbClr val="0070AD"/>
              </a:buClr>
              <a:buFont typeface="Wingdings" panose="05000000000000000000" pitchFamily="2" charset="2"/>
              <a:buChar char="§"/>
            </a:pPr>
            <a:r>
              <a:rPr lang="en-US" sz="1500" dirty="0">
                <a:solidFill>
                  <a:prstClr val="black"/>
                </a:solidFill>
                <a:latin typeface="Verdana"/>
              </a:rPr>
              <a:t>The ERP systems which are in the scope for wave 1:</a:t>
            </a:r>
          </a:p>
          <a:p>
            <a:pPr marL="742950" lvl="1" indent="-285750" algn="just">
              <a:lnSpc>
                <a:spcPct val="90000"/>
              </a:lnSpc>
              <a:spcAft>
                <a:spcPts val="600"/>
              </a:spcAft>
              <a:buClr>
                <a:srgbClr val="0070AD"/>
              </a:buClr>
              <a:buFont typeface="Wingdings" panose="05000000000000000000" pitchFamily="2" charset="2"/>
              <a:buChar char="Ø"/>
            </a:pPr>
            <a:r>
              <a:rPr lang="en-US" sz="1500" dirty="0">
                <a:solidFill>
                  <a:prstClr val="black"/>
                </a:solidFill>
                <a:latin typeface="Verdana"/>
              </a:rPr>
              <a:t>GPICS</a:t>
            </a:r>
          </a:p>
          <a:p>
            <a:pPr marL="742950" lvl="1" indent="-285750" algn="just">
              <a:lnSpc>
                <a:spcPct val="90000"/>
              </a:lnSpc>
              <a:spcAft>
                <a:spcPts val="600"/>
              </a:spcAft>
              <a:buClr>
                <a:srgbClr val="0070AD"/>
              </a:buClr>
              <a:buFont typeface="Wingdings" panose="05000000000000000000" pitchFamily="2" charset="2"/>
              <a:buChar char="Ø"/>
            </a:pPr>
            <a:r>
              <a:rPr lang="en-US" sz="1500" dirty="0">
                <a:solidFill>
                  <a:prstClr val="black"/>
                </a:solidFill>
                <a:latin typeface="Verdana"/>
              </a:rPr>
              <a:t>SAP Business One</a:t>
            </a:r>
          </a:p>
          <a:p>
            <a:pPr marL="742950" lvl="1" indent="-285750" algn="just">
              <a:lnSpc>
                <a:spcPct val="90000"/>
              </a:lnSpc>
              <a:spcAft>
                <a:spcPts val="600"/>
              </a:spcAft>
              <a:buClr>
                <a:srgbClr val="0070AD"/>
              </a:buClr>
              <a:buFont typeface="Wingdings" panose="05000000000000000000" pitchFamily="2" charset="2"/>
              <a:buChar char="Ø"/>
            </a:pPr>
            <a:r>
              <a:rPr lang="en-US" sz="1500" dirty="0">
                <a:solidFill>
                  <a:prstClr val="black"/>
                </a:solidFill>
                <a:latin typeface="Verdana"/>
              </a:rPr>
              <a:t>IFS</a:t>
            </a:r>
          </a:p>
          <a:p>
            <a:pPr lvl="1" algn="just">
              <a:lnSpc>
                <a:spcPct val="90000"/>
              </a:lnSpc>
              <a:spcAft>
                <a:spcPts val="600"/>
              </a:spcAft>
              <a:buClr>
                <a:srgbClr val="0070AD"/>
              </a:buClr>
            </a:pPr>
            <a:endParaRPr lang="en-US" sz="1500" dirty="0">
              <a:latin typeface="Verdana"/>
            </a:endParaRPr>
          </a:p>
          <a:p>
            <a:pPr lvl="1" algn="just">
              <a:lnSpc>
                <a:spcPct val="90000"/>
              </a:lnSpc>
              <a:spcAft>
                <a:spcPts val="600"/>
              </a:spcAft>
            </a:pPr>
            <a:r>
              <a:rPr lang="en-US" sz="1500" dirty="0">
                <a:latin typeface="Verdana"/>
              </a:rPr>
              <a:t>It has been assumed to manage:</a:t>
            </a:r>
            <a:endParaRPr lang="en-US" sz="1500" dirty="0">
              <a:latin typeface="Verdana"/>
              <a:ea typeface="Verdana"/>
              <a:cs typeface="Verdana"/>
            </a:endParaRPr>
          </a:p>
          <a:p>
            <a:pPr marL="742950" lvl="1" indent="-285750" algn="just">
              <a:lnSpc>
                <a:spcPct val="90000"/>
              </a:lnSpc>
              <a:spcAft>
                <a:spcPts val="600"/>
              </a:spcAft>
              <a:buClr>
                <a:srgbClr val="0070AD"/>
              </a:buClr>
              <a:buFont typeface="Arial" panose="020B0604020202020204" pitchFamily="34" charset="0"/>
              <a:buChar char="•"/>
            </a:pPr>
            <a:r>
              <a:rPr lang="en-US" sz="1500" dirty="0">
                <a:solidFill>
                  <a:prstClr val="black"/>
                </a:solidFill>
                <a:latin typeface="Verdana"/>
              </a:rPr>
              <a:t>At maximum 7 inbound flows and 3 outbound flows (50% reuse of existing integrations and 50% new integrations)</a:t>
            </a:r>
          </a:p>
          <a:p>
            <a:pPr marL="742950" lvl="1" indent="-285750" algn="just">
              <a:lnSpc>
                <a:spcPct val="90000"/>
              </a:lnSpc>
              <a:spcAft>
                <a:spcPts val="600"/>
              </a:spcAft>
              <a:buClr>
                <a:srgbClr val="0070AD"/>
              </a:buClr>
              <a:buFont typeface="Arial" panose="020B0604020202020204" pitchFamily="34" charset="0"/>
              <a:buChar char="•"/>
            </a:pPr>
            <a:r>
              <a:rPr lang="en-US" sz="1500" dirty="0">
                <a:solidFill>
                  <a:prstClr val="black"/>
                </a:solidFill>
                <a:latin typeface="Verdana"/>
              </a:rPr>
              <a:t>For each entity, a common format will be used in integration flows with all ERP systems</a:t>
            </a:r>
            <a:endParaRPr lang="en-US" sz="1600" dirty="0">
              <a:solidFill>
                <a:prstClr val="black"/>
              </a:solidFill>
              <a:latin typeface="Verdana"/>
            </a:endParaRPr>
          </a:p>
          <a:p>
            <a:pPr marL="285750" indent="-285750" algn="just">
              <a:lnSpc>
                <a:spcPct val="90000"/>
              </a:lnSpc>
              <a:spcAft>
                <a:spcPts val="600"/>
              </a:spcAft>
              <a:buClr>
                <a:srgbClr val="0070AD"/>
              </a:buClr>
              <a:buFont typeface="Wingdings" panose="05000000000000000000" pitchFamily="2" charset="2"/>
              <a:buChar char="§"/>
            </a:pPr>
            <a:r>
              <a:rPr lang="en-US" sz="1500" kern="0" dirty="0">
                <a:solidFill>
                  <a:prstClr val="black"/>
                </a:solidFill>
                <a:latin typeface="Verdana"/>
              </a:rPr>
              <a:t>Capgemini team will do workshops with each of the BU stakeholder and will be doing the analysis of each of the system. The BU specific requirement captured and will produce the Solution Document</a:t>
            </a:r>
          </a:p>
          <a:p>
            <a:pPr marL="285750" indent="-285750" algn="just">
              <a:lnSpc>
                <a:spcPct val="90000"/>
              </a:lnSpc>
              <a:spcAft>
                <a:spcPts val="600"/>
              </a:spcAft>
              <a:buClr>
                <a:srgbClr val="0070AD"/>
              </a:buClr>
              <a:buFont typeface="Wingdings" panose="05000000000000000000" pitchFamily="2" charset="2"/>
              <a:buChar char="§"/>
            </a:pPr>
            <a:r>
              <a:rPr lang="en-US" sz="1500" kern="0" dirty="0">
                <a:solidFill>
                  <a:prstClr val="black"/>
                </a:solidFill>
                <a:latin typeface="Verdana"/>
              </a:rPr>
              <a:t>The data from each of the ERP system can be upload in different ways</a:t>
            </a:r>
          </a:p>
          <a:p>
            <a:pPr marL="742950" lvl="1" indent="-285750" algn="just">
              <a:lnSpc>
                <a:spcPct val="90000"/>
              </a:lnSpc>
              <a:spcAft>
                <a:spcPts val="600"/>
              </a:spcAft>
              <a:buClr>
                <a:srgbClr val="0070AD"/>
              </a:buClr>
              <a:buFont typeface="Wingdings" panose="05000000000000000000" pitchFamily="2" charset="2"/>
              <a:buChar char="§"/>
            </a:pPr>
            <a:r>
              <a:rPr lang="en-US" sz="1500" kern="0" dirty="0">
                <a:latin typeface="Verdana"/>
              </a:rPr>
              <a:t>BATCH: we can exploit a CSV formats and these files can be uploaded to the folder and MuleSoft process reads the data</a:t>
            </a:r>
            <a:endParaRPr lang="en-US" sz="1500" kern="0" dirty="0">
              <a:latin typeface="Verdana"/>
              <a:ea typeface="Verdana"/>
              <a:cs typeface="Verdana"/>
            </a:endParaRPr>
          </a:p>
          <a:p>
            <a:pPr marL="742950" lvl="1" indent="-285750" algn="just">
              <a:lnSpc>
                <a:spcPct val="90000"/>
              </a:lnSpc>
              <a:spcAft>
                <a:spcPts val="600"/>
              </a:spcAft>
              <a:buClr>
                <a:srgbClr val="0070AD"/>
              </a:buClr>
              <a:buFont typeface="Wingdings" panose="05000000000000000000" pitchFamily="2" charset="2"/>
              <a:buChar char="§"/>
            </a:pPr>
            <a:r>
              <a:rPr lang="en-US" sz="1500" kern="0" dirty="0">
                <a:latin typeface="Verdana"/>
              </a:rPr>
              <a:t>Near real-time: Capgemini will develop all stubs to call APIs available on MARC API Layer </a:t>
            </a:r>
            <a:endParaRPr lang="en-US" sz="1500" kern="0" dirty="0">
              <a:latin typeface="Verdana"/>
              <a:ea typeface="Verdana"/>
              <a:cs typeface="Verdana"/>
            </a:endParaRPr>
          </a:p>
          <a:p>
            <a:pPr marL="285750" indent="-285750" algn="just">
              <a:lnSpc>
                <a:spcPct val="90000"/>
              </a:lnSpc>
              <a:spcAft>
                <a:spcPts val="600"/>
              </a:spcAft>
              <a:buClr>
                <a:srgbClr val="0070AD"/>
              </a:buClr>
              <a:buFont typeface="Wingdings" panose="05000000000000000000" pitchFamily="2" charset="2"/>
              <a:buChar char="§"/>
            </a:pPr>
            <a:r>
              <a:rPr lang="en-US" sz="1500" kern="0" dirty="0">
                <a:latin typeface="Verdana"/>
              </a:rPr>
              <a:t>Different integration methods can be supported as per customer requirements (e.g. REST APIs, Polling Mechanisms, etc.). For the purpose of this proposal, it has been assumed that Marelli will introduce an ESB to de-couple legacy systems (ERP) from a new revamped and optimized Salesforce solution</a:t>
            </a:r>
            <a:endParaRPr lang="en-US" sz="1500" kern="0" dirty="0">
              <a:latin typeface="Verdana"/>
              <a:ea typeface="Verdana"/>
              <a:cs typeface="Verdana"/>
            </a:endParaRPr>
          </a:p>
          <a:p>
            <a:pPr marL="285750" indent="-285750" algn="just">
              <a:lnSpc>
                <a:spcPct val="90000"/>
              </a:lnSpc>
              <a:spcAft>
                <a:spcPts val="600"/>
              </a:spcAft>
              <a:buClr>
                <a:srgbClr val="0070AD"/>
              </a:buClr>
              <a:buFont typeface="Wingdings" panose="05000000000000000000" pitchFamily="2" charset="2"/>
              <a:buChar char="§"/>
            </a:pPr>
            <a:r>
              <a:rPr lang="en-US" sz="1500" kern="0" dirty="0">
                <a:solidFill>
                  <a:prstClr val="black"/>
                </a:solidFill>
                <a:latin typeface="Verdana"/>
              </a:rPr>
              <a:t>Unit Testing, Integration Testing and E2E Test will be executed according to testing strategies already in place in Marelli</a:t>
            </a:r>
          </a:p>
          <a:p>
            <a:pPr marL="285750" indent="-285750" algn="just">
              <a:lnSpc>
                <a:spcPct val="90000"/>
              </a:lnSpc>
              <a:spcAft>
                <a:spcPts val="600"/>
              </a:spcAft>
              <a:buClr>
                <a:srgbClr val="0070AD"/>
              </a:buClr>
              <a:buFont typeface="Wingdings" panose="05000000000000000000" pitchFamily="2" charset="2"/>
              <a:buChar char="§"/>
            </a:pPr>
            <a:r>
              <a:rPr lang="en-AU" sz="1500" kern="0" dirty="0">
                <a:latin typeface="Verdana"/>
              </a:rPr>
              <a:t>We expect that Capgemini team will be accountable to develop  interfaces after having defined an Interface agreement with Marelli Focal Points while </a:t>
            </a:r>
            <a:r>
              <a:rPr lang="en-AU" sz="1500" kern="0" dirty="0">
                <a:latin typeface="Verdana"/>
                <a:ea typeface="Verdana"/>
                <a:cs typeface="Verdana"/>
              </a:rPr>
              <a:t> MARC System Integrator will be responsible to provide APIs to be called by SFDC</a:t>
            </a:r>
          </a:p>
          <a:p>
            <a:pPr marL="285750" indent="-285750" algn="just">
              <a:lnSpc>
                <a:spcPct val="90000"/>
              </a:lnSpc>
              <a:spcAft>
                <a:spcPts val="600"/>
              </a:spcAft>
              <a:buClr>
                <a:srgbClr val="0070AD"/>
              </a:buClr>
              <a:buFont typeface="Arial" panose="05000000000000000000" pitchFamily="2" charset="2"/>
              <a:buChar char="•"/>
            </a:pPr>
            <a:r>
              <a:rPr lang="en-AU" sz="1500" kern="0" dirty="0">
                <a:latin typeface="Verdana"/>
                <a:ea typeface="Verdana"/>
                <a:cs typeface="Verdana"/>
              </a:rPr>
              <a:t>Marelli will supervise and coordinate the integration test and manage 3rd Parties will release components from legacy systems (ERP, etc.)</a:t>
            </a:r>
            <a:endParaRPr lang="en-AU" sz="1500" kern="0" dirty="0">
              <a:ea typeface="+mn-lt"/>
              <a:cs typeface="+mn-lt"/>
            </a:endParaRPr>
          </a:p>
          <a:p>
            <a:pPr marL="285750" indent="-285750" algn="just">
              <a:lnSpc>
                <a:spcPct val="90000"/>
              </a:lnSpc>
              <a:spcAft>
                <a:spcPts val="600"/>
              </a:spcAft>
              <a:buClr>
                <a:srgbClr val="0070AD"/>
              </a:buClr>
              <a:buFont typeface="Wingdings" panose="05000000000000000000" pitchFamily="2" charset="2"/>
              <a:buChar char="§"/>
            </a:pPr>
            <a:endParaRPr lang="en-AU" sz="1500" kern="0" dirty="0">
              <a:latin typeface="Verdana"/>
              <a:ea typeface="Verdana"/>
              <a:cs typeface="Verdana"/>
            </a:endParaRPr>
          </a:p>
        </p:txBody>
      </p:sp>
      <p:sp>
        <p:nvSpPr>
          <p:cNvPr id="12" name="Rectangle 11">
            <a:extLst>
              <a:ext uri="{FF2B5EF4-FFF2-40B4-BE49-F238E27FC236}">
                <a16:creationId xmlns:a16="http://schemas.microsoft.com/office/drawing/2014/main" id="{4140C8C6-AA9C-47BA-9E2A-B65F216F63E4}"/>
              </a:ext>
            </a:extLst>
          </p:cNvPr>
          <p:cNvSpPr/>
          <p:nvPr/>
        </p:nvSpPr>
        <p:spPr>
          <a:xfrm>
            <a:off x="9281779" y="1072376"/>
            <a:ext cx="1143000" cy="83820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MARC</a:t>
            </a:r>
          </a:p>
        </p:txBody>
      </p:sp>
      <p:cxnSp>
        <p:nvCxnSpPr>
          <p:cNvPr id="13" name="Straight Connector 12">
            <a:extLst>
              <a:ext uri="{FF2B5EF4-FFF2-40B4-BE49-F238E27FC236}">
                <a16:creationId xmlns:a16="http://schemas.microsoft.com/office/drawing/2014/main" id="{5D1D58F5-D4BA-4C5F-A466-2E8AA8B78DB9}"/>
              </a:ext>
            </a:extLst>
          </p:cNvPr>
          <p:cNvCxnSpPr/>
          <p:nvPr/>
        </p:nvCxnSpPr>
        <p:spPr>
          <a:xfrm>
            <a:off x="10729579" y="806605"/>
            <a:ext cx="0" cy="1371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AE85FE8-A076-418C-B458-CBE13C1E7C45}"/>
              </a:ext>
            </a:extLst>
          </p:cNvPr>
          <p:cNvCxnSpPr/>
          <p:nvPr/>
        </p:nvCxnSpPr>
        <p:spPr>
          <a:xfrm>
            <a:off x="8976979" y="806605"/>
            <a:ext cx="0" cy="137160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92AD5C81-7CE3-4D22-A35A-E8A1E39ACFCA}"/>
              </a:ext>
            </a:extLst>
          </p:cNvPr>
          <p:cNvSpPr/>
          <p:nvPr/>
        </p:nvSpPr>
        <p:spPr>
          <a:xfrm>
            <a:off x="7833979" y="1072376"/>
            <a:ext cx="914399" cy="838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solidFill>
                  <a:schemeClr val="tx1"/>
                </a:solidFill>
              </a:rPr>
              <a:t>ERP </a:t>
            </a:r>
            <a:r>
              <a:rPr lang="it-IT" err="1">
                <a:solidFill>
                  <a:schemeClr val="tx1"/>
                </a:solidFill>
              </a:rPr>
              <a:t>Legacy</a:t>
            </a:r>
            <a:endParaRPr lang="it-IT">
              <a:solidFill>
                <a:schemeClr val="tx1"/>
              </a:solidFill>
            </a:endParaRPr>
          </a:p>
        </p:txBody>
      </p:sp>
      <p:sp>
        <p:nvSpPr>
          <p:cNvPr id="16" name="Cylinder 15">
            <a:extLst>
              <a:ext uri="{FF2B5EF4-FFF2-40B4-BE49-F238E27FC236}">
                <a16:creationId xmlns:a16="http://schemas.microsoft.com/office/drawing/2014/main" id="{10C529AF-1178-4AE9-B198-980F56FC924F}"/>
              </a:ext>
            </a:extLst>
          </p:cNvPr>
          <p:cNvSpPr/>
          <p:nvPr/>
        </p:nvSpPr>
        <p:spPr>
          <a:xfrm>
            <a:off x="10958183" y="1123746"/>
            <a:ext cx="840986" cy="762000"/>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SFDC</a:t>
            </a:r>
          </a:p>
        </p:txBody>
      </p:sp>
      <p:cxnSp>
        <p:nvCxnSpPr>
          <p:cNvPr id="17" name="Straight Arrow Connector 16">
            <a:extLst>
              <a:ext uri="{FF2B5EF4-FFF2-40B4-BE49-F238E27FC236}">
                <a16:creationId xmlns:a16="http://schemas.microsoft.com/office/drawing/2014/main" id="{CBDEA1A7-27B1-4AEF-9F28-C8FEC982163A}"/>
              </a:ext>
            </a:extLst>
          </p:cNvPr>
          <p:cNvCxnSpPr>
            <a:cxnSpLocks/>
          </p:cNvCxnSpPr>
          <p:nvPr/>
        </p:nvCxnSpPr>
        <p:spPr>
          <a:xfrm>
            <a:off x="8748378" y="1491476"/>
            <a:ext cx="53340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DA4D0B1-4F26-430C-8F88-CB2C1AB2ABD0}"/>
              </a:ext>
            </a:extLst>
          </p:cNvPr>
          <p:cNvCxnSpPr>
            <a:cxnSpLocks/>
          </p:cNvCxnSpPr>
          <p:nvPr/>
        </p:nvCxnSpPr>
        <p:spPr>
          <a:xfrm>
            <a:off x="10424779" y="1491476"/>
            <a:ext cx="533404" cy="1327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214680" y="6638645"/>
            <a:ext cx="1945639"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5" name="object 5"/>
          <p:cNvSpPr txBox="1"/>
          <p:nvPr/>
        </p:nvSpPr>
        <p:spPr>
          <a:xfrm>
            <a:off x="9604629" y="6638645"/>
            <a:ext cx="234886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0">
                <a:solidFill>
                  <a:srgbClr val="12ABDB"/>
                </a:solidFill>
                <a:latin typeface="Verdana"/>
                <a:cs typeface="Verdana"/>
              </a:rPr>
              <a:t> </a:t>
            </a:r>
            <a:r>
              <a:rPr sz="800">
                <a:solidFill>
                  <a:srgbClr val="A6A6A6"/>
                </a:solidFill>
                <a:latin typeface="Verdana"/>
                <a:cs typeface="Verdana"/>
              </a:rPr>
              <a:t>106</a:t>
            </a:r>
            <a:endParaRPr sz="800">
              <a:latin typeface="Verdana"/>
              <a:cs typeface="Verdana"/>
            </a:endParaRPr>
          </a:p>
        </p:txBody>
      </p:sp>
      <p:sp>
        <p:nvSpPr>
          <p:cNvPr id="7" name="object 7"/>
          <p:cNvSpPr txBox="1"/>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latin typeface="Verdana"/>
                <a:cs typeface="Verdana"/>
              </a:rPr>
              <a:t>08.2</a:t>
            </a:r>
            <a:endParaRPr sz="4400">
              <a:latin typeface="Verdana"/>
              <a:cs typeface="Verdana"/>
            </a:endParaRPr>
          </a:p>
        </p:txBody>
      </p:sp>
      <p:sp>
        <p:nvSpPr>
          <p:cNvPr id="8" name="object 8"/>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9" name="object 9"/>
          <p:cNvSpPr txBox="1"/>
          <p:nvPr/>
        </p:nvSpPr>
        <p:spPr>
          <a:xfrm>
            <a:off x="540207" y="2902153"/>
            <a:ext cx="1084580" cy="331470"/>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Wave</a:t>
            </a:r>
            <a:r>
              <a:rPr sz="2000" b="1" spc="-85">
                <a:solidFill>
                  <a:srgbClr val="FFFFFF"/>
                </a:solidFill>
                <a:latin typeface="Verdana"/>
                <a:cs typeface="Verdana"/>
              </a:rPr>
              <a:t> </a:t>
            </a:r>
            <a:r>
              <a:rPr sz="2000" b="1">
                <a:solidFill>
                  <a:srgbClr val="FFFFFF"/>
                </a:solidFill>
                <a:latin typeface="Verdana"/>
                <a:cs typeface="Verdana"/>
              </a:rPr>
              <a:t>2</a:t>
            </a:r>
            <a:endParaRPr sz="2000">
              <a:latin typeface="Verdana"/>
              <a:cs typeface="Verdana"/>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pic>
        <p:nvPicPr>
          <p:cNvPr id="12" name="Picture 11">
            <a:extLst>
              <a:ext uri="{FF2B5EF4-FFF2-40B4-BE49-F238E27FC236}">
                <a16:creationId xmlns:a16="http://schemas.microsoft.com/office/drawing/2014/main" id="{28C09D0C-AE27-4722-8CBC-59E5EF92F3B1}"/>
              </a:ext>
            </a:extLst>
          </p:cNvPr>
          <p:cNvPicPr>
            <a:picLocks noChangeAspect="1"/>
          </p:cNvPicPr>
          <p:nvPr/>
        </p:nvPicPr>
        <p:blipFill>
          <a:blip r:embed="rId3">
            <a:alphaModFix/>
          </a:blip>
          <a:stretch>
            <a:fillRect/>
          </a:stretch>
        </p:blipFill>
        <p:spPr>
          <a:xfrm>
            <a:off x="6173969" y="1628775"/>
            <a:ext cx="5094106" cy="2828925"/>
          </a:xfrm>
          <a:prstGeom prst="rect">
            <a:avLst/>
          </a:prstGeom>
        </p:spPr>
      </p:pic>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6004560" cy="422275"/>
          </a:xfrm>
          <a:prstGeom prst="rect">
            <a:avLst/>
          </a:prstGeom>
        </p:spPr>
        <p:txBody>
          <a:bodyPr vert="horz" wrap="square" lIns="0" tIns="12700" rIns="0" bIns="0" rtlCol="0">
            <a:spAutoFit/>
          </a:bodyPr>
          <a:lstStyle/>
          <a:p>
            <a:pPr marL="12700">
              <a:lnSpc>
                <a:spcPct val="100000"/>
              </a:lnSpc>
              <a:spcBef>
                <a:spcPts val="100"/>
              </a:spcBef>
            </a:pPr>
            <a:r>
              <a:rPr sz="2600"/>
              <a:t>Implementation Approach – </a:t>
            </a:r>
            <a:r>
              <a:rPr sz="2600" spc="-45"/>
              <a:t>Wave</a:t>
            </a:r>
            <a:r>
              <a:rPr sz="2600" spc="-110"/>
              <a:t> </a:t>
            </a:r>
            <a:r>
              <a:rPr sz="2600"/>
              <a:t>2</a:t>
            </a:r>
          </a:p>
        </p:txBody>
      </p:sp>
      <p:sp>
        <p:nvSpPr>
          <p:cNvPr id="3" name="object 3"/>
          <p:cNvSpPr/>
          <p:nvPr/>
        </p:nvSpPr>
        <p:spPr>
          <a:xfrm>
            <a:off x="2139695" y="2139695"/>
            <a:ext cx="7912734" cy="3017520"/>
          </a:xfrm>
          <a:custGeom>
            <a:avLst/>
            <a:gdLst/>
            <a:ahLst/>
            <a:cxnLst/>
            <a:rect l="l" t="t" r="r" b="b"/>
            <a:pathLst>
              <a:path w="7912734" h="3017520">
                <a:moveTo>
                  <a:pt x="0" y="3017520"/>
                </a:moveTo>
                <a:lnTo>
                  <a:pt x="7912608" y="3017520"/>
                </a:lnTo>
                <a:lnTo>
                  <a:pt x="7912608" y="0"/>
                </a:lnTo>
                <a:lnTo>
                  <a:pt x="0" y="0"/>
                </a:lnTo>
                <a:lnTo>
                  <a:pt x="0" y="3017520"/>
                </a:lnTo>
                <a:close/>
              </a:path>
            </a:pathLst>
          </a:custGeom>
          <a:solidFill>
            <a:srgbClr val="632D8E">
              <a:alpha val="43920"/>
            </a:srgbClr>
          </a:solidFill>
        </p:spPr>
        <p:txBody>
          <a:bodyPr wrap="square" lIns="0" tIns="0" rIns="0" bIns="0" rtlCol="0"/>
          <a:lstStyle/>
          <a:p>
            <a:endParaRPr/>
          </a:p>
        </p:txBody>
      </p:sp>
      <p:sp>
        <p:nvSpPr>
          <p:cNvPr id="4" name="object 4"/>
          <p:cNvSpPr/>
          <p:nvPr/>
        </p:nvSpPr>
        <p:spPr>
          <a:xfrm>
            <a:off x="6312408" y="2260092"/>
            <a:ext cx="3534410" cy="612775"/>
          </a:xfrm>
          <a:custGeom>
            <a:avLst/>
            <a:gdLst/>
            <a:ahLst/>
            <a:cxnLst/>
            <a:rect l="l" t="t" r="r" b="b"/>
            <a:pathLst>
              <a:path w="3534409" h="612775">
                <a:moveTo>
                  <a:pt x="3432047" y="0"/>
                </a:moveTo>
                <a:lnTo>
                  <a:pt x="102107" y="0"/>
                </a:lnTo>
                <a:lnTo>
                  <a:pt x="62364" y="8024"/>
                </a:lnTo>
                <a:lnTo>
                  <a:pt x="29908" y="29908"/>
                </a:lnTo>
                <a:lnTo>
                  <a:pt x="8024" y="62364"/>
                </a:lnTo>
                <a:lnTo>
                  <a:pt x="0" y="102108"/>
                </a:lnTo>
                <a:lnTo>
                  <a:pt x="0" y="612648"/>
                </a:lnTo>
                <a:lnTo>
                  <a:pt x="3534156" y="612648"/>
                </a:lnTo>
                <a:lnTo>
                  <a:pt x="3534156" y="102108"/>
                </a:lnTo>
                <a:lnTo>
                  <a:pt x="3526131" y="62364"/>
                </a:lnTo>
                <a:lnTo>
                  <a:pt x="3504247" y="29908"/>
                </a:lnTo>
                <a:lnTo>
                  <a:pt x="3471791" y="8024"/>
                </a:lnTo>
                <a:lnTo>
                  <a:pt x="3432047" y="0"/>
                </a:lnTo>
                <a:close/>
              </a:path>
            </a:pathLst>
          </a:custGeom>
          <a:solidFill>
            <a:srgbClr val="632D8E"/>
          </a:solidFill>
        </p:spPr>
        <p:txBody>
          <a:bodyPr wrap="square" lIns="0" tIns="0" rIns="0" bIns="0" rtlCol="0"/>
          <a:lstStyle/>
          <a:p>
            <a:endParaRPr/>
          </a:p>
        </p:txBody>
      </p:sp>
      <p:sp>
        <p:nvSpPr>
          <p:cNvPr id="5" name="object 5"/>
          <p:cNvSpPr txBox="1"/>
          <p:nvPr/>
        </p:nvSpPr>
        <p:spPr>
          <a:xfrm>
            <a:off x="6998334" y="2460751"/>
            <a:ext cx="2037714"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Ride Dynamics</a:t>
            </a:r>
            <a:r>
              <a:rPr sz="1400" b="1" spc="-130">
                <a:solidFill>
                  <a:srgbClr val="FFFFFF"/>
                </a:solidFill>
                <a:latin typeface="Verdana"/>
                <a:cs typeface="Verdana"/>
              </a:rPr>
              <a:t> </a:t>
            </a:r>
            <a:r>
              <a:rPr sz="1400" b="1">
                <a:solidFill>
                  <a:srgbClr val="FFFFFF"/>
                </a:solidFill>
                <a:latin typeface="Verdana"/>
                <a:cs typeface="Verdana"/>
              </a:rPr>
              <a:t>(RD)</a:t>
            </a:r>
            <a:endParaRPr sz="1400">
              <a:latin typeface="Verdana"/>
              <a:cs typeface="Verdana"/>
            </a:endParaRPr>
          </a:p>
        </p:txBody>
      </p:sp>
      <p:sp>
        <p:nvSpPr>
          <p:cNvPr id="6" name="object 6"/>
          <p:cNvSpPr/>
          <p:nvPr/>
        </p:nvSpPr>
        <p:spPr>
          <a:xfrm>
            <a:off x="6312408" y="2273807"/>
            <a:ext cx="106679" cy="251459"/>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6312408" y="2273807"/>
            <a:ext cx="106680" cy="251460"/>
          </a:xfrm>
          <a:custGeom>
            <a:avLst/>
            <a:gdLst/>
            <a:ahLst/>
            <a:cxnLst/>
            <a:rect l="l" t="t" r="r" b="b"/>
            <a:pathLst>
              <a:path w="106679" h="251460">
                <a:moveTo>
                  <a:pt x="0" y="53339"/>
                </a:moveTo>
                <a:lnTo>
                  <a:pt x="4190" y="32575"/>
                </a:lnTo>
                <a:lnTo>
                  <a:pt x="15620" y="15621"/>
                </a:lnTo>
                <a:lnTo>
                  <a:pt x="32575" y="4191"/>
                </a:lnTo>
                <a:lnTo>
                  <a:pt x="53339" y="0"/>
                </a:lnTo>
                <a:lnTo>
                  <a:pt x="74104" y="4190"/>
                </a:lnTo>
                <a:lnTo>
                  <a:pt x="91058" y="15620"/>
                </a:lnTo>
                <a:lnTo>
                  <a:pt x="102488" y="32575"/>
                </a:lnTo>
                <a:lnTo>
                  <a:pt x="106679" y="53339"/>
                </a:lnTo>
                <a:lnTo>
                  <a:pt x="106679" y="198119"/>
                </a:lnTo>
                <a:lnTo>
                  <a:pt x="102488" y="218884"/>
                </a:lnTo>
                <a:lnTo>
                  <a:pt x="91059" y="235838"/>
                </a:lnTo>
                <a:lnTo>
                  <a:pt x="74104" y="247268"/>
                </a:lnTo>
                <a:lnTo>
                  <a:pt x="53339" y="251459"/>
                </a:lnTo>
                <a:lnTo>
                  <a:pt x="32575" y="247268"/>
                </a:lnTo>
                <a:lnTo>
                  <a:pt x="15621" y="235838"/>
                </a:lnTo>
                <a:lnTo>
                  <a:pt x="4191" y="218884"/>
                </a:lnTo>
                <a:lnTo>
                  <a:pt x="0" y="198119"/>
                </a:lnTo>
                <a:lnTo>
                  <a:pt x="0" y="53339"/>
                </a:lnTo>
                <a:close/>
              </a:path>
            </a:pathLst>
          </a:custGeom>
          <a:ln w="9144">
            <a:solidFill>
              <a:srgbClr val="0D80A3"/>
            </a:solidFill>
          </a:ln>
        </p:spPr>
        <p:txBody>
          <a:bodyPr wrap="square" lIns="0" tIns="0" rIns="0" bIns="0" rtlCol="0"/>
          <a:lstStyle/>
          <a:p>
            <a:endParaRPr/>
          </a:p>
        </p:txBody>
      </p:sp>
      <p:sp>
        <p:nvSpPr>
          <p:cNvPr id="8" name="object 8"/>
          <p:cNvSpPr/>
          <p:nvPr/>
        </p:nvSpPr>
        <p:spPr>
          <a:xfrm>
            <a:off x="6312408" y="2634995"/>
            <a:ext cx="106679" cy="251459"/>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6312408" y="2634995"/>
            <a:ext cx="106680" cy="251460"/>
          </a:xfrm>
          <a:custGeom>
            <a:avLst/>
            <a:gdLst/>
            <a:ahLst/>
            <a:cxnLst/>
            <a:rect l="l" t="t" r="r" b="b"/>
            <a:pathLst>
              <a:path w="106679" h="251460">
                <a:moveTo>
                  <a:pt x="0" y="53339"/>
                </a:moveTo>
                <a:lnTo>
                  <a:pt x="4190" y="32575"/>
                </a:lnTo>
                <a:lnTo>
                  <a:pt x="15620" y="15621"/>
                </a:lnTo>
                <a:lnTo>
                  <a:pt x="32575" y="4191"/>
                </a:lnTo>
                <a:lnTo>
                  <a:pt x="53339" y="0"/>
                </a:lnTo>
                <a:lnTo>
                  <a:pt x="74104" y="4190"/>
                </a:lnTo>
                <a:lnTo>
                  <a:pt x="91058" y="15620"/>
                </a:lnTo>
                <a:lnTo>
                  <a:pt x="102488" y="32575"/>
                </a:lnTo>
                <a:lnTo>
                  <a:pt x="106679" y="53339"/>
                </a:lnTo>
                <a:lnTo>
                  <a:pt x="106679" y="198119"/>
                </a:lnTo>
                <a:lnTo>
                  <a:pt x="102488" y="218884"/>
                </a:lnTo>
                <a:lnTo>
                  <a:pt x="91059" y="235838"/>
                </a:lnTo>
                <a:lnTo>
                  <a:pt x="74104" y="247268"/>
                </a:lnTo>
                <a:lnTo>
                  <a:pt x="53339" y="251459"/>
                </a:lnTo>
                <a:lnTo>
                  <a:pt x="32575" y="247268"/>
                </a:lnTo>
                <a:lnTo>
                  <a:pt x="15621" y="235838"/>
                </a:lnTo>
                <a:lnTo>
                  <a:pt x="4191" y="218884"/>
                </a:lnTo>
                <a:lnTo>
                  <a:pt x="0" y="198119"/>
                </a:lnTo>
                <a:lnTo>
                  <a:pt x="0" y="53339"/>
                </a:lnTo>
                <a:close/>
              </a:path>
            </a:pathLst>
          </a:custGeom>
          <a:ln w="9144">
            <a:solidFill>
              <a:srgbClr val="0D80A3"/>
            </a:solidFill>
          </a:ln>
        </p:spPr>
        <p:txBody>
          <a:bodyPr wrap="square" lIns="0" tIns="0" rIns="0" bIns="0" rtlCol="0"/>
          <a:lstStyle/>
          <a:p>
            <a:endParaRPr/>
          </a:p>
        </p:txBody>
      </p:sp>
      <p:sp>
        <p:nvSpPr>
          <p:cNvPr id="10" name="object 10"/>
          <p:cNvSpPr/>
          <p:nvPr/>
        </p:nvSpPr>
        <p:spPr>
          <a:xfrm>
            <a:off x="6312408" y="2330195"/>
            <a:ext cx="573405" cy="498475"/>
          </a:xfrm>
          <a:custGeom>
            <a:avLst/>
            <a:gdLst/>
            <a:ahLst/>
            <a:cxnLst/>
            <a:rect l="l" t="t" r="r" b="b"/>
            <a:pathLst>
              <a:path w="573404" h="498475">
                <a:moveTo>
                  <a:pt x="425703" y="0"/>
                </a:moveTo>
                <a:lnTo>
                  <a:pt x="0" y="0"/>
                </a:lnTo>
                <a:lnTo>
                  <a:pt x="0" y="498348"/>
                </a:lnTo>
                <a:lnTo>
                  <a:pt x="425703" y="498348"/>
                </a:lnTo>
                <a:lnTo>
                  <a:pt x="573023" y="249174"/>
                </a:lnTo>
                <a:lnTo>
                  <a:pt x="425703" y="0"/>
                </a:lnTo>
                <a:close/>
              </a:path>
            </a:pathLst>
          </a:custGeom>
          <a:solidFill>
            <a:srgbClr val="632D8E"/>
          </a:solidFill>
        </p:spPr>
        <p:txBody>
          <a:bodyPr wrap="square" lIns="0" tIns="0" rIns="0" bIns="0" rtlCol="0"/>
          <a:lstStyle/>
          <a:p>
            <a:endParaRPr/>
          </a:p>
        </p:txBody>
      </p:sp>
      <p:sp>
        <p:nvSpPr>
          <p:cNvPr id="11" name="object 11"/>
          <p:cNvSpPr/>
          <p:nvPr/>
        </p:nvSpPr>
        <p:spPr>
          <a:xfrm>
            <a:off x="6312408" y="2330195"/>
            <a:ext cx="573405" cy="498475"/>
          </a:xfrm>
          <a:custGeom>
            <a:avLst/>
            <a:gdLst/>
            <a:ahLst/>
            <a:cxnLst/>
            <a:rect l="l" t="t" r="r" b="b"/>
            <a:pathLst>
              <a:path w="573404" h="498475">
                <a:moveTo>
                  <a:pt x="0" y="0"/>
                </a:moveTo>
                <a:lnTo>
                  <a:pt x="425703" y="0"/>
                </a:lnTo>
                <a:lnTo>
                  <a:pt x="573023" y="249174"/>
                </a:lnTo>
                <a:lnTo>
                  <a:pt x="425703" y="498348"/>
                </a:lnTo>
                <a:lnTo>
                  <a:pt x="0" y="498348"/>
                </a:lnTo>
                <a:lnTo>
                  <a:pt x="0" y="0"/>
                </a:lnTo>
                <a:close/>
              </a:path>
            </a:pathLst>
          </a:custGeom>
          <a:ln w="9144">
            <a:solidFill>
              <a:srgbClr val="FFFFFF"/>
            </a:solidFill>
          </a:ln>
        </p:spPr>
        <p:txBody>
          <a:bodyPr wrap="square" lIns="0" tIns="0" rIns="0" bIns="0" rtlCol="0"/>
          <a:lstStyle/>
          <a:p>
            <a:endParaRPr/>
          </a:p>
        </p:txBody>
      </p:sp>
      <p:sp>
        <p:nvSpPr>
          <p:cNvPr id="12" name="object 12"/>
          <p:cNvSpPr txBox="1"/>
          <p:nvPr/>
        </p:nvSpPr>
        <p:spPr>
          <a:xfrm>
            <a:off x="6392036" y="2474163"/>
            <a:ext cx="297180" cy="208915"/>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2.1</a:t>
            </a:r>
            <a:endParaRPr sz="1200">
              <a:latin typeface="Verdana"/>
              <a:cs typeface="Verdana"/>
            </a:endParaRPr>
          </a:p>
        </p:txBody>
      </p:sp>
      <p:sp>
        <p:nvSpPr>
          <p:cNvPr id="13" name="object 13"/>
          <p:cNvSpPr/>
          <p:nvPr/>
        </p:nvSpPr>
        <p:spPr>
          <a:xfrm>
            <a:off x="6312408" y="2938272"/>
            <a:ext cx="3534410" cy="612775"/>
          </a:xfrm>
          <a:custGeom>
            <a:avLst/>
            <a:gdLst/>
            <a:ahLst/>
            <a:cxnLst/>
            <a:rect l="l" t="t" r="r" b="b"/>
            <a:pathLst>
              <a:path w="3534409" h="612775">
                <a:moveTo>
                  <a:pt x="3432047" y="0"/>
                </a:moveTo>
                <a:lnTo>
                  <a:pt x="102107" y="0"/>
                </a:lnTo>
                <a:lnTo>
                  <a:pt x="62364" y="8024"/>
                </a:lnTo>
                <a:lnTo>
                  <a:pt x="29908" y="29908"/>
                </a:lnTo>
                <a:lnTo>
                  <a:pt x="8024" y="62364"/>
                </a:lnTo>
                <a:lnTo>
                  <a:pt x="0" y="102107"/>
                </a:lnTo>
                <a:lnTo>
                  <a:pt x="0" y="612648"/>
                </a:lnTo>
                <a:lnTo>
                  <a:pt x="3534156" y="612648"/>
                </a:lnTo>
                <a:lnTo>
                  <a:pt x="3534156" y="102107"/>
                </a:lnTo>
                <a:lnTo>
                  <a:pt x="3526131" y="62364"/>
                </a:lnTo>
                <a:lnTo>
                  <a:pt x="3504247" y="29908"/>
                </a:lnTo>
                <a:lnTo>
                  <a:pt x="3471791" y="8024"/>
                </a:lnTo>
                <a:lnTo>
                  <a:pt x="3432047" y="0"/>
                </a:lnTo>
                <a:close/>
              </a:path>
            </a:pathLst>
          </a:custGeom>
          <a:solidFill>
            <a:srgbClr val="632D8E"/>
          </a:solidFill>
        </p:spPr>
        <p:txBody>
          <a:bodyPr wrap="square" lIns="0" tIns="0" rIns="0" bIns="0" rtlCol="0"/>
          <a:lstStyle/>
          <a:p>
            <a:endParaRPr/>
          </a:p>
        </p:txBody>
      </p:sp>
      <p:sp>
        <p:nvSpPr>
          <p:cNvPr id="14" name="object 14"/>
          <p:cNvSpPr txBox="1"/>
          <p:nvPr/>
        </p:nvSpPr>
        <p:spPr>
          <a:xfrm>
            <a:off x="6998334" y="3139186"/>
            <a:ext cx="1965325"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Cabin Comfort</a:t>
            </a:r>
            <a:r>
              <a:rPr sz="1400" b="1" spc="-100">
                <a:solidFill>
                  <a:srgbClr val="FFFFFF"/>
                </a:solidFill>
                <a:latin typeface="Verdana"/>
                <a:cs typeface="Verdana"/>
              </a:rPr>
              <a:t> </a:t>
            </a:r>
            <a:r>
              <a:rPr sz="1400" b="1">
                <a:solidFill>
                  <a:srgbClr val="FFFFFF"/>
                </a:solidFill>
                <a:latin typeface="Verdana"/>
                <a:cs typeface="Verdana"/>
              </a:rPr>
              <a:t>(CC)</a:t>
            </a:r>
            <a:endParaRPr sz="1400">
              <a:latin typeface="Verdana"/>
              <a:cs typeface="Verdana"/>
            </a:endParaRPr>
          </a:p>
        </p:txBody>
      </p:sp>
      <p:sp>
        <p:nvSpPr>
          <p:cNvPr id="15" name="object 15"/>
          <p:cNvSpPr/>
          <p:nvPr/>
        </p:nvSpPr>
        <p:spPr>
          <a:xfrm>
            <a:off x="6312408" y="2938272"/>
            <a:ext cx="112775" cy="251460"/>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6312408" y="2938272"/>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7"/>
                </a:lnTo>
                <a:close/>
              </a:path>
            </a:pathLst>
          </a:custGeom>
          <a:ln w="9144">
            <a:solidFill>
              <a:srgbClr val="0D80A3"/>
            </a:solidFill>
          </a:ln>
        </p:spPr>
        <p:txBody>
          <a:bodyPr wrap="square" lIns="0" tIns="0" rIns="0" bIns="0" rtlCol="0"/>
          <a:lstStyle/>
          <a:p>
            <a:endParaRPr/>
          </a:p>
        </p:txBody>
      </p:sp>
      <p:sp>
        <p:nvSpPr>
          <p:cNvPr id="17" name="object 17"/>
          <p:cNvSpPr/>
          <p:nvPr/>
        </p:nvSpPr>
        <p:spPr>
          <a:xfrm>
            <a:off x="6312408" y="3299459"/>
            <a:ext cx="112775" cy="251460"/>
          </a:xfrm>
          <a:prstGeom prst="rect">
            <a:avLst/>
          </a:prstGeom>
          <a:blipFill>
            <a:blip r:embed="rId3" cstate="print"/>
            <a:stretch>
              <a:fillRect/>
            </a:stretch>
          </a:blipFill>
        </p:spPr>
        <p:txBody>
          <a:bodyPr wrap="square" lIns="0" tIns="0" rIns="0" bIns="0" rtlCol="0"/>
          <a:lstStyle/>
          <a:p>
            <a:endParaRPr/>
          </a:p>
        </p:txBody>
      </p:sp>
      <p:sp>
        <p:nvSpPr>
          <p:cNvPr id="18" name="object 18"/>
          <p:cNvSpPr/>
          <p:nvPr/>
        </p:nvSpPr>
        <p:spPr>
          <a:xfrm>
            <a:off x="6312408" y="3299459"/>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7"/>
                </a:lnTo>
                <a:close/>
              </a:path>
            </a:pathLst>
          </a:custGeom>
          <a:ln w="9144">
            <a:solidFill>
              <a:srgbClr val="0D80A3"/>
            </a:solidFill>
          </a:ln>
        </p:spPr>
        <p:txBody>
          <a:bodyPr wrap="square" lIns="0" tIns="0" rIns="0" bIns="0" rtlCol="0"/>
          <a:lstStyle/>
          <a:p>
            <a:endParaRPr/>
          </a:p>
        </p:txBody>
      </p:sp>
      <p:sp>
        <p:nvSpPr>
          <p:cNvPr id="19" name="object 19"/>
          <p:cNvSpPr/>
          <p:nvPr/>
        </p:nvSpPr>
        <p:spPr>
          <a:xfrm>
            <a:off x="6312408" y="2996183"/>
            <a:ext cx="607060" cy="497205"/>
          </a:xfrm>
          <a:custGeom>
            <a:avLst/>
            <a:gdLst/>
            <a:ahLst/>
            <a:cxnLst/>
            <a:rect l="l" t="t" r="r" b="b"/>
            <a:pathLst>
              <a:path w="607059" h="497204">
                <a:moveTo>
                  <a:pt x="459613" y="0"/>
                </a:moveTo>
                <a:lnTo>
                  <a:pt x="0" y="0"/>
                </a:lnTo>
                <a:lnTo>
                  <a:pt x="0" y="496824"/>
                </a:lnTo>
                <a:lnTo>
                  <a:pt x="459613" y="496824"/>
                </a:lnTo>
                <a:lnTo>
                  <a:pt x="606551" y="248412"/>
                </a:lnTo>
                <a:lnTo>
                  <a:pt x="459613" y="0"/>
                </a:lnTo>
                <a:close/>
              </a:path>
            </a:pathLst>
          </a:custGeom>
          <a:solidFill>
            <a:srgbClr val="632D8E"/>
          </a:solidFill>
        </p:spPr>
        <p:txBody>
          <a:bodyPr wrap="square" lIns="0" tIns="0" rIns="0" bIns="0" rtlCol="0"/>
          <a:lstStyle/>
          <a:p>
            <a:endParaRPr/>
          </a:p>
        </p:txBody>
      </p:sp>
      <p:sp>
        <p:nvSpPr>
          <p:cNvPr id="20" name="object 20"/>
          <p:cNvSpPr/>
          <p:nvPr/>
        </p:nvSpPr>
        <p:spPr>
          <a:xfrm>
            <a:off x="6312408" y="2996183"/>
            <a:ext cx="607060" cy="497205"/>
          </a:xfrm>
          <a:custGeom>
            <a:avLst/>
            <a:gdLst/>
            <a:ahLst/>
            <a:cxnLst/>
            <a:rect l="l" t="t" r="r" b="b"/>
            <a:pathLst>
              <a:path w="607059" h="497204">
                <a:moveTo>
                  <a:pt x="0" y="0"/>
                </a:moveTo>
                <a:lnTo>
                  <a:pt x="459613" y="0"/>
                </a:lnTo>
                <a:lnTo>
                  <a:pt x="606551" y="248412"/>
                </a:lnTo>
                <a:lnTo>
                  <a:pt x="459613" y="496824"/>
                </a:lnTo>
                <a:lnTo>
                  <a:pt x="0" y="496824"/>
                </a:lnTo>
                <a:lnTo>
                  <a:pt x="0" y="0"/>
                </a:lnTo>
                <a:close/>
              </a:path>
            </a:pathLst>
          </a:custGeom>
          <a:ln w="9144">
            <a:solidFill>
              <a:srgbClr val="FFFFFF"/>
            </a:solidFill>
          </a:ln>
        </p:spPr>
        <p:txBody>
          <a:bodyPr wrap="square" lIns="0" tIns="0" rIns="0" bIns="0" rtlCol="0"/>
          <a:lstStyle/>
          <a:p>
            <a:endParaRPr/>
          </a:p>
        </p:txBody>
      </p:sp>
      <p:sp>
        <p:nvSpPr>
          <p:cNvPr id="21" name="object 21"/>
          <p:cNvSpPr txBox="1"/>
          <p:nvPr/>
        </p:nvSpPr>
        <p:spPr>
          <a:xfrm>
            <a:off x="6392036" y="3139566"/>
            <a:ext cx="29718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2.2</a:t>
            </a:r>
            <a:endParaRPr sz="1200">
              <a:latin typeface="Verdana"/>
              <a:cs typeface="Verdana"/>
            </a:endParaRPr>
          </a:p>
        </p:txBody>
      </p:sp>
      <p:sp>
        <p:nvSpPr>
          <p:cNvPr id="22" name="object 22"/>
          <p:cNvSpPr/>
          <p:nvPr/>
        </p:nvSpPr>
        <p:spPr>
          <a:xfrm>
            <a:off x="6323076" y="3601211"/>
            <a:ext cx="3534410" cy="614680"/>
          </a:xfrm>
          <a:custGeom>
            <a:avLst/>
            <a:gdLst/>
            <a:ahLst/>
            <a:cxnLst/>
            <a:rect l="l" t="t" r="r" b="b"/>
            <a:pathLst>
              <a:path w="3534409" h="614679">
                <a:moveTo>
                  <a:pt x="3431794" y="0"/>
                </a:moveTo>
                <a:lnTo>
                  <a:pt x="102362" y="0"/>
                </a:lnTo>
                <a:lnTo>
                  <a:pt x="62525" y="8046"/>
                </a:lnTo>
                <a:lnTo>
                  <a:pt x="29987" y="29987"/>
                </a:lnTo>
                <a:lnTo>
                  <a:pt x="8046" y="62525"/>
                </a:lnTo>
                <a:lnTo>
                  <a:pt x="0" y="102362"/>
                </a:lnTo>
                <a:lnTo>
                  <a:pt x="0" y="614171"/>
                </a:lnTo>
                <a:lnTo>
                  <a:pt x="3534155" y="614171"/>
                </a:lnTo>
                <a:lnTo>
                  <a:pt x="3534155" y="102362"/>
                </a:lnTo>
                <a:lnTo>
                  <a:pt x="3526109" y="62525"/>
                </a:lnTo>
                <a:lnTo>
                  <a:pt x="3504168" y="29987"/>
                </a:lnTo>
                <a:lnTo>
                  <a:pt x="3471630" y="8046"/>
                </a:lnTo>
                <a:lnTo>
                  <a:pt x="3431794" y="0"/>
                </a:lnTo>
                <a:close/>
              </a:path>
            </a:pathLst>
          </a:custGeom>
          <a:solidFill>
            <a:srgbClr val="632D8E"/>
          </a:solidFill>
        </p:spPr>
        <p:txBody>
          <a:bodyPr wrap="square" lIns="0" tIns="0" rIns="0" bIns="0" rtlCol="0"/>
          <a:lstStyle/>
          <a:p>
            <a:endParaRPr/>
          </a:p>
        </p:txBody>
      </p:sp>
      <p:sp>
        <p:nvSpPr>
          <p:cNvPr id="23" name="object 23"/>
          <p:cNvSpPr txBox="1"/>
          <p:nvPr/>
        </p:nvSpPr>
        <p:spPr>
          <a:xfrm>
            <a:off x="6948043" y="3803141"/>
            <a:ext cx="2345055" cy="239395"/>
          </a:xfrm>
          <a:prstGeom prst="rect">
            <a:avLst/>
          </a:prstGeom>
        </p:spPr>
        <p:txBody>
          <a:bodyPr vert="horz" wrap="square" lIns="0" tIns="12700" rIns="0" bIns="0" rtlCol="0">
            <a:spAutoFit/>
          </a:bodyPr>
          <a:lstStyle/>
          <a:p>
            <a:pPr marL="12700">
              <a:lnSpc>
                <a:spcPct val="100000"/>
              </a:lnSpc>
              <a:spcBef>
                <a:spcPts val="100"/>
              </a:spcBef>
            </a:pPr>
            <a:r>
              <a:rPr sz="1400" b="1">
                <a:solidFill>
                  <a:srgbClr val="FFFFFF"/>
                </a:solidFill>
                <a:latin typeface="Verdana"/>
                <a:cs typeface="Verdana"/>
              </a:rPr>
              <a:t>Thermal </a:t>
            </a:r>
            <a:r>
              <a:rPr sz="1400" b="1" spc="-5">
                <a:solidFill>
                  <a:srgbClr val="FFFFFF"/>
                </a:solidFill>
                <a:latin typeface="Verdana"/>
                <a:cs typeface="Verdana"/>
              </a:rPr>
              <a:t>Solutions</a:t>
            </a:r>
            <a:r>
              <a:rPr sz="1400" b="1" spc="-60">
                <a:solidFill>
                  <a:srgbClr val="FFFFFF"/>
                </a:solidFill>
                <a:latin typeface="Verdana"/>
                <a:cs typeface="Verdana"/>
              </a:rPr>
              <a:t> </a:t>
            </a:r>
            <a:r>
              <a:rPr sz="1400" b="1">
                <a:solidFill>
                  <a:srgbClr val="FFFFFF"/>
                </a:solidFill>
                <a:latin typeface="Verdana"/>
                <a:cs typeface="Verdana"/>
              </a:rPr>
              <a:t>(TS)</a:t>
            </a:r>
            <a:endParaRPr sz="1400">
              <a:latin typeface="Verdana"/>
              <a:cs typeface="Verdana"/>
            </a:endParaRPr>
          </a:p>
        </p:txBody>
      </p:sp>
      <p:sp>
        <p:nvSpPr>
          <p:cNvPr id="24" name="object 24"/>
          <p:cNvSpPr txBox="1"/>
          <p:nvPr/>
        </p:nvSpPr>
        <p:spPr>
          <a:xfrm>
            <a:off x="3094482" y="3309873"/>
            <a:ext cx="2392045" cy="574040"/>
          </a:xfrm>
          <a:prstGeom prst="rect">
            <a:avLst/>
          </a:prstGeom>
        </p:spPr>
        <p:txBody>
          <a:bodyPr vert="horz" wrap="square" lIns="0" tIns="12700" rIns="0" bIns="0" rtlCol="0">
            <a:spAutoFit/>
          </a:bodyPr>
          <a:lstStyle/>
          <a:p>
            <a:pPr marL="243840" marR="5080" indent="-231775">
              <a:lnSpc>
                <a:spcPct val="100000"/>
              </a:lnSpc>
              <a:spcBef>
                <a:spcPts val="100"/>
              </a:spcBef>
            </a:pPr>
            <a:r>
              <a:rPr sz="1800">
                <a:solidFill>
                  <a:srgbClr val="FFFFFF"/>
                </a:solidFill>
                <a:latin typeface="Verdana"/>
                <a:cs typeface="Verdana"/>
              </a:rPr>
              <a:t>Salesforce </a:t>
            </a:r>
            <a:r>
              <a:rPr sz="1800" spc="-10">
                <a:solidFill>
                  <a:srgbClr val="FFFFFF"/>
                </a:solidFill>
                <a:latin typeface="Verdana"/>
                <a:cs typeface="Verdana"/>
              </a:rPr>
              <a:t>Rollout</a:t>
            </a:r>
            <a:r>
              <a:rPr sz="1800" spc="-80">
                <a:solidFill>
                  <a:srgbClr val="FFFFFF"/>
                </a:solidFill>
                <a:latin typeface="Verdana"/>
                <a:cs typeface="Verdana"/>
              </a:rPr>
              <a:t> </a:t>
            </a:r>
            <a:r>
              <a:rPr sz="1800" spc="-5">
                <a:solidFill>
                  <a:srgbClr val="FFFFFF"/>
                </a:solidFill>
                <a:latin typeface="Verdana"/>
                <a:cs typeface="Verdana"/>
              </a:rPr>
              <a:t>to  </a:t>
            </a:r>
            <a:r>
              <a:rPr sz="1800">
                <a:solidFill>
                  <a:srgbClr val="FFFFFF"/>
                </a:solidFill>
                <a:latin typeface="Verdana"/>
                <a:cs typeface="Verdana"/>
              </a:rPr>
              <a:t>remaining 4</a:t>
            </a:r>
            <a:r>
              <a:rPr sz="1800" spc="-45">
                <a:solidFill>
                  <a:srgbClr val="FFFFFF"/>
                </a:solidFill>
                <a:latin typeface="Verdana"/>
                <a:cs typeface="Verdana"/>
              </a:rPr>
              <a:t> </a:t>
            </a:r>
            <a:r>
              <a:rPr sz="1800">
                <a:solidFill>
                  <a:srgbClr val="FFFFFF"/>
                </a:solidFill>
                <a:latin typeface="Verdana"/>
                <a:cs typeface="Verdana"/>
              </a:rPr>
              <a:t>BUs</a:t>
            </a:r>
            <a:endParaRPr sz="1800">
              <a:latin typeface="Verdana"/>
              <a:cs typeface="Verdana"/>
            </a:endParaRPr>
          </a:p>
        </p:txBody>
      </p:sp>
      <p:sp>
        <p:nvSpPr>
          <p:cNvPr id="25" name="object 25"/>
          <p:cNvSpPr/>
          <p:nvPr/>
        </p:nvSpPr>
        <p:spPr>
          <a:xfrm>
            <a:off x="6312408" y="3614928"/>
            <a:ext cx="112775" cy="251460"/>
          </a:xfrm>
          <a:prstGeom prst="rect">
            <a:avLst/>
          </a:prstGeom>
          <a:blipFill>
            <a:blip r:embed="rId3" cstate="print"/>
            <a:stretch>
              <a:fillRect/>
            </a:stretch>
          </a:blipFill>
        </p:spPr>
        <p:txBody>
          <a:bodyPr wrap="square" lIns="0" tIns="0" rIns="0" bIns="0" rtlCol="0"/>
          <a:lstStyle/>
          <a:p>
            <a:endParaRPr/>
          </a:p>
        </p:txBody>
      </p:sp>
      <p:sp>
        <p:nvSpPr>
          <p:cNvPr id="26" name="object 26"/>
          <p:cNvSpPr/>
          <p:nvPr/>
        </p:nvSpPr>
        <p:spPr>
          <a:xfrm>
            <a:off x="6312408" y="3614928"/>
            <a:ext cx="113030" cy="251460"/>
          </a:xfrm>
          <a:custGeom>
            <a:avLst/>
            <a:gdLst/>
            <a:ahLst/>
            <a:cxnLst/>
            <a:rect l="l" t="t" r="r" b="b"/>
            <a:pathLst>
              <a:path w="113029" h="251460">
                <a:moveTo>
                  <a:pt x="0" y="56388"/>
                </a:moveTo>
                <a:lnTo>
                  <a:pt x="4435" y="34450"/>
                </a:lnTo>
                <a:lnTo>
                  <a:pt x="16525" y="16525"/>
                </a:lnTo>
                <a:lnTo>
                  <a:pt x="34450" y="4435"/>
                </a:lnTo>
                <a:lnTo>
                  <a:pt x="56387" y="0"/>
                </a:lnTo>
                <a:lnTo>
                  <a:pt x="78325" y="4435"/>
                </a:lnTo>
                <a:lnTo>
                  <a:pt x="96250" y="16525"/>
                </a:lnTo>
                <a:lnTo>
                  <a:pt x="108340" y="34450"/>
                </a:lnTo>
                <a:lnTo>
                  <a:pt x="112775" y="56388"/>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8"/>
                </a:lnTo>
                <a:close/>
              </a:path>
            </a:pathLst>
          </a:custGeom>
          <a:ln w="9144">
            <a:solidFill>
              <a:srgbClr val="0D80A3"/>
            </a:solidFill>
          </a:ln>
        </p:spPr>
        <p:txBody>
          <a:bodyPr wrap="square" lIns="0" tIns="0" rIns="0" bIns="0" rtlCol="0"/>
          <a:lstStyle/>
          <a:p>
            <a:endParaRPr/>
          </a:p>
        </p:txBody>
      </p:sp>
      <p:sp>
        <p:nvSpPr>
          <p:cNvPr id="27" name="object 27"/>
          <p:cNvSpPr/>
          <p:nvPr/>
        </p:nvSpPr>
        <p:spPr>
          <a:xfrm>
            <a:off x="6312408" y="3976115"/>
            <a:ext cx="112775" cy="251459"/>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6312408" y="3976115"/>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1"/>
                </a:lnTo>
                <a:lnTo>
                  <a:pt x="108340" y="217009"/>
                </a:lnTo>
                <a:lnTo>
                  <a:pt x="96250" y="234934"/>
                </a:lnTo>
                <a:lnTo>
                  <a:pt x="78325" y="247024"/>
                </a:lnTo>
                <a:lnTo>
                  <a:pt x="56387" y="251459"/>
                </a:lnTo>
                <a:lnTo>
                  <a:pt x="34450" y="247024"/>
                </a:lnTo>
                <a:lnTo>
                  <a:pt x="16525" y="234934"/>
                </a:lnTo>
                <a:lnTo>
                  <a:pt x="4435" y="217009"/>
                </a:lnTo>
                <a:lnTo>
                  <a:pt x="0" y="195071"/>
                </a:lnTo>
                <a:lnTo>
                  <a:pt x="0" y="56387"/>
                </a:lnTo>
                <a:close/>
              </a:path>
            </a:pathLst>
          </a:custGeom>
          <a:ln w="9144">
            <a:solidFill>
              <a:srgbClr val="0D80A3"/>
            </a:solidFill>
          </a:ln>
        </p:spPr>
        <p:txBody>
          <a:bodyPr wrap="square" lIns="0" tIns="0" rIns="0" bIns="0" rtlCol="0"/>
          <a:lstStyle/>
          <a:p>
            <a:endParaRPr/>
          </a:p>
        </p:txBody>
      </p:sp>
      <p:sp>
        <p:nvSpPr>
          <p:cNvPr id="29" name="object 29"/>
          <p:cNvSpPr/>
          <p:nvPr/>
        </p:nvSpPr>
        <p:spPr>
          <a:xfrm>
            <a:off x="6312408" y="3671315"/>
            <a:ext cx="607060" cy="498475"/>
          </a:xfrm>
          <a:custGeom>
            <a:avLst/>
            <a:gdLst/>
            <a:ahLst/>
            <a:cxnLst/>
            <a:rect l="l" t="t" r="r" b="b"/>
            <a:pathLst>
              <a:path w="607059" h="498475">
                <a:moveTo>
                  <a:pt x="459232" y="0"/>
                </a:moveTo>
                <a:lnTo>
                  <a:pt x="0" y="0"/>
                </a:lnTo>
                <a:lnTo>
                  <a:pt x="0" y="498347"/>
                </a:lnTo>
                <a:lnTo>
                  <a:pt x="459232" y="498347"/>
                </a:lnTo>
                <a:lnTo>
                  <a:pt x="606551" y="249173"/>
                </a:lnTo>
                <a:lnTo>
                  <a:pt x="459232" y="0"/>
                </a:lnTo>
                <a:close/>
              </a:path>
            </a:pathLst>
          </a:custGeom>
          <a:solidFill>
            <a:srgbClr val="632D8E"/>
          </a:solidFill>
        </p:spPr>
        <p:txBody>
          <a:bodyPr wrap="square" lIns="0" tIns="0" rIns="0" bIns="0" rtlCol="0"/>
          <a:lstStyle/>
          <a:p>
            <a:endParaRPr/>
          </a:p>
        </p:txBody>
      </p:sp>
      <p:sp>
        <p:nvSpPr>
          <p:cNvPr id="30" name="object 30"/>
          <p:cNvSpPr/>
          <p:nvPr/>
        </p:nvSpPr>
        <p:spPr>
          <a:xfrm>
            <a:off x="6312408" y="3671315"/>
            <a:ext cx="607060" cy="498475"/>
          </a:xfrm>
          <a:custGeom>
            <a:avLst/>
            <a:gdLst/>
            <a:ahLst/>
            <a:cxnLst/>
            <a:rect l="l" t="t" r="r" b="b"/>
            <a:pathLst>
              <a:path w="607059" h="498475">
                <a:moveTo>
                  <a:pt x="0" y="0"/>
                </a:moveTo>
                <a:lnTo>
                  <a:pt x="459232" y="0"/>
                </a:lnTo>
                <a:lnTo>
                  <a:pt x="606551" y="249173"/>
                </a:lnTo>
                <a:lnTo>
                  <a:pt x="459232" y="498347"/>
                </a:lnTo>
                <a:lnTo>
                  <a:pt x="0" y="498347"/>
                </a:lnTo>
                <a:lnTo>
                  <a:pt x="0" y="0"/>
                </a:lnTo>
                <a:close/>
              </a:path>
            </a:pathLst>
          </a:custGeom>
          <a:ln w="9144">
            <a:solidFill>
              <a:srgbClr val="FFFFFF"/>
            </a:solidFill>
          </a:ln>
        </p:spPr>
        <p:txBody>
          <a:bodyPr wrap="square" lIns="0" tIns="0" rIns="0" bIns="0" rtlCol="0"/>
          <a:lstStyle/>
          <a:p>
            <a:endParaRPr/>
          </a:p>
        </p:txBody>
      </p:sp>
      <p:sp>
        <p:nvSpPr>
          <p:cNvPr id="31" name="object 31"/>
          <p:cNvSpPr txBox="1"/>
          <p:nvPr/>
        </p:nvSpPr>
        <p:spPr>
          <a:xfrm>
            <a:off x="6392036" y="3816222"/>
            <a:ext cx="29718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2.3</a:t>
            </a:r>
            <a:endParaRPr sz="1200">
              <a:latin typeface="Verdana"/>
              <a:cs typeface="Verdana"/>
            </a:endParaRPr>
          </a:p>
        </p:txBody>
      </p:sp>
      <p:sp>
        <p:nvSpPr>
          <p:cNvPr id="32" name="object 32"/>
          <p:cNvSpPr/>
          <p:nvPr/>
        </p:nvSpPr>
        <p:spPr>
          <a:xfrm>
            <a:off x="1749551" y="2057400"/>
            <a:ext cx="574675" cy="541020"/>
          </a:xfrm>
          <a:custGeom>
            <a:avLst/>
            <a:gdLst/>
            <a:ahLst/>
            <a:cxnLst/>
            <a:rect l="l" t="t" r="r" b="b"/>
            <a:pathLst>
              <a:path w="574675" h="541019">
                <a:moveTo>
                  <a:pt x="287274" y="0"/>
                </a:moveTo>
                <a:lnTo>
                  <a:pt x="237150" y="5224"/>
                </a:lnTo>
                <a:lnTo>
                  <a:pt x="189353" y="18243"/>
                </a:lnTo>
                <a:lnTo>
                  <a:pt x="144836" y="38372"/>
                </a:lnTo>
                <a:lnTo>
                  <a:pt x="104552" y="64930"/>
                </a:lnTo>
                <a:lnTo>
                  <a:pt x="69455" y="97234"/>
                </a:lnTo>
                <a:lnTo>
                  <a:pt x="40498" y="134601"/>
                </a:lnTo>
                <a:lnTo>
                  <a:pt x="18635" y="176348"/>
                </a:lnTo>
                <a:lnTo>
                  <a:pt x="4817" y="221794"/>
                </a:lnTo>
                <a:lnTo>
                  <a:pt x="0" y="270255"/>
                </a:lnTo>
                <a:lnTo>
                  <a:pt x="3404" y="314362"/>
                </a:lnTo>
                <a:lnTo>
                  <a:pt x="13380" y="356591"/>
                </a:lnTo>
                <a:lnTo>
                  <a:pt x="29575" y="396223"/>
                </a:lnTo>
                <a:lnTo>
                  <a:pt x="51633" y="432539"/>
                </a:lnTo>
                <a:lnTo>
                  <a:pt x="79200" y="464820"/>
                </a:lnTo>
                <a:lnTo>
                  <a:pt x="111922" y="492345"/>
                </a:lnTo>
                <a:lnTo>
                  <a:pt x="149445" y="514396"/>
                </a:lnTo>
                <a:lnTo>
                  <a:pt x="191414" y="530254"/>
                </a:lnTo>
                <a:lnTo>
                  <a:pt x="237475" y="539199"/>
                </a:lnTo>
                <a:lnTo>
                  <a:pt x="287274" y="540512"/>
                </a:lnTo>
                <a:lnTo>
                  <a:pt x="329570" y="533585"/>
                </a:lnTo>
                <a:lnTo>
                  <a:pt x="373209" y="519671"/>
                </a:lnTo>
                <a:lnTo>
                  <a:pt x="416503" y="499288"/>
                </a:lnTo>
                <a:lnTo>
                  <a:pt x="457765" y="472957"/>
                </a:lnTo>
                <a:lnTo>
                  <a:pt x="495308" y="441197"/>
                </a:lnTo>
                <a:lnTo>
                  <a:pt x="527445" y="404527"/>
                </a:lnTo>
                <a:lnTo>
                  <a:pt x="552488" y="363468"/>
                </a:lnTo>
                <a:lnTo>
                  <a:pt x="568751" y="318537"/>
                </a:lnTo>
                <a:lnTo>
                  <a:pt x="574548" y="270255"/>
                </a:lnTo>
                <a:lnTo>
                  <a:pt x="571099" y="226406"/>
                </a:lnTo>
                <a:lnTo>
                  <a:pt x="561008" y="184773"/>
                </a:lnTo>
                <a:lnTo>
                  <a:pt x="544660" y="145928"/>
                </a:lnTo>
                <a:lnTo>
                  <a:pt x="522439" y="110441"/>
                </a:lnTo>
                <a:lnTo>
                  <a:pt x="494728" y="78882"/>
                </a:lnTo>
                <a:lnTo>
                  <a:pt x="461912" y="51824"/>
                </a:lnTo>
                <a:lnTo>
                  <a:pt x="424374" y="29835"/>
                </a:lnTo>
                <a:lnTo>
                  <a:pt x="382499" y="13488"/>
                </a:lnTo>
                <a:lnTo>
                  <a:pt x="336671" y="3352"/>
                </a:lnTo>
                <a:lnTo>
                  <a:pt x="287274" y="0"/>
                </a:lnTo>
                <a:close/>
              </a:path>
            </a:pathLst>
          </a:custGeom>
          <a:solidFill>
            <a:srgbClr val="632D8E"/>
          </a:solidFill>
        </p:spPr>
        <p:txBody>
          <a:bodyPr wrap="square" lIns="0" tIns="0" rIns="0" bIns="0" rtlCol="0"/>
          <a:lstStyle/>
          <a:p>
            <a:endParaRPr/>
          </a:p>
        </p:txBody>
      </p:sp>
      <p:sp>
        <p:nvSpPr>
          <p:cNvPr id="33" name="object 33"/>
          <p:cNvSpPr txBox="1"/>
          <p:nvPr/>
        </p:nvSpPr>
        <p:spPr>
          <a:xfrm>
            <a:off x="1960245" y="2207768"/>
            <a:ext cx="15240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2</a:t>
            </a:r>
            <a:endParaRPr sz="1400">
              <a:latin typeface="Verdana"/>
              <a:cs typeface="Verdana"/>
            </a:endParaRPr>
          </a:p>
        </p:txBody>
      </p:sp>
      <p:sp>
        <p:nvSpPr>
          <p:cNvPr id="34" name="object 34"/>
          <p:cNvSpPr/>
          <p:nvPr/>
        </p:nvSpPr>
        <p:spPr>
          <a:xfrm>
            <a:off x="6312408" y="4338828"/>
            <a:ext cx="3534410" cy="612775"/>
          </a:xfrm>
          <a:custGeom>
            <a:avLst/>
            <a:gdLst/>
            <a:ahLst/>
            <a:cxnLst/>
            <a:rect l="l" t="t" r="r" b="b"/>
            <a:pathLst>
              <a:path w="3534409" h="612775">
                <a:moveTo>
                  <a:pt x="3432047" y="0"/>
                </a:moveTo>
                <a:lnTo>
                  <a:pt x="102107" y="0"/>
                </a:lnTo>
                <a:lnTo>
                  <a:pt x="62364" y="8024"/>
                </a:lnTo>
                <a:lnTo>
                  <a:pt x="29908" y="29908"/>
                </a:lnTo>
                <a:lnTo>
                  <a:pt x="8024" y="62364"/>
                </a:lnTo>
                <a:lnTo>
                  <a:pt x="0" y="102108"/>
                </a:lnTo>
                <a:lnTo>
                  <a:pt x="0" y="612648"/>
                </a:lnTo>
                <a:lnTo>
                  <a:pt x="3534156" y="612648"/>
                </a:lnTo>
                <a:lnTo>
                  <a:pt x="3534156" y="102108"/>
                </a:lnTo>
                <a:lnTo>
                  <a:pt x="3526131" y="62364"/>
                </a:lnTo>
                <a:lnTo>
                  <a:pt x="3504247" y="29908"/>
                </a:lnTo>
                <a:lnTo>
                  <a:pt x="3471791" y="8024"/>
                </a:lnTo>
                <a:lnTo>
                  <a:pt x="3432047" y="0"/>
                </a:lnTo>
                <a:close/>
              </a:path>
            </a:pathLst>
          </a:custGeom>
          <a:solidFill>
            <a:srgbClr val="632D8E"/>
          </a:solidFill>
        </p:spPr>
        <p:txBody>
          <a:bodyPr wrap="square" lIns="0" tIns="0" rIns="0" bIns="0" rtlCol="0"/>
          <a:lstStyle/>
          <a:p>
            <a:endParaRPr/>
          </a:p>
        </p:txBody>
      </p:sp>
      <p:sp>
        <p:nvSpPr>
          <p:cNvPr id="35" name="object 35"/>
          <p:cNvSpPr txBox="1"/>
          <p:nvPr/>
        </p:nvSpPr>
        <p:spPr>
          <a:xfrm>
            <a:off x="7118731" y="4539818"/>
            <a:ext cx="2441575" cy="240029"/>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Interior Experience</a:t>
            </a:r>
            <a:r>
              <a:rPr sz="1400" b="1" spc="-65">
                <a:solidFill>
                  <a:srgbClr val="FFFFFF"/>
                </a:solidFill>
                <a:latin typeface="Verdana"/>
                <a:cs typeface="Verdana"/>
              </a:rPr>
              <a:t> </a:t>
            </a:r>
            <a:r>
              <a:rPr sz="1400" b="1">
                <a:solidFill>
                  <a:srgbClr val="FFFFFF"/>
                </a:solidFill>
                <a:latin typeface="Verdana"/>
                <a:cs typeface="Verdana"/>
              </a:rPr>
              <a:t>(IE)</a:t>
            </a:r>
            <a:endParaRPr sz="1400">
              <a:latin typeface="Verdana"/>
              <a:cs typeface="Verdana"/>
            </a:endParaRPr>
          </a:p>
        </p:txBody>
      </p:sp>
      <p:sp>
        <p:nvSpPr>
          <p:cNvPr id="36" name="object 36"/>
          <p:cNvSpPr/>
          <p:nvPr/>
        </p:nvSpPr>
        <p:spPr>
          <a:xfrm>
            <a:off x="6301740" y="4351020"/>
            <a:ext cx="112775" cy="251460"/>
          </a:xfrm>
          <a:prstGeom prst="rect">
            <a:avLst/>
          </a:prstGeom>
          <a:blipFill>
            <a:blip r:embed="rId4" cstate="print"/>
            <a:stretch>
              <a:fillRect/>
            </a:stretch>
          </a:blipFill>
        </p:spPr>
        <p:txBody>
          <a:bodyPr wrap="square" lIns="0" tIns="0" rIns="0" bIns="0" rtlCol="0"/>
          <a:lstStyle/>
          <a:p>
            <a:endParaRPr/>
          </a:p>
        </p:txBody>
      </p:sp>
      <p:sp>
        <p:nvSpPr>
          <p:cNvPr id="37" name="object 37"/>
          <p:cNvSpPr/>
          <p:nvPr/>
        </p:nvSpPr>
        <p:spPr>
          <a:xfrm>
            <a:off x="6301740" y="4351020"/>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1"/>
                </a:lnTo>
                <a:lnTo>
                  <a:pt x="108340" y="217009"/>
                </a:lnTo>
                <a:lnTo>
                  <a:pt x="96250" y="234934"/>
                </a:lnTo>
                <a:lnTo>
                  <a:pt x="78325" y="247024"/>
                </a:lnTo>
                <a:lnTo>
                  <a:pt x="56387" y="251459"/>
                </a:lnTo>
                <a:lnTo>
                  <a:pt x="34450" y="247024"/>
                </a:lnTo>
                <a:lnTo>
                  <a:pt x="16525" y="234934"/>
                </a:lnTo>
                <a:lnTo>
                  <a:pt x="4435" y="217009"/>
                </a:lnTo>
                <a:lnTo>
                  <a:pt x="0" y="195071"/>
                </a:lnTo>
                <a:lnTo>
                  <a:pt x="0" y="56387"/>
                </a:lnTo>
                <a:close/>
              </a:path>
            </a:pathLst>
          </a:custGeom>
          <a:ln w="9144">
            <a:solidFill>
              <a:srgbClr val="0D80A3"/>
            </a:solidFill>
          </a:ln>
        </p:spPr>
        <p:txBody>
          <a:bodyPr wrap="square" lIns="0" tIns="0" rIns="0" bIns="0" rtlCol="0"/>
          <a:lstStyle/>
          <a:p>
            <a:endParaRPr/>
          </a:p>
        </p:txBody>
      </p:sp>
      <p:sp>
        <p:nvSpPr>
          <p:cNvPr id="38" name="object 38"/>
          <p:cNvSpPr/>
          <p:nvPr/>
        </p:nvSpPr>
        <p:spPr>
          <a:xfrm>
            <a:off x="6301740" y="4712208"/>
            <a:ext cx="112775" cy="251460"/>
          </a:xfrm>
          <a:prstGeom prst="rect">
            <a:avLst/>
          </a:prstGeom>
          <a:blipFill>
            <a:blip r:embed="rId3" cstate="print"/>
            <a:stretch>
              <a:fillRect/>
            </a:stretch>
          </a:blipFill>
        </p:spPr>
        <p:txBody>
          <a:bodyPr wrap="square" lIns="0" tIns="0" rIns="0" bIns="0" rtlCol="0"/>
          <a:lstStyle/>
          <a:p>
            <a:endParaRPr/>
          </a:p>
        </p:txBody>
      </p:sp>
      <p:sp>
        <p:nvSpPr>
          <p:cNvPr id="39" name="object 39"/>
          <p:cNvSpPr/>
          <p:nvPr/>
        </p:nvSpPr>
        <p:spPr>
          <a:xfrm>
            <a:off x="6301740" y="4712208"/>
            <a:ext cx="113030" cy="251460"/>
          </a:xfrm>
          <a:custGeom>
            <a:avLst/>
            <a:gdLst/>
            <a:ahLst/>
            <a:cxnLst/>
            <a:rect l="l" t="t" r="r" b="b"/>
            <a:pathLst>
              <a:path w="113029" h="251460">
                <a:moveTo>
                  <a:pt x="0" y="56388"/>
                </a:moveTo>
                <a:lnTo>
                  <a:pt x="4435" y="34450"/>
                </a:lnTo>
                <a:lnTo>
                  <a:pt x="16525" y="16525"/>
                </a:lnTo>
                <a:lnTo>
                  <a:pt x="34450" y="4435"/>
                </a:lnTo>
                <a:lnTo>
                  <a:pt x="56387" y="0"/>
                </a:lnTo>
                <a:lnTo>
                  <a:pt x="78325" y="4435"/>
                </a:lnTo>
                <a:lnTo>
                  <a:pt x="96250" y="16525"/>
                </a:lnTo>
                <a:lnTo>
                  <a:pt x="108340" y="34450"/>
                </a:lnTo>
                <a:lnTo>
                  <a:pt x="112775" y="56388"/>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8"/>
                </a:lnTo>
                <a:close/>
              </a:path>
            </a:pathLst>
          </a:custGeom>
          <a:ln w="9144">
            <a:solidFill>
              <a:srgbClr val="0D80A3"/>
            </a:solidFill>
          </a:ln>
        </p:spPr>
        <p:txBody>
          <a:bodyPr wrap="square" lIns="0" tIns="0" rIns="0" bIns="0" rtlCol="0"/>
          <a:lstStyle/>
          <a:p>
            <a:endParaRPr/>
          </a:p>
        </p:txBody>
      </p:sp>
      <p:sp>
        <p:nvSpPr>
          <p:cNvPr id="40" name="object 40"/>
          <p:cNvSpPr/>
          <p:nvPr/>
        </p:nvSpPr>
        <p:spPr>
          <a:xfrm>
            <a:off x="6301740" y="4408932"/>
            <a:ext cx="607060" cy="497205"/>
          </a:xfrm>
          <a:custGeom>
            <a:avLst/>
            <a:gdLst/>
            <a:ahLst/>
            <a:cxnLst/>
            <a:rect l="l" t="t" r="r" b="b"/>
            <a:pathLst>
              <a:path w="607059" h="497204">
                <a:moveTo>
                  <a:pt x="459613" y="0"/>
                </a:moveTo>
                <a:lnTo>
                  <a:pt x="0" y="0"/>
                </a:lnTo>
                <a:lnTo>
                  <a:pt x="0" y="496824"/>
                </a:lnTo>
                <a:lnTo>
                  <a:pt x="459613" y="496824"/>
                </a:lnTo>
                <a:lnTo>
                  <a:pt x="606552" y="248412"/>
                </a:lnTo>
                <a:lnTo>
                  <a:pt x="459613" y="0"/>
                </a:lnTo>
                <a:close/>
              </a:path>
            </a:pathLst>
          </a:custGeom>
          <a:solidFill>
            <a:srgbClr val="632D8E"/>
          </a:solidFill>
        </p:spPr>
        <p:txBody>
          <a:bodyPr wrap="square" lIns="0" tIns="0" rIns="0" bIns="0" rtlCol="0"/>
          <a:lstStyle/>
          <a:p>
            <a:endParaRPr/>
          </a:p>
        </p:txBody>
      </p:sp>
      <p:sp>
        <p:nvSpPr>
          <p:cNvPr id="41" name="object 41"/>
          <p:cNvSpPr/>
          <p:nvPr/>
        </p:nvSpPr>
        <p:spPr>
          <a:xfrm>
            <a:off x="6301740" y="4408932"/>
            <a:ext cx="607060" cy="497205"/>
          </a:xfrm>
          <a:custGeom>
            <a:avLst/>
            <a:gdLst/>
            <a:ahLst/>
            <a:cxnLst/>
            <a:rect l="l" t="t" r="r" b="b"/>
            <a:pathLst>
              <a:path w="607059" h="497204">
                <a:moveTo>
                  <a:pt x="0" y="0"/>
                </a:moveTo>
                <a:lnTo>
                  <a:pt x="459613" y="0"/>
                </a:lnTo>
                <a:lnTo>
                  <a:pt x="606552" y="248412"/>
                </a:lnTo>
                <a:lnTo>
                  <a:pt x="459613" y="496824"/>
                </a:lnTo>
                <a:lnTo>
                  <a:pt x="0" y="496824"/>
                </a:lnTo>
                <a:lnTo>
                  <a:pt x="0" y="0"/>
                </a:lnTo>
                <a:close/>
              </a:path>
            </a:pathLst>
          </a:custGeom>
          <a:ln w="9144">
            <a:solidFill>
              <a:srgbClr val="FFFFFF"/>
            </a:solidFill>
          </a:ln>
        </p:spPr>
        <p:txBody>
          <a:bodyPr wrap="square" lIns="0" tIns="0" rIns="0" bIns="0" rtlCol="0"/>
          <a:lstStyle/>
          <a:p>
            <a:endParaRPr/>
          </a:p>
        </p:txBody>
      </p:sp>
      <p:sp>
        <p:nvSpPr>
          <p:cNvPr id="42" name="object 42"/>
          <p:cNvSpPr txBox="1"/>
          <p:nvPr/>
        </p:nvSpPr>
        <p:spPr>
          <a:xfrm>
            <a:off x="6381369" y="4553204"/>
            <a:ext cx="29718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2.4</a:t>
            </a:r>
            <a:endParaRPr sz="1200">
              <a:latin typeface="Verdana"/>
              <a:cs typeface="Verdana"/>
            </a:endParaRPr>
          </a:p>
        </p:txBody>
      </p:sp>
      <p:sp>
        <p:nvSpPr>
          <p:cNvPr id="44" name="object 4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5" name="object 4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4</a:t>
            </a:fld>
            <a:endParaRPr sz="800">
              <a:latin typeface="Verdana"/>
              <a:cs typeface="Verdana"/>
            </a:endParaRPr>
          </a:p>
        </p:txBody>
      </p:sp>
      <p:sp>
        <p:nvSpPr>
          <p:cNvPr id="43" name="object 43"/>
          <p:cNvSpPr txBox="1"/>
          <p:nvPr/>
        </p:nvSpPr>
        <p:spPr>
          <a:xfrm>
            <a:off x="284479" y="1128776"/>
            <a:ext cx="6105525" cy="299720"/>
          </a:xfrm>
          <a:prstGeom prst="rect">
            <a:avLst/>
          </a:prstGeom>
        </p:spPr>
        <p:txBody>
          <a:bodyPr vert="horz" wrap="square" lIns="0" tIns="12700" rIns="0" bIns="0" rtlCol="0">
            <a:spAutoFit/>
          </a:bodyPr>
          <a:lstStyle/>
          <a:p>
            <a:pPr marL="12700">
              <a:lnSpc>
                <a:spcPct val="100000"/>
              </a:lnSpc>
              <a:spcBef>
                <a:spcPts val="100"/>
              </a:spcBef>
            </a:pPr>
            <a:r>
              <a:rPr sz="1800" spc="-5">
                <a:latin typeface="Verdana"/>
                <a:cs typeface="Verdana"/>
              </a:rPr>
              <a:t>The </a:t>
            </a:r>
            <a:r>
              <a:rPr sz="1800" spc="-10">
                <a:latin typeface="Verdana"/>
                <a:cs typeface="Verdana"/>
              </a:rPr>
              <a:t>wave </a:t>
            </a:r>
            <a:r>
              <a:rPr sz="1800">
                <a:latin typeface="Verdana"/>
                <a:cs typeface="Verdana"/>
              </a:rPr>
              <a:t>2 includes </a:t>
            </a:r>
            <a:r>
              <a:rPr sz="1800" spc="-5">
                <a:latin typeface="Verdana"/>
                <a:cs typeface="Verdana"/>
              </a:rPr>
              <a:t>the </a:t>
            </a:r>
            <a:r>
              <a:rPr sz="1800">
                <a:latin typeface="Verdana"/>
                <a:cs typeface="Verdana"/>
              </a:rPr>
              <a:t>rollout for </a:t>
            </a:r>
            <a:r>
              <a:rPr sz="1800" spc="-5">
                <a:latin typeface="Verdana"/>
                <a:cs typeface="Verdana"/>
              </a:rPr>
              <a:t>the </a:t>
            </a:r>
            <a:r>
              <a:rPr sz="1800">
                <a:latin typeface="Verdana"/>
                <a:cs typeface="Verdana"/>
              </a:rPr>
              <a:t>following</a:t>
            </a:r>
            <a:r>
              <a:rPr sz="1800" spc="-35">
                <a:latin typeface="Verdana"/>
                <a:cs typeface="Verdana"/>
              </a:rPr>
              <a:t> </a:t>
            </a:r>
            <a:r>
              <a:rPr sz="1800">
                <a:latin typeface="Verdana"/>
                <a:cs typeface="Verdana"/>
              </a:rPr>
              <a:t>BUs</a:t>
            </a: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5</a:t>
            </a:fld>
            <a:endParaRPr sz="800">
              <a:latin typeface="Verdana"/>
              <a:cs typeface="Verdana"/>
            </a:endParaRPr>
          </a:p>
        </p:txBody>
      </p:sp>
      <p:sp>
        <p:nvSpPr>
          <p:cNvPr id="8" name="Rectangle 7">
            <a:extLst>
              <a:ext uri="{FF2B5EF4-FFF2-40B4-BE49-F238E27FC236}">
                <a16:creationId xmlns:a16="http://schemas.microsoft.com/office/drawing/2014/main" id="{171FB1CC-87D9-4327-AF0A-34AF2D08AB01}"/>
              </a:ext>
            </a:extLst>
          </p:cNvPr>
          <p:cNvSpPr/>
          <p:nvPr/>
        </p:nvSpPr>
        <p:spPr>
          <a:xfrm>
            <a:off x="-581026" y="260062"/>
            <a:ext cx="11972925" cy="584775"/>
          </a:xfrm>
          <a:prstGeom prst="rect">
            <a:avLst/>
          </a:prstGeom>
        </p:spPr>
        <p:txBody>
          <a:bodyPr wrap="square">
            <a:spAutoFit/>
          </a:bodyPr>
          <a:lstStyle/>
          <a:p>
            <a:pPr>
              <a:spcBef>
                <a:spcPct val="0"/>
              </a:spcBef>
              <a:spcAft>
                <a:spcPct val="0"/>
              </a:spcAft>
            </a:pPr>
            <a:endParaRPr lang="nl-BE" altLang="nl-BE" sz="1600">
              <a:solidFill>
                <a:prstClr val="black"/>
              </a:solidFill>
              <a:latin typeface="Verdana"/>
            </a:endParaRPr>
          </a:p>
          <a:p>
            <a:endParaRPr lang="en-US" sz="1600" kern="0">
              <a:solidFill>
                <a:prstClr val="black"/>
              </a:solidFill>
              <a:latin typeface="Verdana"/>
            </a:endParaRPr>
          </a:p>
        </p:txBody>
      </p:sp>
      <p:sp>
        <p:nvSpPr>
          <p:cNvPr id="9" name="Rectangle 8">
            <a:extLst>
              <a:ext uri="{FF2B5EF4-FFF2-40B4-BE49-F238E27FC236}">
                <a16:creationId xmlns:a16="http://schemas.microsoft.com/office/drawing/2014/main" id="{5ADAD619-E53B-4CBE-B433-5AE0E8549414}"/>
              </a:ext>
            </a:extLst>
          </p:cNvPr>
          <p:cNvSpPr/>
          <p:nvPr/>
        </p:nvSpPr>
        <p:spPr>
          <a:xfrm>
            <a:off x="329380" y="3247608"/>
            <a:ext cx="11643545" cy="646331"/>
          </a:xfrm>
          <a:prstGeom prst="rect">
            <a:avLst/>
          </a:prstGeom>
        </p:spPr>
        <p:txBody>
          <a:bodyPr wrap="square">
            <a:spAutoFit/>
          </a:bodyPr>
          <a:lstStyle/>
          <a:p>
            <a:endParaRPr lang="en-US" b="1" kern="0">
              <a:solidFill>
                <a:prstClr val="black"/>
              </a:solidFill>
              <a:latin typeface="Verdana"/>
              <a:cs typeface="Arial"/>
            </a:endParaRPr>
          </a:p>
          <a:p>
            <a:r>
              <a:rPr lang="en-US" b="1" kern="0">
                <a:solidFill>
                  <a:prstClr val="black"/>
                </a:solidFill>
                <a:latin typeface="Verdana"/>
                <a:cs typeface="Arial"/>
              </a:rPr>
              <a:t> </a:t>
            </a:r>
            <a:endParaRPr lang="nl-BE" b="1">
              <a:solidFill>
                <a:prstClr val="black"/>
              </a:solidFill>
              <a:latin typeface="Verdana"/>
            </a:endParaRPr>
          </a:p>
        </p:txBody>
      </p:sp>
      <p:sp>
        <p:nvSpPr>
          <p:cNvPr id="10" name="Title 1">
            <a:extLst>
              <a:ext uri="{FF2B5EF4-FFF2-40B4-BE49-F238E27FC236}">
                <a16:creationId xmlns:a16="http://schemas.microsoft.com/office/drawing/2014/main" id="{52E3DCFD-75F3-4613-AAFC-6883D25954AD}"/>
              </a:ext>
            </a:extLst>
          </p:cNvPr>
          <p:cNvSpPr txBox="1">
            <a:spLocks/>
          </p:cNvSpPr>
          <p:nvPr/>
        </p:nvSpPr>
        <p:spPr>
          <a:xfrm>
            <a:off x="219075" y="333374"/>
            <a:ext cx="10841449" cy="77152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0" cap="none" spc="0" normalizeH="0" baseline="0" noProof="0">
                <a:ln>
                  <a:noFill/>
                </a:ln>
                <a:solidFill>
                  <a:srgbClr val="0070AD"/>
                </a:solidFill>
                <a:effectLst/>
                <a:uLnTx/>
                <a:uFillTx/>
                <a:latin typeface="Verdana"/>
                <a:ea typeface="+mj-ea"/>
                <a:cs typeface="+mj-cs"/>
              </a:rPr>
              <a:t>Rollout Strategy for RD,CC,TS and IT Business Lines </a:t>
            </a:r>
            <a:br>
              <a:rPr kumimoji="0" lang="en-US" sz="2600" b="0" i="0" u="none" strike="noStrike" kern="0" cap="none" spc="0" normalizeH="0" baseline="0" noProof="0">
                <a:ln>
                  <a:noFill/>
                </a:ln>
                <a:solidFill>
                  <a:srgbClr val="0070AD"/>
                </a:solidFill>
                <a:effectLst/>
                <a:uLnTx/>
                <a:uFillTx/>
                <a:latin typeface="Verdana"/>
                <a:ea typeface="+mj-ea"/>
                <a:cs typeface="+mj-cs"/>
              </a:rPr>
            </a:br>
            <a:endParaRPr kumimoji="0" lang="en-US" sz="2600" b="0" i="0" u="none" strike="noStrike" kern="1200" cap="none" spc="0" normalizeH="0" baseline="0" noProof="0">
              <a:ln>
                <a:noFill/>
              </a:ln>
              <a:solidFill>
                <a:srgbClr val="0070AD"/>
              </a:solidFill>
              <a:effectLst/>
              <a:uLnTx/>
              <a:uFillTx/>
              <a:latin typeface="Verdana"/>
              <a:ea typeface="+mj-ea"/>
              <a:cs typeface="+mj-cs"/>
            </a:endParaRPr>
          </a:p>
        </p:txBody>
      </p:sp>
      <p:sp>
        <p:nvSpPr>
          <p:cNvPr id="11" name="Rectangle 10">
            <a:extLst>
              <a:ext uri="{FF2B5EF4-FFF2-40B4-BE49-F238E27FC236}">
                <a16:creationId xmlns:a16="http://schemas.microsoft.com/office/drawing/2014/main" id="{14ECA735-6EFF-4BD5-B80E-B91C9D5AA94F}"/>
              </a:ext>
            </a:extLst>
          </p:cNvPr>
          <p:cNvSpPr/>
          <p:nvPr/>
        </p:nvSpPr>
        <p:spPr>
          <a:xfrm>
            <a:off x="227349" y="934557"/>
            <a:ext cx="11497926" cy="523220"/>
          </a:xfrm>
          <a:prstGeom prst="rect">
            <a:avLst/>
          </a:prstGeom>
        </p:spPr>
        <p:txBody>
          <a:bodyPr wrap="square">
            <a:spAutoFit/>
          </a:bodyPr>
          <a:lstStyle/>
          <a:p>
            <a:r>
              <a:rPr lang="en-US" sz="1400">
                <a:solidFill>
                  <a:prstClr val="black"/>
                </a:solidFill>
                <a:latin typeface="Verdana"/>
              </a:rPr>
              <a:t>As for wave 1, an incremental phased rollout approach is proposed to maximize business involvement and solution adoption</a:t>
            </a:r>
          </a:p>
          <a:p>
            <a:endParaRPr lang="en-US" sz="1400" b="1">
              <a:solidFill>
                <a:srgbClr val="12ABDB"/>
              </a:solidFill>
              <a:latin typeface="Verdana" panose="020B0604030504040204" pitchFamily="34" charset="0"/>
            </a:endParaRPr>
          </a:p>
        </p:txBody>
      </p:sp>
      <p:sp>
        <p:nvSpPr>
          <p:cNvPr id="12" name="Rounded Rectangle 53">
            <a:extLst>
              <a:ext uri="{FF2B5EF4-FFF2-40B4-BE49-F238E27FC236}">
                <a16:creationId xmlns:a16="http://schemas.microsoft.com/office/drawing/2014/main" id="{ABA07F31-F5D3-4A23-B592-D60F037A6DD9}"/>
              </a:ext>
            </a:extLst>
          </p:cNvPr>
          <p:cNvSpPr/>
          <p:nvPr/>
        </p:nvSpPr>
        <p:spPr>
          <a:xfrm>
            <a:off x="0" y="5508525"/>
            <a:ext cx="12192000" cy="1056246"/>
          </a:xfrm>
          <a:prstGeom prst="rect">
            <a:avLst/>
          </a:prstGeom>
          <a:solidFill>
            <a:srgbClr val="2B143D"/>
          </a:solidFill>
          <a:ln w="19050" cap="flat" cmpd="sng" algn="ctr">
            <a:solidFill>
              <a:srgbClr val="FFFFFF"/>
            </a:solidFill>
            <a:prstDash val="solid"/>
            <a:miter lim="800000"/>
          </a:ln>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Verdana"/>
                <a:ea typeface="+mn-ea"/>
                <a:cs typeface="+mn-cs"/>
              </a:rPr>
              <a:t>Critical Success Factors: include representatives from all BLs during the entire project lifecycle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Verdana"/>
                <a:ea typeface="+mn-ea"/>
                <a:cs typeface="+mn-cs"/>
              </a:rPr>
              <a:t>ensure a solid change control process to have a consistent global solution</a:t>
            </a:r>
          </a:p>
        </p:txBody>
      </p:sp>
      <p:sp>
        <p:nvSpPr>
          <p:cNvPr id="13" name="AutoShape 16">
            <a:extLst>
              <a:ext uri="{FF2B5EF4-FFF2-40B4-BE49-F238E27FC236}">
                <a16:creationId xmlns:a16="http://schemas.microsoft.com/office/drawing/2014/main" id="{98E82FB7-FB72-42F9-AD07-4F554B9981CA}"/>
              </a:ext>
            </a:extLst>
          </p:cNvPr>
          <p:cNvSpPr>
            <a:spLocks/>
          </p:cNvSpPr>
          <p:nvPr/>
        </p:nvSpPr>
        <p:spPr bwMode="auto">
          <a:xfrm>
            <a:off x="323035" y="1860931"/>
            <a:ext cx="3344090" cy="3320670"/>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Marelli will conduct workshops to present the template model to new BLs/countries and Capgemini team will provide technical support to this phase by identifying localizations and gaps</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Workshops will be common to representatives from all BLs/countries</a:t>
            </a:r>
          </a:p>
        </p:txBody>
      </p:sp>
      <p:sp>
        <p:nvSpPr>
          <p:cNvPr id="14" name="Rectangle: Diagonal Corners Rounded 68">
            <a:extLst>
              <a:ext uri="{FF2B5EF4-FFF2-40B4-BE49-F238E27FC236}">
                <a16:creationId xmlns:a16="http://schemas.microsoft.com/office/drawing/2014/main" id="{A3900AA9-0DB0-463E-A986-6E2E14BE58DE}"/>
              </a:ext>
            </a:extLst>
          </p:cNvPr>
          <p:cNvSpPr/>
          <p:nvPr/>
        </p:nvSpPr>
        <p:spPr bwMode="auto">
          <a:xfrm>
            <a:off x="323035" y="1494249"/>
            <a:ext cx="3344090" cy="646331"/>
          </a:xfrm>
          <a:prstGeom prst="round2DiagRect">
            <a:avLst/>
          </a:prstGeom>
          <a:solidFill>
            <a:srgbClr val="0070AD"/>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Understanding the business process change for each BLs</a:t>
            </a:r>
            <a:endParaRPr kumimoji="0" lang="da-DK" sz="1400" b="1" i="0" u="none" strike="noStrike" kern="0" cap="none" spc="0" normalizeH="0" baseline="0" noProof="0">
              <a:ln>
                <a:noFill/>
              </a:ln>
              <a:solidFill>
                <a:srgbClr val="FFFFFF"/>
              </a:solidFill>
              <a:effectLst/>
              <a:uLnTx/>
              <a:uFillTx/>
              <a:latin typeface="Verdana"/>
            </a:endParaRPr>
          </a:p>
        </p:txBody>
      </p:sp>
      <p:sp>
        <p:nvSpPr>
          <p:cNvPr id="15" name="AutoShape 16">
            <a:extLst>
              <a:ext uri="{FF2B5EF4-FFF2-40B4-BE49-F238E27FC236}">
                <a16:creationId xmlns:a16="http://schemas.microsoft.com/office/drawing/2014/main" id="{52B6EF14-CD6E-460C-9F19-E6A61E239F9D}"/>
              </a:ext>
            </a:extLst>
          </p:cNvPr>
          <p:cNvSpPr>
            <a:spLocks/>
          </p:cNvSpPr>
          <p:nvPr/>
        </p:nvSpPr>
        <p:spPr bwMode="auto">
          <a:xfrm>
            <a:off x="4171135" y="1860931"/>
            <a:ext cx="3344090" cy="3320670"/>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216000" marR="0" lvl="0" indent="-216000" algn="just" defTabSz="914400" eaLnBrk="1" fontAlgn="auto" latinLnBrk="0" hangingPunct="1">
              <a:lnSpc>
                <a:spcPct val="100000"/>
              </a:lnSpc>
              <a:spcBef>
                <a:spcPts val="0"/>
              </a:spcBef>
              <a:spcAft>
                <a:spcPts val="1000"/>
              </a:spcAft>
              <a:buClr>
                <a:srgbClr val="0070AD"/>
              </a:buClr>
              <a:buSzTx/>
              <a:buFont typeface="Wingdings" panose="05000000000000000000" pitchFamily="2" charset="2"/>
              <a:buChar char="§"/>
              <a:tabLst/>
              <a:defRPr/>
            </a:pPr>
            <a:endParaRPr kumimoji="0" lang="en-US" sz="1300" b="0" i="0" u="none" strike="noStrike" kern="0" cap="none" spc="-10" normalizeH="0" baseline="0" noProof="0" dirty="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Verdana"/>
                <a:ea typeface="+mn-ea"/>
                <a:cs typeface="+mn-cs"/>
              </a:rPr>
              <a:t>Capgemini estimated a basket of 50 </a:t>
            </a:r>
            <a:r>
              <a:rPr kumimoji="0" lang="en-US" sz="1300" b="0" i="0" u="none" strike="noStrike" kern="0" cap="none" spc="0" normalizeH="0" baseline="0" noProof="0" dirty="0" err="1">
                <a:ln>
                  <a:noFill/>
                </a:ln>
                <a:solidFill>
                  <a:prstClr val="black"/>
                </a:solidFill>
                <a:effectLst/>
                <a:uLnTx/>
                <a:uFillTx/>
                <a:latin typeface="Verdana"/>
                <a:ea typeface="+mn-ea"/>
                <a:cs typeface="+mn-cs"/>
              </a:rPr>
              <a:t>mandays</a:t>
            </a:r>
            <a:r>
              <a:rPr kumimoji="0" lang="en-US" sz="1300" b="0" i="0" u="none" strike="noStrike" kern="0" cap="none" spc="0" normalizeH="0" baseline="0" noProof="0" dirty="0">
                <a:ln>
                  <a:noFill/>
                </a:ln>
                <a:solidFill>
                  <a:prstClr val="black"/>
                </a:solidFill>
                <a:effectLst/>
                <a:uLnTx/>
                <a:uFillTx/>
                <a:latin typeface="Verdana"/>
                <a:ea typeface="+mn-ea"/>
                <a:cs typeface="+mn-cs"/>
              </a:rPr>
              <a:t> for each BUs for enhancement not included in the global solution already live in the first BU. Additional requirements exceeding this basket will be managed as change request upon approval on Marelli. </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black"/>
              </a:solidFill>
              <a:effectLst/>
              <a:uLnTx/>
              <a:uFillTx/>
              <a:latin typeface="Verdana"/>
              <a:ea typeface="+mn-ea"/>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Verdana"/>
                <a:ea typeface="+mn-ea"/>
                <a:cs typeface="+mn-cs"/>
              </a:rPr>
              <a:t>Regarding interfaces and data migration, the assumption is to reuse objects implemented for wave 1. In case of deltas, they will be managed among the 50 </a:t>
            </a:r>
            <a:r>
              <a:rPr kumimoji="0" lang="en-US" sz="1300" b="0" i="0" u="none" strike="noStrike" kern="0" cap="none" spc="0" normalizeH="0" baseline="0" noProof="0" dirty="0" err="1">
                <a:ln>
                  <a:noFill/>
                </a:ln>
                <a:solidFill>
                  <a:prstClr val="black"/>
                </a:solidFill>
                <a:effectLst/>
                <a:uLnTx/>
                <a:uFillTx/>
                <a:latin typeface="Verdana"/>
                <a:ea typeface="+mn-ea"/>
                <a:cs typeface="+mn-cs"/>
              </a:rPr>
              <a:t>mds</a:t>
            </a:r>
            <a:r>
              <a:rPr kumimoji="0" lang="en-US" sz="1300" b="0" i="0" u="none" strike="noStrike" kern="0" cap="none" spc="0" normalizeH="0" baseline="0" noProof="0" dirty="0">
                <a:ln>
                  <a:noFill/>
                </a:ln>
                <a:solidFill>
                  <a:prstClr val="black"/>
                </a:solidFill>
                <a:effectLst/>
                <a:uLnTx/>
                <a:uFillTx/>
                <a:latin typeface="Verdana"/>
                <a:ea typeface="+mn-ea"/>
                <a:cs typeface="+mn-cs"/>
              </a:rPr>
              <a:t> basket described before</a:t>
            </a:r>
          </a:p>
        </p:txBody>
      </p:sp>
      <p:sp>
        <p:nvSpPr>
          <p:cNvPr id="16" name="Rectangle: Diagonal Corners Rounded 68">
            <a:extLst>
              <a:ext uri="{FF2B5EF4-FFF2-40B4-BE49-F238E27FC236}">
                <a16:creationId xmlns:a16="http://schemas.microsoft.com/office/drawing/2014/main" id="{7FDC713D-F102-490B-859C-213B4799BF22}"/>
              </a:ext>
            </a:extLst>
          </p:cNvPr>
          <p:cNvSpPr/>
          <p:nvPr/>
        </p:nvSpPr>
        <p:spPr bwMode="auto">
          <a:xfrm>
            <a:off x="4171135" y="1494249"/>
            <a:ext cx="3344090" cy="646331"/>
          </a:xfrm>
          <a:prstGeom prst="round2DiagRect">
            <a:avLst/>
          </a:prstGeom>
          <a:solidFill>
            <a:srgbClr val="00C37B"/>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Planning and Designing Business Process Changes</a:t>
            </a:r>
            <a:endParaRPr kumimoji="0" lang="da-DK" sz="1400" b="1" i="0" u="none" strike="noStrike" kern="0" cap="none" spc="0" normalizeH="0" baseline="0" noProof="0">
              <a:ln>
                <a:noFill/>
              </a:ln>
              <a:solidFill>
                <a:srgbClr val="FFFFFF"/>
              </a:solidFill>
              <a:effectLst/>
              <a:uLnTx/>
              <a:uFillTx/>
              <a:latin typeface="Verdana"/>
            </a:endParaRPr>
          </a:p>
        </p:txBody>
      </p:sp>
      <p:sp>
        <p:nvSpPr>
          <p:cNvPr id="17" name="AutoShape 16">
            <a:extLst>
              <a:ext uri="{FF2B5EF4-FFF2-40B4-BE49-F238E27FC236}">
                <a16:creationId xmlns:a16="http://schemas.microsoft.com/office/drawing/2014/main" id="{676B6D36-DD46-4B50-A5C8-8F8CA36D3691}"/>
              </a:ext>
            </a:extLst>
          </p:cNvPr>
          <p:cNvSpPr>
            <a:spLocks/>
          </p:cNvSpPr>
          <p:nvPr/>
        </p:nvSpPr>
        <p:spPr bwMode="auto">
          <a:xfrm>
            <a:off x="8038285" y="1860931"/>
            <a:ext cx="3344090" cy="3320670"/>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216000" marR="0" lvl="0" indent="-216000" algn="just" defTabSz="914400" eaLnBrk="1" fontAlgn="auto" latinLnBrk="0" hangingPunct="1">
              <a:lnSpc>
                <a:spcPct val="100000"/>
              </a:lnSpc>
              <a:spcBef>
                <a:spcPts val="0"/>
              </a:spcBef>
              <a:spcAft>
                <a:spcPts val="1000"/>
              </a:spcAft>
              <a:buClr>
                <a:srgbClr val="0070AD"/>
              </a:buClr>
              <a:buSzTx/>
              <a:buFont typeface="Wingdings" panose="05000000000000000000" pitchFamily="2" charset="2"/>
              <a:buChar char="§"/>
              <a:tabLst/>
              <a:defRPr/>
            </a:pPr>
            <a:endParaRPr kumimoji="0" lang="en-US" sz="1300" b="0" i="0" u="none" strike="noStrike" kern="0" cap="none" spc="-10" normalizeH="0" baseline="0" noProof="0">
              <a:ln>
                <a:noFill/>
              </a:ln>
              <a:solidFill>
                <a:prstClr val="black"/>
              </a:solidFill>
              <a:effectLst/>
              <a:uLnTx/>
              <a:uFillTx/>
              <a:latin typeface="Verdana"/>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Capgemini team will configure and customize the business process of BLs in Tailored Agile Methodolog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Key users will be involved during User Acceptance Tests (with common sessions to all BLs/countries) and train-the-trainer sessions (max 5 sessions, each one with max 10 traine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Regarding NRTs, it is assumed that, due to the limited number of localizations (i.e. &lt; 50 md), a maximum of 10 NRTs cases will be performed</a:t>
            </a:r>
          </a:p>
        </p:txBody>
      </p:sp>
      <p:sp>
        <p:nvSpPr>
          <p:cNvPr id="18" name="Rectangle: Diagonal Corners Rounded 68">
            <a:extLst>
              <a:ext uri="{FF2B5EF4-FFF2-40B4-BE49-F238E27FC236}">
                <a16:creationId xmlns:a16="http://schemas.microsoft.com/office/drawing/2014/main" id="{CE9D3BA4-14EA-4E03-85C9-6B5A76449A95}"/>
              </a:ext>
            </a:extLst>
          </p:cNvPr>
          <p:cNvSpPr/>
          <p:nvPr/>
        </p:nvSpPr>
        <p:spPr bwMode="auto">
          <a:xfrm>
            <a:off x="8038285" y="1494249"/>
            <a:ext cx="3344090" cy="646331"/>
          </a:xfrm>
          <a:prstGeom prst="round2DiagRect">
            <a:avLst/>
          </a:prstGeom>
          <a:solidFill>
            <a:srgbClr val="2B143D">
              <a:lumMod val="75000"/>
              <a:lumOff val="25000"/>
            </a:srgbClr>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Implementing Business Process Changes</a:t>
            </a:r>
            <a:endParaRPr kumimoji="0" lang="da-DK" sz="1400" b="1" i="0" u="none" strike="noStrike" kern="0" cap="none" spc="0" normalizeH="0" baseline="0" noProof="0">
              <a:ln>
                <a:noFill/>
              </a:ln>
              <a:solidFill>
                <a:srgbClr val="FFFFFF"/>
              </a:solidFill>
              <a:effectLst/>
              <a:uLnTx/>
              <a:uFillTx/>
              <a:latin typeface="Verdana"/>
            </a:endParaRPr>
          </a:p>
        </p:txBody>
      </p:sp>
      <p:sp>
        <p:nvSpPr>
          <p:cNvPr id="19" name="Oval 18">
            <a:extLst>
              <a:ext uri="{FF2B5EF4-FFF2-40B4-BE49-F238E27FC236}">
                <a16:creationId xmlns:a16="http://schemas.microsoft.com/office/drawing/2014/main" id="{209B0677-15E3-41A1-85EC-CD2CF5C52899}"/>
              </a:ext>
            </a:extLst>
          </p:cNvPr>
          <p:cNvSpPr/>
          <p:nvPr/>
        </p:nvSpPr>
        <p:spPr>
          <a:xfrm>
            <a:off x="74134" y="1383960"/>
            <a:ext cx="457200" cy="430211"/>
          </a:xfrm>
          <a:prstGeom prst="ellipse">
            <a:avLst/>
          </a:prstGeom>
          <a:solidFill>
            <a:srgbClr val="0070AD"/>
          </a:solidFill>
          <a:ln w="12700" cap="flat" cmpd="sng" algn="ctr">
            <a:solidFill>
              <a:srgbClr val="0070AD">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1</a:t>
            </a:r>
          </a:p>
        </p:txBody>
      </p:sp>
      <p:sp>
        <p:nvSpPr>
          <p:cNvPr id="20" name="Oval 19">
            <a:extLst>
              <a:ext uri="{FF2B5EF4-FFF2-40B4-BE49-F238E27FC236}">
                <a16:creationId xmlns:a16="http://schemas.microsoft.com/office/drawing/2014/main" id="{19207A8B-D777-41C0-9AB4-1D9BA4BE6575}"/>
              </a:ext>
            </a:extLst>
          </p:cNvPr>
          <p:cNvSpPr/>
          <p:nvPr/>
        </p:nvSpPr>
        <p:spPr>
          <a:xfrm>
            <a:off x="3961585" y="1412484"/>
            <a:ext cx="457200" cy="430211"/>
          </a:xfrm>
          <a:prstGeom prst="ellipse">
            <a:avLst/>
          </a:prstGeom>
          <a:solidFill>
            <a:srgbClr val="00C37B"/>
          </a:solidFill>
          <a:ln w="12700" cap="flat" cmpd="sng" algn="ctr">
            <a:solidFill>
              <a:srgbClr val="00C37B">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2</a:t>
            </a:r>
          </a:p>
        </p:txBody>
      </p:sp>
      <p:sp>
        <p:nvSpPr>
          <p:cNvPr id="21" name="Oval 20">
            <a:extLst>
              <a:ext uri="{FF2B5EF4-FFF2-40B4-BE49-F238E27FC236}">
                <a16:creationId xmlns:a16="http://schemas.microsoft.com/office/drawing/2014/main" id="{D074352D-156B-449D-9704-BA6D72D726B4}"/>
              </a:ext>
            </a:extLst>
          </p:cNvPr>
          <p:cNvSpPr/>
          <p:nvPr/>
        </p:nvSpPr>
        <p:spPr>
          <a:xfrm>
            <a:off x="7843430" y="1422505"/>
            <a:ext cx="457200" cy="430211"/>
          </a:xfrm>
          <a:prstGeom prst="ellipse">
            <a:avLst/>
          </a:prstGeom>
          <a:solidFill>
            <a:srgbClr val="2B143D">
              <a:lumMod val="75000"/>
              <a:lumOff val="25000"/>
            </a:srgbClr>
          </a:solidFill>
          <a:ln w="12700" cap="flat" cmpd="sng" algn="ctr">
            <a:solidFill>
              <a:srgbClr val="2B143D">
                <a:lumMod val="90000"/>
                <a:lumOff val="1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3</a:t>
            </a: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214680" y="6638645"/>
            <a:ext cx="1945639"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5" name="object 5"/>
          <p:cNvSpPr txBox="1"/>
          <p:nvPr/>
        </p:nvSpPr>
        <p:spPr>
          <a:xfrm>
            <a:off x="9604629" y="6638645"/>
            <a:ext cx="234886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0">
                <a:solidFill>
                  <a:srgbClr val="12ABDB"/>
                </a:solidFill>
                <a:latin typeface="Verdana"/>
                <a:cs typeface="Verdana"/>
              </a:rPr>
              <a:t> </a:t>
            </a:r>
            <a:r>
              <a:rPr sz="800">
                <a:solidFill>
                  <a:srgbClr val="A6A6A6"/>
                </a:solidFill>
                <a:latin typeface="Verdana"/>
                <a:cs typeface="Verdana"/>
              </a:rPr>
              <a:t>109</a:t>
            </a:r>
            <a:endParaRPr sz="800">
              <a:latin typeface="Verdana"/>
              <a:cs typeface="Verdana"/>
            </a:endParaRPr>
          </a:p>
        </p:txBody>
      </p:sp>
      <p:sp>
        <p:nvSpPr>
          <p:cNvPr id="7" name="object 7"/>
          <p:cNvSpPr txBox="1"/>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latin typeface="Verdana"/>
                <a:cs typeface="Verdana"/>
              </a:rPr>
              <a:t>08.3</a:t>
            </a:r>
            <a:endParaRPr sz="4400">
              <a:latin typeface="Verdana"/>
              <a:cs typeface="Verdana"/>
            </a:endParaRPr>
          </a:p>
        </p:txBody>
      </p:sp>
      <p:sp>
        <p:nvSpPr>
          <p:cNvPr id="8" name="object 8"/>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9" name="object 9"/>
          <p:cNvSpPr txBox="1"/>
          <p:nvPr/>
        </p:nvSpPr>
        <p:spPr>
          <a:xfrm>
            <a:off x="540207" y="2902153"/>
            <a:ext cx="1209040" cy="3314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Streams</a:t>
            </a:r>
            <a:endParaRPr sz="2000">
              <a:latin typeface="Verdana"/>
              <a:cs typeface="Verdana"/>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pic>
        <p:nvPicPr>
          <p:cNvPr id="12" name="Picture 11">
            <a:extLst>
              <a:ext uri="{FF2B5EF4-FFF2-40B4-BE49-F238E27FC236}">
                <a16:creationId xmlns:a16="http://schemas.microsoft.com/office/drawing/2014/main" id="{1506C632-05FA-4986-8B3A-A483109B02C4}"/>
              </a:ext>
            </a:extLst>
          </p:cNvPr>
          <p:cNvPicPr>
            <a:picLocks noChangeAspect="1"/>
          </p:cNvPicPr>
          <p:nvPr/>
        </p:nvPicPr>
        <p:blipFill>
          <a:blip r:embed="rId3">
            <a:alphaModFix/>
          </a:blip>
          <a:stretch>
            <a:fillRect/>
          </a:stretch>
        </p:blipFill>
        <p:spPr>
          <a:xfrm>
            <a:off x="6173969" y="1628775"/>
            <a:ext cx="5094106" cy="2828925"/>
          </a:xfrm>
          <a:prstGeom prst="rect">
            <a:avLst/>
          </a:prstGeom>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1413510" cy="422275"/>
          </a:xfrm>
          <a:prstGeom prst="rect">
            <a:avLst/>
          </a:prstGeom>
        </p:spPr>
        <p:txBody>
          <a:bodyPr vert="horz" wrap="square" lIns="0" tIns="12700" rIns="0" bIns="0" rtlCol="0">
            <a:spAutoFit/>
          </a:bodyPr>
          <a:lstStyle/>
          <a:p>
            <a:pPr marL="12700">
              <a:lnSpc>
                <a:spcPct val="100000"/>
              </a:lnSpc>
              <a:spcBef>
                <a:spcPts val="100"/>
              </a:spcBef>
            </a:pPr>
            <a:r>
              <a:rPr sz="2600"/>
              <a:t>Streams</a:t>
            </a:r>
          </a:p>
        </p:txBody>
      </p:sp>
      <p:sp>
        <p:nvSpPr>
          <p:cNvPr id="3" name="object 3"/>
          <p:cNvSpPr/>
          <p:nvPr/>
        </p:nvSpPr>
        <p:spPr>
          <a:xfrm>
            <a:off x="2139695" y="2139695"/>
            <a:ext cx="7912734" cy="3017520"/>
          </a:xfrm>
          <a:custGeom>
            <a:avLst/>
            <a:gdLst/>
            <a:ahLst/>
            <a:cxnLst/>
            <a:rect l="l" t="t" r="r" b="b"/>
            <a:pathLst>
              <a:path w="7912734" h="3017520">
                <a:moveTo>
                  <a:pt x="0" y="3017520"/>
                </a:moveTo>
                <a:lnTo>
                  <a:pt x="7912608" y="3017520"/>
                </a:lnTo>
                <a:lnTo>
                  <a:pt x="7912608" y="0"/>
                </a:lnTo>
                <a:lnTo>
                  <a:pt x="0" y="0"/>
                </a:lnTo>
                <a:lnTo>
                  <a:pt x="0" y="3017520"/>
                </a:lnTo>
                <a:close/>
              </a:path>
            </a:pathLst>
          </a:custGeom>
          <a:solidFill>
            <a:srgbClr val="BEBEBE">
              <a:alpha val="69802"/>
            </a:srgbClr>
          </a:solidFill>
        </p:spPr>
        <p:txBody>
          <a:bodyPr wrap="square" lIns="0" tIns="0" rIns="0" bIns="0" rtlCol="0"/>
          <a:lstStyle/>
          <a:p>
            <a:endParaRPr/>
          </a:p>
        </p:txBody>
      </p:sp>
      <p:sp>
        <p:nvSpPr>
          <p:cNvPr id="4" name="object 4"/>
          <p:cNvSpPr/>
          <p:nvPr/>
        </p:nvSpPr>
        <p:spPr>
          <a:xfrm>
            <a:off x="6312408" y="2260092"/>
            <a:ext cx="3534410" cy="612775"/>
          </a:xfrm>
          <a:custGeom>
            <a:avLst/>
            <a:gdLst/>
            <a:ahLst/>
            <a:cxnLst/>
            <a:rect l="l" t="t" r="r" b="b"/>
            <a:pathLst>
              <a:path w="3534409" h="612775">
                <a:moveTo>
                  <a:pt x="3432047" y="0"/>
                </a:moveTo>
                <a:lnTo>
                  <a:pt x="102107" y="0"/>
                </a:lnTo>
                <a:lnTo>
                  <a:pt x="62364" y="8024"/>
                </a:lnTo>
                <a:lnTo>
                  <a:pt x="29908" y="29908"/>
                </a:lnTo>
                <a:lnTo>
                  <a:pt x="8024" y="62364"/>
                </a:lnTo>
                <a:lnTo>
                  <a:pt x="0" y="102108"/>
                </a:lnTo>
                <a:lnTo>
                  <a:pt x="0" y="612648"/>
                </a:lnTo>
                <a:lnTo>
                  <a:pt x="3534156" y="612648"/>
                </a:lnTo>
                <a:lnTo>
                  <a:pt x="3534156" y="102108"/>
                </a:lnTo>
                <a:lnTo>
                  <a:pt x="3526131" y="62364"/>
                </a:lnTo>
                <a:lnTo>
                  <a:pt x="3504247" y="29908"/>
                </a:lnTo>
                <a:lnTo>
                  <a:pt x="3471791" y="8024"/>
                </a:lnTo>
                <a:lnTo>
                  <a:pt x="3432047" y="0"/>
                </a:lnTo>
                <a:close/>
              </a:path>
            </a:pathLst>
          </a:custGeom>
          <a:solidFill>
            <a:srgbClr val="BEBEBE"/>
          </a:solidFill>
        </p:spPr>
        <p:txBody>
          <a:bodyPr wrap="square" lIns="0" tIns="0" rIns="0" bIns="0" rtlCol="0"/>
          <a:lstStyle/>
          <a:p>
            <a:endParaRPr/>
          </a:p>
        </p:txBody>
      </p:sp>
      <p:sp>
        <p:nvSpPr>
          <p:cNvPr id="5" name="object 5"/>
          <p:cNvSpPr txBox="1"/>
          <p:nvPr/>
        </p:nvSpPr>
        <p:spPr>
          <a:xfrm>
            <a:off x="6998334" y="2354072"/>
            <a:ext cx="2671445" cy="452755"/>
          </a:xfrm>
          <a:prstGeom prst="rect">
            <a:avLst/>
          </a:prstGeom>
        </p:spPr>
        <p:txBody>
          <a:bodyPr vert="horz" wrap="square" lIns="0" tIns="13335" rIns="0" bIns="0" rtlCol="0">
            <a:spAutoFit/>
          </a:bodyPr>
          <a:lstStyle/>
          <a:p>
            <a:pPr marL="12700" marR="5080">
              <a:lnSpc>
                <a:spcPct val="100000"/>
              </a:lnSpc>
              <a:spcBef>
                <a:spcPts val="105"/>
              </a:spcBef>
            </a:pPr>
            <a:r>
              <a:rPr sz="1400" b="1">
                <a:solidFill>
                  <a:srgbClr val="FFFFFF"/>
                </a:solidFill>
                <a:latin typeface="Verdana"/>
                <a:cs typeface="Verdana"/>
              </a:rPr>
              <a:t>RFQ </a:t>
            </a:r>
            <a:r>
              <a:rPr sz="1400" b="1" spc="-5">
                <a:solidFill>
                  <a:srgbClr val="FFFFFF"/>
                </a:solidFill>
                <a:latin typeface="Verdana"/>
                <a:cs typeface="Verdana"/>
              </a:rPr>
              <a:t>Workflow </a:t>
            </a:r>
            <a:r>
              <a:rPr sz="1400" b="1">
                <a:solidFill>
                  <a:srgbClr val="FFFFFF"/>
                </a:solidFill>
                <a:latin typeface="Verdana"/>
                <a:cs typeface="Verdana"/>
              </a:rPr>
              <a:t>Review</a:t>
            </a:r>
            <a:r>
              <a:rPr sz="1400" b="1" spc="-110">
                <a:solidFill>
                  <a:srgbClr val="FFFFFF"/>
                </a:solidFill>
                <a:latin typeface="Verdana"/>
                <a:cs typeface="Verdana"/>
              </a:rPr>
              <a:t> </a:t>
            </a:r>
            <a:r>
              <a:rPr sz="1400" b="1" spc="-5">
                <a:solidFill>
                  <a:srgbClr val="FFFFFF"/>
                </a:solidFill>
                <a:latin typeface="Verdana"/>
                <a:cs typeface="Verdana"/>
              </a:rPr>
              <a:t>and  </a:t>
            </a:r>
            <a:r>
              <a:rPr sz="1400" b="1">
                <a:solidFill>
                  <a:srgbClr val="FFFFFF"/>
                </a:solidFill>
                <a:latin typeface="Verdana"/>
                <a:cs typeface="Verdana"/>
              </a:rPr>
              <a:t>Rollout (AL </a:t>
            </a:r>
            <a:r>
              <a:rPr sz="1400" b="1" spc="-5">
                <a:solidFill>
                  <a:srgbClr val="FFFFFF"/>
                </a:solidFill>
                <a:latin typeface="Verdana"/>
                <a:cs typeface="Verdana"/>
              </a:rPr>
              <a:t>and </a:t>
            </a:r>
            <a:r>
              <a:rPr sz="1400" b="1">
                <a:solidFill>
                  <a:srgbClr val="FFFFFF"/>
                </a:solidFill>
                <a:latin typeface="Verdana"/>
                <a:cs typeface="Verdana"/>
              </a:rPr>
              <a:t>EL</a:t>
            </a:r>
            <a:r>
              <a:rPr sz="1400" b="1" spc="-100">
                <a:solidFill>
                  <a:srgbClr val="FFFFFF"/>
                </a:solidFill>
                <a:latin typeface="Verdana"/>
                <a:cs typeface="Verdana"/>
              </a:rPr>
              <a:t> </a:t>
            </a:r>
            <a:r>
              <a:rPr sz="1400" b="1" spc="-5">
                <a:solidFill>
                  <a:srgbClr val="FFFFFF"/>
                </a:solidFill>
                <a:latin typeface="Verdana"/>
                <a:cs typeface="Verdana"/>
              </a:rPr>
              <a:t>Only)</a:t>
            </a:r>
            <a:endParaRPr sz="1400">
              <a:latin typeface="Verdana"/>
              <a:cs typeface="Verdana"/>
            </a:endParaRPr>
          </a:p>
        </p:txBody>
      </p:sp>
      <p:sp>
        <p:nvSpPr>
          <p:cNvPr id="6" name="object 6"/>
          <p:cNvSpPr/>
          <p:nvPr/>
        </p:nvSpPr>
        <p:spPr>
          <a:xfrm>
            <a:off x="6312408" y="2273807"/>
            <a:ext cx="106679" cy="251459"/>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6312408" y="2273807"/>
            <a:ext cx="106680" cy="251460"/>
          </a:xfrm>
          <a:custGeom>
            <a:avLst/>
            <a:gdLst/>
            <a:ahLst/>
            <a:cxnLst/>
            <a:rect l="l" t="t" r="r" b="b"/>
            <a:pathLst>
              <a:path w="106679" h="251460">
                <a:moveTo>
                  <a:pt x="0" y="53339"/>
                </a:moveTo>
                <a:lnTo>
                  <a:pt x="4190" y="32575"/>
                </a:lnTo>
                <a:lnTo>
                  <a:pt x="15620" y="15621"/>
                </a:lnTo>
                <a:lnTo>
                  <a:pt x="32575" y="4191"/>
                </a:lnTo>
                <a:lnTo>
                  <a:pt x="53339" y="0"/>
                </a:lnTo>
                <a:lnTo>
                  <a:pt x="74104" y="4190"/>
                </a:lnTo>
                <a:lnTo>
                  <a:pt x="91058" y="15620"/>
                </a:lnTo>
                <a:lnTo>
                  <a:pt x="102488" y="32575"/>
                </a:lnTo>
                <a:lnTo>
                  <a:pt x="106679" y="53339"/>
                </a:lnTo>
                <a:lnTo>
                  <a:pt x="106679" y="198119"/>
                </a:lnTo>
                <a:lnTo>
                  <a:pt x="102488" y="218884"/>
                </a:lnTo>
                <a:lnTo>
                  <a:pt x="91059" y="235838"/>
                </a:lnTo>
                <a:lnTo>
                  <a:pt x="74104" y="247268"/>
                </a:lnTo>
                <a:lnTo>
                  <a:pt x="53339" y="251459"/>
                </a:lnTo>
                <a:lnTo>
                  <a:pt x="32575" y="247268"/>
                </a:lnTo>
                <a:lnTo>
                  <a:pt x="15621" y="235838"/>
                </a:lnTo>
                <a:lnTo>
                  <a:pt x="4191" y="218884"/>
                </a:lnTo>
                <a:lnTo>
                  <a:pt x="0" y="198119"/>
                </a:lnTo>
                <a:lnTo>
                  <a:pt x="0" y="53339"/>
                </a:lnTo>
                <a:close/>
              </a:path>
            </a:pathLst>
          </a:custGeom>
          <a:ln w="9144">
            <a:solidFill>
              <a:srgbClr val="0D80A3"/>
            </a:solidFill>
          </a:ln>
        </p:spPr>
        <p:txBody>
          <a:bodyPr wrap="square" lIns="0" tIns="0" rIns="0" bIns="0" rtlCol="0"/>
          <a:lstStyle/>
          <a:p>
            <a:endParaRPr/>
          </a:p>
        </p:txBody>
      </p:sp>
      <p:sp>
        <p:nvSpPr>
          <p:cNvPr id="8" name="object 8"/>
          <p:cNvSpPr/>
          <p:nvPr/>
        </p:nvSpPr>
        <p:spPr>
          <a:xfrm>
            <a:off x="6312408" y="2634995"/>
            <a:ext cx="106679" cy="251459"/>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6312408" y="2634995"/>
            <a:ext cx="106680" cy="251460"/>
          </a:xfrm>
          <a:custGeom>
            <a:avLst/>
            <a:gdLst/>
            <a:ahLst/>
            <a:cxnLst/>
            <a:rect l="l" t="t" r="r" b="b"/>
            <a:pathLst>
              <a:path w="106679" h="251460">
                <a:moveTo>
                  <a:pt x="0" y="53339"/>
                </a:moveTo>
                <a:lnTo>
                  <a:pt x="4190" y="32575"/>
                </a:lnTo>
                <a:lnTo>
                  <a:pt x="15620" y="15621"/>
                </a:lnTo>
                <a:lnTo>
                  <a:pt x="32575" y="4191"/>
                </a:lnTo>
                <a:lnTo>
                  <a:pt x="53339" y="0"/>
                </a:lnTo>
                <a:lnTo>
                  <a:pt x="74104" y="4190"/>
                </a:lnTo>
                <a:lnTo>
                  <a:pt x="91058" y="15620"/>
                </a:lnTo>
                <a:lnTo>
                  <a:pt x="102488" y="32575"/>
                </a:lnTo>
                <a:lnTo>
                  <a:pt x="106679" y="53339"/>
                </a:lnTo>
                <a:lnTo>
                  <a:pt x="106679" y="198119"/>
                </a:lnTo>
                <a:lnTo>
                  <a:pt x="102488" y="218884"/>
                </a:lnTo>
                <a:lnTo>
                  <a:pt x="91059" y="235838"/>
                </a:lnTo>
                <a:lnTo>
                  <a:pt x="74104" y="247268"/>
                </a:lnTo>
                <a:lnTo>
                  <a:pt x="53339" y="251459"/>
                </a:lnTo>
                <a:lnTo>
                  <a:pt x="32575" y="247268"/>
                </a:lnTo>
                <a:lnTo>
                  <a:pt x="15621" y="235838"/>
                </a:lnTo>
                <a:lnTo>
                  <a:pt x="4191" y="218884"/>
                </a:lnTo>
                <a:lnTo>
                  <a:pt x="0" y="198119"/>
                </a:lnTo>
                <a:lnTo>
                  <a:pt x="0" y="53339"/>
                </a:lnTo>
                <a:close/>
              </a:path>
            </a:pathLst>
          </a:custGeom>
          <a:ln w="9144">
            <a:solidFill>
              <a:srgbClr val="0D80A3"/>
            </a:solidFill>
          </a:ln>
        </p:spPr>
        <p:txBody>
          <a:bodyPr wrap="square" lIns="0" tIns="0" rIns="0" bIns="0" rtlCol="0"/>
          <a:lstStyle/>
          <a:p>
            <a:endParaRPr/>
          </a:p>
        </p:txBody>
      </p:sp>
      <p:sp>
        <p:nvSpPr>
          <p:cNvPr id="10" name="object 10"/>
          <p:cNvSpPr/>
          <p:nvPr/>
        </p:nvSpPr>
        <p:spPr>
          <a:xfrm>
            <a:off x="6312408" y="2330195"/>
            <a:ext cx="573405" cy="498475"/>
          </a:xfrm>
          <a:custGeom>
            <a:avLst/>
            <a:gdLst/>
            <a:ahLst/>
            <a:cxnLst/>
            <a:rect l="l" t="t" r="r" b="b"/>
            <a:pathLst>
              <a:path w="573404" h="498475">
                <a:moveTo>
                  <a:pt x="425703" y="0"/>
                </a:moveTo>
                <a:lnTo>
                  <a:pt x="0" y="0"/>
                </a:lnTo>
                <a:lnTo>
                  <a:pt x="0" y="498348"/>
                </a:lnTo>
                <a:lnTo>
                  <a:pt x="425703" y="498348"/>
                </a:lnTo>
                <a:lnTo>
                  <a:pt x="573023" y="249174"/>
                </a:lnTo>
                <a:lnTo>
                  <a:pt x="425703" y="0"/>
                </a:lnTo>
                <a:close/>
              </a:path>
            </a:pathLst>
          </a:custGeom>
          <a:solidFill>
            <a:srgbClr val="BEBEBE"/>
          </a:solidFill>
        </p:spPr>
        <p:txBody>
          <a:bodyPr wrap="square" lIns="0" tIns="0" rIns="0" bIns="0" rtlCol="0"/>
          <a:lstStyle/>
          <a:p>
            <a:endParaRPr/>
          </a:p>
        </p:txBody>
      </p:sp>
      <p:sp>
        <p:nvSpPr>
          <p:cNvPr id="11" name="object 11"/>
          <p:cNvSpPr/>
          <p:nvPr/>
        </p:nvSpPr>
        <p:spPr>
          <a:xfrm>
            <a:off x="6312408" y="2330195"/>
            <a:ext cx="573405" cy="498475"/>
          </a:xfrm>
          <a:custGeom>
            <a:avLst/>
            <a:gdLst/>
            <a:ahLst/>
            <a:cxnLst/>
            <a:rect l="l" t="t" r="r" b="b"/>
            <a:pathLst>
              <a:path w="573404" h="498475">
                <a:moveTo>
                  <a:pt x="0" y="0"/>
                </a:moveTo>
                <a:lnTo>
                  <a:pt x="425703" y="0"/>
                </a:lnTo>
                <a:lnTo>
                  <a:pt x="573023" y="249174"/>
                </a:lnTo>
                <a:lnTo>
                  <a:pt x="425703" y="498348"/>
                </a:lnTo>
                <a:lnTo>
                  <a:pt x="0" y="498348"/>
                </a:lnTo>
                <a:lnTo>
                  <a:pt x="0" y="0"/>
                </a:lnTo>
                <a:close/>
              </a:path>
            </a:pathLst>
          </a:custGeom>
          <a:ln w="9144">
            <a:solidFill>
              <a:srgbClr val="FFFFFF"/>
            </a:solidFill>
          </a:ln>
        </p:spPr>
        <p:txBody>
          <a:bodyPr wrap="square" lIns="0" tIns="0" rIns="0" bIns="0" rtlCol="0"/>
          <a:lstStyle/>
          <a:p>
            <a:endParaRPr/>
          </a:p>
        </p:txBody>
      </p:sp>
      <p:sp>
        <p:nvSpPr>
          <p:cNvPr id="12" name="object 12"/>
          <p:cNvSpPr txBox="1"/>
          <p:nvPr/>
        </p:nvSpPr>
        <p:spPr>
          <a:xfrm>
            <a:off x="6392036" y="2474163"/>
            <a:ext cx="297180" cy="208915"/>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3.1</a:t>
            </a:r>
            <a:endParaRPr sz="1200">
              <a:latin typeface="Verdana"/>
              <a:cs typeface="Verdana"/>
            </a:endParaRPr>
          </a:p>
        </p:txBody>
      </p:sp>
      <p:sp>
        <p:nvSpPr>
          <p:cNvPr id="13" name="object 13"/>
          <p:cNvSpPr/>
          <p:nvPr/>
        </p:nvSpPr>
        <p:spPr>
          <a:xfrm>
            <a:off x="6312408" y="2938272"/>
            <a:ext cx="3534410" cy="612775"/>
          </a:xfrm>
          <a:custGeom>
            <a:avLst/>
            <a:gdLst/>
            <a:ahLst/>
            <a:cxnLst/>
            <a:rect l="l" t="t" r="r" b="b"/>
            <a:pathLst>
              <a:path w="3534409" h="612775">
                <a:moveTo>
                  <a:pt x="3432047" y="0"/>
                </a:moveTo>
                <a:lnTo>
                  <a:pt x="102107" y="0"/>
                </a:lnTo>
                <a:lnTo>
                  <a:pt x="62364" y="8024"/>
                </a:lnTo>
                <a:lnTo>
                  <a:pt x="29908" y="29908"/>
                </a:lnTo>
                <a:lnTo>
                  <a:pt x="8024" y="62364"/>
                </a:lnTo>
                <a:lnTo>
                  <a:pt x="0" y="102107"/>
                </a:lnTo>
                <a:lnTo>
                  <a:pt x="0" y="612648"/>
                </a:lnTo>
                <a:lnTo>
                  <a:pt x="3534156" y="612648"/>
                </a:lnTo>
                <a:lnTo>
                  <a:pt x="3534156" y="102107"/>
                </a:lnTo>
                <a:lnTo>
                  <a:pt x="3526131" y="62364"/>
                </a:lnTo>
                <a:lnTo>
                  <a:pt x="3504247" y="29908"/>
                </a:lnTo>
                <a:lnTo>
                  <a:pt x="3471791" y="8024"/>
                </a:lnTo>
                <a:lnTo>
                  <a:pt x="3432047" y="0"/>
                </a:lnTo>
                <a:close/>
              </a:path>
            </a:pathLst>
          </a:custGeom>
          <a:solidFill>
            <a:srgbClr val="BEBEBE"/>
          </a:solidFill>
        </p:spPr>
        <p:txBody>
          <a:bodyPr wrap="square" lIns="0" tIns="0" rIns="0" bIns="0" rtlCol="0"/>
          <a:lstStyle/>
          <a:p>
            <a:endParaRPr/>
          </a:p>
        </p:txBody>
      </p:sp>
      <p:sp>
        <p:nvSpPr>
          <p:cNvPr id="14" name="object 14"/>
          <p:cNvSpPr txBox="1"/>
          <p:nvPr/>
        </p:nvSpPr>
        <p:spPr>
          <a:xfrm>
            <a:off x="6998334" y="3139186"/>
            <a:ext cx="1257935" cy="239395"/>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Ok </a:t>
            </a:r>
            <a:r>
              <a:rPr sz="1400" b="1">
                <a:solidFill>
                  <a:srgbClr val="FFFFFF"/>
                </a:solidFill>
                <a:latin typeface="Verdana"/>
                <a:cs typeface="Verdana"/>
              </a:rPr>
              <a:t>To</a:t>
            </a:r>
            <a:r>
              <a:rPr sz="1400" b="1" spc="-95">
                <a:solidFill>
                  <a:srgbClr val="FFFFFF"/>
                </a:solidFill>
                <a:latin typeface="Verdana"/>
                <a:cs typeface="Verdana"/>
              </a:rPr>
              <a:t> </a:t>
            </a:r>
            <a:r>
              <a:rPr sz="1400" b="1" spc="-5">
                <a:solidFill>
                  <a:srgbClr val="FFFFFF"/>
                </a:solidFill>
                <a:latin typeface="Verdana"/>
                <a:cs typeface="Verdana"/>
              </a:rPr>
              <a:t>Quote</a:t>
            </a:r>
            <a:endParaRPr sz="1400">
              <a:latin typeface="Verdana"/>
              <a:cs typeface="Verdana"/>
            </a:endParaRPr>
          </a:p>
        </p:txBody>
      </p:sp>
      <p:sp>
        <p:nvSpPr>
          <p:cNvPr id="15" name="object 15"/>
          <p:cNvSpPr/>
          <p:nvPr/>
        </p:nvSpPr>
        <p:spPr>
          <a:xfrm>
            <a:off x="6312408" y="2938272"/>
            <a:ext cx="112775" cy="251460"/>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6312408" y="2938272"/>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7"/>
                </a:lnTo>
                <a:close/>
              </a:path>
            </a:pathLst>
          </a:custGeom>
          <a:ln w="9144">
            <a:solidFill>
              <a:srgbClr val="0D80A3"/>
            </a:solidFill>
          </a:ln>
        </p:spPr>
        <p:txBody>
          <a:bodyPr wrap="square" lIns="0" tIns="0" rIns="0" bIns="0" rtlCol="0"/>
          <a:lstStyle/>
          <a:p>
            <a:endParaRPr/>
          </a:p>
        </p:txBody>
      </p:sp>
      <p:sp>
        <p:nvSpPr>
          <p:cNvPr id="17" name="object 17"/>
          <p:cNvSpPr/>
          <p:nvPr/>
        </p:nvSpPr>
        <p:spPr>
          <a:xfrm>
            <a:off x="6312408" y="3299459"/>
            <a:ext cx="112775" cy="251460"/>
          </a:xfrm>
          <a:prstGeom prst="rect">
            <a:avLst/>
          </a:prstGeom>
          <a:blipFill>
            <a:blip r:embed="rId3" cstate="print"/>
            <a:stretch>
              <a:fillRect/>
            </a:stretch>
          </a:blipFill>
        </p:spPr>
        <p:txBody>
          <a:bodyPr wrap="square" lIns="0" tIns="0" rIns="0" bIns="0" rtlCol="0"/>
          <a:lstStyle/>
          <a:p>
            <a:endParaRPr/>
          </a:p>
        </p:txBody>
      </p:sp>
      <p:sp>
        <p:nvSpPr>
          <p:cNvPr id="18" name="object 18"/>
          <p:cNvSpPr/>
          <p:nvPr/>
        </p:nvSpPr>
        <p:spPr>
          <a:xfrm>
            <a:off x="6312408" y="3299459"/>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7"/>
                </a:lnTo>
                <a:close/>
              </a:path>
            </a:pathLst>
          </a:custGeom>
          <a:ln w="9144">
            <a:solidFill>
              <a:srgbClr val="0D80A3"/>
            </a:solidFill>
          </a:ln>
        </p:spPr>
        <p:txBody>
          <a:bodyPr wrap="square" lIns="0" tIns="0" rIns="0" bIns="0" rtlCol="0"/>
          <a:lstStyle/>
          <a:p>
            <a:endParaRPr/>
          </a:p>
        </p:txBody>
      </p:sp>
      <p:sp>
        <p:nvSpPr>
          <p:cNvPr id="19" name="object 19"/>
          <p:cNvSpPr/>
          <p:nvPr/>
        </p:nvSpPr>
        <p:spPr>
          <a:xfrm>
            <a:off x="6312408" y="2996183"/>
            <a:ext cx="607060" cy="497205"/>
          </a:xfrm>
          <a:custGeom>
            <a:avLst/>
            <a:gdLst/>
            <a:ahLst/>
            <a:cxnLst/>
            <a:rect l="l" t="t" r="r" b="b"/>
            <a:pathLst>
              <a:path w="607059" h="497204">
                <a:moveTo>
                  <a:pt x="459613" y="0"/>
                </a:moveTo>
                <a:lnTo>
                  <a:pt x="0" y="0"/>
                </a:lnTo>
                <a:lnTo>
                  <a:pt x="0" y="496824"/>
                </a:lnTo>
                <a:lnTo>
                  <a:pt x="459613" y="496824"/>
                </a:lnTo>
                <a:lnTo>
                  <a:pt x="606551" y="248412"/>
                </a:lnTo>
                <a:lnTo>
                  <a:pt x="459613" y="0"/>
                </a:lnTo>
                <a:close/>
              </a:path>
            </a:pathLst>
          </a:custGeom>
          <a:solidFill>
            <a:srgbClr val="BEBEBE"/>
          </a:solidFill>
        </p:spPr>
        <p:txBody>
          <a:bodyPr wrap="square" lIns="0" tIns="0" rIns="0" bIns="0" rtlCol="0"/>
          <a:lstStyle/>
          <a:p>
            <a:endParaRPr/>
          </a:p>
        </p:txBody>
      </p:sp>
      <p:sp>
        <p:nvSpPr>
          <p:cNvPr id="20" name="object 20"/>
          <p:cNvSpPr/>
          <p:nvPr/>
        </p:nvSpPr>
        <p:spPr>
          <a:xfrm>
            <a:off x="6312408" y="2996183"/>
            <a:ext cx="607060" cy="497205"/>
          </a:xfrm>
          <a:custGeom>
            <a:avLst/>
            <a:gdLst/>
            <a:ahLst/>
            <a:cxnLst/>
            <a:rect l="l" t="t" r="r" b="b"/>
            <a:pathLst>
              <a:path w="607059" h="497204">
                <a:moveTo>
                  <a:pt x="0" y="0"/>
                </a:moveTo>
                <a:lnTo>
                  <a:pt x="459613" y="0"/>
                </a:lnTo>
                <a:lnTo>
                  <a:pt x="606551" y="248412"/>
                </a:lnTo>
                <a:lnTo>
                  <a:pt x="459613" y="496824"/>
                </a:lnTo>
                <a:lnTo>
                  <a:pt x="0" y="496824"/>
                </a:lnTo>
                <a:lnTo>
                  <a:pt x="0" y="0"/>
                </a:lnTo>
                <a:close/>
              </a:path>
            </a:pathLst>
          </a:custGeom>
          <a:ln w="9144">
            <a:solidFill>
              <a:srgbClr val="FFFFFF"/>
            </a:solidFill>
          </a:ln>
        </p:spPr>
        <p:txBody>
          <a:bodyPr wrap="square" lIns="0" tIns="0" rIns="0" bIns="0" rtlCol="0"/>
          <a:lstStyle/>
          <a:p>
            <a:endParaRPr/>
          </a:p>
        </p:txBody>
      </p:sp>
      <p:sp>
        <p:nvSpPr>
          <p:cNvPr id="21" name="object 21"/>
          <p:cNvSpPr txBox="1"/>
          <p:nvPr/>
        </p:nvSpPr>
        <p:spPr>
          <a:xfrm>
            <a:off x="6392036" y="3139566"/>
            <a:ext cx="29718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3.2</a:t>
            </a:r>
            <a:endParaRPr sz="1200">
              <a:latin typeface="Verdana"/>
              <a:cs typeface="Verdana"/>
            </a:endParaRPr>
          </a:p>
        </p:txBody>
      </p:sp>
      <p:sp>
        <p:nvSpPr>
          <p:cNvPr id="22" name="object 22"/>
          <p:cNvSpPr/>
          <p:nvPr/>
        </p:nvSpPr>
        <p:spPr>
          <a:xfrm>
            <a:off x="6323076" y="3601211"/>
            <a:ext cx="3534410" cy="614680"/>
          </a:xfrm>
          <a:custGeom>
            <a:avLst/>
            <a:gdLst/>
            <a:ahLst/>
            <a:cxnLst/>
            <a:rect l="l" t="t" r="r" b="b"/>
            <a:pathLst>
              <a:path w="3534409" h="614679">
                <a:moveTo>
                  <a:pt x="3431794" y="0"/>
                </a:moveTo>
                <a:lnTo>
                  <a:pt x="102362" y="0"/>
                </a:lnTo>
                <a:lnTo>
                  <a:pt x="62525" y="8046"/>
                </a:lnTo>
                <a:lnTo>
                  <a:pt x="29987" y="29987"/>
                </a:lnTo>
                <a:lnTo>
                  <a:pt x="8046" y="62525"/>
                </a:lnTo>
                <a:lnTo>
                  <a:pt x="0" y="102362"/>
                </a:lnTo>
                <a:lnTo>
                  <a:pt x="0" y="614171"/>
                </a:lnTo>
                <a:lnTo>
                  <a:pt x="3534155" y="614171"/>
                </a:lnTo>
                <a:lnTo>
                  <a:pt x="3534155" y="102362"/>
                </a:lnTo>
                <a:lnTo>
                  <a:pt x="3526109" y="62525"/>
                </a:lnTo>
                <a:lnTo>
                  <a:pt x="3504168" y="29987"/>
                </a:lnTo>
                <a:lnTo>
                  <a:pt x="3471630" y="8046"/>
                </a:lnTo>
                <a:lnTo>
                  <a:pt x="3431794" y="0"/>
                </a:lnTo>
                <a:close/>
              </a:path>
            </a:pathLst>
          </a:custGeom>
          <a:solidFill>
            <a:srgbClr val="BEBEBE"/>
          </a:solidFill>
        </p:spPr>
        <p:txBody>
          <a:bodyPr wrap="square" lIns="0" tIns="0" rIns="0" bIns="0" rtlCol="0"/>
          <a:lstStyle/>
          <a:p>
            <a:endParaRPr/>
          </a:p>
        </p:txBody>
      </p:sp>
      <p:sp>
        <p:nvSpPr>
          <p:cNvPr id="23" name="object 23"/>
          <p:cNvSpPr txBox="1"/>
          <p:nvPr/>
        </p:nvSpPr>
        <p:spPr>
          <a:xfrm>
            <a:off x="6948043" y="3803141"/>
            <a:ext cx="2240280" cy="239395"/>
          </a:xfrm>
          <a:prstGeom prst="rect">
            <a:avLst/>
          </a:prstGeom>
        </p:spPr>
        <p:txBody>
          <a:bodyPr vert="horz" wrap="square" lIns="0" tIns="12700" rIns="0" bIns="0" rtlCol="0">
            <a:spAutoFit/>
          </a:bodyPr>
          <a:lstStyle/>
          <a:p>
            <a:pPr marL="12700">
              <a:lnSpc>
                <a:spcPct val="100000"/>
              </a:lnSpc>
              <a:spcBef>
                <a:spcPts val="100"/>
              </a:spcBef>
            </a:pPr>
            <a:r>
              <a:rPr sz="1400" b="1">
                <a:solidFill>
                  <a:srgbClr val="FFFFFF"/>
                </a:solidFill>
                <a:latin typeface="Verdana"/>
                <a:cs typeface="Verdana"/>
              </a:rPr>
              <a:t>New </a:t>
            </a:r>
            <a:r>
              <a:rPr sz="1400" b="1" spc="-5">
                <a:solidFill>
                  <a:srgbClr val="FFFFFF"/>
                </a:solidFill>
                <a:latin typeface="Verdana"/>
                <a:cs typeface="Verdana"/>
              </a:rPr>
              <a:t>processes</a:t>
            </a:r>
            <a:r>
              <a:rPr sz="1400" b="1" spc="-105">
                <a:solidFill>
                  <a:srgbClr val="FFFFFF"/>
                </a:solidFill>
                <a:latin typeface="Verdana"/>
                <a:cs typeface="Verdana"/>
              </a:rPr>
              <a:t> </a:t>
            </a:r>
            <a:r>
              <a:rPr sz="1400" b="1">
                <a:solidFill>
                  <a:srgbClr val="FFFFFF"/>
                </a:solidFill>
                <a:latin typeface="Verdana"/>
                <a:cs typeface="Verdana"/>
              </a:rPr>
              <a:t>design</a:t>
            </a:r>
            <a:endParaRPr sz="1400">
              <a:latin typeface="Verdana"/>
              <a:cs typeface="Verdana"/>
            </a:endParaRPr>
          </a:p>
        </p:txBody>
      </p:sp>
      <p:sp>
        <p:nvSpPr>
          <p:cNvPr id="24" name="object 24"/>
          <p:cNvSpPr txBox="1"/>
          <p:nvPr/>
        </p:nvSpPr>
        <p:spPr>
          <a:xfrm>
            <a:off x="3798823" y="3309873"/>
            <a:ext cx="984885" cy="299720"/>
          </a:xfrm>
          <a:prstGeom prst="rect">
            <a:avLst/>
          </a:prstGeom>
        </p:spPr>
        <p:txBody>
          <a:bodyPr vert="horz" wrap="square" lIns="0" tIns="12700" rIns="0" bIns="0" rtlCol="0">
            <a:spAutoFit/>
          </a:bodyPr>
          <a:lstStyle/>
          <a:p>
            <a:pPr marL="12700">
              <a:lnSpc>
                <a:spcPct val="100000"/>
              </a:lnSpc>
              <a:spcBef>
                <a:spcPts val="100"/>
              </a:spcBef>
            </a:pPr>
            <a:r>
              <a:rPr sz="1800">
                <a:solidFill>
                  <a:srgbClr val="FFFFFF"/>
                </a:solidFill>
                <a:latin typeface="Verdana"/>
                <a:cs typeface="Verdana"/>
              </a:rPr>
              <a:t>Streams</a:t>
            </a:r>
            <a:endParaRPr sz="1800">
              <a:latin typeface="Verdana"/>
              <a:cs typeface="Verdana"/>
            </a:endParaRPr>
          </a:p>
        </p:txBody>
      </p:sp>
      <p:sp>
        <p:nvSpPr>
          <p:cNvPr id="25" name="object 25"/>
          <p:cNvSpPr/>
          <p:nvPr/>
        </p:nvSpPr>
        <p:spPr>
          <a:xfrm>
            <a:off x="6312408" y="3614928"/>
            <a:ext cx="112775" cy="251460"/>
          </a:xfrm>
          <a:prstGeom prst="rect">
            <a:avLst/>
          </a:prstGeom>
          <a:blipFill>
            <a:blip r:embed="rId3" cstate="print"/>
            <a:stretch>
              <a:fillRect/>
            </a:stretch>
          </a:blipFill>
        </p:spPr>
        <p:txBody>
          <a:bodyPr wrap="square" lIns="0" tIns="0" rIns="0" bIns="0" rtlCol="0"/>
          <a:lstStyle/>
          <a:p>
            <a:endParaRPr/>
          </a:p>
        </p:txBody>
      </p:sp>
      <p:sp>
        <p:nvSpPr>
          <p:cNvPr id="26" name="object 26"/>
          <p:cNvSpPr/>
          <p:nvPr/>
        </p:nvSpPr>
        <p:spPr>
          <a:xfrm>
            <a:off x="6312408" y="3614928"/>
            <a:ext cx="113030" cy="251460"/>
          </a:xfrm>
          <a:custGeom>
            <a:avLst/>
            <a:gdLst/>
            <a:ahLst/>
            <a:cxnLst/>
            <a:rect l="l" t="t" r="r" b="b"/>
            <a:pathLst>
              <a:path w="113029" h="251460">
                <a:moveTo>
                  <a:pt x="0" y="56388"/>
                </a:moveTo>
                <a:lnTo>
                  <a:pt x="4435" y="34450"/>
                </a:lnTo>
                <a:lnTo>
                  <a:pt x="16525" y="16525"/>
                </a:lnTo>
                <a:lnTo>
                  <a:pt x="34450" y="4435"/>
                </a:lnTo>
                <a:lnTo>
                  <a:pt x="56387" y="0"/>
                </a:lnTo>
                <a:lnTo>
                  <a:pt x="78325" y="4435"/>
                </a:lnTo>
                <a:lnTo>
                  <a:pt x="96250" y="16525"/>
                </a:lnTo>
                <a:lnTo>
                  <a:pt x="108340" y="34450"/>
                </a:lnTo>
                <a:lnTo>
                  <a:pt x="112775" y="56388"/>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8"/>
                </a:lnTo>
                <a:close/>
              </a:path>
            </a:pathLst>
          </a:custGeom>
          <a:ln w="9144">
            <a:solidFill>
              <a:srgbClr val="0D80A3"/>
            </a:solidFill>
          </a:ln>
        </p:spPr>
        <p:txBody>
          <a:bodyPr wrap="square" lIns="0" tIns="0" rIns="0" bIns="0" rtlCol="0"/>
          <a:lstStyle/>
          <a:p>
            <a:endParaRPr/>
          </a:p>
        </p:txBody>
      </p:sp>
      <p:sp>
        <p:nvSpPr>
          <p:cNvPr id="27" name="object 27"/>
          <p:cNvSpPr/>
          <p:nvPr/>
        </p:nvSpPr>
        <p:spPr>
          <a:xfrm>
            <a:off x="6312408" y="3976115"/>
            <a:ext cx="112775" cy="251459"/>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6312408" y="3976115"/>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1"/>
                </a:lnTo>
                <a:lnTo>
                  <a:pt x="108340" y="217009"/>
                </a:lnTo>
                <a:lnTo>
                  <a:pt x="96250" y="234934"/>
                </a:lnTo>
                <a:lnTo>
                  <a:pt x="78325" y="247024"/>
                </a:lnTo>
                <a:lnTo>
                  <a:pt x="56387" y="251459"/>
                </a:lnTo>
                <a:lnTo>
                  <a:pt x="34450" y="247024"/>
                </a:lnTo>
                <a:lnTo>
                  <a:pt x="16525" y="234934"/>
                </a:lnTo>
                <a:lnTo>
                  <a:pt x="4435" y="217009"/>
                </a:lnTo>
                <a:lnTo>
                  <a:pt x="0" y="195071"/>
                </a:lnTo>
                <a:lnTo>
                  <a:pt x="0" y="56387"/>
                </a:lnTo>
                <a:close/>
              </a:path>
            </a:pathLst>
          </a:custGeom>
          <a:ln w="9144">
            <a:solidFill>
              <a:srgbClr val="0D80A3"/>
            </a:solidFill>
          </a:ln>
        </p:spPr>
        <p:txBody>
          <a:bodyPr wrap="square" lIns="0" tIns="0" rIns="0" bIns="0" rtlCol="0"/>
          <a:lstStyle/>
          <a:p>
            <a:endParaRPr/>
          </a:p>
        </p:txBody>
      </p:sp>
      <p:sp>
        <p:nvSpPr>
          <p:cNvPr id="29" name="object 29"/>
          <p:cNvSpPr/>
          <p:nvPr/>
        </p:nvSpPr>
        <p:spPr>
          <a:xfrm>
            <a:off x="6312408" y="3671315"/>
            <a:ext cx="607060" cy="498475"/>
          </a:xfrm>
          <a:custGeom>
            <a:avLst/>
            <a:gdLst/>
            <a:ahLst/>
            <a:cxnLst/>
            <a:rect l="l" t="t" r="r" b="b"/>
            <a:pathLst>
              <a:path w="607059" h="498475">
                <a:moveTo>
                  <a:pt x="459232" y="0"/>
                </a:moveTo>
                <a:lnTo>
                  <a:pt x="0" y="0"/>
                </a:lnTo>
                <a:lnTo>
                  <a:pt x="0" y="498347"/>
                </a:lnTo>
                <a:lnTo>
                  <a:pt x="459232" y="498347"/>
                </a:lnTo>
                <a:lnTo>
                  <a:pt x="606551" y="249173"/>
                </a:lnTo>
                <a:lnTo>
                  <a:pt x="459232" y="0"/>
                </a:lnTo>
                <a:close/>
              </a:path>
            </a:pathLst>
          </a:custGeom>
          <a:solidFill>
            <a:srgbClr val="BEBEBE"/>
          </a:solidFill>
        </p:spPr>
        <p:txBody>
          <a:bodyPr wrap="square" lIns="0" tIns="0" rIns="0" bIns="0" rtlCol="0"/>
          <a:lstStyle/>
          <a:p>
            <a:endParaRPr/>
          </a:p>
        </p:txBody>
      </p:sp>
      <p:sp>
        <p:nvSpPr>
          <p:cNvPr id="30" name="object 30"/>
          <p:cNvSpPr/>
          <p:nvPr/>
        </p:nvSpPr>
        <p:spPr>
          <a:xfrm>
            <a:off x="6312408" y="3671315"/>
            <a:ext cx="607060" cy="498475"/>
          </a:xfrm>
          <a:custGeom>
            <a:avLst/>
            <a:gdLst/>
            <a:ahLst/>
            <a:cxnLst/>
            <a:rect l="l" t="t" r="r" b="b"/>
            <a:pathLst>
              <a:path w="607059" h="498475">
                <a:moveTo>
                  <a:pt x="0" y="0"/>
                </a:moveTo>
                <a:lnTo>
                  <a:pt x="459232" y="0"/>
                </a:lnTo>
                <a:lnTo>
                  <a:pt x="606551" y="249173"/>
                </a:lnTo>
                <a:lnTo>
                  <a:pt x="459232" y="498347"/>
                </a:lnTo>
                <a:lnTo>
                  <a:pt x="0" y="498347"/>
                </a:lnTo>
                <a:lnTo>
                  <a:pt x="0" y="0"/>
                </a:lnTo>
                <a:close/>
              </a:path>
            </a:pathLst>
          </a:custGeom>
          <a:ln w="9144">
            <a:solidFill>
              <a:srgbClr val="FFFFFF"/>
            </a:solidFill>
          </a:ln>
        </p:spPr>
        <p:txBody>
          <a:bodyPr wrap="square" lIns="0" tIns="0" rIns="0" bIns="0" rtlCol="0"/>
          <a:lstStyle/>
          <a:p>
            <a:endParaRPr/>
          </a:p>
        </p:txBody>
      </p:sp>
      <p:sp>
        <p:nvSpPr>
          <p:cNvPr id="31" name="object 31"/>
          <p:cNvSpPr txBox="1"/>
          <p:nvPr/>
        </p:nvSpPr>
        <p:spPr>
          <a:xfrm>
            <a:off x="6392036" y="3816222"/>
            <a:ext cx="29718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3.3</a:t>
            </a:r>
            <a:endParaRPr sz="1200">
              <a:latin typeface="Verdana"/>
              <a:cs typeface="Verdana"/>
            </a:endParaRPr>
          </a:p>
        </p:txBody>
      </p:sp>
      <p:sp>
        <p:nvSpPr>
          <p:cNvPr id="32" name="object 32"/>
          <p:cNvSpPr/>
          <p:nvPr/>
        </p:nvSpPr>
        <p:spPr>
          <a:xfrm>
            <a:off x="1749551" y="2057400"/>
            <a:ext cx="574675" cy="541020"/>
          </a:xfrm>
          <a:custGeom>
            <a:avLst/>
            <a:gdLst/>
            <a:ahLst/>
            <a:cxnLst/>
            <a:rect l="l" t="t" r="r" b="b"/>
            <a:pathLst>
              <a:path w="574675" h="541019">
                <a:moveTo>
                  <a:pt x="287274" y="0"/>
                </a:moveTo>
                <a:lnTo>
                  <a:pt x="237150" y="5224"/>
                </a:lnTo>
                <a:lnTo>
                  <a:pt x="189353" y="18243"/>
                </a:lnTo>
                <a:lnTo>
                  <a:pt x="144836" y="38372"/>
                </a:lnTo>
                <a:lnTo>
                  <a:pt x="104552" y="64930"/>
                </a:lnTo>
                <a:lnTo>
                  <a:pt x="69455" y="97234"/>
                </a:lnTo>
                <a:lnTo>
                  <a:pt x="40498" y="134601"/>
                </a:lnTo>
                <a:lnTo>
                  <a:pt x="18635" y="176348"/>
                </a:lnTo>
                <a:lnTo>
                  <a:pt x="4817" y="221794"/>
                </a:lnTo>
                <a:lnTo>
                  <a:pt x="0" y="270255"/>
                </a:lnTo>
                <a:lnTo>
                  <a:pt x="3404" y="314362"/>
                </a:lnTo>
                <a:lnTo>
                  <a:pt x="13380" y="356591"/>
                </a:lnTo>
                <a:lnTo>
                  <a:pt x="29575" y="396223"/>
                </a:lnTo>
                <a:lnTo>
                  <a:pt x="51633" y="432539"/>
                </a:lnTo>
                <a:lnTo>
                  <a:pt x="79200" y="464820"/>
                </a:lnTo>
                <a:lnTo>
                  <a:pt x="111922" y="492345"/>
                </a:lnTo>
                <a:lnTo>
                  <a:pt x="149445" y="514396"/>
                </a:lnTo>
                <a:lnTo>
                  <a:pt x="191414" y="530254"/>
                </a:lnTo>
                <a:lnTo>
                  <a:pt x="237475" y="539199"/>
                </a:lnTo>
                <a:lnTo>
                  <a:pt x="287274" y="540512"/>
                </a:lnTo>
                <a:lnTo>
                  <a:pt x="329570" y="533585"/>
                </a:lnTo>
                <a:lnTo>
                  <a:pt x="373209" y="519671"/>
                </a:lnTo>
                <a:lnTo>
                  <a:pt x="416503" y="499288"/>
                </a:lnTo>
                <a:lnTo>
                  <a:pt x="457765" y="472957"/>
                </a:lnTo>
                <a:lnTo>
                  <a:pt x="495308" y="441197"/>
                </a:lnTo>
                <a:lnTo>
                  <a:pt x="527445" y="404527"/>
                </a:lnTo>
                <a:lnTo>
                  <a:pt x="552488" y="363468"/>
                </a:lnTo>
                <a:lnTo>
                  <a:pt x="568751" y="318537"/>
                </a:lnTo>
                <a:lnTo>
                  <a:pt x="574548" y="270255"/>
                </a:lnTo>
                <a:lnTo>
                  <a:pt x="571099" y="226406"/>
                </a:lnTo>
                <a:lnTo>
                  <a:pt x="561008" y="184773"/>
                </a:lnTo>
                <a:lnTo>
                  <a:pt x="544660" y="145928"/>
                </a:lnTo>
                <a:lnTo>
                  <a:pt x="522439" y="110441"/>
                </a:lnTo>
                <a:lnTo>
                  <a:pt x="494728" y="78882"/>
                </a:lnTo>
                <a:lnTo>
                  <a:pt x="461912" y="51824"/>
                </a:lnTo>
                <a:lnTo>
                  <a:pt x="424374" y="29835"/>
                </a:lnTo>
                <a:lnTo>
                  <a:pt x="382499" y="13488"/>
                </a:lnTo>
                <a:lnTo>
                  <a:pt x="336671" y="3352"/>
                </a:lnTo>
                <a:lnTo>
                  <a:pt x="287274" y="0"/>
                </a:lnTo>
                <a:close/>
              </a:path>
            </a:pathLst>
          </a:custGeom>
          <a:solidFill>
            <a:srgbClr val="BEBEBE"/>
          </a:solidFill>
        </p:spPr>
        <p:txBody>
          <a:bodyPr wrap="square" lIns="0" tIns="0" rIns="0" bIns="0" rtlCol="0"/>
          <a:lstStyle/>
          <a:p>
            <a:endParaRPr/>
          </a:p>
        </p:txBody>
      </p:sp>
      <p:sp>
        <p:nvSpPr>
          <p:cNvPr id="33" name="object 33"/>
          <p:cNvSpPr txBox="1"/>
          <p:nvPr/>
        </p:nvSpPr>
        <p:spPr>
          <a:xfrm>
            <a:off x="1960245" y="2207768"/>
            <a:ext cx="15240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3</a:t>
            </a:r>
            <a:endParaRPr sz="1400">
              <a:latin typeface="Verdana"/>
              <a:cs typeface="Verdana"/>
            </a:endParaRPr>
          </a:p>
        </p:txBody>
      </p:sp>
      <p:sp>
        <p:nvSpPr>
          <p:cNvPr id="34" name="object 34"/>
          <p:cNvSpPr/>
          <p:nvPr/>
        </p:nvSpPr>
        <p:spPr>
          <a:xfrm>
            <a:off x="6312408" y="4338828"/>
            <a:ext cx="3534410" cy="612775"/>
          </a:xfrm>
          <a:custGeom>
            <a:avLst/>
            <a:gdLst/>
            <a:ahLst/>
            <a:cxnLst/>
            <a:rect l="l" t="t" r="r" b="b"/>
            <a:pathLst>
              <a:path w="3534409" h="612775">
                <a:moveTo>
                  <a:pt x="3432047" y="0"/>
                </a:moveTo>
                <a:lnTo>
                  <a:pt x="102107" y="0"/>
                </a:lnTo>
                <a:lnTo>
                  <a:pt x="62364" y="8024"/>
                </a:lnTo>
                <a:lnTo>
                  <a:pt x="29908" y="29908"/>
                </a:lnTo>
                <a:lnTo>
                  <a:pt x="8024" y="62364"/>
                </a:lnTo>
                <a:lnTo>
                  <a:pt x="0" y="102108"/>
                </a:lnTo>
                <a:lnTo>
                  <a:pt x="0" y="612648"/>
                </a:lnTo>
                <a:lnTo>
                  <a:pt x="3534156" y="612648"/>
                </a:lnTo>
                <a:lnTo>
                  <a:pt x="3534156" y="102108"/>
                </a:lnTo>
                <a:lnTo>
                  <a:pt x="3526131" y="62364"/>
                </a:lnTo>
                <a:lnTo>
                  <a:pt x="3504247" y="29908"/>
                </a:lnTo>
                <a:lnTo>
                  <a:pt x="3471791" y="8024"/>
                </a:lnTo>
                <a:lnTo>
                  <a:pt x="3432047" y="0"/>
                </a:lnTo>
                <a:close/>
              </a:path>
            </a:pathLst>
          </a:custGeom>
          <a:solidFill>
            <a:srgbClr val="BEBEBE"/>
          </a:solidFill>
        </p:spPr>
        <p:txBody>
          <a:bodyPr wrap="square" lIns="0" tIns="0" rIns="0" bIns="0" rtlCol="0"/>
          <a:lstStyle/>
          <a:p>
            <a:endParaRPr/>
          </a:p>
        </p:txBody>
      </p:sp>
      <p:sp>
        <p:nvSpPr>
          <p:cNvPr id="35" name="object 35"/>
          <p:cNvSpPr txBox="1"/>
          <p:nvPr/>
        </p:nvSpPr>
        <p:spPr>
          <a:xfrm>
            <a:off x="7057770" y="4433442"/>
            <a:ext cx="2376170" cy="453390"/>
          </a:xfrm>
          <a:prstGeom prst="rect">
            <a:avLst/>
          </a:prstGeom>
        </p:spPr>
        <p:txBody>
          <a:bodyPr vert="horz" wrap="square" lIns="0" tIns="12700" rIns="0" bIns="0" rtlCol="0">
            <a:spAutoFit/>
          </a:bodyPr>
          <a:lstStyle/>
          <a:p>
            <a:pPr marL="12700">
              <a:lnSpc>
                <a:spcPct val="100000"/>
              </a:lnSpc>
              <a:spcBef>
                <a:spcPts val="100"/>
              </a:spcBef>
            </a:pPr>
            <a:r>
              <a:rPr sz="1400" b="1" spc="-5">
                <a:solidFill>
                  <a:srgbClr val="FFFFFF"/>
                </a:solidFill>
                <a:latin typeface="Verdana"/>
                <a:cs typeface="Verdana"/>
              </a:rPr>
              <a:t>Integrations </a:t>
            </a:r>
            <a:r>
              <a:rPr sz="1400" b="1">
                <a:solidFill>
                  <a:srgbClr val="FFFFFF"/>
                </a:solidFill>
                <a:latin typeface="Verdana"/>
                <a:cs typeface="Verdana"/>
              </a:rPr>
              <a:t>with</a:t>
            </a:r>
            <a:r>
              <a:rPr sz="1400" b="1" spc="-60">
                <a:solidFill>
                  <a:srgbClr val="FFFFFF"/>
                </a:solidFill>
                <a:latin typeface="Verdana"/>
                <a:cs typeface="Verdana"/>
              </a:rPr>
              <a:t> </a:t>
            </a:r>
            <a:r>
              <a:rPr sz="1400" b="1" spc="-5">
                <a:solidFill>
                  <a:srgbClr val="FFFFFF"/>
                </a:solidFill>
                <a:latin typeface="Verdana"/>
                <a:cs typeface="Verdana"/>
              </a:rPr>
              <a:t>other</a:t>
            </a:r>
            <a:endParaRPr sz="1400">
              <a:latin typeface="Verdana"/>
              <a:cs typeface="Verdana"/>
            </a:endParaRPr>
          </a:p>
          <a:p>
            <a:pPr marL="12700">
              <a:lnSpc>
                <a:spcPct val="100000"/>
              </a:lnSpc>
            </a:pPr>
            <a:r>
              <a:rPr sz="1400" b="1">
                <a:solidFill>
                  <a:srgbClr val="FFFFFF"/>
                </a:solidFill>
                <a:latin typeface="Verdana"/>
                <a:cs typeface="Verdana"/>
              </a:rPr>
              <a:t>tools</a:t>
            </a:r>
            <a:endParaRPr sz="1400">
              <a:latin typeface="Verdana"/>
              <a:cs typeface="Verdana"/>
            </a:endParaRPr>
          </a:p>
        </p:txBody>
      </p:sp>
      <p:sp>
        <p:nvSpPr>
          <p:cNvPr id="36" name="object 36"/>
          <p:cNvSpPr/>
          <p:nvPr/>
        </p:nvSpPr>
        <p:spPr>
          <a:xfrm>
            <a:off x="6301740" y="4351020"/>
            <a:ext cx="112775" cy="251460"/>
          </a:xfrm>
          <a:prstGeom prst="rect">
            <a:avLst/>
          </a:prstGeom>
          <a:blipFill>
            <a:blip r:embed="rId4" cstate="print"/>
            <a:stretch>
              <a:fillRect/>
            </a:stretch>
          </a:blipFill>
        </p:spPr>
        <p:txBody>
          <a:bodyPr wrap="square" lIns="0" tIns="0" rIns="0" bIns="0" rtlCol="0"/>
          <a:lstStyle/>
          <a:p>
            <a:endParaRPr/>
          </a:p>
        </p:txBody>
      </p:sp>
      <p:sp>
        <p:nvSpPr>
          <p:cNvPr id="37" name="object 37"/>
          <p:cNvSpPr/>
          <p:nvPr/>
        </p:nvSpPr>
        <p:spPr>
          <a:xfrm>
            <a:off x="6301740" y="4351020"/>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1"/>
                </a:lnTo>
                <a:lnTo>
                  <a:pt x="108340" y="217009"/>
                </a:lnTo>
                <a:lnTo>
                  <a:pt x="96250" y="234934"/>
                </a:lnTo>
                <a:lnTo>
                  <a:pt x="78325" y="247024"/>
                </a:lnTo>
                <a:lnTo>
                  <a:pt x="56387" y="251459"/>
                </a:lnTo>
                <a:lnTo>
                  <a:pt x="34450" y="247024"/>
                </a:lnTo>
                <a:lnTo>
                  <a:pt x="16525" y="234934"/>
                </a:lnTo>
                <a:lnTo>
                  <a:pt x="4435" y="217009"/>
                </a:lnTo>
                <a:lnTo>
                  <a:pt x="0" y="195071"/>
                </a:lnTo>
                <a:lnTo>
                  <a:pt x="0" y="56387"/>
                </a:lnTo>
                <a:close/>
              </a:path>
            </a:pathLst>
          </a:custGeom>
          <a:ln w="9144">
            <a:solidFill>
              <a:srgbClr val="0D80A3"/>
            </a:solidFill>
          </a:ln>
        </p:spPr>
        <p:txBody>
          <a:bodyPr wrap="square" lIns="0" tIns="0" rIns="0" bIns="0" rtlCol="0"/>
          <a:lstStyle/>
          <a:p>
            <a:endParaRPr/>
          </a:p>
        </p:txBody>
      </p:sp>
      <p:sp>
        <p:nvSpPr>
          <p:cNvPr id="38" name="object 38"/>
          <p:cNvSpPr/>
          <p:nvPr/>
        </p:nvSpPr>
        <p:spPr>
          <a:xfrm>
            <a:off x="6301740" y="4712208"/>
            <a:ext cx="112775" cy="251460"/>
          </a:xfrm>
          <a:prstGeom prst="rect">
            <a:avLst/>
          </a:prstGeom>
          <a:blipFill>
            <a:blip r:embed="rId3" cstate="print"/>
            <a:stretch>
              <a:fillRect/>
            </a:stretch>
          </a:blipFill>
        </p:spPr>
        <p:txBody>
          <a:bodyPr wrap="square" lIns="0" tIns="0" rIns="0" bIns="0" rtlCol="0"/>
          <a:lstStyle/>
          <a:p>
            <a:endParaRPr/>
          </a:p>
        </p:txBody>
      </p:sp>
      <p:sp>
        <p:nvSpPr>
          <p:cNvPr id="39" name="object 39"/>
          <p:cNvSpPr/>
          <p:nvPr/>
        </p:nvSpPr>
        <p:spPr>
          <a:xfrm>
            <a:off x="6301740" y="4712208"/>
            <a:ext cx="113030" cy="251460"/>
          </a:xfrm>
          <a:custGeom>
            <a:avLst/>
            <a:gdLst/>
            <a:ahLst/>
            <a:cxnLst/>
            <a:rect l="l" t="t" r="r" b="b"/>
            <a:pathLst>
              <a:path w="113029" h="251460">
                <a:moveTo>
                  <a:pt x="0" y="56388"/>
                </a:moveTo>
                <a:lnTo>
                  <a:pt x="4435" y="34450"/>
                </a:lnTo>
                <a:lnTo>
                  <a:pt x="16525" y="16525"/>
                </a:lnTo>
                <a:lnTo>
                  <a:pt x="34450" y="4435"/>
                </a:lnTo>
                <a:lnTo>
                  <a:pt x="56387" y="0"/>
                </a:lnTo>
                <a:lnTo>
                  <a:pt x="78325" y="4435"/>
                </a:lnTo>
                <a:lnTo>
                  <a:pt x="96250" y="16525"/>
                </a:lnTo>
                <a:lnTo>
                  <a:pt x="108340" y="34450"/>
                </a:lnTo>
                <a:lnTo>
                  <a:pt x="112775" y="56388"/>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8"/>
                </a:lnTo>
                <a:close/>
              </a:path>
            </a:pathLst>
          </a:custGeom>
          <a:ln w="9144">
            <a:solidFill>
              <a:srgbClr val="0D80A3"/>
            </a:solidFill>
          </a:ln>
        </p:spPr>
        <p:txBody>
          <a:bodyPr wrap="square" lIns="0" tIns="0" rIns="0" bIns="0" rtlCol="0"/>
          <a:lstStyle/>
          <a:p>
            <a:endParaRPr/>
          </a:p>
        </p:txBody>
      </p:sp>
      <p:sp>
        <p:nvSpPr>
          <p:cNvPr id="40" name="object 40"/>
          <p:cNvSpPr/>
          <p:nvPr/>
        </p:nvSpPr>
        <p:spPr>
          <a:xfrm>
            <a:off x="6301740" y="4408932"/>
            <a:ext cx="607060" cy="497205"/>
          </a:xfrm>
          <a:custGeom>
            <a:avLst/>
            <a:gdLst/>
            <a:ahLst/>
            <a:cxnLst/>
            <a:rect l="l" t="t" r="r" b="b"/>
            <a:pathLst>
              <a:path w="607059" h="497204">
                <a:moveTo>
                  <a:pt x="459613" y="0"/>
                </a:moveTo>
                <a:lnTo>
                  <a:pt x="0" y="0"/>
                </a:lnTo>
                <a:lnTo>
                  <a:pt x="0" y="496824"/>
                </a:lnTo>
                <a:lnTo>
                  <a:pt x="459613" y="496824"/>
                </a:lnTo>
                <a:lnTo>
                  <a:pt x="606552" y="248412"/>
                </a:lnTo>
                <a:lnTo>
                  <a:pt x="459613" y="0"/>
                </a:lnTo>
                <a:close/>
              </a:path>
            </a:pathLst>
          </a:custGeom>
          <a:solidFill>
            <a:srgbClr val="BEBEBE"/>
          </a:solidFill>
        </p:spPr>
        <p:txBody>
          <a:bodyPr wrap="square" lIns="0" tIns="0" rIns="0" bIns="0" rtlCol="0"/>
          <a:lstStyle/>
          <a:p>
            <a:endParaRPr/>
          </a:p>
        </p:txBody>
      </p:sp>
      <p:sp>
        <p:nvSpPr>
          <p:cNvPr id="41" name="object 41"/>
          <p:cNvSpPr/>
          <p:nvPr/>
        </p:nvSpPr>
        <p:spPr>
          <a:xfrm>
            <a:off x="6301740" y="4408932"/>
            <a:ext cx="607060" cy="497205"/>
          </a:xfrm>
          <a:custGeom>
            <a:avLst/>
            <a:gdLst/>
            <a:ahLst/>
            <a:cxnLst/>
            <a:rect l="l" t="t" r="r" b="b"/>
            <a:pathLst>
              <a:path w="607059" h="497204">
                <a:moveTo>
                  <a:pt x="0" y="0"/>
                </a:moveTo>
                <a:lnTo>
                  <a:pt x="459613" y="0"/>
                </a:lnTo>
                <a:lnTo>
                  <a:pt x="606552" y="248412"/>
                </a:lnTo>
                <a:lnTo>
                  <a:pt x="459613" y="496824"/>
                </a:lnTo>
                <a:lnTo>
                  <a:pt x="0" y="496824"/>
                </a:lnTo>
                <a:lnTo>
                  <a:pt x="0" y="0"/>
                </a:lnTo>
                <a:close/>
              </a:path>
            </a:pathLst>
          </a:custGeom>
          <a:ln w="9144">
            <a:solidFill>
              <a:srgbClr val="FFFFFF"/>
            </a:solidFill>
          </a:ln>
        </p:spPr>
        <p:txBody>
          <a:bodyPr wrap="square" lIns="0" tIns="0" rIns="0" bIns="0" rtlCol="0"/>
          <a:lstStyle/>
          <a:p>
            <a:endParaRPr/>
          </a:p>
        </p:txBody>
      </p:sp>
      <p:sp>
        <p:nvSpPr>
          <p:cNvPr id="42" name="object 42"/>
          <p:cNvSpPr txBox="1"/>
          <p:nvPr/>
        </p:nvSpPr>
        <p:spPr>
          <a:xfrm>
            <a:off x="6381369" y="4553204"/>
            <a:ext cx="29718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3.4</a:t>
            </a:r>
            <a:endParaRPr sz="1200">
              <a:latin typeface="Verdana"/>
              <a:cs typeface="Verdana"/>
            </a:endParaRPr>
          </a:p>
        </p:txBody>
      </p:sp>
      <p:sp>
        <p:nvSpPr>
          <p:cNvPr id="44" name="object 4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5" name="object 4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7</a:t>
            </a:fld>
            <a:endParaRPr sz="800">
              <a:latin typeface="Verdana"/>
              <a:cs typeface="Verdana"/>
            </a:endParaRPr>
          </a:p>
        </p:txBody>
      </p:sp>
      <p:sp>
        <p:nvSpPr>
          <p:cNvPr id="43" name="object 43"/>
          <p:cNvSpPr txBox="1"/>
          <p:nvPr/>
        </p:nvSpPr>
        <p:spPr>
          <a:xfrm>
            <a:off x="284479" y="1128776"/>
            <a:ext cx="6704330" cy="299720"/>
          </a:xfrm>
          <a:prstGeom prst="rect">
            <a:avLst/>
          </a:prstGeom>
        </p:spPr>
        <p:txBody>
          <a:bodyPr vert="horz" wrap="square" lIns="0" tIns="12700" rIns="0" bIns="0" rtlCol="0">
            <a:spAutoFit/>
          </a:bodyPr>
          <a:lstStyle/>
          <a:p>
            <a:pPr marL="12700">
              <a:lnSpc>
                <a:spcPct val="100000"/>
              </a:lnSpc>
              <a:spcBef>
                <a:spcPts val="100"/>
              </a:spcBef>
            </a:pPr>
            <a:r>
              <a:rPr sz="1800" spc="-5">
                <a:latin typeface="Verdana"/>
                <a:cs typeface="Verdana"/>
              </a:rPr>
              <a:t>Marelli </a:t>
            </a:r>
            <a:r>
              <a:rPr sz="1800">
                <a:latin typeface="Verdana"/>
                <a:cs typeface="Verdana"/>
              </a:rPr>
              <a:t>can optionally </a:t>
            </a:r>
            <a:r>
              <a:rPr sz="1800" spc="-5">
                <a:latin typeface="Verdana"/>
                <a:cs typeface="Verdana"/>
              </a:rPr>
              <a:t>assign </a:t>
            </a:r>
            <a:r>
              <a:rPr sz="1800">
                <a:latin typeface="Verdana"/>
                <a:cs typeface="Verdana"/>
              </a:rPr>
              <a:t>some </a:t>
            </a:r>
            <a:r>
              <a:rPr sz="1800" spc="-5">
                <a:latin typeface="Verdana"/>
                <a:cs typeface="Verdana"/>
              </a:rPr>
              <a:t>the </a:t>
            </a:r>
            <a:r>
              <a:rPr sz="1800">
                <a:latin typeface="Verdana"/>
                <a:cs typeface="Verdana"/>
              </a:rPr>
              <a:t>following</a:t>
            </a:r>
            <a:r>
              <a:rPr sz="1800" spc="-10">
                <a:latin typeface="Verdana"/>
                <a:cs typeface="Verdana"/>
              </a:rPr>
              <a:t> </a:t>
            </a:r>
            <a:r>
              <a:rPr sz="1800">
                <a:latin typeface="Verdana"/>
                <a:cs typeface="Verdana"/>
              </a:rPr>
              <a:t>initiatives</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8</a:t>
            </a:fld>
            <a:endParaRPr sz="800">
              <a:latin typeface="Verdana"/>
              <a:cs typeface="Verdana"/>
            </a:endParaRPr>
          </a:p>
        </p:txBody>
      </p:sp>
      <p:sp>
        <p:nvSpPr>
          <p:cNvPr id="8" name="Rectangle 7">
            <a:extLst>
              <a:ext uri="{FF2B5EF4-FFF2-40B4-BE49-F238E27FC236}">
                <a16:creationId xmlns:a16="http://schemas.microsoft.com/office/drawing/2014/main" id="{D07589A5-6FDA-4B81-BB80-3493EE9E8125}"/>
              </a:ext>
            </a:extLst>
          </p:cNvPr>
          <p:cNvSpPr/>
          <p:nvPr/>
        </p:nvSpPr>
        <p:spPr>
          <a:xfrm>
            <a:off x="347037" y="1196375"/>
            <a:ext cx="11497926" cy="800219"/>
          </a:xfrm>
          <a:prstGeom prst="rect">
            <a:avLst/>
          </a:prstGeom>
        </p:spPr>
        <p:txBody>
          <a:bodyPr wrap="square">
            <a:spAutoFit/>
          </a:bodyPr>
          <a:lstStyle/>
          <a:p>
            <a:r>
              <a:rPr lang="en-US" sz="1600">
                <a:solidFill>
                  <a:prstClr val="black"/>
                </a:solidFill>
                <a:latin typeface="Verdana"/>
              </a:rPr>
              <a:t>For each Initiative assigned by Marelli, the following activities will be executed according to our tailored Agile approach and according to deliverables requested</a:t>
            </a:r>
          </a:p>
          <a:p>
            <a:endParaRPr lang="en-US" sz="1400" b="1">
              <a:solidFill>
                <a:srgbClr val="12ABDB"/>
              </a:solidFill>
              <a:latin typeface="Verdana" panose="020B0604030504040204" pitchFamily="34" charset="0"/>
            </a:endParaRPr>
          </a:p>
        </p:txBody>
      </p:sp>
      <p:sp>
        <p:nvSpPr>
          <p:cNvPr id="9" name="Rectangle 8">
            <a:extLst>
              <a:ext uri="{FF2B5EF4-FFF2-40B4-BE49-F238E27FC236}">
                <a16:creationId xmlns:a16="http://schemas.microsoft.com/office/drawing/2014/main" id="{A69D3106-1B99-48B2-97A6-2A85349DEBE0}"/>
              </a:ext>
            </a:extLst>
          </p:cNvPr>
          <p:cNvSpPr/>
          <p:nvPr/>
        </p:nvSpPr>
        <p:spPr>
          <a:xfrm>
            <a:off x="329380" y="3843035"/>
            <a:ext cx="11643545" cy="646331"/>
          </a:xfrm>
          <a:prstGeom prst="rect">
            <a:avLst/>
          </a:prstGeom>
        </p:spPr>
        <p:txBody>
          <a:bodyPr wrap="square">
            <a:spAutoFit/>
          </a:bodyPr>
          <a:lstStyle/>
          <a:p>
            <a:endParaRPr lang="en-US" b="1" kern="0">
              <a:solidFill>
                <a:prstClr val="black"/>
              </a:solidFill>
              <a:latin typeface="Verdana"/>
              <a:cs typeface="Arial"/>
            </a:endParaRPr>
          </a:p>
          <a:p>
            <a:r>
              <a:rPr lang="en-US" b="1" kern="0">
                <a:solidFill>
                  <a:prstClr val="black"/>
                </a:solidFill>
                <a:latin typeface="Verdana"/>
                <a:cs typeface="Arial"/>
              </a:rPr>
              <a:t> </a:t>
            </a:r>
            <a:endParaRPr lang="nl-BE" b="1">
              <a:solidFill>
                <a:prstClr val="black"/>
              </a:solidFill>
              <a:latin typeface="Verdana"/>
            </a:endParaRPr>
          </a:p>
        </p:txBody>
      </p:sp>
      <p:sp>
        <p:nvSpPr>
          <p:cNvPr id="10" name="AutoShape 16">
            <a:extLst>
              <a:ext uri="{FF2B5EF4-FFF2-40B4-BE49-F238E27FC236}">
                <a16:creationId xmlns:a16="http://schemas.microsoft.com/office/drawing/2014/main" id="{06EE102D-6FF2-4FA1-8C8E-70E7000824B9}"/>
              </a:ext>
            </a:extLst>
          </p:cNvPr>
          <p:cNvSpPr>
            <a:spLocks/>
          </p:cNvSpPr>
          <p:nvPr/>
        </p:nvSpPr>
        <p:spPr bwMode="auto">
          <a:xfrm>
            <a:off x="323035" y="2456357"/>
            <a:ext cx="3344090" cy="3806219"/>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During the pre-game phase we will refine all use cases that Marelli has already shared and we will design the new solutio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Main deliverables are Product Backlog (Use Cases) and High-Level Solution Design / Low Level Solution Design (Technical Specificatio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We estimated that the duration of these initiatives might vary from a minimum of 3 months to 7 month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After the sign-off of product backlog and sprint planning, we can start with the next phase</a:t>
            </a:r>
          </a:p>
        </p:txBody>
      </p:sp>
      <p:sp>
        <p:nvSpPr>
          <p:cNvPr id="11" name="Rectangle: Diagonal Corners Rounded 68">
            <a:extLst>
              <a:ext uri="{FF2B5EF4-FFF2-40B4-BE49-F238E27FC236}">
                <a16:creationId xmlns:a16="http://schemas.microsoft.com/office/drawing/2014/main" id="{8AD063DC-6BBC-47C3-806D-20EB573D1ED7}"/>
              </a:ext>
            </a:extLst>
          </p:cNvPr>
          <p:cNvSpPr/>
          <p:nvPr/>
        </p:nvSpPr>
        <p:spPr bwMode="auto">
          <a:xfrm>
            <a:off x="323035" y="2089676"/>
            <a:ext cx="3344090" cy="646331"/>
          </a:xfrm>
          <a:prstGeom prst="round2DiagRect">
            <a:avLst/>
          </a:prstGeom>
          <a:solidFill>
            <a:srgbClr val="0070AD"/>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Pre-game &amp; Design Phase</a:t>
            </a:r>
            <a:endParaRPr kumimoji="0" lang="da-DK" sz="1400" b="1" i="0" u="none" strike="noStrike" kern="0" cap="none" spc="0" normalizeH="0" baseline="0" noProof="0">
              <a:ln>
                <a:noFill/>
              </a:ln>
              <a:solidFill>
                <a:srgbClr val="FFFFFF"/>
              </a:solidFill>
              <a:effectLst/>
              <a:uLnTx/>
              <a:uFillTx/>
              <a:latin typeface="Verdana"/>
            </a:endParaRPr>
          </a:p>
        </p:txBody>
      </p:sp>
      <p:sp>
        <p:nvSpPr>
          <p:cNvPr id="12" name="AutoShape 16">
            <a:extLst>
              <a:ext uri="{FF2B5EF4-FFF2-40B4-BE49-F238E27FC236}">
                <a16:creationId xmlns:a16="http://schemas.microsoft.com/office/drawing/2014/main" id="{7FDED3C7-D316-43F9-A87B-06292D9843DF}"/>
              </a:ext>
            </a:extLst>
          </p:cNvPr>
          <p:cNvSpPr>
            <a:spLocks/>
          </p:cNvSpPr>
          <p:nvPr/>
        </p:nvSpPr>
        <p:spPr bwMode="auto">
          <a:xfrm>
            <a:off x="4171135" y="2456358"/>
            <a:ext cx="3344090" cy="3806218"/>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During the development phase, Capgemini will configure and realize all components depicted in the Technical Specificatio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Unit Test is included in this phase, in addition to tests with business users on single user stories in order to have continuous feedbacks, minimize risks and to increase solution adoption</a:t>
            </a:r>
          </a:p>
        </p:txBody>
      </p:sp>
      <p:sp>
        <p:nvSpPr>
          <p:cNvPr id="13" name="Rectangle: Diagonal Corners Rounded 68">
            <a:extLst>
              <a:ext uri="{FF2B5EF4-FFF2-40B4-BE49-F238E27FC236}">
                <a16:creationId xmlns:a16="http://schemas.microsoft.com/office/drawing/2014/main" id="{C8F44B1E-ABCE-4D44-8904-30E559E74690}"/>
              </a:ext>
            </a:extLst>
          </p:cNvPr>
          <p:cNvSpPr/>
          <p:nvPr/>
        </p:nvSpPr>
        <p:spPr bwMode="auto">
          <a:xfrm>
            <a:off x="4171135" y="2089676"/>
            <a:ext cx="3344090" cy="646331"/>
          </a:xfrm>
          <a:prstGeom prst="round2DiagRect">
            <a:avLst/>
          </a:prstGeom>
          <a:solidFill>
            <a:srgbClr val="00C37B"/>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Build</a:t>
            </a:r>
            <a:endParaRPr kumimoji="0" lang="da-DK" sz="1400" b="1" i="0" u="none" strike="noStrike" kern="0" cap="none" spc="0" normalizeH="0" baseline="0" noProof="0">
              <a:ln>
                <a:noFill/>
              </a:ln>
              <a:solidFill>
                <a:srgbClr val="FFFFFF"/>
              </a:solidFill>
              <a:effectLst/>
              <a:uLnTx/>
              <a:uFillTx/>
              <a:latin typeface="Verdana"/>
            </a:endParaRPr>
          </a:p>
        </p:txBody>
      </p:sp>
      <p:sp>
        <p:nvSpPr>
          <p:cNvPr id="14" name="AutoShape 16">
            <a:extLst>
              <a:ext uri="{FF2B5EF4-FFF2-40B4-BE49-F238E27FC236}">
                <a16:creationId xmlns:a16="http://schemas.microsoft.com/office/drawing/2014/main" id="{752CE0C6-D08A-4CD4-9ABC-77ED092DC7A7}"/>
              </a:ext>
            </a:extLst>
          </p:cNvPr>
          <p:cNvSpPr>
            <a:spLocks/>
          </p:cNvSpPr>
          <p:nvPr/>
        </p:nvSpPr>
        <p:spPr bwMode="auto">
          <a:xfrm>
            <a:off x="8038285" y="2456358"/>
            <a:ext cx="3344090" cy="3806218"/>
          </a:xfrm>
          <a:prstGeom prst="rect">
            <a:avLst/>
          </a:prstGeom>
          <a:solidFill>
            <a:srgbClr val="FFFFFF">
              <a:lumMod val="95000"/>
            </a:srgbClr>
          </a:solidFill>
          <a:ln w="12700" cap="flat" cmpd="sng" algn="ctr">
            <a:noFill/>
            <a:prstDash val="solid"/>
            <a:miter lim="800000"/>
          </a:ln>
          <a:effectLst/>
        </p:spPr>
        <p:txBody>
          <a:bodyPr lIns="144000" tIns="45720" rIns="14400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At the end of the Build phase, an end-to-end integration and user acceptance test will be performed on all features in scope</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Marelli trainers will be trained during ad-hoc session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Verdana"/>
              <a:ea typeface="+mn-ea"/>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Verdana"/>
                <a:ea typeface="+mn-ea"/>
                <a:cs typeface="+mn-cs"/>
              </a:rPr>
              <a:t>The solution will then be deployed by following Marelli procedures</a:t>
            </a:r>
          </a:p>
        </p:txBody>
      </p:sp>
      <p:sp>
        <p:nvSpPr>
          <p:cNvPr id="15" name="Rectangle: Diagonal Corners Rounded 68">
            <a:extLst>
              <a:ext uri="{FF2B5EF4-FFF2-40B4-BE49-F238E27FC236}">
                <a16:creationId xmlns:a16="http://schemas.microsoft.com/office/drawing/2014/main" id="{D566C570-46F9-4519-A559-ED77712D213D}"/>
              </a:ext>
            </a:extLst>
          </p:cNvPr>
          <p:cNvSpPr/>
          <p:nvPr/>
        </p:nvSpPr>
        <p:spPr bwMode="auto">
          <a:xfrm>
            <a:off x="8038285" y="2089676"/>
            <a:ext cx="3344090" cy="646331"/>
          </a:xfrm>
          <a:prstGeom prst="round2DiagRect">
            <a:avLst/>
          </a:prstGeom>
          <a:solidFill>
            <a:srgbClr val="2B143D">
              <a:lumMod val="75000"/>
              <a:lumOff val="25000"/>
            </a:srgbClr>
          </a:solidFill>
          <a:ln w="25400" cap="flat" cmpd="sng" algn="ctr">
            <a:noFill/>
            <a:prstDash val="solid"/>
          </a:ln>
          <a:effectLst/>
        </p:spPr>
        <p:txBody>
          <a:bodyPr rtlCol="0" anchor="ctr"/>
          <a:lstStyle/>
          <a:p>
            <a:pPr marL="0" marR="0" lvl="0" indent="0" algn="ctr" defTabSz="913998"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panose="020B0604030504040204" pitchFamily="34" charset="0"/>
              </a:rPr>
              <a:t>Closing</a:t>
            </a:r>
            <a:endParaRPr kumimoji="0" lang="da-DK" sz="1400" b="1" i="0" u="none" strike="noStrike" kern="0" cap="none" spc="0" normalizeH="0" baseline="0" noProof="0">
              <a:ln>
                <a:noFill/>
              </a:ln>
              <a:solidFill>
                <a:srgbClr val="FFFFFF"/>
              </a:solidFill>
              <a:effectLst/>
              <a:uLnTx/>
              <a:uFillTx/>
              <a:latin typeface="Verdana"/>
            </a:endParaRPr>
          </a:p>
        </p:txBody>
      </p:sp>
      <p:sp>
        <p:nvSpPr>
          <p:cNvPr id="16" name="Oval 15">
            <a:extLst>
              <a:ext uri="{FF2B5EF4-FFF2-40B4-BE49-F238E27FC236}">
                <a16:creationId xmlns:a16="http://schemas.microsoft.com/office/drawing/2014/main" id="{9140F1E2-7828-48FA-A5F5-7098A03C5C35}"/>
              </a:ext>
            </a:extLst>
          </p:cNvPr>
          <p:cNvSpPr/>
          <p:nvPr/>
        </p:nvSpPr>
        <p:spPr>
          <a:xfrm>
            <a:off x="74134" y="1979387"/>
            <a:ext cx="457200" cy="430211"/>
          </a:xfrm>
          <a:prstGeom prst="ellipse">
            <a:avLst/>
          </a:prstGeom>
          <a:solidFill>
            <a:srgbClr val="0070AD"/>
          </a:solidFill>
          <a:ln w="12700" cap="flat" cmpd="sng" algn="ctr">
            <a:solidFill>
              <a:srgbClr val="0070AD">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1</a:t>
            </a:r>
          </a:p>
        </p:txBody>
      </p:sp>
      <p:sp>
        <p:nvSpPr>
          <p:cNvPr id="17" name="Oval 16">
            <a:extLst>
              <a:ext uri="{FF2B5EF4-FFF2-40B4-BE49-F238E27FC236}">
                <a16:creationId xmlns:a16="http://schemas.microsoft.com/office/drawing/2014/main" id="{276B48F5-03E3-47FD-9AF2-B407B57F0931}"/>
              </a:ext>
            </a:extLst>
          </p:cNvPr>
          <p:cNvSpPr/>
          <p:nvPr/>
        </p:nvSpPr>
        <p:spPr>
          <a:xfrm>
            <a:off x="3961585" y="2007911"/>
            <a:ext cx="457200" cy="430211"/>
          </a:xfrm>
          <a:prstGeom prst="ellipse">
            <a:avLst/>
          </a:prstGeom>
          <a:solidFill>
            <a:srgbClr val="00C37B"/>
          </a:solidFill>
          <a:ln w="12700" cap="flat" cmpd="sng" algn="ctr">
            <a:solidFill>
              <a:srgbClr val="00C37B">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2</a:t>
            </a:r>
          </a:p>
        </p:txBody>
      </p:sp>
      <p:sp>
        <p:nvSpPr>
          <p:cNvPr id="18" name="Oval 17">
            <a:extLst>
              <a:ext uri="{FF2B5EF4-FFF2-40B4-BE49-F238E27FC236}">
                <a16:creationId xmlns:a16="http://schemas.microsoft.com/office/drawing/2014/main" id="{C13D5FA8-1734-463D-A227-779B3EBBA03C}"/>
              </a:ext>
            </a:extLst>
          </p:cNvPr>
          <p:cNvSpPr/>
          <p:nvPr/>
        </p:nvSpPr>
        <p:spPr>
          <a:xfrm>
            <a:off x="7843430" y="2017932"/>
            <a:ext cx="457200" cy="430211"/>
          </a:xfrm>
          <a:prstGeom prst="ellipse">
            <a:avLst/>
          </a:prstGeom>
          <a:solidFill>
            <a:srgbClr val="2B143D">
              <a:lumMod val="75000"/>
              <a:lumOff val="25000"/>
            </a:srgbClr>
          </a:solidFill>
          <a:ln w="12700" cap="flat" cmpd="sng" algn="ctr">
            <a:solidFill>
              <a:srgbClr val="2B143D">
                <a:lumMod val="90000"/>
                <a:lumOff val="1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a:ln>
                  <a:noFill/>
                </a:ln>
                <a:solidFill>
                  <a:srgbClr val="FFFFFF"/>
                </a:solidFill>
                <a:effectLst/>
                <a:uLnTx/>
                <a:uFillTx/>
                <a:latin typeface="Verdana"/>
                <a:ea typeface="+mn-ea"/>
                <a:cs typeface="+mn-cs"/>
              </a:rPr>
              <a:t>3</a:t>
            </a:r>
          </a:p>
        </p:txBody>
      </p:sp>
      <p:sp>
        <p:nvSpPr>
          <p:cNvPr id="19" name="Title 11">
            <a:extLst>
              <a:ext uri="{FF2B5EF4-FFF2-40B4-BE49-F238E27FC236}">
                <a16:creationId xmlns:a16="http://schemas.microsoft.com/office/drawing/2014/main" id="{058A6E27-EAC4-45D0-AA24-14B3217F9219}"/>
              </a:ext>
            </a:extLst>
          </p:cNvPr>
          <p:cNvSpPr>
            <a:spLocks noGrp="1"/>
          </p:cNvSpPr>
          <p:nvPr>
            <p:ph type="title"/>
          </p:nvPr>
        </p:nvSpPr>
        <p:spPr>
          <a:xfrm>
            <a:off x="227349" y="0"/>
            <a:ext cx="10833175" cy="738664"/>
          </a:xfrm>
        </p:spPr>
        <p:txBody>
          <a:bodyPr/>
          <a:lstStyle/>
          <a:p>
            <a:br>
              <a:rPr lang="en-IN">
                <a:ea typeface="+mj-lt"/>
                <a:cs typeface="+mj-lt"/>
              </a:rPr>
            </a:br>
            <a:r>
              <a:rPr lang="en-IN">
                <a:ea typeface="+mj-lt"/>
                <a:cs typeface="+mj-lt"/>
              </a:rPr>
              <a:t>Streams Approach</a:t>
            </a:r>
            <a:endParaRPr lang="en-US"/>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19</a:t>
            </a:fld>
            <a:endParaRPr sz="800">
              <a:latin typeface="Verdana"/>
              <a:cs typeface="Verdana"/>
            </a:endParaRPr>
          </a:p>
        </p:txBody>
      </p:sp>
      <p:sp>
        <p:nvSpPr>
          <p:cNvPr id="9" name="Rectangle 8">
            <a:extLst>
              <a:ext uri="{FF2B5EF4-FFF2-40B4-BE49-F238E27FC236}">
                <a16:creationId xmlns:a16="http://schemas.microsoft.com/office/drawing/2014/main" id="{C683F5D5-3939-43E1-A3DD-65B7E3D30E3D}"/>
              </a:ext>
            </a:extLst>
          </p:cNvPr>
          <p:cNvSpPr/>
          <p:nvPr/>
        </p:nvSpPr>
        <p:spPr>
          <a:xfrm>
            <a:off x="323035" y="1104899"/>
            <a:ext cx="11497926" cy="4724370"/>
          </a:xfrm>
          <a:prstGeom prst="rect">
            <a:avLst/>
          </a:prstGeom>
        </p:spPr>
        <p:txBody>
          <a:bodyPr wrap="square" lIns="91440" tIns="45720" rIns="91440" bIns="45720" anchor="t">
            <a:spAutoFit/>
          </a:bodyPr>
          <a:lstStyle/>
          <a:p>
            <a:r>
              <a:rPr lang="en-US" sz="1400">
                <a:solidFill>
                  <a:prstClr val="black"/>
                </a:solidFill>
                <a:latin typeface="Verdana"/>
              </a:rPr>
              <a:t>RFQ Process Management will be one of the Sales planning tools.</a:t>
            </a:r>
          </a:p>
          <a:p>
            <a:endParaRPr lang="en-US" sz="1400" b="1">
              <a:solidFill>
                <a:srgbClr val="12ABDB"/>
              </a:solidFill>
              <a:latin typeface="Verdana"/>
              <a:ea typeface="Verdana"/>
              <a:cs typeface="+mn-lt"/>
            </a:endParaRPr>
          </a:p>
          <a:p>
            <a:r>
              <a:rPr lang="en-US" sz="1400" b="1">
                <a:solidFill>
                  <a:srgbClr val="12ABDB"/>
                </a:solidFill>
                <a:latin typeface="Verdana"/>
                <a:ea typeface="Verdana"/>
                <a:cs typeface="+mn-lt"/>
              </a:rPr>
              <a:t>Activities </a:t>
            </a:r>
            <a:endParaRPr lang="en-US" sz="1400">
              <a:solidFill>
                <a:prstClr val="black"/>
              </a:solidFill>
              <a:latin typeface="Verdana"/>
              <a:ea typeface="Verdana"/>
              <a:cs typeface="+mn-lt"/>
            </a:endParaRPr>
          </a:p>
          <a:p>
            <a:r>
              <a:rPr lang="en-US" sz="1400">
                <a:solidFill>
                  <a:prstClr val="black"/>
                </a:solidFill>
                <a:latin typeface="Verdana"/>
                <a:ea typeface="Verdana"/>
                <a:cs typeface="+mn-lt"/>
              </a:rPr>
              <a:t>Review the current pilot workflow, perform an analysis of the requirements and develop new functionalities (AL EL only).</a:t>
            </a:r>
          </a:p>
          <a:p>
            <a:pPr marL="285750" indent="-285750">
              <a:buFont typeface="Arial"/>
              <a:buChar char="•"/>
            </a:pPr>
            <a:endParaRPr lang="en-US" sz="1400">
              <a:solidFill>
                <a:prstClr val="black"/>
              </a:solidFill>
              <a:latin typeface="Verdana"/>
              <a:ea typeface="Verdana"/>
              <a:cs typeface="+mn-lt"/>
            </a:endParaRPr>
          </a:p>
          <a:p>
            <a:r>
              <a:rPr lang="en-US" sz="1400" b="1">
                <a:solidFill>
                  <a:srgbClr val="12ABDB"/>
                </a:solidFill>
                <a:latin typeface="Verdana"/>
                <a:ea typeface="Verdana"/>
              </a:rPr>
              <a:t>RFQ Management</a:t>
            </a:r>
          </a:p>
          <a:p>
            <a:pPr>
              <a:lnSpc>
                <a:spcPct val="150000"/>
              </a:lnSpc>
            </a:pPr>
            <a:r>
              <a:rPr lang="en-US" sz="1400">
                <a:solidFill>
                  <a:prstClr val="black"/>
                </a:solidFill>
                <a:latin typeface="Verdana"/>
                <a:ea typeface="Verdana"/>
              </a:rPr>
              <a:t>On</a:t>
            </a:r>
            <a:r>
              <a:rPr lang="en-US" sz="1400">
                <a:solidFill>
                  <a:prstClr val="black"/>
                </a:solidFill>
                <a:latin typeface="Verdana"/>
                <a:ea typeface="Verdana"/>
                <a:cs typeface="+mn-lt"/>
              </a:rPr>
              <a:t> Salesforce following functionality will be implemented:</a:t>
            </a:r>
          </a:p>
          <a:p>
            <a:pPr marL="285750" indent="-285750">
              <a:lnSpc>
                <a:spcPct val="150000"/>
              </a:lnSpc>
              <a:buFont typeface="Arial"/>
              <a:buChar char="•"/>
            </a:pPr>
            <a:r>
              <a:rPr lang="en-US" sz="1400">
                <a:solidFill>
                  <a:prstClr val="black"/>
                </a:solidFill>
                <a:latin typeface="Verdana"/>
                <a:ea typeface="Verdana"/>
              </a:rPr>
              <a:t>Report &amp; dashboards</a:t>
            </a:r>
          </a:p>
          <a:p>
            <a:pPr marL="285750" indent="-285750">
              <a:lnSpc>
                <a:spcPct val="150000"/>
              </a:lnSpc>
              <a:buFont typeface="Arial"/>
              <a:buChar char="•"/>
            </a:pPr>
            <a:r>
              <a:rPr lang="en-US" sz="1400">
                <a:solidFill>
                  <a:prstClr val="black"/>
                </a:solidFill>
                <a:latin typeface="Verdana"/>
                <a:ea typeface="Verdana"/>
              </a:rPr>
              <a:t>Roles</a:t>
            </a:r>
          </a:p>
          <a:p>
            <a:pPr marL="285750" indent="-285750">
              <a:lnSpc>
                <a:spcPct val="150000"/>
              </a:lnSpc>
              <a:buFont typeface="Arial"/>
              <a:buChar char="•"/>
            </a:pPr>
            <a:r>
              <a:rPr lang="en-US" sz="1400">
                <a:solidFill>
                  <a:prstClr val="black"/>
                </a:solidFill>
                <a:latin typeface="Verdana"/>
                <a:ea typeface="Verdana"/>
              </a:rPr>
              <a:t>Object access management and Segregation of Duties</a:t>
            </a:r>
          </a:p>
          <a:p>
            <a:pPr marL="285750" indent="-285750">
              <a:lnSpc>
                <a:spcPct val="150000"/>
              </a:lnSpc>
              <a:buFont typeface="Arial"/>
              <a:buChar char="•"/>
            </a:pPr>
            <a:r>
              <a:rPr lang="en-US" sz="1400">
                <a:solidFill>
                  <a:prstClr val="black"/>
                </a:solidFill>
                <a:latin typeface="Verdana"/>
                <a:ea typeface="Verdana"/>
              </a:rPr>
              <a:t>RFQ Process monitoring</a:t>
            </a:r>
          </a:p>
          <a:p>
            <a:pPr marL="285750" indent="-285750">
              <a:lnSpc>
                <a:spcPct val="150000"/>
              </a:lnSpc>
              <a:buFont typeface="Arial"/>
              <a:buChar char="•"/>
            </a:pPr>
            <a:r>
              <a:rPr lang="en-US" sz="1400">
                <a:solidFill>
                  <a:prstClr val="black"/>
                </a:solidFill>
                <a:latin typeface="Verdana"/>
                <a:ea typeface="Verdana"/>
              </a:rPr>
              <a:t>Flows</a:t>
            </a:r>
          </a:p>
          <a:p>
            <a:pPr marL="285750" indent="-285750">
              <a:lnSpc>
                <a:spcPct val="150000"/>
              </a:lnSpc>
              <a:buFont typeface="Arial"/>
              <a:buChar char="•"/>
            </a:pPr>
            <a:r>
              <a:rPr lang="en-US" sz="1400">
                <a:solidFill>
                  <a:srgbClr val="000000"/>
                </a:solidFill>
                <a:latin typeface="Verdana"/>
                <a:ea typeface="Verdana"/>
              </a:rPr>
              <a:t>Tasks management</a:t>
            </a:r>
          </a:p>
          <a:p>
            <a:pPr marL="285750" indent="-285750">
              <a:lnSpc>
                <a:spcPct val="150000"/>
              </a:lnSpc>
              <a:buFont typeface="Arial"/>
              <a:buChar char="•"/>
            </a:pPr>
            <a:r>
              <a:rPr lang="en-US" sz="1400">
                <a:solidFill>
                  <a:srgbClr val="000000"/>
                </a:solidFill>
                <a:latin typeface="Verdana"/>
                <a:ea typeface="Verdana"/>
              </a:rPr>
              <a:t>Volume management</a:t>
            </a:r>
          </a:p>
          <a:p>
            <a:endParaRPr lang="en-US" sz="1400">
              <a:solidFill>
                <a:srgbClr val="000000"/>
              </a:solidFill>
              <a:latin typeface="Verdana"/>
              <a:ea typeface="Verdana"/>
            </a:endParaRPr>
          </a:p>
          <a:p>
            <a:r>
              <a:rPr lang="en-US" sz="1400" b="1">
                <a:solidFill>
                  <a:srgbClr val="109AD7"/>
                </a:solidFill>
                <a:latin typeface="Verdana"/>
                <a:ea typeface="Verdana"/>
              </a:rPr>
              <a:t>Rollout:</a:t>
            </a:r>
          </a:p>
          <a:p>
            <a:r>
              <a:rPr lang="en-US" sz="1400">
                <a:solidFill>
                  <a:prstClr val="black"/>
                </a:solidFill>
                <a:latin typeface="Verdana"/>
                <a:ea typeface="Verdana"/>
                <a:cs typeface="+mn-lt"/>
              </a:rPr>
              <a:t>As already seen in Wave 1 and 2, an incremental phased rollout approach is proposed.</a:t>
            </a:r>
            <a:endParaRPr lang="en-US" sz="1400">
              <a:solidFill>
                <a:prstClr val="black"/>
              </a:solidFill>
              <a:latin typeface="Verdana"/>
              <a:ea typeface="Verdana"/>
            </a:endParaRPr>
          </a:p>
        </p:txBody>
      </p:sp>
      <p:sp>
        <p:nvSpPr>
          <p:cNvPr id="10" name="Title 11">
            <a:extLst>
              <a:ext uri="{FF2B5EF4-FFF2-40B4-BE49-F238E27FC236}">
                <a16:creationId xmlns:a16="http://schemas.microsoft.com/office/drawing/2014/main" id="{3B07C8F4-129E-48EA-9A34-12936D03D6FF}"/>
              </a:ext>
            </a:extLst>
          </p:cNvPr>
          <p:cNvSpPr>
            <a:spLocks noGrp="1"/>
          </p:cNvSpPr>
          <p:nvPr>
            <p:ph type="title"/>
          </p:nvPr>
        </p:nvSpPr>
        <p:spPr>
          <a:xfrm>
            <a:off x="227349" y="0"/>
            <a:ext cx="10833175" cy="738664"/>
          </a:xfrm>
        </p:spPr>
        <p:txBody>
          <a:bodyPr/>
          <a:lstStyle/>
          <a:p>
            <a:br>
              <a:rPr lang="en-IN">
                <a:ea typeface="+mj-lt"/>
                <a:cs typeface="+mj-lt"/>
              </a:rPr>
            </a:br>
            <a:r>
              <a:rPr lang="en-IN">
                <a:ea typeface="+mj-lt"/>
                <a:cs typeface="+mj-lt"/>
              </a:rPr>
              <a:t>Main Highlights: RFQ Workflow Review and Rollout</a:t>
            </a:r>
            <a:endParaRPr lang="en-US"/>
          </a:p>
        </p:txBody>
      </p:sp>
    </p:spTree>
    <p:extLst>
      <p:ext uri="{BB962C8B-B14F-4D97-AF65-F5344CB8AC3E}">
        <p14:creationId xmlns:p14="http://schemas.microsoft.com/office/powerpoint/2010/main" val="883815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10</a:t>
            </a:r>
            <a:endParaRPr sz="800">
              <a:latin typeface="Verdana"/>
              <a:cs typeface="Verdana"/>
            </a:endParaRPr>
          </a:p>
        </p:txBody>
      </p:sp>
      <p:sp>
        <p:nvSpPr>
          <p:cNvPr id="3" name="object 3"/>
          <p:cNvSpPr txBox="1">
            <a:spLocks noGrp="1"/>
          </p:cNvSpPr>
          <p:nvPr>
            <p:ph type="title"/>
          </p:nvPr>
        </p:nvSpPr>
        <p:spPr>
          <a:xfrm>
            <a:off x="214680" y="318896"/>
            <a:ext cx="8409940" cy="422275"/>
          </a:xfrm>
          <a:prstGeom prst="rect">
            <a:avLst/>
          </a:prstGeom>
        </p:spPr>
        <p:txBody>
          <a:bodyPr vert="horz" wrap="square" lIns="0" tIns="12700" rIns="0" bIns="0" rtlCol="0">
            <a:spAutoFit/>
          </a:bodyPr>
          <a:lstStyle/>
          <a:p>
            <a:pPr marL="12700">
              <a:lnSpc>
                <a:spcPct val="100000"/>
              </a:lnSpc>
              <a:spcBef>
                <a:spcPts val="100"/>
              </a:spcBef>
            </a:pPr>
            <a:r>
              <a:rPr sz="2600"/>
              <a:t>Salesforce </a:t>
            </a:r>
            <a:r>
              <a:rPr sz="2600" spc="-10"/>
              <a:t>Rollout </a:t>
            </a:r>
            <a:r>
              <a:rPr sz="2600" spc="-5"/>
              <a:t>Project: </a:t>
            </a:r>
            <a:r>
              <a:rPr sz="2600"/>
              <a:t>Critical Success</a:t>
            </a:r>
            <a:r>
              <a:rPr sz="2600" spc="-125"/>
              <a:t> </a:t>
            </a:r>
            <a:r>
              <a:rPr sz="2600" spc="-20"/>
              <a:t>Factors</a:t>
            </a:r>
            <a:endParaRPr sz="2600"/>
          </a:p>
        </p:txBody>
      </p:sp>
      <p:sp>
        <p:nvSpPr>
          <p:cNvPr id="4" name="object 4"/>
          <p:cNvSpPr/>
          <p:nvPr/>
        </p:nvSpPr>
        <p:spPr>
          <a:xfrm>
            <a:off x="0" y="2922273"/>
            <a:ext cx="4049077" cy="3935725"/>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586740" y="5494020"/>
            <a:ext cx="2402205" cy="157480"/>
          </a:xfrm>
          <a:custGeom>
            <a:avLst/>
            <a:gdLst/>
            <a:ahLst/>
            <a:cxnLst/>
            <a:rect l="l" t="t" r="r" b="b"/>
            <a:pathLst>
              <a:path w="2402205" h="157479">
                <a:moveTo>
                  <a:pt x="2345563" y="0"/>
                </a:moveTo>
                <a:lnTo>
                  <a:pt x="59956" y="0"/>
                </a:lnTo>
                <a:lnTo>
                  <a:pt x="0" y="156971"/>
                </a:lnTo>
                <a:lnTo>
                  <a:pt x="2401824" y="156971"/>
                </a:lnTo>
                <a:lnTo>
                  <a:pt x="2345563" y="0"/>
                </a:lnTo>
                <a:close/>
              </a:path>
            </a:pathLst>
          </a:custGeom>
          <a:solidFill>
            <a:srgbClr val="C8C8CA"/>
          </a:solidFill>
        </p:spPr>
        <p:txBody>
          <a:bodyPr wrap="square" lIns="0" tIns="0" rIns="0" bIns="0" rtlCol="0"/>
          <a:lstStyle/>
          <a:p>
            <a:endParaRPr/>
          </a:p>
        </p:txBody>
      </p:sp>
      <p:sp>
        <p:nvSpPr>
          <p:cNvPr id="6" name="object 6"/>
          <p:cNvSpPr/>
          <p:nvPr/>
        </p:nvSpPr>
        <p:spPr>
          <a:xfrm>
            <a:off x="804672" y="5753100"/>
            <a:ext cx="1922145" cy="739140"/>
          </a:xfrm>
          <a:custGeom>
            <a:avLst/>
            <a:gdLst/>
            <a:ahLst/>
            <a:cxnLst/>
            <a:rect l="l" t="t" r="r" b="b"/>
            <a:pathLst>
              <a:path w="1922145" h="739139">
                <a:moveTo>
                  <a:pt x="0" y="739140"/>
                </a:moveTo>
                <a:lnTo>
                  <a:pt x="1921764" y="739140"/>
                </a:lnTo>
                <a:lnTo>
                  <a:pt x="1921764" y="0"/>
                </a:lnTo>
                <a:lnTo>
                  <a:pt x="0" y="0"/>
                </a:lnTo>
                <a:lnTo>
                  <a:pt x="0" y="739140"/>
                </a:lnTo>
                <a:close/>
              </a:path>
            </a:pathLst>
          </a:custGeom>
          <a:solidFill>
            <a:srgbClr val="C8C8CA"/>
          </a:solidFill>
        </p:spPr>
        <p:txBody>
          <a:bodyPr wrap="square" lIns="0" tIns="0" rIns="0" bIns="0" rtlCol="0"/>
          <a:lstStyle/>
          <a:p>
            <a:endParaRPr/>
          </a:p>
        </p:txBody>
      </p:sp>
      <p:sp>
        <p:nvSpPr>
          <p:cNvPr id="7" name="object 7"/>
          <p:cNvSpPr/>
          <p:nvPr/>
        </p:nvSpPr>
        <p:spPr>
          <a:xfrm>
            <a:off x="586740" y="5650991"/>
            <a:ext cx="2402205" cy="102235"/>
          </a:xfrm>
          <a:custGeom>
            <a:avLst/>
            <a:gdLst/>
            <a:ahLst/>
            <a:cxnLst/>
            <a:rect l="l" t="t" r="r" b="b"/>
            <a:pathLst>
              <a:path w="2402205" h="102235">
                <a:moveTo>
                  <a:pt x="0" y="102107"/>
                </a:moveTo>
                <a:lnTo>
                  <a:pt x="2401824" y="102107"/>
                </a:lnTo>
                <a:lnTo>
                  <a:pt x="2401824" y="0"/>
                </a:lnTo>
                <a:lnTo>
                  <a:pt x="0" y="0"/>
                </a:lnTo>
                <a:lnTo>
                  <a:pt x="0" y="102107"/>
                </a:lnTo>
                <a:close/>
              </a:path>
            </a:pathLst>
          </a:custGeom>
          <a:solidFill>
            <a:srgbClr val="DADADA"/>
          </a:solidFill>
        </p:spPr>
        <p:txBody>
          <a:bodyPr wrap="square" lIns="0" tIns="0" rIns="0" bIns="0" rtlCol="0"/>
          <a:lstStyle/>
          <a:p>
            <a:endParaRPr/>
          </a:p>
        </p:txBody>
      </p:sp>
      <p:sp>
        <p:nvSpPr>
          <p:cNvPr id="8" name="object 8"/>
          <p:cNvSpPr/>
          <p:nvPr/>
        </p:nvSpPr>
        <p:spPr>
          <a:xfrm>
            <a:off x="1804416" y="4948428"/>
            <a:ext cx="1220739" cy="643128"/>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870203" y="3979164"/>
            <a:ext cx="311150" cy="265430"/>
          </a:xfrm>
          <a:custGeom>
            <a:avLst/>
            <a:gdLst/>
            <a:ahLst/>
            <a:cxnLst/>
            <a:rect l="l" t="t" r="r" b="b"/>
            <a:pathLst>
              <a:path w="311150" h="265429">
                <a:moveTo>
                  <a:pt x="113055" y="249047"/>
                </a:moveTo>
                <a:lnTo>
                  <a:pt x="56527" y="249047"/>
                </a:lnTo>
                <a:lnTo>
                  <a:pt x="56527" y="257175"/>
                </a:lnTo>
                <a:lnTo>
                  <a:pt x="60566" y="265175"/>
                </a:lnTo>
                <a:lnTo>
                  <a:pt x="104978" y="265175"/>
                </a:lnTo>
                <a:lnTo>
                  <a:pt x="113055" y="257175"/>
                </a:lnTo>
                <a:lnTo>
                  <a:pt x="113055" y="249047"/>
                </a:lnTo>
                <a:close/>
              </a:path>
              <a:path w="311150" h="265429">
                <a:moveTo>
                  <a:pt x="258406" y="72262"/>
                </a:moveTo>
                <a:lnTo>
                  <a:pt x="52489" y="72262"/>
                </a:lnTo>
                <a:lnTo>
                  <a:pt x="43402" y="73658"/>
                </a:lnTo>
                <a:lnTo>
                  <a:pt x="10222" y="95726"/>
                </a:lnTo>
                <a:lnTo>
                  <a:pt x="0" y="124587"/>
                </a:lnTo>
                <a:lnTo>
                  <a:pt x="0" y="188849"/>
                </a:lnTo>
                <a:lnTo>
                  <a:pt x="16154" y="225044"/>
                </a:lnTo>
                <a:lnTo>
                  <a:pt x="52489" y="241046"/>
                </a:lnTo>
                <a:lnTo>
                  <a:pt x="258406" y="241046"/>
                </a:lnTo>
                <a:lnTo>
                  <a:pt x="269763" y="240242"/>
                </a:lnTo>
                <a:lnTo>
                  <a:pt x="279603" y="237569"/>
                </a:lnTo>
                <a:lnTo>
                  <a:pt x="287928" y="232634"/>
                </a:lnTo>
                <a:lnTo>
                  <a:pt x="294741" y="225044"/>
                </a:lnTo>
                <a:lnTo>
                  <a:pt x="302377" y="218209"/>
                </a:lnTo>
                <a:lnTo>
                  <a:pt x="303153" y="216916"/>
                </a:lnTo>
                <a:lnTo>
                  <a:pt x="44411" y="216916"/>
                </a:lnTo>
                <a:lnTo>
                  <a:pt x="40373" y="212979"/>
                </a:lnTo>
                <a:lnTo>
                  <a:pt x="32296" y="208915"/>
                </a:lnTo>
                <a:lnTo>
                  <a:pt x="28257" y="204850"/>
                </a:lnTo>
                <a:lnTo>
                  <a:pt x="24231" y="196850"/>
                </a:lnTo>
                <a:lnTo>
                  <a:pt x="24231" y="116459"/>
                </a:lnTo>
                <a:lnTo>
                  <a:pt x="28257" y="112522"/>
                </a:lnTo>
                <a:lnTo>
                  <a:pt x="32296" y="104521"/>
                </a:lnTo>
                <a:lnTo>
                  <a:pt x="40373" y="100456"/>
                </a:lnTo>
                <a:lnTo>
                  <a:pt x="44411" y="96393"/>
                </a:lnTo>
                <a:lnTo>
                  <a:pt x="302736" y="96393"/>
                </a:lnTo>
                <a:lnTo>
                  <a:pt x="269763" y="73658"/>
                </a:lnTo>
                <a:lnTo>
                  <a:pt x="258406" y="72262"/>
                </a:lnTo>
                <a:close/>
              </a:path>
              <a:path w="311150" h="265429">
                <a:moveTo>
                  <a:pt x="302736" y="96393"/>
                </a:moveTo>
                <a:lnTo>
                  <a:pt x="266484" y="96393"/>
                </a:lnTo>
                <a:lnTo>
                  <a:pt x="274561" y="100456"/>
                </a:lnTo>
                <a:lnTo>
                  <a:pt x="278599" y="104521"/>
                </a:lnTo>
                <a:lnTo>
                  <a:pt x="286664" y="112522"/>
                </a:lnTo>
                <a:lnTo>
                  <a:pt x="286664" y="204850"/>
                </a:lnTo>
                <a:lnTo>
                  <a:pt x="278599" y="208915"/>
                </a:lnTo>
                <a:lnTo>
                  <a:pt x="274561" y="212979"/>
                </a:lnTo>
                <a:lnTo>
                  <a:pt x="266484" y="216916"/>
                </a:lnTo>
                <a:lnTo>
                  <a:pt x="303153" y="216916"/>
                </a:lnTo>
                <a:lnTo>
                  <a:pt x="307362" y="209899"/>
                </a:lnTo>
                <a:lnTo>
                  <a:pt x="310075" y="200112"/>
                </a:lnTo>
                <a:lnTo>
                  <a:pt x="310789" y="190309"/>
                </a:lnTo>
                <a:lnTo>
                  <a:pt x="310896" y="124587"/>
                </a:lnTo>
                <a:lnTo>
                  <a:pt x="310075" y="114966"/>
                </a:lnTo>
                <a:lnTo>
                  <a:pt x="307362" y="104965"/>
                </a:lnTo>
                <a:lnTo>
                  <a:pt x="302736" y="96393"/>
                </a:lnTo>
                <a:close/>
              </a:path>
              <a:path w="311150" h="265429">
                <a:moveTo>
                  <a:pt x="52489" y="104521"/>
                </a:moveTo>
                <a:lnTo>
                  <a:pt x="44411" y="104521"/>
                </a:lnTo>
                <a:lnTo>
                  <a:pt x="44411" y="144653"/>
                </a:lnTo>
                <a:lnTo>
                  <a:pt x="46431" y="171053"/>
                </a:lnTo>
                <a:lnTo>
                  <a:pt x="51479" y="190309"/>
                </a:lnTo>
                <a:lnTo>
                  <a:pt x="58042" y="202803"/>
                </a:lnTo>
                <a:lnTo>
                  <a:pt x="64604" y="208915"/>
                </a:lnTo>
                <a:lnTo>
                  <a:pt x="72682" y="208915"/>
                </a:lnTo>
                <a:lnTo>
                  <a:pt x="81572" y="202803"/>
                </a:lnTo>
                <a:lnTo>
                  <a:pt x="85268" y="196850"/>
                </a:lnTo>
                <a:lnTo>
                  <a:pt x="64604" y="196850"/>
                </a:lnTo>
                <a:lnTo>
                  <a:pt x="60566" y="188849"/>
                </a:lnTo>
                <a:lnTo>
                  <a:pt x="60566" y="184785"/>
                </a:lnTo>
                <a:lnTo>
                  <a:pt x="60320" y="184276"/>
                </a:lnTo>
                <a:lnTo>
                  <a:pt x="58547" y="184276"/>
                </a:lnTo>
                <a:lnTo>
                  <a:pt x="58199" y="179886"/>
                </a:lnTo>
                <a:lnTo>
                  <a:pt x="55896" y="175121"/>
                </a:lnTo>
                <a:lnTo>
                  <a:pt x="53498" y="164719"/>
                </a:lnTo>
                <a:lnTo>
                  <a:pt x="52615" y="154316"/>
                </a:lnTo>
                <a:lnTo>
                  <a:pt x="52489" y="104521"/>
                </a:lnTo>
                <a:close/>
              </a:path>
              <a:path w="311150" h="265429">
                <a:moveTo>
                  <a:pt x="181686" y="104521"/>
                </a:moveTo>
                <a:lnTo>
                  <a:pt x="133235" y="104521"/>
                </a:lnTo>
                <a:lnTo>
                  <a:pt x="133235" y="144653"/>
                </a:lnTo>
                <a:lnTo>
                  <a:pt x="134687" y="171053"/>
                </a:lnTo>
                <a:lnTo>
                  <a:pt x="138788" y="190309"/>
                </a:lnTo>
                <a:lnTo>
                  <a:pt x="145162" y="202803"/>
                </a:lnTo>
                <a:lnTo>
                  <a:pt x="153428" y="208915"/>
                </a:lnTo>
                <a:lnTo>
                  <a:pt x="161505" y="208915"/>
                </a:lnTo>
                <a:lnTo>
                  <a:pt x="169770" y="202803"/>
                </a:lnTo>
                <a:lnTo>
                  <a:pt x="172805" y="196850"/>
                </a:lnTo>
                <a:lnTo>
                  <a:pt x="149390" y="196850"/>
                </a:lnTo>
                <a:lnTo>
                  <a:pt x="145351" y="188849"/>
                </a:lnTo>
                <a:lnTo>
                  <a:pt x="145351" y="184785"/>
                </a:lnTo>
                <a:lnTo>
                  <a:pt x="142385" y="175121"/>
                </a:lnTo>
                <a:lnTo>
                  <a:pt x="139798" y="164719"/>
                </a:lnTo>
                <a:lnTo>
                  <a:pt x="137968" y="154316"/>
                </a:lnTo>
                <a:lnTo>
                  <a:pt x="137274" y="144653"/>
                </a:lnTo>
                <a:lnTo>
                  <a:pt x="137274" y="120523"/>
                </a:lnTo>
                <a:lnTo>
                  <a:pt x="181686" y="120523"/>
                </a:lnTo>
                <a:lnTo>
                  <a:pt x="181686" y="104521"/>
                </a:lnTo>
                <a:close/>
              </a:path>
              <a:path w="311150" h="265429">
                <a:moveTo>
                  <a:pt x="226110" y="104521"/>
                </a:moveTo>
                <a:lnTo>
                  <a:pt x="218033" y="104521"/>
                </a:lnTo>
                <a:lnTo>
                  <a:pt x="218033" y="144653"/>
                </a:lnTo>
                <a:lnTo>
                  <a:pt x="219484" y="171053"/>
                </a:lnTo>
                <a:lnTo>
                  <a:pt x="223585" y="190309"/>
                </a:lnTo>
                <a:lnTo>
                  <a:pt x="229954" y="202803"/>
                </a:lnTo>
                <a:lnTo>
                  <a:pt x="238213" y="208915"/>
                </a:lnTo>
                <a:lnTo>
                  <a:pt x="246291" y="208915"/>
                </a:lnTo>
                <a:lnTo>
                  <a:pt x="254557" y="202803"/>
                </a:lnTo>
                <a:lnTo>
                  <a:pt x="257594" y="196850"/>
                </a:lnTo>
                <a:lnTo>
                  <a:pt x="238213" y="196850"/>
                </a:lnTo>
                <a:lnTo>
                  <a:pt x="234175" y="188849"/>
                </a:lnTo>
                <a:lnTo>
                  <a:pt x="230149" y="184785"/>
                </a:lnTo>
                <a:lnTo>
                  <a:pt x="227814" y="175121"/>
                </a:lnTo>
                <a:lnTo>
                  <a:pt x="226615" y="164719"/>
                </a:lnTo>
                <a:lnTo>
                  <a:pt x="226173" y="154316"/>
                </a:lnTo>
                <a:lnTo>
                  <a:pt x="226110" y="104521"/>
                </a:lnTo>
                <a:close/>
              </a:path>
              <a:path w="311150" h="265429">
                <a:moveTo>
                  <a:pt x="96901" y="104521"/>
                </a:moveTo>
                <a:lnTo>
                  <a:pt x="88823" y="104521"/>
                </a:lnTo>
                <a:lnTo>
                  <a:pt x="88697" y="154316"/>
                </a:lnTo>
                <a:lnTo>
                  <a:pt x="87814" y="164719"/>
                </a:lnTo>
                <a:lnTo>
                  <a:pt x="85416" y="175121"/>
                </a:lnTo>
                <a:lnTo>
                  <a:pt x="80746" y="184785"/>
                </a:lnTo>
                <a:lnTo>
                  <a:pt x="80746" y="188849"/>
                </a:lnTo>
                <a:lnTo>
                  <a:pt x="76720" y="196850"/>
                </a:lnTo>
                <a:lnTo>
                  <a:pt x="85268" y="196850"/>
                </a:lnTo>
                <a:lnTo>
                  <a:pt x="89330" y="190309"/>
                </a:lnTo>
                <a:lnTo>
                  <a:pt x="94818" y="171053"/>
                </a:lnTo>
                <a:lnTo>
                  <a:pt x="96901" y="144653"/>
                </a:lnTo>
                <a:lnTo>
                  <a:pt x="96901" y="104521"/>
                </a:lnTo>
                <a:close/>
              </a:path>
              <a:path w="311150" h="265429">
                <a:moveTo>
                  <a:pt x="181686" y="120523"/>
                </a:moveTo>
                <a:lnTo>
                  <a:pt x="173621" y="120523"/>
                </a:lnTo>
                <a:lnTo>
                  <a:pt x="173558" y="154316"/>
                </a:lnTo>
                <a:lnTo>
                  <a:pt x="173116" y="164719"/>
                </a:lnTo>
                <a:lnTo>
                  <a:pt x="171917" y="175121"/>
                </a:lnTo>
                <a:lnTo>
                  <a:pt x="169583" y="184785"/>
                </a:lnTo>
                <a:lnTo>
                  <a:pt x="165544" y="188849"/>
                </a:lnTo>
                <a:lnTo>
                  <a:pt x="161505" y="196850"/>
                </a:lnTo>
                <a:lnTo>
                  <a:pt x="172805" y="196850"/>
                </a:lnTo>
                <a:lnTo>
                  <a:pt x="176139" y="190309"/>
                </a:lnTo>
                <a:lnTo>
                  <a:pt x="180236" y="171053"/>
                </a:lnTo>
                <a:lnTo>
                  <a:pt x="181686" y="144653"/>
                </a:lnTo>
                <a:lnTo>
                  <a:pt x="181686" y="120523"/>
                </a:lnTo>
                <a:close/>
              </a:path>
              <a:path w="311150" h="265429">
                <a:moveTo>
                  <a:pt x="266484" y="104521"/>
                </a:moveTo>
                <a:lnTo>
                  <a:pt x="262445" y="104521"/>
                </a:lnTo>
                <a:lnTo>
                  <a:pt x="262445" y="144653"/>
                </a:lnTo>
                <a:lnTo>
                  <a:pt x="261751" y="154316"/>
                </a:lnTo>
                <a:lnTo>
                  <a:pt x="259921" y="164719"/>
                </a:lnTo>
                <a:lnTo>
                  <a:pt x="257334" y="175121"/>
                </a:lnTo>
                <a:lnTo>
                  <a:pt x="254368" y="184785"/>
                </a:lnTo>
                <a:lnTo>
                  <a:pt x="254368" y="188849"/>
                </a:lnTo>
                <a:lnTo>
                  <a:pt x="250329" y="196850"/>
                </a:lnTo>
                <a:lnTo>
                  <a:pt x="257594" y="196850"/>
                </a:lnTo>
                <a:lnTo>
                  <a:pt x="260931" y="190309"/>
                </a:lnTo>
                <a:lnTo>
                  <a:pt x="265032" y="171053"/>
                </a:lnTo>
                <a:lnTo>
                  <a:pt x="266484" y="144653"/>
                </a:lnTo>
                <a:lnTo>
                  <a:pt x="266484" y="104521"/>
                </a:lnTo>
                <a:close/>
              </a:path>
              <a:path w="311150" h="265429">
                <a:moveTo>
                  <a:pt x="58811" y="181153"/>
                </a:moveTo>
                <a:lnTo>
                  <a:pt x="58547" y="184276"/>
                </a:lnTo>
                <a:lnTo>
                  <a:pt x="60320" y="184276"/>
                </a:lnTo>
                <a:lnTo>
                  <a:pt x="58811" y="181153"/>
                </a:lnTo>
                <a:close/>
              </a:path>
              <a:path w="311150" h="265429">
                <a:moveTo>
                  <a:pt x="234175" y="104521"/>
                </a:moveTo>
                <a:lnTo>
                  <a:pt x="230149" y="104521"/>
                </a:lnTo>
                <a:lnTo>
                  <a:pt x="230251" y="124587"/>
                </a:lnTo>
                <a:lnTo>
                  <a:pt x="230753" y="164719"/>
                </a:lnTo>
                <a:lnTo>
                  <a:pt x="230868" y="167894"/>
                </a:lnTo>
                <a:lnTo>
                  <a:pt x="232162" y="184276"/>
                </a:lnTo>
                <a:lnTo>
                  <a:pt x="233546" y="167894"/>
                </a:lnTo>
                <a:lnTo>
                  <a:pt x="234075" y="124587"/>
                </a:lnTo>
                <a:lnTo>
                  <a:pt x="234175" y="104521"/>
                </a:lnTo>
                <a:close/>
              </a:path>
              <a:path w="311150" h="265429">
                <a:moveTo>
                  <a:pt x="149390" y="120523"/>
                </a:moveTo>
                <a:lnTo>
                  <a:pt x="145351" y="120523"/>
                </a:lnTo>
                <a:lnTo>
                  <a:pt x="145960" y="164719"/>
                </a:lnTo>
                <a:lnTo>
                  <a:pt x="146021" y="166750"/>
                </a:lnTo>
                <a:lnTo>
                  <a:pt x="147370" y="182292"/>
                </a:lnTo>
                <a:lnTo>
                  <a:pt x="148713" y="167894"/>
                </a:lnTo>
                <a:lnTo>
                  <a:pt x="148795" y="164719"/>
                </a:lnTo>
                <a:lnTo>
                  <a:pt x="149390" y="120523"/>
                </a:lnTo>
                <a:close/>
              </a:path>
              <a:path w="311150" h="265429">
                <a:moveTo>
                  <a:pt x="60566" y="104521"/>
                </a:moveTo>
                <a:lnTo>
                  <a:pt x="56527" y="104521"/>
                </a:lnTo>
                <a:lnTo>
                  <a:pt x="56629" y="124587"/>
                </a:lnTo>
                <a:lnTo>
                  <a:pt x="57133" y="164719"/>
                </a:lnTo>
                <a:lnTo>
                  <a:pt x="57249" y="167894"/>
                </a:lnTo>
                <a:lnTo>
                  <a:pt x="58199" y="179886"/>
                </a:lnTo>
                <a:lnTo>
                  <a:pt x="58811" y="181153"/>
                </a:lnTo>
                <a:lnTo>
                  <a:pt x="59935" y="167894"/>
                </a:lnTo>
                <a:lnTo>
                  <a:pt x="60466" y="124587"/>
                </a:lnTo>
                <a:lnTo>
                  <a:pt x="60566" y="104521"/>
                </a:lnTo>
                <a:close/>
              </a:path>
              <a:path w="311150" h="265429">
                <a:moveTo>
                  <a:pt x="266484" y="40131"/>
                </a:moveTo>
                <a:lnTo>
                  <a:pt x="218033" y="40131"/>
                </a:lnTo>
                <a:lnTo>
                  <a:pt x="218033" y="68325"/>
                </a:lnTo>
                <a:lnTo>
                  <a:pt x="226110" y="68325"/>
                </a:lnTo>
                <a:lnTo>
                  <a:pt x="226110" y="60325"/>
                </a:lnTo>
                <a:lnTo>
                  <a:pt x="266484" y="60325"/>
                </a:lnTo>
                <a:lnTo>
                  <a:pt x="266484" y="40131"/>
                </a:lnTo>
                <a:close/>
              </a:path>
              <a:path w="311150" h="265429">
                <a:moveTo>
                  <a:pt x="234175" y="60325"/>
                </a:moveTo>
                <a:lnTo>
                  <a:pt x="230149" y="60325"/>
                </a:lnTo>
                <a:lnTo>
                  <a:pt x="230149" y="68325"/>
                </a:lnTo>
                <a:lnTo>
                  <a:pt x="234175" y="68325"/>
                </a:lnTo>
                <a:lnTo>
                  <a:pt x="234175" y="60325"/>
                </a:lnTo>
                <a:close/>
              </a:path>
              <a:path w="311150" h="265429">
                <a:moveTo>
                  <a:pt x="266484" y="60325"/>
                </a:moveTo>
                <a:lnTo>
                  <a:pt x="262445" y="60325"/>
                </a:lnTo>
                <a:lnTo>
                  <a:pt x="262445" y="68325"/>
                </a:lnTo>
                <a:lnTo>
                  <a:pt x="266484" y="68325"/>
                </a:lnTo>
                <a:lnTo>
                  <a:pt x="266484" y="60325"/>
                </a:lnTo>
                <a:close/>
              </a:path>
              <a:path w="311150" h="265429">
                <a:moveTo>
                  <a:pt x="274561" y="0"/>
                </a:moveTo>
                <a:lnTo>
                  <a:pt x="213995" y="0"/>
                </a:lnTo>
                <a:lnTo>
                  <a:pt x="213995" y="32131"/>
                </a:lnTo>
                <a:lnTo>
                  <a:pt x="270522" y="32131"/>
                </a:lnTo>
                <a:lnTo>
                  <a:pt x="274561" y="28067"/>
                </a:lnTo>
                <a:lnTo>
                  <a:pt x="274561" y="0"/>
                </a:lnTo>
                <a:close/>
              </a:path>
              <a:path w="311150" h="265429">
                <a:moveTo>
                  <a:pt x="100939" y="0"/>
                </a:moveTo>
                <a:lnTo>
                  <a:pt x="40373" y="0"/>
                </a:lnTo>
                <a:lnTo>
                  <a:pt x="40373" y="28067"/>
                </a:lnTo>
                <a:lnTo>
                  <a:pt x="44411" y="32131"/>
                </a:lnTo>
                <a:lnTo>
                  <a:pt x="96901" y="32131"/>
                </a:lnTo>
                <a:lnTo>
                  <a:pt x="100939" y="28067"/>
                </a:lnTo>
                <a:lnTo>
                  <a:pt x="100939" y="0"/>
                </a:lnTo>
                <a:close/>
              </a:path>
              <a:path w="311150" h="265429">
                <a:moveTo>
                  <a:pt x="96901" y="40131"/>
                </a:moveTo>
                <a:lnTo>
                  <a:pt x="44411" y="40131"/>
                </a:lnTo>
                <a:lnTo>
                  <a:pt x="44411" y="68325"/>
                </a:lnTo>
                <a:lnTo>
                  <a:pt x="96901" y="68325"/>
                </a:lnTo>
                <a:lnTo>
                  <a:pt x="96901" y="40131"/>
                </a:lnTo>
                <a:close/>
              </a:path>
              <a:path w="311150" h="265429">
                <a:moveTo>
                  <a:pt x="258406" y="249047"/>
                </a:moveTo>
                <a:lnTo>
                  <a:pt x="201879" y="249047"/>
                </a:lnTo>
                <a:lnTo>
                  <a:pt x="201879" y="257175"/>
                </a:lnTo>
                <a:lnTo>
                  <a:pt x="205917" y="265175"/>
                </a:lnTo>
                <a:lnTo>
                  <a:pt x="254368" y="265175"/>
                </a:lnTo>
                <a:lnTo>
                  <a:pt x="258406" y="257175"/>
                </a:lnTo>
                <a:lnTo>
                  <a:pt x="258406" y="249047"/>
                </a:lnTo>
                <a:close/>
              </a:path>
              <a:path w="311150" h="265429">
                <a:moveTo>
                  <a:pt x="181686" y="40131"/>
                </a:moveTo>
                <a:lnTo>
                  <a:pt x="133235" y="40131"/>
                </a:lnTo>
                <a:lnTo>
                  <a:pt x="133235" y="68325"/>
                </a:lnTo>
                <a:lnTo>
                  <a:pt x="181686" y="68325"/>
                </a:lnTo>
                <a:lnTo>
                  <a:pt x="181686" y="40131"/>
                </a:lnTo>
                <a:close/>
              </a:path>
              <a:path w="311150" h="265429">
                <a:moveTo>
                  <a:pt x="185724" y="0"/>
                </a:moveTo>
                <a:lnTo>
                  <a:pt x="125171" y="0"/>
                </a:lnTo>
                <a:lnTo>
                  <a:pt x="125171" y="28067"/>
                </a:lnTo>
                <a:lnTo>
                  <a:pt x="129209" y="32131"/>
                </a:lnTo>
                <a:lnTo>
                  <a:pt x="185724" y="32131"/>
                </a:lnTo>
                <a:lnTo>
                  <a:pt x="185724" y="0"/>
                </a:lnTo>
                <a:close/>
              </a:path>
            </a:pathLst>
          </a:custGeom>
          <a:solidFill>
            <a:srgbClr val="3AD4FF"/>
          </a:solidFill>
        </p:spPr>
        <p:txBody>
          <a:bodyPr wrap="square" lIns="0" tIns="0" rIns="0" bIns="0" rtlCol="0"/>
          <a:lstStyle/>
          <a:p>
            <a:endParaRPr/>
          </a:p>
        </p:txBody>
      </p:sp>
      <p:sp>
        <p:nvSpPr>
          <p:cNvPr id="10" name="object 10"/>
          <p:cNvSpPr/>
          <p:nvPr/>
        </p:nvSpPr>
        <p:spPr>
          <a:xfrm>
            <a:off x="678180" y="4251959"/>
            <a:ext cx="696595" cy="86995"/>
          </a:xfrm>
          <a:custGeom>
            <a:avLst/>
            <a:gdLst/>
            <a:ahLst/>
            <a:cxnLst/>
            <a:rect l="l" t="t" r="r" b="b"/>
            <a:pathLst>
              <a:path w="696594" h="86995">
                <a:moveTo>
                  <a:pt x="0" y="86868"/>
                </a:moveTo>
                <a:lnTo>
                  <a:pt x="696468" y="86868"/>
                </a:lnTo>
                <a:lnTo>
                  <a:pt x="696468" y="0"/>
                </a:lnTo>
                <a:lnTo>
                  <a:pt x="0" y="0"/>
                </a:lnTo>
                <a:lnTo>
                  <a:pt x="0" y="86868"/>
                </a:lnTo>
                <a:close/>
              </a:path>
            </a:pathLst>
          </a:custGeom>
          <a:solidFill>
            <a:srgbClr val="3AD4FF"/>
          </a:solidFill>
        </p:spPr>
        <p:txBody>
          <a:bodyPr wrap="square" lIns="0" tIns="0" rIns="0" bIns="0" rtlCol="0"/>
          <a:lstStyle/>
          <a:p>
            <a:endParaRPr/>
          </a:p>
        </p:txBody>
      </p:sp>
      <p:sp>
        <p:nvSpPr>
          <p:cNvPr id="11" name="object 11"/>
          <p:cNvSpPr/>
          <p:nvPr/>
        </p:nvSpPr>
        <p:spPr>
          <a:xfrm>
            <a:off x="1100327" y="5378196"/>
            <a:ext cx="201168" cy="165100"/>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908303" y="5586221"/>
            <a:ext cx="163195" cy="0"/>
          </a:xfrm>
          <a:custGeom>
            <a:avLst/>
            <a:gdLst/>
            <a:ahLst/>
            <a:cxnLst/>
            <a:rect l="l" t="t" r="r" b="b"/>
            <a:pathLst>
              <a:path w="163194">
                <a:moveTo>
                  <a:pt x="0" y="0"/>
                </a:moveTo>
                <a:lnTo>
                  <a:pt x="163068" y="0"/>
                </a:lnTo>
              </a:path>
            </a:pathLst>
          </a:custGeom>
          <a:ln w="59436">
            <a:solidFill>
              <a:srgbClr val="009AAB"/>
            </a:solidFill>
          </a:ln>
        </p:spPr>
        <p:txBody>
          <a:bodyPr wrap="square" lIns="0" tIns="0" rIns="0" bIns="0" rtlCol="0"/>
          <a:lstStyle/>
          <a:p>
            <a:endParaRPr/>
          </a:p>
        </p:txBody>
      </p:sp>
      <p:sp>
        <p:nvSpPr>
          <p:cNvPr id="13" name="object 13"/>
          <p:cNvSpPr/>
          <p:nvPr/>
        </p:nvSpPr>
        <p:spPr>
          <a:xfrm>
            <a:off x="1071372" y="5586221"/>
            <a:ext cx="161925" cy="0"/>
          </a:xfrm>
          <a:custGeom>
            <a:avLst/>
            <a:gdLst/>
            <a:ahLst/>
            <a:cxnLst/>
            <a:rect l="l" t="t" r="r" b="b"/>
            <a:pathLst>
              <a:path w="161925">
                <a:moveTo>
                  <a:pt x="0" y="0"/>
                </a:moveTo>
                <a:lnTo>
                  <a:pt x="161544" y="0"/>
                </a:lnTo>
              </a:path>
            </a:pathLst>
          </a:custGeom>
          <a:ln w="59435">
            <a:solidFill>
              <a:srgbClr val="007885"/>
            </a:solidFill>
          </a:ln>
        </p:spPr>
        <p:txBody>
          <a:bodyPr wrap="square" lIns="0" tIns="0" rIns="0" bIns="0" rtlCol="0"/>
          <a:lstStyle/>
          <a:p>
            <a:endParaRPr/>
          </a:p>
        </p:txBody>
      </p:sp>
      <p:sp>
        <p:nvSpPr>
          <p:cNvPr id="14" name="object 14"/>
          <p:cNvSpPr/>
          <p:nvPr/>
        </p:nvSpPr>
        <p:spPr>
          <a:xfrm>
            <a:off x="1034796" y="5498591"/>
            <a:ext cx="73660" cy="60960"/>
          </a:xfrm>
          <a:custGeom>
            <a:avLst/>
            <a:gdLst/>
            <a:ahLst/>
            <a:cxnLst/>
            <a:rect l="l" t="t" r="r" b="b"/>
            <a:pathLst>
              <a:path w="73659" h="60960">
                <a:moveTo>
                  <a:pt x="0" y="60959"/>
                </a:moveTo>
                <a:lnTo>
                  <a:pt x="73152" y="60959"/>
                </a:lnTo>
                <a:lnTo>
                  <a:pt x="73152" y="0"/>
                </a:lnTo>
                <a:lnTo>
                  <a:pt x="0" y="0"/>
                </a:lnTo>
                <a:lnTo>
                  <a:pt x="0" y="60959"/>
                </a:lnTo>
                <a:close/>
              </a:path>
            </a:pathLst>
          </a:custGeom>
          <a:solidFill>
            <a:srgbClr val="007885"/>
          </a:solidFill>
        </p:spPr>
        <p:txBody>
          <a:bodyPr wrap="square" lIns="0" tIns="0" rIns="0" bIns="0" rtlCol="0"/>
          <a:lstStyle/>
          <a:p>
            <a:endParaRPr/>
          </a:p>
        </p:txBody>
      </p:sp>
      <p:sp>
        <p:nvSpPr>
          <p:cNvPr id="15" name="object 15"/>
          <p:cNvSpPr/>
          <p:nvPr/>
        </p:nvSpPr>
        <p:spPr>
          <a:xfrm>
            <a:off x="1071372" y="5498591"/>
            <a:ext cx="36830" cy="60960"/>
          </a:xfrm>
          <a:custGeom>
            <a:avLst/>
            <a:gdLst/>
            <a:ahLst/>
            <a:cxnLst/>
            <a:rect l="l" t="t" r="r" b="b"/>
            <a:pathLst>
              <a:path w="36830" h="60960">
                <a:moveTo>
                  <a:pt x="0" y="60959"/>
                </a:moveTo>
                <a:lnTo>
                  <a:pt x="36575" y="60959"/>
                </a:lnTo>
                <a:lnTo>
                  <a:pt x="36575" y="0"/>
                </a:lnTo>
                <a:lnTo>
                  <a:pt x="0" y="0"/>
                </a:lnTo>
                <a:lnTo>
                  <a:pt x="0" y="60959"/>
                </a:lnTo>
                <a:close/>
              </a:path>
            </a:pathLst>
          </a:custGeom>
          <a:solidFill>
            <a:srgbClr val="004E56"/>
          </a:solidFill>
        </p:spPr>
        <p:txBody>
          <a:bodyPr wrap="square" lIns="0" tIns="0" rIns="0" bIns="0" rtlCol="0"/>
          <a:lstStyle/>
          <a:p>
            <a:endParaRPr/>
          </a:p>
        </p:txBody>
      </p:sp>
      <p:sp>
        <p:nvSpPr>
          <p:cNvPr id="16" name="object 16"/>
          <p:cNvSpPr/>
          <p:nvPr/>
        </p:nvSpPr>
        <p:spPr>
          <a:xfrm>
            <a:off x="922019" y="5266944"/>
            <a:ext cx="283845" cy="248920"/>
          </a:xfrm>
          <a:custGeom>
            <a:avLst/>
            <a:gdLst/>
            <a:ahLst/>
            <a:cxnLst/>
            <a:rect l="l" t="t" r="r" b="b"/>
            <a:pathLst>
              <a:path w="283844" h="248920">
                <a:moveTo>
                  <a:pt x="178181" y="0"/>
                </a:moveTo>
                <a:lnTo>
                  <a:pt x="60744" y="0"/>
                </a:lnTo>
                <a:lnTo>
                  <a:pt x="48718" y="825"/>
                </a:lnTo>
                <a:lnTo>
                  <a:pt x="37455" y="3555"/>
                </a:lnTo>
                <a:lnTo>
                  <a:pt x="27711" y="8572"/>
                </a:lnTo>
                <a:lnTo>
                  <a:pt x="20243" y="16255"/>
                </a:lnTo>
                <a:lnTo>
                  <a:pt x="11958" y="23133"/>
                </a:lnTo>
                <a:lnTo>
                  <a:pt x="5568" y="31559"/>
                </a:lnTo>
                <a:lnTo>
                  <a:pt x="1455" y="41509"/>
                </a:lnTo>
                <a:lnTo>
                  <a:pt x="0" y="52958"/>
                </a:lnTo>
                <a:lnTo>
                  <a:pt x="0" y="191388"/>
                </a:lnTo>
                <a:lnTo>
                  <a:pt x="20243" y="232155"/>
                </a:lnTo>
                <a:lnTo>
                  <a:pt x="60744" y="248411"/>
                </a:lnTo>
                <a:lnTo>
                  <a:pt x="283464" y="248411"/>
                </a:lnTo>
                <a:lnTo>
                  <a:pt x="283464" y="203580"/>
                </a:lnTo>
                <a:lnTo>
                  <a:pt x="52641" y="203580"/>
                </a:lnTo>
                <a:lnTo>
                  <a:pt x="44538" y="195452"/>
                </a:lnTo>
                <a:lnTo>
                  <a:pt x="44538" y="52958"/>
                </a:lnTo>
                <a:lnTo>
                  <a:pt x="52641" y="44830"/>
                </a:lnTo>
                <a:lnTo>
                  <a:pt x="178181" y="44830"/>
                </a:lnTo>
                <a:lnTo>
                  <a:pt x="178181" y="0"/>
                </a:lnTo>
                <a:close/>
              </a:path>
            </a:pathLst>
          </a:custGeom>
          <a:solidFill>
            <a:srgbClr val="009AAB"/>
          </a:solidFill>
        </p:spPr>
        <p:txBody>
          <a:bodyPr wrap="square" lIns="0" tIns="0" rIns="0" bIns="0" rtlCol="0"/>
          <a:lstStyle/>
          <a:p>
            <a:endParaRPr/>
          </a:p>
        </p:txBody>
      </p:sp>
      <p:sp>
        <p:nvSpPr>
          <p:cNvPr id="17" name="object 17"/>
          <p:cNvSpPr/>
          <p:nvPr/>
        </p:nvSpPr>
        <p:spPr>
          <a:xfrm>
            <a:off x="1043939" y="5158740"/>
            <a:ext cx="96012" cy="234696"/>
          </a:xfrm>
          <a:prstGeom prst="rect">
            <a:avLst/>
          </a:prstGeom>
          <a:blipFill>
            <a:blip r:embed="rId5" cstate="print"/>
            <a:stretch>
              <a:fillRect/>
            </a:stretch>
          </a:blipFill>
        </p:spPr>
        <p:txBody>
          <a:bodyPr wrap="square" lIns="0" tIns="0" rIns="0" bIns="0" rtlCol="0"/>
          <a:lstStyle/>
          <a:p>
            <a:endParaRPr/>
          </a:p>
        </p:txBody>
      </p:sp>
      <p:sp>
        <p:nvSpPr>
          <p:cNvPr id="18" name="object 18"/>
          <p:cNvSpPr/>
          <p:nvPr/>
        </p:nvSpPr>
        <p:spPr>
          <a:xfrm>
            <a:off x="870203" y="4447032"/>
            <a:ext cx="311150" cy="271780"/>
          </a:xfrm>
          <a:custGeom>
            <a:avLst/>
            <a:gdLst/>
            <a:ahLst/>
            <a:cxnLst/>
            <a:rect l="l" t="t" r="r" b="b"/>
            <a:pathLst>
              <a:path w="311150" h="271779">
                <a:moveTo>
                  <a:pt x="113055" y="255016"/>
                </a:moveTo>
                <a:lnTo>
                  <a:pt x="56527" y="255016"/>
                </a:lnTo>
                <a:lnTo>
                  <a:pt x="56527" y="263144"/>
                </a:lnTo>
                <a:lnTo>
                  <a:pt x="60566" y="271272"/>
                </a:lnTo>
                <a:lnTo>
                  <a:pt x="104978" y="271272"/>
                </a:lnTo>
                <a:lnTo>
                  <a:pt x="113055" y="263144"/>
                </a:lnTo>
                <a:lnTo>
                  <a:pt x="113055" y="255016"/>
                </a:lnTo>
                <a:close/>
              </a:path>
              <a:path w="311150" h="271779">
                <a:moveTo>
                  <a:pt x="258406" y="76962"/>
                </a:moveTo>
                <a:lnTo>
                  <a:pt x="52489" y="76962"/>
                </a:lnTo>
                <a:lnTo>
                  <a:pt x="43402" y="78339"/>
                </a:lnTo>
                <a:lnTo>
                  <a:pt x="10222" y="100518"/>
                </a:lnTo>
                <a:lnTo>
                  <a:pt x="0" y="129540"/>
                </a:lnTo>
                <a:lnTo>
                  <a:pt x="0" y="194310"/>
                </a:lnTo>
                <a:lnTo>
                  <a:pt x="16154" y="230759"/>
                </a:lnTo>
                <a:lnTo>
                  <a:pt x="52489" y="247015"/>
                </a:lnTo>
                <a:lnTo>
                  <a:pt x="258406" y="247015"/>
                </a:lnTo>
                <a:lnTo>
                  <a:pt x="269763" y="246189"/>
                </a:lnTo>
                <a:lnTo>
                  <a:pt x="279603" y="243459"/>
                </a:lnTo>
                <a:lnTo>
                  <a:pt x="287928" y="238442"/>
                </a:lnTo>
                <a:lnTo>
                  <a:pt x="294741" y="230759"/>
                </a:lnTo>
                <a:lnTo>
                  <a:pt x="302377" y="223920"/>
                </a:lnTo>
                <a:lnTo>
                  <a:pt x="303148" y="222631"/>
                </a:lnTo>
                <a:lnTo>
                  <a:pt x="44411" y="222631"/>
                </a:lnTo>
                <a:lnTo>
                  <a:pt x="40373" y="218694"/>
                </a:lnTo>
                <a:lnTo>
                  <a:pt x="32296" y="214630"/>
                </a:lnTo>
                <a:lnTo>
                  <a:pt x="28257" y="210566"/>
                </a:lnTo>
                <a:lnTo>
                  <a:pt x="24231" y="202438"/>
                </a:lnTo>
                <a:lnTo>
                  <a:pt x="24231" y="121412"/>
                </a:lnTo>
                <a:lnTo>
                  <a:pt x="28257" y="117475"/>
                </a:lnTo>
                <a:lnTo>
                  <a:pt x="32296" y="109347"/>
                </a:lnTo>
                <a:lnTo>
                  <a:pt x="40373" y="105283"/>
                </a:lnTo>
                <a:lnTo>
                  <a:pt x="44411" y="101219"/>
                </a:lnTo>
                <a:lnTo>
                  <a:pt x="302751" y="101219"/>
                </a:lnTo>
                <a:lnTo>
                  <a:pt x="269763" y="78339"/>
                </a:lnTo>
                <a:lnTo>
                  <a:pt x="258406" y="76962"/>
                </a:lnTo>
                <a:close/>
              </a:path>
              <a:path w="311150" h="271779">
                <a:moveTo>
                  <a:pt x="302751" y="101219"/>
                </a:moveTo>
                <a:lnTo>
                  <a:pt x="266484" y="101219"/>
                </a:lnTo>
                <a:lnTo>
                  <a:pt x="274561" y="105283"/>
                </a:lnTo>
                <a:lnTo>
                  <a:pt x="286664" y="117475"/>
                </a:lnTo>
                <a:lnTo>
                  <a:pt x="286664" y="210566"/>
                </a:lnTo>
                <a:lnTo>
                  <a:pt x="278599" y="214630"/>
                </a:lnTo>
                <a:lnTo>
                  <a:pt x="274561" y="218694"/>
                </a:lnTo>
                <a:lnTo>
                  <a:pt x="266484" y="222631"/>
                </a:lnTo>
                <a:lnTo>
                  <a:pt x="303148" y="222631"/>
                </a:lnTo>
                <a:lnTo>
                  <a:pt x="307362" y="215582"/>
                </a:lnTo>
                <a:lnTo>
                  <a:pt x="310075" y="205720"/>
                </a:lnTo>
                <a:lnTo>
                  <a:pt x="310784" y="195865"/>
                </a:lnTo>
                <a:lnTo>
                  <a:pt x="310896" y="129540"/>
                </a:lnTo>
                <a:lnTo>
                  <a:pt x="310075" y="119897"/>
                </a:lnTo>
                <a:lnTo>
                  <a:pt x="307362" y="109839"/>
                </a:lnTo>
                <a:lnTo>
                  <a:pt x="302751" y="101219"/>
                </a:lnTo>
                <a:close/>
              </a:path>
              <a:path w="311150" h="271779">
                <a:moveTo>
                  <a:pt x="52489" y="109347"/>
                </a:moveTo>
                <a:lnTo>
                  <a:pt x="44411" y="109347"/>
                </a:lnTo>
                <a:lnTo>
                  <a:pt x="44411" y="149860"/>
                </a:lnTo>
                <a:lnTo>
                  <a:pt x="46431" y="176446"/>
                </a:lnTo>
                <a:lnTo>
                  <a:pt x="51479" y="195865"/>
                </a:lnTo>
                <a:lnTo>
                  <a:pt x="58042" y="208474"/>
                </a:lnTo>
                <a:lnTo>
                  <a:pt x="64604" y="214630"/>
                </a:lnTo>
                <a:lnTo>
                  <a:pt x="72682" y="214630"/>
                </a:lnTo>
                <a:lnTo>
                  <a:pt x="81572" y="208474"/>
                </a:lnTo>
                <a:lnTo>
                  <a:pt x="85286" y="202438"/>
                </a:lnTo>
                <a:lnTo>
                  <a:pt x="64604" y="202438"/>
                </a:lnTo>
                <a:lnTo>
                  <a:pt x="60566" y="194310"/>
                </a:lnTo>
                <a:lnTo>
                  <a:pt x="60566" y="190246"/>
                </a:lnTo>
                <a:lnTo>
                  <a:pt x="60352" y="189801"/>
                </a:lnTo>
                <a:lnTo>
                  <a:pt x="58547" y="189801"/>
                </a:lnTo>
                <a:lnTo>
                  <a:pt x="58194" y="185317"/>
                </a:lnTo>
                <a:lnTo>
                  <a:pt x="55896" y="180542"/>
                </a:lnTo>
                <a:lnTo>
                  <a:pt x="53498" y="170053"/>
                </a:lnTo>
                <a:lnTo>
                  <a:pt x="52615" y="159563"/>
                </a:lnTo>
                <a:lnTo>
                  <a:pt x="52489" y="109347"/>
                </a:lnTo>
                <a:close/>
              </a:path>
              <a:path w="311150" h="271779">
                <a:moveTo>
                  <a:pt x="181686" y="109347"/>
                </a:moveTo>
                <a:lnTo>
                  <a:pt x="133235" y="109347"/>
                </a:lnTo>
                <a:lnTo>
                  <a:pt x="133235" y="149860"/>
                </a:lnTo>
                <a:lnTo>
                  <a:pt x="134687" y="176446"/>
                </a:lnTo>
                <a:lnTo>
                  <a:pt x="138788" y="195865"/>
                </a:lnTo>
                <a:lnTo>
                  <a:pt x="145162" y="208474"/>
                </a:lnTo>
                <a:lnTo>
                  <a:pt x="153428" y="214630"/>
                </a:lnTo>
                <a:lnTo>
                  <a:pt x="161505" y="214630"/>
                </a:lnTo>
                <a:lnTo>
                  <a:pt x="169770" y="208474"/>
                </a:lnTo>
                <a:lnTo>
                  <a:pt x="172819" y="202438"/>
                </a:lnTo>
                <a:lnTo>
                  <a:pt x="149390" y="202438"/>
                </a:lnTo>
                <a:lnTo>
                  <a:pt x="145351" y="194310"/>
                </a:lnTo>
                <a:lnTo>
                  <a:pt x="145351" y="190246"/>
                </a:lnTo>
                <a:lnTo>
                  <a:pt x="142385" y="180542"/>
                </a:lnTo>
                <a:lnTo>
                  <a:pt x="139798" y="170053"/>
                </a:lnTo>
                <a:lnTo>
                  <a:pt x="137968" y="159563"/>
                </a:lnTo>
                <a:lnTo>
                  <a:pt x="137274" y="149860"/>
                </a:lnTo>
                <a:lnTo>
                  <a:pt x="137274" y="125476"/>
                </a:lnTo>
                <a:lnTo>
                  <a:pt x="181686" y="125476"/>
                </a:lnTo>
                <a:lnTo>
                  <a:pt x="181686" y="109347"/>
                </a:lnTo>
                <a:close/>
              </a:path>
              <a:path w="311150" h="271779">
                <a:moveTo>
                  <a:pt x="226110" y="109347"/>
                </a:moveTo>
                <a:lnTo>
                  <a:pt x="218033" y="109347"/>
                </a:lnTo>
                <a:lnTo>
                  <a:pt x="218033" y="149860"/>
                </a:lnTo>
                <a:lnTo>
                  <a:pt x="219484" y="176446"/>
                </a:lnTo>
                <a:lnTo>
                  <a:pt x="223585" y="195865"/>
                </a:lnTo>
                <a:lnTo>
                  <a:pt x="229954" y="208474"/>
                </a:lnTo>
                <a:lnTo>
                  <a:pt x="238213" y="214630"/>
                </a:lnTo>
                <a:lnTo>
                  <a:pt x="246291" y="214630"/>
                </a:lnTo>
                <a:lnTo>
                  <a:pt x="254557" y="208474"/>
                </a:lnTo>
                <a:lnTo>
                  <a:pt x="257608" y="202438"/>
                </a:lnTo>
                <a:lnTo>
                  <a:pt x="238213" y="202438"/>
                </a:lnTo>
                <a:lnTo>
                  <a:pt x="234175" y="194310"/>
                </a:lnTo>
                <a:lnTo>
                  <a:pt x="230149" y="190246"/>
                </a:lnTo>
                <a:lnTo>
                  <a:pt x="227814" y="180542"/>
                </a:lnTo>
                <a:lnTo>
                  <a:pt x="226615" y="170053"/>
                </a:lnTo>
                <a:lnTo>
                  <a:pt x="226173" y="159563"/>
                </a:lnTo>
                <a:lnTo>
                  <a:pt x="226110" y="109347"/>
                </a:lnTo>
                <a:close/>
              </a:path>
              <a:path w="311150" h="271779">
                <a:moveTo>
                  <a:pt x="96901" y="109347"/>
                </a:moveTo>
                <a:lnTo>
                  <a:pt x="88823" y="109347"/>
                </a:lnTo>
                <a:lnTo>
                  <a:pt x="88697" y="159563"/>
                </a:lnTo>
                <a:lnTo>
                  <a:pt x="87814" y="170053"/>
                </a:lnTo>
                <a:lnTo>
                  <a:pt x="85416" y="180542"/>
                </a:lnTo>
                <a:lnTo>
                  <a:pt x="80746" y="190246"/>
                </a:lnTo>
                <a:lnTo>
                  <a:pt x="80746" y="194310"/>
                </a:lnTo>
                <a:lnTo>
                  <a:pt x="76720" y="202438"/>
                </a:lnTo>
                <a:lnTo>
                  <a:pt x="85286" y="202438"/>
                </a:lnTo>
                <a:lnTo>
                  <a:pt x="89330" y="195865"/>
                </a:lnTo>
                <a:lnTo>
                  <a:pt x="94818" y="176446"/>
                </a:lnTo>
                <a:lnTo>
                  <a:pt x="96901" y="149860"/>
                </a:lnTo>
                <a:lnTo>
                  <a:pt x="96901" y="109347"/>
                </a:lnTo>
                <a:close/>
              </a:path>
              <a:path w="311150" h="271779">
                <a:moveTo>
                  <a:pt x="181686" y="125476"/>
                </a:moveTo>
                <a:lnTo>
                  <a:pt x="173621" y="125476"/>
                </a:lnTo>
                <a:lnTo>
                  <a:pt x="173558" y="159563"/>
                </a:lnTo>
                <a:lnTo>
                  <a:pt x="173116" y="170053"/>
                </a:lnTo>
                <a:lnTo>
                  <a:pt x="171917" y="180542"/>
                </a:lnTo>
                <a:lnTo>
                  <a:pt x="169583" y="190246"/>
                </a:lnTo>
                <a:lnTo>
                  <a:pt x="165544" y="194310"/>
                </a:lnTo>
                <a:lnTo>
                  <a:pt x="161505" y="202438"/>
                </a:lnTo>
                <a:lnTo>
                  <a:pt x="172819" y="202438"/>
                </a:lnTo>
                <a:lnTo>
                  <a:pt x="176139" y="195865"/>
                </a:lnTo>
                <a:lnTo>
                  <a:pt x="180236" y="176446"/>
                </a:lnTo>
                <a:lnTo>
                  <a:pt x="181686" y="149860"/>
                </a:lnTo>
                <a:lnTo>
                  <a:pt x="181686" y="125476"/>
                </a:lnTo>
                <a:close/>
              </a:path>
              <a:path w="311150" h="271779">
                <a:moveTo>
                  <a:pt x="266484" y="109347"/>
                </a:moveTo>
                <a:lnTo>
                  <a:pt x="262445" y="109347"/>
                </a:lnTo>
                <a:lnTo>
                  <a:pt x="262445" y="149860"/>
                </a:lnTo>
                <a:lnTo>
                  <a:pt x="261751" y="159563"/>
                </a:lnTo>
                <a:lnTo>
                  <a:pt x="259921" y="170053"/>
                </a:lnTo>
                <a:lnTo>
                  <a:pt x="257334" y="180542"/>
                </a:lnTo>
                <a:lnTo>
                  <a:pt x="254368" y="190246"/>
                </a:lnTo>
                <a:lnTo>
                  <a:pt x="254368" y="194310"/>
                </a:lnTo>
                <a:lnTo>
                  <a:pt x="250329" y="202438"/>
                </a:lnTo>
                <a:lnTo>
                  <a:pt x="257608" y="202438"/>
                </a:lnTo>
                <a:lnTo>
                  <a:pt x="260931" y="195865"/>
                </a:lnTo>
                <a:lnTo>
                  <a:pt x="265032" y="176446"/>
                </a:lnTo>
                <a:lnTo>
                  <a:pt x="266484" y="149860"/>
                </a:lnTo>
                <a:lnTo>
                  <a:pt x="266484" y="109347"/>
                </a:lnTo>
                <a:close/>
              </a:path>
              <a:path w="311150" h="271779">
                <a:moveTo>
                  <a:pt x="58815" y="186607"/>
                </a:moveTo>
                <a:lnTo>
                  <a:pt x="58547" y="189801"/>
                </a:lnTo>
                <a:lnTo>
                  <a:pt x="60352" y="189801"/>
                </a:lnTo>
                <a:lnTo>
                  <a:pt x="58815" y="186607"/>
                </a:lnTo>
                <a:close/>
              </a:path>
              <a:path w="311150" h="271779">
                <a:moveTo>
                  <a:pt x="234175" y="109347"/>
                </a:moveTo>
                <a:lnTo>
                  <a:pt x="230149" y="109347"/>
                </a:lnTo>
                <a:lnTo>
                  <a:pt x="230250" y="129540"/>
                </a:lnTo>
                <a:lnTo>
                  <a:pt x="230752" y="170053"/>
                </a:lnTo>
                <a:lnTo>
                  <a:pt x="230867" y="173275"/>
                </a:lnTo>
                <a:lnTo>
                  <a:pt x="232162" y="189801"/>
                </a:lnTo>
                <a:lnTo>
                  <a:pt x="233546" y="173275"/>
                </a:lnTo>
                <a:lnTo>
                  <a:pt x="234076" y="129540"/>
                </a:lnTo>
                <a:lnTo>
                  <a:pt x="234175" y="109347"/>
                </a:lnTo>
                <a:close/>
              </a:path>
              <a:path w="311150" h="271779">
                <a:moveTo>
                  <a:pt x="149390" y="125476"/>
                </a:moveTo>
                <a:lnTo>
                  <a:pt x="145351" y="125476"/>
                </a:lnTo>
                <a:lnTo>
                  <a:pt x="145961" y="170053"/>
                </a:lnTo>
                <a:lnTo>
                  <a:pt x="146026" y="172132"/>
                </a:lnTo>
                <a:lnTo>
                  <a:pt x="147370" y="187769"/>
                </a:lnTo>
                <a:lnTo>
                  <a:pt x="148712" y="173275"/>
                </a:lnTo>
                <a:lnTo>
                  <a:pt x="148795" y="170053"/>
                </a:lnTo>
                <a:lnTo>
                  <a:pt x="149390" y="125476"/>
                </a:lnTo>
                <a:close/>
              </a:path>
              <a:path w="311150" h="271779">
                <a:moveTo>
                  <a:pt x="60566" y="109347"/>
                </a:moveTo>
                <a:lnTo>
                  <a:pt x="56527" y="109347"/>
                </a:lnTo>
                <a:lnTo>
                  <a:pt x="56628" y="129540"/>
                </a:lnTo>
                <a:lnTo>
                  <a:pt x="57132" y="170053"/>
                </a:lnTo>
                <a:lnTo>
                  <a:pt x="57248" y="173275"/>
                </a:lnTo>
                <a:lnTo>
                  <a:pt x="58194" y="185317"/>
                </a:lnTo>
                <a:lnTo>
                  <a:pt x="58815" y="186607"/>
                </a:lnTo>
                <a:lnTo>
                  <a:pt x="59935" y="173275"/>
                </a:lnTo>
                <a:lnTo>
                  <a:pt x="60467" y="129540"/>
                </a:lnTo>
                <a:lnTo>
                  <a:pt x="60566" y="109347"/>
                </a:lnTo>
                <a:close/>
              </a:path>
              <a:path w="311150" h="271779">
                <a:moveTo>
                  <a:pt x="266484" y="44577"/>
                </a:moveTo>
                <a:lnTo>
                  <a:pt x="218033" y="44577"/>
                </a:lnTo>
                <a:lnTo>
                  <a:pt x="218033" y="72898"/>
                </a:lnTo>
                <a:lnTo>
                  <a:pt x="226110" y="72898"/>
                </a:lnTo>
                <a:lnTo>
                  <a:pt x="226110" y="64770"/>
                </a:lnTo>
                <a:lnTo>
                  <a:pt x="266484" y="64770"/>
                </a:lnTo>
                <a:lnTo>
                  <a:pt x="266484" y="44577"/>
                </a:lnTo>
                <a:close/>
              </a:path>
              <a:path w="311150" h="271779">
                <a:moveTo>
                  <a:pt x="234175" y="64770"/>
                </a:moveTo>
                <a:lnTo>
                  <a:pt x="230149" y="64770"/>
                </a:lnTo>
                <a:lnTo>
                  <a:pt x="230149" y="72898"/>
                </a:lnTo>
                <a:lnTo>
                  <a:pt x="234175" y="72898"/>
                </a:lnTo>
                <a:lnTo>
                  <a:pt x="234175" y="64770"/>
                </a:lnTo>
                <a:close/>
              </a:path>
              <a:path w="311150" h="271779">
                <a:moveTo>
                  <a:pt x="266484" y="64770"/>
                </a:moveTo>
                <a:lnTo>
                  <a:pt x="262445" y="64770"/>
                </a:lnTo>
                <a:lnTo>
                  <a:pt x="262445" y="72898"/>
                </a:lnTo>
                <a:lnTo>
                  <a:pt x="266484" y="72898"/>
                </a:lnTo>
                <a:lnTo>
                  <a:pt x="266484" y="64770"/>
                </a:lnTo>
                <a:close/>
              </a:path>
              <a:path w="311150" h="271779">
                <a:moveTo>
                  <a:pt x="270522" y="0"/>
                </a:moveTo>
                <a:lnTo>
                  <a:pt x="213995" y="0"/>
                </a:lnTo>
                <a:lnTo>
                  <a:pt x="213995" y="36449"/>
                </a:lnTo>
                <a:lnTo>
                  <a:pt x="270522" y="36449"/>
                </a:lnTo>
                <a:lnTo>
                  <a:pt x="274561" y="32385"/>
                </a:lnTo>
                <a:lnTo>
                  <a:pt x="274561" y="4064"/>
                </a:lnTo>
                <a:lnTo>
                  <a:pt x="270522" y="0"/>
                </a:lnTo>
                <a:close/>
              </a:path>
              <a:path w="311150" h="271779">
                <a:moveTo>
                  <a:pt x="96901" y="0"/>
                </a:moveTo>
                <a:lnTo>
                  <a:pt x="44411" y="0"/>
                </a:lnTo>
                <a:lnTo>
                  <a:pt x="40373" y="4064"/>
                </a:lnTo>
                <a:lnTo>
                  <a:pt x="40373" y="32385"/>
                </a:lnTo>
                <a:lnTo>
                  <a:pt x="44411" y="36449"/>
                </a:lnTo>
                <a:lnTo>
                  <a:pt x="96901" y="36449"/>
                </a:lnTo>
                <a:lnTo>
                  <a:pt x="100939" y="32385"/>
                </a:lnTo>
                <a:lnTo>
                  <a:pt x="100939" y="4064"/>
                </a:lnTo>
                <a:lnTo>
                  <a:pt x="96901" y="0"/>
                </a:lnTo>
                <a:close/>
              </a:path>
              <a:path w="311150" h="271779">
                <a:moveTo>
                  <a:pt x="96901" y="44577"/>
                </a:moveTo>
                <a:lnTo>
                  <a:pt x="44411" y="44577"/>
                </a:lnTo>
                <a:lnTo>
                  <a:pt x="44411" y="72898"/>
                </a:lnTo>
                <a:lnTo>
                  <a:pt x="96901" y="72898"/>
                </a:lnTo>
                <a:lnTo>
                  <a:pt x="96901" y="44577"/>
                </a:lnTo>
                <a:close/>
              </a:path>
              <a:path w="311150" h="271779">
                <a:moveTo>
                  <a:pt x="258406" y="255016"/>
                </a:moveTo>
                <a:lnTo>
                  <a:pt x="201879" y="255016"/>
                </a:lnTo>
                <a:lnTo>
                  <a:pt x="201879" y="263144"/>
                </a:lnTo>
                <a:lnTo>
                  <a:pt x="205917" y="271272"/>
                </a:lnTo>
                <a:lnTo>
                  <a:pt x="254368" y="271272"/>
                </a:lnTo>
                <a:lnTo>
                  <a:pt x="258406" y="263144"/>
                </a:lnTo>
                <a:lnTo>
                  <a:pt x="258406" y="255016"/>
                </a:lnTo>
                <a:close/>
              </a:path>
              <a:path w="311150" h="271779">
                <a:moveTo>
                  <a:pt x="181686" y="44577"/>
                </a:moveTo>
                <a:lnTo>
                  <a:pt x="133235" y="44577"/>
                </a:lnTo>
                <a:lnTo>
                  <a:pt x="133235" y="72898"/>
                </a:lnTo>
                <a:lnTo>
                  <a:pt x="181686" y="72898"/>
                </a:lnTo>
                <a:lnTo>
                  <a:pt x="181686" y="44577"/>
                </a:lnTo>
                <a:close/>
              </a:path>
              <a:path w="311150" h="271779">
                <a:moveTo>
                  <a:pt x="185724" y="0"/>
                </a:moveTo>
                <a:lnTo>
                  <a:pt x="129209" y="0"/>
                </a:lnTo>
                <a:lnTo>
                  <a:pt x="125171" y="4064"/>
                </a:lnTo>
                <a:lnTo>
                  <a:pt x="125171" y="32385"/>
                </a:lnTo>
                <a:lnTo>
                  <a:pt x="129209" y="36449"/>
                </a:lnTo>
                <a:lnTo>
                  <a:pt x="185724" y="36449"/>
                </a:lnTo>
                <a:lnTo>
                  <a:pt x="185724" y="0"/>
                </a:lnTo>
                <a:close/>
              </a:path>
            </a:pathLst>
          </a:custGeom>
          <a:solidFill>
            <a:srgbClr val="3AD4FF"/>
          </a:solidFill>
        </p:spPr>
        <p:txBody>
          <a:bodyPr wrap="square" lIns="0" tIns="0" rIns="0" bIns="0" rtlCol="0"/>
          <a:lstStyle/>
          <a:p>
            <a:endParaRPr/>
          </a:p>
        </p:txBody>
      </p:sp>
      <p:sp>
        <p:nvSpPr>
          <p:cNvPr id="19" name="object 19"/>
          <p:cNvSpPr/>
          <p:nvPr/>
        </p:nvSpPr>
        <p:spPr>
          <a:xfrm>
            <a:off x="678180" y="4768596"/>
            <a:ext cx="696595" cy="0"/>
          </a:xfrm>
          <a:custGeom>
            <a:avLst/>
            <a:gdLst/>
            <a:ahLst/>
            <a:cxnLst/>
            <a:rect l="l" t="t" r="r" b="b"/>
            <a:pathLst>
              <a:path w="696594">
                <a:moveTo>
                  <a:pt x="0" y="0"/>
                </a:moveTo>
                <a:lnTo>
                  <a:pt x="696468" y="0"/>
                </a:lnTo>
              </a:path>
            </a:pathLst>
          </a:custGeom>
          <a:ln w="85343">
            <a:solidFill>
              <a:srgbClr val="3AD4FF"/>
            </a:solidFill>
          </a:ln>
        </p:spPr>
        <p:txBody>
          <a:bodyPr wrap="square" lIns="0" tIns="0" rIns="0" bIns="0" rtlCol="0"/>
          <a:lstStyle/>
          <a:p>
            <a:endParaRPr/>
          </a:p>
        </p:txBody>
      </p:sp>
      <p:sp>
        <p:nvSpPr>
          <p:cNvPr id="20" name="object 20"/>
          <p:cNvSpPr/>
          <p:nvPr/>
        </p:nvSpPr>
        <p:spPr>
          <a:xfrm>
            <a:off x="1423416" y="3530853"/>
            <a:ext cx="638810" cy="661670"/>
          </a:xfrm>
          <a:custGeom>
            <a:avLst/>
            <a:gdLst/>
            <a:ahLst/>
            <a:cxnLst/>
            <a:rect l="l" t="t" r="r" b="b"/>
            <a:pathLst>
              <a:path w="638810" h="661670">
                <a:moveTo>
                  <a:pt x="295021" y="0"/>
                </a:moveTo>
                <a:lnTo>
                  <a:pt x="295021" y="27940"/>
                </a:lnTo>
                <a:lnTo>
                  <a:pt x="246486" y="35560"/>
                </a:lnTo>
                <a:lnTo>
                  <a:pt x="200696" y="49530"/>
                </a:lnTo>
                <a:lnTo>
                  <a:pt x="158207" y="69850"/>
                </a:lnTo>
                <a:lnTo>
                  <a:pt x="119576" y="96520"/>
                </a:lnTo>
                <a:lnTo>
                  <a:pt x="85359" y="128270"/>
                </a:lnTo>
                <a:lnTo>
                  <a:pt x="56115" y="163830"/>
                </a:lnTo>
                <a:lnTo>
                  <a:pt x="32400" y="204470"/>
                </a:lnTo>
                <a:lnTo>
                  <a:pt x="14771" y="247650"/>
                </a:lnTo>
                <a:lnTo>
                  <a:pt x="3785" y="294640"/>
                </a:lnTo>
                <a:lnTo>
                  <a:pt x="0" y="342900"/>
                </a:lnTo>
                <a:lnTo>
                  <a:pt x="3520" y="389890"/>
                </a:lnTo>
                <a:lnTo>
                  <a:pt x="13728" y="434340"/>
                </a:lnTo>
                <a:lnTo>
                  <a:pt x="30095" y="476250"/>
                </a:lnTo>
                <a:lnTo>
                  <a:pt x="52093" y="515620"/>
                </a:lnTo>
                <a:lnTo>
                  <a:pt x="79191" y="551180"/>
                </a:lnTo>
                <a:lnTo>
                  <a:pt x="110861" y="582930"/>
                </a:lnTo>
                <a:lnTo>
                  <a:pt x="146574" y="609600"/>
                </a:lnTo>
                <a:lnTo>
                  <a:pt x="185802" y="632460"/>
                </a:lnTo>
                <a:lnTo>
                  <a:pt x="228014" y="648970"/>
                </a:lnTo>
                <a:lnTo>
                  <a:pt x="272682" y="659130"/>
                </a:lnTo>
                <a:lnTo>
                  <a:pt x="319278" y="661670"/>
                </a:lnTo>
                <a:lnTo>
                  <a:pt x="365873" y="659130"/>
                </a:lnTo>
                <a:lnTo>
                  <a:pt x="410541" y="648970"/>
                </a:lnTo>
                <a:lnTo>
                  <a:pt x="452753" y="632460"/>
                </a:lnTo>
                <a:lnTo>
                  <a:pt x="478905" y="617220"/>
                </a:lnTo>
                <a:lnTo>
                  <a:pt x="319278" y="617220"/>
                </a:lnTo>
                <a:lnTo>
                  <a:pt x="270484" y="613410"/>
                </a:lnTo>
                <a:lnTo>
                  <a:pt x="224310" y="600710"/>
                </a:lnTo>
                <a:lnTo>
                  <a:pt x="181591" y="580390"/>
                </a:lnTo>
                <a:lnTo>
                  <a:pt x="143158" y="552450"/>
                </a:lnTo>
                <a:lnTo>
                  <a:pt x="109844" y="519430"/>
                </a:lnTo>
                <a:lnTo>
                  <a:pt x="82484" y="480060"/>
                </a:lnTo>
                <a:lnTo>
                  <a:pt x="61909" y="438150"/>
                </a:lnTo>
                <a:lnTo>
                  <a:pt x="48953" y="391160"/>
                </a:lnTo>
                <a:lnTo>
                  <a:pt x="44450" y="342900"/>
                </a:lnTo>
                <a:lnTo>
                  <a:pt x="48385" y="297180"/>
                </a:lnTo>
                <a:lnTo>
                  <a:pt x="59770" y="252730"/>
                </a:lnTo>
                <a:lnTo>
                  <a:pt x="77973" y="212090"/>
                </a:lnTo>
                <a:lnTo>
                  <a:pt x="102363" y="175260"/>
                </a:lnTo>
                <a:lnTo>
                  <a:pt x="132309" y="143510"/>
                </a:lnTo>
                <a:lnTo>
                  <a:pt x="167179" y="116840"/>
                </a:lnTo>
                <a:lnTo>
                  <a:pt x="206341" y="95250"/>
                </a:lnTo>
                <a:lnTo>
                  <a:pt x="249166" y="80010"/>
                </a:lnTo>
                <a:lnTo>
                  <a:pt x="295021" y="72390"/>
                </a:lnTo>
                <a:lnTo>
                  <a:pt x="335407" y="72390"/>
                </a:lnTo>
                <a:lnTo>
                  <a:pt x="375920" y="48260"/>
                </a:lnTo>
                <a:lnTo>
                  <a:pt x="295021" y="0"/>
                </a:lnTo>
                <a:close/>
              </a:path>
              <a:path w="638810" h="661670">
                <a:moveTo>
                  <a:pt x="638556" y="342900"/>
                </a:moveTo>
                <a:lnTo>
                  <a:pt x="594106" y="342900"/>
                </a:lnTo>
                <a:lnTo>
                  <a:pt x="589602" y="391160"/>
                </a:lnTo>
                <a:lnTo>
                  <a:pt x="576646" y="438150"/>
                </a:lnTo>
                <a:lnTo>
                  <a:pt x="556071" y="480060"/>
                </a:lnTo>
                <a:lnTo>
                  <a:pt x="528711" y="519430"/>
                </a:lnTo>
                <a:lnTo>
                  <a:pt x="495397" y="552450"/>
                </a:lnTo>
                <a:lnTo>
                  <a:pt x="456964" y="580390"/>
                </a:lnTo>
                <a:lnTo>
                  <a:pt x="414245" y="600710"/>
                </a:lnTo>
                <a:lnTo>
                  <a:pt x="368071" y="613410"/>
                </a:lnTo>
                <a:lnTo>
                  <a:pt x="319278" y="617220"/>
                </a:lnTo>
                <a:lnTo>
                  <a:pt x="478905" y="617220"/>
                </a:lnTo>
                <a:lnTo>
                  <a:pt x="527694" y="582930"/>
                </a:lnTo>
                <a:lnTo>
                  <a:pt x="559364" y="551180"/>
                </a:lnTo>
                <a:lnTo>
                  <a:pt x="586462" y="515620"/>
                </a:lnTo>
                <a:lnTo>
                  <a:pt x="608460" y="476250"/>
                </a:lnTo>
                <a:lnTo>
                  <a:pt x="624827" y="434340"/>
                </a:lnTo>
                <a:lnTo>
                  <a:pt x="635035" y="389890"/>
                </a:lnTo>
                <a:lnTo>
                  <a:pt x="638556" y="342900"/>
                </a:lnTo>
                <a:close/>
              </a:path>
              <a:path w="638810" h="661670">
                <a:moveTo>
                  <a:pt x="290957" y="568960"/>
                </a:moveTo>
                <a:lnTo>
                  <a:pt x="282956" y="568960"/>
                </a:lnTo>
                <a:lnTo>
                  <a:pt x="282956" y="585470"/>
                </a:lnTo>
                <a:lnTo>
                  <a:pt x="286892" y="589280"/>
                </a:lnTo>
                <a:lnTo>
                  <a:pt x="290957" y="568960"/>
                </a:lnTo>
                <a:close/>
              </a:path>
              <a:path w="638810" h="661670">
                <a:moveTo>
                  <a:pt x="331342" y="541020"/>
                </a:moveTo>
                <a:lnTo>
                  <a:pt x="307213" y="541020"/>
                </a:lnTo>
                <a:lnTo>
                  <a:pt x="307213" y="589280"/>
                </a:lnTo>
                <a:lnTo>
                  <a:pt x="331342" y="589280"/>
                </a:lnTo>
                <a:lnTo>
                  <a:pt x="331342" y="541020"/>
                </a:lnTo>
                <a:close/>
              </a:path>
              <a:path w="638810" h="661670">
                <a:moveTo>
                  <a:pt x="355600" y="568960"/>
                </a:moveTo>
                <a:lnTo>
                  <a:pt x="351663" y="568960"/>
                </a:lnTo>
                <a:lnTo>
                  <a:pt x="351663" y="589280"/>
                </a:lnTo>
                <a:lnTo>
                  <a:pt x="355600" y="585470"/>
                </a:lnTo>
                <a:lnTo>
                  <a:pt x="355600" y="568960"/>
                </a:lnTo>
                <a:close/>
              </a:path>
              <a:path w="638810" h="661670">
                <a:moveTo>
                  <a:pt x="262635" y="565150"/>
                </a:moveTo>
                <a:lnTo>
                  <a:pt x="258698" y="565150"/>
                </a:lnTo>
                <a:lnTo>
                  <a:pt x="254634" y="581660"/>
                </a:lnTo>
                <a:lnTo>
                  <a:pt x="258698" y="581660"/>
                </a:lnTo>
                <a:lnTo>
                  <a:pt x="262635" y="565150"/>
                </a:lnTo>
                <a:close/>
              </a:path>
              <a:path w="638810" h="661670">
                <a:moveTo>
                  <a:pt x="379857" y="565150"/>
                </a:moveTo>
                <a:lnTo>
                  <a:pt x="375920" y="565150"/>
                </a:lnTo>
                <a:lnTo>
                  <a:pt x="379857" y="581660"/>
                </a:lnTo>
                <a:lnTo>
                  <a:pt x="383921" y="581660"/>
                </a:lnTo>
                <a:lnTo>
                  <a:pt x="379857" y="565150"/>
                </a:lnTo>
                <a:close/>
              </a:path>
              <a:path w="638810" h="661670">
                <a:moveTo>
                  <a:pt x="230378" y="553720"/>
                </a:moveTo>
                <a:lnTo>
                  <a:pt x="222250" y="568960"/>
                </a:lnTo>
                <a:lnTo>
                  <a:pt x="226314" y="572770"/>
                </a:lnTo>
                <a:lnTo>
                  <a:pt x="234441" y="557530"/>
                </a:lnTo>
                <a:lnTo>
                  <a:pt x="230378" y="553720"/>
                </a:lnTo>
                <a:close/>
              </a:path>
              <a:path w="638810" h="661670">
                <a:moveTo>
                  <a:pt x="408178" y="553720"/>
                </a:moveTo>
                <a:lnTo>
                  <a:pt x="404114" y="557530"/>
                </a:lnTo>
                <a:lnTo>
                  <a:pt x="412241" y="572770"/>
                </a:lnTo>
                <a:lnTo>
                  <a:pt x="416306" y="568960"/>
                </a:lnTo>
                <a:lnTo>
                  <a:pt x="408178" y="553720"/>
                </a:lnTo>
                <a:close/>
              </a:path>
              <a:path w="638810" h="661670">
                <a:moveTo>
                  <a:pt x="206121" y="528320"/>
                </a:moveTo>
                <a:lnTo>
                  <a:pt x="193928" y="557530"/>
                </a:lnTo>
                <a:lnTo>
                  <a:pt x="197993" y="557530"/>
                </a:lnTo>
                <a:lnTo>
                  <a:pt x="214248" y="533400"/>
                </a:lnTo>
                <a:lnTo>
                  <a:pt x="206121" y="528320"/>
                </a:lnTo>
                <a:close/>
              </a:path>
              <a:path w="638810" h="661670">
                <a:moveTo>
                  <a:pt x="432434" y="528320"/>
                </a:moveTo>
                <a:lnTo>
                  <a:pt x="424307" y="533400"/>
                </a:lnTo>
                <a:lnTo>
                  <a:pt x="440563" y="557530"/>
                </a:lnTo>
                <a:lnTo>
                  <a:pt x="444627" y="557530"/>
                </a:lnTo>
                <a:lnTo>
                  <a:pt x="432434" y="528320"/>
                </a:lnTo>
                <a:close/>
              </a:path>
              <a:path w="638810" h="661670">
                <a:moveTo>
                  <a:pt x="177800" y="524510"/>
                </a:moveTo>
                <a:lnTo>
                  <a:pt x="165734" y="537210"/>
                </a:lnTo>
                <a:lnTo>
                  <a:pt x="169799" y="541020"/>
                </a:lnTo>
                <a:lnTo>
                  <a:pt x="181864" y="528320"/>
                </a:lnTo>
                <a:lnTo>
                  <a:pt x="177800" y="524510"/>
                </a:lnTo>
                <a:close/>
              </a:path>
              <a:path w="638810" h="661670">
                <a:moveTo>
                  <a:pt x="460756" y="524510"/>
                </a:moveTo>
                <a:lnTo>
                  <a:pt x="456691" y="528320"/>
                </a:lnTo>
                <a:lnTo>
                  <a:pt x="464820" y="541020"/>
                </a:lnTo>
                <a:lnTo>
                  <a:pt x="468757" y="537210"/>
                </a:lnTo>
                <a:lnTo>
                  <a:pt x="460756" y="524510"/>
                </a:lnTo>
                <a:close/>
              </a:path>
              <a:path w="638810" h="661670">
                <a:moveTo>
                  <a:pt x="153543" y="504190"/>
                </a:moveTo>
                <a:lnTo>
                  <a:pt x="141478" y="516890"/>
                </a:lnTo>
                <a:lnTo>
                  <a:pt x="145542" y="520700"/>
                </a:lnTo>
                <a:lnTo>
                  <a:pt x="157606" y="509270"/>
                </a:lnTo>
                <a:lnTo>
                  <a:pt x="153543" y="504190"/>
                </a:lnTo>
                <a:close/>
              </a:path>
              <a:path w="638810" h="661670">
                <a:moveTo>
                  <a:pt x="485013" y="504190"/>
                </a:moveTo>
                <a:lnTo>
                  <a:pt x="480948" y="509270"/>
                </a:lnTo>
                <a:lnTo>
                  <a:pt x="493014" y="520700"/>
                </a:lnTo>
                <a:lnTo>
                  <a:pt x="497078" y="516890"/>
                </a:lnTo>
                <a:lnTo>
                  <a:pt x="485013" y="504190"/>
                </a:lnTo>
                <a:close/>
              </a:path>
              <a:path w="638810" h="661670">
                <a:moveTo>
                  <a:pt x="319278" y="213360"/>
                </a:moveTo>
                <a:lnTo>
                  <a:pt x="307213" y="311150"/>
                </a:lnTo>
                <a:lnTo>
                  <a:pt x="298894" y="314960"/>
                </a:lnTo>
                <a:lnTo>
                  <a:pt x="292481" y="322580"/>
                </a:lnTo>
                <a:lnTo>
                  <a:pt x="288353" y="331470"/>
                </a:lnTo>
                <a:lnTo>
                  <a:pt x="286892" y="342900"/>
                </a:lnTo>
                <a:lnTo>
                  <a:pt x="287654" y="349250"/>
                </a:lnTo>
                <a:lnTo>
                  <a:pt x="289941" y="356870"/>
                </a:lnTo>
                <a:lnTo>
                  <a:pt x="293751" y="363220"/>
                </a:lnTo>
                <a:lnTo>
                  <a:pt x="299084" y="367030"/>
                </a:lnTo>
                <a:lnTo>
                  <a:pt x="214248" y="513080"/>
                </a:lnTo>
                <a:lnTo>
                  <a:pt x="222250" y="516890"/>
                </a:lnTo>
                <a:lnTo>
                  <a:pt x="303148" y="370840"/>
                </a:lnTo>
                <a:lnTo>
                  <a:pt x="333217" y="370840"/>
                </a:lnTo>
                <a:lnTo>
                  <a:pt x="341518" y="365760"/>
                </a:lnTo>
                <a:lnTo>
                  <a:pt x="348870" y="354330"/>
                </a:lnTo>
                <a:lnTo>
                  <a:pt x="351663" y="342900"/>
                </a:lnTo>
                <a:lnTo>
                  <a:pt x="351663" y="339090"/>
                </a:lnTo>
                <a:lnTo>
                  <a:pt x="381781" y="318770"/>
                </a:lnTo>
                <a:lnTo>
                  <a:pt x="343534" y="318770"/>
                </a:lnTo>
                <a:lnTo>
                  <a:pt x="339471" y="314960"/>
                </a:lnTo>
                <a:lnTo>
                  <a:pt x="335407" y="314960"/>
                </a:lnTo>
                <a:lnTo>
                  <a:pt x="327406" y="311150"/>
                </a:lnTo>
                <a:lnTo>
                  <a:pt x="319278" y="213360"/>
                </a:lnTo>
                <a:close/>
              </a:path>
              <a:path w="638810" h="661670">
                <a:moveTo>
                  <a:pt x="133350" y="480060"/>
                </a:moveTo>
                <a:lnTo>
                  <a:pt x="121284" y="492760"/>
                </a:lnTo>
                <a:lnTo>
                  <a:pt x="125349" y="496570"/>
                </a:lnTo>
                <a:lnTo>
                  <a:pt x="137414" y="483870"/>
                </a:lnTo>
                <a:lnTo>
                  <a:pt x="133350" y="480060"/>
                </a:lnTo>
                <a:close/>
              </a:path>
              <a:path w="638810" h="661670">
                <a:moveTo>
                  <a:pt x="501141" y="483870"/>
                </a:moveTo>
                <a:lnTo>
                  <a:pt x="497078" y="488950"/>
                </a:lnTo>
                <a:lnTo>
                  <a:pt x="513207" y="496570"/>
                </a:lnTo>
                <a:lnTo>
                  <a:pt x="513207" y="492760"/>
                </a:lnTo>
                <a:lnTo>
                  <a:pt x="501141" y="483870"/>
                </a:lnTo>
                <a:close/>
              </a:path>
              <a:path w="638810" h="661670">
                <a:moveTo>
                  <a:pt x="129286" y="448310"/>
                </a:moveTo>
                <a:lnTo>
                  <a:pt x="105028" y="464820"/>
                </a:lnTo>
                <a:lnTo>
                  <a:pt x="105028" y="468630"/>
                </a:lnTo>
                <a:lnTo>
                  <a:pt x="129286" y="455930"/>
                </a:lnTo>
                <a:lnTo>
                  <a:pt x="129286" y="448310"/>
                </a:lnTo>
                <a:close/>
              </a:path>
              <a:path w="638810" h="661670">
                <a:moveTo>
                  <a:pt x="509270" y="448310"/>
                </a:moveTo>
                <a:lnTo>
                  <a:pt x="509270" y="455930"/>
                </a:lnTo>
                <a:lnTo>
                  <a:pt x="533527" y="468630"/>
                </a:lnTo>
                <a:lnTo>
                  <a:pt x="533527" y="464820"/>
                </a:lnTo>
                <a:lnTo>
                  <a:pt x="509270" y="448310"/>
                </a:lnTo>
                <a:close/>
              </a:path>
              <a:path w="638810" h="661670">
                <a:moveTo>
                  <a:pt x="105028" y="431800"/>
                </a:moveTo>
                <a:lnTo>
                  <a:pt x="92964" y="439420"/>
                </a:lnTo>
                <a:lnTo>
                  <a:pt x="92964" y="444500"/>
                </a:lnTo>
                <a:lnTo>
                  <a:pt x="109093" y="435610"/>
                </a:lnTo>
                <a:lnTo>
                  <a:pt x="105028" y="431800"/>
                </a:lnTo>
                <a:close/>
              </a:path>
              <a:path w="638810" h="661670">
                <a:moveTo>
                  <a:pt x="533527" y="427990"/>
                </a:moveTo>
                <a:lnTo>
                  <a:pt x="529463" y="431800"/>
                </a:lnTo>
                <a:lnTo>
                  <a:pt x="545591" y="439420"/>
                </a:lnTo>
                <a:lnTo>
                  <a:pt x="549656" y="435610"/>
                </a:lnTo>
                <a:lnTo>
                  <a:pt x="533527" y="427990"/>
                </a:lnTo>
                <a:close/>
              </a:path>
              <a:path w="638810" h="661670">
                <a:moveTo>
                  <a:pt x="97028" y="400050"/>
                </a:moveTo>
                <a:lnTo>
                  <a:pt x="80772" y="403860"/>
                </a:lnTo>
                <a:lnTo>
                  <a:pt x="80772" y="407670"/>
                </a:lnTo>
                <a:lnTo>
                  <a:pt x="97028" y="403860"/>
                </a:lnTo>
                <a:lnTo>
                  <a:pt x="97028" y="400050"/>
                </a:lnTo>
                <a:close/>
              </a:path>
              <a:path w="638810" h="661670">
                <a:moveTo>
                  <a:pt x="541528" y="400050"/>
                </a:moveTo>
                <a:lnTo>
                  <a:pt x="541528" y="403860"/>
                </a:lnTo>
                <a:lnTo>
                  <a:pt x="557784" y="407670"/>
                </a:lnTo>
                <a:lnTo>
                  <a:pt x="557784" y="403860"/>
                </a:lnTo>
                <a:lnTo>
                  <a:pt x="541528" y="400050"/>
                </a:lnTo>
                <a:close/>
              </a:path>
              <a:path w="638810" h="661670">
                <a:moveTo>
                  <a:pt x="92964" y="370840"/>
                </a:moveTo>
                <a:lnTo>
                  <a:pt x="72771" y="375920"/>
                </a:lnTo>
                <a:lnTo>
                  <a:pt x="72771" y="379730"/>
                </a:lnTo>
                <a:lnTo>
                  <a:pt x="92964" y="379730"/>
                </a:lnTo>
                <a:lnTo>
                  <a:pt x="92964" y="370840"/>
                </a:lnTo>
                <a:close/>
              </a:path>
              <a:path w="638810" h="661670">
                <a:moveTo>
                  <a:pt x="565785" y="375920"/>
                </a:moveTo>
                <a:lnTo>
                  <a:pt x="545591" y="375920"/>
                </a:lnTo>
                <a:lnTo>
                  <a:pt x="545591" y="379730"/>
                </a:lnTo>
                <a:lnTo>
                  <a:pt x="561721" y="379730"/>
                </a:lnTo>
                <a:lnTo>
                  <a:pt x="565785" y="375920"/>
                </a:lnTo>
                <a:close/>
              </a:path>
              <a:path w="638810" h="661670">
                <a:moveTo>
                  <a:pt x="333217" y="370840"/>
                </a:moveTo>
                <a:lnTo>
                  <a:pt x="303148" y="370840"/>
                </a:lnTo>
                <a:lnTo>
                  <a:pt x="307213" y="375920"/>
                </a:lnTo>
                <a:lnTo>
                  <a:pt x="319278" y="375920"/>
                </a:lnTo>
                <a:lnTo>
                  <a:pt x="331142" y="372110"/>
                </a:lnTo>
                <a:lnTo>
                  <a:pt x="333217" y="370840"/>
                </a:lnTo>
                <a:close/>
              </a:path>
              <a:path w="638810" h="661670">
                <a:moveTo>
                  <a:pt x="117221" y="331470"/>
                </a:moveTo>
                <a:lnTo>
                  <a:pt x="72771" y="331470"/>
                </a:lnTo>
                <a:lnTo>
                  <a:pt x="72771" y="355600"/>
                </a:lnTo>
                <a:lnTo>
                  <a:pt x="117221" y="355600"/>
                </a:lnTo>
                <a:lnTo>
                  <a:pt x="117221" y="331470"/>
                </a:lnTo>
                <a:close/>
              </a:path>
              <a:path w="638810" h="661670">
                <a:moveTo>
                  <a:pt x="565785" y="331470"/>
                </a:moveTo>
                <a:lnTo>
                  <a:pt x="517271" y="331470"/>
                </a:lnTo>
                <a:lnTo>
                  <a:pt x="517271" y="355600"/>
                </a:lnTo>
                <a:lnTo>
                  <a:pt x="565785" y="355600"/>
                </a:lnTo>
                <a:lnTo>
                  <a:pt x="565785" y="331470"/>
                </a:lnTo>
                <a:close/>
              </a:path>
              <a:path w="638810" h="661670">
                <a:moveTo>
                  <a:pt x="626491" y="270510"/>
                </a:moveTo>
                <a:lnTo>
                  <a:pt x="585978" y="278130"/>
                </a:lnTo>
                <a:lnTo>
                  <a:pt x="588391" y="292100"/>
                </a:lnTo>
                <a:lnTo>
                  <a:pt x="591692" y="314960"/>
                </a:lnTo>
                <a:lnTo>
                  <a:pt x="594106" y="326390"/>
                </a:lnTo>
                <a:lnTo>
                  <a:pt x="638556" y="326390"/>
                </a:lnTo>
                <a:lnTo>
                  <a:pt x="636081" y="312420"/>
                </a:lnTo>
                <a:lnTo>
                  <a:pt x="633999" y="298450"/>
                </a:lnTo>
                <a:lnTo>
                  <a:pt x="631180" y="284480"/>
                </a:lnTo>
                <a:lnTo>
                  <a:pt x="626491" y="270510"/>
                </a:lnTo>
                <a:close/>
              </a:path>
              <a:path w="638810" h="661670">
                <a:moveTo>
                  <a:pt x="489077" y="246380"/>
                </a:moveTo>
                <a:lnTo>
                  <a:pt x="343534" y="318770"/>
                </a:lnTo>
                <a:lnTo>
                  <a:pt x="381781" y="318770"/>
                </a:lnTo>
                <a:lnTo>
                  <a:pt x="489077" y="246380"/>
                </a:lnTo>
                <a:close/>
              </a:path>
              <a:path w="638810" h="661670">
                <a:moveTo>
                  <a:pt x="92964" y="306070"/>
                </a:moveTo>
                <a:lnTo>
                  <a:pt x="76834" y="306070"/>
                </a:lnTo>
                <a:lnTo>
                  <a:pt x="72771" y="311150"/>
                </a:lnTo>
                <a:lnTo>
                  <a:pt x="92964" y="311150"/>
                </a:lnTo>
                <a:lnTo>
                  <a:pt x="92964" y="306070"/>
                </a:lnTo>
                <a:close/>
              </a:path>
              <a:path w="638810" h="661670">
                <a:moveTo>
                  <a:pt x="561721" y="306070"/>
                </a:moveTo>
                <a:lnTo>
                  <a:pt x="545591" y="306070"/>
                </a:lnTo>
                <a:lnTo>
                  <a:pt x="545591" y="311150"/>
                </a:lnTo>
                <a:lnTo>
                  <a:pt x="565785" y="311150"/>
                </a:lnTo>
                <a:lnTo>
                  <a:pt x="561721" y="306070"/>
                </a:lnTo>
                <a:close/>
              </a:path>
              <a:path w="638810" h="661670">
                <a:moveTo>
                  <a:pt x="80772" y="278130"/>
                </a:moveTo>
                <a:lnTo>
                  <a:pt x="80772" y="281940"/>
                </a:lnTo>
                <a:lnTo>
                  <a:pt x="97028" y="287020"/>
                </a:lnTo>
                <a:lnTo>
                  <a:pt x="97028" y="281940"/>
                </a:lnTo>
                <a:lnTo>
                  <a:pt x="80772" y="278130"/>
                </a:lnTo>
                <a:close/>
              </a:path>
              <a:path w="638810" h="661670">
                <a:moveTo>
                  <a:pt x="557784" y="278130"/>
                </a:moveTo>
                <a:lnTo>
                  <a:pt x="541528" y="281940"/>
                </a:lnTo>
                <a:lnTo>
                  <a:pt x="541528" y="287020"/>
                </a:lnTo>
                <a:lnTo>
                  <a:pt x="557784" y="281940"/>
                </a:lnTo>
                <a:lnTo>
                  <a:pt x="557784" y="278130"/>
                </a:lnTo>
                <a:close/>
              </a:path>
              <a:path w="638810" h="661670">
                <a:moveTo>
                  <a:pt x="598170" y="189230"/>
                </a:moveTo>
                <a:lnTo>
                  <a:pt x="557784" y="213360"/>
                </a:lnTo>
                <a:lnTo>
                  <a:pt x="565519" y="226060"/>
                </a:lnTo>
                <a:lnTo>
                  <a:pt x="571372" y="237490"/>
                </a:lnTo>
                <a:lnTo>
                  <a:pt x="576464" y="250190"/>
                </a:lnTo>
                <a:lnTo>
                  <a:pt x="581914" y="261620"/>
                </a:lnTo>
                <a:lnTo>
                  <a:pt x="622427" y="254000"/>
                </a:lnTo>
                <a:lnTo>
                  <a:pt x="618618" y="236220"/>
                </a:lnTo>
                <a:lnTo>
                  <a:pt x="613298" y="219710"/>
                </a:lnTo>
                <a:lnTo>
                  <a:pt x="606478" y="204470"/>
                </a:lnTo>
                <a:lnTo>
                  <a:pt x="598170" y="189230"/>
                </a:lnTo>
                <a:close/>
              </a:path>
              <a:path w="638810" h="661670">
                <a:moveTo>
                  <a:pt x="92964" y="246380"/>
                </a:moveTo>
                <a:lnTo>
                  <a:pt x="88900" y="250190"/>
                </a:lnTo>
                <a:lnTo>
                  <a:pt x="105028" y="257810"/>
                </a:lnTo>
                <a:lnTo>
                  <a:pt x="109093" y="250190"/>
                </a:lnTo>
                <a:lnTo>
                  <a:pt x="92964" y="246380"/>
                </a:lnTo>
                <a:close/>
              </a:path>
              <a:path w="638810" h="661670">
                <a:moveTo>
                  <a:pt x="545591" y="242570"/>
                </a:moveTo>
                <a:lnTo>
                  <a:pt x="529463" y="250190"/>
                </a:lnTo>
                <a:lnTo>
                  <a:pt x="529463" y="254000"/>
                </a:lnTo>
                <a:lnTo>
                  <a:pt x="545591" y="246380"/>
                </a:lnTo>
                <a:lnTo>
                  <a:pt x="545591" y="242570"/>
                </a:lnTo>
                <a:close/>
              </a:path>
              <a:path w="638810" h="661670">
                <a:moveTo>
                  <a:pt x="105028" y="217170"/>
                </a:moveTo>
                <a:lnTo>
                  <a:pt x="105028" y="222250"/>
                </a:lnTo>
                <a:lnTo>
                  <a:pt x="129286" y="233680"/>
                </a:lnTo>
                <a:lnTo>
                  <a:pt x="129286" y="229870"/>
                </a:lnTo>
                <a:lnTo>
                  <a:pt x="105028" y="217170"/>
                </a:lnTo>
                <a:close/>
              </a:path>
              <a:path w="638810" h="661670">
                <a:moveTo>
                  <a:pt x="533527" y="217170"/>
                </a:moveTo>
                <a:lnTo>
                  <a:pt x="509270" y="229870"/>
                </a:lnTo>
                <a:lnTo>
                  <a:pt x="509270" y="233680"/>
                </a:lnTo>
                <a:lnTo>
                  <a:pt x="533527" y="222250"/>
                </a:lnTo>
                <a:lnTo>
                  <a:pt x="533527" y="217170"/>
                </a:lnTo>
                <a:close/>
              </a:path>
              <a:path w="638810" h="661670">
                <a:moveTo>
                  <a:pt x="513207" y="189230"/>
                </a:moveTo>
                <a:lnTo>
                  <a:pt x="501141" y="201930"/>
                </a:lnTo>
                <a:lnTo>
                  <a:pt x="501141" y="205740"/>
                </a:lnTo>
                <a:lnTo>
                  <a:pt x="517271" y="193040"/>
                </a:lnTo>
                <a:lnTo>
                  <a:pt x="513207" y="189230"/>
                </a:lnTo>
                <a:close/>
              </a:path>
              <a:path w="638810" h="661670">
                <a:moveTo>
                  <a:pt x="125349" y="189230"/>
                </a:moveTo>
                <a:lnTo>
                  <a:pt x="121284" y="193040"/>
                </a:lnTo>
                <a:lnTo>
                  <a:pt x="137414" y="201930"/>
                </a:lnTo>
                <a:lnTo>
                  <a:pt x="141478" y="198120"/>
                </a:lnTo>
                <a:lnTo>
                  <a:pt x="125349" y="189230"/>
                </a:lnTo>
                <a:close/>
              </a:path>
              <a:path w="638810" h="661670">
                <a:moveTo>
                  <a:pt x="549656" y="124460"/>
                </a:moveTo>
                <a:lnTo>
                  <a:pt x="517271" y="157480"/>
                </a:lnTo>
                <a:lnTo>
                  <a:pt x="526331" y="166370"/>
                </a:lnTo>
                <a:lnTo>
                  <a:pt x="534987" y="177800"/>
                </a:lnTo>
                <a:lnTo>
                  <a:pt x="542881" y="187960"/>
                </a:lnTo>
                <a:lnTo>
                  <a:pt x="549656" y="198120"/>
                </a:lnTo>
                <a:lnTo>
                  <a:pt x="590041" y="176530"/>
                </a:lnTo>
                <a:lnTo>
                  <a:pt x="580909" y="162560"/>
                </a:lnTo>
                <a:lnTo>
                  <a:pt x="571372" y="149860"/>
                </a:lnTo>
                <a:lnTo>
                  <a:pt x="561074" y="137160"/>
                </a:lnTo>
                <a:lnTo>
                  <a:pt x="549656" y="124460"/>
                </a:lnTo>
                <a:close/>
              </a:path>
              <a:path w="638810" h="661670">
                <a:moveTo>
                  <a:pt x="145542" y="165100"/>
                </a:moveTo>
                <a:lnTo>
                  <a:pt x="141478" y="168910"/>
                </a:lnTo>
                <a:lnTo>
                  <a:pt x="153543" y="181610"/>
                </a:lnTo>
                <a:lnTo>
                  <a:pt x="157606" y="176530"/>
                </a:lnTo>
                <a:lnTo>
                  <a:pt x="145542" y="165100"/>
                </a:lnTo>
                <a:close/>
              </a:path>
              <a:path w="638810" h="661670">
                <a:moveTo>
                  <a:pt x="493014" y="165100"/>
                </a:moveTo>
                <a:lnTo>
                  <a:pt x="480948" y="176530"/>
                </a:lnTo>
                <a:lnTo>
                  <a:pt x="485013" y="181610"/>
                </a:lnTo>
                <a:lnTo>
                  <a:pt x="497078" y="168910"/>
                </a:lnTo>
                <a:lnTo>
                  <a:pt x="493014" y="165100"/>
                </a:lnTo>
                <a:close/>
              </a:path>
              <a:path w="638810" h="661670">
                <a:moveTo>
                  <a:pt x="173736" y="144780"/>
                </a:moveTo>
                <a:lnTo>
                  <a:pt x="169799" y="144780"/>
                </a:lnTo>
                <a:lnTo>
                  <a:pt x="177800" y="161290"/>
                </a:lnTo>
                <a:lnTo>
                  <a:pt x="181864" y="157480"/>
                </a:lnTo>
                <a:lnTo>
                  <a:pt x="173736" y="144780"/>
                </a:lnTo>
                <a:close/>
              </a:path>
              <a:path w="638810" h="661670">
                <a:moveTo>
                  <a:pt x="468757" y="144780"/>
                </a:moveTo>
                <a:lnTo>
                  <a:pt x="456691" y="157480"/>
                </a:lnTo>
                <a:lnTo>
                  <a:pt x="460756" y="161290"/>
                </a:lnTo>
                <a:lnTo>
                  <a:pt x="468757" y="148590"/>
                </a:lnTo>
                <a:lnTo>
                  <a:pt x="468757" y="144780"/>
                </a:lnTo>
                <a:close/>
              </a:path>
              <a:path w="638810" h="661670">
                <a:moveTo>
                  <a:pt x="197993" y="128270"/>
                </a:moveTo>
                <a:lnTo>
                  <a:pt x="193928" y="128270"/>
                </a:lnTo>
                <a:lnTo>
                  <a:pt x="206121" y="153670"/>
                </a:lnTo>
                <a:lnTo>
                  <a:pt x="214248" y="153670"/>
                </a:lnTo>
                <a:lnTo>
                  <a:pt x="197993" y="128270"/>
                </a:lnTo>
                <a:close/>
              </a:path>
              <a:path w="638810" h="661670">
                <a:moveTo>
                  <a:pt x="444627" y="128270"/>
                </a:moveTo>
                <a:lnTo>
                  <a:pt x="440563" y="128270"/>
                </a:lnTo>
                <a:lnTo>
                  <a:pt x="424307" y="153670"/>
                </a:lnTo>
                <a:lnTo>
                  <a:pt x="432434" y="153670"/>
                </a:lnTo>
                <a:lnTo>
                  <a:pt x="444627" y="128270"/>
                </a:lnTo>
                <a:close/>
              </a:path>
              <a:path w="638810" h="661670">
                <a:moveTo>
                  <a:pt x="485013" y="72390"/>
                </a:moveTo>
                <a:lnTo>
                  <a:pt x="460756" y="107950"/>
                </a:lnTo>
                <a:lnTo>
                  <a:pt x="472791" y="118110"/>
                </a:lnTo>
                <a:lnTo>
                  <a:pt x="484457" y="127000"/>
                </a:lnTo>
                <a:lnTo>
                  <a:pt x="495385" y="135890"/>
                </a:lnTo>
                <a:lnTo>
                  <a:pt x="505206" y="144780"/>
                </a:lnTo>
                <a:lnTo>
                  <a:pt x="537464" y="113030"/>
                </a:lnTo>
                <a:lnTo>
                  <a:pt x="525303" y="101600"/>
                </a:lnTo>
                <a:lnTo>
                  <a:pt x="512762" y="90170"/>
                </a:lnTo>
                <a:lnTo>
                  <a:pt x="499459" y="81280"/>
                </a:lnTo>
                <a:lnTo>
                  <a:pt x="485013" y="72390"/>
                </a:lnTo>
                <a:close/>
              </a:path>
              <a:path w="638810" h="661670">
                <a:moveTo>
                  <a:pt x="331342" y="96520"/>
                </a:moveTo>
                <a:lnTo>
                  <a:pt x="307213" y="96520"/>
                </a:lnTo>
                <a:lnTo>
                  <a:pt x="307213" y="140970"/>
                </a:lnTo>
                <a:lnTo>
                  <a:pt x="331342" y="140970"/>
                </a:lnTo>
                <a:lnTo>
                  <a:pt x="331342" y="96520"/>
                </a:lnTo>
                <a:close/>
              </a:path>
              <a:path w="638810" h="661670">
                <a:moveTo>
                  <a:pt x="412241" y="113030"/>
                </a:moveTo>
                <a:lnTo>
                  <a:pt x="404114" y="128270"/>
                </a:lnTo>
                <a:lnTo>
                  <a:pt x="408178" y="132080"/>
                </a:lnTo>
                <a:lnTo>
                  <a:pt x="416306" y="116840"/>
                </a:lnTo>
                <a:lnTo>
                  <a:pt x="412241" y="113030"/>
                </a:lnTo>
                <a:close/>
              </a:path>
              <a:path w="638810" h="661670">
                <a:moveTo>
                  <a:pt x="226314" y="113030"/>
                </a:moveTo>
                <a:lnTo>
                  <a:pt x="222250" y="116840"/>
                </a:lnTo>
                <a:lnTo>
                  <a:pt x="230378" y="128270"/>
                </a:lnTo>
                <a:lnTo>
                  <a:pt x="234441" y="128270"/>
                </a:lnTo>
                <a:lnTo>
                  <a:pt x="226314" y="113030"/>
                </a:lnTo>
                <a:close/>
              </a:path>
              <a:path w="638810" h="661670">
                <a:moveTo>
                  <a:pt x="258698" y="104140"/>
                </a:moveTo>
                <a:lnTo>
                  <a:pt x="254634" y="104140"/>
                </a:lnTo>
                <a:lnTo>
                  <a:pt x="258698" y="120650"/>
                </a:lnTo>
                <a:lnTo>
                  <a:pt x="262635" y="120650"/>
                </a:lnTo>
                <a:lnTo>
                  <a:pt x="258698" y="104140"/>
                </a:lnTo>
                <a:close/>
              </a:path>
              <a:path w="638810" h="661670">
                <a:moveTo>
                  <a:pt x="383921" y="104140"/>
                </a:moveTo>
                <a:lnTo>
                  <a:pt x="379857" y="104140"/>
                </a:lnTo>
                <a:lnTo>
                  <a:pt x="375920" y="120650"/>
                </a:lnTo>
                <a:lnTo>
                  <a:pt x="379857" y="120650"/>
                </a:lnTo>
                <a:lnTo>
                  <a:pt x="383921" y="104140"/>
                </a:lnTo>
                <a:close/>
              </a:path>
              <a:path w="638810" h="661670">
                <a:moveTo>
                  <a:pt x="286892" y="96520"/>
                </a:moveTo>
                <a:lnTo>
                  <a:pt x="278891" y="96520"/>
                </a:lnTo>
                <a:lnTo>
                  <a:pt x="282956" y="116840"/>
                </a:lnTo>
                <a:lnTo>
                  <a:pt x="286892" y="116840"/>
                </a:lnTo>
                <a:lnTo>
                  <a:pt x="286892" y="96520"/>
                </a:lnTo>
                <a:close/>
              </a:path>
              <a:path w="638810" h="661670">
                <a:moveTo>
                  <a:pt x="355600" y="96520"/>
                </a:moveTo>
                <a:lnTo>
                  <a:pt x="351663" y="96520"/>
                </a:lnTo>
                <a:lnTo>
                  <a:pt x="347598" y="113030"/>
                </a:lnTo>
                <a:lnTo>
                  <a:pt x="355600" y="116840"/>
                </a:lnTo>
                <a:lnTo>
                  <a:pt x="355600" y="96520"/>
                </a:lnTo>
                <a:close/>
              </a:path>
              <a:path w="638810" h="661670">
                <a:moveTo>
                  <a:pt x="408178" y="35560"/>
                </a:moveTo>
                <a:lnTo>
                  <a:pt x="396113" y="80010"/>
                </a:lnTo>
                <a:lnTo>
                  <a:pt x="410559" y="83820"/>
                </a:lnTo>
                <a:lnTo>
                  <a:pt x="423862" y="88900"/>
                </a:lnTo>
                <a:lnTo>
                  <a:pt x="436403" y="93980"/>
                </a:lnTo>
                <a:lnTo>
                  <a:pt x="448564" y="100330"/>
                </a:lnTo>
                <a:lnTo>
                  <a:pt x="472821" y="63500"/>
                </a:lnTo>
                <a:lnTo>
                  <a:pt x="457612" y="55880"/>
                </a:lnTo>
                <a:lnTo>
                  <a:pt x="442023" y="48260"/>
                </a:lnTo>
                <a:lnTo>
                  <a:pt x="425672" y="41910"/>
                </a:lnTo>
                <a:lnTo>
                  <a:pt x="408178" y="35560"/>
                </a:lnTo>
                <a:close/>
              </a:path>
              <a:path w="638810" h="661670">
                <a:moveTo>
                  <a:pt x="335407" y="72390"/>
                </a:moveTo>
                <a:lnTo>
                  <a:pt x="295021" y="72390"/>
                </a:lnTo>
                <a:lnTo>
                  <a:pt x="295021" y="96520"/>
                </a:lnTo>
                <a:lnTo>
                  <a:pt x="335407" y="72390"/>
                </a:lnTo>
                <a:close/>
              </a:path>
              <a:path w="638810" h="661670">
                <a:moveTo>
                  <a:pt x="387984" y="52070"/>
                </a:moveTo>
                <a:lnTo>
                  <a:pt x="355600" y="72390"/>
                </a:lnTo>
                <a:lnTo>
                  <a:pt x="363728" y="72390"/>
                </a:lnTo>
                <a:lnTo>
                  <a:pt x="371856" y="76200"/>
                </a:lnTo>
                <a:lnTo>
                  <a:pt x="379857" y="76200"/>
                </a:lnTo>
                <a:lnTo>
                  <a:pt x="387984" y="52070"/>
                </a:lnTo>
                <a:close/>
              </a:path>
              <a:path w="638810" h="661670">
                <a:moveTo>
                  <a:pt x="370439" y="27940"/>
                </a:moveTo>
                <a:lnTo>
                  <a:pt x="363728" y="27940"/>
                </a:lnTo>
                <a:lnTo>
                  <a:pt x="392048" y="44450"/>
                </a:lnTo>
                <a:lnTo>
                  <a:pt x="392048" y="31750"/>
                </a:lnTo>
                <a:lnTo>
                  <a:pt x="385337" y="31750"/>
                </a:lnTo>
                <a:lnTo>
                  <a:pt x="370439" y="27940"/>
                </a:lnTo>
                <a:close/>
              </a:path>
            </a:pathLst>
          </a:custGeom>
          <a:solidFill>
            <a:srgbClr val="3AD4FF"/>
          </a:solidFill>
        </p:spPr>
        <p:txBody>
          <a:bodyPr wrap="square" lIns="0" tIns="0" rIns="0" bIns="0" rtlCol="0"/>
          <a:lstStyle/>
          <a:p>
            <a:endParaRPr/>
          </a:p>
        </p:txBody>
      </p:sp>
      <p:sp>
        <p:nvSpPr>
          <p:cNvPr id="21" name="object 21"/>
          <p:cNvSpPr/>
          <p:nvPr/>
        </p:nvSpPr>
        <p:spPr>
          <a:xfrm>
            <a:off x="153923" y="4030979"/>
            <a:ext cx="387350" cy="375285"/>
          </a:xfrm>
          <a:custGeom>
            <a:avLst/>
            <a:gdLst/>
            <a:ahLst/>
            <a:cxnLst/>
            <a:rect l="l" t="t" r="r" b="b"/>
            <a:pathLst>
              <a:path w="387350" h="375285">
                <a:moveTo>
                  <a:pt x="149186" y="310388"/>
                </a:moveTo>
                <a:lnTo>
                  <a:pt x="149061" y="330702"/>
                </a:lnTo>
                <a:lnTo>
                  <a:pt x="151206" y="351742"/>
                </a:lnTo>
                <a:lnTo>
                  <a:pt x="159398" y="368234"/>
                </a:lnTo>
                <a:lnTo>
                  <a:pt x="177419" y="374904"/>
                </a:lnTo>
                <a:lnTo>
                  <a:pt x="209676" y="374904"/>
                </a:lnTo>
                <a:lnTo>
                  <a:pt x="225362" y="368234"/>
                </a:lnTo>
                <a:lnTo>
                  <a:pt x="232356" y="351742"/>
                </a:lnTo>
                <a:lnTo>
                  <a:pt x="234058" y="330702"/>
                </a:lnTo>
                <a:lnTo>
                  <a:pt x="233902" y="313817"/>
                </a:lnTo>
                <a:lnTo>
                  <a:pt x="169789" y="313817"/>
                </a:lnTo>
                <a:lnTo>
                  <a:pt x="149186" y="310388"/>
                </a:lnTo>
                <a:close/>
              </a:path>
              <a:path w="387350" h="375285">
                <a:moveTo>
                  <a:pt x="233870" y="310388"/>
                </a:moveTo>
                <a:lnTo>
                  <a:pt x="215532" y="311531"/>
                </a:lnTo>
                <a:lnTo>
                  <a:pt x="193038" y="313436"/>
                </a:lnTo>
                <a:lnTo>
                  <a:pt x="169789" y="313817"/>
                </a:lnTo>
                <a:lnTo>
                  <a:pt x="233902" y="313817"/>
                </a:lnTo>
                <a:lnTo>
                  <a:pt x="233870" y="310388"/>
                </a:lnTo>
                <a:close/>
              </a:path>
              <a:path w="387350" h="375285">
                <a:moveTo>
                  <a:pt x="100799" y="249936"/>
                </a:moveTo>
                <a:lnTo>
                  <a:pt x="24193" y="298323"/>
                </a:lnTo>
                <a:lnTo>
                  <a:pt x="32258" y="310388"/>
                </a:lnTo>
                <a:lnTo>
                  <a:pt x="104838" y="262001"/>
                </a:lnTo>
                <a:lnTo>
                  <a:pt x="100799" y="249936"/>
                </a:lnTo>
                <a:close/>
              </a:path>
              <a:path w="387350" h="375285">
                <a:moveTo>
                  <a:pt x="286283" y="249936"/>
                </a:moveTo>
                <a:lnTo>
                  <a:pt x="278218" y="262001"/>
                </a:lnTo>
                <a:lnTo>
                  <a:pt x="354838" y="310388"/>
                </a:lnTo>
                <a:lnTo>
                  <a:pt x="362902" y="298323"/>
                </a:lnTo>
                <a:lnTo>
                  <a:pt x="286283" y="249936"/>
                </a:lnTo>
                <a:close/>
              </a:path>
              <a:path w="387350" h="375285">
                <a:moveTo>
                  <a:pt x="193548" y="108839"/>
                </a:moveTo>
                <a:lnTo>
                  <a:pt x="159273" y="115824"/>
                </a:lnTo>
                <a:lnTo>
                  <a:pt x="131048" y="134524"/>
                </a:lnTo>
                <a:lnTo>
                  <a:pt x="111894" y="161559"/>
                </a:lnTo>
                <a:lnTo>
                  <a:pt x="104838" y="193548"/>
                </a:lnTo>
                <a:lnTo>
                  <a:pt x="106287" y="210270"/>
                </a:lnTo>
                <a:lnTo>
                  <a:pt x="110382" y="224742"/>
                </a:lnTo>
                <a:lnTo>
                  <a:pt x="116743" y="237714"/>
                </a:lnTo>
                <a:lnTo>
                  <a:pt x="124993" y="249936"/>
                </a:lnTo>
                <a:lnTo>
                  <a:pt x="136715" y="263810"/>
                </a:lnTo>
                <a:lnTo>
                  <a:pt x="143143" y="276161"/>
                </a:lnTo>
                <a:lnTo>
                  <a:pt x="146544" y="288512"/>
                </a:lnTo>
                <a:lnTo>
                  <a:pt x="149186" y="302387"/>
                </a:lnTo>
                <a:lnTo>
                  <a:pt x="157251" y="306324"/>
                </a:lnTo>
                <a:lnTo>
                  <a:pt x="169354" y="306324"/>
                </a:lnTo>
                <a:lnTo>
                  <a:pt x="168723" y="292693"/>
                </a:lnTo>
                <a:lnTo>
                  <a:pt x="167335" y="281670"/>
                </a:lnTo>
                <a:lnTo>
                  <a:pt x="165946" y="272909"/>
                </a:lnTo>
                <a:lnTo>
                  <a:pt x="165315" y="266065"/>
                </a:lnTo>
                <a:lnTo>
                  <a:pt x="162357" y="259800"/>
                </a:lnTo>
                <a:lnTo>
                  <a:pt x="159773" y="252428"/>
                </a:lnTo>
                <a:lnTo>
                  <a:pt x="157945" y="242794"/>
                </a:lnTo>
                <a:lnTo>
                  <a:pt x="157251" y="229743"/>
                </a:lnTo>
                <a:lnTo>
                  <a:pt x="197573" y="229743"/>
                </a:lnTo>
                <a:lnTo>
                  <a:pt x="197573" y="225806"/>
                </a:lnTo>
                <a:lnTo>
                  <a:pt x="272153" y="225806"/>
                </a:lnTo>
                <a:lnTo>
                  <a:pt x="272675" y="224742"/>
                </a:lnTo>
                <a:lnTo>
                  <a:pt x="276769" y="210270"/>
                </a:lnTo>
                <a:lnTo>
                  <a:pt x="278218" y="193548"/>
                </a:lnTo>
                <a:lnTo>
                  <a:pt x="271793" y="161559"/>
                </a:lnTo>
                <a:lnTo>
                  <a:pt x="254028" y="134524"/>
                </a:lnTo>
                <a:lnTo>
                  <a:pt x="227191" y="115824"/>
                </a:lnTo>
                <a:lnTo>
                  <a:pt x="193548" y="108839"/>
                </a:lnTo>
                <a:close/>
              </a:path>
              <a:path w="387350" h="375285">
                <a:moveTo>
                  <a:pt x="169354" y="233807"/>
                </a:moveTo>
                <a:lnTo>
                  <a:pt x="165315" y="233807"/>
                </a:lnTo>
                <a:lnTo>
                  <a:pt x="165946" y="244508"/>
                </a:lnTo>
                <a:lnTo>
                  <a:pt x="167335" y="252936"/>
                </a:lnTo>
                <a:lnTo>
                  <a:pt x="168723" y="259863"/>
                </a:lnTo>
                <a:lnTo>
                  <a:pt x="169354" y="266065"/>
                </a:lnTo>
                <a:lnTo>
                  <a:pt x="172313" y="272909"/>
                </a:lnTo>
                <a:lnTo>
                  <a:pt x="174896" y="281670"/>
                </a:lnTo>
                <a:lnTo>
                  <a:pt x="176725" y="292693"/>
                </a:lnTo>
                <a:lnTo>
                  <a:pt x="177419" y="306324"/>
                </a:lnTo>
                <a:lnTo>
                  <a:pt x="209676" y="306324"/>
                </a:lnTo>
                <a:lnTo>
                  <a:pt x="213702" y="266065"/>
                </a:lnTo>
                <a:lnTo>
                  <a:pt x="216048" y="259800"/>
                </a:lnTo>
                <a:lnTo>
                  <a:pt x="217236" y="252936"/>
                </a:lnTo>
                <a:lnTo>
                  <a:pt x="217678" y="244508"/>
                </a:lnTo>
                <a:lnTo>
                  <a:pt x="217693" y="241935"/>
                </a:lnTo>
                <a:lnTo>
                  <a:pt x="169354" y="241935"/>
                </a:lnTo>
                <a:lnTo>
                  <a:pt x="169354" y="233807"/>
                </a:lnTo>
                <a:close/>
              </a:path>
              <a:path w="387350" h="375285">
                <a:moveTo>
                  <a:pt x="272153" y="225806"/>
                </a:moveTo>
                <a:lnTo>
                  <a:pt x="201612" y="225806"/>
                </a:lnTo>
                <a:lnTo>
                  <a:pt x="205638" y="229743"/>
                </a:lnTo>
                <a:lnTo>
                  <a:pt x="225806" y="229743"/>
                </a:lnTo>
                <a:lnTo>
                  <a:pt x="225786" y="233807"/>
                </a:lnTo>
                <a:lnTo>
                  <a:pt x="225664" y="244508"/>
                </a:lnTo>
                <a:lnTo>
                  <a:pt x="225301" y="252428"/>
                </a:lnTo>
                <a:lnTo>
                  <a:pt x="224102" y="259800"/>
                </a:lnTo>
                <a:lnTo>
                  <a:pt x="221767" y="266065"/>
                </a:lnTo>
                <a:lnTo>
                  <a:pt x="219439" y="272909"/>
                </a:lnTo>
                <a:lnTo>
                  <a:pt x="218244" y="281670"/>
                </a:lnTo>
                <a:lnTo>
                  <a:pt x="217804" y="292693"/>
                </a:lnTo>
                <a:lnTo>
                  <a:pt x="217741" y="306324"/>
                </a:lnTo>
                <a:lnTo>
                  <a:pt x="221767" y="306324"/>
                </a:lnTo>
                <a:lnTo>
                  <a:pt x="229831" y="302387"/>
                </a:lnTo>
                <a:lnTo>
                  <a:pt x="233870" y="302387"/>
                </a:lnTo>
                <a:lnTo>
                  <a:pt x="238216" y="287351"/>
                </a:lnTo>
                <a:lnTo>
                  <a:pt x="241428" y="276113"/>
                </a:lnTo>
                <a:lnTo>
                  <a:pt x="246909" y="264900"/>
                </a:lnTo>
                <a:lnTo>
                  <a:pt x="258064" y="249936"/>
                </a:lnTo>
                <a:lnTo>
                  <a:pt x="266313" y="237714"/>
                </a:lnTo>
                <a:lnTo>
                  <a:pt x="272153" y="225806"/>
                </a:lnTo>
                <a:close/>
              </a:path>
              <a:path w="387350" h="375285">
                <a:moveTo>
                  <a:pt x="173380" y="229743"/>
                </a:moveTo>
                <a:lnTo>
                  <a:pt x="169354" y="229743"/>
                </a:lnTo>
                <a:lnTo>
                  <a:pt x="169354" y="241935"/>
                </a:lnTo>
                <a:lnTo>
                  <a:pt x="173380" y="241935"/>
                </a:lnTo>
                <a:lnTo>
                  <a:pt x="173380" y="229743"/>
                </a:lnTo>
                <a:close/>
              </a:path>
              <a:path w="387350" h="375285">
                <a:moveTo>
                  <a:pt x="177419" y="229743"/>
                </a:moveTo>
                <a:lnTo>
                  <a:pt x="173380" y="233807"/>
                </a:lnTo>
                <a:lnTo>
                  <a:pt x="173380" y="241935"/>
                </a:lnTo>
                <a:lnTo>
                  <a:pt x="177419" y="241935"/>
                </a:lnTo>
                <a:lnTo>
                  <a:pt x="177419" y="229743"/>
                </a:lnTo>
                <a:close/>
              </a:path>
              <a:path w="387350" h="375285">
                <a:moveTo>
                  <a:pt x="181444" y="229743"/>
                </a:moveTo>
                <a:lnTo>
                  <a:pt x="177419" y="229743"/>
                </a:lnTo>
                <a:lnTo>
                  <a:pt x="177419" y="241935"/>
                </a:lnTo>
                <a:lnTo>
                  <a:pt x="181444" y="241935"/>
                </a:lnTo>
                <a:lnTo>
                  <a:pt x="181444" y="229743"/>
                </a:lnTo>
                <a:close/>
              </a:path>
              <a:path w="387350" h="375285">
                <a:moveTo>
                  <a:pt x="185483" y="229743"/>
                </a:moveTo>
                <a:lnTo>
                  <a:pt x="181444" y="229743"/>
                </a:lnTo>
                <a:lnTo>
                  <a:pt x="181444" y="241935"/>
                </a:lnTo>
                <a:lnTo>
                  <a:pt x="185483" y="241935"/>
                </a:lnTo>
                <a:lnTo>
                  <a:pt x="185483" y="229743"/>
                </a:lnTo>
                <a:close/>
              </a:path>
              <a:path w="387350" h="375285">
                <a:moveTo>
                  <a:pt x="189509" y="229743"/>
                </a:moveTo>
                <a:lnTo>
                  <a:pt x="185483" y="229743"/>
                </a:lnTo>
                <a:lnTo>
                  <a:pt x="185483" y="241935"/>
                </a:lnTo>
                <a:lnTo>
                  <a:pt x="189509" y="241935"/>
                </a:lnTo>
                <a:lnTo>
                  <a:pt x="189509" y="229743"/>
                </a:lnTo>
                <a:close/>
              </a:path>
              <a:path w="387350" h="375285">
                <a:moveTo>
                  <a:pt x="193548" y="229743"/>
                </a:moveTo>
                <a:lnTo>
                  <a:pt x="189509" y="233807"/>
                </a:lnTo>
                <a:lnTo>
                  <a:pt x="189509" y="241935"/>
                </a:lnTo>
                <a:lnTo>
                  <a:pt x="193548" y="241935"/>
                </a:lnTo>
                <a:lnTo>
                  <a:pt x="193548" y="229743"/>
                </a:lnTo>
                <a:close/>
              </a:path>
              <a:path w="387350" h="375285">
                <a:moveTo>
                  <a:pt x="197573" y="233807"/>
                </a:moveTo>
                <a:lnTo>
                  <a:pt x="193548" y="237871"/>
                </a:lnTo>
                <a:lnTo>
                  <a:pt x="193548" y="241935"/>
                </a:lnTo>
                <a:lnTo>
                  <a:pt x="197573" y="241935"/>
                </a:lnTo>
                <a:lnTo>
                  <a:pt x="197573" y="233807"/>
                </a:lnTo>
                <a:close/>
              </a:path>
              <a:path w="387350" h="375285">
                <a:moveTo>
                  <a:pt x="201612" y="229743"/>
                </a:moveTo>
                <a:lnTo>
                  <a:pt x="197573" y="229743"/>
                </a:lnTo>
                <a:lnTo>
                  <a:pt x="197573" y="241935"/>
                </a:lnTo>
                <a:lnTo>
                  <a:pt x="201612" y="241935"/>
                </a:lnTo>
                <a:lnTo>
                  <a:pt x="201612" y="229743"/>
                </a:lnTo>
                <a:close/>
              </a:path>
              <a:path w="387350" h="375285">
                <a:moveTo>
                  <a:pt x="209676" y="237871"/>
                </a:moveTo>
                <a:lnTo>
                  <a:pt x="209676" y="241935"/>
                </a:lnTo>
                <a:lnTo>
                  <a:pt x="213702" y="241935"/>
                </a:lnTo>
                <a:lnTo>
                  <a:pt x="209676" y="237871"/>
                </a:lnTo>
                <a:close/>
              </a:path>
              <a:path w="387350" h="375285">
                <a:moveTo>
                  <a:pt x="217717" y="237895"/>
                </a:moveTo>
                <a:lnTo>
                  <a:pt x="213702" y="241935"/>
                </a:lnTo>
                <a:lnTo>
                  <a:pt x="217693" y="241935"/>
                </a:lnTo>
                <a:lnTo>
                  <a:pt x="217717" y="237895"/>
                </a:lnTo>
                <a:close/>
              </a:path>
              <a:path w="387350" h="375285">
                <a:moveTo>
                  <a:pt x="217741" y="229743"/>
                </a:moveTo>
                <a:lnTo>
                  <a:pt x="213702" y="229743"/>
                </a:lnTo>
                <a:lnTo>
                  <a:pt x="213702" y="233807"/>
                </a:lnTo>
                <a:lnTo>
                  <a:pt x="217741" y="233807"/>
                </a:lnTo>
                <a:lnTo>
                  <a:pt x="217741" y="229743"/>
                </a:lnTo>
                <a:close/>
              </a:path>
              <a:path w="387350" h="375285">
                <a:moveTo>
                  <a:pt x="84670" y="197485"/>
                </a:moveTo>
                <a:lnTo>
                  <a:pt x="0" y="201549"/>
                </a:lnTo>
                <a:lnTo>
                  <a:pt x="0" y="213614"/>
                </a:lnTo>
                <a:lnTo>
                  <a:pt x="88709" y="209677"/>
                </a:lnTo>
                <a:lnTo>
                  <a:pt x="84670" y="197485"/>
                </a:lnTo>
                <a:close/>
              </a:path>
              <a:path w="387350" h="375285">
                <a:moveTo>
                  <a:pt x="298386" y="197485"/>
                </a:moveTo>
                <a:lnTo>
                  <a:pt x="298386" y="209677"/>
                </a:lnTo>
                <a:lnTo>
                  <a:pt x="387096" y="213614"/>
                </a:lnTo>
                <a:lnTo>
                  <a:pt x="387096" y="201549"/>
                </a:lnTo>
                <a:lnTo>
                  <a:pt x="298386" y="197485"/>
                </a:lnTo>
                <a:close/>
              </a:path>
              <a:path w="387350" h="375285">
                <a:moveTo>
                  <a:pt x="20154" y="104775"/>
                </a:moveTo>
                <a:lnTo>
                  <a:pt x="16129" y="116967"/>
                </a:lnTo>
                <a:lnTo>
                  <a:pt x="96773" y="157226"/>
                </a:lnTo>
                <a:lnTo>
                  <a:pt x="100799" y="145161"/>
                </a:lnTo>
                <a:lnTo>
                  <a:pt x="20154" y="104775"/>
                </a:lnTo>
                <a:close/>
              </a:path>
              <a:path w="387350" h="375285">
                <a:moveTo>
                  <a:pt x="362902" y="104775"/>
                </a:moveTo>
                <a:lnTo>
                  <a:pt x="286283" y="145161"/>
                </a:lnTo>
                <a:lnTo>
                  <a:pt x="290322" y="157226"/>
                </a:lnTo>
                <a:lnTo>
                  <a:pt x="370967" y="116967"/>
                </a:lnTo>
                <a:lnTo>
                  <a:pt x="362902" y="104775"/>
                </a:lnTo>
                <a:close/>
              </a:path>
              <a:path w="387350" h="375285">
                <a:moveTo>
                  <a:pt x="100799" y="28194"/>
                </a:moveTo>
                <a:lnTo>
                  <a:pt x="88709" y="36322"/>
                </a:lnTo>
                <a:lnTo>
                  <a:pt x="133057" y="108839"/>
                </a:lnTo>
                <a:lnTo>
                  <a:pt x="145161" y="104775"/>
                </a:lnTo>
                <a:lnTo>
                  <a:pt x="100799" y="28194"/>
                </a:lnTo>
                <a:close/>
              </a:path>
              <a:path w="387350" h="375285">
                <a:moveTo>
                  <a:pt x="286283" y="28194"/>
                </a:moveTo>
                <a:lnTo>
                  <a:pt x="241935" y="104775"/>
                </a:lnTo>
                <a:lnTo>
                  <a:pt x="249999" y="108839"/>
                </a:lnTo>
                <a:lnTo>
                  <a:pt x="298386" y="36322"/>
                </a:lnTo>
                <a:lnTo>
                  <a:pt x="286283" y="28194"/>
                </a:lnTo>
                <a:close/>
              </a:path>
              <a:path w="387350" h="375285">
                <a:moveTo>
                  <a:pt x="197573" y="0"/>
                </a:moveTo>
                <a:lnTo>
                  <a:pt x="185483" y="0"/>
                </a:lnTo>
                <a:lnTo>
                  <a:pt x="185483" y="88646"/>
                </a:lnTo>
                <a:lnTo>
                  <a:pt x="197573" y="88646"/>
                </a:lnTo>
                <a:lnTo>
                  <a:pt x="197573" y="0"/>
                </a:lnTo>
                <a:close/>
              </a:path>
            </a:pathLst>
          </a:custGeom>
          <a:solidFill>
            <a:srgbClr val="3AD4FF"/>
          </a:solidFill>
        </p:spPr>
        <p:txBody>
          <a:bodyPr wrap="square" lIns="0" tIns="0" rIns="0" bIns="0" rtlCol="0"/>
          <a:lstStyle/>
          <a:p>
            <a:endParaRPr/>
          </a:p>
        </p:txBody>
      </p:sp>
      <p:sp>
        <p:nvSpPr>
          <p:cNvPr id="22" name="object 22"/>
          <p:cNvSpPr txBox="1"/>
          <p:nvPr/>
        </p:nvSpPr>
        <p:spPr>
          <a:xfrm>
            <a:off x="4390135" y="1146174"/>
            <a:ext cx="744855"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Standards</a:t>
            </a:r>
            <a:endParaRPr sz="1000">
              <a:latin typeface="Verdana"/>
              <a:cs typeface="Verdana"/>
            </a:endParaRPr>
          </a:p>
        </p:txBody>
      </p:sp>
      <p:sp>
        <p:nvSpPr>
          <p:cNvPr id="23" name="object 23"/>
          <p:cNvSpPr/>
          <p:nvPr/>
        </p:nvSpPr>
        <p:spPr>
          <a:xfrm>
            <a:off x="4053840" y="1135380"/>
            <a:ext cx="3175000" cy="913130"/>
          </a:xfrm>
          <a:custGeom>
            <a:avLst/>
            <a:gdLst/>
            <a:ahLst/>
            <a:cxnLst/>
            <a:rect l="l" t="t" r="r" b="b"/>
            <a:pathLst>
              <a:path w="3175000" h="913130">
                <a:moveTo>
                  <a:pt x="0" y="152146"/>
                </a:moveTo>
                <a:lnTo>
                  <a:pt x="7752" y="104038"/>
                </a:lnTo>
                <a:lnTo>
                  <a:pt x="29342" y="62270"/>
                </a:lnTo>
                <a:lnTo>
                  <a:pt x="62270" y="29342"/>
                </a:lnTo>
                <a:lnTo>
                  <a:pt x="104038" y="7752"/>
                </a:lnTo>
                <a:lnTo>
                  <a:pt x="152146" y="0"/>
                </a:lnTo>
                <a:lnTo>
                  <a:pt x="3022345" y="0"/>
                </a:lnTo>
                <a:lnTo>
                  <a:pt x="3070453" y="7752"/>
                </a:lnTo>
                <a:lnTo>
                  <a:pt x="3112221" y="29342"/>
                </a:lnTo>
                <a:lnTo>
                  <a:pt x="3145149" y="62270"/>
                </a:lnTo>
                <a:lnTo>
                  <a:pt x="3166739" y="104038"/>
                </a:lnTo>
                <a:lnTo>
                  <a:pt x="3174491" y="152146"/>
                </a:lnTo>
                <a:lnTo>
                  <a:pt x="3174491" y="760730"/>
                </a:lnTo>
                <a:lnTo>
                  <a:pt x="3166739" y="808837"/>
                </a:lnTo>
                <a:lnTo>
                  <a:pt x="3145149" y="850605"/>
                </a:lnTo>
                <a:lnTo>
                  <a:pt x="3112221" y="883533"/>
                </a:lnTo>
                <a:lnTo>
                  <a:pt x="3070453" y="905123"/>
                </a:lnTo>
                <a:lnTo>
                  <a:pt x="3022345" y="912876"/>
                </a:lnTo>
                <a:lnTo>
                  <a:pt x="152146" y="912876"/>
                </a:lnTo>
                <a:lnTo>
                  <a:pt x="104038" y="905123"/>
                </a:lnTo>
                <a:lnTo>
                  <a:pt x="62270" y="883533"/>
                </a:lnTo>
                <a:lnTo>
                  <a:pt x="29342" y="850605"/>
                </a:lnTo>
                <a:lnTo>
                  <a:pt x="7752" y="808837"/>
                </a:lnTo>
                <a:lnTo>
                  <a:pt x="0" y="760730"/>
                </a:lnTo>
                <a:lnTo>
                  <a:pt x="0" y="152146"/>
                </a:lnTo>
                <a:close/>
              </a:path>
            </a:pathLst>
          </a:custGeom>
          <a:ln w="12192">
            <a:solidFill>
              <a:srgbClr val="12ABDB"/>
            </a:solidFill>
          </a:ln>
        </p:spPr>
        <p:txBody>
          <a:bodyPr wrap="square" lIns="0" tIns="0" rIns="0" bIns="0" rtlCol="0"/>
          <a:lstStyle/>
          <a:p>
            <a:endParaRPr/>
          </a:p>
        </p:txBody>
      </p:sp>
      <p:sp>
        <p:nvSpPr>
          <p:cNvPr id="24" name="object 24"/>
          <p:cNvSpPr/>
          <p:nvPr/>
        </p:nvSpPr>
        <p:spPr>
          <a:xfrm>
            <a:off x="3520626" y="1267733"/>
            <a:ext cx="640715" cy="650240"/>
          </a:xfrm>
          <a:custGeom>
            <a:avLst/>
            <a:gdLst/>
            <a:ahLst/>
            <a:cxnLst/>
            <a:rect l="l" t="t" r="r" b="b"/>
            <a:pathLst>
              <a:path w="640714" h="650239">
                <a:moveTo>
                  <a:pt x="313140" y="0"/>
                </a:moveTo>
                <a:lnTo>
                  <a:pt x="268623" y="2559"/>
                </a:lnTo>
                <a:lnTo>
                  <a:pt x="224905" y="11484"/>
                </a:lnTo>
                <a:lnTo>
                  <a:pt x="182705" y="26824"/>
                </a:lnTo>
                <a:lnTo>
                  <a:pt x="142741" y="48626"/>
                </a:lnTo>
                <a:lnTo>
                  <a:pt x="105731" y="76942"/>
                </a:lnTo>
                <a:lnTo>
                  <a:pt x="72791" y="110519"/>
                </a:lnTo>
                <a:lnTo>
                  <a:pt x="45957" y="147871"/>
                </a:lnTo>
                <a:lnTo>
                  <a:pt x="25245" y="188274"/>
                </a:lnTo>
                <a:lnTo>
                  <a:pt x="10671" y="231006"/>
                </a:lnTo>
                <a:lnTo>
                  <a:pt x="2250" y="275344"/>
                </a:lnTo>
                <a:lnTo>
                  <a:pt x="0" y="320567"/>
                </a:lnTo>
                <a:lnTo>
                  <a:pt x="3935" y="365950"/>
                </a:lnTo>
                <a:lnTo>
                  <a:pt x="14072" y="410773"/>
                </a:lnTo>
                <a:lnTo>
                  <a:pt x="30427" y="454312"/>
                </a:lnTo>
                <a:lnTo>
                  <a:pt x="53016" y="495845"/>
                </a:lnTo>
                <a:lnTo>
                  <a:pt x="81855" y="534650"/>
                </a:lnTo>
                <a:lnTo>
                  <a:pt x="116440" y="569049"/>
                </a:lnTo>
                <a:lnTo>
                  <a:pt x="154414" y="597463"/>
                </a:lnTo>
                <a:lnTo>
                  <a:pt x="195090" y="619830"/>
                </a:lnTo>
                <a:lnTo>
                  <a:pt x="237783" y="636091"/>
                </a:lnTo>
                <a:lnTo>
                  <a:pt x="281808" y="646186"/>
                </a:lnTo>
                <a:lnTo>
                  <a:pt x="326477" y="650054"/>
                </a:lnTo>
                <a:lnTo>
                  <a:pt x="371106" y="647636"/>
                </a:lnTo>
                <a:lnTo>
                  <a:pt x="415009" y="638870"/>
                </a:lnTo>
                <a:lnTo>
                  <a:pt x="457499" y="623698"/>
                </a:lnTo>
                <a:lnTo>
                  <a:pt x="497891" y="602059"/>
                </a:lnTo>
                <a:lnTo>
                  <a:pt x="515688" y="588730"/>
                </a:lnTo>
                <a:lnTo>
                  <a:pt x="328999" y="588730"/>
                </a:lnTo>
                <a:lnTo>
                  <a:pt x="284719" y="584935"/>
                </a:lnTo>
                <a:lnTo>
                  <a:pt x="241395" y="573587"/>
                </a:lnTo>
                <a:lnTo>
                  <a:pt x="200056" y="554791"/>
                </a:lnTo>
                <a:lnTo>
                  <a:pt x="161731" y="528654"/>
                </a:lnTo>
                <a:lnTo>
                  <a:pt x="127448" y="495280"/>
                </a:lnTo>
                <a:lnTo>
                  <a:pt x="99348" y="456410"/>
                </a:lnTo>
                <a:lnTo>
                  <a:pt x="78931" y="414502"/>
                </a:lnTo>
                <a:lnTo>
                  <a:pt x="66140" y="370608"/>
                </a:lnTo>
                <a:lnTo>
                  <a:pt x="60915" y="325783"/>
                </a:lnTo>
                <a:lnTo>
                  <a:pt x="63199" y="281081"/>
                </a:lnTo>
                <a:lnTo>
                  <a:pt x="72932" y="237555"/>
                </a:lnTo>
                <a:lnTo>
                  <a:pt x="90056" y="196258"/>
                </a:lnTo>
                <a:lnTo>
                  <a:pt x="114513" y="158244"/>
                </a:lnTo>
                <a:lnTo>
                  <a:pt x="146244" y="124567"/>
                </a:lnTo>
                <a:lnTo>
                  <a:pt x="183538" y="97340"/>
                </a:lnTo>
                <a:lnTo>
                  <a:pt x="224040" y="77927"/>
                </a:lnTo>
                <a:lnTo>
                  <a:pt x="266725" y="66260"/>
                </a:lnTo>
                <a:lnTo>
                  <a:pt x="310566" y="62269"/>
                </a:lnTo>
                <a:lnTo>
                  <a:pt x="497872" y="62269"/>
                </a:lnTo>
                <a:lnTo>
                  <a:pt x="484848" y="52426"/>
                </a:lnTo>
                <a:lnTo>
                  <a:pt x="444311" y="30018"/>
                </a:lnTo>
                <a:lnTo>
                  <a:pt x="401702" y="13778"/>
                </a:lnTo>
                <a:lnTo>
                  <a:pt x="357739" y="3755"/>
                </a:lnTo>
                <a:lnTo>
                  <a:pt x="313140" y="0"/>
                </a:lnTo>
                <a:close/>
              </a:path>
              <a:path w="640714" h="650239">
                <a:moveTo>
                  <a:pt x="497872" y="62269"/>
                </a:moveTo>
                <a:lnTo>
                  <a:pt x="310566" y="62269"/>
                </a:lnTo>
                <a:lnTo>
                  <a:pt x="354540" y="65886"/>
                </a:lnTo>
                <a:lnTo>
                  <a:pt x="397619" y="77041"/>
                </a:lnTo>
                <a:lnTo>
                  <a:pt x="438780" y="95665"/>
                </a:lnTo>
                <a:lnTo>
                  <a:pt x="476996" y="121690"/>
                </a:lnTo>
                <a:lnTo>
                  <a:pt x="511242" y="155047"/>
                </a:lnTo>
                <a:lnTo>
                  <a:pt x="539434" y="193934"/>
                </a:lnTo>
                <a:lnTo>
                  <a:pt x="560095" y="235889"/>
                </a:lnTo>
                <a:lnTo>
                  <a:pt x="573241" y="279850"/>
                </a:lnTo>
                <a:lnTo>
                  <a:pt x="578887" y="324755"/>
                </a:lnTo>
                <a:lnTo>
                  <a:pt x="577046" y="369542"/>
                </a:lnTo>
                <a:lnTo>
                  <a:pt x="567733" y="413148"/>
                </a:lnTo>
                <a:lnTo>
                  <a:pt x="550964" y="454513"/>
                </a:lnTo>
                <a:lnTo>
                  <a:pt x="526752" y="492573"/>
                </a:lnTo>
                <a:lnTo>
                  <a:pt x="495113" y="526268"/>
                </a:lnTo>
                <a:lnTo>
                  <a:pt x="457292" y="553741"/>
                </a:lnTo>
                <a:lnTo>
                  <a:pt x="416314" y="573239"/>
                </a:lnTo>
                <a:lnTo>
                  <a:pt x="373207" y="584867"/>
                </a:lnTo>
                <a:lnTo>
                  <a:pt x="328999" y="588730"/>
                </a:lnTo>
                <a:lnTo>
                  <a:pt x="515688" y="588730"/>
                </a:lnTo>
                <a:lnTo>
                  <a:pt x="568208" y="539971"/>
                </a:lnTo>
                <a:lnTo>
                  <a:pt x="594886" y="502403"/>
                </a:lnTo>
                <a:lnTo>
                  <a:pt x="615493" y="461888"/>
                </a:lnTo>
                <a:lnTo>
                  <a:pt x="629988" y="419125"/>
                </a:lnTo>
                <a:lnTo>
                  <a:pt x="638329" y="374812"/>
                </a:lnTo>
                <a:lnTo>
                  <a:pt x="640475" y="329650"/>
                </a:lnTo>
                <a:lnTo>
                  <a:pt x="636384" y="284336"/>
                </a:lnTo>
                <a:lnTo>
                  <a:pt x="626016" y="239570"/>
                </a:lnTo>
                <a:lnTo>
                  <a:pt x="609329" y="196051"/>
                </a:lnTo>
                <a:lnTo>
                  <a:pt x="586283" y="154478"/>
                </a:lnTo>
                <a:lnTo>
                  <a:pt x="556835" y="115550"/>
                </a:lnTo>
                <a:lnTo>
                  <a:pt x="522595" y="80953"/>
                </a:lnTo>
                <a:lnTo>
                  <a:pt x="497872" y="62269"/>
                </a:lnTo>
                <a:close/>
              </a:path>
            </a:pathLst>
          </a:custGeom>
          <a:solidFill>
            <a:srgbClr val="EBE8E7"/>
          </a:solidFill>
        </p:spPr>
        <p:txBody>
          <a:bodyPr wrap="square" lIns="0" tIns="0" rIns="0" bIns="0" rtlCol="0"/>
          <a:lstStyle/>
          <a:p>
            <a:endParaRPr/>
          </a:p>
        </p:txBody>
      </p:sp>
      <p:sp>
        <p:nvSpPr>
          <p:cNvPr id="25" name="object 25"/>
          <p:cNvSpPr/>
          <p:nvPr/>
        </p:nvSpPr>
        <p:spPr>
          <a:xfrm>
            <a:off x="3520626" y="1267733"/>
            <a:ext cx="640715" cy="650240"/>
          </a:xfrm>
          <a:custGeom>
            <a:avLst/>
            <a:gdLst/>
            <a:ahLst/>
            <a:cxnLst/>
            <a:rect l="l" t="t" r="r" b="b"/>
            <a:pathLst>
              <a:path w="640714" h="650239">
                <a:moveTo>
                  <a:pt x="105731" y="76942"/>
                </a:moveTo>
                <a:lnTo>
                  <a:pt x="72791" y="110519"/>
                </a:lnTo>
                <a:lnTo>
                  <a:pt x="45957" y="147871"/>
                </a:lnTo>
                <a:lnTo>
                  <a:pt x="25245" y="188274"/>
                </a:lnTo>
                <a:lnTo>
                  <a:pt x="10671" y="231006"/>
                </a:lnTo>
                <a:lnTo>
                  <a:pt x="2250" y="275344"/>
                </a:lnTo>
                <a:lnTo>
                  <a:pt x="0" y="320567"/>
                </a:lnTo>
                <a:lnTo>
                  <a:pt x="3935" y="365950"/>
                </a:lnTo>
                <a:lnTo>
                  <a:pt x="14072" y="410773"/>
                </a:lnTo>
                <a:lnTo>
                  <a:pt x="30427" y="454312"/>
                </a:lnTo>
                <a:lnTo>
                  <a:pt x="53016" y="495845"/>
                </a:lnTo>
                <a:lnTo>
                  <a:pt x="81855" y="534650"/>
                </a:lnTo>
                <a:lnTo>
                  <a:pt x="116440" y="569049"/>
                </a:lnTo>
                <a:lnTo>
                  <a:pt x="154414" y="597463"/>
                </a:lnTo>
                <a:lnTo>
                  <a:pt x="195090" y="619830"/>
                </a:lnTo>
                <a:lnTo>
                  <a:pt x="237783" y="636091"/>
                </a:lnTo>
                <a:lnTo>
                  <a:pt x="281808" y="646186"/>
                </a:lnTo>
                <a:lnTo>
                  <a:pt x="326477" y="650054"/>
                </a:lnTo>
                <a:lnTo>
                  <a:pt x="371106" y="647636"/>
                </a:lnTo>
                <a:lnTo>
                  <a:pt x="415009" y="638870"/>
                </a:lnTo>
                <a:lnTo>
                  <a:pt x="457499" y="623698"/>
                </a:lnTo>
                <a:lnTo>
                  <a:pt x="497891" y="602059"/>
                </a:lnTo>
                <a:lnTo>
                  <a:pt x="535499" y="573893"/>
                </a:lnTo>
                <a:lnTo>
                  <a:pt x="568208" y="539971"/>
                </a:lnTo>
                <a:lnTo>
                  <a:pt x="594886" y="502403"/>
                </a:lnTo>
                <a:lnTo>
                  <a:pt x="615493" y="461888"/>
                </a:lnTo>
                <a:lnTo>
                  <a:pt x="629988" y="419125"/>
                </a:lnTo>
                <a:lnTo>
                  <a:pt x="638329" y="374812"/>
                </a:lnTo>
                <a:lnTo>
                  <a:pt x="640475" y="329650"/>
                </a:lnTo>
                <a:lnTo>
                  <a:pt x="636384" y="284336"/>
                </a:lnTo>
                <a:lnTo>
                  <a:pt x="626016" y="239570"/>
                </a:lnTo>
                <a:lnTo>
                  <a:pt x="609329" y="196051"/>
                </a:lnTo>
                <a:lnTo>
                  <a:pt x="586283" y="154478"/>
                </a:lnTo>
                <a:lnTo>
                  <a:pt x="556835" y="115550"/>
                </a:lnTo>
                <a:lnTo>
                  <a:pt x="522595" y="80953"/>
                </a:lnTo>
                <a:lnTo>
                  <a:pt x="484848" y="52426"/>
                </a:lnTo>
                <a:lnTo>
                  <a:pt x="444311" y="30018"/>
                </a:lnTo>
                <a:lnTo>
                  <a:pt x="401702" y="13778"/>
                </a:lnTo>
                <a:lnTo>
                  <a:pt x="357739" y="3755"/>
                </a:lnTo>
                <a:lnTo>
                  <a:pt x="313140" y="0"/>
                </a:lnTo>
                <a:lnTo>
                  <a:pt x="268623" y="2559"/>
                </a:lnTo>
                <a:lnTo>
                  <a:pt x="224905" y="11484"/>
                </a:lnTo>
                <a:lnTo>
                  <a:pt x="182705" y="26824"/>
                </a:lnTo>
                <a:lnTo>
                  <a:pt x="142741" y="48626"/>
                </a:lnTo>
                <a:lnTo>
                  <a:pt x="105731" y="76942"/>
                </a:lnTo>
                <a:close/>
              </a:path>
            </a:pathLst>
          </a:custGeom>
          <a:ln w="6350">
            <a:solidFill>
              <a:srgbClr val="BEBEBE"/>
            </a:solidFill>
          </a:ln>
        </p:spPr>
        <p:txBody>
          <a:bodyPr wrap="square" lIns="0" tIns="0" rIns="0" bIns="0" rtlCol="0"/>
          <a:lstStyle/>
          <a:p>
            <a:endParaRPr/>
          </a:p>
        </p:txBody>
      </p:sp>
      <p:sp>
        <p:nvSpPr>
          <p:cNvPr id="26" name="object 26"/>
          <p:cNvSpPr/>
          <p:nvPr/>
        </p:nvSpPr>
        <p:spPr>
          <a:xfrm>
            <a:off x="3581542" y="1330003"/>
            <a:ext cx="518159" cy="527050"/>
          </a:xfrm>
          <a:custGeom>
            <a:avLst/>
            <a:gdLst/>
            <a:ahLst/>
            <a:cxnLst/>
            <a:rect l="l" t="t" r="r" b="b"/>
            <a:pathLst>
              <a:path w="518160" h="527050">
                <a:moveTo>
                  <a:pt x="434197" y="463998"/>
                </a:moveTo>
                <a:lnTo>
                  <a:pt x="396377" y="491472"/>
                </a:lnTo>
                <a:lnTo>
                  <a:pt x="355399" y="510969"/>
                </a:lnTo>
                <a:lnTo>
                  <a:pt x="312291" y="522597"/>
                </a:lnTo>
                <a:lnTo>
                  <a:pt x="268083" y="526461"/>
                </a:lnTo>
                <a:lnTo>
                  <a:pt x="223803" y="522666"/>
                </a:lnTo>
                <a:lnTo>
                  <a:pt x="180479" y="511318"/>
                </a:lnTo>
                <a:lnTo>
                  <a:pt x="139141" y="492522"/>
                </a:lnTo>
                <a:lnTo>
                  <a:pt x="100815" y="466384"/>
                </a:lnTo>
                <a:lnTo>
                  <a:pt x="66532" y="433010"/>
                </a:lnTo>
                <a:lnTo>
                  <a:pt x="38432" y="394141"/>
                </a:lnTo>
                <a:lnTo>
                  <a:pt x="18015" y="352232"/>
                </a:lnTo>
                <a:lnTo>
                  <a:pt x="5224" y="308339"/>
                </a:lnTo>
                <a:lnTo>
                  <a:pt x="0" y="263514"/>
                </a:lnTo>
                <a:lnTo>
                  <a:pt x="2283" y="218812"/>
                </a:lnTo>
                <a:lnTo>
                  <a:pt x="12016" y="175285"/>
                </a:lnTo>
                <a:lnTo>
                  <a:pt x="29141" y="133988"/>
                </a:lnTo>
                <a:lnTo>
                  <a:pt x="53597" y="95974"/>
                </a:lnTo>
                <a:lnTo>
                  <a:pt x="85328" y="62297"/>
                </a:lnTo>
                <a:lnTo>
                  <a:pt x="122622" y="35070"/>
                </a:lnTo>
                <a:lnTo>
                  <a:pt x="163124" y="15658"/>
                </a:lnTo>
                <a:lnTo>
                  <a:pt x="205809" y="3990"/>
                </a:lnTo>
                <a:lnTo>
                  <a:pt x="249650" y="0"/>
                </a:lnTo>
                <a:lnTo>
                  <a:pt x="293624" y="3616"/>
                </a:lnTo>
                <a:lnTo>
                  <a:pt x="336704" y="14771"/>
                </a:lnTo>
                <a:lnTo>
                  <a:pt x="377864" y="33396"/>
                </a:lnTo>
                <a:lnTo>
                  <a:pt x="416080" y="59421"/>
                </a:lnTo>
                <a:lnTo>
                  <a:pt x="450326" y="92777"/>
                </a:lnTo>
                <a:lnTo>
                  <a:pt x="478518" y="131665"/>
                </a:lnTo>
                <a:lnTo>
                  <a:pt x="499180" y="173620"/>
                </a:lnTo>
                <a:lnTo>
                  <a:pt x="512326" y="217581"/>
                </a:lnTo>
                <a:lnTo>
                  <a:pt x="517971" y="262486"/>
                </a:lnTo>
                <a:lnTo>
                  <a:pt x="516130" y="307272"/>
                </a:lnTo>
                <a:lnTo>
                  <a:pt x="506818" y="350879"/>
                </a:lnTo>
                <a:lnTo>
                  <a:pt x="490048" y="392244"/>
                </a:lnTo>
                <a:lnTo>
                  <a:pt x="465837" y="430304"/>
                </a:lnTo>
                <a:lnTo>
                  <a:pt x="434197" y="463998"/>
                </a:lnTo>
                <a:close/>
              </a:path>
            </a:pathLst>
          </a:custGeom>
          <a:ln w="6350">
            <a:solidFill>
              <a:srgbClr val="BEBEBE"/>
            </a:solidFill>
          </a:ln>
        </p:spPr>
        <p:txBody>
          <a:bodyPr wrap="square" lIns="0" tIns="0" rIns="0" bIns="0" rtlCol="0"/>
          <a:lstStyle/>
          <a:p>
            <a:endParaRPr/>
          </a:p>
        </p:txBody>
      </p:sp>
      <p:sp>
        <p:nvSpPr>
          <p:cNvPr id="27" name="object 27"/>
          <p:cNvSpPr/>
          <p:nvPr/>
        </p:nvSpPr>
        <p:spPr>
          <a:xfrm>
            <a:off x="3581627" y="1328469"/>
            <a:ext cx="518159" cy="527050"/>
          </a:xfrm>
          <a:custGeom>
            <a:avLst/>
            <a:gdLst/>
            <a:ahLst/>
            <a:cxnLst/>
            <a:rect l="l" t="t" r="r" b="b"/>
            <a:pathLst>
              <a:path w="518160" h="527050">
                <a:moveTo>
                  <a:pt x="249292" y="0"/>
                </a:moveTo>
                <a:lnTo>
                  <a:pt x="205480" y="3944"/>
                </a:lnTo>
                <a:lnTo>
                  <a:pt x="162831" y="15574"/>
                </a:lnTo>
                <a:lnTo>
                  <a:pt x="122369" y="34962"/>
                </a:lnTo>
                <a:lnTo>
                  <a:pt x="85117" y="62180"/>
                </a:lnTo>
                <a:lnTo>
                  <a:pt x="53428" y="95824"/>
                </a:lnTo>
                <a:lnTo>
                  <a:pt x="29014" y="133821"/>
                </a:lnTo>
                <a:lnTo>
                  <a:pt x="11932" y="175116"/>
                </a:lnTo>
                <a:lnTo>
                  <a:pt x="2241" y="218653"/>
                </a:lnTo>
                <a:lnTo>
                  <a:pt x="0" y="263377"/>
                </a:lnTo>
                <a:lnTo>
                  <a:pt x="5266" y="308231"/>
                </a:lnTo>
                <a:lnTo>
                  <a:pt x="18100" y="352160"/>
                </a:lnTo>
                <a:lnTo>
                  <a:pt x="38559" y="394109"/>
                </a:lnTo>
                <a:lnTo>
                  <a:pt x="66702" y="433020"/>
                </a:lnTo>
                <a:lnTo>
                  <a:pt x="101056" y="466516"/>
                </a:lnTo>
                <a:lnTo>
                  <a:pt x="139426" y="492766"/>
                </a:lnTo>
                <a:lnTo>
                  <a:pt x="180785" y="511662"/>
                </a:lnTo>
                <a:lnTo>
                  <a:pt x="224108" y="523097"/>
                </a:lnTo>
                <a:lnTo>
                  <a:pt x="268367" y="526966"/>
                </a:lnTo>
                <a:lnTo>
                  <a:pt x="312536" y="523162"/>
                </a:lnTo>
                <a:lnTo>
                  <a:pt x="355589" y="511578"/>
                </a:lnTo>
                <a:lnTo>
                  <a:pt x="396499" y="492107"/>
                </a:lnTo>
                <a:lnTo>
                  <a:pt x="434240" y="464643"/>
                </a:lnTo>
                <a:lnTo>
                  <a:pt x="465837" y="430944"/>
                </a:lnTo>
                <a:lnTo>
                  <a:pt x="490006" y="392870"/>
                </a:lnTo>
                <a:lnTo>
                  <a:pt x="506733" y="351482"/>
                </a:lnTo>
                <a:lnTo>
                  <a:pt x="516003" y="307842"/>
                </a:lnTo>
                <a:lnTo>
                  <a:pt x="517802" y="263013"/>
                </a:lnTo>
                <a:lnTo>
                  <a:pt x="512114" y="218056"/>
                </a:lnTo>
                <a:lnTo>
                  <a:pt x="498926" y="174034"/>
                </a:lnTo>
                <a:lnTo>
                  <a:pt x="478222" y="132009"/>
                </a:lnTo>
                <a:lnTo>
                  <a:pt x="449988" y="93041"/>
                </a:lnTo>
                <a:lnTo>
                  <a:pt x="415708" y="59638"/>
                </a:lnTo>
                <a:lnTo>
                  <a:pt x="377476" y="33560"/>
                </a:lnTo>
                <a:lnTo>
                  <a:pt x="336313" y="14880"/>
                </a:lnTo>
                <a:lnTo>
                  <a:pt x="293244" y="3669"/>
                </a:lnTo>
                <a:lnTo>
                  <a:pt x="249292" y="0"/>
                </a:lnTo>
                <a:close/>
              </a:path>
            </a:pathLst>
          </a:custGeom>
          <a:solidFill>
            <a:srgbClr val="BBE7FF"/>
          </a:solidFill>
        </p:spPr>
        <p:txBody>
          <a:bodyPr wrap="square" lIns="0" tIns="0" rIns="0" bIns="0" rtlCol="0"/>
          <a:lstStyle/>
          <a:p>
            <a:endParaRPr/>
          </a:p>
        </p:txBody>
      </p:sp>
      <p:sp>
        <p:nvSpPr>
          <p:cNvPr id="28" name="object 28"/>
          <p:cNvSpPr/>
          <p:nvPr/>
        </p:nvSpPr>
        <p:spPr>
          <a:xfrm>
            <a:off x="3581679" y="1322606"/>
            <a:ext cx="295275" cy="526415"/>
          </a:xfrm>
          <a:custGeom>
            <a:avLst/>
            <a:gdLst/>
            <a:ahLst/>
            <a:cxnLst/>
            <a:rect l="l" t="t" r="r" b="b"/>
            <a:pathLst>
              <a:path w="295275" h="526414">
                <a:moveTo>
                  <a:pt x="250376" y="0"/>
                </a:moveTo>
                <a:lnTo>
                  <a:pt x="206049" y="3435"/>
                </a:lnTo>
                <a:lnTo>
                  <a:pt x="163038" y="14831"/>
                </a:lnTo>
                <a:lnTo>
                  <a:pt x="122369" y="34299"/>
                </a:lnTo>
                <a:lnTo>
                  <a:pt x="85064" y="61947"/>
                </a:lnTo>
                <a:lnTo>
                  <a:pt x="53380" y="95582"/>
                </a:lnTo>
                <a:lnTo>
                  <a:pt x="28976" y="133556"/>
                </a:lnTo>
                <a:lnTo>
                  <a:pt x="11908" y="174817"/>
                </a:lnTo>
                <a:lnTo>
                  <a:pt x="2230" y="218314"/>
                </a:lnTo>
                <a:lnTo>
                  <a:pt x="0" y="262996"/>
                </a:lnTo>
                <a:lnTo>
                  <a:pt x="5271" y="307810"/>
                </a:lnTo>
                <a:lnTo>
                  <a:pt x="18099" y="351705"/>
                </a:lnTo>
                <a:lnTo>
                  <a:pt x="38540" y="393630"/>
                </a:lnTo>
                <a:lnTo>
                  <a:pt x="66649" y="432533"/>
                </a:lnTo>
                <a:lnTo>
                  <a:pt x="101545" y="466044"/>
                </a:lnTo>
                <a:lnTo>
                  <a:pt x="140317" y="492288"/>
                </a:lnTo>
                <a:lnTo>
                  <a:pt x="181937" y="511162"/>
                </a:lnTo>
                <a:lnTo>
                  <a:pt x="225373" y="522563"/>
                </a:lnTo>
                <a:lnTo>
                  <a:pt x="269595" y="526386"/>
                </a:lnTo>
                <a:lnTo>
                  <a:pt x="226512" y="514904"/>
                </a:lnTo>
                <a:lnTo>
                  <a:pt x="185442" y="495970"/>
                </a:lnTo>
                <a:lnTo>
                  <a:pt x="147491" y="469700"/>
                </a:lnTo>
                <a:lnTo>
                  <a:pt x="113766" y="436216"/>
                </a:lnTo>
                <a:lnTo>
                  <a:pt x="85607" y="397380"/>
                </a:lnTo>
                <a:lnTo>
                  <a:pt x="65040" y="355556"/>
                </a:lnTo>
                <a:lnTo>
                  <a:pt x="52049" y="311775"/>
                </a:lnTo>
                <a:lnTo>
                  <a:pt x="46615" y="267065"/>
                </a:lnTo>
                <a:lnTo>
                  <a:pt x="48720" y="222457"/>
                </a:lnTo>
                <a:lnTo>
                  <a:pt x="58347" y="178980"/>
                </a:lnTo>
                <a:lnTo>
                  <a:pt x="75478" y="137663"/>
                </a:lnTo>
                <a:lnTo>
                  <a:pt x="100096" y="99537"/>
                </a:lnTo>
                <a:lnTo>
                  <a:pt x="132181" y="65630"/>
                </a:lnTo>
                <a:lnTo>
                  <a:pt x="168712" y="38224"/>
                </a:lnTo>
                <a:lnTo>
                  <a:pt x="208778" y="18973"/>
                </a:lnTo>
                <a:lnTo>
                  <a:pt x="251250" y="7748"/>
                </a:lnTo>
                <a:lnTo>
                  <a:pt x="294995" y="4416"/>
                </a:lnTo>
                <a:lnTo>
                  <a:pt x="250376" y="0"/>
                </a:lnTo>
                <a:close/>
              </a:path>
            </a:pathLst>
          </a:custGeom>
          <a:solidFill>
            <a:srgbClr val="12ABDB"/>
          </a:solidFill>
        </p:spPr>
        <p:txBody>
          <a:bodyPr wrap="square" lIns="0" tIns="0" rIns="0" bIns="0" rtlCol="0"/>
          <a:lstStyle/>
          <a:p>
            <a:endParaRPr/>
          </a:p>
        </p:txBody>
      </p:sp>
      <p:sp>
        <p:nvSpPr>
          <p:cNvPr id="29" name="object 29"/>
          <p:cNvSpPr/>
          <p:nvPr/>
        </p:nvSpPr>
        <p:spPr>
          <a:xfrm>
            <a:off x="3821684" y="1220597"/>
            <a:ext cx="439420" cy="775335"/>
          </a:xfrm>
          <a:custGeom>
            <a:avLst/>
            <a:gdLst/>
            <a:ahLst/>
            <a:cxnLst/>
            <a:rect l="l" t="t" r="r" b="b"/>
            <a:pathLst>
              <a:path w="439420" h="775335">
                <a:moveTo>
                  <a:pt x="0" y="769492"/>
                </a:moveTo>
                <a:lnTo>
                  <a:pt x="47256" y="775025"/>
                </a:lnTo>
                <a:lnTo>
                  <a:pt x="94544" y="774718"/>
                </a:lnTo>
                <a:lnTo>
                  <a:pt x="129965" y="770050"/>
                </a:lnTo>
                <a:lnTo>
                  <a:pt x="47337" y="770050"/>
                </a:lnTo>
                <a:lnTo>
                  <a:pt x="0" y="769492"/>
                </a:lnTo>
                <a:close/>
              </a:path>
              <a:path w="439420" h="775335">
                <a:moveTo>
                  <a:pt x="336825" y="133223"/>
                </a:moveTo>
                <a:lnTo>
                  <a:pt x="299974" y="133223"/>
                </a:lnTo>
                <a:lnTo>
                  <a:pt x="300989" y="134874"/>
                </a:lnTo>
                <a:lnTo>
                  <a:pt x="309183" y="145166"/>
                </a:lnTo>
                <a:lnTo>
                  <a:pt x="316912" y="155781"/>
                </a:lnTo>
                <a:lnTo>
                  <a:pt x="355455" y="218662"/>
                </a:lnTo>
                <a:lnTo>
                  <a:pt x="374024" y="261544"/>
                </a:lnTo>
                <a:lnTo>
                  <a:pt x="387326" y="305700"/>
                </a:lnTo>
                <a:lnTo>
                  <a:pt x="395383" y="350637"/>
                </a:lnTo>
                <a:lnTo>
                  <a:pt x="398220" y="395861"/>
                </a:lnTo>
                <a:lnTo>
                  <a:pt x="395859" y="440880"/>
                </a:lnTo>
                <a:lnTo>
                  <a:pt x="388322" y="485200"/>
                </a:lnTo>
                <a:lnTo>
                  <a:pt x="375633" y="528329"/>
                </a:lnTo>
                <a:lnTo>
                  <a:pt x="357814" y="569773"/>
                </a:lnTo>
                <a:lnTo>
                  <a:pt x="334889" y="609040"/>
                </a:lnTo>
                <a:lnTo>
                  <a:pt x="306881" y="645636"/>
                </a:lnTo>
                <a:lnTo>
                  <a:pt x="273812" y="679068"/>
                </a:lnTo>
                <a:lnTo>
                  <a:pt x="233933" y="710183"/>
                </a:lnTo>
                <a:lnTo>
                  <a:pt x="198197" y="730865"/>
                </a:lnTo>
                <a:lnTo>
                  <a:pt x="186689" y="736853"/>
                </a:lnTo>
                <a:lnTo>
                  <a:pt x="185038" y="737869"/>
                </a:lnTo>
                <a:lnTo>
                  <a:pt x="183514" y="738886"/>
                </a:lnTo>
                <a:lnTo>
                  <a:pt x="139392" y="754544"/>
                </a:lnTo>
                <a:lnTo>
                  <a:pt x="93900" y="765000"/>
                </a:lnTo>
                <a:lnTo>
                  <a:pt x="47337" y="770050"/>
                </a:lnTo>
                <a:lnTo>
                  <a:pt x="129965" y="770050"/>
                </a:lnTo>
                <a:lnTo>
                  <a:pt x="186972" y="756520"/>
                </a:lnTo>
                <a:lnTo>
                  <a:pt x="230990" y="738592"/>
                </a:lnTo>
                <a:lnTo>
                  <a:pt x="272795" y="714755"/>
                </a:lnTo>
                <a:lnTo>
                  <a:pt x="312674" y="683640"/>
                </a:lnTo>
                <a:lnTo>
                  <a:pt x="346313" y="649852"/>
                </a:lnTo>
                <a:lnTo>
                  <a:pt x="374821" y="612831"/>
                </a:lnTo>
                <a:lnTo>
                  <a:pt x="398164" y="573082"/>
                </a:lnTo>
                <a:lnTo>
                  <a:pt x="416309" y="531112"/>
                </a:lnTo>
                <a:lnTo>
                  <a:pt x="429225" y="487425"/>
                </a:lnTo>
                <a:lnTo>
                  <a:pt x="436878" y="442527"/>
                </a:lnTo>
                <a:lnTo>
                  <a:pt x="439236" y="396924"/>
                </a:lnTo>
                <a:lnTo>
                  <a:pt x="436266" y="351119"/>
                </a:lnTo>
                <a:lnTo>
                  <a:pt x="427936" y="305620"/>
                </a:lnTo>
                <a:lnTo>
                  <a:pt x="414213" y="260931"/>
                </a:lnTo>
                <a:lnTo>
                  <a:pt x="395064" y="217558"/>
                </a:lnTo>
                <a:lnTo>
                  <a:pt x="370457" y="176005"/>
                </a:lnTo>
                <a:lnTo>
                  <a:pt x="340360" y="136778"/>
                </a:lnTo>
                <a:lnTo>
                  <a:pt x="336825" y="133223"/>
                </a:lnTo>
                <a:close/>
              </a:path>
              <a:path w="439420" h="775335">
                <a:moveTo>
                  <a:pt x="328243" y="124587"/>
                </a:moveTo>
                <a:lnTo>
                  <a:pt x="291973" y="124587"/>
                </a:lnTo>
                <a:lnTo>
                  <a:pt x="293115" y="126237"/>
                </a:lnTo>
                <a:lnTo>
                  <a:pt x="294131" y="127762"/>
                </a:lnTo>
                <a:lnTo>
                  <a:pt x="295148" y="129412"/>
                </a:lnTo>
                <a:lnTo>
                  <a:pt x="296290" y="131063"/>
                </a:lnTo>
                <a:lnTo>
                  <a:pt x="297306" y="132714"/>
                </a:lnTo>
                <a:lnTo>
                  <a:pt x="298450" y="134238"/>
                </a:lnTo>
                <a:lnTo>
                  <a:pt x="299974" y="133223"/>
                </a:lnTo>
                <a:lnTo>
                  <a:pt x="336825" y="133223"/>
                </a:lnTo>
                <a:lnTo>
                  <a:pt x="328243" y="124587"/>
                </a:lnTo>
                <a:close/>
              </a:path>
              <a:path w="439420" h="775335">
                <a:moveTo>
                  <a:pt x="319534" y="115824"/>
                </a:moveTo>
                <a:lnTo>
                  <a:pt x="283971" y="115824"/>
                </a:lnTo>
                <a:lnTo>
                  <a:pt x="285114" y="117475"/>
                </a:lnTo>
                <a:lnTo>
                  <a:pt x="286130" y="119125"/>
                </a:lnTo>
                <a:lnTo>
                  <a:pt x="287274" y="120776"/>
                </a:lnTo>
                <a:lnTo>
                  <a:pt x="288289" y="122300"/>
                </a:lnTo>
                <a:lnTo>
                  <a:pt x="289305" y="123951"/>
                </a:lnTo>
                <a:lnTo>
                  <a:pt x="290449" y="125602"/>
                </a:lnTo>
                <a:lnTo>
                  <a:pt x="291973" y="124587"/>
                </a:lnTo>
                <a:lnTo>
                  <a:pt x="328243" y="124587"/>
                </a:lnTo>
                <a:lnTo>
                  <a:pt x="319534" y="115824"/>
                </a:lnTo>
                <a:close/>
              </a:path>
              <a:path w="439420" h="775335">
                <a:moveTo>
                  <a:pt x="314233" y="110489"/>
                </a:moveTo>
                <a:lnTo>
                  <a:pt x="278129" y="110489"/>
                </a:lnTo>
                <a:lnTo>
                  <a:pt x="279273" y="112013"/>
                </a:lnTo>
                <a:lnTo>
                  <a:pt x="280288" y="113664"/>
                </a:lnTo>
                <a:lnTo>
                  <a:pt x="281431" y="115315"/>
                </a:lnTo>
                <a:lnTo>
                  <a:pt x="282448" y="116966"/>
                </a:lnTo>
                <a:lnTo>
                  <a:pt x="283971" y="115824"/>
                </a:lnTo>
                <a:lnTo>
                  <a:pt x="319534" y="115824"/>
                </a:lnTo>
                <a:lnTo>
                  <a:pt x="314233" y="110489"/>
                </a:lnTo>
                <a:close/>
              </a:path>
              <a:path w="439420" h="775335">
                <a:moveTo>
                  <a:pt x="37083" y="0"/>
                </a:moveTo>
                <a:lnTo>
                  <a:pt x="87913" y="7558"/>
                </a:lnTo>
                <a:lnTo>
                  <a:pt x="137852" y="22181"/>
                </a:lnTo>
                <a:lnTo>
                  <a:pt x="186012" y="43680"/>
                </a:lnTo>
                <a:lnTo>
                  <a:pt x="231501" y="71867"/>
                </a:lnTo>
                <a:lnTo>
                  <a:pt x="273430" y="106552"/>
                </a:lnTo>
                <a:lnTo>
                  <a:pt x="274446" y="108203"/>
                </a:lnTo>
                <a:lnTo>
                  <a:pt x="275589" y="109854"/>
                </a:lnTo>
                <a:lnTo>
                  <a:pt x="276605" y="111505"/>
                </a:lnTo>
                <a:lnTo>
                  <a:pt x="278129" y="110489"/>
                </a:lnTo>
                <a:lnTo>
                  <a:pt x="314233" y="110489"/>
                </a:lnTo>
                <a:lnTo>
                  <a:pt x="263817" y="68585"/>
                </a:lnTo>
                <a:lnTo>
                  <a:pt x="221394" y="43062"/>
                </a:lnTo>
                <a:lnTo>
                  <a:pt x="176949" y="23363"/>
                </a:lnTo>
                <a:lnTo>
                  <a:pt x="131043" y="9566"/>
                </a:lnTo>
                <a:lnTo>
                  <a:pt x="84234" y="1751"/>
                </a:lnTo>
                <a:lnTo>
                  <a:pt x="37083" y="0"/>
                </a:lnTo>
                <a:close/>
              </a:path>
            </a:pathLst>
          </a:custGeom>
          <a:solidFill>
            <a:srgbClr val="A6A6A6"/>
          </a:solidFill>
        </p:spPr>
        <p:txBody>
          <a:bodyPr wrap="square" lIns="0" tIns="0" rIns="0" bIns="0" rtlCol="0"/>
          <a:lstStyle/>
          <a:p>
            <a:endParaRPr/>
          </a:p>
        </p:txBody>
      </p:sp>
      <p:sp>
        <p:nvSpPr>
          <p:cNvPr id="30" name="object 30"/>
          <p:cNvSpPr/>
          <p:nvPr/>
        </p:nvSpPr>
        <p:spPr>
          <a:xfrm>
            <a:off x="3715511" y="1467611"/>
            <a:ext cx="249936" cy="249936"/>
          </a:xfrm>
          <a:prstGeom prst="rect">
            <a:avLst/>
          </a:prstGeom>
          <a:blipFill>
            <a:blip r:embed="rId6" cstate="print"/>
            <a:stretch>
              <a:fillRect/>
            </a:stretch>
          </a:blipFill>
        </p:spPr>
        <p:txBody>
          <a:bodyPr wrap="square" lIns="0" tIns="0" rIns="0" bIns="0" rtlCol="0"/>
          <a:lstStyle/>
          <a:p>
            <a:endParaRPr/>
          </a:p>
        </p:txBody>
      </p:sp>
      <p:sp>
        <p:nvSpPr>
          <p:cNvPr id="31" name="object 31"/>
          <p:cNvSpPr txBox="1"/>
          <p:nvPr/>
        </p:nvSpPr>
        <p:spPr>
          <a:xfrm>
            <a:off x="4390135" y="1296187"/>
            <a:ext cx="2695575" cy="1009015"/>
          </a:xfrm>
          <a:prstGeom prst="rect">
            <a:avLst/>
          </a:prstGeom>
        </p:spPr>
        <p:txBody>
          <a:bodyPr vert="horz" wrap="square" lIns="0" tIns="38735" rIns="0" bIns="0" rtlCol="0">
            <a:spAutoFit/>
          </a:bodyPr>
          <a:lstStyle/>
          <a:p>
            <a:pPr marL="184785" indent="-172720">
              <a:lnSpc>
                <a:spcPct val="100000"/>
              </a:lnSpc>
              <a:spcBef>
                <a:spcPts val="305"/>
              </a:spcBef>
              <a:buClr>
                <a:srgbClr val="006FAC"/>
              </a:buClr>
              <a:buFont typeface="Wingdings"/>
              <a:buChar char=""/>
              <a:tabLst>
                <a:tab pos="185420" algn="l"/>
              </a:tabLst>
            </a:pPr>
            <a:r>
              <a:rPr sz="1000" spc="-5">
                <a:latin typeface="Verdana"/>
                <a:cs typeface="Verdana"/>
              </a:rPr>
              <a:t>Continuous </a:t>
            </a:r>
            <a:r>
              <a:rPr sz="1000" spc="-10">
                <a:latin typeface="Verdana"/>
                <a:cs typeface="Verdana"/>
              </a:rPr>
              <a:t>effort </a:t>
            </a:r>
            <a:r>
              <a:rPr sz="1000" spc="-5">
                <a:latin typeface="Verdana"/>
                <a:cs typeface="Verdana"/>
              </a:rPr>
              <a:t>to reduce</a:t>
            </a:r>
            <a:r>
              <a:rPr sz="1000" spc="120">
                <a:latin typeface="Verdana"/>
                <a:cs typeface="Verdana"/>
              </a:rPr>
              <a:t> </a:t>
            </a:r>
            <a:r>
              <a:rPr sz="1000" spc="-5">
                <a:latin typeface="Verdana"/>
                <a:cs typeface="Verdana"/>
              </a:rPr>
              <a:t>complexity</a:t>
            </a:r>
            <a:endParaRPr sz="1000">
              <a:latin typeface="Verdana"/>
              <a:cs typeface="Verdana"/>
            </a:endParaRPr>
          </a:p>
          <a:p>
            <a:pPr marL="184785" indent="-172720">
              <a:lnSpc>
                <a:spcPct val="100000"/>
              </a:lnSpc>
              <a:spcBef>
                <a:spcPts val="204"/>
              </a:spcBef>
              <a:buClr>
                <a:srgbClr val="006FAC"/>
              </a:buClr>
              <a:buFont typeface="Wingdings"/>
              <a:buChar char=""/>
              <a:tabLst>
                <a:tab pos="185420" algn="l"/>
              </a:tabLst>
            </a:pPr>
            <a:r>
              <a:rPr sz="1000" spc="-5">
                <a:latin typeface="Verdana"/>
                <a:cs typeface="Verdana"/>
              </a:rPr>
              <a:t>Standardize </a:t>
            </a:r>
            <a:r>
              <a:rPr sz="1000" spc="-10">
                <a:latin typeface="Verdana"/>
                <a:cs typeface="Verdana"/>
              </a:rPr>
              <a:t>wherever</a:t>
            </a:r>
            <a:r>
              <a:rPr sz="1000" spc="40">
                <a:latin typeface="Verdana"/>
                <a:cs typeface="Verdana"/>
              </a:rPr>
              <a:t> </a:t>
            </a:r>
            <a:r>
              <a:rPr sz="1000" spc="-5">
                <a:latin typeface="Verdana"/>
                <a:cs typeface="Verdana"/>
              </a:rPr>
              <a:t>possible</a:t>
            </a:r>
            <a:endParaRPr sz="1000">
              <a:latin typeface="Verdana"/>
              <a:cs typeface="Verdana"/>
            </a:endParaRPr>
          </a:p>
          <a:p>
            <a:pPr marL="184785" indent="-172720">
              <a:lnSpc>
                <a:spcPct val="100000"/>
              </a:lnSpc>
              <a:spcBef>
                <a:spcPts val="204"/>
              </a:spcBef>
              <a:buClr>
                <a:srgbClr val="006FAC"/>
              </a:buClr>
              <a:buFont typeface="Wingdings"/>
              <a:buChar char=""/>
              <a:tabLst>
                <a:tab pos="185420" algn="l"/>
              </a:tabLst>
            </a:pPr>
            <a:r>
              <a:rPr sz="1000" spc="-5">
                <a:latin typeface="Verdana"/>
                <a:cs typeface="Verdana"/>
              </a:rPr>
              <a:t>Ensure standard</a:t>
            </a:r>
            <a:r>
              <a:rPr sz="1000" spc="50">
                <a:latin typeface="Verdana"/>
                <a:cs typeface="Verdana"/>
              </a:rPr>
              <a:t> </a:t>
            </a:r>
            <a:r>
              <a:rPr sz="1000">
                <a:latin typeface="Verdana"/>
                <a:cs typeface="Verdana"/>
              </a:rPr>
              <a:t>functionalities</a:t>
            </a:r>
          </a:p>
          <a:p>
            <a:pPr marL="184785" indent="-172720">
              <a:lnSpc>
                <a:spcPct val="100000"/>
              </a:lnSpc>
              <a:spcBef>
                <a:spcPts val="190"/>
              </a:spcBef>
              <a:buClr>
                <a:srgbClr val="006FAC"/>
              </a:buClr>
              <a:buFont typeface="Wingdings"/>
              <a:buChar char=""/>
              <a:tabLst>
                <a:tab pos="185420" algn="l"/>
              </a:tabLst>
            </a:pPr>
            <a:r>
              <a:rPr sz="1000" spc="-5">
                <a:latin typeface="Verdana"/>
                <a:cs typeface="Verdana"/>
              </a:rPr>
              <a:t>Reduce</a:t>
            </a:r>
            <a:r>
              <a:rPr sz="1000" spc="15">
                <a:latin typeface="Verdana"/>
                <a:cs typeface="Verdana"/>
              </a:rPr>
              <a:t> </a:t>
            </a:r>
            <a:r>
              <a:rPr sz="1000" spc="-5">
                <a:latin typeface="Verdana"/>
                <a:cs typeface="Verdana"/>
              </a:rPr>
              <a:t>customizations</a:t>
            </a:r>
            <a:endParaRPr sz="1000">
              <a:latin typeface="Verdana"/>
              <a:cs typeface="Verdana"/>
            </a:endParaRPr>
          </a:p>
          <a:p>
            <a:pPr marL="321945">
              <a:lnSpc>
                <a:spcPct val="100000"/>
              </a:lnSpc>
              <a:spcBef>
                <a:spcPts val="935"/>
              </a:spcBef>
            </a:pPr>
            <a:r>
              <a:rPr sz="1000" b="1" spc="-10">
                <a:latin typeface="Verdana"/>
                <a:cs typeface="Verdana"/>
              </a:rPr>
              <a:t>Backlog</a:t>
            </a:r>
            <a:endParaRPr sz="1000">
              <a:latin typeface="Verdana"/>
              <a:cs typeface="Verdana"/>
            </a:endParaRPr>
          </a:p>
        </p:txBody>
      </p:sp>
      <p:sp>
        <p:nvSpPr>
          <p:cNvPr id="32" name="object 32"/>
          <p:cNvSpPr txBox="1"/>
          <p:nvPr/>
        </p:nvSpPr>
        <p:spPr>
          <a:xfrm>
            <a:off x="4699508" y="2278265"/>
            <a:ext cx="3745865" cy="713105"/>
          </a:xfrm>
          <a:prstGeom prst="rect">
            <a:avLst/>
          </a:prstGeom>
        </p:spPr>
        <p:txBody>
          <a:bodyPr vert="horz" wrap="square" lIns="0" tIns="38100" rIns="0" bIns="0" rtlCol="0">
            <a:spAutoFit/>
          </a:bodyPr>
          <a:lstStyle/>
          <a:p>
            <a:pPr marL="184785" indent="-172720">
              <a:lnSpc>
                <a:spcPct val="100000"/>
              </a:lnSpc>
              <a:spcBef>
                <a:spcPts val="300"/>
              </a:spcBef>
              <a:buClr>
                <a:srgbClr val="006FAC"/>
              </a:buClr>
              <a:buFont typeface="Wingdings"/>
              <a:buChar char=""/>
              <a:tabLst>
                <a:tab pos="185420" algn="l"/>
              </a:tabLst>
            </a:pPr>
            <a:r>
              <a:rPr sz="1000" spc="-5">
                <a:latin typeface="Verdana"/>
                <a:cs typeface="Verdana"/>
              </a:rPr>
              <a:t>Ensure </a:t>
            </a:r>
            <a:r>
              <a:rPr sz="1000" spc="-10">
                <a:latin typeface="Verdana"/>
                <a:cs typeface="Verdana"/>
              </a:rPr>
              <a:t>correct </a:t>
            </a:r>
            <a:r>
              <a:rPr sz="1000" spc="-5">
                <a:latin typeface="Verdana"/>
                <a:cs typeface="Verdana"/>
              </a:rPr>
              <a:t>mapping of </a:t>
            </a:r>
            <a:r>
              <a:rPr sz="1000">
                <a:latin typeface="Verdana"/>
                <a:cs typeface="Verdana"/>
              </a:rPr>
              <a:t>as-is </a:t>
            </a:r>
            <a:r>
              <a:rPr sz="1000" spc="-5">
                <a:latin typeface="Verdana"/>
                <a:cs typeface="Verdana"/>
              </a:rPr>
              <a:t>low-level</a:t>
            </a:r>
            <a:r>
              <a:rPr sz="1000" spc="120">
                <a:latin typeface="Verdana"/>
                <a:cs typeface="Verdana"/>
              </a:rPr>
              <a:t> </a:t>
            </a:r>
            <a:r>
              <a:rPr sz="1000" spc="-5">
                <a:latin typeface="Verdana"/>
                <a:cs typeface="Verdana"/>
              </a:rPr>
              <a:t>requirements</a:t>
            </a:r>
            <a:endParaRPr sz="1000">
              <a:latin typeface="Verdana"/>
              <a:cs typeface="Verdana"/>
            </a:endParaRPr>
          </a:p>
          <a:p>
            <a:pPr marL="184785" indent="-172720">
              <a:lnSpc>
                <a:spcPct val="100000"/>
              </a:lnSpc>
              <a:spcBef>
                <a:spcPts val="204"/>
              </a:spcBef>
              <a:buClr>
                <a:srgbClr val="006FAC"/>
              </a:buClr>
              <a:buFont typeface="Wingdings"/>
              <a:buChar char=""/>
              <a:tabLst>
                <a:tab pos="185420" algn="l"/>
              </a:tabLst>
            </a:pPr>
            <a:r>
              <a:rPr sz="1000">
                <a:latin typeface="Verdana"/>
                <a:cs typeface="Verdana"/>
              </a:rPr>
              <a:t>Pilot </a:t>
            </a:r>
            <a:r>
              <a:rPr sz="1000" spc="-5">
                <a:latin typeface="Verdana"/>
                <a:cs typeface="Verdana"/>
              </a:rPr>
              <a:t>fast and test </a:t>
            </a:r>
            <a:r>
              <a:rPr sz="1000">
                <a:latin typeface="Verdana"/>
                <a:cs typeface="Verdana"/>
              </a:rPr>
              <a:t>with </a:t>
            </a:r>
            <a:r>
              <a:rPr sz="1000" spc="-10">
                <a:latin typeface="Verdana"/>
                <a:cs typeface="Verdana"/>
              </a:rPr>
              <a:t>key-users</a:t>
            </a:r>
            <a:r>
              <a:rPr sz="1000" spc="65">
                <a:latin typeface="Verdana"/>
                <a:cs typeface="Verdana"/>
              </a:rPr>
              <a:t> </a:t>
            </a:r>
            <a:r>
              <a:rPr sz="1000" spc="-5">
                <a:latin typeface="Verdana"/>
                <a:cs typeface="Verdana"/>
              </a:rPr>
              <a:t>frequently</a:t>
            </a:r>
            <a:endParaRPr sz="1000">
              <a:latin typeface="Verdana"/>
              <a:cs typeface="Verdana"/>
            </a:endParaRPr>
          </a:p>
          <a:p>
            <a:pPr marL="184785" marR="94615" indent="-172720">
              <a:lnSpc>
                <a:spcPct val="100000"/>
              </a:lnSpc>
              <a:spcBef>
                <a:spcPts val="204"/>
              </a:spcBef>
              <a:buClr>
                <a:srgbClr val="006FAC"/>
              </a:buClr>
              <a:buFont typeface="Wingdings"/>
              <a:buChar char=""/>
              <a:tabLst>
                <a:tab pos="185420" algn="l"/>
              </a:tabLst>
            </a:pPr>
            <a:r>
              <a:rPr sz="1000" spc="-5">
                <a:latin typeface="Verdana"/>
                <a:cs typeface="Verdana"/>
              </a:rPr>
              <a:t>Fine-Tune Rollouts country by Business </a:t>
            </a:r>
            <a:r>
              <a:rPr sz="1000">
                <a:latin typeface="Verdana"/>
                <a:cs typeface="Verdana"/>
              </a:rPr>
              <a:t>Units </a:t>
            </a:r>
            <a:r>
              <a:rPr sz="1000" spc="-5">
                <a:latin typeface="Verdana"/>
                <a:cs typeface="Verdana"/>
              </a:rPr>
              <a:t>to avoid  complexities</a:t>
            </a:r>
            <a:endParaRPr sz="1000">
              <a:latin typeface="Verdana"/>
              <a:cs typeface="Verdana"/>
            </a:endParaRPr>
          </a:p>
        </p:txBody>
      </p:sp>
      <p:sp>
        <p:nvSpPr>
          <p:cNvPr id="33" name="object 33"/>
          <p:cNvSpPr/>
          <p:nvPr/>
        </p:nvSpPr>
        <p:spPr>
          <a:xfrm>
            <a:off x="4361688" y="2116835"/>
            <a:ext cx="4581525" cy="913130"/>
          </a:xfrm>
          <a:custGeom>
            <a:avLst/>
            <a:gdLst/>
            <a:ahLst/>
            <a:cxnLst/>
            <a:rect l="l" t="t" r="r" b="b"/>
            <a:pathLst>
              <a:path w="4581525" h="913130">
                <a:moveTo>
                  <a:pt x="0" y="152146"/>
                </a:moveTo>
                <a:lnTo>
                  <a:pt x="7752" y="104038"/>
                </a:lnTo>
                <a:lnTo>
                  <a:pt x="29342" y="62270"/>
                </a:lnTo>
                <a:lnTo>
                  <a:pt x="62270" y="29342"/>
                </a:lnTo>
                <a:lnTo>
                  <a:pt x="104038" y="7752"/>
                </a:lnTo>
                <a:lnTo>
                  <a:pt x="152146" y="0"/>
                </a:lnTo>
                <a:lnTo>
                  <a:pt x="4428997" y="0"/>
                </a:lnTo>
                <a:lnTo>
                  <a:pt x="4477105" y="7752"/>
                </a:lnTo>
                <a:lnTo>
                  <a:pt x="4518873" y="29342"/>
                </a:lnTo>
                <a:lnTo>
                  <a:pt x="4551801" y="62270"/>
                </a:lnTo>
                <a:lnTo>
                  <a:pt x="4573391" y="104038"/>
                </a:lnTo>
                <a:lnTo>
                  <a:pt x="4581144" y="152146"/>
                </a:lnTo>
                <a:lnTo>
                  <a:pt x="4581144" y="760729"/>
                </a:lnTo>
                <a:lnTo>
                  <a:pt x="4573391" y="808837"/>
                </a:lnTo>
                <a:lnTo>
                  <a:pt x="4551801" y="850605"/>
                </a:lnTo>
                <a:lnTo>
                  <a:pt x="4518873" y="883533"/>
                </a:lnTo>
                <a:lnTo>
                  <a:pt x="4477105" y="905123"/>
                </a:lnTo>
                <a:lnTo>
                  <a:pt x="4428997" y="912876"/>
                </a:lnTo>
                <a:lnTo>
                  <a:pt x="152146" y="912876"/>
                </a:lnTo>
                <a:lnTo>
                  <a:pt x="104038" y="905123"/>
                </a:lnTo>
                <a:lnTo>
                  <a:pt x="62270" y="883533"/>
                </a:lnTo>
                <a:lnTo>
                  <a:pt x="29342" y="850605"/>
                </a:lnTo>
                <a:lnTo>
                  <a:pt x="7752" y="808837"/>
                </a:lnTo>
                <a:lnTo>
                  <a:pt x="0" y="760729"/>
                </a:lnTo>
                <a:lnTo>
                  <a:pt x="0" y="152146"/>
                </a:lnTo>
                <a:close/>
              </a:path>
            </a:pathLst>
          </a:custGeom>
          <a:ln w="12192">
            <a:solidFill>
              <a:srgbClr val="12ABDB"/>
            </a:solidFill>
          </a:ln>
        </p:spPr>
        <p:txBody>
          <a:bodyPr wrap="square" lIns="0" tIns="0" rIns="0" bIns="0" rtlCol="0"/>
          <a:lstStyle/>
          <a:p>
            <a:endParaRPr/>
          </a:p>
        </p:txBody>
      </p:sp>
      <p:sp>
        <p:nvSpPr>
          <p:cNvPr id="34" name="object 34"/>
          <p:cNvSpPr/>
          <p:nvPr/>
        </p:nvSpPr>
        <p:spPr>
          <a:xfrm>
            <a:off x="3829871" y="2248935"/>
            <a:ext cx="640715" cy="650240"/>
          </a:xfrm>
          <a:custGeom>
            <a:avLst/>
            <a:gdLst/>
            <a:ahLst/>
            <a:cxnLst/>
            <a:rect l="l" t="t" r="r" b="b"/>
            <a:pathLst>
              <a:path w="640714" h="650239">
                <a:moveTo>
                  <a:pt x="313140" y="0"/>
                </a:moveTo>
                <a:lnTo>
                  <a:pt x="268623" y="2559"/>
                </a:lnTo>
                <a:lnTo>
                  <a:pt x="224905" y="11484"/>
                </a:lnTo>
                <a:lnTo>
                  <a:pt x="182705" y="26824"/>
                </a:lnTo>
                <a:lnTo>
                  <a:pt x="142741" y="48626"/>
                </a:lnTo>
                <a:lnTo>
                  <a:pt x="105731" y="76942"/>
                </a:lnTo>
                <a:lnTo>
                  <a:pt x="72791" y="110522"/>
                </a:lnTo>
                <a:lnTo>
                  <a:pt x="45957" y="147882"/>
                </a:lnTo>
                <a:lnTo>
                  <a:pt x="25245" y="188297"/>
                </a:lnTo>
                <a:lnTo>
                  <a:pt x="10671" y="231044"/>
                </a:lnTo>
                <a:lnTo>
                  <a:pt x="2250" y="275399"/>
                </a:lnTo>
                <a:lnTo>
                  <a:pt x="0" y="320639"/>
                </a:lnTo>
                <a:lnTo>
                  <a:pt x="3935" y="366039"/>
                </a:lnTo>
                <a:lnTo>
                  <a:pt x="14072" y="410877"/>
                </a:lnTo>
                <a:lnTo>
                  <a:pt x="30427" y="454428"/>
                </a:lnTo>
                <a:lnTo>
                  <a:pt x="53016" y="495969"/>
                </a:lnTo>
                <a:lnTo>
                  <a:pt x="81855" y="534777"/>
                </a:lnTo>
                <a:lnTo>
                  <a:pt x="116440" y="569145"/>
                </a:lnTo>
                <a:lnTo>
                  <a:pt x="154414" y="597533"/>
                </a:lnTo>
                <a:lnTo>
                  <a:pt x="195090" y="619879"/>
                </a:lnTo>
                <a:lnTo>
                  <a:pt x="237783" y="636124"/>
                </a:lnTo>
                <a:lnTo>
                  <a:pt x="281808" y="646207"/>
                </a:lnTo>
                <a:lnTo>
                  <a:pt x="326477" y="650066"/>
                </a:lnTo>
                <a:lnTo>
                  <a:pt x="371106" y="647642"/>
                </a:lnTo>
                <a:lnTo>
                  <a:pt x="415009" y="638873"/>
                </a:lnTo>
                <a:lnTo>
                  <a:pt x="457499" y="623699"/>
                </a:lnTo>
                <a:lnTo>
                  <a:pt x="497891" y="602059"/>
                </a:lnTo>
                <a:lnTo>
                  <a:pt x="515632" y="588772"/>
                </a:lnTo>
                <a:lnTo>
                  <a:pt x="328999" y="588772"/>
                </a:lnTo>
                <a:lnTo>
                  <a:pt x="284719" y="584987"/>
                </a:lnTo>
                <a:lnTo>
                  <a:pt x="241395" y="573644"/>
                </a:lnTo>
                <a:lnTo>
                  <a:pt x="200056" y="554843"/>
                </a:lnTo>
                <a:lnTo>
                  <a:pt x="161731" y="528687"/>
                </a:lnTo>
                <a:lnTo>
                  <a:pt x="127448" y="495280"/>
                </a:lnTo>
                <a:lnTo>
                  <a:pt x="99348" y="456410"/>
                </a:lnTo>
                <a:lnTo>
                  <a:pt x="78931" y="414502"/>
                </a:lnTo>
                <a:lnTo>
                  <a:pt x="66140" y="370608"/>
                </a:lnTo>
                <a:lnTo>
                  <a:pt x="60915" y="325783"/>
                </a:lnTo>
                <a:lnTo>
                  <a:pt x="63199" y="281081"/>
                </a:lnTo>
                <a:lnTo>
                  <a:pt x="72932" y="237555"/>
                </a:lnTo>
                <a:lnTo>
                  <a:pt x="90056" y="196258"/>
                </a:lnTo>
                <a:lnTo>
                  <a:pt x="114513" y="158244"/>
                </a:lnTo>
                <a:lnTo>
                  <a:pt x="146244" y="124567"/>
                </a:lnTo>
                <a:lnTo>
                  <a:pt x="183538" y="97340"/>
                </a:lnTo>
                <a:lnTo>
                  <a:pt x="224040" y="77927"/>
                </a:lnTo>
                <a:lnTo>
                  <a:pt x="266725" y="66260"/>
                </a:lnTo>
                <a:lnTo>
                  <a:pt x="310566" y="62269"/>
                </a:lnTo>
                <a:lnTo>
                  <a:pt x="497872" y="62269"/>
                </a:lnTo>
                <a:lnTo>
                  <a:pt x="484848" y="52426"/>
                </a:lnTo>
                <a:lnTo>
                  <a:pt x="444311" y="30018"/>
                </a:lnTo>
                <a:lnTo>
                  <a:pt x="401702" y="13778"/>
                </a:lnTo>
                <a:lnTo>
                  <a:pt x="357739" y="3755"/>
                </a:lnTo>
                <a:lnTo>
                  <a:pt x="313140" y="0"/>
                </a:lnTo>
                <a:close/>
              </a:path>
              <a:path w="640714" h="650239">
                <a:moveTo>
                  <a:pt x="497872" y="62269"/>
                </a:moveTo>
                <a:lnTo>
                  <a:pt x="310566" y="62269"/>
                </a:lnTo>
                <a:lnTo>
                  <a:pt x="354540" y="65886"/>
                </a:lnTo>
                <a:lnTo>
                  <a:pt x="397619" y="77041"/>
                </a:lnTo>
                <a:lnTo>
                  <a:pt x="438780" y="95665"/>
                </a:lnTo>
                <a:lnTo>
                  <a:pt x="476996" y="121690"/>
                </a:lnTo>
                <a:lnTo>
                  <a:pt x="511242" y="155047"/>
                </a:lnTo>
                <a:lnTo>
                  <a:pt x="539434" y="193934"/>
                </a:lnTo>
                <a:lnTo>
                  <a:pt x="560095" y="235889"/>
                </a:lnTo>
                <a:lnTo>
                  <a:pt x="573241" y="279850"/>
                </a:lnTo>
                <a:lnTo>
                  <a:pt x="578887" y="324755"/>
                </a:lnTo>
                <a:lnTo>
                  <a:pt x="577046" y="369542"/>
                </a:lnTo>
                <a:lnTo>
                  <a:pt x="567733" y="413148"/>
                </a:lnTo>
                <a:lnTo>
                  <a:pt x="550964" y="454513"/>
                </a:lnTo>
                <a:lnTo>
                  <a:pt x="526752" y="492573"/>
                </a:lnTo>
                <a:lnTo>
                  <a:pt x="495113" y="526268"/>
                </a:lnTo>
                <a:lnTo>
                  <a:pt x="457292" y="553745"/>
                </a:lnTo>
                <a:lnTo>
                  <a:pt x="416314" y="573253"/>
                </a:lnTo>
                <a:lnTo>
                  <a:pt x="373207" y="584895"/>
                </a:lnTo>
                <a:lnTo>
                  <a:pt x="328999" y="588772"/>
                </a:lnTo>
                <a:lnTo>
                  <a:pt x="515632" y="588772"/>
                </a:lnTo>
                <a:lnTo>
                  <a:pt x="568208" y="539971"/>
                </a:lnTo>
                <a:lnTo>
                  <a:pt x="594886" y="502403"/>
                </a:lnTo>
                <a:lnTo>
                  <a:pt x="615493" y="461888"/>
                </a:lnTo>
                <a:lnTo>
                  <a:pt x="629988" y="419125"/>
                </a:lnTo>
                <a:lnTo>
                  <a:pt x="638329" y="374812"/>
                </a:lnTo>
                <a:lnTo>
                  <a:pt x="640475" y="329650"/>
                </a:lnTo>
                <a:lnTo>
                  <a:pt x="636384" y="284336"/>
                </a:lnTo>
                <a:lnTo>
                  <a:pt x="626016" y="239570"/>
                </a:lnTo>
                <a:lnTo>
                  <a:pt x="609329" y="196051"/>
                </a:lnTo>
                <a:lnTo>
                  <a:pt x="586283" y="154478"/>
                </a:lnTo>
                <a:lnTo>
                  <a:pt x="556835" y="115550"/>
                </a:lnTo>
                <a:lnTo>
                  <a:pt x="522595" y="80953"/>
                </a:lnTo>
                <a:lnTo>
                  <a:pt x="497872" y="62269"/>
                </a:lnTo>
                <a:close/>
              </a:path>
            </a:pathLst>
          </a:custGeom>
          <a:solidFill>
            <a:srgbClr val="EBE8E7"/>
          </a:solidFill>
        </p:spPr>
        <p:txBody>
          <a:bodyPr wrap="square" lIns="0" tIns="0" rIns="0" bIns="0" rtlCol="0"/>
          <a:lstStyle/>
          <a:p>
            <a:endParaRPr/>
          </a:p>
        </p:txBody>
      </p:sp>
      <p:sp>
        <p:nvSpPr>
          <p:cNvPr id="35" name="object 35"/>
          <p:cNvSpPr/>
          <p:nvPr/>
        </p:nvSpPr>
        <p:spPr>
          <a:xfrm>
            <a:off x="3829871" y="2248935"/>
            <a:ext cx="640715" cy="650240"/>
          </a:xfrm>
          <a:custGeom>
            <a:avLst/>
            <a:gdLst/>
            <a:ahLst/>
            <a:cxnLst/>
            <a:rect l="l" t="t" r="r" b="b"/>
            <a:pathLst>
              <a:path w="640714" h="650239">
                <a:moveTo>
                  <a:pt x="105731" y="76942"/>
                </a:moveTo>
                <a:lnTo>
                  <a:pt x="72791" y="110522"/>
                </a:lnTo>
                <a:lnTo>
                  <a:pt x="45957" y="147882"/>
                </a:lnTo>
                <a:lnTo>
                  <a:pt x="25245" y="188297"/>
                </a:lnTo>
                <a:lnTo>
                  <a:pt x="10671" y="231044"/>
                </a:lnTo>
                <a:lnTo>
                  <a:pt x="2250" y="275399"/>
                </a:lnTo>
                <a:lnTo>
                  <a:pt x="0" y="320639"/>
                </a:lnTo>
                <a:lnTo>
                  <a:pt x="3935" y="366039"/>
                </a:lnTo>
                <a:lnTo>
                  <a:pt x="14072" y="410877"/>
                </a:lnTo>
                <a:lnTo>
                  <a:pt x="30427" y="454428"/>
                </a:lnTo>
                <a:lnTo>
                  <a:pt x="53016" y="495969"/>
                </a:lnTo>
                <a:lnTo>
                  <a:pt x="81855" y="534777"/>
                </a:lnTo>
                <a:lnTo>
                  <a:pt x="116440" y="569145"/>
                </a:lnTo>
                <a:lnTo>
                  <a:pt x="154414" y="597533"/>
                </a:lnTo>
                <a:lnTo>
                  <a:pt x="195090" y="619879"/>
                </a:lnTo>
                <a:lnTo>
                  <a:pt x="237783" y="636124"/>
                </a:lnTo>
                <a:lnTo>
                  <a:pt x="281808" y="646207"/>
                </a:lnTo>
                <a:lnTo>
                  <a:pt x="326477" y="650066"/>
                </a:lnTo>
                <a:lnTo>
                  <a:pt x="371106" y="647642"/>
                </a:lnTo>
                <a:lnTo>
                  <a:pt x="415009" y="638873"/>
                </a:lnTo>
                <a:lnTo>
                  <a:pt x="457499" y="623699"/>
                </a:lnTo>
                <a:lnTo>
                  <a:pt x="497891" y="602059"/>
                </a:lnTo>
                <a:lnTo>
                  <a:pt x="535499" y="573893"/>
                </a:lnTo>
                <a:lnTo>
                  <a:pt x="568208" y="539971"/>
                </a:lnTo>
                <a:lnTo>
                  <a:pt x="594886" y="502403"/>
                </a:lnTo>
                <a:lnTo>
                  <a:pt x="615493" y="461888"/>
                </a:lnTo>
                <a:lnTo>
                  <a:pt x="629988" y="419125"/>
                </a:lnTo>
                <a:lnTo>
                  <a:pt x="638329" y="374812"/>
                </a:lnTo>
                <a:lnTo>
                  <a:pt x="640475" y="329650"/>
                </a:lnTo>
                <a:lnTo>
                  <a:pt x="636384" y="284336"/>
                </a:lnTo>
                <a:lnTo>
                  <a:pt x="626016" y="239570"/>
                </a:lnTo>
                <a:lnTo>
                  <a:pt x="609329" y="196051"/>
                </a:lnTo>
                <a:lnTo>
                  <a:pt x="586283" y="154478"/>
                </a:lnTo>
                <a:lnTo>
                  <a:pt x="556835" y="115550"/>
                </a:lnTo>
                <a:lnTo>
                  <a:pt x="522595" y="80953"/>
                </a:lnTo>
                <a:lnTo>
                  <a:pt x="484848" y="52426"/>
                </a:lnTo>
                <a:lnTo>
                  <a:pt x="444311" y="30018"/>
                </a:lnTo>
                <a:lnTo>
                  <a:pt x="401702" y="13778"/>
                </a:lnTo>
                <a:lnTo>
                  <a:pt x="357739" y="3755"/>
                </a:lnTo>
                <a:lnTo>
                  <a:pt x="313140" y="0"/>
                </a:lnTo>
                <a:lnTo>
                  <a:pt x="268623" y="2559"/>
                </a:lnTo>
                <a:lnTo>
                  <a:pt x="224905" y="11484"/>
                </a:lnTo>
                <a:lnTo>
                  <a:pt x="182705" y="26824"/>
                </a:lnTo>
                <a:lnTo>
                  <a:pt x="142741" y="48626"/>
                </a:lnTo>
                <a:lnTo>
                  <a:pt x="105731" y="76942"/>
                </a:lnTo>
                <a:close/>
              </a:path>
            </a:pathLst>
          </a:custGeom>
          <a:ln w="6350">
            <a:solidFill>
              <a:srgbClr val="BEBEBE"/>
            </a:solidFill>
          </a:ln>
        </p:spPr>
        <p:txBody>
          <a:bodyPr wrap="square" lIns="0" tIns="0" rIns="0" bIns="0" rtlCol="0"/>
          <a:lstStyle/>
          <a:p>
            <a:endParaRPr/>
          </a:p>
        </p:txBody>
      </p:sp>
      <p:sp>
        <p:nvSpPr>
          <p:cNvPr id="36" name="object 36"/>
          <p:cNvSpPr/>
          <p:nvPr/>
        </p:nvSpPr>
        <p:spPr>
          <a:xfrm>
            <a:off x="3890787" y="2311205"/>
            <a:ext cx="518159" cy="527050"/>
          </a:xfrm>
          <a:custGeom>
            <a:avLst/>
            <a:gdLst/>
            <a:ahLst/>
            <a:cxnLst/>
            <a:rect l="l" t="t" r="r" b="b"/>
            <a:pathLst>
              <a:path w="518160" h="527050">
                <a:moveTo>
                  <a:pt x="434197" y="463998"/>
                </a:moveTo>
                <a:lnTo>
                  <a:pt x="396377" y="491476"/>
                </a:lnTo>
                <a:lnTo>
                  <a:pt x="355399" y="510984"/>
                </a:lnTo>
                <a:lnTo>
                  <a:pt x="312291" y="522625"/>
                </a:lnTo>
                <a:lnTo>
                  <a:pt x="268083" y="526503"/>
                </a:lnTo>
                <a:lnTo>
                  <a:pt x="223803" y="522718"/>
                </a:lnTo>
                <a:lnTo>
                  <a:pt x="180479" y="511374"/>
                </a:lnTo>
                <a:lnTo>
                  <a:pt x="139141" y="492573"/>
                </a:lnTo>
                <a:lnTo>
                  <a:pt x="100815" y="466418"/>
                </a:lnTo>
                <a:lnTo>
                  <a:pt x="66532" y="433010"/>
                </a:lnTo>
                <a:lnTo>
                  <a:pt x="38432" y="394141"/>
                </a:lnTo>
                <a:lnTo>
                  <a:pt x="18015" y="352232"/>
                </a:lnTo>
                <a:lnTo>
                  <a:pt x="5224" y="308339"/>
                </a:lnTo>
                <a:lnTo>
                  <a:pt x="0" y="263514"/>
                </a:lnTo>
                <a:lnTo>
                  <a:pt x="2283" y="218812"/>
                </a:lnTo>
                <a:lnTo>
                  <a:pt x="12016" y="175285"/>
                </a:lnTo>
                <a:lnTo>
                  <a:pt x="29141" y="133988"/>
                </a:lnTo>
                <a:lnTo>
                  <a:pt x="53597" y="95974"/>
                </a:lnTo>
                <a:lnTo>
                  <a:pt x="85328" y="62297"/>
                </a:lnTo>
                <a:lnTo>
                  <a:pt x="122622" y="35070"/>
                </a:lnTo>
                <a:lnTo>
                  <a:pt x="163124" y="15658"/>
                </a:lnTo>
                <a:lnTo>
                  <a:pt x="205809" y="3990"/>
                </a:lnTo>
                <a:lnTo>
                  <a:pt x="249650" y="0"/>
                </a:lnTo>
                <a:lnTo>
                  <a:pt x="293624" y="3616"/>
                </a:lnTo>
                <a:lnTo>
                  <a:pt x="336704" y="14771"/>
                </a:lnTo>
                <a:lnTo>
                  <a:pt x="377864" y="33396"/>
                </a:lnTo>
                <a:lnTo>
                  <a:pt x="416080" y="59421"/>
                </a:lnTo>
                <a:lnTo>
                  <a:pt x="450326" y="92777"/>
                </a:lnTo>
                <a:lnTo>
                  <a:pt x="478518" y="131665"/>
                </a:lnTo>
                <a:lnTo>
                  <a:pt x="499180" y="173620"/>
                </a:lnTo>
                <a:lnTo>
                  <a:pt x="512326" y="217581"/>
                </a:lnTo>
                <a:lnTo>
                  <a:pt x="517971" y="262486"/>
                </a:lnTo>
                <a:lnTo>
                  <a:pt x="516130" y="307272"/>
                </a:lnTo>
                <a:lnTo>
                  <a:pt x="506818" y="350879"/>
                </a:lnTo>
                <a:lnTo>
                  <a:pt x="490048" y="392244"/>
                </a:lnTo>
                <a:lnTo>
                  <a:pt x="465837" y="430304"/>
                </a:lnTo>
                <a:lnTo>
                  <a:pt x="434197" y="463998"/>
                </a:lnTo>
                <a:close/>
              </a:path>
            </a:pathLst>
          </a:custGeom>
          <a:ln w="6350">
            <a:solidFill>
              <a:srgbClr val="BEBEBE"/>
            </a:solidFill>
          </a:ln>
        </p:spPr>
        <p:txBody>
          <a:bodyPr wrap="square" lIns="0" tIns="0" rIns="0" bIns="0" rtlCol="0"/>
          <a:lstStyle/>
          <a:p>
            <a:endParaRPr/>
          </a:p>
        </p:txBody>
      </p:sp>
      <p:sp>
        <p:nvSpPr>
          <p:cNvPr id="37" name="object 37"/>
          <p:cNvSpPr/>
          <p:nvPr/>
        </p:nvSpPr>
        <p:spPr>
          <a:xfrm>
            <a:off x="3890871" y="2309682"/>
            <a:ext cx="518159" cy="527050"/>
          </a:xfrm>
          <a:custGeom>
            <a:avLst/>
            <a:gdLst/>
            <a:ahLst/>
            <a:cxnLst/>
            <a:rect l="l" t="t" r="r" b="b"/>
            <a:pathLst>
              <a:path w="518160" h="527050">
                <a:moveTo>
                  <a:pt x="249292" y="0"/>
                </a:moveTo>
                <a:lnTo>
                  <a:pt x="205480" y="3937"/>
                </a:lnTo>
                <a:lnTo>
                  <a:pt x="162831" y="15564"/>
                </a:lnTo>
                <a:lnTo>
                  <a:pt x="122369" y="34951"/>
                </a:lnTo>
                <a:lnTo>
                  <a:pt x="85117" y="62169"/>
                </a:lnTo>
                <a:lnTo>
                  <a:pt x="53428" y="95813"/>
                </a:lnTo>
                <a:lnTo>
                  <a:pt x="29014" y="133812"/>
                </a:lnTo>
                <a:lnTo>
                  <a:pt x="11932" y="175110"/>
                </a:lnTo>
                <a:lnTo>
                  <a:pt x="2241" y="218653"/>
                </a:lnTo>
                <a:lnTo>
                  <a:pt x="0" y="263388"/>
                </a:lnTo>
                <a:lnTo>
                  <a:pt x="5266" y="308258"/>
                </a:lnTo>
                <a:lnTo>
                  <a:pt x="18100" y="352209"/>
                </a:lnTo>
                <a:lnTo>
                  <a:pt x="38559" y="394187"/>
                </a:lnTo>
                <a:lnTo>
                  <a:pt x="66702" y="433136"/>
                </a:lnTo>
                <a:lnTo>
                  <a:pt x="101056" y="466595"/>
                </a:lnTo>
                <a:lnTo>
                  <a:pt x="139426" y="492814"/>
                </a:lnTo>
                <a:lnTo>
                  <a:pt x="180785" y="511688"/>
                </a:lnTo>
                <a:lnTo>
                  <a:pt x="224108" y="523108"/>
                </a:lnTo>
                <a:lnTo>
                  <a:pt x="268367" y="526966"/>
                </a:lnTo>
                <a:lnTo>
                  <a:pt x="312536" y="523156"/>
                </a:lnTo>
                <a:lnTo>
                  <a:pt x="355589" y="511568"/>
                </a:lnTo>
                <a:lnTo>
                  <a:pt x="396499" y="492096"/>
                </a:lnTo>
                <a:lnTo>
                  <a:pt x="434240" y="464632"/>
                </a:lnTo>
                <a:lnTo>
                  <a:pt x="465837" y="430933"/>
                </a:lnTo>
                <a:lnTo>
                  <a:pt x="490006" y="392860"/>
                </a:lnTo>
                <a:lnTo>
                  <a:pt x="506733" y="351475"/>
                </a:lnTo>
                <a:lnTo>
                  <a:pt x="516003" y="307842"/>
                </a:lnTo>
                <a:lnTo>
                  <a:pt x="517802" y="263024"/>
                </a:lnTo>
                <a:lnTo>
                  <a:pt x="512114" y="218083"/>
                </a:lnTo>
                <a:lnTo>
                  <a:pt x="498926" y="174083"/>
                </a:lnTo>
                <a:lnTo>
                  <a:pt x="478222" y="132087"/>
                </a:lnTo>
                <a:lnTo>
                  <a:pt x="449988" y="93157"/>
                </a:lnTo>
                <a:lnTo>
                  <a:pt x="415708" y="59716"/>
                </a:lnTo>
                <a:lnTo>
                  <a:pt x="377476" y="33609"/>
                </a:lnTo>
                <a:lnTo>
                  <a:pt x="336313" y="14906"/>
                </a:lnTo>
                <a:lnTo>
                  <a:pt x="293244" y="3680"/>
                </a:lnTo>
                <a:lnTo>
                  <a:pt x="249292" y="0"/>
                </a:lnTo>
                <a:close/>
              </a:path>
            </a:pathLst>
          </a:custGeom>
          <a:solidFill>
            <a:srgbClr val="BBE7FF"/>
          </a:solidFill>
        </p:spPr>
        <p:txBody>
          <a:bodyPr wrap="square" lIns="0" tIns="0" rIns="0" bIns="0" rtlCol="0"/>
          <a:lstStyle/>
          <a:p>
            <a:endParaRPr/>
          </a:p>
        </p:txBody>
      </p:sp>
      <p:sp>
        <p:nvSpPr>
          <p:cNvPr id="38" name="object 38"/>
          <p:cNvSpPr/>
          <p:nvPr/>
        </p:nvSpPr>
        <p:spPr>
          <a:xfrm>
            <a:off x="3890913" y="2303808"/>
            <a:ext cx="295275" cy="526415"/>
          </a:xfrm>
          <a:custGeom>
            <a:avLst/>
            <a:gdLst/>
            <a:ahLst/>
            <a:cxnLst/>
            <a:rect l="l" t="t" r="r" b="b"/>
            <a:pathLst>
              <a:path w="295275" h="526414">
                <a:moveTo>
                  <a:pt x="250386" y="0"/>
                </a:moveTo>
                <a:lnTo>
                  <a:pt x="206052" y="3435"/>
                </a:lnTo>
                <a:lnTo>
                  <a:pt x="163022" y="14831"/>
                </a:lnTo>
                <a:lnTo>
                  <a:pt x="122315" y="34299"/>
                </a:lnTo>
                <a:lnTo>
                  <a:pt x="84948" y="61947"/>
                </a:lnTo>
                <a:lnTo>
                  <a:pt x="53302" y="95586"/>
                </a:lnTo>
                <a:lnTo>
                  <a:pt x="28927" y="133571"/>
                </a:lnTo>
                <a:lnTo>
                  <a:pt x="11881" y="174845"/>
                </a:lnTo>
                <a:lnTo>
                  <a:pt x="2220" y="218356"/>
                </a:lnTo>
                <a:lnTo>
                  <a:pt x="0" y="263048"/>
                </a:lnTo>
                <a:lnTo>
                  <a:pt x="5277" y="307866"/>
                </a:lnTo>
                <a:lnTo>
                  <a:pt x="18109" y="351756"/>
                </a:lnTo>
                <a:lnTo>
                  <a:pt x="38551" y="393663"/>
                </a:lnTo>
                <a:lnTo>
                  <a:pt x="66660" y="432533"/>
                </a:lnTo>
                <a:lnTo>
                  <a:pt x="101556" y="466044"/>
                </a:lnTo>
                <a:lnTo>
                  <a:pt x="140329" y="492288"/>
                </a:lnTo>
                <a:lnTo>
                  <a:pt x="181948" y="511162"/>
                </a:lnTo>
                <a:lnTo>
                  <a:pt x="225384" y="522563"/>
                </a:lnTo>
                <a:lnTo>
                  <a:pt x="269606" y="526386"/>
                </a:lnTo>
                <a:lnTo>
                  <a:pt x="226524" y="514906"/>
                </a:lnTo>
                <a:lnTo>
                  <a:pt x="185453" y="495985"/>
                </a:lnTo>
                <a:lnTo>
                  <a:pt x="147502" y="469754"/>
                </a:lnTo>
                <a:lnTo>
                  <a:pt x="113777" y="436343"/>
                </a:lnTo>
                <a:lnTo>
                  <a:pt x="85618" y="397469"/>
                </a:lnTo>
                <a:lnTo>
                  <a:pt x="65052" y="355616"/>
                </a:lnTo>
                <a:lnTo>
                  <a:pt x="52060" y="311812"/>
                </a:lnTo>
                <a:lnTo>
                  <a:pt x="46626" y="267087"/>
                </a:lnTo>
                <a:lnTo>
                  <a:pt x="48731" y="222468"/>
                </a:lnTo>
                <a:lnTo>
                  <a:pt x="58358" y="178985"/>
                </a:lnTo>
                <a:lnTo>
                  <a:pt x="75489" y="137665"/>
                </a:lnTo>
                <a:lnTo>
                  <a:pt x="100107" y="99537"/>
                </a:lnTo>
                <a:lnTo>
                  <a:pt x="132192" y="65630"/>
                </a:lnTo>
                <a:lnTo>
                  <a:pt x="168723" y="38224"/>
                </a:lnTo>
                <a:lnTo>
                  <a:pt x="208789" y="18973"/>
                </a:lnTo>
                <a:lnTo>
                  <a:pt x="251261" y="7748"/>
                </a:lnTo>
                <a:lnTo>
                  <a:pt x="295006" y="4416"/>
                </a:lnTo>
                <a:lnTo>
                  <a:pt x="250386" y="0"/>
                </a:lnTo>
                <a:close/>
              </a:path>
            </a:pathLst>
          </a:custGeom>
          <a:solidFill>
            <a:srgbClr val="12ABDB"/>
          </a:solidFill>
        </p:spPr>
        <p:txBody>
          <a:bodyPr wrap="square" lIns="0" tIns="0" rIns="0" bIns="0" rtlCol="0"/>
          <a:lstStyle/>
          <a:p>
            <a:endParaRPr/>
          </a:p>
        </p:txBody>
      </p:sp>
      <p:sp>
        <p:nvSpPr>
          <p:cNvPr id="39" name="object 39"/>
          <p:cNvSpPr/>
          <p:nvPr/>
        </p:nvSpPr>
        <p:spPr>
          <a:xfrm>
            <a:off x="4130928" y="2201798"/>
            <a:ext cx="439420" cy="775335"/>
          </a:xfrm>
          <a:custGeom>
            <a:avLst/>
            <a:gdLst/>
            <a:ahLst/>
            <a:cxnLst/>
            <a:rect l="l" t="t" r="r" b="b"/>
            <a:pathLst>
              <a:path w="439420" h="775335">
                <a:moveTo>
                  <a:pt x="0" y="769620"/>
                </a:moveTo>
                <a:lnTo>
                  <a:pt x="47256" y="775142"/>
                </a:lnTo>
                <a:lnTo>
                  <a:pt x="94544" y="774812"/>
                </a:lnTo>
                <a:lnTo>
                  <a:pt x="130096" y="770104"/>
                </a:lnTo>
                <a:lnTo>
                  <a:pt x="47337" y="770104"/>
                </a:lnTo>
                <a:lnTo>
                  <a:pt x="0" y="769620"/>
                </a:lnTo>
                <a:close/>
              </a:path>
              <a:path w="439420" h="775335">
                <a:moveTo>
                  <a:pt x="336825" y="133223"/>
                </a:moveTo>
                <a:lnTo>
                  <a:pt x="299974" y="133223"/>
                </a:lnTo>
                <a:lnTo>
                  <a:pt x="300990" y="134874"/>
                </a:lnTo>
                <a:lnTo>
                  <a:pt x="309183" y="145220"/>
                </a:lnTo>
                <a:lnTo>
                  <a:pt x="316912" y="155828"/>
                </a:lnTo>
                <a:lnTo>
                  <a:pt x="355455" y="218662"/>
                </a:lnTo>
                <a:lnTo>
                  <a:pt x="374024" y="261544"/>
                </a:lnTo>
                <a:lnTo>
                  <a:pt x="387326" y="305700"/>
                </a:lnTo>
                <a:lnTo>
                  <a:pt x="395383" y="350637"/>
                </a:lnTo>
                <a:lnTo>
                  <a:pt x="398220" y="395861"/>
                </a:lnTo>
                <a:lnTo>
                  <a:pt x="395859" y="440880"/>
                </a:lnTo>
                <a:lnTo>
                  <a:pt x="388322" y="485200"/>
                </a:lnTo>
                <a:lnTo>
                  <a:pt x="375633" y="528329"/>
                </a:lnTo>
                <a:lnTo>
                  <a:pt x="357814" y="569773"/>
                </a:lnTo>
                <a:lnTo>
                  <a:pt x="334889" y="609040"/>
                </a:lnTo>
                <a:lnTo>
                  <a:pt x="306881" y="645636"/>
                </a:lnTo>
                <a:lnTo>
                  <a:pt x="273812" y="679068"/>
                </a:lnTo>
                <a:lnTo>
                  <a:pt x="233934" y="710184"/>
                </a:lnTo>
                <a:lnTo>
                  <a:pt x="198197" y="730865"/>
                </a:lnTo>
                <a:lnTo>
                  <a:pt x="186690" y="736853"/>
                </a:lnTo>
                <a:lnTo>
                  <a:pt x="185038" y="737870"/>
                </a:lnTo>
                <a:lnTo>
                  <a:pt x="183515" y="738886"/>
                </a:lnTo>
                <a:lnTo>
                  <a:pt x="139392" y="754546"/>
                </a:lnTo>
                <a:lnTo>
                  <a:pt x="93900" y="765016"/>
                </a:lnTo>
                <a:lnTo>
                  <a:pt x="47337" y="770104"/>
                </a:lnTo>
                <a:lnTo>
                  <a:pt x="130096" y="770104"/>
                </a:lnTo>
                <a:lnTo>
                  <a:pt x="186972" y="756553"/>
                </a:lnTo>
                <a:lnTo>
                  <a:pt x="230990" y="738602"/>
                </a:lnTo>
                <a:lnTo>
                  <a:pt x="272796" y="714755"/>
                </a:lnTo>
                <a:lnTo>
                  <a:pt x="312674" y="683640"/>
                </a:lnTo>
                <a:lnTo>
                  <a:pt x="346313" y="649852"/>
                </a:lnTo>
                <a:lnTo>
                  <a:pt x="374821" y="612831"/>
                </a:lnTo>
                <a:lnTo>
                  <a:pt x="398164" y="573082"/>
                </a:lnTo>
                <a:lnTo>
                  <a:pt x="416309" y="531112"/>
                </a:lnTo>
                <a:lnTo>
                  <a:pt x="429225" y="487425"/>
                </a:lnTo>
                <a:lnTo>
                  <a:pt x="436878" y="442527"/>
                </a:lnTo>
                <a:lnTo>
                  <a:pt x="439236" y="396924"/>
                </a:lnTo>
                <a:lnTo>
                  <a:pt x="436266" y="351119"/>
                </a:lnTo>
                <a:lnTo>
                  <a:pt x="427936" y="305620"/>
                </a:lnTo>
                <a:lnTo>
                  <a:pt x="414213" y="260931"/>
                </a:lnTo>
                <a:lnTo>
                  <a:pt x="395064" y="217558"/>
                </a:lnTo>
                <a:lnTo>
                  <a:pt x="370457" y="176005"/>
                </a:lnTo>
                <a:lnTo>
                  <a:pt x="340360" y="136778"/>
                </a:lnTo>
                <a:lnTo>
                  <a:pt x="336825" y="133223"/>
                </a:lnTo>
                <a:close/>
              </a:path>
              <a:path w="439420" h="775335">
                <a:moveTo>
                  <a:pt x="328243" y="124587"/>
                </a:moveTo>
                <a:lnTo>
                  <a:pt x="291973" y="124587"/>
                </a:lnTo>
                <a:lnTo>
                  <a:pt x="293116" y="126237"/>
                </a:lnTo>
                <a:lnTo>
                  <a:pt x="294132" y="127762"/>
                </a:lnTo>
                <a:lnTo>
                  <a:pt x="295148" y="129412"/>
                </a:lnTo>
                <a:lnTo>
                  <a:pt x="296291" y="131063"/>
                </a:lnTo>
                <a:lnTo>
                  <a:pt x="297307" y="132714"/>
                </a:lnTo>
                <a:lnTo>
                  <a:pt x="298450" y="134238"/>
                </a:lnTo>
                <a:lnTo>
                  <a:pt x="299974" y="133223"/>
                </a:lnTo>
                <a:lnTo>
                  <a:pt x="336825" y="133223"/>
                </a:lnTo>
                <a:lnTo>
                  <a:pt x="328243" y="124587"/>
                </a:lnTo>
                <a:close/>
              </a:path>
              <a:path w="439420" h="775335">
                <a:moveTo>
                  <a:pt x="319660" y="115950"/>
                </a:moveTo>
                <a:lnTo>
                  <a:pt x="283972" y="115950"/>
                </a:lnTo>
                <a:lnTo>
                  <a:pt x="285115" y="117475"/>
                </a:lnTo>
                <a:lnTo>
                  <a:pt x="287147" y="120776"/>
                </a:lnTo>
                <a:lnTo>
                  <a:pt x="288290" y="122427"/>
                </a:lnTo>
                <a:lnTo>
                  <a:pt x="289306" y="123951"/>
                </a:lnTo>
                <a:lnTo>
                  <a:pt x="290449" y="125602"/>
                </a:lnTo>
                <a:lnTo>
                  <a:pt x="291973" y="124587"/>
                </a:lnTo>
                <a:lnTo>
                  <a:pt x="328243" y="124587"/>
                </a:lnTo>
                <a:lnTo>
                  <a:pt x="319660" y="115950"/>
                </a:lnTo>
                <a:close/>
              </a:path>
              <a:path w="439420" h="775335">
                <a:moveTo>
                  <a:pt x="314233" y="110489"/>
                </a:moveTo>
                <a:lnTo>
                  <a:pt x="278130" y="110489"/>
                </a:lnTo>
                <a:lnTo>
                  <a:pt x="279273" y="112013"/>
                </a:lnTo>
                <a:lnTo>
                  <a:pt x="281305" y="115315"/>
                </a:lnTo>
                <a:lnTo>
                  <a:pt x="282448" y="116966"/>
                </a:lnTo>
                <a:lnTo>
                  <a:pt x="283972" y="115950"/>
                </a:lnTo>
                <a:lnTo>
                  <a:pt x="319660" y="115950"/>
                </a:lnTo>
                <a:lnTo>
                  <a:pt x="314233" y="110489"/>
                </a:lnTo>
                <a:close/>
              </a:path>
              <a:path w="439420" h="775335">
                <a:moveTo>
                  <a:pt x="37084" y="0"/>
                </a:moveTo>
                <a:lnTo>
                  <a:pt x="87913" y="7559"/>
                </a:lnTo>
                <a:lnTo>
                  <a:pt x="137852" y="22189"/>
                </a:lnTo>
                <a:lnTo>
                  <a:pt x="186012" y="43708"/>
                </a:lnTo>
                <a:lnTo>
                  <a:pt x="231501" y="71932"/>
                </a:lnTo>
                <a:lnTo>
                  <a:pt x="273431" y="106679"/>
                </a:lnTo>
                <a:lnTo>
                  <a:pt x="275463" y="109854"/>
                </a:lnTo>
                <a:lnTo>
                  <a:pt x="276606" y="111505"/>
                </a:lnTo>
                <a:lnTo>
                  <a:pt x="278130" y="110489"/>
                </a:lnTo>
                <a:lnTo>
                  <a:pt x="314233" y="110489"/>
                </a:lnTo>
                <a:lnTo>
                  <a:pt x="303659" y="99850"/>
                </a:lnTo>
                <a:lnTo>
                  <a:pt x="263817" y="68585"/>
                </a:lnTo>
                <a:lnTo>
                  <a:pt x="221394" y="43062"/>
                </a:lnTo>
                <a:lnTo>
                  <a:pt x="176949" y="23363"/>
                </a:lnTo>
                <a:lnTo>
                  <a:pt x="131043" y="9566"/>
                </a:lnTo>
                <a:lnTo>
                  <a:pt x="84234" y="1751"/>
                </a:lnTo>
                <a:lnTo>
                  <a:pt x="37084" y="0"/>
                </a:lnTo>
                <a:close/>
              </a:path>
            </a:pathLst>
          </a:custGeom>
          <a:solidFill>
            <a:srgbClr val="A6A6A6"/>
          </a:solidFill>
        </p:spPr>
        <p:txBody>
          <a:bodyPr wrap="square" lIns="0" tIns="0" rIns="0" bIns="0" rtlCol="0"/>
          <a:lstStyle/>
          <a:p>
            <a:endParaRPr/>
          </a:p>
        </p:txBody>
      </p:sp>
      <p:sp>
        <p:nvSpPr>
          <p:cNvPr id="40" name="object 40"/>
          <p:cNvSpPr/>
          <p:nvPr/>
        </p:nvSpPr>
        <p:spPr>
          <a:xfrm>
            <a:off x="4024884" y="2449067"/>
            <a:ext cx="249936" cy="248412"/>
          </a:xfrm>
          <a:prstGeom prst="rect">
            <a:avLst/>
          </a:prstGeom>
          <a:blipFill>
            <a:blip r:embed="rId7" cstate="print"/>
            <a:stretch>
              <a:fillRect/>
            </a:stretch>
          </a:blipFill>
        </p:spPr>
        <p:txBody>
          <a:bodyPr wrap="square" lIns="0" tIns="0" rIns="0" bIns="0" rtlCol="0"/>
          <a:lstStyle/>
          <a:p>
            <a:endParaRPr/>
          </a:p>
        </p:txBody>
      </p:sp>
      <p:sp>
        <p:nvSpPr>
          <p:cNvPr id="41" name="object 41"/>
          <p:cNvSpPr txBox="1"/>
          <p:nvPr/>
        </p:nvSpPr>
        <p:spPr>
          <a:xfrm>
            <a:off x="4937252" y="3141725"/>
            <a:ext cx="943610"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Holistic</a:t>
            </a:r>
            <a:r>
              <a:rPr sz="1000" b="1" spc="-50">
                <a:latin typeface="Verdana"/>
                <a:cs typeface="Verdana"/>
              </a:rPr>
              <a:t> </a:t>
            </a:r>
            <a:r>
              <a:rPr sz="1000" b="1" spc="-10">
                <a:latin typeface="Verdana"/>
                <a:cs typeface="Verdana"/>
              </a:rPr>
              <a:t>View</a:t>
            </a:r>
            <a:endParaRPr sz="1000">
              <a:latin typeface="Verdana"/>
              <a:cs typeface="Verdana"/>
            </a:endParaRPr>
          </a:p>
        </p:txBody>
      </p:sp>
      <p:sp>
        <p:nvSpPr>
          <p:cNvPr id="42" name="object 42"/>
          <p:cNvSpPr txBox="1"/>
          <p:nvPr/>
        </p:nvSpPr>
        <p:spPr>
          <a:xfrm>
            <a:off x="4937252" y="3291992"/>
            <a:ext cx="4091940" cy="534670"/>
          </a:xfrm>
          <a:prstGeom prst="rect">
            <a:avLst/>
          </a:prstGeom>
        </p:spPr>
        <p:txBody>
          <a:bodyPr vert="horz" wrap="square" lIns="0" tIns="38735" rIns="0" bIns="0" rtlCol="0">
            <a:spAutoFit/>
          </a:bodyPr>
          <a:lstStyle/>
          <a:p>
            <a:pPr marL="184785" indent="-172720">
              <a:lnSpc>
                <a:spcPct val="100000"/>
              </a:lnSpc>
              <a:spcBef>
                <a:spcPts val="305"/>
              </a:spcBef>
              <a:buClr>
                <a:srgbClr val="006FAC"/>
              </a:buClr>
              <a:buFont typeface="Wingdings"/>
              <a:buChar char=""/>
              <a:tabLst>
                <a:tab pos="185420" algn="l"/>
              </a:tabLst>
            </a:pPr>
            <a:r>
              <a:rPr sz="1000" spc="-5">
                <a:latin typeface="Verdana"/>
                <a:cs typeface="Verdana"/>
              </a:rPr>
              <a:t>Ensure </a:t>
            </a:r>
            <a:r>
              <a:rPr sz="1000">
                <a:latin typeface="Verdana"/>
                <a:cs typeface="Verdana"/>
              </a:rPr>
              <a:t>alignment </a:t>
            </a:r>
            <a:r>
              <a:rPr sz="1000" spc="-10">
                <a:latin typeface="Verdana"/>
                <a:cs typeface="Verdana"/>
              </a:rPr>
              <a:t>between IT </a:t>
            </a:r>
            <a:r>
              <a:rPr sz="1000" spc="-5">
                <a:latin typeface="Verdana"/>
                <a:cs typeface="Verdana"/>
              </a:rPr>
              <a:t>and business</a:t>
            </a:r>
            <a:r>
              <a:rPr sz="1000" spc="145">
                <a:latin typeface="Verdana"/>
                <a:cs typeface="Verdana"/>
              </a:rPr>
              <a:t> </a:t>
            </a:r>
            <a:r>
              <a:rPr sz="1000" spc="-5">
                <a:latin typeface="Verdana"/>
                <a:cs typeface="Verdana"/>
              </a:rPr>
              <a:t>requirements</a:t>
            </a:r>
            <a:endParaRPr sz="1000">
              <a:latin typeface="Verdana"/>
              <a:cs typeface="Verdana"/>
            </a:endParaRPr>
          </a:p>
          <a:p>
            <a:pPr marL="184785" marR="5080" indent="-172720">
              <a:lnSpc>
                <a:spcPct val="100000"/>
              </a:lnSpc>
              <a:spcBef>
                <a:spcPts val="200"/>
              </a:spcBef>
              <a:buClr>
                <a:srgbClr val="006FAC"/>
              </a:buClr>
              <a:buFont typeface="Wingdings"/>
              <a:buChar char=""/>
              <a:tabLst>
                <a:tab pos="185420" algn="l"/>
              </a:tabLst>
            </a:pPr>
            <a:r>
              <a:rPr sz="1000" spc="-5">
                <a:latin typeface="Verdana"/>
                <a:cs typeface="Verdana"/>
              </a:rPr>
              <a:t>Ensure a Data-driven and Process-driven approach, </a:t>
            </a:r>
            <a:r>
              <a:rPr sz="1000">
                <a:latin typeface="Verdana"/>
                <a:cs typeface="Verdana"/>
              </a:rPr>
              <a:t>avoiding  </a:t>
            </a:r>
            <a:r>
              <a:rPr sz="1000" spc="-5">
                <a:latin typeface="Verdana"/>
                <a:cs typeface="Verdana"/>
              </a:rPr>
              <a:t>feature-drive</a:t>
            </a:r>
            <a:r>
              <a:rPr sz="1000" spc="20">
                <a:latin typeface="Verdana"/>
                <a:cs typeface="Verdana"/>
              </a:rPr>
              <a:t> </a:t>
            </a:r>
            <a:r>
              <a:rPr sz="1000" spc="-5">
                <a:latin typeface="Verdana"/>
                <a:cs typeface="Verdana"/>
              </a:rPr>
              <a:t>decisions</a:t>
            </a:r>
            <a:endParaRPr sz="1000">
              <a:latin typeface="Verdana"/>
              <a:cs typeface="Verdana"/>
            </a:endParaRPr>
          </a:p>
        </p:txBody>
      </p:sp>
      <p:sp>
        <p:nvSpPr>
          <p:cNvPr id="43" name="object 43"/>
          <p:cNvSpPr/>
          <p:nvPr/>
        </p:nvSpPr>
        <p:spPr>
          <a:xfrm>
            <a:off x="4599432" y="3099816"/>
            <a:ext cx="4790440" cy="767080"/>
          </a:xfrm>
          <a:custGeom>
            <a:avLst/>
            <a:gdLst/>
            <a:ahLst/>
            <a:cxnLst/>
            <a:rect l="l" t="t" r="r" b="b"/>
            <a:pathLst>
              <a:path w="4790440" h="767079">
                <a:moveTo>
                  <a:pt x="0" y="127762"/>
                </a:moveTo>
                <a:lnTo>
                  <a:pt x="10033" y="78009"/>
                </a:lnTo>
                <a:lnTo>
                  <a:pt x="37401" y="37401"/>
                </a:lnTo>
                <a:lnTo>
                  <a:pt x="78009" y="10033"/>
                </a:lnTo>
                <a:lnTo>
                  <a:pt x="127762" y="0"/>
                </a:lnTo>
                <a:lnTo>
                  <a:pt x="4662170" y="0"/>
                </a:lnTo>
                <a:lnTo>
                  <a:pt x="4711922" y="10033"/>
                </a:lnTo>
                <a:lnTo>
                  <a:pt x="4752530" y="37401"/>
                </a:lnTo>
                <a:lnTo>
                  <a:pt x="4779898" y="78009"/>
                </a:lnTo>
                <a:lnTo>
                  <a:pt x="4789932" y="127762"/>
                </a:lnTo>
                <a:lnTo>
                  <a:pt x="4789932" y="638810"/>
                </a:lnTo>
                <a:lnTo>
                  <a:pt x="4779899" y="688562"/>
                </a:lnTo>
                <a:lnTo>
                  <a:pt x="4752530" y="729170"/>
                </a:lnTo>
                <a:lnTo>
                  <a:pt x="4711922" y="756538"/>
                </a:lnTo>
                <a:lnTo>
                  <a:pt x="4662170" y="766572"/>
                </a:lnTo>
                <a:lnTo>
                  <a:pt x="127762" y="766572"/>
                </a:lnTo>
                <a:lnTo>
                  <a:pt x="78009" y="756539"/>
                </a:lnTo>
                <a:lnTo>
                  <a:pt x="37401" y="729170"/>
                </a:lnTo>
                <a:lnTo>
                  <a:pt x="10033" y="688562"/>
                </a:lnTo>
                <a:lnTo>
                  <a:pt x="0" y="638810"/>
                </a:lnTo>
                <a:lnTo>
                  <a:pt x="0" y="127762"/>
                </a:lnTo>
                <a:close/>
              </a:path>
            </a:pathLst>
          </a:custGeom>
          <a:ln w="12192">
            <a:solidFill>
              <a:srgbClr val="12ABDB"/>
            </a:solidFill>
          </a:ln>
        </p:spPr>
        <p:txBody>
          <a:bodyPr wrap="square" lIns="0" tIns="0" rIns="0" bIns="0" rtlCol="0"/>
          <a:lstStyle/>
          <a:p>
            <a:endParaRPr/>
          </a:p>
        </p:txBody>
      </p:sp>
      <p:sp>
        <p:nvSpPr>
          <p:cNvPr id="44" name="object 44"/>
          <p:cNvSpPr/>
          <p:nvPr/>
        </p:nvSpPr>
        <p:spPr>
          <a:xfrm>
            <a:off x="4067615" y="3159101"/>
            <a:ext cx="640715" cy="650240"/>
          </a:xfrm>
          <a:custGeom>
            <a:avLst/>
            <a:gdLst/>
            <a:ahLst/>
            <a:cxnLst/>
            <a:rect l="l" t="t" r="r" b="b"/>
            <a:pathLst>
              <a:path w="640714" h="650239">
                <a:moveTo>
                  <a:pt x="313088" y="0"/>
                </a:moveTo>
                <a:lnTo>
                  <a:pt x="268566" y="2570"/>
                </a:lnTo>
                <a:lnTo>
                  <a:pt x="224850" y="11507"/>
                </a:lnTo>
                <a:lnTo>
                  <a:pt x="182659" y="26856"/>
                </a:lnTo>
                <a:lnTo>
                  <a:pt x="142713" y="48666"/>
                </a:lnTo>
                <a:lnTo>
                  <a:pt x="105731" y="76985"/>
                </a:lnTo>
                <a:lnTo>
                  <a:pt x="72791" y="110562"/>
                </a:lnTo>
                <a:lnTo>
                  <a:pt x="45957" y="147914"/>
                </a:lnTo>
                <a:lnTo>
                  <a:pt x="25245" y="188317"/>
                </a:lnTo>
                <a:lnTo>
                  <a:pt x="10671" y="231049"/>
                </a:lnTo>
                <a:lnTo>
                  <a:pt x="2250" y="275387"/>
                </a:lnTo>
                <a:lnTo>
                  <a:pt x="0" y="320610"/>
                </a:lnTo>
                <a:lnTo>
                  <a:pt x="3935" y="365993"/>
                </a:lnTo>
                <a:lnTo>
                  <a:pt x="14072" y="410816"/>
                </a:lnTo>
                <a:lnTo>
                  <a:pt x="30427" y="454355"/>
                </a:lnTo>
                <a:lnTo>
                  <a:pt x="53016" y="495888"/>
                </a:lnTo>
                <a:lnTo>
                  <a:pt x="81855" y="534693"/>
                </a:lnTo>
                <a:lnTo>
                  <a:pt x="116440" y="569090"/>
                </a:lnTo>
                <a:lnTo>
                  <a:pt x="154414" y="597496"/>
                </a:lnTo>
                <a:lnTo>
                  <a:pt x="195090" y="619853"/>
                </a:lnTo>
                <a:lnTo>
                  <a:pt x="237783" y="636102"/>
                </a:lnTo>
                <a:lnTo>
                  <a:pt x="281808" y="646186"/>
                </a:lnTo>
                <a:lnTo>
                  <a:pt x="326477" y="650046"/>
                </a:lnTo>
                <a:lnTo>
                  <a:pt x="371106" y="647622"/>
                </a:lnTo>
                <a:lnTo>
                  <a:pt x="415009" y="638858"/>
                </a:lnTo>
                <a:lnTo>
                  <a:pt x="457499" y="623695"/>
                </a:lnTo>
                <a:lnTo>
                  <a:pt x="497891" y="602073"/>
                </a:lnTo>
                <a:lnTo>
                  <a:pt x="515683" y="588762"/>
                </a:lnTo>
                <a:lnTo>
                  <a:pt x="328966" y="588762"/>
                </a:lnTo>
                <a:lnTo>
                  <a:pt x="284686" y="584956"/>
                </a:lnTo>
                <a:lnTo>
                  <a:pt x="241353" y="573592"/>
                </a:lnTo>
                <a:lnTo>
                  <a:pt x="199995" y="554775"/>
                </a:lnTo>
                <a:lnTo>
                  <a:pt x="161642" y="528608"/>
                </a:lnTo>
                <a:lnTo>
                  <a:pt x="127321" y="495196"/>
                </a:lnTo>
                <a:lnTo>
                  <a:pt x="99225" y="456364"/>
                </a:lnTo>
                <a:lnTo>
                  <a:pt x="78820" y="414485"/>
                </a:lnTo>
                <a:lnTo>
                  <a:pt x="66046" y="370613"/>
                </a:lnTo>
                <a:lnTo>
                  <a:pt x="60841" y="325805"/>
                </a:lnTo>
                <a:lnTo>
                  <a:pt x="63146" y="281113"/>
                </a:lnTo>
                <a:lnTo>
                  <a:pt x="72899" y="237593"/>
                </a:lnTo>
                <a:lnTo>
                  <a:pt x="90040" y="196299"/>
                </a:lnTo>
                <a:lnTo>
                  <a:pt x="114509" y="158287"/>
                </a:lnTo>
                <a:lnTo>
                  <a:pt x="146244" y="124610"/>
                </a:lnTo>
                <a:lnTo>
                  <a:pt x="183534" y="97383"/>
                </a:lnTo>
                <a:lnTo>
                  <a:pt x="224025" y="77970"/>
                </a:lnTo>
                <a:lnTo>
                  <a:pt x="266696" y="66303"/>
                </a:lnTo>
                <a:lnTo>
                  <a:pt x="310524" y="62312"/>
                </a:lnTo>
                <a:lnTo>
                  <a:pt x="497917" y="62312"/>
                </a:lnTo>
                <a:lnTo>
                  <a:pt x="484838" y="52423"/>
                </a:lnTo>
                <a:lnTo>
                  <a:pt x="444290" y="30006"/>
                </a:lnTo>
                <a:lnTo>
                  <a:pt x="401670" y="13765"/>
                </a:lnTo>
                <a:lnTo>
                  <a:pt x="357696" y="3747"/>
                </a:lnTo>
                <a:lnTo>
                  <a:pt x="313088" y="0"/>
                </a:lnTo>
                <a:close/>
              </a:path>
              <a:path w="640714" h="650239">
                <a:moveTo>
                  <a:pt x="497917" y="62312"/>
                </a:moveTo>
                <a:lnTo>
                  <a:pt x="310524" y="62312"/>
                </a:lnTo>
                <a:lnTo>
                  <a:pt x="354487" y="65928"/>
                </a:lnTo>
                <a:lnTo>
                  <a:pt x="397563" y="77084"/>
                </a:lnTo>
                <a:lnTo>
                  <a:pt x="438729" y="95708"/>
                </a:lnTo>
                <a:lnTo>
                  <a:pt x="476962" y="121733"/>
                </a:lnTo>
                <a:lnTo>
                  <a:pt x="511242" y="155090"/>
                </a:lnTo>
                <a:lnTo>
                  <a:pt x="539429" y="193944"/>
                </a:lnTo>
                <a:lnTo>
                  <a:pt x="560079" y="235881"/>
                </a:lnTo>
                <a:lnTo>
                  <a:pt x="573208" y="279837"/>
                </a:lnTo>
                <a:lnTo>
                  <a:pt x="578834" y="324746"/>
                </a:lnTo>
                <a:lnTo>
                  <a:pt x="576972" y="369543"/>
                </a:lnTo>
                <a:lnTo>
                  <a:pt x="567639" y="413163"/>
                </a:lnTo>
                <a:lnTo>
                  <a:pt x="550853" y="454541"/>
                </a:lnTo>
                <a:lnTo>
                  <a:pt x="526630" y="492612"/>
                </a:lnTo>
                <a:lnTo>
                  <a:pt x="494986" y="526311"/>
                </a:lnTo>
                <a:lnTo>
                  <a:pt x="457203" y="553784"/>
                </a:lnTo>
                <a:lnTo>
                  <a:pt x="416253" y="573280"/>
                </a:lnTo>
                <a:lnTo>
                  <a:pt x="373165" y="584905"/>
                </a:lnTo>
                <a:lnTo>
                  <a:pt x="328966" y="588762"/>
                </a:lnTo>
                <a:lnTo>
                  <a:pt x="515683" y="588762"/>
                </a:lnTo>
                <a:lnTo>
                  <a:pt x="568208" y="539986"/>
                </a:lnTo>
                <a:lnTo>
                  <a:pt x="594886" y="502400"/>
                </a:lnTo>
                <a:lnTo>
                  <a:pt x="615493" y="461876"/>
                </a:lnTo>
                <a:lnTo>
                  <a:pt x="629988" y="419112"/>
                </a:lnTo>
                <a:lnTo>
                  <a:pt x="638329" y="374804"/>
                </a:lnTo>
                <a:lnTo>
                  <a:pt x="640475" y="329650"/>
                </a:lnTo>
                <a:lnTo>
                  <a:pt x="636384" y="284347"/>
                </a:lnTo>
                <a:lnTo>
                  <a:pt x="626016" y="239592"/>
                </a:lnTo>
                <a:lnTo>
                  <a:pt x="609329" y="196084"/>
                </a:lnTo>
                <a:lnTo>
                  <a:pt x="586283" y="154518"/>
                </a:lnTo>
                <a:lnTo>
                  <a:pt x="556835" y="115593"/>
                </a:lnTo>
                <a:lnTo>
                  <a:pt x="522592" y="80967"/>
                </a:lnTo>
                <a:lnTo>
                  <a:pt x="497917" y="62312"/>
                </a:lnTo>
                <a:close/>
              </a:path>
            </a:pathLst>
          </a:custGeom>
          <a:solidFill>
            <a:srgbClr val="EBE8E7"/>
          </a:solidFill>
        </p:spPr>
        <p:txBody>
          <a:bodyPr wrap="square" lIns="0" tIns="0" rIns="0" bIns="0" rtlCol="0"/>
          <a:lstStyle/>
          <a:p>
            <a:endParaRPr/>
          </a:p>
        </p:txBody>
      </p:sp>
      <p:sp>
        <p:nvSpPr>
          <p:cNvPr id="45" name="object 45"/>
          <p:cNvSpPr/>
          <p:nvPr/>
        </p:nvSpPr>
        <p:spPr>
          <a:xfrm>
            <a:off x="4067615" y="3159101"/>
            <a:ext cx="640715" cy="650240"/>
          </a:xfrm>
          <a:custGeom>
            <a:avLst/>
            <a:gdLst/>
            <a:ahLst/>
            <a:cxnLst/>
            <a:rect l="l" t="t" r="r" b="b"/>
            <a:pathLst>
              <a:path w="640714" h="650239">
                <a:moveTo>
                  <a:pt x="105731" y="76985"/>
                </a:moveTo>
                <a:lnTo>
                  <a:pt x="72791" y="110562"/>
                </a:lnTo>
                <a:lnTo>
                  <a:pt x="45957" y="147914"/>
                </a:lnTo>
                <a:lnTo>
                  <a:pt x="25245" y="188317"/>
                </a:lnTo>
                <a:lnTo>
                  <a:pt x="10671" y="231049"/>
                </a:lnTo>
                <a:lnTo>
                  <a:pt x="2250" y="275387"/>
                </a:lnTo>
                <a:lnTo>
                  <a:pt x="0" y="320610"/>
                </a:lnTo>
                <a:lnTo>
                  <a:pt x="3935" y="365993"/>
                </a:lnTo>
                <a:lnTo>
                  <a:pt x="14072" y="410816"/>
                </a:lnTo>
                <a:lnTo>
                  <a:pt x="30427" y="454355"/>
                </a:lnTo>
                <a:lnTo>
                  <a:pt x="53016" y="495888"/>
                </a:lnTo>
                <a:lnTo>
                  <a:pt x="81855" y="534693"/>
                </a:lnTo>
                <a:lnTo>
                  <a:pt x="116440" y="569090"/>
                </a:lnTo>
                <a:lnTo>
                  <a:pt x="154414" y="597496"/>
                </a:lnTo>
                <a:lnTo>
                  <a:pt x="195090" y="619853"/>
                </a:lnTo>
                <a:lnTo>
                  <a:pt x="237783" y="636102"/>
                </a:lnTo>
                <a:lnTo>
                  <a:pt x="281808" y="646186"/>
                </a:lnTo>
                <a:lnTo>
                  <a:pt x="326477" y="650046"/>
                </a:lnTo>
                <a:lnTo>
                  <a:pt x="371106" y="647622"/>
                </a:lnTo>
                <a:lnTo>
                  <a:pt x="415009" y="638858"/>
                </a:lnTo>
                <a:lnTo>
                  <a:pt x="457499" y="623695"/>
                </a:lnTo>
                <a:lnTo>
                  <a:pt x="497891" y="602073"/>
                </a:lnTo>
                <a:lnTo>
                  <a:pt x="535499" y="573936"/>
                </a:lnTo>
                <a:lnTo>
                  <a:pt x="568208" y="539986"/>
                </a:lnTo>
                <a:lnTo>
                  <a:pt x="594886" y="502400"/>
                </a:lnTo>
                <a:lnTo>
                  <a:pt x="615493" y="461876"/>
                </a:lnTo>
                <a:lnTo>
                  <a:pt x="629988" y="419112"/>
                </a:lnTo>
                <a:lnTo>
                  <a:pt x="638329" y="374804"/>
                </a:lnTo>
                <a:lnTo>
                  <a:pt x="640475" y="329650"/>
                </a:lnTo>
                <a:lnTo>
                  <a:pt x="636384" y="284347"/>
                </a:lnTo>
                <a:lnTo>
                  <a:pt x="626016" y="239592"/>
                </a:lnTo>
                <a:lnTo>
                  <a:pt x="609329" y="196084"/>
                </a:lnTo>
                <a:lnTo>
                  <a:pt x="586283" y="154518"/>
                </a:lnTo>
                <a:lnTo>
                  <a:pt x="556835" y="115593"/>
                </a:lnTo>
                <a:lnTo>
                  <a:pt x="522592" y="80967"/>
                </a:lnTo>
                <a:lnTo>
                  <a:pt x="484838" y="52423"/>
                </a:lnTo>
                <a:lnTo>
                  <a:pt x="444290" y="30006"/>
                </a:lnTo>
                <a:lnTo>
                  <a:pt x="401670" y="13765"/>
                </a:lnTo>
                <a:lnTo>
                  <a:pt x="357696" y="3747"/>
                </a:lnTo>
                <a:lnTo>
                  <a:pt x="313088" y="0"/>
                </a:lnTo>
                <a:lnTo>
                  <a:pt x="268566" y="2570"/>
                </a:lnTo>
                <a:lnTo>
                  <a:pt x="224850" y="11507"/>
                </a:lnTo>
                <a:lnTo>
                  <a:pt x="182659" y="26856"/>
                </a:lnTo>
                <a:lnTo>
                  <a:pt x="142713" y="48666"/>
                </a:lnTo>
                <a:lnTo>
                  <a:pt x="105731" y="76985"/>
                </a:lnTo>
                <a:close/>
              </a:path>
            </a:pathLst>
          </a:custGeom>
          <a:ln w="6350">
            <a:solidFill>
              <a:srgbClr val="BEBEBE"/>
            </a:solidFill>
          </a:ln>
        </p:spPr>
        <p:txBody>
          <a:bodyPr wrap="square" lIns="0" tIns="0" rIns="0" bIns="0" rtlCol="0"/>
          <a:lstStyle/>
          <a:p>
            <a:endParaRPr/>
          </a:p>
        </p:txBody>
      </p:sp>
      <p:sp>
        <p:nvSpPr>
          <p:cNvPr id="46" name="object 46"/>
          <p:cNvSpPr/>
          <p:nvPr/>
        </p:nvSpPr>
        <p:spPr>
          <a:xfrm>
            <a:off x="4128457" y="3221414"/>
            <a:ext cx="518159" cy="527050"/>
          </a:xfrm>
          <a:custGeom>
            <a:avLst/>
            <a:gdLst/>
            <a:ahLst/>
            <a:cxnLst/>
            <a:rect l="l" t="t" r="r" b="b"/>
            <a:pathLst>
              <a:path w="518160" h="527050">
                <a:moveTo>
                  <a:pt x="434144" y="463998"/>
                </a:moveTo>
                <a:lnTo>
                  <a:pt x="396361" y="491471"/>
                </a:lnTo>
                <a:lnTo>
                  <a:pt x="355412" y="510968"/>
                </a:lnTo>
                <a:lnTo>
                  <a:pt x="312323" y="522592"/>
                </a:lnTo>
                <a:lnTo>
                  <a:pt x="268124" y="526450"/>
                </a:lnTo>
                <a:lnTo>
                  <a:pt x="223844" y="522644"/>
                </a:lnTo>
                <a:lnTo>
                  <a:pt x="180511" y="511280"/>
                </a:lnTo>
                <a:lnTo>
                  <a:pt x="139154" y="492462"/>
                </a:lnTo>
                <a:lnTo>
                  <a:pt x="100800" y="466295"/>
                </a:lnTo>
                <a:lnTo>
                  <a:pt x="66479" y="432883"/>
                </a:lnTo>
                <a:lnTo>
                  <a:pt x="38383" y="394051"/>
                </a:lnTo>
                <a:lnTo>
                  <a:pt x="17978" y="352172"/>
                </a:lnTo>
                <a:lnTo>
                  <a:pt x="5204" y="308301"/>
                </a:lnTo>
                <a:lnTo>
                  <a:pt x="0" y="263492"/>
                </a:lnTo>
                <a:lnTo>
                  <a:pt x="2304" y="218800"/>
                </a:lnTo>
                <a:lnTo>
                  <a:pt x="12057" y="175280"/>
                </a:lnTo>
                <a:lnTo>
                  <a:pt x="29199" y="133987"/>
                </a:lnTo>
                <a:lnTo>
                  <a:pt x="53667" y="95974"/>
                </a:lnTo>
                <a:lnTo>
                  <a:pt x="85402" y="62297"/>
                </a:lnTo>
                <a:lnTo>
                  <a:pt x="122692" y="35070"/>
                </a:lnTo>
                <a:lnTo>
                  <a:pt x="163184" y="15658"/>
                </a:lnTo>
                <a:lnTo>
                  <a:pt x="205855" y="3990"/>
                </a:lnTo>
                <a:lnTo>
                  <a:pt x="249683" y="0"/>
                </a:lnTo>
                <a:lnTo>
                  <a:pt x="293646" y="3616"/>
                </a:lnTo>
                <a:lnTo>
                  <a:pt x="336721" y="14771"/>
                </a:lnTo>
                <a:lnTo>
                  <a:pt x="377887" y="33396"/>
                </a:lnTo>
                <a:lnTo>
                  <a:pt x="416121" y="59421"/>
                </a:lnTo>
                <a:lnTo>
                  <a:pt x="450400" y="92777"/>
                </a:lnTo>
                <a:lnTo>
                  <a:pt x="478588" y="131631"/>
                </a:lnTo>
                <a:lnTo>
                  <a:pt x="499238" y="173569"/>
                </a:lnTo>
                <a:lnTo>
                  <a:pt x="512367" y="217524"/>
                </a:lnTo>
                <a:lnTo>
                  <a:pt x="517992" y="262433"/>
                </a:lnTo>
                <a:lnTo>
                  <a:pt x="516130" y="307231"/>
                </a:lnTo>
                <a:lnTo>
                  <a:pt x="506798" y="350851"/>
                </a:lnTo>
                <a:lnTo>
                  <a:pt x="490011" y="392229"/>
                </a:lnTo>
                <a:lnTo>
                  <a:pt x="465788" y="430300"/>
                </a:lnTo>
                <a:lnTo>
                  <a:pt x="434144" y="463998"/>
                </a:lnTo>
                <a:close/>
              </a:path>
            </a:pathLst>
          </a:custGeom>
          <a:ln w="6350">
            <a:solidFill>
              <a:srgbClr val="BEBEBE"/>
            </a:solidFill>
          </a:ln>
        </p:spPr>
        <p:txBody>
          <a:bodyPr wrap="square" lIns="0" tIns="0" rIns="0" bIns="0" rtlCol="0"/>
          <a:lstStyle/>
          <a:p>
            <a:endParaRPr/>
          </a:p>
        </p:txBody>
      </p:sp>
      <p:sp>
        <p:nvSpPr>
          <p:cNvPr id="47" name="object 47"/>
          <p:cNvSpPr/>
          <p:nvPr/>
        </p:nvSpPr>
        <p:spPr>
          <a:xfrm>
            <a:off x="4128563" y="3219858"/>
            <a:ext cx="518159" cy="527050"/>
          </a:xfrm>
          <a:custGeom>
            <a:avLst/>
            <a:gdLst/>
            <a:ahLst/>
            <a:cxnLst/>
            <a:rect l="l" t="t" r="r" b="b"/>
            <a:pathLst>
              <a:path w="518160" h="527050">
                <a:moveTo>
                  <a:pt x="249229" y="0"/>
                </a:moveTo>
                <a:lnTo>
                  <a:pt x="205410" y="3928"/>
                </a:lnTo>
                <a:lnTo>
                  <a:pt x="162758" y="15536"/>
                </a:lnTo>
                <a:lnTo>
                  <a:pt x="122295" y="34895"/>
                </a:lnTo>
                <a:lnTo>
                  <a:pt x="85042" y="62075"/>
                </a:lnTo>
                <a:lnTo>
                  <a:pt x="53358" y="95757"/>
                </a:lnTo>
                <a:lnTo>
                  <a:pt x="28955" y="133783"/>
                </a:lnTo>
                <a:lnTo>
                  <a:pt x="11890" y="175100"/>
                </a:lnTo>
                <a:lnTo>
                  <a:pt x="2220" y="218653"/>
                </a:lnTo>
                <a:lnTo>
                  <a:pt x="0" y="263388"/>
                </a:lnTo>
                <a:lnTo>
                  <a:pt x="5286" y="308248"/>
                </a:lnTo>
                <a:lnTo>
                  <a:pt x="18137" y="352181"/>
                </a:lnTo>
                <a:lnTo>
                  <a:pt x="38608" y="394130"/>
                </a:lnTo>
                <a:lnTo>
                  <a:pt x="66754" y="433042"/>
                </a:lnTo>
                <a:lnTo>
                  <a:pt x="101075" y="466534"/>
                </a:lnTo>
                <a:lnTo>
                  <a:pt x="139427" y="492773"/>
                </a:lnTo>
                <a:lnTo>
                  <a:pt x="180782" y="511655"/>
                </a:lnTo>
                <a:lnTo>
                  <a:pt x="224108" y="523077"/>
                </a:lnTo>
                <a:lnTo>
                  <a:pt x="268378" y="526936"/>
                </a:lnTo>
                <a:lnTo>
                  <a:pt x="312561" y="523127"/>
                </a:lnTo>
                <a:lnTo>
                  <a:pt x="355627" y="511549"/>
                </a:lnTo>
                <a:lnTo>
                  <a:pt x="396548" y="492096"/>
                </a:lnTo>
                <a:lnTo>
                  <a:pt x="434292" y="464665"/>
                </a:lnTo>
                <a:lnTo>
                  <a:pt x="465890" y="430966"/>
                </a:lnTo>
                <a:lnTo>
                  <a:pt x="490059" y="392892"/>
                </a:lnTo>
                <a:lnTo>
                  <a:pt x="506786" y="351503"/>
                </a:lnTo>
                <a:lnTo>
                  <a:pt x="516056" y="307864"/>
                </a:lnTo>
                <a:lnTo>
                  <a:pt x="517855" y="263035"/>
                </a:lnTo>
                <a:lnTo>
                  <a:pt x="512167" y="218078"/>
                </a:lnTo>
                <a:lnTo>
                  <a:pt x="498978" y="174056"/>
                </a:lnTo>
                <a:lnTo>
                  <a:pt x="478275" y="132030"/>
                </a:lnTo>
                <a:lnTo>
                  <a:pt x="450040" y="93063"/>
                </a:lnTo>
                <a:lnTo>
                  <a:pt x="415723" y="59660"/>
                </a:lnTo>
                <a:lnTo>
                  <a:pt x="377461" y="33581"/>
                </a:lnTo>
                <a:lnTo>
                  <a:pt x="336277" y="14897"/>
                </a:lnTo>
                <a:lnTo>
                  <a:pt x="293192" y="3680"/>
                </a:lnTo>
                <a:lnTo>
                  <a:pt x="249229" y="0"/>
                </a:lnTo>
                <a:close/>
              </a:path>
            </a:pathLst>
          </a:custGeom>
          <a:solidFill>
            <a:srgbClr val="BBE7FF"/>
          </a:solidFill>
        </p:spPr>
        <p:txBody>
          <a:bodyPr wrap="square" lIns="0" tIns="0" rIns="0" bIns="0" rtlCol="0"/>
          <a:lstStyle/>
          <a:p>
            <a:endParaRPr/>
          </a:p>
        </p:txBody>
      </p:sp>
      <p:sp>
        <p:nvSpPr>
          <p:cNvPr id="48" name="object 48"/>
          <p:cNvSpPr/>
          <p:nvPr/>
        </p:nvSpPr>
        <p:spPr>
          <a:xfrm>
            <a:off x="4128657" y="3213968"/>
            <a:ext cx="295275" cy="527050"/>
          </a:xfrm>
          <a:custGeom>
            <a:avLst/>
            <a:gdLst/>
            <a:ahLst/>
            <a:cxnLst/>
            <a:rect l="l" t="t" r="r" b="b"/>
            <a:pathLst>
              <a:path w="295275" h="527050">
                <a:moveTo>
                  <a:pt x="250374" y="0"/>
                </a:moveTo>
                <a:lnTo>
                  <a:pt x="206015" y="3428"/>
                </a:lnTo>
                <a:lnTo>
                  <a:pt x="162967" y="14843"/>
                </a:lnTo>
                <a:lnTo>
                  <a:pt x="122266" y="34335"/>
                </a:lnTo>
                <a:lnTo>
                  <a:pt x="84948" y="61996"/>
                </a:lnTo>
                <a:lnTo>
                  <a:pt x="53302" y="95597"/>
                </a:lnTo>
                <a:lnTo>
                  <a:pt x="28927" y="133553"/>
                </a:lnTo>
                <a:lnTo>
                  <a:pt x="11881" y="174809"/>
                </a:lnTo>
                <a:lnTo>
                  <a:pt x="2220" y="218311"/>
                </a:lnTo>
                <a:lnTo>
                  <a:pt x="0" y="263003"/>
                </a:lnTo>
                <a:lnTo>
                  <a:pt x="5277" y="307830"/>
                </a:lnTo>
                <a:lnTo>
                  <a:pt x="18109" y="351739"/>
                </a:lnTo>
                <a:lnTo>
                  <a:pt x="38551" y="393675"/>
                </a:lnTo>
                <a:lnTo>
                  <a:pt x="66660" y="432582"/>
                </a:lnTo>
                <a:lnTo>
                  <a:pt x="101555" y="466080"/>
                </a:lnTo>
                <a:lnTo>
                  <a:pt x="140320" y="492300"/>
                </a:lnTo>
                <a:lnTo>
                  <a:pt x="181921" y="511156"/>
                </a:lnTo>
                <a:lnTo>
                  <a:pt x="225319" y="522563"/>
                </a:lnTo>
                <a:lnTo>
                  <a:pt x="269479" y="526435"/>
                </a:lnTo>
                <a:lnTo>
                  <a:pt x="226452" y="514882"/>
                </a:lnTo>
                <a:lnTo>
                  <a:pt x="185390" y="495923"/>
                </a:lnTo>
                <a:lnTo>
                  <a:pt x="147446" y="469678"/>
                </a:lnTo>
                <a:lnTo>
                  <a:pt x="113777" y="436265"/>
                </a:lnTo>
                <a:lnTo>
                  <a:pt x="85618" y="397395"/>
                </a:lnTo>
                <a:lnTo>
                  <a:pt x="65050" y="355554"/>
                </a:lnTo>
                <a:lnTo>
                  <a:pt x="52055" y="311767"/>
                </a:lnTo>
                <a:lnTo>
                  <a:pt x="46615" y="267062"/>
                </a:lnTo>
                <a:lnTo>
                  <a:pt x="48709" y="222464"/>
                </a:lnTo>
                <a:lnTo>
                  <a:pt x="58321" y="179000"/>
                </a:lnTo>
                <a:lnTo>
                  <a:pt x="75430" y="137697"/>
                </a:lnTo>
                <a:lnTo>
                  <a:pt x="100017" y="99581"/>
                </a:lnTo>
                <a:lnTo>
                  <a:pt x="132065" y="65679"/>
                </a:lnTo>
                <a:lnTo>
                  <a:pt x="168669" y="38255"/>
                </a:lnTo>
                <a:lnTo>
                  <a:pt x="208773" y="18975"/>
                </a:lnTo>
                <a:lnTo>
                  <a:pt x="251259" y="7743"/>
                </a:lnTo>
                <a:lnTo>
                  <a:pt x="295006" y="4465"/>
                </a:lnTo>
                <a:lnTo>
                  <a:pt x="250374" y="0"/>
                </a:lnTo>
                <a:close/>
              </a:path>
            </a:pathLst>
          </a:custGeom>
          <a:solidFill>
            <a:srgbClr val="12ABDB"/>
          </a:solidFill>
        </p:spPr>
        <p:txBody>
          <a:bodyPr wrap="square" lIns="0" tIns="0" rIns="0" bIns="0" rtlCol="0"/>
          <a:lstStyle/>
          <a:p>
            <a:endParaRPr/>
          </a:p>
        </p:txBody>
      </p:sp>
      <p:sp>
        <p:nvSpPr>
          <p:cNvPr id="49" name="object 49"/>
          <p:cNvSpPr/>
          <p:nvPr/>
        </p:nvSpPr>
        <p:spPr>
          <a:xfrm>
            <a:off x="4368672" y="3111880"/>
            <a:ext cx="439420" cy="775335"/>
          </a:xfrm>
          <a:custGeom>
            <a:avLst/>
            <a:gdLst/>
            <a:ahLst/>
            <a:cxnLst/>
            <a:rect l="l" t="t" r="r" b="b"/>
            <a:pathLst>
              <a:path w="439420" h="775335">
                <a:moveTo>
                  <a:pt x="0" y="769620"/>
                </a:moveTo>
                <a:lnTo>
                  <a:pt x="47212" y="775142"/>
                </a:lnTo>
                <a:lnTo>
                  <a:pt x="94487" y="774812"/>
                </a:lnTo>
                <a:lnTo>
                  <a:pt x="129492" y="770177"/>
                </a:lnTo>
                <a:lnTo>
                  <a:pt x="47319" y="770177"/>
                </a:lnTo>
                <a:lnTo>
                  <a:pt x="0" y="769620"/>
                </a:lnTo>
                <a:close/>
              </a:path>
              <a:path w="439420" h="775335">
                <a:moveTo>
                  <a:pt x="336825" y="133350"/>
                </a:moveTo>
                <a:lnTo>
                  <a:pt x="299974" y="133350"/>
                </a:lnTo>
                <a:lnTo>
                  <a:pt x="300989" y="135001"/>
                </a:lnTo>
                <a:lnTo>
                  <a:pt x="309110" y="145293"/>
                </a:lnTo>
                <a:lnTo>
                  <a:pt x="316801" y="155908"/>
                </a:lnTo>
                <a:lnTo>
                  <a:pt x="355355" y="218786"/>
                </a:lnTo>
                <a:lnTo>
                  <a:pt x="373942" y="261662"/>
                </a:lnTo>
                <a:lnTo>
                  <a:pt x="387254" y="305810"/>
                </a:lnTo>
                <a:lnTo>
                  <a:pt x="395318" y="350736"/>
                </a:lnTo>
                <a:lnTo>
                  <a:pt x="398156" y="395950"/>
                </a:lnTo>
                <a:lnTo>
                  <a:pt x="395795" y="440959"/>
                </a:lnTo>
                <a:lnTo>
                  <a:pt x="388258" y="485273"/>
                </a:lnTo>
                <a:lnTo>
                  <a:pt x="375571" y="528399"/>
                </a:lnTo>
                <a:lnTo>
                  <a:pt x="357759" y="569847"/>
                </a:lnTo>
                <a:lnTo>
                  <a:pt x="334844" y="609123"/>
                </a:lnTo>
                <a:lnTo>
                  <a:pt x="306854" y="645736"/>
                </a:lnTo>
                <a:lnTo>
                  <a:pt x="273812" y="679196"/>
                </a:lnTo>
                <a:lnTo>
                  <a:pt x="233934" y="710184"/>
                </a:lnTo>
                <a:lnTo>
                  <a:pt x="198143" y="730936"/>
                </a:lnTo>
                <a:lnTo>
                  <a:pt x="186562" y="736854"/>
                </a:lnTo>
                <a:lnTo>
                  <a:pt x="185038" y="737870"/>
                </a:lnTo>
                <a:lnTo>
                  <a:pt x="183514" y="739013"/>
                </a:lnTo>
                <a:lnTo>
                  <a:pt x="139338" y="754671"/>
                </a:lnTo>
                <a:lnTo>
                  <a:pt x="93852" y="765127"/>
                </a:lnTo>
                <a:lnTo>
                  <a:pt x="47319" y="770177"/>
                </a:lnTo>
                <a:lnTo>
                  <a:pt x="129492" y="770177"/>
                </a:lnTo>
                <a:lnTo>
                  <a:pt x="186943" y="756553"/>
                </a:lnTo>
                <a:lnTo>
                  <a:pt x="230981" y="738602"/>
                </a:lnTo>
                <a:lnTo>
                  <a:pt x="272796" y="714756"/>
                </a:lnTo>
                <a:lnTo>
                  <a:pt x="312674" y="683768"/>
                </a:lnTo>
                <a:lnTo>
                  <a:pt x="346286" y="649954"/>
                </a:lnTo>
                <a:lnTo>
                  <a:pt x="374771" y="612916"/>
                </a:lnTo>
                <a:lnTo>
                  <a:pt x="398096" y="573157"/>
                </a:lnTo>
                <a:lnTo>
                  <a:pt x="416228" y="531183"/>
                </a:lnTo>
                <a:lnTo>
                  <a:pt x="429135" y="487497"/>
                </a:lnTo>
                <a:lnTo>
                  <a:pt x="436783" y="442603"/>
                </a:lnTo>
                <a:lnTo>
                  <a:pt x="439141" y="397007"/>
                </a:lnTo>
                <a:lnTo>
                  <a:pt x="436176" y="351212"/>
                </a:lnTo>
                <a:lnTo>
                  <a:pt x="427855" y="305722"/>
                </a:lnTo>
                <a:lnTo>
                  <a:pt x="414145" y="261042"/>
                </a:lnTo>
                <a:lnTo>
                  <a:pt x="395014" y="217677"/>
                </a:lnTo>
                <a:lnTo>
                  <a:pt x="370430" y="176130"/>
                </a:lnTo>
                <a:lnTo>
                  <a:pt x="340360" y="136906"/>
                </a:lnTo>
                <a:lnTo>
                  <a:pt x="336825" y="133350"/>
                </a:lnTo>
                <a:close/>
              </a:path>
              <a:path w="439420" h="775335">
                <a:moveTo>
                  <a:pt x="328116" y="124587"/>
                </a:moveTo>
                <a:lnTo>
                  <a:pt x="291973" y="124587"/>
                </a:lnTo>
                <a:lnTo>
                  <a:pt x="292988" y="126238"/>
                </a:lnTo>
                <a:lnTo>
                  <a:pt x="294131" y="127889"/>
                </a:lnTo>
                <a:lnTo>
                  <a:pt x="295148" y="129540"/>
                </a:lnTo>
                <a:lnTo>
                  <a:pt x="296290" y="131064"/>
                </a:lnTo>
                <a:lnTo>
                  <a:pt x="298323" y="134366"/>
                </a:lnTo>
                <a:lnTo>
                  <a:pt x="299974" y="133350"/>
                </a:lnTo>
                <a:lnTo>
                  <a:pt x="336825" y="133350"/>
                </a:lnTo>
                <a:lnTo>
                  <a:pt x="328116" y="124587"/>
                </a:lnTo>
                <a:close/>
              </a:path>
              <a:path w="439420" h="775335">
                <a:moveTo>
                  <a:pt x="319534" y="115951"/>
                </a:moveTo>
                <a:lnTo>
                  <a:pt x="283972" y="115951"/>
                </a:lnTo>
                <a:lnTo>
                  <a:pt x="284988" y="117602"/>
                </a:lnTo>
                <a:lnTo>
                  <a:pt x="286130" y="119253"/>
                </a:lnTo>
                <a:lnTo>
                  <a:pt x="287147" y="120777"/>
                </a:lnTo>
                <a:lnTo>
                  <a:pt x="288289" y="122428"/>
                </a:lnTo>
                <a:lnTo>
                  <a:pt x="290322" y="125730"/>
                </a:lnTo>
                <a:lnTo>
                  <a:pt x="291973" y="124587"/>
                </a:lnTo>
                <a:lnTo>
                  <a:pt x="328116" y="124587"/>
                </a:lnTo>
                <a:lnTo>
                  <a:pt x="319534" y="115951"/>
                </a:lnTo>
                <a:close/>
              </a:path>
              <a:path w="439420" h="775335">
                <a:moveTo>
                  <a:pt x="314106" y="110490"/>
                </a:moveTo>
                <a:lnTo>
                  <a:pt x="278129" y="110490"/>
                </a:lnTo>
                <a:lnTo>
                  <a:pt x="279146" y="112141"/>
                </a:lnTo>
                <a:lnTo>
                  <a:pt x="280288" y="113792"/>
                </a:lnTo>
                <a:lnTo>
                  <a:pt x="281304" y="115316"/>
                </a:lnTo>
                <a:lnTo>
                  <a:pt x="282448" y="116967"/>
                </a:lnTo>
                <a:lnTo>
                  <a:pt x="283972" y="115951"/>
                </a:lnTo>
                <a:lnTo>
                  <a:pt x="319534" y="115951"/>
                </a:lnTo>
                <a:lnTo>
                  <a:pt x="314106" y="110490"/>
                </a:lnTo>
                <a:close/>
              </a:path>
              <a:path w="439420" h="775335">
                <a:moveTo>
                  <a:pt x="36956" y="0"/>
                </a:moveTo>
                <a:lnTo>
                  <a:pt x="87835" y="7571"/>
                </a:lnTo>
                <a:lnTo>
                  <a:pt x="137780" y="22226"/>
                </a:lnTo>
                <a:lnTo>
                  <a:pt x="185921" y="43763"/>
                </a:lnTo>
                <a:lnTo>
                  <a:pt x="231386" y="71981"/>
                </a:lnTo>
                <a:lnTo>
                  <a:pt x="273303" y="106680"/>
                </a:lnTo>
                <a:lnTo>
                  <a:pt x="275463" y="109982"/>
                </a:lnTo>
                <a:lnTo>
                  <a:pt x="276605" y="111506"/>
                </a:lnTo>
                <a:lnTo>
                  <a:pt x="278129" y="110490"/>
                </a:lnTo>
                <a:lnTo>
                  <a:pt x="314106" y="110490"/>
                </a:lnTo>
                <a:lnTo>
                  <a:pt x="303659" y="99977"/>
                </a:lnTo>
                <a:lnTo>
                  <a:pt x="263814" y="68709"/>
                </a:lnTo>
                <a:lnTo>
                  <a:pt x="221384" y="43180"/>
                </a:lnTo>
                <a:lnTo>
                  <a:pt x="176926" y="23466"/>
                </a:lnTo>
                <a:lnTo>
                  <a:pt x="130996" y="9646"/>
                </a:lnTo>
                <a:lnTo>
                  <a:pt x="84154" y="1798"/>
                </a:lnTo>
                <a:lnTo>
                  <a:pt x="36956" y="0"/>
                </a:lnTo>
                <a:close/>
              </a:path>
            </a:pathLst>
          </a:custGeom>
          <a:solidFill>
            <a:srgbClr val="A6A6A6"/>
          </a:solidFill>
        </p:spPr>
        <p:txBody>
          <a:bodyPr wrap="square" lIns="0" tIns="0" rIns="0" bIns="0" rtlCol="0"/>
          <a:lstStyle/>
          <a:p>
            <a:endParaRPr/>
          </a:p>
        </p:txBody>
      </p:sp>
      <p:sp>
        <p:nvSpPr>
          <p:cNvPr id="50" name="object 50"/>
          <p:cNvSpPr/>
          <p:nvPr/>
        </p:nvSpPr>
        <p:spPr>
          <a:xfrm>
            <a:off x="4262628" y="3358896"/>
            <a:ext cx="249936" cy="249935"/>
          </a:xfrm>
          <a:prstGeom prst="rect">
            <a:avLst/>
          </a:prstGeom>
          <a:blipFill>
            <a:blip r:embed="rId6" cstate="print"/>
            <a:stretch>
              <a:fillRect/>
            </a:stretch>
          </a:blipFill>
        </p:spPr>
        <p:txBody>
          <a:bodyPr wrap="square" lIns="0" tIns="0" rIns="0" bIns="0" rtlCol="0"/>
          <a:lstStyle/>
          <a:p>
            <a:endParaRPr/>
          </a:p>
        </p:txBody>
      </p:sp>
      <p:sp>
        <p:nvSpPr>
          <p:cNvPr id="51" name="object 51"/>
          <p:cNvSpPr/>
          <p:nvPr/>
        </p:nvSpPr>
        <p:spPr>
          <a:xfrm>
            <a:off x="4759452" y="3953255"/>
            <a:ext cx="4788535" cy="685800"/>
          </a:xfrm>
          <a:custGeom>
            <a:avLst/>
            <a:gdLst/>
            <a:ahLst/>
            <a:cxnLst/>
            <a:rect l="l" t="t" r="r" b="b"/>
            <a:pathLst>
              <a:path w="4788534" h="685800">
                <a:moveTo>
                  <a:pt x="0" y="114300"/>
                </a:moveTo>
                <a:lnTo>
                  <a:pt x="8983" y="69812"/>
                </a:lnTo>
                <a:lnTo>
                  <a:pt x="33480" y="33480"/>
                </a:lnTo>
                <a:lnTo>
                  <a:pt x="69812" y="8983"/>
                </a:lnTo>
                <a:lnTo>
                  <a:pt x="114300" y="0"/>
                </a:lnTo>
                <a:lnTo>
                  <a:pt x="4674108" y="0"/>
                </a:lnTo>
                <a:lnTo>
                  <a:pt x="4718595" y="8983"/>
                </a:lnTo>
                <a:lnTo>
                  <a:pt x="4754927" y="33480"/>
                </a:lnTo>
                <a:lnTo>
                  <a:pt x="4779424" y="69812"/>
                </a:lnTo>
                <a:lnTo>
                  <a:pt x="4788408" y="114300"/>
                </a:lnTo>
                <a:lnTo>
                  <a:pt x="4788408" y="571500"/>
                </a:lnTo>
                <a:lnTo>
                  <a:pt x="4779424" y="615987"/>
                </a:lnTo>
                <a:lnTo>
                  <a:pt x="4754927" y="652319"/>
                </a:lnTo>
                <a:lnTo>
                  <a:pt x="4718595" y="676816"/>
                </a:lnTo>
                <a:lnTo>
                  <a:pt x="4674108" y="685800"/>
                </a:lnTo>
                <a:lnTo>
                  <a:pt x="114300" y="685800"/>
                </a:lnTo>
                <a:lnTo>
                  <a:pt x="69812" y="676816"/>
                </a:lnTo>
                <a:lnTo>
                  <a:pt x="33480" y="652319"/>
                </a:lnTo>
                <a:lnTo>
                  <a:pt x="8983" y="615987"/>
                </a:lnTo>
                <a:lnTo>
                  <a:pt x="0" y="571500"/>
                </a:lnTo>
                <a:lnTo>
                  <a:pt x="0" y="114300"/>
                </a:lnTo>
                <a:close/>
              </a:path>
            </a:pathLst>
          </a:custGeom>
          <a:ln w="12192">
            <a:solidFill>
              <a:srgbClr val="12ABDB"/>
            </a:solidFill>
          </a:ln>
        </p:spPr>
        <p:txBody>
          <a:bodyPr wrap="square" lIns="0" tIns="0" rIns="0" bIns="0" rtlCol="0"/>
          <a:lstStyle/>
          <a:p>
            <a:endParaRPr/>
          </a:p>
        </p:txBody>
      </p:sp>
      <p:sp>
        <p:nvSpPr>
          <p:cNvPr id="52" name="object 52"/>
          <p:cNvSpPr/>
          <p:nvPr/>
        </p:nvSpPr>
        <p:spPr>
          <a:xfrm>
            <a:off x="4226238" y="3971139"/>
            <a:ext cx="640715" cy="650240"/>
          </a:xfrm>
          <a:custGeom>
            <a:avLst/>
            <a:gdLst/>
            <a:ahLst/>
            <a:cxnLst/>
            <a:rect l="l" t="t" r="r" b="b"/>
            <a:pathLst>
              <a:path w="640714" h="650239">
                <a:moveTo>
                  <a:pt x="313088" y="0"/>
                </a:moveTo>
                <a:lnTo>
                  <a:pt x="268566" y="2570"/>
                </a:lnTo>
                <a:lnTo>
                  <a:pt x="224850" y="11507"/>
                </a:lnTo>
                <a:lnTo>
                  <a:pt x="182659" y="26856"/>
                </a:lnTo>
                <a:lnTo>
                  <a:pt x="142713" y="48666"/>
                </a:lnTo>
                <a:lnTo>
                  <a:pt x="105731" y="76985"/>
                </a:lnTo>
                <a:lnTo>
                  <a:pt x="72791" y="110562"/>
                </a:lnTo>
                <a:lnTo>
                  <a:pt x="45957" y="147914"/>
                </a:lnTo>
                <a:lnTo>
                  <a:pt x="25245" y="188317"/>
                </a:lnTo>
                <a:lnTo>
                  <a:pt x="10671" y="231049"/>
                </a:lnTo>
                <a:lnTo>
                  <a:pt x="2250" y="275387"/>
                </a:lnTo>
                <a:lnTo>
                  <a:pt x="0" y="320610"/>
                </a:lnTo>
                <a:lnTo>
                  <a:pt x="3935" y="365993"/>
                </a:lnTo>
                <a:lnTo>
                  <a:pt x="14072" y="410816"/>
                </a:lnTo>
                <a:lnTo>
                  <a:pt x="30427" y="454355"/>
                </a:lnTo>
                <a:lnTo>
                  <a:pt x="53016" y="495888"/>
                </a:lnTo>
                <a:lnTo>
                  <a:pt x="81855" y="534693"/>
                </a:lnTo>
                <a:lnTo>
                  <a:pt x="116440" y="569090"/>
                </a:lnTo>
                <a:lnTo>
                  <a:pt x="154414" y="597496"/>
                </a:lnTo>
                <a:lnTo>
                  <a:pt x="195090" y="619853"/>
                </a:lnTo>
                <a:lnTo>
                  <a:pt x="237783" y="636102"/>
                </a:lnTo>
                <a:lnTo>
                  <a:pt x="281808" y="646186"/>
                </a:lnTo>
                <a:lnTo>
                  <a:pt x="326477" y="650046"/>
                </a:lnTo>
                <a:lnTo>
                  <a:pt x="371106" y="647622"/>
                </a:lnTo>
                <a:lnTo>
                  <a:pt x="415009" y="638858"/>
                </a:lnTo>
                <a:lnTo>
                  <a:pt x="457499" y="623695"/>
                </a:lnTo>
                <a:lnTo>
                  <a:pt x="497891" y="602073"/>
                </a:lnTo>
                <a:lnTo>
                  <a:pt x="515683" y="588762"/>
                </a:lnTo>
                <a:lnTo>
                  <a:pt x="328966" y="588762"/>
                </a:lnTo>
                <a:lnTo>
                  <a:pt x="284686" y="584956"/>
                </a:lnTo>
                <a:lnTo>
                  <a:pt x="241353" y="573592"/>
                </a:lnTo>
                <a:lnTo>
                  <a:pt x="199995" y="554775"/>
                </a:lnTo>
                <a:lnTo>
                  <a:pt x="161642" y="528608"/>
                </a:lnTo>
                <a:lnTo>
                  <a:pt x="127321" y="495196"/>
                </a:lnTo>
                <a:lnTo>
                  <a:pt x="99225" y="456364"/>
                </a:lnTo>
                <a:lnTo>
                  <a:pt x="78820" y="414485"/>
                </a:lnTo>
                <a:lnTo>
                  <a:pt x="66046" y="370613"/>
                </a:lnTo>
                <a:lnTo>
                  <a:pt x="60841" y="325805"/>
                </a:lnTo>
                <a:lnTo>
                  <a:pt x="63146" y="281113"/>
                </a:lnTo>
                <a:lnTo>
                  <a:pt x="72899" y="237593"/>
                </a:lnTo>
                <a:lnTo>
                  <a:pt x="90040" y="196299"/>
                </a:lnTo>
                <a:lnTo>
                  <a:pt x="114509" y="158287"/>
                </a:lnTo>
                <a:lnTo>
                  <a:pt x="146244" y="124610"/>
                </a:lnTo>
                <a:lnTo>
                  <a:pt x="183534" y="97383"/>
                </a:lnTo>
                <a:lnTo>
                  <a:pt x="224025" y="77970"/>
                </a:lnTo>
                <a:lnTo>
                  <a:pt x="266696" y="66303"/>
                </a:lnTo>
                <a:lnTo>
                  <a:pt x="310524" y="62312"/>
                </a:lnTo>
                <a:lnTo>
                  <a:pt x="497917" y="62312"/>
                </a:lnTo>
                <a:lnTo>
                  <a:pt x="484838" y="52423"/>
                </a:lnTo>
                <a:lnTo>
                  <a:pt x="444290" y="30006"/>
                </a:lnTo>
                <a:lnTo>
                  <a:pt x="401670" y="13765"/>
                </a:lnTo>
                <a:lnTo>
                  <a:pt x="357696" y="3747"/>
                </a:lnTo>
                <a:lnTo>
                  <a:pt x="313088" y="0"/>
                </a:lnTo>
                <a:close/>
              </a:path>
              <a:path w="640714" h="650239">
                <a:moveTo>
                  <a:pt x="497917" y="62312"/>
                </a:moveTo>
                <a:lnTo>
                  <a:pt x="310524" y="62312"/>
                </a:lnTo>
                <a:lnTo>
                  <a:pt x="354487" y="65928"/>
                </a:lnTo>
                <a:lnTo>
                  <a:pt x="397563" y="77084"/>
                </a:lnTo>
                <a:lnTo>
                  <a:pt x="438729" y="95708"/>
                </a:lnTo>
                <a:lnTo>
                  <a:pt x="476962" y="121733"/>
                </a:lnTo>
                <a:lnTo>
                  <a:pt x="511242" y="155090"/>
                </a:lnTo>
                <a:lnTo>
                  <a:pt x="539429" y="193944"/>
                </a:lnTo>
                <a:lnTo>
                  <a:pt x="560079" y="235881"/>
                </a:lnTo>
                <a:lnTo>
                  <a:pt x="573208" y="279837"/>
                </a:lnTo>
                <a:lnTo>
                  <a:pt x="578834" y="324746"/>
                </a:lnTo>
                <a:lnTo>
                  <a:pt x="576972" y="369543"/>
                </a:lnTo>
                <a:lnTo>
                  <a:pt x="567639" y="413163"/>
                </a:lnTo>
                <a:lnTo>
                  <a:pt x="550853" y="454541"/>
                </a:lnTo>
                <a:lnTo>
                  <a:pt x="526630" y="492612"/>
                </a:lnTo>
                <a:lnTo>
                  <a:pt x="494986" y="526311"/>
                </a:lnTo>
                <a:lnTo>
                  <a:pt x="457203" y="553784"/>
                </a:lnTo>
                <a:lnTo>
                  <a:pt x="416253" y="573280"/>
                </a:lnTo>
                <a:lnTo>
                  <a:pt x="373165" y="584905"/>
                </a:lnTo>
                <a:lnTo>
                  <a:pt x="328966" y="588762"/>
                </a:lnTo>
                <a:lnTo>
                  <a:pt x="515683" y="588762"/>
                </a:lnTo>
                <a:lnTo>
                  <a:pt x="568208" y="539986"/>
                </a:lnTo>
                <a:lnTo>
                  <a:pt x="594886" y="502400"/>
                </a:lnTo>
                <a:lnTo>
                  <a:pt x="615493" y="461876"/>
                </a:lnTo>
                <a:lnTo>
                  <a:pt x="629988" y="419112"/>
                </a:lnTo>
                <a:lnTo>
                  <a:pt x="638329" y="374804"/>
                </a:lnTo>
                <a:lnTo>
                  <a:pt x="640475" y="329650"/>
                </a:lnTo>
                <a:lnTo>
                  <a:pt x="636384" y="284347"/>
                </a:lnTo>
                <a:lnTo>
                  <a:pt x="626016" y="239592"/>
                </a:lnTo>
                <a:lnTo>
                  <a:pt x="609329" y="196084"/>
                </a:lnTo>
                <a:lnTo>
                  <a:pt x="586283" y="154518"/>
                </a:lnTo>
                <a:lnTo>
                  <a:pt x="556835" y="115593"/>
                </a:lnTo>
                <a:lnTo>
                  <a:pt x="522592" y="80967"/>
                </a:lnTo>
                <a:lnTo>
                  <a:pt x="497917" y="62312"/>
                </a:lnTo>
                <a:close/>
              </a:path>
            </a:pathLst>
          </a:custGeom>
          <a:solidFill>
            <a:srgbClr val="EBE8E7"/>
          </a:solidFill>
        </p:spPr>
        <p:txBody>
          <a:bodyPr wrap="square" lIns="0" tIns="0" rIns="0" bIns="0" rtlCol="0"/>
          <a:lstStyle/>
          <a:p>
            <a:endParaRPr/>
          </a:p>
        </p:txBody>
      </p:sp>
      <p:sp>
        <p:nvSpPr>
          <p:cNvPr id="53" name="object 53"/>
          <p:cNvSpPr/>
          <p:nvPr/>
        </p:nvSpPr>
        <p:spPr>
          <a:xfrm>
            <a:off x="4226238" y="3971139"/>
            <a:ext cx="640715" cy="650240"/>
          </a:xfrm>
          <a:custGeom>
            <a:avLst/>
            <a:gdLst/>
            <a:ahLst/>
            <a:cxnLst/>
            <a:rect l="l" t="t" r="r" b="b"/>
            <a:pathLst>
              <a:path w="640714" h="650239">
                <a:moveTo>
                  <a:pt x="105731" y="76985"/>
                </a:moveTo>
                <a:lnTo>
                  <a:pt x="72791" y="110562"/>
                </a:lnTo>
                <a:lnTo>
                  <a:pt x="45957" y="147914"/>
                </a:lnTo>
                <a:lnTo>
                  <a:pt x="25245" y="188317"/>
                </a:lnTo>
                <a:lnTo>
                  <a:pt x="10671" y="231049"/>
                </a:lnTo>
                <a:lnTo>
                  <a:pt x="2250" y="275387"/>
                </a:lnTo>
                <a:lnTo>
                  <a:pt x="0" y="320610"/>
                </a:lnTo>
                <a:lnTo>
                  <a:pt x="3935" y="365993"/>
                </a:lnTo>
                <a:lnTo>
                  <a:pt x="14072" y="410816"/>
                </a:lnTo>
                <a:lnTo>
                  <a:pt x="30427" y="454355"/>
                </a:lnTo>
                <a:lnTo>
                  <a:pt x="53016" y="495888"/>
                </a:lnTo>
                <a:lnTo>
                  <a:pt x="81855" y="534693"/>
                </a:lnTo>
                <a:lnTo>
                  <a:pt x="116440" y="569090"/>
                </a:lnTo>
                <a:lnTo>
                  <a:pt x="154414" y="597496"/>
                </a:lnTo>
                <a:lnTo>
                  <a:pt x="195090" y="619853"/>
                </a:lnTo>
                <a:lnTo>
                  <a:pt x="237783" y="636102"/>
                </a:lnTo>
                <a:lnTo>
                  <a:pt x="281808" y="646186"/>
                </a:lnTo>
                <a:lnTo>
                  <a:pt x="326477" y="650046"/>
                </a:lnTo>
                <a:lnTo>
                  <a:pt x="371106" y="647622"/>
                </a:lnTo>
                <a:lnTo>
                  <a:pt x="415009" y="638858"/>
                </a:lnTo>
                <a:lnTo>
                  <a:pt x="457499" y="623695"/>
                </a:lnTo>
                <a:lnTo>
                  <a:pt x="497891" y="602073"/>
                </a:lnTo>
                <a:lnTo>
                  <a:pt x="535499" y="573936"/>
                </a:lnTo>
                <a:lnTo>
                  <a:pt x="568208" y="539986"/>
                </a:lnTo>
                <a:lnTo>
                  <a:pt x="594886" y="502400"/>
                </a:lnTo>
                <a:lnTo>
                  <a:pt x="615493" y="461876"/>
                </a:lnTo>
                <a:lnTo>
                  <a:pt x="629988" y="419112"/>
                </a:lnTo>
                <a:lnTo>
                  <a:pt x="638329" y="374804"/>
                </a:lnTo>
                <a:lnTo>
                  <a:pt x="640475" y="329650"/>
                </a:lnTo>
                <a:lnTo>
                  <a:pt x="636384" y="284347"/>
                </a:lnTo>
                <a:lnTo>
                  <a:pt x="626016" y="239592"/>
                </a:lnTo>
                <a:lnTo>
                  <a:pt x="609329" y="196084"/>
                </a:lnTo>
                <a:lnTo>
                  <a:pt x="586283" y="154518"/>
                </a:lnTo>
                <a:lnTo>
                  <a:pt x="556835" y="115593"/>
                </a:lnTo>
                <a:lnTo>
                  <a:pt x="522592" y="80967"/>
                </a:lnTo>
                <a:lnTo>
                  <a:pt x="484838" y="52423"/>
                </a:lnTo>
                <a:lnTo>
                  <a:pt x="444290" y="30006"/>
                </a:lnTo>
                <a:lnTo>
                  <a:pt x="401670" y="13765"/>
                </a:lnTo>
                <a:lnTo>
                  <a:pt x="357696" y="3747"/>
                </a:lnTo>
                <a:lnTo>
                  <a:pt x="313088" y="0"/>
                </a:lnTo>
                <a:lnTo>
                  <a:pt x="268566" y="2570"/>
                </a:lnTo>
                <a:lnTo>
                  <a:pt x="224850" y="11507"/>
                </a:lnTo>
                <a:lnTo>
                  <a:pt x="182659" y="26856"/>
                </a:lnTo>
                <a:lnTo>
                  <a:pt x="142713" y="48666"/>
                </a:lnTo>
                <a:lnTo>
                  <a:pt x="105731" y="76985"/>
                </a:lnTo>
                <a:close/>
              </a:path>
            </a:pathLst>
          </a:custGeom>
          <a:ln w="6350">
            <a:solidFill>
              <a:srgbClr val="BEBEBE"/>
            </a:solidFill>
          </a:ln>
        </p:spPr>
        <p:txBody>
          <a:bodyPr wrap="square" lIns="0" tIns="0" rIns="0" bIns="0" rtlCol="0"/>
          <a:lstStyle/>
          <a:p>
            <a:endParaRPr/>
          </a:p>
        </p:txBody>
      </p:sp>
      <p:sp>
        <p:nvSpPr>
          <p:cNvPr id="54" name="object 54"/>
          <p:cNvSpPr/>
          <p:nvPr/>
        </p:nvSpPr>
        <p:spPr>
          <a:xfrm>
            <a:off x="4287080" y="4033451"/>
            <a:ext cx="518159" cy="527050"/>
          </a:xfrm>
          <a:custGeom>
            <a:avLst/>
            <a:gdLst/>
            <a:ahLst/>
            <a:cxnLst/>
            <a:rect l="l" t="t" r="r" b="b"/>
            <a:pathLst>
              <a:path w="518160" h="527050">
                <a:moveTo>
                  <a:pt x="434144" y="463998"/>
                </a:moveTo>
                <a:lnTo>
                  <a:pt x="396361" y="491471"/>
                </a:lnTo>
                <a:lnTo>
                  <a:pt x="355412" y="510968"/>
                </a:lnTo>
                <a:lnTo>
                  <a:pt x="312323" y="522592"/>
                </a:lnTo>
                <a:lnTo>
                  <a:pt x="268124" y="526450"/>
                </a:lnTo>
                <a:lnTo>
                  <a:pt x="223844" y="522644"/>
                </a:lnTo>
                <a:lnTo>
                  <a:pt x="180511" y="511280"/>
                </a:lnTo>
                <a:lnTo>
                  <a:pt x="139154" y="492462"/>
                </a:lnTo>
                <a:lnTo>
                  <a:pt x="100800" y="466295"/>
                </a:lnTo>
                <a:lnTo>
                  <a:pt x="66479" y="432883"/>
                </a:lnTo>
                <a:lnTo>
                  <a:pt x="38383" y="394051"/>
                </a:lnTo>
                <a:lnTo>
                  <a:pt x="17978" y="352172"/>
                </a:lnTo>
                <a:lnTo>
                  <a:pt x="5204" y="308301"/>
                </a:lnTo>
                <a:lnTo>
                  <a:pt x="0" y="263492"/>
                </a:lnTo>
                <a:lnTo>
                  <a:pt x="2304" y="218800"/>
                </a:lnTo>
                <a:lnTo>
                  <a:pt x="12057" y="175280"/>
                </a:lnTo>
                <a:lnTo>
                  <a:pt x="29199" y="133987"/>
                </a:lnTo>
                <a:lnTo>
                  <a:pt x="53667" y="95974"/>
                </a:lnTo>
                <a:lnTo>
                  <a:pt x="85402" y="62297"/>
                </a:lnTo>
                <a:lnTo>
                  <a:pt x="122692" y="35070"/>
                </a:lnTo>
                <a:lnTo>
                  <a:pt x="163184" y="15658"/>
                </a:lnTo>
                <a:lnTo>
                  <a:pt x="205855" y="3990"/>
                </a:lnTo>
                <a:lnTo>
                  <a:pt x="249683" y="0"/>
                </a:lnTo>
                <a:lnTo>
                  <a:pt x="293646" y="3616"/>
                </a:lnTo>
                <a:lnTo>
                  <a:pt x="336721" y="14771"/>
                </a:lnTo>
                <a:lnTo>
                  <a:pt x="377887" y="33396"/>
                </a:lnTo>
                <a:lnTo>
                  <a:pt x="416121" y="59421"/>
                </a:lnTo>
                <a:lnTo>
                  <a:pt x="450400" y="92777"/>
                </a:lnTo>
                <a:lnTo>
                  <a:pt x="478588" y="131631"/>
                </a:lnTo>
                <a:lnTo>
                  <a:pt x="499238" y="173569"/>
                </a:lnTo>
                <a:lnTo>
                  <a:pt x="512367" y="217524"/>
                </a:lnTo>
                <a:lnTo>
                  <a:pt x="517992" y="262433"/>
                </a:lnTo>
                <a:lnTo>
                  <a:pt x="516130" y="307231"/>
                </a:lnTo>
                <a:lnTo>
                  <a:pt x="506798" y="350851"/>
                </a:lnTo>
                <a:lnTo>
                  <a:pt x="490011" y="392229"/>
                </a:lnTo>
                <a:lnTo>
                  <a:pt x="465788" y="430300"/>
                </a:lnTo>
                <a:lnTo>
                  <a:pt x="434144" y="463998"/>
                </a:lnTo>
                <a:close/>
              </a:path>
            </a:pathLst>
          </a:custGeom>
          <a:ln w="6350">
            <a:solidFill>
              <a:srgbClr val="BEBEBE"/>
            </a:solidFill>
          </a:ln>
        </p:spPr>
        <p:txBody>
          <a:bodyPr wrap="square" lIns="0" tIns="0" rIns="0" bIns="0" rtlCol="0"/>
          <a:lstStyle/>
          <a:p>
            <a:endParaRPr/>
          </a:p>
        </p:txBody>
      </p:sp>
      <p:sp>
        <p:nvSpPr>
          <p:cNvPr id="55" name="object 55"/>
          <p:cNvSpPr/>
          <p:nvPr/>
        </p:nvSpPr>
        <p:spPr>
          <a:xfrm>
            <a:off x="4287185" y="4031896"/>
            <a:ext cx="518159" cy="527050"/>
          </a:xfrm>
          <a:custGeom>
            <a:avLst/>
            <a:gdLst/>
            <a:ahLst/>
            <a:cxnLst/>
            <a:rect l="l" t="t" r="r" b="b"/>
            <a:pathLst>
              <a:path w="518160" h="527050">
                <a:moveTo>
                  <a:pt x="249229" y="0"/>
                </a:moveTo>
                <a:lnTo>
                  <a:pt x="205410" y="3928"/>
                </a:lnTo>
                <a:lnTo>
                  <a:pt x="162758" y="15536"/>
                </a:lnTo>
                <a:lnTo>
                  <a:pt x="122295" y="34895"/>
                </a:lnTo>
                <a:lnTo>
                  <a:pt x="85042" y="62075"/>
                </a:lnTo>
                <a:lnTo>
                  <a:pt x="53358" y="95757"/>
                </a:lnTo>
                <a:lnTo>
                  <a:pt x="28955" y="133783"/>
                </a:lnTo>
                <a:lnTo>
                  <a:pt x="11890" y="175100"/>
                </a:lnTo>
                <a:lnTo>
                  <a:pt x="2220" y="218653"/>
                </a:lnTo>
                <a:lnTo>
                  <a:pt x="0" y="263388"/>
                </a:lnTo>
                <a:lnTo>
                  <a:pt x="5286" y="308248"/>
                </a:lnTo>
                <a:lnTo>
                  <a:pt x="18137" y="352181"/>
                </a:lnTo>
                <a:lnTo>
                  <a:pt x="38608" y="394130"/>
                </a:lnTo>
                <a:lnTo>
                  <a:pt x="66754" y="433042"/>
                </a:lnTo>
                <a:lnTo>
                  <a:pt x="101075" y="466534"/>
                </a:lnTo>
                <a:lnTo>
                  <a:pt x="139427" y="492773"/>
                </a:lnTo>
                <a:lnTo>
                  <a:pt x="180782" y="511655"/>
                </a:lnTo>
                <a:lnTo>
                  <a:pt x="224108" y="523077"/>
                </a:lnTo>
                <a:lnTo>
                  <a:pt x="268378" y="526936"/>
                </a:lnTo>
                <a:lnTo>
                  <a:pt x="312561" y="523127"/>
                </a:lnTo>
                <a:lnTo>
                  <a:pt x="355627" y="511549"/>
                </a:lnTo>
                <a:lnTo>
                  <a:pt x="396548" y="492096"/>
                </a:lnTo>
                <a:lnTo>
                  <a:pt x="434292" y="464665"/>
                </a:lnTo>
                <a:lnTo>
                  <a:pt x="465890" y="430966"/>
                </a:lnTo>
                <a:lnTo>
                  <a:pt x="490059" y="392892"/>
                </a:lnTo>
                <a:lnTo>
                  <a:pt x="506786" y="351503"/>
                </a:lnTo>
                <a:lnTo>
                  <a:pt x="516056" y="307864"/>
                </a:lnTo>
                <a:lnTo>
                  <a:pt x="517855" y="263035"/>
                </a:lnTo>
                <a:lnTo>
                  <a:pt x="512167" y="218078"/>
                </a:lnTo>
                <a:lnTo>
                  <a:pt x="498978" y="174056"/>
                </a:lnTo>
                <a:lnTo>
                  <a:pt x="478275" y="132030"/>
                </a:lnTo>
                <a:lnTo>
                  <a:pt x="450040" y="93063"/>
                </a:lnTo>
                <a:lnTo>
                  <a:pt x="415723" y="59660"/>
                </a:lnTo>
                <a:lnTo>
                  <a:pt x="377461" y="33581"/>
                </a:lnTo>
                <a:lnTo>
                  <a:pt x="336277" y="14897"/>
                </a:lnTo>
                <a:lnTo>
                  <a:pt x="293192" y="3680"/>
                </a:lnTo>
                <a:lnTo>
                  <a:pt x="249229" y="0"/>
                </a:lnTo>
                <a:close/>
              </a:path>
            </a:pathLst>
          </a:custGeom>
          <a:solidFill>
            <a:srgbClr val="BBE7FF"/>
          </a:solidFill>
        </p:spPr>
        <p:txBody>
          <a:bodyPr wrap="square" lIns="0" tIns="0" rIns="0" bIns="0" rtlCol="0"/>
          <a:lstStyle/>
          <a:p>
            <a:endParaRPr/>
          </a:p>
        </p:txBody>
      </p:sp>
      <p:sp>
        <p:nvSpPr>
          <p:cNvPr id="56" name="object 56"/>
          <p:cNvSpPr/>
          <p:nvPr/>
        </p:nvSpPr>
        <p:spPr>
          <a:xfrm>
            <a:off x="4287280" y="4026006"/>
            <a:ext cx="295275" cy="527050"/>
          </a:xfrm>
          <a:custGeom>
            <a:avLst/>
            <a:gdLst/>
            <a:ahLst/>
            <a:cxnLst/>
            <a:rect l="l" t="t" r="r" b="b"/>
            <a:pathLst>
              <a:path w="295275" h="527050">
                <a:moveTo>
                  <a:pt x="250308" y="0"/>
                </a:moveTo>
                <a:lnTo>
                  <a:pt x="205988" y="3428"/>
                </a:lnTo>
                <a:lnTo>
                  <a:pt x="162959" y="14843"/>
                </a:lnTo>
                <a:lnTo>
                  <a:pt x="122265" y="34335"/>
                </a:lnTo>
                <a:lnTo>
                  <a:pt x="84948" y="61996"/>
                </a:lnTo>
                <a:lnTo>
                  <a:pt x="53302" y="95597"/>
                </a:lnTo>
                <a:lnTo>
                  <a:pt x="28927" y="133553"/>
                </a:lnTo>
                <a:lnTo>
                  <a:pt x="11881" y="174809"/>
                </a:lnTo>
                <a:lnTo>
                  <a:pt x="2220" y="218311"/>
                </a:lnTo>
                <a:lnTo>
                  <a:pt x="0" y="263003"/>
                </a:lnTo>
                <a:lnTo>
                  <a:pt x="5277" y="307830"/>
                </a:lnTo>
                <a:lnTo>
                  <a:pt x="18109" y="351739"/>
                </a:lnTo>
                <a:lnTo>
                  <a:pt x="38551" y="393675"/>
                </a:lnTo>
                <a:lnTo>
                  <a:pt x="66660" y="432582"/>
                </a:lnTo>
                <a:lnTo>
                  <a:pt x="101555" y="466080"/>
                </a:lnTo>
                <a:lnTo>
                  <a:pt x="140320" y="492300"/>
                </a:lnTo>
                <a:lnTo>
                  <a:pt x="181921" y="511156"/>
                </a:lnTo>
                <a:lnTo>
                  <a:pt x="225319" y="522563"/>
                </a:lnTo>
                <a:lnTo>
                  <a:pt x="269479" y="526435"/>
                </a:lnTo>
                <a:lnTo>
                  <a:pt x="226452" y="514882"/>
                </a:lnTo>
                <a:lnTo>
                  <a:pt x="185390" y="495923"/>
                </a:lnTo>
                <a:lnTo>
                  <a:pt x="147446" y="469678"/>
                </a:lnTo>
                <a:lnTo>
                  <a:pt x="113777" y="436265"/>
                </a:lnTo>
                <a:lnTo>
                  <a:pt x="85618" y="397395"/>
                </a:lnTo>
                <a:lnTo>
                  <a:pt x="65050" y="355554"/>
                </a:lnTo>
                <a:lnTo>
                  <a:pt x="52055" y="311767"/>
                </a:lnTo>
                <a:lnTo>
                  <a:pt x="46615" y="267062"/>
                </a:lnTo>
                <a:lnTo>
                  <a:pt x="48709" y="222464"/>
                </a:lnTo>
                <a:lnTo>
                  <a:pt x="58321" y="179000"/>
                </a:lnTo>
                <a:lnTo>
                  <a:pt x="75430" y="137697"/>
                </a:lnTo>
                <a:lnTo>
                  <a:pt x="100017" y="99581"/>
                </a:lnTo>
                <a:lnTo>
                  <a:pt x="132065" y="65679"/>
                </a:lnTo>
                <a:lnTo>
                  <a:pt x="168667" y="38255"/>
                </a:lnTo>
                <a:lnTo>
                  <a:pt x="208758" y="18975"/>
                </a:lnTo>
                <a:lnTo>
                  <a:pt x="251205" y="7743"/>
                </a:lnTo>
                <a:lnTo>
                  <a:pt x="294879" y="4465"/>
                </a:lnTo>
                <a:lnTo>
                  <a:pt x="250308" y="0"/>
                </a:lnTo>
                <a:close/>
              </a:path>
            </a:pathLst>
          </a:custGeom>
          <a:solidFill>
            <a:srgbClr val="12ABDB"/>
          </a:solidFill>
        </p:spPr>
        <p:txBody>
          <a:bodyPr wrap="square" lIns="0" tIns="0" rIns="0" bIns="0" rtlCol="0"/>
          <a:lstStyle/>
          <a:p>
            <a:endParaRPr/>
          </a:p>
        </p:txBody>
      </p:sp>
      <p:sp>
        <p:nvSpPr>
          <p:cNvPr id="57" name="object 57"/>
          <p:cNvSpPr/>
          <p:nvPr/>
        </p:nvSpPr>
        <p:spPr>
          <a:xfrm>
            <a:off x="4527296" y="3923919"/>
            <a:ext cx="439420" cy="775335"/>
          </a:xfrm>
          <a:custGeom>
            <a:avLst/>
            <a:gdLst/>
            <a:ahLst/>
            <a:cxnLst/>
            <a:rect l="l" t="t" r="r" b="b"/>
            <a:pathLst>
              <a:path w="439420" h="775335">
                <a:moveTo>
                  <a:pt x="0" y="769619"/>
                </a:moveTo>
                <a:lnTo>
                  <a:pt x="47212" y="775142"/>
                </a:lnTo>
                <a:lnTo>
                  <a:pt x="94487" y="774812"/>
                </a:lnTo>
                <a:lnTo>
                  <a:pt x="129492" y="770177"/>
                </a:lnTo>
                <a:lnTo>
                  <a:pt x="47319" y="770177"/>
                </a:lnTo>
                <a:lnTo>
                  <a:pt x="0" y="769619"/>
                </a:lnTo>
                <a:close/>
              </a:path>
              <a:path w="439420" h="775335">
                <a:moveTo>
                  <a:pt x="336825" y="133349"/>
                </a:moveTo>
                <a:lnTo>
                  <a:pt x="299974" y="133349"/>
                </a:lnTo>
                <a:lnTo>
                  <a:pt x="300989" y="135000"/>
                </a:lnTo>
                <a:lnTo>
                  <a:pt x="309110" y="145293"/>
                </a:lnTo>
                <a:lnTo>
                  <a:pt x="316801" y="155908"/>
                </a:lnTo>
                <a:lnTo>
                  <a:pt x="355355" y="218786"/>
                </a:lnTo>
                <a:lnTo>
                  <a:pt x="373942" y="261662"/>
                </a:lnTo>
                <a:lnTo>
                  <a:pt x="387254" y="305810"/>
                </a:lnTo>
                <a:lnTo>
                  <a:pt x="395318" y="350736"/>
                </a:lnTo>
                <a:lnTo>
                  <a:pt x="398156" y="395950"/>
                </a:lnTo>
                <a:lnTo>
                  <a:pt x="395795" y="440959"/>
                </a:lnTo>
                <a:lnTo>
                  <a:pt x="388258" y="485273"/>
                </a:lnTo>
                <a:lnTo>
                  <a:pt x="375571" y="528399"/>
                </a:lnTo>
                <a:lnTo>
                  <a:pt x="357759" y="569847"/>
                </a:lnTo>
                <a:lnTo>
                  <a:pt x="334844" y="609123"/>
                </a:lnTo>
                <a:lnTo>
                  <a:pt x="306854" y="645736"/>
                </a:lnTo>
                <a:lnTo>
                  <a:pt x="273812" y="679195"/>
                </a:lnTo>
                <a:lnTo>
                  <a:pt x="233933" y="710183"/>
                </a:lnTo>
                <a:lnTo>
                  <a:pt x="198143" y="730936"/>
                </a:lnTo>
                <a:lnTo>
                  <a:pt x="186562" y="736853"/>
                </a:lnTo>
                <a:lnTo>
                  <a:pt x="185038" y="737869"/>
                </a:lnTo>
                <a:lnTo>
                  <a:pt x="183514" y="739012"/>
                </a:lnTo>
                <a:lnTo>
                  <a:pt x="139338" y="754671"/>
                </a:lnTo>
                <a:lnTo>
                  <a:pt x="93852" y="765127"/>
                </a:lnTo>
                <a:lnTo>
                  <a:pt x="47319" y="770177"/>
                </a:lnTo>
                <a:lnTo>
                  <a:pt x="129492" y="770177"/>
                </a:lnTo>
                <a:lnTo>
                  <a:pt x="186943" y="756553"/>
                </a:lnTo>
                <a:lnTo>
                  <a:pt x="230981" y="738602"/>
                </a:lnTo>
                <a:lnTo>
                  <a:pt x="272795" y="714755"/>
                </a:lnTo>
                <a:lnTo>
                  <a:pt x="312674" y="683767"/>
                </a:lnTo>
                <a:lnTo>
                  <a:pt x="346286" y="649954"/>
                </a:lnTo>
                <a:lnTo>
                  <a:pt x="374771" y="612916"/>
                </a:lnTo>
                <a:lnTo>
                  <a:pt x="398096" y="573157"/>
                </a:lnTo>
                <a:lnTo>
                  <a:pt x="416228" y="531183"/>
                </a:lnTo>
                <a:lnTo>
                  <a:pt x="429135" y="487497"/>
                </a:lnTo>
                <a:lnTo>
                  <a:pt x="436783" y="442603"/>
                </a:lnTo>
                <a:lnTo>
                  <a:pt x="439141" y="397007"/>
                </a:lnTo>
                <a:lnTo>
                  <a:pt x="436176" y="351212"/>
                </a:lnTo>
                <a:lnTo>
                  <a:pt x="427855" y="305722"/>
                </a:lnTo>
                <a:lnTo>
                  <a:pt x="414145" y="261042"/>
                </a:lnTo>
                <a:lnTo>
                  <a:pt x="395014" y="217677"/>
                </a:lnTo>
                <a:lnTo>
                  <a:pt x="370430" y="176130"/>
                </a:lnTo>
                <a:lnTo>
                  <a:pt x="340359" y="136905"/>
                </a:lnTo>
                <a:lnTo>
                  <a:pt x="336825" y="133349"/>
                </a:lnTo>
                <a:close/>
              </a:path>
              <a:path w="439420" h="775335">
                <a:moveTo>
                  <a:pt x="328116" y="124586"/>
                </a:moveTo>
                <a:lnTo>
                  <a:pt x="291973" y="124586"/>
                </a:lnTo>
                <a:lnTo>
                  <a:pt x="292988" y="126237"/>
                </a:lnTo>
                <a:lnTo>
                  <a:pt x="294131" y="127888"/>
                </a:lnTo>
                <a:lnTo>
                  <a:pt x="295148" y="129539"/>
                </a:lnTo>
                <a:lnTo>
                  <a:pt x="296163" y="131063"/>
                </a:lnTo>
                <a:lnTo>
                  <a:pt x="297306" y="132714"/>
                </a:lnTo>
                <a:lnTo>
                  <a:pt x="298323" y="134365"/>
                </a:lnTo>
                <a:lnTo>
                  <a:pt x="299974" y="133349"/>
                </a:lnTo>
                <a:lnTo>
                  <a:pt x="336825" y="133349"/>
                </a:lnTo>
                <a:lnTo>
                  <a:pt x="328116" y="124586"/>
                </a:lnTo>
                <a:close/>
              </a:path>
              <a:path w="439420" h="775335">
                <a:moveTo>
                  <a:pt x="319534" y="115950"/>
                </a:moveTo>
                <a:lnTo>
                  <a:pt x="283971" y="115950"/>
                </a:lnTo>
                <a:lnTo>
                  <a:pt x="284988" y="117601"/>
                </a:lnTo>
                <a:lnTo>
                  <a:pt x="286130" y="119252"/>
                </a:lnTo>
                <a:lnTo>
                  <a:pt x="287146" y="120776"/>
                </a:lnTo>
                <a:lnTo>
                  <a:pt x="288289" y="122427"/>
                </a:lnTo>
                <a:lnTo>
                  <a:pt x="290321" y="125729"/>
                </a:lnTo>
                <a:lnTo>
                  <a:pt x="291973" y="124586"/>
                </a:lnTo>
                <a:lnTo>
                  <a:pt x="328116" y="124586"/>
                </a:lnTo>
                <a:lnTo>
                  <a:pt x="319534" y="115950"/>
                </a:lnTo>
                <a:close/>
              </a:path>
              <a:path w="439420" h="775335">
                <a:moveTo>
                  <a:pt x="314106" y="110489"/>
                </a:moveTo>
                <a:lnTo>
                  <a:pt x="278129" y="110489"/>
                </a:lnTo>
                <a:lnTo>
                  <a:pt x="279145" y="112140"/>
                </a:lnTo>
                <a:lnTo>
                  <a:pt x="280288" y="113791"/>
                </a:lnTo>
                <a:lnTo>
                  <a:pt x="281304" y="115315"/>
                </a:lnTo>
                <a:lnTo>
                  <a:pt x="282448" y="116966"/>
                </a:lnTo>
                <a:lnTo>
                  <a:pt x="283971" y="115950"/>
                </a:lnTo>
                <a:lnTo>
                  <a:pt x="319534" y="115950"/>
                </a:lnTo>
                <a:lnTo>
                  <a:pt x="314106" y="110489"/>
                </a:lnTo>
                <a:close/>
              </a:path>
              <a:path w="439420" h="775335">
                <a:moveTo>
                  <a:pt x="36956" y="0"/>
                </a:moveTo>
                <a:lnTo>
                  <a:pt x="87835" y="7571"/>
                </a:lnTo>
                <a:lnTo>
                  <a:pt x="137780" y="22226"/>
                </a:lnTo>
                <a:lnTo>
                  <a:pt x="185921" y="43763"/>
                </a:lnTo>
                <a:lnTo>
                  <a:pt x="231386" y="71981"/>
                </a:lnTo>
                <a:lnTo>
                  <a:pt x="273303" y="106679"/>
                </a:lnTo>
                <a:lnTo>
                  <a:pt x="275463" y="109981"/>
                </a:lnTo>
                <a:lnTo>
                  <a:pt x="276605" y="111505"/>
                </a:lnTo>
                <a:lnTo>
                  <a:pt x="278129" y="110489"/>
                </a:lnTo>
                <a:lnTo>
                  <a:pt x="314106" y="110489"/>
                </a:lnTo>
                <a:lnTo>
                  <a:pt x="303659" y="99977"/>
                </a:lnTo>
                <a:lnTo>
                  <a:pt x="263814" y="68709"/>
                </a:lnTo>
                <a:lnTo>
                  <a:pt x="221384" y="43179"/>
                </a:lnTo>
                <a:lnTo>
                  <a:pt x="176926" y="23466"/>
                </a:lnTo>
                <a:lnTo>
                  <a:pt x="130996" y="9646"/>
                </a:lnTo>
                <a:lnTo>
                  <a:pt x="84154" y="1798"/>
                </a:lnTo>
                <a:lnTo>
                  <a:pt x="36956" y="0"/>
                </a:lnTo>
                <a:close/>
              </a:path>
            </a:pathLst>
          </a:custGeom>
          <a:solidFill>
            <a:srgbClr val="A6A6A6"/>
          </a:solidFill>
        </p:spPr>
        <p:txBody>
          <a:bodyPr wrap="square" lIns="0" tIns="0" rIns="0" bIns="0" rtlCol="0"/>
          <a:lstStyle/>
          <a:p>
            <a:endParaRPr/>
          </a:p>
        </p:txBody>
      </p:sp>
      <p:sp>
        <p:nvSpPr>
          <p:cNvPr id="58" name="object 58"/>
          <p:cNvSpPr/>
          <p:nvPr/>
        </p:nvSpPr>
        <p:spPr>
          <a:xfrm>
            <a:off x="4421123" y="4171188"/>
            <a:ext cx="249936" cy="248412"/>
          </a:xfrm>
          <a:prstGeom prst="rect">
            <a:avLst/>
          </a:prstGeom>
          <a:blipFill>
            <a:blip r:embed="rId7" cstate="print"/>
            <a:stretch>
              <a:fillRect/>
            </a:stretch>
          </a:blipFill>
        </p:spPr>
        <p:txBody>
          <a:bodyPr wrap="square" lIns="0" tIns="0" rIns="0" bIns="0" rtlCol="0"/>
          <a:lstStyle/>
          <a:p>
            <a:endParaRPr/>
          </a:p>
        </p:txBody>
      </p:sp>
      <p:sp>
        <p:nvSpPr>
          <p:cNvPr id="59" name="object 59"/>
          <p:cNvSpPr txBox="1"/>
          <p:nvPr/>
        </p:nvSpPr>
        <p:spPr>
          <a:xfrm>
            <a:off x="5095747" y="4005224"/>
            <a:ext cx="5440045" cy="1469390"/>
          </a:xfrm>
          <a:prstGeom prst="rect">
            <a:avLst/>
          </a:prstGeom>
        </p:spPr>
        <p:txBody>
          <a:bodyPr vert="horz" wrap="square" lIns="0" tIns="36830" rIns="0" bIns="0" rtlCol="0">
            <a:spAutoFit/>
          </a:bodyPr>
          <a:lstStyle/>
          <a:p>
            <a:pPr marL="12700">
              <a:lnSpc>
                <a:spcPct val="100000"/>
              </a:lnSpc>
              <a:spcBef>
                <a:spcPts val="290"/>
              </a:spcBef>
            </a:pPr>
            <a:r>
              <a:rPr sz="1000" b="1" spc="-10">
                <a:latin typeface="Verdana"/>
                <a:cs typeface="Verdana"/>
              </a:rPr>
              <a:t>Stakeholders</a:t>
            </a:r>
            <a:endParaRPr sz="1000">
              <a:latin typeface="Verdana"/>
              <a:cs typeface="Verdana"/>
            </a:endParaRPr>
          </a:p>
          <a:p>
            <a:pPr marL="184785" indent="-172720">
              <a:lnSpc>
                <a:spcPct val="100000"/>
              </a:lnSpc>
              <a:spcBef>
                <a:spcPts val="195"/>
              </a:spcBef>
              <a:buClr>
                <a:srgbClr val="006FAC"/>
              </a:buClr>
              <a:buFont typeface="Wingdings"/>
              <a:buChar char=""/>
              <a:tabLst>
                <a:tab pos="185420" algn="l"/>
              </a:tabLst>
            </a:pPr>
            <a:r>
              <a:rPr sz="1000" spc="-5">
                <a:latin typeface="Verdana"/>
                <a:cs typeface="Verdana"/>
              </a:rPr>
              <a:t>Orchestrate the change</a:t>
            </a:r>
            <a:r>
              <a:rPr sz="1000" spc="75">
                <a:latin typeface="Verdana"/>
                <a:cs typeface="Verdana"/>
              </a:rPr>
              <a:t> </a:t>
            </a:r>
            <a:r>
              <a:rPr sz="1000" spc="-5">
                <a:latin typeface="Verdana"/>
                <a:cs typeface="Verdana"/>
              </a:rPr>
              <a:t>process</a:t>
            </a:r>
            <a:endParaRPr sz="1000">
              <a:latin typeface="Verdana"/>
              <a:cs typeface="Verdana"/>
            </a:endParaRPr>
          </a:p>
          <a:p>
            <a:pPr marL="184785" indent="-172720">
              <a:lnSpc>
                <a:spcPct val="100000"/>
              </a:lnSpc>
              <a:spcBef>
                <a:spcPts val="200"/>
              </a:spcBef>
              <a:buClr>
                <a:srgbClr val="006FAC"/>
              </a:buClr>
              <a:buFont typeface="Wingdings"/>
              <a:buChar char=""/>
              <a:tabLst>
                <a:tab pos="185420" algn="l"/>
              </a:tabLst>
            </a:pPr>
            <a:r>
              <a:rPr sz="1000">
                <a:latin typeface="Verdana"/>
                <a:cs typeface="Verdana"/>
              </a:rPr>
              <a:t>Timely </a:t>
            </a:r>
            <a:r>
              <a:rPr sz="1000" spc="-5">
                <a:latin typeface="Verdana"/>
                <a:cs typeface="Verdana"/>
              </a:rPr>
              <a:t>and proactively </a:t>
            </a:r>
            <a:r>
              <a:rPr sz="1000">
                <a:latin typeface="Verdana"/>
                <a:cs typeface="Verdana"/>
              </a:rPr>
              <a:t>involve </a:t>
            </a:r>
            <a:r>
              <a:rPr sz="1000" spc="-10">
                <a:latin typeface="Verdana"/>
                <a:cs typeface="Verdana"/>
              </a:rPr>
              <a:t>key </a:t>
            </a:r>
            <a:r>
              <a:rPr sz="1000" spc="-5">
                <a:latin typeface="Verdana"/>
                <a:cs typeface="Verdana"/>
              </a:rPr>
              <a:t>stakeholders</a:t>
            </a:r>
            <a:endParaRPr sz="1000">
              <a:latin typeface="Verdana"/>
              <a:cs typeface="Verdana"/>
            </a:endParaRPr>
          </a:p>
          <a:p>
            <a:pPr>
              <a:lnSpc>
                <a:spcPct val="100000"/>
              </a:lnSpc>
              <a:spcBef>
                <a:spcPts val="50"/>
              </a:spcBef>
              <a:buClr>
                <a:srgbClr val="006FAC"/>
              </a:buClr>
              <a:buFont typeface="Wingdings"/>
              <a:buChar char=""/>
            </a:pPr>
            <a:endParaRPr sz="1500">
              <a:latin typeface="Times New Roman"/>
              <a:cs typeface="Times New Roman"/>
            </a:endParaRPr>
          </a:p>
          <a:p>
            <a:pPr marL="140335">
              <a:lnSpc>
                <a:spcPct val="100000"/>
              </a:lnSpc>
              <a:spcBef>
                <a:spcPts val="5"/>
              </a:spcBef>
            </a:pPr>
            <a:r>
              <a:rPr sz="1000" b="1" spc="-5">
                <a:latin typeface="Verdana"/>
                <a:cs typeface="Verdana"/>
              </a:rPr>
              <a:t>Plan </a:t>
            </a:r>
            <a:r>
              <a:rPr sz="1000" b="1" spc="-10">
                <a:latin typeface="Verdana"/>
                <a:cs typeface="Verdana"/>
              </a:rPr>
              <a:t>once-deploy</a:t>
            </a:r>
            <a:r>
              <a:rPr sz="1000" b="1" spc="15">
                <a:latin typeface="Verdana"/>
                <a:cs typeface="Verdana"/>
              </a:rPr>
              <a:t> </a:t>
            </a:r>
            <a:r>
              <a:rPr sz="1000" b="1" spc="-10">
                <a:latin typeface="Verdana"/>
                <a:cs typeface="Verdana"/>
              </a:rPr>
              <a:t>many</a:t>
            </a:r>
            <a:endParaRPr sz="1000">
              <a:latin typeface="Verdana"/>
              <a:cs typeface="Verdana"/>
            </a:endParaRPr>
          </a:p>
          <a:p>
            <a:pPr marL="312420" lvl="1" indent="-172720">
              <a:lnSpc>
                <a:spcPct val="100000"/>
              </a:lnSpc>
              <a:spcBef>
                <a:spcPts val="190"/>
              </a:spcBef>
              <a:buClr>
                <a:srgbClr val="006FAC"/>
              </a:buClr>
              <a:buFont typeface="Wingdings"/>
              <a:buChar char=""/>
              <a:tabLst>
                <a:tab pos="313055" algn="l"/>
              </a:tabLst>
            </a:pPr>
            <a:r>
              <a:rPr sz="1000" spc="-10">
                <a:latin typeface="Verdana"/>
                <a:cs typeface="Verdana"/>
              </a:rPr>
              <a:t>Ensure </a:t>
            </a:r>
            <a:r>
              <a:rPr sz="1000" spc="-5">
                <a:latin typeface="Verdana"/>
                <a:cs typeface="Verdana"/>
              </a:rPr>
              <a:t>onboarding </a:t>
            </a:r>
            <a:r>
              <a:rPr sz="1000" spc="-10">
                <a:latin typeface="Verdana"/>
                <a:cs typeface="Verdana"/>
              </a:rPr>
              <a:t>of </a:t>
            </a:r>
            <a:r>
              <a:rPr sz="1000" spc="-5">
                <a:latin typeface="Verdana"/>
                <a:cs typeface="Verdana"/>
              </a:rPr>
              <a:t>business</a:t>
            </a:r>
            <a:r>
              <a:rPr sz="1000" spc="105">
                <a:latin typeface="Verdana"/>
                <a:cs typeface="Verdana"/>
              </a:rPr>
              <a:t> </a:t>
            </a:r>
            <a:r>
              <a:rPr sz="1000">
                <a:latin typeface="Verdana"/>
                <a:cs typeface="Verdana"/>
              </a:rPr>
              <a:t>units</a:t>
            </a:r>
          </a:p>
          <a:p>
            <a:pPr marL="312420" lvl="1" indent="-172720">
              <a:lnSpc>
                <a:spcPct val="100000"/>
              </a:lnSpc>
              <a:spcBef>
                <a:spcPts val="204"/>
              </a:spcBef>
              <a:buClr>
                <a:srgbClr val="006FAC"/>
              </a:buClr>
              <a:buFont typeface="Wingdings"/>
              <a:buChar char=""/>
              <a:tabLst>
                <a:tab pos="313055" algn="l"/>
              </a:tabLst>
            </a:pPr>
            <a:r>
              <a:rPr sz="1000" spc="-5">
                <a:latin typeface="Verdana"/>
                <a:cs typeface="Verdana"/>
              </a:rPr>
              <a:t>Ensure Global </a:t>
            </a:r>
            <a:r>
              <a:rPr sz="1000">
                <a:latin typeface="Verdana"/>
                <a:cs typeface="Verdana"/>
              </a:rPr>
              <a:t>Solution </a:t>
            </a:r>
            <a:r>
              <a:rPr sz="1000" spc="-5">
                <a:latin typeface="Verdana"/>
                <a:cs typeface="Verdana"/>
              </a:rPr>
              <a:t>process </a:t>
            </a:r>
            <a:r>
              <a:rPr sz="1000">
                <a:latin typeface="Verdana"/>
                <a:cs typeface="Verdana"/>
              </a:rPr>
              <a:t>is </a:t>
            </a:r>
            <a:r>
              <a:rPr sz="1000" spc="-10">
                <a:latin typeface="Verdana"/>
                <a:cs typeface="Verdana"/>
              </a:rPr>
              <a:t>focused </a:t>
            </a:r>
            <a:r>
              <a:rPr sz="1000" spc="-5">
                <a:latin typeface="Verdana"/>
                <a:cs typeface="Verdana"/>
              </a:rPr>
              <a:t>on commonalities and not</a:t>
            </a:r>
            <a:r>
              <a:rPr sz="1000" spc="275">
                <a:latin typeface="Verdana"/>
                <a:cs typeface="Verdana"/>
              </a:rPr>
              <a:t> </a:t>
            </a:r>
            <a:r>
              <a:rPr sz="1000" spc="-5">
                <a:latin typeface="Verdana"/>
                <a:cs typeface="Verdana"/>
              </a:rPr>
              <a:t>differences</a:t>
            </a:r>
            <a:endParaRPr sz="1000">
              <a:latin typeface="Verdana"/>
              <a:cs typeface="Verdana"/>
            </a:endParaRPr>
          </a:p>
          <a:p>
            <a:pPr marL="312420" lvl="1" indent="-172720">
              <a:lnSpc>
                <a:spcPct val="100000"/>
              </a:lnSpc>
              <a:spcBef>
                <a:spcPts val="204"/>
              </a:spcBef>
              <a:buClr>
                <a:srgbClr val="006FAC"/>
              </a:buClr>
              <a:buFont typeface="Wingdings"/>
              <a:buChar char=""/>
              <a:tabLst>
                <a:tab pos="313055" algn="l"/>
              </a:tabLst>
            </a:pPr>
            <a:r>
              <a:rPr sz="1000" spc="-5">
                <a:latin typeface="Verdana"/>
                <a:cs typeface="Verdana"/>
              </a:rPr>
              <a:t>Ensure </a:t>
            </a:r>
            <a:r>
              <a:rPr sz="1000">
                <a:latin typeface="Verdana"/>
                <a:cs typeface="Verdana"/>
              </a:rPr>
              <a:t>flexibility </a:t>
            </a:r>
            <a:r>
              <a:rPr sz="1000" spc="-5">
                <a:latin typeface="Verdana"/>
                <a:cs typeface="Verdana"/>
              </a:rPr>
              <a:t>on business</a:t>
            </a:r>
            <a:r>
              <a:rPr sz="1000" spc="45">
                <a:latin typeface="Verdana"/>
                <a:cs typeface="Verdana"/>
              </a:rPr>
              <a:t> </a:t>
            </a:r>
            <a:r>
              <a:rPr sz="1000" spc="-5">
                <a:latin typeface="Verdana"/>
                <a:cs typeface="Verdana"/>
              </a:rPr>
              <a:t>changes</a:t>
            </a:r>
            <a:endParaRPr sz="1000">
              <a:latin typeface="Verdana"/>
              <a:cs typeface="Verdana"/>
            </a:endParaRPr>
          </a:p>
        </p:txBody>
      </p:sp>
      <p:sp>
        <p:nvSpPr>
          <p:cNvPr id="60" name="object 60"/>
          <p:cNvSpPr/>
          <p:nvPr/>
        </p:nvSpPr>
        <p:spPr>
          <a:xfrm>
            <a:off x="4887467" y="4722876"/>
            <a:ext cx="5869305" cy="984885"/>
          </a:xfrm>
          <a:custGeom>
            <a:avLst/>
            <a:gdLst/>
            <a:ahLst/>
            <a:cxnLst/>
            <a:rect l="l" t="t" r="r" b="b"/>
            <a:pathLst>
              <a:path w="5869305" h="984885">
                <a:moveTo>
                  <a:pt x="0" y="164084"/>
                </a:moveTo>
                <a:lnTo>
                  <a:pt x="5857" y="120444"/>
                </a:lnTo>
                <a:lnTo>
                  <a:pt x="22389" y="81242"/>
                </a:lnTo>
                <a:lnTo>
                  <a:pt x="48037" y="48037"/>
                </a:lnTo>
                <a:lnTo>
                  <a:pt x="81242" y="22389"/>
                </a:lnTo>
                <a:lnTo>
                  <a:pt x="120444" y="5857"/>
                </a:lnTo>
                <a:lnTo>
                  <a:pt x="164084" y="0"/>
                </a:lnTo>
                <a:lnTo>
                  <a:pt x="5704840" y="0"/>
                </a:lnTo>
                <a:lnTo>
                  <a:pt x="5748479" y="5857"/>
                </a:lnTo>
                <a:lnTo>
                  <a:pt x="5787681" y="22389"/>
                </a:lnTo>
                <a:lnTo>
                  <a:pt x="5820886" y="48037"/>
                </a:lnTo>
                <a:lnTo>
                  <a:pt x="5846534" y="81242"/>
                </a:lnTo>
                <a:lnTo>
                  <a:pt x="5863066" y="120444"/>
                </a:lnTo>
                <a:lnTo>
                  <a:pt x="5868924" y="164084"/>
                </a:lnTo>
                <a:lnTo>
                  <a:pt x="5868924" y="820420"/>
                </a:lnTo>
                <a:lnTo>
                  <a:pt x="5863066" y="864037"/>
                </a:lnTo>
                <a:lnTo>
                  <a:pt x="5846534" y="903233"/>
                </a:lnTo>
                <a:lnTo>
                  <a:pt x="5820886" y="936442"/>
                </a:lnTo>
                <a:lnTo>
                  <a:pt x="5787681" y="962100"/>
                </a:lnTo>
                <a:lnTo>
                  <a:pt x="5748479" y="978642"/>
                </a:lnTo>
                <a:lnTo>
                  <a:pt x="5704840" y="984504"/>
                </a:lnTo>
                <a:lnTo>
                  <a:pt x="164084" y="984504"/>
                </a:lnTo>
                <a:lnTo>
                  <a:pt x="120444" y="978642"/>
                </a:lnTo>
                <a:lnTo>
                  <a:pt x="81242" y="962100"/>
                </a:lnTo>
                <a:lnTo>
                  <a:pt x="48037" y="936442"/>
                </a:lnTo>
                <a:lnTo>
                  <a:pt x="22389" y="903233"/>
                </a:lnTo>
                <a:lnTo>
                  <a:pt x="5857" y="864037"/>
                </a:lnTo>
                <a:lnTo>
                  <a:pt x="0" y="820420"/>
                </a:lnTo>
                <a:lnTo>
                  <a:pt x="0" y="164084"/>
                </a:lnTo>
                <a:close/>
              </a:path>
            </a:pathLst>
          </a:custGeom>
          <a:ln w="12192">
            <a:solidFill>
              <a:srgbClr val="12ABDB"/>
            </a:solidFill>
          </a:ln>
        </p:spPr>
        <p:txBody>
          <a:bodyPr wrap="square" lIns="0" tIns="0" rIns="0" bIns="0" rtlCol="0"/>
          <a:lstStyle/>
          <a:p>
            <a:endParaRPr/>
          </a:p>
        </p:txBody>
      </p:sp>
      <p:sp>
        <p:nvSpPr>
          <p:cNvPr id="61" name="object 61"/>
          <p:cNvSpPr/>
          <p:nvPr/>
        </p:nvSpPr>
        <p:spPr>
          <a:xfrm>
            <a:off x="4354254" y="4890154"/>
            <a:ext cx="640715" cy="650240"/>
          </a:xfrm>
          <a:custGeom>
            <a:avLst/>
            <a:gdLst/>
            <a:ahLst/>
            <a:cxnLst/>
            <a:rect l="l" t="t" r="r" b="b"/>
            <a:pathLst>
              <a:path w="640714" h="650239">
                <a:moveTo>
                  <a:pt x="313088" y="0"/>
                </a:moveTo>
                <a:lnTo>
                  <a:pt x="268566" y="2559"/>
                </a:lnTo>
                <a:lnTo>
                  <a:pt x="224850" y="11484"/>
                </a:lnTo>
                <a:lnTo>
                  <a:pt x="182659" y="26824"/>
                </a:lnTo>
                <a:lnTo>
                  <a:pt x="142713" y="48626"/>
                </a:lnTo>
                <a:lnTo>
                  <a:pt x="105731" y="76942"/>
                </a:lnTo>
                <a:lnTo>
                  <a:pt x="72791" y="110519"/>
                </a:lnTo>
                <a:lnTo>
                  <a:pt x="45957" y="147871"/>
                </a:lnTo>
                <a:lnTo>
                  <a:pt x="25245" y="188274"/>
                </a:lnTo>
                <a:lnTo>
                  <a:pt x="10671" y="231006"/>
                </a:lnTo>
                <a:lnTo>
                  <a:pt x="2250" y="275344"/>
                </a:lnTo>
                <a:lnTo>
                  <a:pt x="0" y="320567"/>
                </a:lnTo>
                <a:lnTo>
                  <a:pt x="3935" y="365950"/>
                </a:lnTo>
                <a:lnTo>
                  <a:pt x="14072" y="410773"/>
                </a:lnTo>
                <a:lnTo>
                  <a:pt x="30427" y="454312"/>
                </a:lnTo>
                <a:lnTo>
                  <a:pt x="53016" y="495845"/>
                </a:lnTo>
                <a:lnTo>
                  <a:pt x="81855" y="534650"/>
                </a:lnTo>
                <a:lnTo>
                  <a:pt x="116440" y="569049"/>
                </a:lnTo>
                <a:lnTo>
                  <a:pt x="154414" y="597463"/>
                </a:lnTo>
                <a:lnTo>
                  <a:pt x="195090" y="619830"/>
                </a:lnTo>
                <a:lnTo>
                  <a:pt x="237783" y="636091"/>
                </a:lnTo>
                <a:lnTo>
                  <a:pt x="281808" y="646186"/>
                </a:lnTo>
                <a:lnTo>
                  <a:pt x="326477" y="650054"/>
                </a:lnTo>
                <a:lnTo>
                  <a:pt x="371106" y="647636"/>
                </a:lnTo>
                <a:lnTo>
                  <a:pt x="415009" y="638870"/>
                </a:lnTo>
                <a:lnTo>
                  <a:pt x="457499" y="623698"/>
                </a:lnTo>
                <a:lnTo>
                  <a:pt x="497891" y="602059"/>
                </a:lnTo>
                <a:lnTo>
                  <a:pt x="515632" y="588772"/>
                </a:lnTo>
                <a:lnTo>
                  <a:pt x="328966" y="588772"/>
                </a:lnTo>
                <a:lnTo>
                  <a:pt x="284686" y="584987"/>
                </a:lnTo>
                <a:lnTo>
                  <a:pt x="241353" y="573644"/>
                </a:lnTo>
                <a:lnTo>
                  <a:pt x="199995" y="554843"/>
                </a:lnTo>
                <a:lnTo>
                  <a:pt x="161642" y="528687"/>
                </a:lnTo>
                <a:lnTo>
                  <a:pt x="127321" y="495280"/>
                </a:lnTo>
                <a:lnTo>
                  <a:pt x="99225" y="456410"/>
                </a:lnTo>
                <a:lnTo>
                  <a:pt x="78820" y="414502"/>
                </a:lnTo>
                <a:lnTo>
                  <a:pt x="66046" y="370608"/>
                </a:lnTo>
                <a:lnTo>
                  <a:pt x="60841" y="325783"/>
                </a:lnTo>
                <a:lnTo>
                  <a:pt x="63146" y="281081"/>
                </a:lnTo>
                <a:lnTo>
                  <a:pt x="72899" y="237555"/>
                </a:lnTo>
                <a:lnTo>
                  <a:pt x="90040" y="196258"/>
                </a:lnTo>
                <a:lnTo>
                  <a:pt x="114509" y="158244"/>
                </a:lnTo>
                <a:lnTo>
                  <a:pt x="146244" y="124567"/>
                </a:lnTo>
                <a:lnTo>
                  <a:pt x="183534" y="97340"/>
                </a:lnTo>
                <a:lnTo>
                  <a:pt x="224025" y="77927"/>
                </a:lnTo>
                <a:lnTo>
                  <a:pt x="266696" y="66260"/>
                </a:lnTo>
                <a:lnTo>
                  <a:pt x="310524" y="62269"/>
                </a:lnTo>
                <a:lnTo>
                  <a:pt x="497864" y="62269"/>
                </a:lnTo>
                <a:lnTo>
                  <a:pt x="484838" y="52426"/>
                </a:lnTo>
                <a:lnTo>
                  <a:pt x="444290" y="30018"/>
                </a:lnTo>
                <a:lnTo>
                  <a:pt x="401670" y="13778"/>
                </a:lnTo>
                <a:lnTo>
                  <a:pt x="357696" y="3755"/>
                </a:lnTo>
                <a:lnTo>
                  <a:pt x="313088" y="0"/>
                </a:lnTo>
                <a:close/>
              </a:path>
              <a:path w="640714" h="650239">
                <a:moveTo>
                  <a:pt x="497864" y="62269"/>
                </a:moveTo>
                <a:lnTo>
                  <a:pt x="310524" y="62269"/>
                </a:lnTo>
                <a:lnTo>
                  <a:pt x="354487" y="65886"/>
                </a:lnTo>
                <a:lnTo>
                  <a:pt x="397563" y="77041"/>
                </a:lnTo>
                <a:lnTo>
                  <a:pt x="438729" y="95665"/>
                </a:lnTo>
                <a:lnTo>
                  <a:pt x="476962" y="121690"/>
                </a:lnTo>
                <a:lnTo>
                  <a:pt x="511242" y="155047"/>
                </a:lnTo>
                <a:lnTo>
                  <a:pt x="539429" y="193934"/>
                </a:lnTo>
                <a:lnTo>
                  <a:pt x="560079" y="235889"/>
                </a:lnTo>
                <a:lnTo>
                  <a:pt x="573208" y="279850"/>
                </a:lnTo>
                <a:lnTo>
                  <a:pt x="578834" y="324755"/>
                </a:lnTo>
                <a:lnTo>
                  <a:pt x="576972" y="369542"/>
                </a:lnTo>
                <a:lnTo>
                  <a:pt x="567639" y="413148"/>
                </a:lnTo>
                <a:lnTo>
                  <a:pt x="550853" y="454513"/>
                </a:lnTo>
                <a:lnTo>
                  <a:pt x="526630" y="492573"/>
                </a:lnTo>
                <a:lnTo>
                  <a:pt x="494986" y="526268"/>
                </a:lnTo>
                <a:lnTo>
                  <a:pt x="457203" y="553745"/>
                </a:lnTo>
                <a:lnTo>
                  <a:pt x="416253" y="573253"/>
                </a:lnTo>
                <a:lnTo>
                  <a:pt x="373165" y="584895"/>
                </a:lnTo>
                <a:lnTo>
                  <a:pt x="328966" y="588772"/>
                </a:lnTo>
                <a:lnTo>
                  <a:pt x="515632" y="588772"/>
                </a:lnTo>
                <a:lnTo>
                  <a:pt x="568179" y="539971"/>
                </a:lnTo>
                <a:lnTo>
                  <a:pt x="594840" y="502403"/>
                </a:lnTo>
                <a:lnTo>
                  <a:pt x="615438" y="461888"/>
                </a:lnTo>
                <a:lnTo>
                  <a:pt x="629932" y="419125"/>
                </a:lnTo>
                <a:lnTo>
                  <a:pt x="638277" y="374812"/>
                </a:lnTo>
                <a:lnTo>
                  <a:pt x="640432" y="329650"/>
                </a:lnTo>
                <a:lnTo>
                  <a:pt x="636352" y="284336"/>
                </a:lnTo>
                <a:lnTo>
                  <a:pt x="625995" y="239570"/>
                </a:lnTo>
                <a:lnTo>
                  <a:pt x="609319" y="196051"/>
                </a:lnTo>
                <a:lnTo>
                  <a:pt x="586280" y="154478"/>
                </a:lnTo>
                <a:lnTo>
                  <a:pt x="556835" y="115550"/>
                </a:lnTo>
                <a:lnTo>
                  <a:pt x="522592" y="80953"/>
                </a:lnTo>
                <a:lnTo>
                  <a:pt x="497864" y="62269"/>
                </a:lnTo>
                <a:close/>
              </a:path>
            </a:pathLst>
          </a:custGeom>
          <a:solidFill>
            <a:srgbClr val="EBE8E7"/>
          </a:solidFill>
        </p:spPr>
        <p:txBody>
          <a:bodyPr wrap="square" lIns="0" tIns="0" rIns="0" bIns="0" rtlCol="0"/>
          <a:lstStyle/>
          <a:p>
            <a:endParaRPr/>
          </a:p>
        </p:txBody>
      </p:sp>
      <p:sp>
        <p:nvSpPr>
          <p:cNvPr id="62" name="object 62"/>
          <p:cNvSpPr/>
          <p:nvPr/>
        </p:nvSpPr>
        <p:spPr>
          <a:xfrm>
            <a:off x="4354254" y="4890154"/>
            <a:ext cx="640715" cy="650240"/>
          </a:xfrm>
          <a:custGeom>
            <a:avLst/>
            <a:gdLst/>
            <a:ahLst/>
            <a:cxnLst/>
            <a:rect l="l" t="t" r="r" b="b"/>
            <a:pathLst>
              <a:path w="640714" h="650239">
                <a:moveTo>
                  <a:pt x="105731" y="76942"/>
                </a:moveTo>
                <a:lnTo>
                  <a:pt x="72791" y="110519"/>
                </a:lnTo>
                <a:lnTo>
                  <a:pt x="45957" y="147871"/>
                </a:lnTo>
                <a:lnTo>
                  <a:pt x="25245" y="188274"/>
                </a:lnTo>
                <a:lnTo>
                  <a:pt x="10671" y="231006"/>
                </a:lnTo>
                <a:lnTo>
                  <a:pt x="2250" y="275344"/>
                </a:lnTo>
                <a:lnTo>
                  <a:pt x="0" y="320567"/>
                </a:lnTo>
                <a:lnTo>
                  <a:pt x="3935" y="365950"/>
                </a:lnTo>
                <a:lnTo>
                  <a:pt x="14072" y="410773"/>
                </a:lnTo>
                <a:lnTo>
                  <a:pt x="30427" y="454312"/>
                </a:lnTo>
                <a:lnTo>
                  <a:pt x="53016" y="495845"/>
                </a:lnTo>
                <a:lnTo>
                  <a:pt x="81855" y="534650"/>
                </a:lnTo>
                <a:lnTo>
                  <a:pt x="116440" y="569049"/>
                </a:lnTo>
                <a:lnTo>
                  <a:pt x="154414" y="597463"/>
                </a:lnTo>
                <a:lnTo>
                  <a:pt x="195090" y="619830"/>
                </a:lnTo>
                <a:lnTo>
                  <a:pt x="237783" y="636091"/>
                </a:lnTo>
                <a:lnTo>
                  <a:pt x="281808" y="646186"/>
                </a:lnTo>
                <a:lnTo>
                  <a:pt x="326477" y="650054"/>
                </a:lnTo>
                <a:lnTo>
                  <a:pt x="371106" y="647636"/>
                </a:lnTo>
                <a:lnTo>
                  <a:pt x="415009" y="638870"/>
                </a:lnTo>
                <a:lnTo>
                  <a:pt x="457499" y="623698"/>
                </a:lnTo>
                <a:lnTo>
                  <a:pt x="497891" y="602059"/>
                </a:lnTo>
                <a:lnTo>
                  <a:pt x="535499" y="573893"/>
                </a:lnTo>
                <a:lnTo>
                  <a:pt x="568179" y="539971"/>
                </a:lnTo>
                <a:lnTo>
                  <a:pt x="594840" y="502403"/>
                </a:lnTo>
                <a:lnTo>
                  <a:pt x="615438" y="461888"/>
                </a:lnTo>
                <a:lnTo>
                  <a:pt x="629932" y="419125"/>
                </a:lnTo>
                <a:lnTo>
                  <a:pt x="638277" y="374812"/>
                </a:lnTo>
                <a:lnTo>
                  <a:pt x="640432" y="329650"/>
                </a:lnTo>
                <a:lnTo>
                  <a:pt x="636352" y="284336"/>
                </a:lnTo>
                <a:lnTo>
                  <a:pt x="625995" y="239570"/>
                </a:lnTo>
                <a:lnTo>
                  <a:pt x="609319" y="196051"/>
                </a:lnTo>
                <a:lnTo>
                  <a:pt x="586280" y="154478"/>
                </a:lnTo>
                <a:lnTo>
                  <a:pt x="556835" y="115550"/>
                </a:lnTo>
                <a:lnTo>
                  <a:pt x="522592" y="80953"/>
                </a:lnTo>
                <a:lnTo>
                  <a:pt x="484838" y="52426"/>
                </a:lnTo>
                <a:lnTo>
                  <a:pt x="444290" y="30018"/>
                </a:lnTo>
                <a:lnTo>
                  <a:pt x="401670" y="13778"/>
                </a:lnTo>
                <a:lnTo>
                  <a:pt x="357696" y="3755"/>
                </a:lnTo>
                <a:lnTo>
                  <a:pt x="313088" y="0"/>
                </a:lnTo>
                <a:lnTo>
                  <a:pt x="268566" y="2559"/>
                </a:lnTo>
                <a:lnTo>
                  <a:pt x="224850" y="11484"/>
                </a:lnTo>
                <a:lnTo>
                  <a:pt x="182659" y="26824"/>
                </a:lnTo>
                <a:lnTo>
                  <a:pt x="142713" y="48626"/>
                </a:lnTo>
                <a:lnTo>
                  <a:pt x="105731" y="76942"/>
                </a:lnTo>
                <a:close/>
              </a:path>
            </a:pathLst>
          </a:custGeom>
          <a:ln w="6350">
            <a:solidFill>
              <a:srgbClr val="BEBEBE"/>
            </a:solidFill>
          </a:ln>
        </p:spPr>
        <p:txBody>
          <a:bodyPr wrap="square" lIns="0" tIns="0" rIns="0" bIns="0" rtlCol="0"/>
          <a:lstStyle/>
          <a:p>
            <a:endParaRPr/>
          </a:p>
        </p:txBody>
      </p:sp>
      <p:sp>
        <p:nvSpPr>
          <p:cNvPr id="63" name="object 63"/>
          <p:cNvSpPr/>
          <p:nvPr/>
        </p:nvSpPr>
        <p:spPr>
          <a:xfrm>
            <a:off x="4415096" y="4952424"/>
            <a:ext cx="518159" cy="527050"/>
          </a:xfrm>
          <a:custGeom>
            <a:avLst/>
            <a:gdLst/>
            <a:ahLst/>
            <a:cxnLst/>
            <a:rect l="l" t="t" r="r" b="b"/>
            <a:pathLst>
              <a:path w="518160" h="527050">
                <a:moveTo>
                  <a:pt x="434144" y="463998"/>
                </a:moveTo>
                <a:lnTo>
                  <a:pt x="396361" y="491476"/>
                </a:lnTo>
                <a:lnTo>
                  <a:pt x="355412" y="510984"/>
                </a:lnTo>
                <a:lnTo>
                  <a:pt x="312323" y="522625"/>
                </a:lnTo>
                <a:lnTo>
                  <a:pt x="268124" y="526503"/>
                </a:lnTo>
                <a:lnTo>
                  <a:pt x="223844" y="522718"/>
                </a:lnTo>
                <a:lnTo>
                  <a:pt x="180511" y="511374"/>
                </a:lnTo>
                <a:lnTo>
                  <a:pt x="139154" y="492573"/>
                </a:lnTo>
                <a:lnTo>
                  <a:pt x="100800" y="466418"/>
                </a:lnTo>
                <a:lnTo>
                  <a:pt x="66479" y="433010"/>
                </a:lnTo>
                <a:lnTo>
                  <a:pt x="38383" y="394141"/>
                </a:lnTo>
                <a:lnTo>
                  <a:pt x="17978" y="352232"/>
                </a:lnTo>
                <a:lnTo>
                  <a:pt x="5204" y="308339"/>
                </a:lnTo>
                <a:lnTo>
                  <a:pt x="0" y="263514"/>
                </a:lnTo>
                <a:lnTo>
                  <a:pt x="2304" y="218812"/>
                </a:lnTo>
                <a:lnTo>
                  <a:pt x="12057" y="175285"/>
                </a:lnTo>
                <a:lnTo>
                  <a:pt x="29199" y="133988"/>
                </a:lnTo>
                <a:lnTo>
                  <a:pt x="53667" y="95974"/>
                </a:lnTo>
                <a:lnTo>
                  <a:pt x="85402" y="62297"/>
                </a:lnTo>
                <a:lnTo>
                  <a:pt x="122692" y="35070"/>
                </a:lnTo>
                <a:lnTo>
                  <a:pt x="163184" y="15658"/>
                </a:lnTo>
                <a:lnTo>
                  <a:pt x="205855" y="3990"/>
                </a:lnTo>
                <a:lnTo>
                  <a:pt x="249683" y="0"/>
                </a:lnTo>
                <a:lnTo>
                  <a:pt x="293646" y="3616"/>
                </a:lnTo>
                <a:lnTo>
                  <a:pt x="336721" y="14771"/>
                </a:lnTo>
                <a:lnTo>
                  <a:pt x="377887" y="33396"/>
                </a:lnTo>
                <a:lnTo>
                  <a:pt x="416121" y="59421"/>
                </a:lnTo>
                <a:lnTo>
                  <a:pt x="450400" y="92777"/>
                </a:lnTo>
                <a:lnTo>
                  <a:pt x="478588" y="131665"/>
                </a:lnTo>
                <a:lnTo>
                  <a:pt x="499238" y="173620"/>
                </a:lnTo>
                <a:lnTo>
                  <a:pt x="512367" y="217581"/>
                </a:lnTo>
                <a:lnTo>
                  <a:pt x="517992" y="262486"/>
                </a:lnTo>
                <a:lnTo>
                  <a:pt x="516130" y="307272"/>
                </a:lnTo>
                <a:lnTo>
                  <a:pt x="506798" y="350879"/>
                </a:lnTo>
                <a:lnTo>
                  <a:pt x="490011" y="392244"/>
                </a:lnTo>
                <a:lnTo>
                  <a:pt x="465788" y="430304"/>
                </a:lnTo>
                <a:lnTo>
                  <a:pt x="434144" y="463998"/>
                </a:lnTo>
                <a:close/>
              </a:path>
            </a:pathLst>
          </a:custGeom>
          <a:ln w="6350">
            <a:solidFill>
              <a:srgbClr val="BEBEBE"/>
            </a:solidFill>
          </a:ln>
        </p:spPr>
        <p:txBody>
          <a:bodyPr wrap="square" lIns="0" tIns="0" rIns="0" bIns="0" rtlCol="0"/>
          <a:lstStyle/>
          <a:p>
            <a:endParaRPr/>
          </a:p>
        </p:txBody>
      </p:sp>
      <p:sp>
        <p:nvSpPr>
          <p:cNvPr id="64" name="object 64"/>
          <p:cNvSpPr/>
          <p:nvPr/>
        </p:nvSpPr>
        <p:spPr>
          <a:xfrm>
            <a:off x="4415180" y="4950890"/>
            <a:ext cx="518159" cy="527050"/>
          </a:xfrm>
          <a:custGeom>
            <a:avLst/>
            <a:gdLst/>
            <a:ahLst/>
            <a:cxnLst/>
            <a:rect l="l" t="t" r="r" b="b"/>
            <a:pathLst>
              <a:path w="518160" h="527050">
                <a:moveTo>
                  <a:pt x="249251" y="0"/>
                </a:moveTo>
                <a:lnTo>
                  <a:pt x="205432" y="3944"/>
                </a:lnTo>
                <a:lnTo>
                  <a:pt x="162780" y="15574"/>
                </a:lnTo>
                <a:lnTo>
                  <a:pt x="122317" y="34962"/>
                </a:lnTo>
                <a:lnTo>
                  <a:pt x="85064" y="62180"/>
                </a:lnTo>
                <a:lnTo>
                  <a:pt x="53380" y="95824"/>
                </a:lnTo>
                <a:lnTo>
                  <a:pt x="28976" y="133821"/>
                </a:lnTo>
                <a:lnTo>
                  <a:pt x="11908" y="175116"/>
                </a:lnTo>
                <a:lnTo>
                  <a:pt x="2230" y="218653"/>
                </a:lnTo>
                <a:lnTo>
                  <a:pt x="0" y="263377"/>
                </a:lnTo>
                <a:lnTo>
                  <a:pt x="5271" y="308231"/>
                </a:lnTo>
                <a:lnTo>
                  <a:pt x="18099" y="352160"/>
                </a:lnTo>
                <a:lnTo>
                  <a:pt x="38540" y="394109"/>
                </a:lnTo>
                <a:lnTo>
                  <a:pt x="66649" y="433020"/>
                </a:lnTo>
                <a:lnTo>
                  <a:pt x="101008" y="466516"/>
                </a:lnTo>
                <a:lnTo>
                  <a:pt x="139389" y="492766"/>
                </a:lnTo>
                <a:lnTo>
                  <a:pt x="180766" y="511662"/>
                </a:lnTo>
                <a:lnTo>
                  <a:pt x="224108" y="523097"/>
                </a:lnTo>
                <a:lnTo>
                  <a:pt x="268388" y="526966"/>
                </a:lnTo>
                <a:lnTo>
                  <a:pt x="312578" y="523162"/>
                </a:lnTo>
                <a:lnTo>
                  <a:pt x="355647" y="511578"/>
                </a:lnTo>
                <a:lnTo>
                  <a:pt x="396569" y="492107"/>
                </a:lnTo>
                <a:lnTo>
                  <a:pt x="434314" y="464643"/>
                </a:lnTo>
                <a:lnTo>
                  <a:pt x="465911" y="430944"/>
                </a:lnTo>
                <a:lnTo>
                  <a:pt x="490081" y="392870"/>
                </a:lnTo>
                <a:lnTo>
                  <a:pt x="506808" y="351482"/>
                </a:lnTo>
                <a:lnTo>
                  <a:pt x="516078" y="307842"/>
                </a:lnTo>
                <a:lnTo>
                  <a:pt x="517876" y="263013"/>
                </a:lnTo>
                <a:lnTo>
                  <a:pt x="512189" y="218056"/>
                </a:lnTo>
                <a:lnTo>
                  <a:pt x="499000" y="174034"/>
                </a:lnTo>
                <a:lnTo>
                  <a:pt x="478296" y="132009"/>
                </a:lnTo>
                <a:lnTo>
                  <a:pt x="450062" y="93041"/>
                </a:lnTo>
                <a:lnTo>
                  <a:pt x="415745" y="59638"/>
                </a:lnTo>
                <a:lnTo>
                  <a:pt x="377483" y="33560"/>
                </a:lnTo>
                <a:lnTo>
                  <a:pt x="336298" y="14880"/>
                </a:lnTo>
                <a:lnTo>
                  <a:pt x="293214" y="3669"/>
                </a:lnTo>
                <a:lnTo>
                  <a:pt x="249251" y="0"/>
                </a:lnTo>
                <a:close/>
              </a:path>
            </a:pathLst>
          </a:custGeom>
          <a:solidFill>
            <a:srgbClr val="BBE7FF"/>
          </a:solidFill>
        </p:spPr>
        <p:txBody>
          <a:bodyPr wrap="square" lIns="0" tIns="0" rIns="0" bIns="0" rtlCol="0"/>
          <a:lstStyle/>
          <a:p>
            <a:endParaRPr/>
          </a:p>
        </p:txBody>
      </p:sp>
      <p:sp>
        <p:nvSpPr>
          <p:cNvPr id="65" name="object 65"/>
          <p:cNvSpPr/>
          <p:nvPr/>
        </p:nvSpPr>
        <p:spPr>
          <a:xfrm>
            <a:off x="4415295" y="4945027"/>
            <a:ext cx="295275" cy="526415"/>
          </a:xfrm>
          <a:custGeom>
            <a:avLst/>
            <a:gdLst/>
            <a:ahLst/>
            <a:cxnLst/>
            <a:rect l="l" t="t" r="r" b="b"/>
            <a:pathLst>
              <a:path w="295275" h="526414">
                <a:moveTo>
                  <a:pt x="250308" y="0"/>
                </a:moveTo>
                <a:lnTo>
                  <a:pt x="205988" y="3435"/>
                </a:lnTo>
                <a:lnTo>
                  <a:pt x="162959" y="14831"/>
                </a:lnTo>
                <a:lnTo>
                  <a:pt x="122265" y="34299"/>
                </a:lnTo>
                <a:lnTo>
                  <a:pt x="84948" y="61947"/>
                </a:lnTo>
                <a:lnTo>
                  <a:pt x="53302" y="95582"/>
                </a:lnTo>
                <a:lnTo>
                  <a:pt x="28927" y="133556"/>
                </a:lnTo>
                <a:lnTo>
                  <a:pt x="11881" y="174817"/>
                </a:lnTo>
                <a:lnTo>
                  <a:pt x="2220" y="218314"/>
                </a:lnTo>
                <a:lnTo>
                  <a:pt x="0" y="262996"/>
                </a:lnTo>
                <a:lnTo>
                  <a:pt x="5277" y="307810"/>
                </a:lnTo>
                <a:lnTo>
                  <a:pt x="18109" y="351705"/>
                </a:lnTo>
                <a:lnTo>
                  <a:pt x="38551" y="393630"/>
                </a:lnTo>
                <a:lnTo>
                  <a:pt x="66660" y="432533"/>
                </a:lnTo>
                <a:lnTo>
                  <a:pt x="101494" y="466044"/>
                </a:lnTo>
                <a:lnTo>
                  <a:pt x="140229" y="492288"/>
                </a:lnTo>
                <a:lnTo>
                  <a:pt x="181829" y="511162"/>
                </a:lnTo>
                <a:lnTo>
                  <a:pt x="225258" y="522563"/>
                </a:lnTo>
                <a:lnTo>
                  <a:pt x="269479" y="526386"/>
                </a:lnTo>
                <a:lnTo>
                  <a:pt x="226452" y="514906"/>
                </a:lnTo>
                <a:lnTo>
                  <a:pt x="185390" y="495985"/>
                </a:lnTo>
                <a:lnTo>
                  <a:pt x="147446" y="469754"/>
                </a:lnTo>
                <a:lnTo>
                  <a:pt x="113777" y="436343"/>
                </a:lnTo>
                <a:lnTo>
                  <a:pt x="85618" y="397469"/>
                </a:lnTo>
                <a:lnTo>
                  <a:pt x="65050" y="355616"/>
                </a:lnTo>
                <a:lnTo>
                  <a:pt x="52055" y="311812"/>
                </a:lnTo>
                <a:lnTo>
                  <a:pt x="46615" y="267087"/>
                </a:lnTo>
                <a:lnTo>
                  <a:pt x="48709" y="222468"/>
                </a:lnTo>
                <a:lnTo>
                  <a:pt x="58321" y="178985"/>
                </a:lnTo>
                <a:lnTo>
                  <a:pt x="75430" y="137665"/>
                </a:lnTo>
                <a:lnTo>
                  <a:pt x="100017" y="99537"/>
                </a:lnTo>
                <a:lnTo>
                  <a:pt x="132065" y="65630"/>
                </a:lnTo>
                <a:lnTo>
                  <a:pt x="168667" y="38224"/>
                </a:lnTo>
                <a:lnTo>
                  <a:pt x="208758" y="18973"/>
                </a:lnTo>
                <a:lnTo>
                  <a:pt x="251205" y="7748"/>
                </a:lnTo>
                <a:lnTo>
                  <a:pt x="294879" y="4416"/>
                </a:lnTo>
                <a:lnTo>
                  <a:pt x="250308" y="0"/>
                </a:lnTo>
                <a:close/>
              </a:path>
            </a:pathLst>
          </a:custGeom>
          <a:solidFill>
            <a:srgbClr val="12ABDB"/>
          </a:solidFill>
        </p:spPr>
        <p:txBody>
          <a:bodyPr wrap="square" lIns="0" tIns="0" rIns="0" bIns="0" rtlCol="0"/>
          <a:lstStyle/>
          <a:p>
            <a:endParaRPr/>
          </a:p>
        </p:txBody>
      </p:sp>
      <p:sp>
        <p:nvSpPr>
          <p:cNvPr id="66" name="object 66"/>
          <p:cNvSpPr/>
          <p:nvPr/>
        </p:nvSpPr>
        <p:spPr>
          <a:xfrm>
            <a:off x="4655311" y="4843017"/>
            <a:ext cx="439420" cy="775335"/>
          </a:xfrm>
          <a:custGeom>
            <a:avLst/>
            <a:gdLst/>
            <a:ahLst/>
            <a:cxnLst/>
            <a:rect l="l" t="t" r="r" b="b"/>
            <a:pathLst>
              <a:path w="439420" h="775335">
                <a:moveTo>
                  <a:pt x="0" y="769556"/>
                </a:moveTo>
                <a:lnTo>
                  <a:pt x="47211" y="775081"/>
                </a:lnTo>
                <a:lnTo>
                  <a:pt x="94483" y="774757"/>
                </a:lnTo>
                <a:lnTo>
                  <a:pt x="129749" y="770093"/>
                </a:lnTo>
                <a:lnTo>
                  <a:pt x="47265" y="770093"/>
                </a:lnTo>
                <a:lnTo>
                  <a:pt x="0" y="769556"/>
                </a:lnTo>
                <a:close/>
              </a:path>
              <a:path w="439420" h="775335">
                <a:moveTo>
                  <a:pt x="336825" y="133222"/>
                </a:moveTo>
                <a:lnTo>
                  <a:pt x="299974" y="133222"/>
                </a:lnTo>
                <a:lnTo>
                  <a:pt x="300989" y="134873"/>
                </a:lnTo>
                <a:lnTo>
                  <a:pt x="309110" y="145220"/>
                </a:lnTo>
                <a:lnTo>
                  <a:pt x="316801" y="155828"/>
                </a:lnTo>
                <a:lnTo>
                  <a:pt x="355355" y="218662"/>
                </a:lnTo>
                <a:lnTo>
                  <a:pt x="373942" y="261544"/>
                </a:lnTo>
                <a:lnTo>
                  <a:pt x="387254" y="305700"/>
                </a:lnTo>
                <a:lnTo>
                  <a:pt x="395318" y="350637"/>
                </a:lnTo>
                <a:lnTo>
                  <a:pt x="398156" y="395861"/>
                </a:lnTo>
                <a:lnTo>
                  <a:pt x="395795" y="440880"/>
                </a:lnTo>
                <a:lnTo>
                  <a:pt x="388258" y="485200"/>
                </a:lnTo>
                <a:lnTo>
                  <a:pt x="375571" y="528329"/>
                </a:lnTo>
                <a:lnTo>
                  <a:pt x="357758" y="569773"/>
                </a:lnTo>
                <a:lnTo>
                  <a:pt x="334844" y="609040"/>
                </a:lnTo>
                <a:lnTo>
                  <a:pt x="306854" y="645636"/>
                </a:lnTo>
                <a:lnTo>
                  <a:pt x="273812" y="679068"/>
                </a:lnTo>
                <a:lnTo>
                  <a:pt x="233934" y="710183"/>
                </a:lnTo>
                <a:lnTo>
                  <a:pt x="198143" y="730865"/>
                </a:lnTo>
                <a:lnTo>
                  <a:pt x="186562" y="736853"/>
                </a:lnTo>
                <a:lnTo>
                  <a:pt x="183514" y="738885"/>
                </a:lnTo>
                <a:lnTo>
                  <a:pt x="139320" y="754565"/>
                </a:lnTo>
                <a:lnTo>
                  <a:pt x="93805" y="765032"/>
                </a:lnTo>
                <a:lnTo>
                  <a:pt x="47265" y="770093"/>
                </a:lnTo>
                <a:lnTo>
                  <a:pt x="129749" y="770093"/>
                </a:lnTo>
                <a:lnTo>
                  <a:pt x="186906" y="756519"/>
                </a:lnTo>
                <a:lnTo>
                  <a:pt x="230907" y="738584"/>
                </a:lnTo>
                <a:lnTo>
                  <a:pt x="272668" y="714755"/>
                </a:lnTo>
                <a:lnTo>
                  <a:pt x="312674" y="683640"/>
                </a:lnTo>
                <a:lnTo>
                  <a:pt x="346286" y="649852"/>
                </a:lnTo>
                <a:lnTo>
                  <a:pt x="374771" y="612831"/>
                </a:lnTo>
                <a:lnTo>
                  <a:pt x="398096" y="573082"/>
                </a:lnTo>
                <a:lnTo>
                  <a:pt x="416228" y="531112"/>
                </a:lnTo>
                <a:lnTo>
                  <a:pt x="429135" y="487425"/>
                </a:lnTo>
                <a:lnTo>
                  <a:pt x="436783" y="442527"/>
                </a:lnTo>
                <a:lnTo>
                  <a:pt x="439141" y="396924"/>
                </a:lnTo>
                <a:lnTo>
                  <a:pt x="436176" y="351119"/>
                </a:lnTo>
                <a:lnTo>
                  <a:pt x="427855" y="305620"/>
                </a:lnTo>
                <a:lnTo>
                  <a:pt x="414145" y="260931"/>
                </a:lnTo>
                <a:lnTo>
                  <a:pt x="395014" y="217558"/>
                </a:lnTo>
                <a:lnTo>
                  <a:pt x="370430" y="176005"/>
                </a:lnTo>
                <a:lnTo>
                  <a:pt x="340360" y="136778"/>
                </a:lnTo>
                <a:lnTo>
                  <a:pt x="336825" y="133222"/>
                </a:lnTo>
                <a:close/>
              </a:path>
              <a:path w="439420" h="775335">
                <a:moveTo>
                  <a:pt x="328240" y="124586"/>
                </a:moveTo>
                <a:lnTo>
                  <a:pt x="291973" y="124586"/>
                </a:lnTo>
                <a:lnTo>
                  <a:pt x="292988" y="126237"/>
                </a:lnTo>
                <a:lnTo>
                  <a:pt x="294132" y="127761"/>
                </a:lnTo>
                <a:lnTo>
                  <a:pt x="296163" y="131063"/>
                </a:lnTo>
                <a:lnTo>
                  <a:pt x="297307" y="132714"/>
                </a:lnTo>
                <a:lnTo>
                  <a:pt x="298323" y="134238"/>
                </a:lnTo>
                <a:lnTo>
                  <a:pt x="299974" y="133222"/>
                </a:lnTo>
                <a:lnTo>
                  <a:pt x="336825" y="133222"/>
                </a:lnTo>
                <a:lnTo>
                  <a:pt x="328240" y="124586"/>
                </a:lnTo>
                <a:close/>
              </a:path>
              <a:path w="439420" h="775335">
                <a:moveTo>
                  <a:pt x="319530" y="115823"/>
                </a:moveTo>
                <a:lnTo>
                  <a:pt x="283972" y="115823"/>
                </a:lnTo>
                <a:lnTo>
                  <a:pt x="284988" y="117474"/>
                </a:lnTo>
                <a:lnTo>
                  <a:pt x="286130" y="119125"/>
                </a:lnTo>
                <a:lnTo>
                  <a:pt x="287147" y="120776"/>
                </a:lnTo>
                <a:lnTo>
                  <a:pt x="288163" y="122300"/>
                </a:lnTo>
                <a:lnTo>
                  <a:pt x="289305" y="123951"/>
                </a:lnTo>
                <a:lnTo>
                  <a:pt x="290322" y="125602"/>
                </a:lnTo>
                <a:lnTo>
                  <a:pt x="291973" y="124586"/>
                </a:lnTo>
                <a:lnTo>
                  <a:pt x="328240" y="124586"/>
                </a:lnTo>
                <a:lnTo>
                  <a:pt x="319530" y="115823"/>
                </a:lnTo>
                <a:close/>
              </a:path>
              <a:path w="439420" h="775335">
                <a:moveTo>
                  <a:pt x="314228" y="110489"/>
                </a:moveTo>
                <a:lnTo>
                  <a:pt x="278129" y="110489"/>
                </a:lnTo>
                <a:lnTo>
                  <a:pt x="279146" y="112013"/>
                </a:lnTo>
                <a:lnTo>
                  <a:pt x="280288" y="113664"/>
                </a:lnTo>
                <a:lnTo>
                  <a:pt x="282321" y="116966"/>
                </a:lnTo>
                <a:lnTo>
                  <a:pt x="283972" y="115823"/>
                </a:lnTo>
                <a:lnTo>
                  <a:pt x="319530" y="115823"/>
                </a:lnTo>
                <a:lnTo>
                  <a:pt x="314228" y="110489"/>
                </a:lnTo>
                <a:close/>
              </a:path>
              <a:path w="439420" h="775335">
                <a:moveTo>
                  <a:pt x="36957" y="0"/>
                </a:moveTo>
                <a:lnTo>
                  <a:pt x="87786" y="7558"/>
                </a:lnTo>
                <a:lnTo>
                  <a:pt x="137725" y="22181"/>
                </a:lnTo>
                <a:lnTo>
                  <a:pt x="185885" y="43680"/>
                </a:lnTo>
                <a:lnTo>
                  <a:pt x="231374" y="71867"/>
                </a:lnTo>
                <a:lnTo>
                  <a:pt x="273303" y="106552"/>
                </a:lnTo>
                <a:lnTo>
                  <a:pt x="276478" y="111505"/>
                </a:lnTo>
                <a:lnTo>
                  <a:pt x="278129" y="110489"/>
                </a:lnTo>
                <a:lnTo>
                  <a:pt x="314228" y="110489"/>
                </a:lnTo>
                <a:lnTo>
                  <a:pt x="303652" y="99850"/>
                </a:lnTo>
                <a:lnTo>
                  <a:pt x="263792" y="68585"/>
                </a:lnTo>
                <a:lnTo>
                  <a:pt x="221344" y="43062"/>
                </a:lnTo>
                <a:lnTo>
                  <a:pt x="176872" y="23363"/>
                </a:lnTo>
                <a:lnTo>
                  <a:pt x="130941" y="9566"/>
                </a:lnTo>
                <a:lnTo>
                  <a:pt x="84114" y="1751"/>
                </a:lnTo>
                <a:lnTo>
                  <a:pt x="36957" y="0"/>
                </a:lnTo>
                <a:close/>
              </a:path>
            </a:pathLst>
          </a:custGeom>
          <a:solidFill>
            <a:srgbClr val="A6A6A6"/>
          </a:solidFill>
        </p:spPr>
        <p:txBody>
          <a:bodyPr wrap="square" lIns="0" tIns="0" rIns="0" bIns="0" rtlCol="0"/>
          <a:lstStyle/>
          <a:p>
            <a:endParaRPr/>
          </a:p>
        </p:txBody>
      </p:sp>
      <p:sp>
        <p:nvSpPr>
          <p:cNvPr id="67" name="object 67"/>
          <p:cNvSpPr/>
          <p:nvPr/>
        </p:nvSpPr>
        <p:spPr>
          <a:xfrm>
            <a:off x="4549140" y="5090159"/>
            <a:ext cx="249936" cy="248411"/>
          </a:xfrm>
          <a:prstGeom prst="rect">
            <a:avLst/>
          </a:prstGeom>
          <a:blipFill>
            <a:blip r:embed="rId7" cstate="print"/>
            <a:stretch>
              <a:fillRect/>
            </a:stretch>
          </a:blipFill>
        </p:spPr>
        <p:txBody>
          <a:bodyPr wrap="square" lIns="0" tIns="0" rIns="0" bIns="0" rtlCol="0"/>
          <a:lstStyle/>
          <a:p>
            <a:endParaRPr/>
          </a:p>
        </p:txBody>
      </p:sp>
      <p:sp>
        <p:nvSpPr>
          <p:cNvPr id="68" name="object 68"/>
          <p:cNvSpPr txBox="1"/>
          <p:nvPr/>
        </p:nvSpPr>
        <p:spPr>
          <a:xfrm>
            <a:off x="8093202" y="1159611"/>
            <a:ext cx="3514725" cy="862965"/>
          </a:xfrm>
          <a:prstGeom prst="rect">
            <a:avLst/>
          </a:prstGeom>
        </p:spPr>
        <p:txBody>
          <a:bodyPr vert="horz" wrap="square" lIns="0" tIns="37465" rIns="0" bIns="0" rtlCol="0">
            <a:spAutoFit/>
          </a:bodyPr>
          <a:lstStyle/>
          <a:p>
            <a:pPr marL="12700">
              <a:lnSpc>
                <a:spcPct val="100000"/>
              </a:lnSpc>
              <a:spcBef>
                <a:spcPts val="295"/>
              </a:spcBef>
            </a:pPr>
            <a:r>
              <a:rPr sz="1000" b="1" spc="-10">
                <a:latin typeface="Verdana"/>
                <a:cs typeface="Verdana"/>
              </a:rPr>
              <a:t>Business</a:t>
            </a:r>
            <a:r>
              <a:rPr sz="1000" b="1" spc="5">
                <a:latin typeface="Verdana"/>
                <a:cs typeface="Verdana"/>
              </a:rPr>
              <a:t> </a:t>
            </a:r>
            <a:r>
              <a:rPr sz="1000" b="1" spc="-5">
                <a:latin typeface="Verdana"/>
                <a:cs typeface="Verdana"/>
              </a:rPr>
              <a:t>Monitor</a:t>
            </a:r>
            <a:endParaRPr sz="1000">
              <a:latin typeface="Verdana"/>
              <a:cs typeface="Verdana"/>
            </a:endParaRPr>
          </a:p>
          <a:p>
            <a:pPr marL="184785" marR="5080" indent="-172720">
              <a:lnSpc>
                <a:spcPct val="100000"/>
              </a:lnSpc>
              <a:spcBef>
                <a:spcPts val="195"/>
              </a:spcBef>
              <a:buClr>
                <a:srgbClr val="006FAC"/>
              </a:buClr>
              <a:buFont typeface="Wingdings"/>
              <a:buChar char=""/>
              <a:tabLst>
                <a:tab pos="185420" algn="l"/>
              </a:tabLst>
            </a:pPr>
            <a:r>
              <a:rPr sz="1000" spc="-5">
                <a:latin typeface="Verdana"/>
                <a:cs typeface="Verdana"/>
              </a:rPr>
              <a:t>Set </a:t>
            </a:r>
            <a:r>
              <a:rPr sz="1000">
                <a:latin typeface="Verdana"/>
                <a:cs typeface="Verdana"/>
              </a:rPr>
              <a:t>up </a:t>
            </a:r>
            <a:r>
              <a:rPr sz="1000" spc="-5">
                <a:latin typeface="Verdana"/>
                <a:cs typeface="Verdana"/>
              </a:rPr>
              <a:t>clear benefits tracking of the project results,  </a:t>
            </a:r>
            <a:r>
              <a:rPr sz="1000">
                <a:latin typeface="Verdana"/>
                <a:cs typeface="Verdana"/>
              </a:rPr>
              <a:t>defining </a:t>
            </a:r>
            <a:r>
              <a:rPr sz="1000" spc="-5">
                <a:latin typeface="Verdana"/>
                <a:cs typeface="Verdana"/>
              </a:rPr>
              <a:t>relevant KPIs, their baseline and</a:t>
            </a:r>
            <a:r>
              <a:rPr sz="1000" spc="30">
                <a:latin typeface="Verdana"/>
                <a:cs typeface="Verdana"/>
              </a:rPr>
              <a:t> </a:t>
            </a:r>
            <a:r>
              <a:rPr sz="1000" spc="-5">
                <a:latin typeface="Verdana"/>
                <a:cs typeface="Verdana"/>
              </a:rPr>
              <a:t>targets</a:t>
            </a:r>
            <a:endParaRPr sz="1000">
              <a:latin typeface="Verdana"/>
              <a:cs typeface="Verdana"/>
            </a:endParaRPr>
          </a:p>
          <a:p>
            <a:pPr marL="184785" marR="911225" indent="-172720">
              <a:lnSpc>
                <a:spcPct val="100000"/>
              </a:lnSpc>
              <a:spcBef>
                <a:spcPts val="204"/>
              </a:spcBef>
              <a:buClr>
                <a:srgbClr val="006FAC"/>
              </a:buClr>
              <a:buFont typeface="Wingdings"/>
              <a:buChar char=""/>
              <a:tabLst>
                <a:tab pos="185420" algn="l"/>
              </a:tabLst>
            </a:pPr>
            <a:r>
              <a:rPr sz="1000" spc="-5">
                <a:latin typeface="Verdana"/>
                <a:cs typeface="Verdana"/>
              </a:rPr>
              <a:t>Continuously </a:t>
            </a:r>
            <a:r>
              <a:rPr sz="1000">
                <a:latin typeface="Verdana"/>
                <a:cs typeface="Verdana"/>
              </a:rPr>
              <a:t>validate </a:t>
            </a:r>
            <a:r>
              <a:rPr sz="1000" spc="-5">
                <a:latin typeface="Verdana"/>
                <a:cs typeface="Verdana"/>
              </a:rPr>
              <a:t>the benefits  case of The Salesforce </a:t>
            </a:r>
            <a:r>
              <a:rPr sz="1000">
                <a:latin typeface="Verdana"/>
                <a:cs typeface="Verdana"/>
              </a:rPr>
              <a:t>Rollout</a:t>
            </a:r>
            <a:r>
              <a:rPr sz="1000" spc="50">
                <a:latin typeface="Verdana"/>
                <a:cs typeface="Verdana"/>
              </a:rPr>
              <a:t> </a:t>
            </a:r>
            <a:r>
              <a:rPr sz="1000" spc="-10">
                <a:latin typeface="Verdana"/>
                <a:cs typeface="Verdana"/>
              </a:rPr>
              <a:t>Project</a:t>
            </a:r>
            <a:endParaRPr sz="1000">
              <a:latin typeface="Verdana"/>
              <a:cs typeface="Verdana"/>
            </a:endParaRPr>
          </a:p>
        </p:txBody>
      </p:sp>
      <p:sp>
        <p:nvSpPr>
          <p:cNvPr id="69" name="object 69"/>
          <p:cNvSpPr/>
          <p:nvPr/>
        </p:nvSpPr>
        <p:spPr>
          <a:xfrm>
            <a:off x="7883652" y="1130808"/>
            <a:ext cx="3785870" cy="913130"/>
          </a:xfrm>
          <a:custGeom>
            <a:avLst/>
            <a:gdLst/>
            <a:ahLst/>
            <a:cxnLst/>
            <a:rect l="l" t="t" r="r" b="b"/>
            <a:pathLst>
              <a:path w="3785870" h="913130">
                <a:moveTo>
                  <a:pt x="0" y="152145"/>
                </a:moveTo>
                <a:lnTo>
                  <a:pt x="7752" y="104038"/>
                </a:lnTo>
                <a:lnTo>
                  <a:pt x="29342" y="62270"/>
                </a:lnTo>
                <a:lnTo>
                  <a:pt x="62270" y="29342"/>
                </a:lnTo>
                <a:lnTo>
                  <a:pt x="104038" y="7752"/>
                </a:lnTo>
                <a:lnTo>
                  <a:pt x="152146" y="0"/>
                </a:lnTo>
                <a:lnTo>
                  <a:pt x="3633470" y="0"/>
                </a:lnTo>
                <a:lnTo>
                  <a:pt x="3681577" y="7752"/>
                </a:lnTo>
                <a:lnTo>
                  <a:pt x="3723345" y="29342"/>
                </a:lnTo>
                <a:lnTo>
                  <a:pt x="3756273" y="62270"/>
                </a:lnTo>
                <a:lnTo>
                  <a:pt x="3777863" y="104038"/>
                </a:lnTo>
                <a:lnTo>
                  <a:pt x="3785616" y="152145"/>
                </a:lnTo>
                <a:lnTo>
                  <a:pt x="3785616" y="760729"/>
                </a:lnTo>
                <a:lnTo>
                  <a:pt x="3777863" y="808837"/>
                </a:lnTo>
                <a:lnTo>
                  <a:pt x="3756273" y="850605"/>
                </a:lnTo>
                <a:lnTo>
                  <a:pt x="3723345" y="883533"/>
                </a:lnTo>
                <a:lnTo>
                  <a:pt x="3681577" y="905123"/>
                </a:lnTo>
                <a:lnTo>
                  <a:pt x="3633470" y="912876"/>
                </a:lnTo>
                <a:lnTo>
                  <a:pt x="152146" y="912876"/>
                </a:lnTo>
                <a:lnTo>
                  <a:pt x="104038" y="905123"/>
                </a:lnTo>
                <a:lnTo>
                  <a:pt x="62270" y="883533"/>
                </a:lnTo>
                <a:lnTo>
                  <a:pt x="29342" y="850605"/>
                </a:lnTo>
                <a:lnTo>
                  <a:pt x="7752" y="808837"/>
                </a:lnTo>
                <a:lnTo>
                  <a:pt x="0" y="760729"/>
                </a:lnTo>
                <a:lnTo>
                  <a:pt x="0" y="152145"/>
                </a:lnTo>
                <a:close/>
              </a:path>
            </a:pathLst>
          </a:custGeom>
          <a:ln w="12192">
            <a:solidFill>
              <a:srgbClr val="12ABDB"/>
            </a:solidFill>
          </a:ln>
        </p:spPr>
        <p:txBody>
          <a:bodyPr wrap="square" lIns="0" tIns="0" rIns="0" bIns="0" rtlCol="0"/>
          <a:lstStyle/>
          <a:p>
            <a:endParaRPr/>
          </a:p>
        </p:txBody>
      </p:sp>
      <p:sp>
        <p:nvSpPr>
          <p:cNvPr id="70" name="object 70"/>
          <p:cNvSpPr/>
          <p:nvPr/>
        </p:nvSpPr>
        <p:spPr>
          <a:xfrm>
            <a:off x="7308401" y="1265447"/>
            <a:ext cx="640715" cy="650240"/>
          </a:xfrm>
          <a:custGeom>
            <a:avLst/>
            <a:gdLst/>
            <a:ahLst/>
            <a:cxnLst/>
            <a:rect l="l" t="t" r="r" b="b"/>
            <a:pathLst>
              <a:path w="640715" h="650239">
                <a:moveTo>
                  <a:pt x="313088" y="0"/>
                </a:moveTo>
                <a:lnTo>
                  <a:pt x="268566" y="2559"/>
                </a:lnTo>
                <a:lnTo>
                  <a:pt x="224850" y="11484"/>
                </a:lnTo>
                <a:lnTo>
                  <a:pt x="182659" y="26824"/>
                </a:lnTo>
                <a:lnTo>
                  <a:pt x="142713" y="48626"/>
                </a:lnTo>
                <a:lnTo>
                  <a:pt x="105731" y="76942"/>
                </a:lnTo>
                <a:lnTo>
                  <a:pt x="72791" y="110519"/>
                </a:lnTo>
                <a:lnTo>
                  <a:pt x="45957" y="147871"/>
                </a:lnTo>
                <a:lnTo>
                  <a:pt x="25245" y="188274"/>
                </a:lnTo>
                <a:lnTo>
                  <a:pt x="10671" y="231006"/>
                </a:lnTo>
                <a:lnTo>
                  <a:pt x="2250" y="275344"/>
                </a:lnTo>
                <a:lnTo>
                  <a:pt x="0" y="320567"/>
                </a:lnTo>
                <a:lnTo>
                  <a:pt x="3935" y="365950"/>
                </a:lnTo>
                <a:lnTo>
                  <a:pt x="14072" y="410773"/>
                </a:lnTo>
                <a:lnTo>
                  <a:pt x="30427" y="454312"/>
                </a:lnTo>
                <a:lnTo>
                  <a:pt x="53016" y="495845"/>
                </a:lnTo>
                <a:lnTo>
                  <a:pt x="81855" y="534650"/>
                </a:lnTo>
                <a:lnTo>
                  <a:pt x="116440" y="569049"/>
                </a:lnTo>
                <a:lnTo>
                  <a:pt x="154414" y="597463"/>
                </a:lnTo>
                <a:lnTo>
                  <a:pt x="195090" y="619830"/>
                </a:lnTo>
                <a:lnTo>
                  <a:pt x="237783" y="636091"/>
                </a:lnTo>
                <a:lnTo>
                  <a:pt x="281808" y="646186"/>
                </a:lnTo>
                <a:lnTo>
                  <a:pt x="326477" y="650054"/>
                </a:lnTo>
                <a:lnTo>
                  <a:pt x="371106" y="647636"/>
                </a:lnTo>
                <a:lnTo>
                  <a:pt x="415009" y="638870"/>
                </a:lnTo>
                <a:lnTo>
                  <a:pt x="457499" y="623698"/>
                </a:lnTo>
                <a:lnTo>
                  <a:pt x="497891" y="602059"/>
                </a:lnTo>
                <a:lnTo>
                  <a:pt x="515688" y="588730"/>
                </a:lnTo>
                <a:lnTo>
                  <a:pt x="328966" y="588730"/>
                </a:lnTo>
                <a:lnTo>
                  <a:pt x="284686" y="584935"/>
                </a:lnTo>
                <a:lnTo>
                  <a:pt x="241353" y="573587"/>
                </a:lnTo>
                <a:lnTo>
                  <a:pt x="199995" y="554791"/>
                </a:lnTo>
                <a:lnTo>
                  <a:pt x="161642" y="528654"/>
                </a:lnTo>
                <a:lnTo>
                  <a:pt x="127321" y="495280"/>
                </a:lnTo>
                <a:lnTo>
                  <a:pt x="99225" y="456410"/>
                </a:lnTo>
                <a:lnTo>
                  <a:pt x="78820" y="414502"/>
                </a:lnTo>
                <a:lnTo>
                  <a:pt x="66046" y="370608"/>
                </a:lnTo>
                <a:lnTo>
                  <a:pt x="60841" y="325783"/>
                </a:lnTo>
                <a:lnTo>
                  <a:pt x="63146" y="281081"/>
                </a:lnTo>
                <a:lnTo>
                  <a:pt x="72899" y="237555"/>
                </a:lnTo>
                <a:lnTo>
                  <a:pt x="90040" y="196258"/>
                </a:lnTo>
                <a:lnTo>
                  <a:pt x="114509" y="158244"/>
                </a:lnTo>
                <a:lnTo>
                  <a:pt x="146244" y="124567"/>
                </a:lnTo>
                <a:lnTo>
                  <a:pt x="183534" y="97340"/>
                </a:lnTo>
                <a:lnTo>
                  <a:pt x="224025" y="77927"/>
                </a:lnTo>
                <a:lnTo>
                  <a:pt x="266696" y="66260"/>
                </a:lnTo>
                <a:lnTo>
                  <a:pt x="310524" y="62269"/>
                </a:lnTo>
                <a:lnTo>
                  <a:pt x="497864" y="62269"/>
                </a:lnTo>
                <a:lnTo>
                  <a:pt x="484838" y="52426"/>
                </a:lnTo>
                <a:lnTo>
                  <a:pt x="444290" y="30018"/>
                </a:lnTo>
                <a:lnTo>
                  <a:pt x="401670" y="13778"/>
                </a:lnTo>
                <a:lnTo>
                  <a:pt x="357696" y="3755"/>
                </a:lnTo>
                <a:lnTo>
                  <a:pt x="313088" y="0"/>
                </a:lnTo>
                <a:close/>
              </a:path>
              <a:path w="640715" h="650239">
                <a:moveTo>
                  <a:pt x="497864" y="62269"/>
                </a:moveTo>
                <a:lnTo>
                  <a:pt x="310524" y="62269"/>
                </a:lnTo>
                <a:lnTo>
                  <a:pt x="354487" y="65886"/>
                </a:lnTo>
                <a:lnTo>
                  <a:pt x="397563" y="77041"/>
                </a:lnTo>
                <a:lnTo>
                  <a:pt x="438729" y="95665"/>
                </a:lnTo>
                <a:lnTo>
                  <a:pt x="476962" y="121690"/>
                </a:lnTo>
                <a:lnTo>
                  <a:pt x="511242" y="155047"/>
                </a:lnTo>
                <a:lnTo>
                  <a:pt x="539429" y="193934"/>
                </a:lnTo>
                <a:lnTo>
                  <a:pt x="560079" y="235889"/>
                </a:lnTo>
                <a:lnTo>
                  <a:pt x="573208" y="279850"/>
                </a:lnTo>
                <a:lnTo>
                  <a:pt x="578834" y="324755"/>
                </a:lnTo>
                <a:lnTo>
                  <a:pt x="576972" y="369542"/>
                </a:lnTo>
                <a:lnTo>
                  <a:pt x="567639" y="413148"/>
                </a:lnTo>
                <a:lnTo>
                  <a:pt x="550853" y="454513"/>
                </a:lnTo>
                <a:lnTo>
                  <a:pt x="526630" y="492573"/>
                </a:lnTo>
                <a:lnTo>
                  <a:pt x="494986" y="526268"/>
                </a:lnTo>
                <a:lnTo>
                  <a:pt x="457203" y="553741"/>
                </a:lnTo>
                <a:lnTo>
                  <a:pt x="416253" y="573239"/>
                </a:lnTo>
                <a:lnTo>
                  <a:pt x="373165" y="584867"/>
                </a:lnTo>
                <a:lnTo>
                  <a:pt x="328966" y="588730"/>
                </a:lnTo>
                <a:lnTo>
                  <a:pt x="515688" y="588730"/>
                </a:lnTo>
                <a:lnTo>
                  <a:pt x="568208" y="539971"/>
                </a:lnTo>
                <a:lnTo>
                  <a:pt x="594886" y="502403"/>
                </a:lnTo>
                <a:lnTo>
                  <a:pt x="615493" y="461888"/>
                </a:lnTo>
                <a:lnTo>
                  <a:pt x="629988" y="419125"/>
                </a:lnTo>
                <a:lnTo>
                  <a:pt x="638329" y="374812"/>
                </a:lnTo>
                <a:lnTo>
                  <a:pt x="640475" y="329650"/>
                </a:lnTo>
                <a:lnTo>
                  <a:pt x="636384" y="284336"/>
                </a:lnTo>
                <a:lnTo>
                  <a:pt x="626016" y="239570"/>
                </a:lnTo>
                <a:lnTo>
                  <a:pt x="609329" y="196051"/>
                </a:lnTo>
                <a:lnTo>
                  <a:pt x="586283" y="154478"/>
                </a:lnTo>
                <a:lnTo>
                  <a:pt x="556835" y="115550"/>
                </a:lnTo>
                <a:lnTo>
                  <a:pt x="522592" y="80953"/>
                </a:lnTo>
                <a:lnTo>
                  <a:pt x="497864" y="62269"/>
                </a:lnTo>
                <a:close/>
              </a:path>
            </a:pathLst>
          </a:custGeom>
          <a:solidFill>
            <a:srgbClr val="EBE8E7"/>
          </a:solidFill>
        </p:spPr>
        <p:txBody>
          <a:bodyPr wrap="square" lIns="0" tIns="0" rIns="0" bIns="0" rtlCol="0"/>
          <a:lstStyle/>
          <a:p>
            <a:endParaRPr/>
          </a:p>
        </p:txBody>
      </p:sp>
      <p:sp>
        <p:nvSpPr>
          <p:cNvPr id="71" name="object 71"/>
          <p:cNvSpPr/>
          <p:nvPr/>
        </p:nvSpPr>
        <p:spPr>
          <a:xfrm>
            <a:off x="7308401" y="1265447"/>
            <a:ext cx="640715" cy="650240"/>
          </a:xfrm>
          <a:custGeom>
            <a:avLst/>
            <a:gdLst/>
            <a:ahLst/>
            <a:cxnLst/>
            <a:rect l="l" t="t" r="r" b="b"/>
            <a:pathLst>
              <a:path w="640715" h="650239">
                <a:moveTo>
                  <a:pt x="105731" y="76942"/>
                </a:moveTo>
                <a:lnTo>
                  <a:pt x="72791" y="110519"/>
                </a:lnTo>
                <a:lnTo>
                  <a:pt x="45957" y="147871"/>
                </a:lnTo>
                <a:lnTo>
                  <a:pt x="25245" y="188274"/>
                </a:lnTo>
                <a:lnTo>
                  <a:pt x="10671" y="231006"/>
                </a:lnTo>
                <a:lnTo>
                  <a:pt x="2250" y="275344"/>
                </a:lnTo>
                <a:lnTo>
                  <a:pt x="0" y="320567"/>
                </a:lnTo>
                <a:lnTo>
                  <a:pt x="3935" y="365950"/>
                </a:lnTo>
                <a:lnTo>
                  <a:pt x="14072" y="410773"/>
                </a:lnTo>
                <a:lnTo>
                  <a:pt x="30427" y="454312"/>
                </a:lnTo>
                <a:lnTo>
                  <a:pt x="53016" y="495845"/>
                </a:lnTo>
                <a:lnTo>
                  <a:pt x="81855" y="534650"/>
                </a:lnTo>
                <a:lnTo>
                  <a:pt x="116440" y="569049"/>
                </a:lnTo>
                <a:lnTo>
                  <a:pt x="154414" y="597463"/>
                </a:lnTo>
                <a:lnTo>
                  <a:pt x="195090" y="619830"/>
                </a:lnTo>
                <a:lnTo>
                  <a:pt x="237783" y="636091"/>
                </a:lnTo>
                <a:lnTo>
                  <a:pt x="281808" y="646186"/>
                </a:lnTo>
                <a:lnTo>
                  <a:pt x="326477" y="650054"/>
                </a:lnTo>
                <a:lnTo>
                  <a:pt x="371106" y="647636"/>
                </a:lnTo>
                <a:lnTo>
                  <a:pt x="415009" y="638870"/>
                </a:lnTo>
                <a:lnTo>
                  <a:pt x="457499" y="623698"/>
                </a:lnTo>
                <a:lnTo>
                  <a:pt x="497891" y="602059"/>
                </a:lnTo>
                <a:lnTo>
                  <a:pt x="535499" y="573893"/>
                </a:lnTo>
                <a:lnTo>
                  <a:pt x="568208" y="539971"/>
                </a:lnTo>
                <a:lnTo>
                  <a:pt x="594886" y="502403"/>
                </a:lnTo>
                <a:lnTo>
                  <a:pt x="615493" y="461888"/>
                </a:lnTo>
                <a:lnTo>
                  <a:pt x="629988" y="419125"/>
                </a:lnTo>
                <a:lnTo>
                  <a:pt x="638329" y="374812"/>
                </a:lnTo>
                <a:lnTo>
                  <a:pt x="640475" y="329650"/>
                </a:lnTo>
                <a:lnTo>
                  <a:pt x="636384" y="284336"/>
                </a:lnTo>
                <a:lnTo>
                  <a:pt x="626016" y="239570"/>
                </a:lnTo>
                <a:lnTo>
                  <a:pt x="609329" y="196051"/>
                </a:lnTo>
                <a:lnTo>
                  <a:pt x="586283" y="154478"/>
                </a:lnTo>
                <a:lnTo>
                  <a:pt x="556835" y="115550"/>
                </a:lnTo>
                <a:lnTo>
                  <a:pt x="522592" y="80953"/>
                </a:lnTo>
                <a:lnTo>
                  <a:pt x="484838" y="52426"/>
                </a:lnTo>
                <a:lnTo>
                  <a:pt x="444290" y="30018"/>
                </a:lnTo>
                <a:lnTo>
                  <a:pt x="401670" y="13778"/>
                </a:lnTo>
                <a:lnTo>
                  <a:pt x="357696" y="3755"/>
                </a:lnTo>
                <a:lnTo>
                  <a:pt x="313088" y="0"/>
                </a:lnTo>
                <a:lnTo>
                  <a:pt x="268566" y="2559"/>
                </a:lnTo>
                <a:lnTo>
                  <a:pt x="224850" y="11484"/>
                </a:lnTo>
                <a:lnTo>
                  <a:pt x="182659" y="26824"/>
                </a:lnTo>
                <a:lnTo>
                  <a:pt x="142713" y="48626"/>
                </a:lnTo>
                <a:lnTo>
                  <a:pt x="105731" y="76942"/>
                </a:lnTo>
                <a:close/>
              </a:path>
            </a:pathLst>
          </a:custGeom>
          <a:ln w="6350">
            <a:solidFill>
              <a:srgbClr val="BEBEBE"/>
            </a:solidFill>
          </a:ln>
        </p:spPr>
        <p:txBody>
          <a:bodyPr wrap="square" lIns="0" tIns="0" rIns="0" bIns="0" rtlCol="0"/>
          <a:lstStyle/>
          <a:p>
            <a:endParaRPr/>
          </a:p>
        </p:txBody>
      </p:sp>
      <p:sp>
        <p:nvSpPr>
          <p:cNvPr id="72" name="object 72"/>
          <p:cNvSpPr/>
          <p:nvPr/>
        </p:nvSpPr>
        <p:spPr>
          <a:xfrm>
            <a:off x="7369243" y="1327717"/>
            <a:ext cx="518159" cy="527050"/>
          </a:xfrm>
          <a:custGeom>
            <a:avLst/>
            <a:gdLst/>
            <a:ahLst/>
            <a:cxnLst/>
            <a:rect l="l" t="t" r="r" b="b"/>
            <a:pathLst>
              <a:path w="518159" h="527050">
                <a:moveTo>
                  <a:pt x="434144" y="463998"/>
                </a:moveTo>
                <a:lnTo>
                  <a:pt x="396361" y="491472"/>
                </a:lnTo>
                <a:lnTo>
                  <a:pt x="355412" y="510969"/>
                </a:lnTo>
                <a:lnTo>
                  <a:pt x="312323" y="522597"/>
                </a:lnTo>
                <a:lnTo>
                  <a:pt x="268124" y="526461"/>
                </a:lnTo>
                <a:lnTo>
                  <a:pt x="223844" y="522666"/>
                </a:lnTo>
                <a:lnTo>
                  <a:pt x="180511" y="511318"/>
                </a:lnTo>
                <a:lnTo>
                  <a:pt x="139154" y="492522"/>
                </a:lnTo>
                <a:lnTo>
                  <a:pt x="100800" y="466384"/>
                </a:lnTo>
                <a:lnTo>
                  <a:pt x="66479" y="433010"/>
                </a:lnTo>
                <a:lnTo>
                  <a:pt x="38383" y="394141"/>
                </a:lnTo>
                <a:lnTo>
                  <a:pt x="17978" y="352232"/>
                </a:lnTo>
                <a:lnTo>
                  <a:pt x="5204" y="308339"/>
                </a:lnTo>
                <a:lnTo>
                  <a:pt x="0" y="263514"/>
                </a:lnTo>
                <a:lnTo>
                  <a:pt x="2304" y="218812"/>
                </a:lnTo>
                <a:lnTo>
                  <a:pt x="12057" y="175285"/>
                </a:lnTo>
                <a:lnTo>
                  <a:pt x="29199" y="133988"/>
                </a:lnTo>
                <a:lnTo>
                  <a:pt x="53667" y="95974"/>
                </a:lnTo>
                <a:lnTo>
                  <a:pt x="85402" y="62297"/>
                </a:lnTo>
                <a:lnTo>
                  <a:pt x="122692" y="35070"/>
                </a:lnTo>
                <a:lnTo>
                  <a:pt x="163184" y="15658"/>
                </a:lnTo>
                <a:lnTo>
                  <a:pt x="205855" y="3990"/>
                </a:lnTo>
                <a:lnTo>
                  <a:pt x="249683" y="0"/>
                </a:lnTo>
                <a:lnTo>
                  <a:pt x="293646" y="3616"/>
                </a:lnTo>
                <a:lnTo>
                  <a:pt x="336721" y="14771"/>
                </a:lnTo>
                <a:lnTo>
                  <a:pt x="377887" y="33396"/>
                </a:lnTo>
                <a:lnTo>
                  <a:pt x="416121" y="59421"/>
                </a:lnTo>
                <a:lnTo>
                  <a:pt x="450400" y="92777"/>
                </a:lnTo>
                <a:lnTo>
                  <a:pt x="478588" y="131665"/>
                </a:lnTo>
                <a:lnTo>
                  <a:pt x="499238" y="173620"/>
                </a:lnTo>
                <a:lnTo>
                  <a:pt x="512367" y="217581"/>
                </a:lnTo>
                <a:lnTo>
                  <a:pt x="517992" y="262486"/>
                </a:lnTo>
                <a:lnTo>
                  <a:pt x="516130" y="307272"/>
                </a:lnTo>
                <a:lnTo>
                  <a:pt x="506798" y="350879"/>
                </a:lnTo>
                <a:lnTo>
                  <a:pt x="490011" y="392244"/>
                </a:lnTo>
                <a:lnTo>
                  <a:pt x="465788" y="430304"/>
                </a:lnTo>
                <a:lnTo>
                  <a:pt x="434144" y="463998"/>
                </a:lnTo>
                <a:close/>
              </a:path>
            </a:pathLst>
          </a:custGeom>
          <a:ln w="6350">
            <a:solidFill>
              <a:srgbClr val="BEBEBE"/>
            </a:solidFill>
          </a:ln>
        </p:spPr>
        <p:txBody>
          <a:bodyPr wrap="square" lIns="0" tIns="0" rIns="0" bIns="0" rtlCol="0"/>
          <a:lstStyle/>
          <a:p>
            <a:endParaRPr/>
          </a:p>
        </p:txBody>
      </p:sp>
      <p:sp>
        <p:nvSpPr>
          <p:cNvPr id="73" name="object 73"/>
          <p:cNvSpPr/>
          <p:nvPr/>
        </p:nvSpPr>
        <p:spPr>
          <a:xfrm>
            <a:off x="7369349" y="1326183"/>
            <a:ext cx="518159" cy="527050"/>
          </a:xfrm>
          <a:custGeom>
            <a:avLst/>
            <a:gdLst/>
            <a:ahLst/>
            <a:cxnLst/>
            <a:rect l="l" t="t" r="r" b="b"/>
            <a:pathLst>
              <a:path w="518159" h="527050">
                <a:moveTo>
                  <a:pt x="249229" y="0"/>
                </a:moveTo>
                <a:lnTo>
                  <a:pt x="205410" y="3944"/>
                </a:lnTo>
                <a:lnTo>
                  <a:pt x="162758" y="15574"/>
                </a:lnTo>
                <a:lnTo>
                  <a:pt x="122295" y="34962"/>
                </a:lnTo>
                <a:lnTo>
                  <a:pt x="85042" y="62180"/>
                </a:lnTo>
                <a:lnTo>
                  <a:pt x="53358" y="95824"/>
                </a:lnTo>
                <a:lnTo>
                  <a:pt x="28955" y="133821"/>
                </a:lnTo>
                <a:lnTo>
                  <a:pt x="11890" y="175116"/>
                </a:lnTo>
                <a:lnTo>
                  <a:pt x="2220" y="218653"/>
                </a:lnTo>
                <a:lnTo>
                  <a:pt x="0" y="263377"/>
                </a:lnTo>
                <a:lnTo>
                  <a:pt x="5286" y="308231"/>
                </a:lnTo>
                <a:lnTo>
                  <a:pt x="18137" y="352160"/>
                </a:lnTo>
                <a:lnTo>
                  <a:pt x="38607" y="394109"/>
                </a:lnTo>
                <a:lnTo>
                  <a:pt x="66754" y="433020"/>
                </a:lnTo>
                <a:lnTo>
                  <a:pt x="101075" y="466512"/>
                </a:lnTo>
                <a:lnTo>
                  <a:pt x="139427" y="492751"/>
                </a:lnTo>
                <a:lnTo>
                  <a:pt x="180782" y="511633"/>
                </a:lnTo>
                <a:lnTo>
                  <a:pt x="224108" y="523056"/>
                </a:lnTo>
                <a:lnTo>
                  <a:pt x="268378" y="526914"/>
                </a:lnTo>
                <a:lnTo>
                  <a:pt x="312561" y="523106"/>
                </a:lnTo>
                <a:lnTo>
                  <a:pt x="355627" y="511527"/>
                </a:lnTo>
                <a:lnTo>
                  <a:pt x="396548" y="492074"/>
                </a:lnTo>
                <a:lnTo>
                  <a:pt x="434292" y="464643"/>
                </a:lnTo>
                <a:lnTo>
                  <a:pt x="465890" y="430944"/>
                </a:lnTo>
                <a:lnTo>
                  <a:pt x="490059" y="392870"/>
                </a:lnTo>
                <a:lnTo>
                  <a:pt x="506786" y="351482"/>
                </a:lnTo>
                <a:lnTo>
                  <a:pt x="516056" y="307842"/>
                </a:lnTo>
                <a:lnTo>
                  <a:pt x="517855" y="263013"/>
                </a:lnTo>
                <a:lnTo>
                  <a:pt x="512167" y="218056"/>
                </a:lnTo>
                <a:lnTo>
                  <a:pt x="498978" y="174034"/>
                </a:lnTo>
                <a:lnTo>
                  <a:pt x="478275" y="132009"/>
                </a:lnTo>
                <a:lnTo>
                  <a:pt x="450040" y="93041"/>
                </a:lnTo>
                <a:lnTo>
                  <a:pt x="415723" y="59638"/>
                </a:lnTo>
                <a:lnTo>
                  <a:pt x="377461" y="33560"/>
                </a:lnTo>
                <a:lnTo>
                  <a:pt x="336277" y="14880"/>
                </a:lnTo>
                <a:lnTo>
                  <a:pt x="293192" y="3669"/>
                </a:lnTo>
                <a:lnTo>
                  <a:pt x="249229" y="0"/>
                </a:lnTo>
                <a:close/>
              </a:path>
            </a:pathLst>
          </a:custGeom>
          <a:solidFill>
            <a:srgbClr val="BBE7FF"/>
          </a:solidFill>
        </p:spPr>
        <p:txBody>
          <a:bodyPr wrap="square" lIns="0" tIns="0" rIns="0" bIns="0" rtlCol="0"/>
          <a:lstStyle/>
          <a:p>
            <a:endParaRPr/>
          </a:p>
        </p:txBody>
      </p:sp>
      <p:sp>
        <p:nvSpPr>
          <p:cNvPr id="74" name="object 74"/>
          <p:cNvSpPr/>
          <p:nvPr/>
        </p:nvSpPr>
        <p:spPr>
          <a:xfrm>
            <a:off x="7369443" y="1320320"/>
            <a:ext cx="295275" cy="526415"/>
          </a:xfrm>
          <a:custGeom>
            <a:avLst/>
            <a:gdLst/>
            <a:ahLst/>
            <a:cxnLst/>
            <a:rect l="l" t="t" r="r" b="b"/>
            <a:pathLst>
              <a:path w="295275" h="526414">
                <a:moveTo>
                  <a:pt x="250308" y="0"/>
                </a:moveTo>
                <a:lnTo>
                  <a:pt x="205988" y="3435"/>
                </a:lnTo>
                <a:lnTo>
                  <a:pt x="162959" y="14831"/>
                </a:lnTo>
                <a:lnTo>
                  <a:pt x="122265" y="34299"/>
                </a:lnTo>
                <a:lnTo>
                  <a:pt x="84948" y="61947"/>
                </a:lnTo>
                <a:lnTo>
                  <a:pt x="53302" y="95582"/>
                </a:lnTo>
                <a:lnTo>
                  <a:pt x="28927" y="133556"/>
                </a:lnTo>
                <a:lnTo>
                  <a:pt x="11881" y="174817"/>
                </a:lnTo>
                <a:lnTo>
                  <a:pt x="2220" y="218314"/>
                </a:lnTo>
                <a:lnTo>
                  <a:pt x="0" y="262996"/>
                </a:lnTo>
                <a:lnTo>
                  <a:pt x="5277" y="307810"/>
                </a:lnTo>
                <a:lnTo>
                  <a:pt x="18109" y="351705"/>
                </a:lnTo>
                <a:lnTo>
                  <a:pt x="38551" y="393630"/>
                </a:lnTo>
                <a:lnTo>
                  <a:pt x="66660" y="432533"/>
                </a:lnTo>
                <a:lnTo>
                  <a:pt x="101555" y="466044"/>
                </a:lnTo>
                <a:lnTo>
                  <a:pt x="140320" y="492288"/>
                </a:lnTo>
                <a:lnTo>
                  <a:pt x="181921" y="511162"/>
                </a:lnTo>
                <a:lnTo>
                  <a:pt x="225319" y="522563"/>
                </a:lnTo>
                <a:lnTo>
                  <a:pt x="269479" y="526386"/>
                </a:lnTo>
                <a:lnTo>
                  <a:pt x="226452" y="514904"/>
                </a:lnTo>
                <a:lnTo>
                  <a:pt x="185390" y="495970"/>
                </a:lnTo>
                <a:lnTo>
                  <a:pt x="147446" y="469700"/>
                </a:lnTo>
                <a:lnTo>
                  <a:pt x="113777" y="436216"/>
                </a:lnTo>
                <a:lnTo>
                  <a:pt x="85618" y="397380"/>
                </a:lnTo>
                <a:lnTo>
                  <a:pt x="65050" y="355556"/>
                </a:lnTo>
                <a:lnTo>
                  <a:pt x="52055" y="311775"/>
                </a:lnTo>
                <a:lnTo>
                  <a:pt x="46615" y="267065"/>
                </a:lnTo>
                <a:lnTo>
                  <a:pt x="48709" y="222457"/>
                </a:lnTo>
                <a:lnTo>
                  <a:pt x="58321" y="178980"/>
                </a:lnTo>
                <a:lnTo>
                  <a:pt x="75430" y="137663"/>
                </a:lnTo>
                <a:lnTo>
                  <a:pt x="100017" y="99537"/>
                </a:lnTo>
                <a:lnTo>
                  <a:pt x="132065" y="65630"/>
                </a:lnTo>
                <a:lnTo>
                  <a:pt x="168667" y="38224"/>
                </a:lnTo>
                <a:lnTo>
                  <a:pt x="208758" y="18973"/>
                </a:lnTo>
                <a:lnTo>
                  <a:pt x="251205" y="7748"/>
                </a:lnTo>
                <a:lnTo>
                  <a:pt x="294879" y="4416"/>
                </a:lnTo>
                <a:lnTo>
                  <a:pt x="250308" y="0"/>
                </a:lnTo>
                <a:close/>
              </a:path>
            </a:pathLst>
          </a:custGeom>
          <a:solidFill>
            <a:srgbClr val="12ABDB"/>
          </a:solidFill>
        </p:spPr>
        <p:txBody>
          <a:bodyPr wrap="square" lIns="0" tIns="0" rIns="0" bIns="0" rtlCol="0"/>
          <a:lstStyle/>
          <a:p>
            <a:endParaRPr/>
          </a:p>
        </p:txBody>
      </p:sp>
      <p:sp>
        <p:nvSpPr>
          <p:cNvPr id="75" name="object 75"/>
          <p:cNvSpPr/>
          <p:nvPr/>
        </p:nvSpPr>
        <p:spPr>
          <a:xfrm>
            <a:off x="7609458" y="1218311"/>
            <a:ext cx="439420" cy="775335"/>
          </a:xfrm>
          <a:custGeom>
            <a:avLst/>
            <a:gdLst/>
            <a:ahLst/>
            <a:cxnLst/>
            <a:rect l="l" t="t" r="r" b="b"/>
            <a:pathLst>
              <a:path w="439420" h="775335">
                <a:moveTo>
                  <a:pt x="0" y="769492"/>
                </a:moveTo>
                <a:lnTo>
                  <a:pt x="47212" y="775024"/>
                </a:lnTo>
                <a:lnTo>
                  <a:pt x="94488" y="774714"/>
                </a:lnTo>
                <a:lnTo>
                  <a:pt x="129816" y="770050"/>
                </a:lnTo>
                <a:lnTo>
                  <a:pt x="47319" y="770050"/>
                </a:lnTo>
                <a:lnTo>
                  <a:pt x="0" y="769492"/>
                </a:lnTo>
                <a:close/>
              </a:path>
              <a:path w="439420" h="775335">
                <a:moveTo>
                  <a:pt x="336825" y="133223"/>
                </a:moveTo>
                <a:lnTo>
                  <a:pt x="299974" y="133223"/>
                </a:lnTo>
                <a:lnTo>
                  <a:pt x="300990" y="134874"/>
                </a:lnTo>
                <a:lnTo>
                  <a:pt x="309110" y="145166"/>
                </a:lnTo>
                <a:lnTo>
                  <a:pt x="316801" y="155781"/>
                </a:lnTo>
                <a:lnTo>
                  <a:pt x="355355" y="218662"/>
                </a:lnTo>
                <a:lnTo>
                  <a:pt x="373942" y="261544"/>
                </a:lnTo>
                <a:lnTo>
                  <a:pt x="387254" y="305700"/>
                </a:lnTo>
                <a:lnTo>
                  <a:pt x="395318" y="350637"/>
                </a:lnTo>
                <a:lnTo>
                  <a:pt x="398156" y="395861"/>
                </a:lnTo>
                <a:lnTo>
                  <a:pt x="395795" y="440880"/>
                </a:lnTo>
                <a:lnTo>
                  <a:pt x="388258" y="485200"/>
                </a:lnTo>
                <a:lnTo>
                  <a:pt x="375571" y="528329"/>
                </a:lnTo>
                <a:lnTo>
                  <a:pt x="357759" y="569773"/>
                </a:lnTo>
                <a:lnTo>
                  <a:pt x="334844" y="609040"/>
                </a:lnTo>
                <a:lnTo>
                  <a:pt x="306854" y="645636"/>
                </a:lnTo>
                <a:lnTo>
                  <a:pt x="273812" y="679068"/>
                </a:lnTo>
                <a:lnTo>
                  <a:pt x="233934" y="710184"/>
                </a:lnTo>
                <a:lnTo>
                  <a:pt x="198143" y="730865"/>
                </a:lnTo>
                <a:lnTo>
                  <a:pt x="186563" y="736853"/>
                </a:lnTo>
                <a:lnTo>
                  <a:pt x="183515" y="738886"/>
                </a:lnTo>
                <a:lnTo>
                  <a:pt x="139338" y="754544"/>
                </a:lnTo>
                <a:lnTo>
                  <a:pt x="93852" y="765000"/>
                </a:lnTo>
                <a:lnTo>
                  <a:pt x="47319" y="770050"/>
                </a:lnTo>
                <a:lnTo>
                  <a:pt x="129816" y="770050"/>
                </a:lnTo>
                <a:lnTo>
                  <a:pt x="186944" y="756482"/>
                </a:lnTo>
                <a:lnTo>
                  <a:pt x="230981" y="738519"/>
                </a:lnTo>
                <a:lnTo>
                  <a:pt x="272796" y="714628"/>
                </a:lnTo>
                <a:lnTo>
                  <a:pt x="312674" y="683640"/>
                </a:lnTo>
                <a:lnTo>
                  <a:pt x="346286" y="649827"/>
                </a:lnTo>
                <a:lnTo>
                  <a:pt x="374771" y="612789"/>
                </a:lnTo>
                <a:lnTo>
                  <a:pt x="398096" y="573030"/>
                </a:lnTo>
                <a:lnTo>
                  <a:pt x="416228" y="531056"/>
                </a:lnTo>
                <a:lnTo>
                  <a:pt x="429135" y="487370"/>
                </a:lnTo>
                <a:lnTo>
                  <a:pt x="436783" y="442476"/>
                </a:lnTo>
                <a:lnTo>
                  <a:pt x="439141" y="396880"/>
                </a:lnTo>
                <a:lnTo>
                  <a:pt x="436176" y="351085"/>
                </a:lnTo>
                <a:lnTo>
                  <a:pt x="427855" y="305595"/>
                </a:lnTo>
                <a:lnTo>
                  <a:pt x="414145" y="260915"/>
                </a:lnTo>
                <a:lnTo>
                  <a:pt x="395014" y="217550"/>
                </a:lnTo>
                <a:lnTo>
                  <a:pt x="370430" y="176003"/>
                </a:lnTo>
                <a:lnTo>
                  <a:pt x="340360" y="136778"/>
                </a:lnTo>
                <a:lnTo>
                  <a:pt x="336825" y="133223"/>
                </a:lnTo>
                <a:close/>
              </a:path>
              <a:path w="439420" h="775335">
                <a:moveTo>
                  <a:pt x="328243" y="124587"/>
                </a:moveTo>
                <a:lnTo>
                  <a:pt x="291973" y="124587"/>
                </a:lnTo>
                <a:lnTo>
                  <a:pt x="292989" y="126111"/>
                </a:lnTo>
                <a:lnTo>
                  <a:pt x="294132" y="127762"/>
                </a:lnTo>
                <a:lnTo>
                  <a:pt x="296164" y="131063"/>
                </a:lnTo>
                <a:lnTo>
                  <a:pt x="297307" y="132587"/>
                </a:lnTo>
                <a:lnTo>
                  <a:pt x="298323" y="134238"/>
                </a:lnTo>
                <a:lnTo>
                  <a:pt x="299974" y="133223"/>
                </a:lnTo>
                <a:lnTo>
                  <a:pt x="336825" y="133223"/>
                </a:lnTo>
                <a:lnTo>
                  <a:pt x="328243" y="124587"/>
                </a:lnTo>
                <a:close/>
              </a:path>
              <a:path w="439420" h="775335">
                <a:moveTo>
                  <a:pt x="319534" y="115824"/>
                </a:moveTo>
                <a:lnTo>
                  <a:pt x="283972" y="115824"/>
                </a:lnTo>
                <a:lnTo>
                  <a:pt x="284988" y="117475"/>
                </a:lnTo>
                <a:lnTo>
                  <a:pt x="286131" y="119125"/>
                </a:lnTo>
                <a:lnTo>
                  <a:pt x="287147" y="120776"/>
                </a:lnTo>
                <a:lnTo>
                  <a:pt x="288290" y="122300"/>
                </a:lnTo>
                <a:lnTo>
                  <a:pt x="290322" y="125602"/>
                </a:lnTo>
                <a:lnTo>
                  <a:pt x="291973" y="124587"/>
                </a:lnTo>
                <a:lnTo>
                  <a:pt x="328243" y="124587"/>
                </a:lnTo>
                <a:lnTo>
                  <a:pt x="319534" y="115824"/>
                </a:lnTo>
                <a:close/>
              </a:path>
              <a:path w="439420" h="775335">
                <a:moveTo>
                  <a:pt x="314106" y="110362"/>
                </a:moveTo>
                <a:lnTo>
                  <a:pt x="278130" y="110362"/>
                </a:lnTo>
                <a:lnTo>
                  <a:pt x="279146" y="112013"/>
                </a:lnTo>
                <a:lnTo>
                  <a:pt x="280289" y="113664"/>
                </a:lnTo>
                <a:lnTo>
                  <a:pt x="281305" y="115315"/>
                </a:lnTo>
                <a:lnTo>
                  <a:pt x="282448" y="116839"/>
                </a:lnTo>
                <a:lnTo>
                  <a:pt x="283972" y="115824"/>
                </a:lnTo>
                <a:lnTo>
                  <a:pt x="319534" y="115824"/>
                </a:lnTo>
                <a:lnTo>
                  <a:pt x="314106" y="110362"/>
                </a:lnTo>
                <a:close/>
              </a:path>
              <a:path w="439420" h="775335">
                <a:moveTo>
                  <a:pt x="36957" y="0"/>
                </a:moveTo>
                <a:lnTo>
                  <a:pt x="87835" y="7558"/>
                </a:lnTo>
                <a:lnTo>
                  <a:pt x="137780" y="22181"/>
                </a:lnTo>
                <a:lnTo>
                  <a:pt x="185921" y="43680"/>
                </a:lnTo>
                <a:lnTo>
                  <a:pt x="231386" y="71867"/>
                </a:lnTo>
                <a:lnTo>
                  <a:pt x="273304" y="106552"/>
                </a:lnTo>
                <a:lnTo>
                  <a:pt x="275463" y="109854"/>
                </a:lnTo>
                <a:lnTo>
                  <a:pt x="276606" y="111505"/>
                </a:lnTo>
                <a:lnTo>
                  <a:pt x="278130" y="110362"/>
                </a:lnTo>
                <a:lnTo>
                  <a:pt x="314106" y="110362"/>
                </a:lnTo>
                <a:lnTo>
                  <a:pt x="303659" y="99850"/>
                </a:lnTo>
                <a:lnTo>
                  <a:pt x="263814" y="68585"/>
                </a:lnTo>
                <a:lnTo>
                  <a:pt x="221384" y="43062"/>
                </a:lnTo>
                <a:lnTo>
                  <a:pt x="176926" y="23363"/>
                </a:lnTo>
                <a:lnTo>
                  <a:pt x="130996" y="9566"/>
                </a:lnTo>
                <a:lnTo>
                  <a:pt x="84154" y="1751"/>
                </a:lnTo>
                <a:lnTo>
                  <a:pt x="36957" y="0"/>
                </a:lnTo>
                <a:close/>
              </a:path>
            </a:pathLst>
          </a:custGeom>
          <a:solidFill>
            <a:srgbClr val="A6A6A6"/>
          </a:solidFill>
        </p:spPr>
        <p:txBody>
          <a:bodyPr wrap="square" lIns="0" tIns="0" rIns="0" bIns="0" rtlCol="0"/>
          <a:lstStyle/>
          <a:p>
            <a:endParaRPr/>
          </a:p>
        </p:txBody>
      </p:sp>
      <p:sp>
        <p:nvSpPr>
          <p:cNvPr id="76" name="object 76"/>
          <p:cNvSpPr/>
          <p:nvPr/>
        </p:nvSpPr>
        <p:spPr>
          <a:xfrm>
            <a:off x="7504176" y="1466088"/>
            <a:ext cx="248411" cy="248412"/>
          </a:xfrm>
          <a:prstGeom prst="rect">
            <a:avLst/>
          </a:prstGeom>
          <a:blipFill>
            <a:blip r:embed="rId8" cstate="print"/>
            <a:stretch>
              <a:fillRect/>
            </a:stretch>
          </a:blipFill>
        </p:spPr>
        <p:txBody>
          <a:bodyPr wrap="square" lIns="0" tIns="0" rIns="0" bIns="0" rtlCol="0"/>
          <a:lstStyle/>
          <a:p>
            <a:endParaRPr/>
          </a:p>
        </p:txBody>
      </p:sp>
      <p:sp>
        <p:nvSpPr>
          <p:cNvPr id="77" name="object 77"/>
          <p:cNvSpPr txBox="1"/>
          <p:nvPr/>
        </p:nvSpPr>
        <p:spPr>
          <a:xfrm>
            <a:off x="5464809" y="5843422"/>
            <a:ext cx="4350385" cy="557530"/>
          </a:xfrm>
          <a:prstGeom prst="rect">
            <a:avLst/>
          </a:prstGeom>
        </p:spPr>
        <p:txBody>
          <a:bodyPr vert="horz" wrap="square" lIns="0" tIns="36830" rIns="0" bIns="0" rtlCol="0">
            <a:spAutoFit/>
          </a:bodyPr>
          <a:lstStyle/>
          <a:p>
            <a:pPr marL="12700">
              <a:lnSpc>
                <a:spcPct val="100000"/>
              </a:lnSpc>
              <a:spcBef>
                <a:spcPts val="290"/>
              </a:spcBef>
            </a:pPr>
            <a:r>
              <a:rPr sz="1000" b="1" spc="-10">
                <a:latin typeface="Verdana"/>
                <a:cs typeface="Verdana"/>
              </a:rPr>
              <a:t>Onboard</a:t>
            </a:r>
            <a:endParaRPr sz="1000">
              <a:latin typeface="Verdana"/>
              <a:cs typeface="Verdana"/>
            </a:endParaRPr>
          </a:p>
          <a:p>
            <a:pPr marL="184785" indent="-172720">
              <a:lnSpc>
                <a:spcPct val="100000"/>
              </a:lnSpc>
              <a:spcBef>
                <a:spcPts val="195"/>
              </a:spcBef>
              <a:buClr>
                <a:srgbClr val="006FAC"/>
              </a:buClr>
              <a:buFont typeface="Wingdings"/>
              <a:buChar char=""/>
              <a:tabLst>
                <a:tab pos="185420" algn="l"/>
              </a:tabLst>
            </a:pPr>
            <a:r>
              <a:rPr sz="1000" spc="-5">
                <a:latin typeface="Verdana"/>
                <a:cs typeface="Verdana"/>
              </a:rPr>
              <a:t>Ensure knowledge transfer and onboarding to </a:t>
            </a:r>
            <a:r>
              <a:rPr sz="1000" spc="-10">
                <a:latin typeface="Verdana"/>
                <a:cs typeface="Verdana"/>
              </a:rPr>
              <a:t>key </a:t>
            </a:r>
            <a:r>
              <a:rPr sz="1000" spc="-5">
                <a:latin typeface="Verdana"/>
                <a:cs typeface="Verdana"/>
              </a:rPr>
              <a:t>user of</a:t>
            </a:r>
            <a:r>
              <a:rPr sz="1000" spc="204">
                <a:latin typeface="Verdana"/>
                <a:cs typeface="Verdana"/>
              </a:rPr>
              <a:t> </a:t>
            </a:r>
            <a:r>
              <a:rPr sz="1000" spc="-5">
                <a:latin typeface="Verdana"/>
                <a:cs typeface="Verdana"/>
              </a:rPr>
              <a:t>Marelli</a:t>
            </a:r>
            <a:endParaRPr sz="1000">
              <a:latin typeface="Verdana"/>
              <a:cs typeface="Verdana"/>
            </a:endParaRPr>
          </a:p>
          <a:p>
            <a:pPr marL="184785" indent="-172720">
              <a:lnSpc>
                <a:spcPct val="100000"/>
              </a:lnSpc>
              <a:spcBef>
                <a:spcPts val="200"/>
              </a:spcBef>
              <a:buClr>
                <a:srgbClr val="006FAC"/>
              </a:buClr>
              <a:buFont typeface="Wingdings"/>
              <a:buChar char=""/>
              <a:tabLst>
                <a:tab pos="185420" algn="l"/>
              </a:tabLst>
            </a:pPr>
            <a:r>
              <a:rPr sz="1000" spc="-5">
                <a:latin typeface="Verdana"/>
                <a:cs typeface="Verdana"/>
              </a:rPr>
              <a:t>Continuously </a:t>
            </a:r>
            <a:r>
              <a:rPr sz="1000" spc="-10">
                <a:latin typeface="Verdana"/>
                <a:cs typeface="Verdana"/>
              </a:rPr>
              <a:t>empower </a:t>
            </a:r>
            <a:r>
              <a:rPr sz="1000" spc="-5">
                <a:latin typeface="Verdana"/>
                <a:cs typeface="Verdana"/>
              </a:rPr>
              <a:t>Marelli according to learning</a:t>
            </a:r>
            <a:r>
              <a:rPr sz="1000" spc="110">
                <a:latin typeface="Verdana"/>
                <a:cs typeface="Verdana"/>
              </a:rPr>
              <a:t> </a:t>
            </a:r>
            <a:r>
              <a:rPr sz="1000" spc="-5">
                <a:latin typeface="Verdana"/>
                <a:cs typeface="Verdana"/>
              </a:rPr>
              <a:t>curve</a:t>
            </a:r>
            <a:endParaRPr sz="1000">
              <a:latin typeface="Verdana"/>
              <a:cs typeface="Verdana"/>
            </a:endParaRPr>
          </a:p>
        </p:txBody>
      </p:sp>
      <p:sp>
        <p:nvSpPr>
          <p:cNvPr id="78" name="object 78"/>
          <p:cNvSpPr/>
          <p:nvPr/>
        </p:nvSpPr>
        <p:spPr>
          <a:xfrm>
            <a:off x="5128259" y="5791200"/>
            <a:ext cx="5869305" cy="685800"/>
          </a:xfrm>
          <a:custGeom>
            <a:avLst/>
            <a:gdLst/>
            <a:ahLst/>
            <a:cxnLst/>
            <a:rect l="l" t="t" r="r" b="b"/>
            <a:pathLst>
              <a:path w="5869305" h="685800">
                <a:moveTo>
                  <a:pt x="0" y="114300"/>
                </a:moveTo>
                <a:lnTo>
                  <a:pt x="8983" y="69812"/>
                </a:lnTo>
                <a:lnTo>
                  <a:pt x="33480" y="33480"/>
                </a:lnTo>
                <a:lnTo>
                  <a:pt x="69812" y="8983"/>
                </a:lnTo>
                <a:lnTo>
                  <a:pt x="114300" y="0"/>
                </a:lnTo>
                <a:lnTo>
                  <a:pt x="5754623" y="0"/>
                </a:lnTo>
                <a:lnTo>
                  <a:pt x="5799111" y="8983"/>
                </a:lnTo>
                <a:lnTo>
                  <a:pt x="5835443" y="33480"/>
                </a:lnTo>
                <a:lnTo>
                  <a:pt x="5859940" y="69812"/>
                </a:lnTo>
                <a:lnTo>
                  <a:pt x="5868923" y="114300"/>
                </a:lnTo>
                <a:lnTo>
                  <a:pt x="5868923" y="571500"/>
                </a:lnTo>
                <a:lnTo>
                  <a:pt x="5859940" y="615987"/>
                </a:lnTo>
                <a:lnTo>
                  <a:pt x="5835443" y="652319"/>
                </a:lnTo>
                <a:lnTo>
                  <a:pt x="5799111" y="676816"/>
                </a:lnTo>
                <a:lnTo>
                  <a:pt x="5754623" y="685800"/>
                </a:lnTo>
                <a:lnTo>
                  <a:pt x="114300" y="685800"/>
                </a:lnTo>
                <a:lnTo>
                  <a:pt x="69812" y="676816"/>
                </a:lnTo>
                <a:lnTo>
                  <a:pt x="33480" y="652319"/>
                </a:lnTo>
                <a:lnTo>
                  <a:pt x="8983" y="615987"/>
                </a:lnTo>
                <a:lnTo>
                  <a:pt x="0" y="571500"/>
                </a:lnTo>
                <a:lnTo>
                  <a:pt x="0" y="114300"/>
                </a:lnTo>
                <a:close/>
              </a:path>
            </a:pathLst>
          </a:custGeom>
          <a:ln w="12192">
            <a:solidFill>
              <a:srgbClr val="12ABDB"/>
            </a:solidFill>
          </a:ln>
        </p:spPr>
        <p:txBody>
          <a:bodyPr wrap="square" lIns="0" tIns="0" rIns="0" bIns="0" rtlCol="0"/>
          <a:lstStyle/>
          <a:p>
            <a:endParaRPr/>
          </a:p>
        </p:txBody>
      </p:sp>
      <p:sp>
        <p:nvSpPr>
          <p:cNvPr id="79" name="object 79"/>
          <p:cNvSpPr/>
          <p:nvPr/>
        </p:nvSpPr>
        <p:spPr>
          <a:xfrm>
            <a:off x="4595300" y="5809167"/>
            <a:ext cx="640715" cy="650240"/>
          </a:xfrm>
          <a:custGeom>
            <a:avLst/>
            <a:gdLst/>
            <a:ahLst/>
            <a:cxnLst/>
            <a:rect l="l" t="t" r="r" b="b"/>
            <a:pathLst>
              <a:path w="640714" h="650239">
                <a:moveTo>
                  <a:pt x="313088" y="0"/>
                </a:moveTo>
                <a:lnTo>
                  <a:pt x="268566" y="2564"/>
                </a:lnTo>
                <a:lnTo>
                  <a:pt x="224850" y="11496"/>
                </a:lnTo>
                <a:lnTo>
                  <a:pt x="182659" y="26843"/>
                </a:lnTo>
                <a:lnTo>
                  <a:pt x="142713" y="48654"/>
                </a:lnTo>
                <a:lnTo>
                  <a:pt x="105731" y="76977"/>
                </a:lnTo>
                <a:lnTo>
                  <a:pt x="72791" y="110543"/>
                </a:lnTo>
                <a:lnTo>
                  <a:pt x="45957" y="147889"/>
                </a:lnTo>
                <a:lnTo>
                  <a:pt x="25245" y="188291"/>
                </a:lnTo>
                <a:lnTo>
                  <a:pt x="10671" y="231025"/>
                </a:lnTo>
                <a:lnTo>
                  <a:pt x="2250" y="275368"/>
                </a:lnTo>
                <a:lnTo>
                  <a:pt x="0" y="320597"/>
                </a:lnTo>
                <a:lnTo>
                  <a:pt x="3935" y="365987"/>
                </a:lnTo>
                <a:lnTo>
                  <a:pt x="14072" y="410816"/>
                </a:lnTo>
                <a:lnTo>
                  <a:pt x="30427" y="454359"/>
                </a:lnTo>
                <a:lnTo>
                  <a:pt x="53016" y="495894"/>
                </a:lnTo>
                <a:lnTo>
                  <a:pt x="81855" y="534697"/>
                </a:lnTo>
                <a:lnTo>
                  <a:pt x="116440" y="569084"/>
                </a:lnTo>
                <a:lnTo>
                  <a:pt x="154414" y="597485"/>
                </a:lnTo>
                <a:lnTo>
                  <a:pt x="195090" y="619841"/>
                </a:lnTo>
                <a:lnTo>
                  <a:pt x="237783" y="636092"/>
                </a:lnTo>
                <a:lnTo>
                  <a:pt x="281808" y="646179"/>
                </a:lnTo>
                <a:lnTo>
                  <a:pt x="326477" y="650042"/>
                </a:lnTo>
                <a:lnTo>
                  <a:pt x="371106" y="647621"/>
                </a:lnTo>
                <a:lnTo>
                  <a:pt x="415009" y="638857"/>
                </a:lnTo>
                <a:lnTo>
                  <a:pt x="457499" y="623688"/>
                </a:lnTo>
                <a:lnTo>
                  <a:pt x="497891" y="602057"/>
                </a:lnTo>
                <a:lnTo>
                  <a:pt x="515648" y="588764"/>
                </a:lnTo>
                <a:lnTo>
                  <a:pt x="328966" y="588764"/>
                </a:lnTo>
                <a:lnTo>
                  <a:pt x="284686" y="584967"/>
                </a:lnTo>
                <a:lnTo>
                  <a:pt x="241353" y="573614"/>
                </a:lnTo>
                <a:lnTo>
                  <a:pt x="199995" y="554806"/>
                </a:lnTo>
                <a:lnTo>
                  <a:pt x="161642" y="528651"/>
                </a:lnTo>
                <a:lnTo>
                  <a:pt x="127321" y="495251"/>
                </a:lnTo>
                <a:lnTo>
                  <a:pt x="99258" y="456390"/>
                </a:lnTo>
                <a:lnTo>
                  <a:pt x="78871" y="414491"/>
                </a:lnTo>
                <a:lnTo>
                  <a:pt x="66102" y="370607"/>
                </a:lnTo>
                <a:lnTo>
                  <a:pt x="60893" y="325792"/>
                </a:lnTo>
                <a:lnTo>
                  <a:pt x="63188" y="281098"/>
                </a:lnTo>
                <a:lnTo>
                  <a:pt x="72927" y="237579"/>
                </a:lnTo>
                <a:lnTo>
                  <a:pt x="90055" y="196287"/>
                </a:lnTo>
                <a:lnTo>
                  <a:pt x="114513" y="158277"/>
                </a:lnTo>
                <a:lnTo>
                  <a:pt x="146244" y="124602"/>
                </a:lnTo>
                <a:lnTo>
                  <a:pt x="183534" y="97371"/>
                </a:lnTo>
                <a:lnTo>
                  <a:pt x="224025" y="77956"/>
                </a:lnTo>
                <a:lnTo>
                  <a:pt x="266696" y="66288"/>
                </a:lnTo>
                <a:lnTo>
                  <a:pt x="310524" y="62295"/>
                </a:lnTo>
                <a:lnTo>
                  <a:pt x="497876" y="62295"/>
                </a:lnTo>
                <a:lnTo>
                  <a:pt x="484838" y="52438"/>
                </a:lnTo>
                <a:lnTo>
                  <a:pt x="444290" y="30021"/>
                </a:lnTo>
                <a:lnTo>
                  <a:pt x="401670" y="13776"/>
                </a:lnTo>
                <a:lnTo>
                  <a:pt x="357696" y="3753"/>
                </a:lnTo>
                <a:lnTo>
                  <a:pt x="313088" y="0"/>
                </a:lnTo>
                <a:close/>
              </a:path>
              <a:path w="640714" h="650239">
                <a:moveTo>
                  <a:pt x="497876" y="62295"/>
                </a:moveTo>
                <a:lnTo>
                  <a:pt x="310524" y="62295"/>
                </a:lnTo>
                <a:lnTo>
                  <a:pt x="354487" y="65910"/>
                </a:lnTo>
                <a:lnTo>
                  <a:pt x="397563" y="77061"/>
                </a:lnTo>
                <a:lnTo>
                  <a:pt x="438729" y="95681"/>
                </a:lnTo>
                <a:lnTo>
                  <a:pt x="476962" y="121698"/>
                </a:lnTo>
                <a:lnTo>
                  <a:pt x="511242" y="155044"/>
                </a:lnTo>
                <a:lnTo>
                  <a:pt x="539429" y="193925"/>
                </a:lnTo>
                <a:lnTo>
                  <a:pt x="560079" y="235877"/>
                </a:lnTo>
                <a:lnTo>
                  <a:pt x="573208" y="279839"/>
                </a:lnTo>
                <a:lnTo>
                  <a:pt x="578834" y="324747"/>
                </a:lnTo>
                <a:lnTo>
                  <a:pt x="576972" y="369538"/>
                </a:lnTo>
                <a:lnTo>
                  <a:pt x="567639" y="413149"/>
                </a:lnTo>
                <a:lnTo>
                  <a:pt x="550853" y="454518"/>
                </a:lnTo>
                <a:lnTo>
                  <a:pt x="526630" y="492582"/>
                </a:lnTo>
                <a:lnTo>
                  <a:pt x="494986" y="526277"/>
                </a:lnTo>
                <a:lnTo>
                  <a:pt x="457203" y="553759"/>
                </a:lnTo>
                <a:lnTo>
                  <a:pt x="416253" y="573264"/>
                </a:lnTo>
                <a:lnTo>
                  <a:pt x="373165" y="584897"/>
                </a:lnTo>
                <a:lnTo>
                  <a:pt x="328966" y="588764"/>
                </a:lnTo>
                <a:lnTo>
                  <a:pt x="515648" y="588764"/>
                </a:lnTo>
                <a:lnTo>
                  <a:pt x="568208" y="539972"/>
                </a:lnTo>
                <a:lnTo>
                  <a:pt x="594886" y="502398"/>
                </a:lnTo>
                <a:lnTo>
                  <a:pt x="615493" y="461880"/>
                </a:lnTo>
                <a:lnTo>
                  <a:pt x="629988" y="419116"/>
                </a:lnTo>
                <a:lnTo>
                  <a:pt x="638329" y="374806"/>
                </a:lnTo>
                <a:lnTo>
                  <a:pt x="640475" y="329647"/>
                </a:lnTo>
                <a:lnTo>
                  <a:pt x="636384" y="284340"/>
                </a:lnTo>
                <a:lnTo>
                  <a:pt x="626016" y="239583"/>
                </a:lnTo>
                <a:lnTo>
                  <a:pt x="609329" y="196074"/>
                </a:lnTo>
                <a:lnTo>
                  <a:pt x="586283" y="154512"/>
                </a:lnTo>
                <a:lnTo>
                  <a:pt x="556835" y="115597"/>
                </a:lnTo>
                <a:lnTo>
                  <a:pt x="522592" y="80980"/>
                </a:lnTo>
                <a:lnTo>
                  <a:pt x="497876" y="62295"/>
                </a:lnTo>
                <a:close/>
              </a:path>
            </a:pathLst>
          </a:custGeom>
          <a:solidFill>
            <a:srgbClr val="EBE8E7"/>
          </a:solidFill>
        </p:spPr>
        <p:txBody>
          <a:bodyPr wrap="square" lIns="0" tIns="0" rIns="0" bIns="0" rtlCol="0"/>
          <a:lstStyle/>
          <a:p>
            <a:endParaRPr/>
          </a:p>
        </p:txBody>
      </p:sp>
      <p:sp>
        <p:nvSpPr>
          <p:cNvPr id="80" name="object 80"/>
          <p:cNvSpPr/>
          <p:nvPr/>
        </p:nvSpPr>
        <p:spPr>
          <a:xfrm>
            <a:off x="4595300" y="5809167"/>
            <a:ext cx="640715" cy="650240"/>
          </a:xfrm>
          <a:custGeom>
            <a:avLst/>
            <a:gdLst/>
            <a:ahLst/>
            <a:cxnLst/>
            <a:rect l="l" t="t" r="r" b="b"/>
            <a:pathLst>
              <a:path w="640714" h="650239">
                <a:moveTo>
                  <a:pt x="105731" y="76977"/>
                </a:moveTo>
                <a:lnTo>
                  <a:pt x="72791" y="110543"/>
                </a:lnTo>
                <a:lnTo>
                  <a:pt x="45957" y="147889"/>
                </a:lnTo>
                <a:lnTo>
                  <a:pt x="25245" y="188291"/>
                </a:lnTo>
                <a:lnTo>
                  <a:pt x="10671" y="231025"/>
                </a:lnTo>
                <a:lnTo>
                  <a:pt x="2250" y="275368"/>
                </a:lnTo>
                <a:lnTo>
                  <a:pt x="0" y="320597"/>
                </a:lnTo>
                <a:lnTo>
                  <a:pt x="3935" y="365987"/>
                </a:lnTo>
                <a:lnTo>
                  <a:pt x="14072" y="410816"/>
                </a:lnTo>
                <a:lnTo>
                  <a:pt x="30427" y="454359"/>
                </a:lnTo>
                <a:lnTo>
                  <a:pt x="53016" y="495894"/>
                </a:lnTo>
                <a:lnTo>
                  <a:pt x="81855" y="534697"/>
                </a:lnTo>
                <a:lnTo>
                  <a:pt x="116440" y="569084"/>
                </a:lnTo>
                <a:lnTo>
                  <a:pt x="154414" y="597485"/>
                </a:lnTo>
                <a:lnTo>
                  <a:pt x="195090" y="619841"/>
                </a:lnTo>
                <a:lnTo>
                  <a:pt x="237783" y="636092"/>
                </a:lnTo>
                <a:lnTo>
                  <a:pt x="281808" y="646179"/>
                </a:lnTo>
                <a:lnTo>
                  <a:pt x="326477" y="650042"/>
                </a:lnTo>
                <a:lnTo>
                  <a:pt x="371106" y="647621"/>
                </a:lnTo>
                <a:lnTo>
                  <a:pt x="415009" y="638857"/>
                </a:lnTo>
                <a:lnTo>
                  <a:pt x="457499" y="623688"/>
                </a:lnTo>
                <a:lnTo>
                  <a:pt x="497891" y="602057"/>
                </a:lnTo>
                <a:lnTo>
                  <a:pt x="535499" y="573902"/>
                </a:lnTo>
                <a:lnTo>
                  <a:pt x="568208" y="539972"/>
                </a:lnTo>
                <a:lnTo>
                  <a:pt x="594886" y="502398"/>
                </a:lnTo>
                <a:lnTo>
                  <a:pt x="615493" y="461880"/>
                </a:lnTo>
                <a:lnTo>
                  <a:pt x="629988" y="419116"/>
                </a:lnTo>
                <a:lnTo>
                  <a:pt x="638329" y="374806"/>
                </a:lnTo>
                <a:lnTo>
                  <a:pt x="640475" y="329647"/>
                </a:lnTo>
                <a:lnTo>
                  <a:pt x="636384" y="284340"/>
                </a:lnTo>
                <a:lnTo>
                  <a:pt x="626016" y="239583"/>
                </a:lnTo>
                <a:lnTo>
                  <a:pt x="609329" y="196074"/>
                </a:lnTo>
                <a:lnTo>
                  <a:pt x="586283" y="154512"/>
                </a:lnTo>
                <a:lnTo>
                  <a:pt x="556835" y="115597"/>
                </a:lnTo>
                <a:lnTo>
                  <a:pt x="522592" y="80980"/>
                </a:lnTo>
                <a:lnTo>
                  <a:pt x="484838" y="52438"/>
                </a:lnTo>
                <a:lnTo>
                  <a:pt x="444290" y="30021"/>
                </a:lnTo>
                <a:lnTo>
                  <a:pt x="401670" y="13776"/>
                </a:lnTo>
                <a:lnTo>
                  <a:pt x="357696" y="3753"/>
                </a:lnTo>
                <a:lnTo>
                  <a:pt x="313088" y="0"/>
                </a:lnTo>
                <a:lnTo>
                  <a:pt x="268566" y="2564"/>
                </a:lnTo>
                <a:lnTo>
                  <a:pt x="224850" y="11496"/>
                </a:lnTo>
                <a:lnTo>
                  <a:pt x="182659" y="26843"/>
                </a:lnTo>
                <a:lnTo>
                  <a:pt x="142713" y="48654"/>
                </a:lnTo>
                <a:lnTo>
                  <a:pt x="105731" y="76977"/>
                </a:lnTo>
                <a:close/>
              </a:path>
            </a:pathLst>
          </a:custGeom>
          <a:ln w="6350">
            <a:solidFill>
              <a:srgbClr val="BEBEBE"/>
            </a:solidFill>
          </a:ln>
        </p:spPr>
        <p:txBody>
          <a:bodyPr wrap="square" lIns="0" tIns="0" rIns="0" bIns="0" rtlCol="0"/>
          <a:lstStyle/>
          <a:p>
            <a:endParaRPr/>
          </a:p>
        </p:txBody>
      </p:sp>
      <p:sp>
        <p:nvSpPr>
          <p:cNvPr id="81" name="object 81"/>
          <p:cNvSpPr/>
          <p:nvPr/>
        </p:nvSpPr>
        <p:spPr>
          <a:xfrm>
            <a:off x="4656194" y="5871463"/>
            <a:ext cx="518159" cy="527050"/>
          </a:xfrm>
          <a:custGeom>
            <a:avLst/>
            <a:gdLst/>
            <a:ahLst/>
            <a:cxnLst/>
            <a:rect l="l" t="t" r="r" b="b"/>
            <a:pathLst>
              <a:path w="518160" h="527050">
                <a:moveTo>
                  <a:pt x="434092" y="463982"/>
                </a:moveTo>
                <a:lnTo>
                  <a:pt x="396309" y="491463"/>
                </a:lnTo>
                <a:lnTo>
                  <a:pt x="355359" y="510968"/>
                </a:lnTo>
                <a:lnTo>
                  <a:pt x="312271" y="522602"/>
                </a:lnTo>
                <a:lnTo>
                  <a:pt x="268072" y="526468"/>
                </a:lnTo>
                <a:lnTo>
                  <a:pt x="223792" y="522672"/>
                </a:lnTo>
                <a:lnTo>
                  <a:pt x="180459" y="511318"/>
                </a:lnTo>
                <a:lnTo>
                  <a:pt x="139101" y="492511"/>
                </a:lnTo>
                <a:lnTo>
                  <a:pt x="100748" y="466355"/>
                </a:lnTo>
                <a:lnTo>
                  <a:pt x="66427" y="432956"/>
                </a:lnTo>
                <a:lnTo>
                  <a:pt x="38364" y="394095"/>
                </a:lnTo>
                <a:lnTo>
                  <a:pt x="17977" y="352195"/>
                </a:lnTo>
                <a:lnTo>
                  <a:pt x="5208" y="308312"/>
                </a:lnTo>
                <a:lnTo>
                  <a:pt x="0" y="263496"/>
                </a:lnTo>
                <a:lnTo>
                  <a:pt x="2294" y="218802"/>
                </a:lnTo>
                <a:lnTo>
                  <a:pt x="12033" y="175283"/>
                </a:lnTo>
                <a:lnTo>
                  <a:pt x="29161" y="133992"/>
                </a:lnTo>
                <a:lnTo>
                  <a:pt x="53619" y="95982"/>
                </a:lnTo>
                <a:lnTo>
                  <a:pt x="85350" y="62306"/>
                </a:lnTo>
                <a:lnTo>
                  <a:pt x="122640" y="35075"/>
                </a:lnTo>
                <a:lnTo>
                  <a:pt x="163131" y="15661"/>
                </a:lnTo>
                <a:lnTo>
                  <a:pt x="205802" y="3992"/>
                </a:lnTo>
                <a:lnTo>
                  <a:pt x="249630" y="0"/>
                </a:lnTo>
                <a:lnTo>
                  <a:pt x="293593" y="3614"/>
                </a:lnTo>
                <a:lnTo>
                  <a:pt x="336669" y="14766"/>
                </a:lnTo>
                <a:lnTo>
                  <a:pt x="377835" y="33385"/>
                </a:lnTo>
                <a:lnTo>
                  <a:pt x="416068" y="59402"/>
                </a:lnTo>
                <a:lnTo>
                  <a:pt x="450348" y="92748"/>
                </a:lnTo>
                <a:lnTo>
                  <a:pt x="478535" y="131629"/>
                </a:lnTo>
                <a:lnTo>
                  <a:pt x="499185" y="173582"/>
                </a:lnTo>
                <a:lnTo>
                  <a:pt x="512315" y="217543"/>
                </a:lnTo>
                <a:lnTo>
                  <a:pt x="517940" y="262451"/>
                </a:lnTo>
                <a:lnTo>
                  <a:pt x="516078" y="307242"/>
                </a:lnTo>
                <a:lnTo>
                  <a:pt x="506745" y="350853"/>
                </a:lnTo>
                <a:lnTo>
                  <a:pt x="489959" y="392222"/>
                </a:lnTo>
                <a:lnTo>
                  <a:pt x="465736" y="430286"/>
                </a:lnTo>
                <a:lnTo>
                  <a:pt x="434092" y="463982"/>
                </a:lnTo>
                <a:close/>
              </a:path>
            </a:pathLst>
          </a:custGeom>
          <a:ln w="6350">
            <a:solidFill>
              <a:srgbClr val="BEBEBE"/>
            </a:solidFill>
          </a:ln>
        </p:spPr>
        <p:txBody>
          <a:bodyPr wrap="square" lIns="0" tIns="0" rIns="0" bIns="0" rtlCol="0"/>
          <a:lstStyle/>
          <a:p>
            <a:endParaRPr/>
          </a:p>
        </p:txBody>
      </p:sp>
      <p:sp>
        <p:nvSpPr>
          <p:cNvPr id="82" name="object 82"/>
          <p:cNvSpPr/>
          <p:nvPr/>
        </p:nvSpPr>
        <p:spPr>
          <a:xfrm>
            <a:off x="4656247" y="5869904"/>
            <a:ext cx="518159" cy="527050"/>
          </a:xfrm>
          <a:custGeom>
            <a:avLst/>
            <a:gdLst/>
            <a:ahLst/>
            <a:cxnLst/>
            <a:rect l="l" t="t" r="r" b="b"/>
            <a:pathLst>
              <a:path w="518160" h="527050">
                <a:moveTo>
                  <a:pt x="249229" y="0"/>
                </a:moveTo>
                <a:lnTo>
                  <a:pt x="205410" y="3936"/>
                </a:lnTo>
                <a:lnTo>
                  <a:pt x="162758" y="15558"/>
                </a:lnTo>
                <a:lnTo>
                  <a:pt x="122295" y="34935"/>
                </a:lnTo>
                <a:lnTo>
                  <a:pt x="85042" y="62138"/>
                </a:lnTo>
                <a:lnTo>
                  <a:pt x="53358" y="95803"/>
                </a:lnTo>
                <a:lnTo>
                  <a:pt x="28955" y="133815"/>
                </a:lnTo>
                <a:lnTo>
                  <a:pt x="11890" y="175120"/>
                </a:lnTo>
                <a:lnTo>
                  <a:pt x="2220" y="218664"/>
                </a:lnTo>
                <a:lnTo>
                  <a:pt x="0" y="263393"/>
                </a:lnTo>
                <a:lnTo>
                  <a:pt x="5286" y="308253"/>
                </a:lnTo>
                <a:lnTo>
                  <a:pt x="18137" y="352190"/>
                </a:lnTo>
                <a:lnTo>
                  <a:pt x="38608" y="394150"/>
                </a:lnTo>
                <a:lnTo>
                  <a:pt x="66754" y="433080"/>
                </a:lnTo>
                <a:lnTo>
                  <a:pt x="101075" y="466555"/>
                </a:lnTo>
                <a:lnTo>
                  <a:pt x="139427" y="492785"/>
                </a:lnTo>
                <a:lnTo>
                  <a:pt x="180782" y="511664"/>
                </a:lnTo>
                <a:lnTo>
                  <a:pt x="224108" y="523086"/>
                </a:lnTo>
                <a:lnTo>
                  <a:pt x="268378" y="526945"/>
                </a:lnTo>
                <a:lnTo>
                  <a:pt x="312561" y="523134"/>
                </a:lnTo>
                <a:lnTo>
                  <a:pt x="355627" y="511548"/>
                </a:lnTo>
                <a:lnTo>
                  <a:pt x="396548" y="492081"/>
                </a:lnTo>
                <a:lnTo>
                  <a:pt x="434292" y="464626"/>
                </a:lnTo>
                <a:lnTo>
                  <a:pt x="465890" y="430941"/>
                </a:lnTo>
                <a:lnTo>
                  <a:pt x="490059" y="392874"/>
                </a:lnTo>
                <a:lnTo>
                  <a:pt x="506786" y="351490"/>
                </a:lnTo>
                <a:lnTo>
                  <a:pt x="516056" y="307853"/>
                </a:lnTo>
                <a:lnTo>
                  <a:pt x="517855" y="263026"/>
                </a:lnTo>
                <a:lnTo>
                  <a:pt x="512167" y="218073"/>
                </a:lnTo>
                <a:lnTo>
                  <a:pt x="498978" y="174059"/>
                </a:lnTo>
                <a:lnTo>
                  <a:pt x="478275" y="132047"/>
                </a:lnTo>
                <a:lnTo>
                  <a:pt x="450040" y="93101"/>
                </a:lnTo>
                <a:lnTo>
                  <a:pt x="415723" y="59679"/>
                </a:lnTo>
                <a:lnTo>
                  <a:pt x="377461" y="33587"/>
                </a:lnTo>
                <a:lnTo>
                  <a:pt x="336277" y="14896"/>
                </a:lnTo>
                <a:lnTo>
                  <a:pt x="293192" y="3676"/>
                </a:lnTo>
                <a:lnTo>
                  <a:pt x="249229" y="0"/>
                </a:lnTo>
                <a:close/>
              </a:path>
            </a:pathLst>
          </a:custGeom>
          <a:solidFill>
            <a:srgbClr val="BBE7FF"/>
          </a:solidFill>
        </p:spPr>
        <p:txBody>
          <a:bodyPr wrap="square" lIns="0" tIns="0" rIns="0" bIns="0" rtlCol="0"/>
          <a:lstStyle/>
          <a:p>
            <a:endParaRPr/>
          </a:p>
        </p:txBody>
      </p:sp>
      <p:sp>
        <p:nvSpPr>
          <p:cNvPr id="83" name="object 83"/>
          <p:cNvSpPr/>
          <p:nvPr/>
        </p:nvSpPr>
        <p:spPr>
          <a:xfrm>
            <a:off x="4656342" y="5864018"/>
            <a:ext cx="295275" cy="526415"/>
          </a:xfrm>
          <a:custGeom>
            <a:avLst/>
            <a:gdLst/>
            <a:ahLst/>
            <a:cxnLst/>
            <a:rect l="l" t="t" r="r" b="b"/>
            <a:pathLst>
              <a:path w="295275" h="526414">
                <a:moveTo>
                  <a:pt x="250374" y="0"/>
                </a:moveTo>
                <a:lnTo>
                  <a:pt x="206015" y="3441"/>
                </a:lnTo>
                <a:lnTo>
                  <a:pt x="162967" y="14846"/>
                </a:lnTo>
                <a:lnTo>
                  <a:pt x="122266" y="34317"/>
                </a:lnTo>
                <a:lnTo>
                  <a:pt x="84948" y="61953"/>
                </a:lnTo>
                <a:lnTo>
                  <a:pt x="53302" y="95587"/>
                </a:lnTo>
                <a:lnTo>
                  <a:pt x="28927" y="133566"/>
                </a:lnTo>
                <a:lnTo>
                  <a:pt x="11881" y="174837"/>
                </a:lnTo>
                <a:lnTo>
                  <a:pt x="2220" y="218346"/>
                </a:lnTo>
                <a:lnTo>
                  <a:pt x="0" y="263040"/>
                </a:lnTo>
                <a:lnTo>
                  <a:pt x="5277" y="307866"/>
                </a:lnTo>
                <a:lnTo>
                  <a:pt x="18109" y="351770"/>
                </a:lnTo>
                <a:lnTo>
                  <a:pt x="38551" y="393700"/>
                </a:lnTo>
                <a:lnTo>
                  <a:pt x="66660" y="432603"/>
                </a:lnTo>
                <a:lnTo>
                  <a:pt x="101556" y="466085"/>
                </a:lnTo>
                <a:lnTo>
                  <a:pt x="140329" y="492308"/>
                </a:lnTo>
                <a:lnTo>
                  <a:pt x="181948" y="511171"/>
                </a:lnTo>
                <a:lnTo>
                  <a:pt x="225384" y="522574"/>
                </a:lnTo>
                <a:lnTo>
                  <a:pt x="269606" y="526418"/>
                </a:lnTo>
                <a:lnTo>
                  <a:pt x="226524" y="514908"/>
                </a:lnTo>
                <a:lnTo>
                  <a:pt x="185453" y="495969"/>
                </a:lnTo>
                <a:lnTo>
                  <a:pt x="147502" y="469725"/>
                </a:lnTo>
                <a:lnTo>
                  <a:pt x="113777" y="436298"/>
                </a:lnTo>
                <a:lnTo>
                  <a:pt x="85618" y="397434"/>
                </a:lnTo>
                <a:lnTo>
                  <a:pt x="65050" y="355591"/>
                </a:lnTo>
                <a:lnTo>
                  <a:pt x="52055" y="311799"/>
                </a:lnTo>
                <a:lnTo>
                  <a:pt x="46615" y="267085"/>
                </a:lnTo>
                <a:lnTo>
                  <a:pt x="48709" y="222476"/>
                </a:lnTo>
                <a:lnTo>
                  <a:pt x="58321" y="179002"/>
                </a:lnTo>
                <a:lnTo>
                  <a:pt x="75430" y="137689"/>
                </a:lnTo>
                <a:lnTo>
                  <a:pt x="100017" y="99567"/>
                </a:lnTo>
                <a:lnTo>
                  <a:pt x="132065" y="65662"/>
                </a:lnTo>
                <a:lnTo>
                  <a:pt x="168669" y="38244"/>
                </a:lnTo>
                <a:lnTo>
                  <a:pt x="208773" y="18983"/>
                </a:lnTo>
                <a:lnTo>
                  <a:pt x="251259" y="7751"/>
                </a:lnTo>
                <a:lnTo>
                  <a:pt x="295006" y="4422"/>
                </a:lnTo>
                <a:lnTo>
                  <a:pt x="250374" y="0"/>
                </a:lnTo>
                <a:close/>
              </a:path>
            </a:pathLst>
          </a:custGeom>
          <a:solidFill>
            <a:srgbClr val="12ABDB"/>
          </a:solidFill>
        </p:spPr>
        <p:txBody>
          <a:bodyPr wrap="square" lIns="0" tIns="0" rIns="0" bIns="0" rtlCol="0"/>
          <a:lstStyle/>
          <a:p>
            <a:endParaRPr/>
          </a:p>
        </p:txBody>
      </p:sp>
      <p:sp>
        <p:nvSpPr>
          <p:cNvPr id="84" name="object 84"/>
          <p:cNvSpPr/>
          <p:nvPr/>
        </p:nvSpPr>
        <p:spPr>
          <a:xfrm>
            <a:off x="4896358" y="5762002"/>
            <a:ext cx="439420" cy="775335"/>
          </a:xfrm>
          <a:custGeom>
            <a:avLst/>
            <a:gdLst/>
            <a:ahLst/>
            <a:cxnLst/>
            <a:rect l="l" t="t" r="r" b="b"/>
            <a:pathLst>
              <a:path w="439420" h="775334">
                <a:moveTo>
                  <a:pt x="0" y="769581"/>
                </a:moveTo>
                <a:lnTo>
                  <a:pt x="47212" y="775106"/>
                </a:lnTo>
                <a:lnTo>
                  <a:pt x="94487" y="774780"/>
                </a:lnTo>
                <a:lnTo>
                  <a:pt x="129683" y="770124"/>
                </a:lnTo>
                <a:lnTo>
                  <a:pt x="47319" y="770124"/>
                </a:lnTo>
                <a:lnTo>
                  <a:pt x="0" y="769581"/>
                </a:lnTo>
                <a:close/>
              </a:path>
              <a:path w="439420" h="775334">
                <a:moveTo>
                  <a:pt x="336863" y="133273"/>
                </a:moveTo>
                <a:lnTo>
                  <a:pt x="299974" y="133273"/>
                </a:lnTo>
                <a:lnTo>
                  <a:pt x="300989" y="134886"/>
                </a:lnTo>
                <a:lnTo>
                  <a:pt x="309110" y="145217"/>
                </a:lnTo>
                <a:lnTo>
                  <a:pt x="316801" y="155838"/>
                </a:lnTo>
                <a:lnTo>
                  <a:pt x="355355" y="218684"/>
                </a:lnTo>
                <a:lnTo>
                  <a:pt x="373942" y="261563"/>
                </a:lnTo>
                <a:lnTo>
                  <a:pt x="387254" y="305715"/>
                </a:lnTo>
                <a:lnTo>
                  <a:pt x="395318" y="350649"/>
                </a:lnTo>
                <a:lnTo>
                  <a:pt x="398156" y="395871"/>
                </a:lnTo>
                <a:lnTo>
                  <a:pt x="395795" y="440888"/>
                </a:lnTo>
                <a:lnTo>
                  <a:pt x="388258" y="485208"/>
                </a:lnTo>
                <a:lnTo>
                  <a:pt x="375571" y="528338"/>
                </a:lnTo>
                <a:lnTo>
                  <a:pt x="357759" y="569786"/>
                </a:lnTo>
                <a:lnTo>
                  <a:pt x="334844" y="609058"/>
                </a:lnTo>
                <a:lnTo>
                  <a:pt x="306854" y="645663"/>
                </a:lnTo>
                <a:lnTo>
                  <a:pt x="273812" y="679107"/>
                </a:lnTo>
                <a:lnTo>
                  <a:pt x="233933" y="710171"/>
                </a:lnTo>
                <a:lnTo>
                  <a:pt x="198143" y="730893"/>
                </a:lnTo>
                <a:lnTo>
                  <a:pt x="186562" y="736841"/>
                </a:lnTo>
                <a:lnTo>
                  <a:pt x="183514" y="738898"/>
                </a:lnTo>
                <a:lnTo>
                  <a:pt x="139338" y="754587"/>
                </a:lnTo>
                <a:lnTo>
                  <a:pt x="93852" y="765060"/>
                </a:lnTo>
                <a:lnTo>
                  <a:pt x="47319" y="770124"/>
                </a:lnTo>
                <a:lnTo>
                  <a:pt x="129683" y="770124"/>
                </a:lnTo>
                <a:lnTo>
                  <a:pt x="186943" y="756530"/>
                </a:lnTo>
                <a:lnTo>
                  <a:pt x="230981" y="738580"/>
                </a:lnTo>
                <a:lnTo>
                  <a:pt x="272795" y="714730"/>
                </a:lnTo>
                <a:lnTo>
                  <a:pt x="312674" y="683653"/>
                </a:lnTo>
                <a:lnTo>
                  <a:pt x="346286" y="649857"/>
                </a:lnTo>
                <a:lnTo>
                  <a:pt x="374771" y="612831"/>
                </a:lnTo>
                <a:lnTo>
                  <a:pt x="398096" y="573081"/>
                </a:lnTo>
                <a:lnTo>
                  <a:pt x="416228" y="531110"/>
                </a:lnTo>
                <a:lnTo>
                  <a:pt x="429135" y="487425"/>
                </a:lnTo>
                <a:lnTo>
                  <a:pt x="436783" y="442529"/>
                </a:lnTo>
                <a:lnTo>
                  <a:pt x="439141" y="396928"/>
                </a:lnTo>
                <a:lnTo>
                  <a:pt x="436176" y="351127"/>
                </a:lnTo>
                <a:lnTo>
                  <a:pt x="427855" y="305631"/>
                </a:lnTo>
                <a:lnTo>
                  <a:pt x="414145" y="260944"/>
                </a:lnTo>
                <a:lnTo>
                  <a:pt x="395014" y="217572"/>
                </a:lnTo>
                <a:lnTo>
                  <a:pt x="370430" y="176019"/>
                </a:lnTo>
                <a:lnTo>
                  <a:pt x="340359" y="136791"/>
                </a:lnTo>
                <a:lnTo>
                  <a:pt x="336863" y="133273"/>
                </a:lnTo>
                <a:close/>
              </a:path>
              <a:path w="439420" h="775334">
                <a:moveTo>
                  <a:pt x="328229" y="124586"/>
                </a:moveTo>
                <a:lnTo>
                  <a:pt x="291972" y="124586"/>
                </a:lnTo>
                <a:lnTo>
                  <a:pt x="292988" y="126212"/>
                </a:lnTo>
                <a:lnTo>
                  <a:pt x="294131" y="127825"/>
                </a:lnTo>
                <a:lnTo>
                  <a:pt x="295147" y="129451"/>
                </a:lnTo>
                <a:lnTo>
                  <a:pt x="296290" y="131063"/>
                </a:lnTo>
                <a:lnTo>
                  <a:pt x="298322" y="134302"/>
                </a:lnTo>
                <a:lnTo>
                  <a:pt x="299974" y="133273"/>
                </a:lnTo>
                <a:lnTo>
                  <a:pt x="336863" y="133273"/>
                </a:lnTo>
                <a:lnTo>
                  <a:pt x="328229" y="124586"/>
                </a:lnTo>
                <a:close/>
              </a:path>
              <a:path w="439420" h="775334">
                <a:moveTo>
                  <a:pt x="319608" y="115912"/>
                </a:moveTo>
                <a:lnTo>
                  <a:pt x="283971" y="115912"/>
                </a:lnTo>
                <a:lnTo>
                  <a:pt x="284988" y="117525"/>
                </a:lnTo>
                <a:lnTo>
                  <a:pt x="286130" y="119151"/>
                </a:lnTo>
                <a:lnTo>
                  <a:pt x="287146" y="120764"/>
                </a:lnTo>
                <a:lnTo>
                  <a:pt x="288289" y="122377"/>
                </a:lnTo>
                <a:lnTo>
                  <a:pt x="289305" y="124002"/>
                </a:lnTo>
                <a:lnTo>
                  <a:pt x="290449" y="125615"/>
                </a:lnTo>
                <a:lnTo>
                  <a:pt x="291972" y="124586"/>
                </a:lnTo>
                <a:lnTo>
                  <a:pt x="328229" y="124586"/>
                </a:lnTo>
                <a:lnTo>
                  <a:pt x="319608" y="115912"/>
                </a:lnTo>
                <a:close/>
              </a:path>
              <a:path w="439420" h="775334">
                <a:moveTo>
                  <a:pt x="314193" y="110464"/>
                </a:moveTo>
                <a:lnTo>
                  <a:pt x="278129" y="110464"/>
                </a:lnTo>
                <a:lnTo>
                  <a:pt x="279145" y="112077"/>
                </a:lnTo>
                <a:lnTo>
                  <a:pt x="280288" y="113703"/>
                </a:lnTo>
                <a:lnTo>
                  <a:pt x="281304" y="115315"/>
                </a:lnTo>
                <a:lnTo>
                  <a:pt x="282447" y="116941"/>
                </a:lnTo>
                <a:lnTo>
                  <a:pt x="283971" y="115912"/>
                </a:lnTo>
                <a:lnTo>
                  <a:pt x="319608" y="115912"/>
                </a:lnTo>
                <a:lnTo>
                  <a:pt x="314193" y="110464"/>
                </a:lnTo>
                <a:close/>
              </a:path>
              <a:path w="439420" h="775334">
                <a:moveTo>
                  <a:pt x="36956" y="0"/>
                </a:moveTo>
                <a:lnTo>
                  <a:pt x="87835" y="7561"/>
                </a:lnTo>
                <a:lnTo>
                  <a:pt x="137780" y="22203"/>
                </a:lnTo>
                <a:lnTo>
                  <a:pt x="185921" y="43729"/>
                </a:lnTo>
                <a:lnTo>
                  <a:pt x="231386" y="71941"/>
                </a:lnTo>
                <a:lnTo>
                  <a:pt x="273303" y="106641"/>
                </a:lnTo>
                <a:lnTo>
                  <a:pt x="275463" y="109880"/>
                </a:lnTo>
                <a:lnTo>
                  <a:pt x="276605" y="111493"/>
                </a:lnTo>
                <a:lnTo>
                  <a:pt x="278129" y="110464"/>
                </a:lnTo>
                <a:lnTo>
                  <a:pt x="314193" y="110464"/>
                </a:lnTo>
                <a:lnTo>
                  <a:pt x="303659" y="99866"/>
                </a:lnTo>
                <a:lnTo>
                  <a:pt x="263814" y="68606"/>
                </a:lnTo>
                <a:lnTo>
                  <a:pt x="221384" y="43090"/>
                </a:lnTo>
                <a:lnTo>
                  <a:pt x="176926" y="23394"/>
                </a:lnTo>
                <a:lnTo>
                  <a:pt x="130996" y="9596"/>
                </a:lnTo>
                <a:lnTo>
                  <a:pt x="84154" y="1772"/>
                </a:lnTo>
                <a:lnTo>
                  <a:pt x="36956" y="0"/>
                </a:lnTo>
                <a:close/>
              </a:path>
            </a:pathLst>
          </a:custGeom>
          <a:solidFill>
            <a:srgbClr val="A6A6A6"/>
          </a:solidFill>
        </p:spPr>
        <p:txBody>
          <a:bodyPr wrap="square" lIns="0" tIns="0" rIns="0" bIns="0" rtlCol="0"/>
          <a:lstStyle/>
          <a:p>
            <a:endParaRPr/>
          </a:p>
        </p:txBody>
      </p:sp>
      <p:sp>
        <p:nvSpPr>
          <p:cNvPr id="85" name="object 85"/>
          <p:cNvSpPr/>
          <p:nvPr/>
        </p:nvSpPr>
        <p:spPr>
          <a:xfrm>
            <a:off x="4789932" y="6009132"/>
            <a:ext cx="249936" cy="249936"/>
          </a:xfrm>
          <a:prstGeom prst="rect">
            <a:avLst/>
          </a:prstGeom>
          <a:blipFill>
            <a:blip r:embed="rId6" cstate="print"/>
            <a:stretch>
              <a:fillRect/>
            </a:stretch>
          </a:blipFill>
        </p:spPr>
        <p:txBody>
          <a:bodyPr wrap="square" lIns="0" tIns="0" rIns="0" bIns="0" rtlCol="0"/>
          <a:lstStyle/>
          <a:p>
            <a:endParaRPr/>
          </a:p>
        </p:txBody>
      </p:sp>
      <p:sp>
        <p:nvSpPr>
          <p:cNvPr id="86" name="object 86"/>
          <p:cNvSpPr txBox="1"/>
          <p:nvPr/>
        </p:nvSpPr>
        <p:spPr>
          <a:xfrm>
            <a:off x="9916414" y="2129408"/>
            <a:ext cx="356870"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Da</a:t>
            </a:r>
            <a:r>
              <a:rPr sz="1000" b="1" spc="-5">
                <a:latin typeface="Verdana"/>
                <a:cs typeface="Verdana"/>
              </a:rPr>
              <a:t>ta</a:t>
            </a:r>
            <a:endParaRPr sz="1000">
              <a:latin typeface="Verdana"/>
              <a:cs typeface="Verdana"/>
            </a:endParaRPr>
          </a:p>
        </p:txBody>
      </p:sp>
      <p:sp>
        <p:nvSpPr>
          <p:cNvPr id="87" name="object 87"/>
          <p:cNvSpPr txBox="1"/>
          <p:nvPr/>
        </p:nvSpPr>
        <p:spPr>
          <a:xfrm>
            <a:off x="9916414" y="2306192"/>
            <a:ext cx="1478280" cy="482600"/>
          </a:xfrm>
          <a:prstGeom prst="rect">
            <a:avLst/>
          </a:prstGeom>
        </p:spPr>
        <p:txBody>
          <a:bodyPr vert="horz" wrap="square" lIns="0" tIns="12065" rIns="0" bIns="0" rtlCol="0">
            <a:spAutoFit/>
          </a:bodyPr>
          <a:lstStyle/>
          <a:p>
            <a:pPr marL="184785" marR="5080" indent="-172720">
              <a:lnSpc>
                <a:spcPct val="100000"/>
              </a:lnSpc>
              <a:spcBef>
                <a:spcPts val="95"/>
              </a:spcBef>
              <a:buClr>
                <a:srgbClr val="006FAC"/>
              </a:buClr>
              <a:buFont typeface="Wingdings"/>
              <a:buChar char=""/>
              <a:tabLst>
                <a:tab pos="185420" algn="l"/>
              </a:tabLst>
            </a:pPr>
            <a:r>
              <a:rPr sz="1000" spc="-5">
                <a:latin typeface="Verdana"/>
                <a:cs typeface="Verdana"/>
              </a:rPr>
              <a:t>Ensure a Data-first  implementation and  architecture</a:t>
            </a:r>
            <a:endParaRPr sz="1000">
              <a:latin typeface="Verdana"/>
              <a:cs typeface="Verdana"/>
            </a:endParaRPr>
          </a:p>
        </p:txBody>
      </p:sp>
      <p:sp>
        <p:nvSpPr>
          <p:cNvPr id="88" name="object 88"/>
          <p:cNvSpPr/>
          <p:nvPr/>
        </p:nvSpPr>
        <p:spPr>
          <a:xfrm>
            <a:off x="9648443" y="2118360"/>
            <a:ext cx="2021205" cy="913130"/>
          </a:xfrm>
          <a:custGeom>
            <a:avLst/>
            <a:gdLst/>
            <a:ahLst/>
            <a:cxnLst/>
            <a:rect l="l" t="t" r="r" b="b"/>
            <a:pathLst>
              <a:path w="2021204" h="913130">
                <a:moveTo>
                  <a:pt x="0" y="152145"/>
                </a:moveTo>
                <a:lnTo>
                  <a:pt x="7752" y="104038"/>
                </a:lnTo>
                <a:lnTo>
                  <a:pt x="29342" y="62270"/>
                </a:lnTo>
                <a:lnTo>
                  <a:pt x="62270" y="29342"/>
                </a:lnTo>
                <a:lnTo>
                  <a:pt x="104038" y="7752"/>
                </a:lnTo>
                <a:lnTo>
                  <a:pt x="152146" y="0"/>
                </a:lnTo>
                <a:lnTo>
                  <a:pt x="1868677" y="0"/>
                </a:lnTo>
                <a:lnTo>
                  <a:pt x="1916785" y="7752"/>
                </a:lnTo>
                <a:lnTo>
                  <a:pt x="1958553" y="29342"/>
                </a:lnTo>
                <a:lnTo>
                  <a:pt x="1991481" y="62270"/>
                </a:lnTo>
                <a:lnTo>
                  <a:pt x="2013071" y="104038"/>
                </a:lnTo>
                <a:lnTo>
                  <a:pt x="2020824" y="152145"/>
                </a:lnTo>
                <a:lnTo>
                  <a:pt x="2020824" y="760729"/>
                </a:lnTo>
                <a:lnTo>
                  <a:pt x="2013071" y="808837"/>
                </a:lnTo>
                <a:lnTo>
                  <a:pt x="1991481" y="850605"/>
                </a:lnTo>
                <a:lnTo>
                  <a:pt x="1958553" y="883533"/>
                </a:lnTo>
                <a:lnTo>
                  <a:pt x="1916785" y="905123"/>
                </a:lnTo>
                <a:lnTo>
                  <a:pt x="1868677" y="912876"/>
                </a:lnTo>
                <a:lnTo>
                  <a:pt x="152146" y="912876"/>
                </a:lnTo>
                <a:lnTo>
                  <a:pt x="104038" y="905123"/>
                </a:lnTo>
                <a:lnTo>
                  <a:pt x="62270" y="883533"/>
                </a:lnTo>
                <a:lnTo>
                  <a:pt x="29342" y="850605"/>
                </a:lnTo>
                <a:lnTo>
                  <a:pt x="7752" y="808837"/>
                </a:lnTo>
                <a:lnTo>
                  <a:pt x="0" y="760729"/>
                </a:lnTo>
                <a:lnTo>
                  <a:pt x="0" y="152145"/>
                </a:lnTo>
                <a:close/>
              </a:path>
            </a:pathLst>
          </a:custGeom>
          <a:ln w="12192">
            <a:solidFill>
              <a:srgbClr val="12ABDB"/>
            </a:solidFill>
          </a:ln>
        </p:spPr>
        <p:txBody>
          <a:bodyPr wrap="square" lIns="0" tIns="0" rIns="0" bIns="0" rtlCol="0"/>
          <a:lstStyle/>
          <a:p>
            <a:endParaRPr/>
          </a:p>
        </p:txBody>
      </p:sp>
      <p:sp>
        <p:nvSpPr>
          <p:cNvPr id="89" name="object 89"/>
          <p:cNvSpPr/>
          <p:nvPr/>
        </p:nvSpPr>
        <p:spPr>
          <a:xfrm>
            <a:off x="9033929" y="2250746"/>
            <a:ext cx="640715" cy="650240"/>
          </a:xfrm>
          <a:custGeom>
            <a:avLst/>
            <a:gdLst/>
            <a:ahLst/>
            <a:cxnLst/>
            <a:rect l="l" t="t" r="r" b="b"/>
            <a:pathLst>
              <a:path w="640715" h="650239">
                <a:moveTo>
                  <a:pt x="313054" y="0"/>
                </a:moveTo>
                <a:lnTo>
                  <a:pt x="268549" y="2566"/>
                </a:lnTo>
                <a:lnTo>
                  <a:pt x="224848" y="11503"/>
                </a:lnTo>
                <a:lnTo>
                  <a:pt x="182669" y="26861"/>
                </a:lnTo>
                <a:lnTo>
                  <a:pt x="142730" y="48689"/>
                </a:lnTo>
                <a:lnTo>
                  <a:pt x="105719" y="77069"/>
                </a:lnTo>
                <a:lnTo>
                  <a:pt x="72812" y="110585"/>
                </a:lnTo>
                <a:lnTo>
                  <a:pt x="45977" y="147919"/>
                </a:lnTo>
                <a:lnTo>
                  <a:pt x="25263" y="188313"/>
                </a:lnTo>
                <a:lnTo>
                  <a:pt x="10685" y="231044"/>
                </a:lnTo>
                <a:lnTo>
                  <a:pt x="2259" y="275387"/>
                </a:lnTo>
                <a:lnTo>
                  <a:pt x="0" y="320618"/>
                </a:lnTo>
                <a:lnTo>
                  <a:pt x="3923" y="366013"/>
                </a:lnTo>
                <a:lnTo>
                  <a:pt x="14044" y="410847"/>
                </a:lnTo>
                <a:lnTo>
                  <a:pt x="30378" y="454396"/>
                </a:lnTo>
                <a:lnTo>
                  <a:pt x="52941" y="495937"/>
                </a:lnTo>
                <a:lnTo>
                  <a:pt x="81748" y="534744"/>
                </a:lnTo>
                <a:lnTo>
                  <a:pt x="116365" y="569112"/>
                </a:lnTo>
                <a:lnTo>
                  <a:pt x="154365" y="597500"/>
                </a:lnTo>
                <a:lnTo>
                  <a:pt x="195062" y="619847"/>
                </a:lnTo>
                <a:lnTo>
                  <a:pt x="237771" y="636092"/>
                </a:lnTo>
                <a:lnTo>
                  <a:pt x="281808" y="646174"/>
                </a:lnTo>
                <a:lnTo>
                  <a:pt x="326486" y="650034"/>
                </a:lnTo>
                <a:lnTo>
                  <a:pt x="371121" y="647609"/>
                </a:lnTo>
                <a:lnTo>
                  <a:pt x="415027" y="638840"/>
                </a:lnTo>
                <a:lnTo>
                  <a:pt x="457519" y="623666"/>
                </a:lnTo>
                <a:lnTo>
                  <a:pt x="497912" y="602027"/>
                </a:lnTo>
                <a:lnTo>
                  <a:pt x="515583" y="588792"/>
                </a:lnTo>
                <a:lnTo>
                  <a:pt x="328934" y="588792"/>
                </a:lnTo>
                <a:lnTo>
                  <a:pt x="284665" y="584997"/>
                </a:lnTo>
                <a:lnTo>
                  <a:pt x="241345" y="573639"/>
                </a:lnTo>
                <a:lnTo>
                  <a:pt x="200001" y="554825"/>
                </a:lnTo>
                <a:lnTo>
                  <a:pt x="161658" y="528659"/>
                </a:lnTo>
                <a:lnTo>
                  <a:pt x="127341" y="495247"/>
                </a:lnTo>
                <a:lnTo>
                  <a:pt x="99241" y="456382"/>
                </a:lnTo>
                <a:lnTo>
                  <a:pt x="78825" y="414485"/>
                </a:lnTo>
                <a:lnTo>
                  <a:pt x="66033" y="370609"/>
                </a:lnTo>
                <a:lnTo>
                  <a:pt x="60809" y="325804"/>
                </a:lnTo>
                <a:lnTo>
                  <a:pt x="63092" y="281123"/>
                </a:lnTo>
                <a:lnTo>
                  <a:pt x="72826" y="237616"/>
                </a:lnTo>
                <a:lnTo>
                  <a:pt x="89950" y="196336"/>
                </a:lnTo>
                <a:lnTo>
                  <a:pt x="114407" y="158334"/>
                </a:lnTo>
                <a:lnTo>
                  <a:pt x="146137" y="124661"/>
                </a:lnTo>
                <a:lnTo>
                  <a:pt x="183465" y="97401"/>
                </a:lnTo>
                <a:lnTo>
                  <a:pt x="223986" y="77969"/>
                </a:lnTo>
                <a:lnTo>
                  <a:pt x="266679" y="66293"/>
                </a:lnTo>
                <a:lnTo>
                  <a:pt x="310523" y="62300"/>
                </a:lnTo>
                <a:lnTo>
                  <a:pt x="497746" y="62300"/>
                </a:lnTo>
                <a:lnTo>
                  <a:pt x="484742" y="52464"/>
                </a:lnTo>
                <a:lnTo>
                  <a:pt x="444207" y="30037"/>
                </a:lnTo>
                <a:lnTo>
                  <a:pt x="401601" y="13784"/>
                </a:lnTo>
                <a:lnTo>
                  <a:pt x="357644" y="3755"/>
                </a:lnTo>
                <a:lnTo>
                  <a:pt x="313054" y="0"/>
                </a:lnTo>
                <a:close/>
              </a:path>
              <a:path w="640715" h="650239">
                <a:moveTo>
                  <a:pt x="497746" y="62300"/>
                </a:moveTo>
                <a:lnTo>
                  <a:pt x="310523" y="62300"/>
                </a:lnTo>
                <a:lnTo>
                  <a:pt x="354497" y="65916"/>
                </a:lnTo>
                <a:lnTo>
                  <a:pt x="397579" y="77069"/>
                </a:lnTo>
                <a:lnTo>
                  <a:pt x="438748" y="95685"/>
                </a:lnTo>
                <a:lnTo>
                  <a:pt x="476983" y="121691"/>
                </a:lnTo>
                <a:lnTo>
                  <a:pt x="511262" y="155014"/>
                </a:lnTo>
                <a:lnTo>
                  <a:pt x="539450" y="193902"/>
                </a:lnTo>
                <a:lnTo>
                  <a:pt x="560100" y="235857"/>
                </a:lnTo>
                <a:lnTo>
                  <a:pt x="573229" y="279818"/>
                </a:lnTo>
                <a:lnTo>
                  <a:pt x="578854" y="324723"/>
                </a:lnTo>
                <a:lnTo>
                  <a:pt x="576992" y="369509"/>
                </a:lnTo>
                <a:lnTo>
                  <a:pt x="567660" y="413116"/>
                </a:lnTo>
                <a:lnTo>
                  <a:pt x="550874" y="454480"/>
                </a:lnTo>
                <a:lnTo>
                  <a:pt x="526650" y="492541"/>
                </a:lnTo>
                <a:lnTo>
                  <a:pt x="495006" y="526235"/>
                </a:lnTo>
                <a:lnTo>
                  <a:pt x="457190" y="553746"/>
                </a:lnTo>
                <a:lnTo>
                  <a:pt x="416223" y="573272"/>
                </a:lnTo>
                <a:lnTo>
                  <a:pt x="373129" y="584919"/>
                </a:lnTo>
                <a:lnTo>
                  <a:pt x="328934" y="588792"/>
                </a:lnTo>
                <a:lnTo>
                  <a:pt x="515583" y="588792"/>
                </a:lnTo>
                <a:lnTo>
                  <a:pt x="568200" y="539939"/>
                </a:lnTo>
                <a:lnTo>
                  <a:pt x="594860" y="502372"/>
                </a:lnTo>
                <a:lnTo>
                  <a:pt x="615456" y="461858"/>
                </a:lnTo>
                <a:lnTo>
                  <a:pt x="629946" y="419099"/>
                </a:lnTo>
                <a:lnTo>
                  <a:pt x="638286" y="374792"/>
                </a:lnTo>
                <a:lnTo>
                  <a:pt x="640432" y="329638"/>
                </a:lnTo>
                <a:lnTo>
                  <a:pt x="636340" y="284336"/>
                </a:lnTo>
                <a:lnTo>
                  <a:pt x="625967" y="239586"/>
                </a:lnTo>
                <a:lnTo>
                  <a:pt x="609270" y="196088"/>
                </a:lnTo>
                <a:lnTo>
                  <a:pt x="586205" y="154541"/>
                </a:lnTo>
                <a:lnTo>
                  <a:pt x="556728" y="115644"/>
                </a:lnTo>
                <a:lnTo>
                  <a:pt x="522489" y="81016"/>
                </a:lnTo>
                <a:lnTo>
                  <a:pt x="497746" y="62300"/>
                </a:lnTo>
                <a:close/>
              </a:path>
            </a:pathLst>
          </a:custGeom>
          <a:solidFill>
            <a:srgbClr val="EBE8E7"/>
          </a:solidFill>
        </p:spPr>
        <p:txBody>
          <a:bodyPr wrap="square" lIns="0" tIns="0" rIns="0" bIns="0" rtlCol="0"/>
          <a:lstStyle/>
          <a:p>
            <a:endParaRPr/>
          </a:p>
        </p:txBody>
      </p:sp>
      <p:sp>
        <p:nvSpPr>
          <p:cNvPr id="90" name="object 90"/>
          <p:cNvSpPr/>
          <p:nvPr/>
        </p:nvSpPr>
        <p:spPr>
          <a:xfrm>
            <a:off x="9033929" y="2250746"/>
            <a:ext cx="640715" cy="650240"/>
          </a:xfrm>
          <a:custGeom>
            <a:avLst/>
            <a:gdLst/>
            <a:ahLst/>
            <a:cxnLst/>
            <a:rect l="l" t="t" r="r" b="b"/>
            <a:pathLst>
              <a:path w="640715" h="650239">
                <a:moveTo>
                  <a:pt x="105751" y="77036"/>
                </a:moveTo>
                <a:lnTo>
                  <a:pt x="72812" y="110585"/>
                </a:lnTo>
                <a:lnTo>
                  <a:pt x="45977" y="147919"/>
                </a:lnTo>
                <a:lnTo>
                  <a:pt x="25263" y="188313"/>
                </a:lnTo>
                <a:lnTo>
                  <a:pt x="10685" y="231044"/>
                </a:lnTo>
                <a:lnTo>
                  <a:pt x="2259" y="275387"/>
                </a:lnTo>
                <a:lnTo>
                  <a:pt x="0" y="320618"/>
                </a:lnTo>
                <a:lnTo>
                  <a:pt x="3923" y="366013"/>
                </a:lnTo>
                <a:lnTo>
                  <a:pt x="14044" y="410847"/>
                </a:lnTo>
                <a:lnTo>
                  <a:pt x="30378" y="454396"/>
                </a:lnTo>
                <a:lnTo>
                  <a:pt x="52941" y="495937"/>
                </a:lnTo>
                <a:lnTo>
                  <a:pt x="81748" y="534744"/>
                </a:lnTo>
                <a:lnTo>
                  <a:pt x="116365" y="569112"/>
                </a:lnTo>
                <a:lnTo>
                  <a:pt x="154365" y="597500"/>
                </a:lnTo>
                <a:lnTo>
                  <a:pt x="195062" y="619847"/>
                </a:lnTo>
                <a:lnTo>
                  <a:pt x="237771" y="636092"/>
                </a:lnTo>
                <a:lnTo>
                  <a:pt x="281808" y="646174"/>
                </a:lnTo>
                <a:lnTo>
                  <a:pt x="326486" y="650034"/>
                </a:lnTo>
                <a:lnTo>
                  <a:pt x="371121" y="647609"/>
                </a:lnTo>
                <a:lnTo>
                  <a:pt x="415027" y="638840"/>
                </a:lnTo>
                <a:lnTo>
                  <a:pt x="457519" y="623666"/>
                </a:lnTo>
                <a:lnTo>
                  <a:pt x="497912" y="602027"/>
                </a:lnTo>
                <a:lnTo>
                  <a:pt x="535519" y="573860"/>
                </a:lnTo>
                <a:lnTo>
                  <a:pt x="568200" y="539939"/>
                </a:lnTo>
                <a:lnTo>
                  <a:pt x="594860" y="502372"/>
                </a:lnTo>
                <a:lnTo>
                  <a:pt x="615456" y="461858"/>
                </a:lnTo>
                <a:lnTo>
                  <a:pt x="629946" y="419099"/>
                </a:lnTo>
                <a:lnTo>
                  <a:pt x="638286" y="374792"/>
                </a:lnTo>
                <a:lnTo>
                  <a:pt x="640432" y="329638"/>
                </a:lnTo>
                <a:lnTo>
                  <a:pt x="636340" y="284336"/>
                </a:lnTo>
                <a:lnTo>
                  <a:pt x="625967" y="239586"/>
                </a:lnTo>
                <a:lnTo>
                  <a:pt x="609270" y="196088"/>
                </a:lnTo>
                <a:lnTo>
                  <a:pt x="586205" y="154541"/>
                </a:lnTo>
                <a:lnTo>
                  <a:pt x="556728" y="115644"/>
                </a:lnTo>
                <a:lnTo>
                  <a:pt x="522489" y="81016"/>
                </a:lnTo>
                <a:lnTo>
                  <a:pt x="484742" y="52464"/>
                </a:lnTo>
                <a:lnTo>
                  <a:pt x="444207" y="30037"/>
                </a:lnTo>
                <a:lnTo>
                  <a:pt x="401601" y="13784"/>
                </a:lnTo>
                <a:lnTo>
                  <a:pt x="357644" y="3755"/>
                </a:lnTo>
                <a:lnTo>
                  <a:pt x="313054" y="0"/>
                </a:lnTo>
                <a:lnTo>
                  <a:pt x="268549" y="2566"/>
                </a:lnTo>
                <a:lnTo>
                  <a:pt x="224848" y="11503"/>
                </a:lnTo>
                <a:lnTo>
                  <a:pt x="182669" y="26861"/>
                </a:lnTo>
                <a:lnTo>
                  <a:pt x="142730" y="48689"/>
                </a:lnTo>
                <a:lnTo>
                  <a:pt x="105751" y="77036"/>
                </a:lnTo>
                <a:close/>
              </a:path>
            </a:pathLst>
          </a:custGeom>
          <a:ln w="6350">
            <a:solidFill>
              <a:srgbClr val="BEBEBE"/>
            </a:solidFill>
          </a:ln>
        </p:spPr>
        <p:txBody>
          <a:bodyPr wrap="square" lIns="0" tIns="0" rIns="0" bIns="0" rtlCol="0"/>
          <a:lstStyle/>
          <a:p>
            <a:endParaRPr/>
          </a:p>
        </p:txBody>
      </p:sp>
      <p:sp>
        <p:nvSpPr>
          <p:cNvPr id="91" name="object 91"/>
          <p:cNvSpPr/>
          <p:nvPr/>
        </p:nvSpPr>
        <p:spPr>
          <a:xfrm>
            <a:off x="9094739" y="2313046"/>
            <a:ext cx="518159" cy="527050"/>
          </a:xfrm>
          <a:custGeom>
            <a:avLst/>
            <a:gdLst/>
            <a:ahLst/>
            <a:cxnLst/>
            <a:rect l="l" t="t" r="r" b="b"/>
            <a:pathLst>
              <a:path w="518159" h="527050">
                <a:moveTo>
                  <a:pt x="434197" y="463935"/>
                </a:moveTo>
                <a:lnTo>
                  <a:pt x="396381" y="491446"/>
                </a:lnTo>
                <a:lnTo>
                  <a:pt x="355413" y="510972"/>
                </a:lnTo>
                <a:lnTo>
                  <a:pt x="312320" y="522618"/>
                </a:lnTo>
                <a:lnTo>
                  <a:pt x="268125" y="526491"/>
                </a:lnTo>
                <a:lnTo>
                  <a:pt x="223855" y="522696"/>
                </a:lnTo>
                <a:lnTo>
                  <a:pt x="180536" y="511339"/>
                </a:lnTo>
                <a:lnTo>
                  <a:pt x="139192" y="492524"/>
                </a:lnTo>
                <a:lnTo>
                  <a:pt x="100849" y="466358"/>
                </a:lnTo>
                <a:lnTo>
                  <a:pt x="66532" y="432947"/>
                </a:lnTo>
                <a:lnTo>
                  <a:pt x="38432" y="394081"/>
                </a:lnTo>
                <a:lnTo>
                  <a:pt x="18015" y="352185"/>
                </a:lnTo>
                <a:lnTo>
                  <a:pt x="5224" y="308308"/>
                </a:lnTo>
                <a:lnTo>
                  <a:pt x="0" y="263503"/>
                </a:lnTo>
                <a:lnTo>
                  <a:pt x="2283" y="218822"/>
                </a:lnTo>
                <a:lnTo>
                  <a:pt x="12016" y="175316"/>
                </a:lnTo>
                <a:lnTo>
                  <a:pt x="29141" y="134036"/>
                </a:lnTo>
                <a:lnTo>
                  <a:pt x="53597" y="96033"/>
                </a:lnTo>
                <a:lnTo>
                  <a:pt x="85328" y="62361"/>
                </a:lnTo>
                <a:lnTo>
                  <a:pt x="122656" y="35100"/>
                </a:lnTo>
                <a:lnTo>
                  <a:pt x="163177" y="15668"/>
                </a:lnTo>
                <a:lnTo>
                  <a:pt x="205870" y="3993"/>
                </a:lnTo>
                <a:lnTo>
                  <a:pt x="249714" y="0"/>
                </a:lnTo>
                <a:lnTo>
                  <a:pt x="293687" y="3616"/>
                </a:lnTo>
                <a:lnTo>
                  <a:pt x="336769" y="14769"/>
                </a:lnTo>
                <a:lnTo>
                  <a:pt x="377938" y="33385"/>
                </a:lnTo>
                <a:lnTo>
                  <a:pt x="416173" y="59391"/>
                </a:lnTo>
                <a:lnTo>
                  <a:pt x="450453" y="92714"/>
                </a:lnTo>
                <a:lnTo>
                  <a:pt x="478641" y="131601"/>
                </a:lnTo>
                <a:lnTo>
                  <a:pt x="499291" y="173556"/>
                </a:lnTo>
                <a:lnTo>
                  <a:pt x="512420" y="217517"/>
                </a:lnTo>
                <a:lnTo>
                  <a:pt x="518045" y="262422"/>
                </a:lnTo>
                <a:lnTo>
                  <a:pt x="516183" y="307209"/>
                </a:lnTo>
                <a:lnTo>
                  <a:pt x="506851" y="350815"/>
                </a:lnTo>
                <a:lnTo>
                  <a:pt x="490064" y="392180"/>
                </a:lnTo>
                <a:lnTo>
                  <a:pt x="465841" y="430240"/>
                </a:lnTo>
                <a:lnTo>
                  <a:pt x="434197" y="463935"/>
                </a:lnTo>
                <a:close/>
              </a:path>
            </a:pathLst>
          </a:custGeom>
          <a:ln w="6350">
            <a:solidFill>
              <a:srgbClr val="BEBEBE"/>
            </a:solidFill>
          </a:ln>
        </p:spPr>
        <p:txBody>
          <a:bodyPr wrap="square" lIns="0" tIns="0" rIns="0" bIns="0" rtlCol="0"/>
          <a:lstStyle/>
          <a:p>
            <a:endParaRPr/>
          </a:p>
        </p:txBody>
      </p:sp>
      <p:sp>
        <p:nvSpPr>
          <p:cNvPr id="92" name="object 92"/>
          <p:cNvSpPr/>
          <p:nvPr/>
        </p:nvSpPr>
        <p:spPr>
          <a:xfrm>
            <a:off x="9094876" y="2311460"/>
            <a:ext cx="518159" cy="527050"/>
          </a:xfrm>
          <a:custGeom>
            <a:avLst/>
            <a:gdLst/>
            <a:ahLst/>
            <a:cxnLst/>
            <a:rect l="l" t="t" r="r" b="b"/>
            <a:pathLst>
              <a:path w="518159" h="527050">
                <a:moveTo>
                  <a:pt x="249251" y="0"/>
                </a:moveTo>
                <a:lnTo>
                  <a:pt x="205432" y="3937"/>
                </a:lnTo>
                <a:lnTo>
                  <a:pt x="162780" y="15564"/>
                </a:lnTo>
                <a:lnTo>
                  <a:pt x="122317" y="34951"/>
                </a:lnTo>
                <a:lnTo>
                  <a:pt x="85064" y="62169"/>
                </a:lnTo>
                <a:lnTo>
                  <a:pt x="53380" y="95847"/>
                </a:lnTo>
                <a:lnTo>
                  <a:pt x="28976" y="133863"/>
                </a:lnTo>
                <a:lnTo>
                  <a:pt x="11908" y="175166"/>
                </a:lnTo>
                <a:lnTo>
                  <a:pt x="2230" y="218706"/>
                </a:lnTo>
                <a:lnTo>
                  <a:pt x="0" y="263429"/>
                </a:lnTo>
                <a:lnTo>
                  <a:pt x="5271" y="308286"/>
                </a:lnTo>
                <a:lnTo>
                  <a:pt x="18099" y="352223"/>
                </a:lnTo>
                <a:lnTo>
                  <a:pt x="38540" y="394191"/>
                </a:lnTo>
                <a:lnTo>
                  <a:pt x="66649" y="433136"/>
                </a:lnTo>
                <a:lnTo>
                  <a:pt x="101004" y="466595"/>
                </a:lnTo>
                <a:lnTo>
                  <a:pt x="139375" y="492814"/>
                </a:lnTo>
                <a:lnTo>
                  <a:pt x="180738" y="511688"/>
                </a:lnTo>
                <a:lnTo>
                  <a:pt x="224067" y="523108"/>
                </a:lnTo>
                <a:lnTo>
                  <a:pt x="268336" y="526966"/>
                </a:lnTo>
                <a:lnTo>
                  <a:pt x="312521" y="523156"/>
                </a:lnTo>
                <a:lnTo>
                  <a:pt x="355596" y="511568"/>
                </a:lnTo>
                <a:lnTo>
                  <a:pt x="396536" y="492096"/>
                </a:lnTo>
                <a:lnTo>
                  <a:pt x="434314" y="464632"/>
                </a:lnTo>
                <a:lnTo>
                  <a:pt x="465907" y="430967"/>
                </a:lnTo>
                <a:lnTo>
                  <a:pt x="490066" y="392911"/>
                </a:lnTo>
                <a:lnTo>
                  <a:pt x="506779" y="351532"/>
                </a:lnTo>
                <a:lnTo>
                  <a:pt x="516036" y="307894"/>
                </a:lnTo>
                <a:lnTo>
                  <a:pt x="517824" y="263065"/>
                </a:lnTo>
                <a:lnTo>
                  <a:pt x="512132" y="218111"/>
                </a:lnTo>
                <a:lnTo>
                  <a:pt x="498949" y="174098"/>
                </a:lnTo>
                <a:lnTo>
                  <a:pt x="478263" y="132091"/>
                </a:lnTo>
                <a:lnTo>
                  <a:pt x="450062" y="93157"/>
                </a:lnTo>
                <a:lnTo>
                  <a:pt x="415745" y="59716"/>
                </a:lnTo>
                <a:lnTo>
                  <a:pt x="377483" y="33609"/>
                </a:lnTo>
                <a:lnTo>
                  <a:pt x="336298" y="14906"/>
                </a:lnTo>
                <a:lnTo>
                  <a:pt x="293214" y="3680"/>
                </a:lnTo>
                <a:lnTo>
                  <a:pt x="249251" y="0"/>
                </a:lnTo>
                <a:close/>
              </a:path>
            </a:pathLst>
          </a:custGeom>
          <a:solidFill>
            <a:srgbClr val="BBE7FF"/>
          </a:solidFill>
        </p:spPr>
        <p:txBody>
          <a:bodyPr wrap="square" lIns="0" tIns="0" rIns="0" bIns="0" rtlCol="0"/>
          <a:lstStyle/>
          <a:p>
            <a:endParaRPr/>
          </a:p>
        </p:txBody>
      </p:sp>
      <p:sp>
        <p:nvSpPr>
          <p:cNvPr id="93" name="object 93"/>
          <p:cNvSpPr/>
          <p:nvPr/>
        </p:nvSpPr>
        <p:spPr>
          <a:xfrm>
            <a:off x="9094917" y="2305586"/>
            <a:ext cx="295275" cy="526415"/>
          </a:xfrm>
          <a:custGeom>
            <a:avLst/>
            <a:gdLst/>
            <a:ahLst/>
            <a:cxnLst/>
            <a:rect l="l" t="t" r="r" b="b"/>
            <a:pathLst>
              <a:path w="295275" h="526414">
                <a:moveTo>
                  <a:pt x="250383" y="0"/>
                </a:moveTo>
                <a:lnTo>
                  <a:pt x="206062" y="3435"/>
                </a:lnTo>
                <a:lnTo>
                  <a:pt x="163033" y="14831"/>
                </a:lnTo>
                <a:lnTo>
                  <a:pt x="122339" y="34299"/>
                </a:lnTo>
                <a:lnTo>
                  <a:pt x="85022" y="61947"/>
                </a:lnTo>
                <a:lnTo>
                  <a:pt x="53372" y="95586"/>
                </a:lnTo>
                <a:lnTo>
                  <a:pt x="28985" y="133572"/>
                </a:lnTo>
                <a:lnTo>
                  <a:pt x="11922" y="174850"/>
                </a:lnTo>
                <a:lnTo>
                  <a:pt x="2241" y="218367"/>
                </a:lnTo>
                <a:lnTo>
                  <a:pt x="0" y="263070"/>
                </a:lnTo>
                <a:lnTo>
                  <a:pt x="5257" y="307904"/>
                </a:lnTo>
                <a:lnTo>
                  <a:pt x="18072" y="351816"/>
                </a:lnTo>
                <a:lnTo>
                  <a:pt x="38502" y="393753"/>
                </a:lnTo>
                <a:lnTo>
                  <a:pt x="66607" y="432660"/>
                </a:lnTo>
                <a:lnTo>
                  <a:pt x="101503" y="466109"/>
                </a:lnTo>
                <a:lnTo>
                  <a:pt x="140276" y="492316"/>
                </a:lnTo>
                <a:lnTo>
                  <a:pt x="181895" y="511170"/>
                </a:lnTo>
                <a:lnTo>
                  <a:pt x="225331" y="522564"/>
                </a:lnTo>
                <a:lnTo>
                  <a:pt x="269553" y="526386"/>
                </a:lnTo>
                <a:lnTo>
                  <a:pt x="226526" y="514906"/>
                </a:lnTo>
                <a:lnTo>
                  <a:pt x="185464" y="495985"/>
                </a:lnTo>
                <a:lnTo>
                  <a:pt x="147520" y="469754"/>
                </a:lnTo>
                <a:lnTo>
                  <a:pt x="113851" y="436343"/>
                </a:lnTo>
                <a:lnTo>
                  <a:pt x="85692" y="397469"/>
                </a:lnTo>
                <a:lnTo>
                  <a:pt x="65124" y="355616"/>
                </a:lnTo>
                <a:lnTo>
                  <a:pt x="52129" y="311812"/>
                </a:lnTo>
                <a:lnTo>
                  <a:pt x="46689" y="267087"/>
                </a:lnTo>
                <a:lnTo>
                  <a:pt x="48784" y="222468"/>
                </a:lnTo>
                <a:lnTo>
                  <a:pt x="58395" y="178985"/>
                </a:lnTo>
                <a:lnTo>
                  <a:pt x="75504" y="137665"/>
                </a:lnTo>
                <a:lnTo>
                  <a:pt x="100092" y="99537"/>
                </a:lnTo>
                <a:lnTo>
                  <a:pt x="132139" y="65630"/>
                </a:lnTo>
                <a:lnTo>
                  <a:pt x="168741" y="38224"/>
                </a:lnTo>
                <a:lnTo>
                  <a:pt x="208832" y="18973"/>
                </a:lnTo>
                <a:lnTo>
                  <a:pt x="251279" y="7748"/>
                </a:lnTo>
                <a:lnTo>
                  <a:pt x="294953" y="4416"/>
                </a:lnTo>
                <a:lnTo>
                  <a:pt x="250383" y="0"/>
                </a:lnTo>
                <a:close/>
              </a:path>
            </a:pathLst>
          </a:custGeom>
          <a:solidFill>
            <a:srgbClr val="12ABDB"/>
          </a:solidFill>
        </p:spPr>
        <p:txBody>
          <a:bodyPr wrap="square" lIns="0" tIns="0" rIns="0" bIns="0" rtlCol="0"/>
          <a:lstStyle/>
          <a:p>
            <a:endParaRPr/>
          </a:p>
        </p:txBody>
      </p:sp>
      <p:sp>
        <p:nvSpPr>
          <p:cNvPr id="94" name="object 94"/>
          <p:cNvSpPr/>
          <p:nvPr/>
        </p:nvSpPr>
        <p:spPr>
          <a:xfrm>
            <a:off x="9344786" y="2203576"/>
            <a:ext cx="439420" cy="775335"/>
          </a:xfrm>
          <a:custGeom>
            <a:avLst/>
            <a:gdLst/>
            <a:ahLst/>
            <a:cxnLst/>
            <a:rect l="l" t="t" r="r" b="b"/>
            <a:pathLst>
              <a:path w="439420" h="775335">
                <a:moveTo>
                  <a:pt x="0" y="769620"/>
                </a:moveTo>
                <a:lnTo>
                  <a:pt x="47265" y="775142"/>
                </a:lnTo>
                <a:lnTo>
                  <a:pt x="94572" y="774812"/>
                </a:lnTo>
                <a:lnTo>
                  <a:pt x="129599" y="770175"/>
                </a:lnTo>
                <a:lnTo>
                  <a:pt x="47337" y="770175"/>
                </a:lnTo>
                <a:lnTo>
                  <a:pt x="0" y="769620"/>
                </a:lnTo>
                <a:close/>
              </a:path>
              <a:path w="439420" h="775335">
                <a:moveTo>
                  <a:pt x="336951" y="133223"/>
                </a:moveTo>
                <a:lnTo>
                  <a:pt x="299974" y="133223"/>
                </a:lnTo>
                <a:lnTo>
                  <a:pt x="301117" y="134874"/>
                </a:lnTo>
                <a:lnTo>
                  <a:pt x="309237" y="145238"/>
                </a:lnTo>
                <a:lnTo>
                  <a:pt x="316928" y="155876"/>
                </a:lnTo>
                <a:lnTo>
                  <a:pt x="355455" y="218662"/>
                </a:lnTo>
                <a:lnTo>
                  <a:pt x="374024" y="261544"/>
                </a:lnTo>
                <a:lnTo>
                  <a:pt x="387328" y="305700"/>
                </a:lnTo>
                <a:lnTo>
                  <a:pt x="395388" y="350637"/>
                </a:lnTo>
                <a:lnTo>
                  <a:pt x="398229" y="395861"/>
                </a:lnTo>
                <a:lnTo>
                  <a:pt x="395874" y="440880"/>
                </a:lnTo>
                <a:lnTo>
                  <a:pt x="388347" y="485200"/>
                </a:lnTo>
                <a:lnTo>
                  <a:pt x="375670" y="528329"/>
                </a:lnTo>
                <a:lnTo>
                  <a:pt x="357868" y="569773"/>
                </a:lnTo>
                <a:lnTo>
                  <a:pt x="334963" y="609040"/>
                </a:lnTo>
                <a:lnTo>
                  <a:pt x="306978" y="645636"/>
                </a:lnTo>
                <a:lnTo>
                  <a:pt x="273939" y="679069"/>
                </a:lnTo>
                <a:lnTo>
                  <a:pt x="233934" y="710184"/>
                </a:lnTo>
                <a:lnTo>
                  <a:pt x="198268" y="730918"/>
                </a:lnTo>
                <a:lnTo>
                  <a:pt x="186690" y="736853"/>
                </a:lnTo>
                <a:lnTo>
                  <a:pt x="185166" y="737870"/>
                </a:lnTo>
                <a:lnTo>
                  <a:pt x="183515" y="738886"/>
                </a:lnTo>
                <a:lnTo>
                  <a:pt x="139392" y="754618"/>
                </a:lnTo>
                <a:lnTo>
                  <a:pt x="93900" y="765111"/>
                </a:lnTo>
                <a:lnTo>
                  <a:pt x="47337" y="770175"/>
                </a:lnTo>
                <a:lnTo>
                  <a:pt x="129599" y="770175"/>
                </a:lnTo>
                <a:lnTo>
                  <a:pt x="187028" y="756553"/>
                </a:lnTo>
                <a:lnTo>
                  <a:pt x="231034" y="738602"/>
                </a:lnTo>
                <a:lnTo>
                  <a:pt x="272796" y="714756"/>
                </a:lnTo>
                <a:lnTo>
                  <a:pt x="312801" y="683640"/>
                </a:lnTo>
                <a:lnTo>
                  <a:pt x="346413" y="649852"/>
                </a:lnTo>
                <a:lnTo>
                  <a:pt x="374898" y="612831"/>
                </a:lnTo>
                <a:lnTo>
                  <a:pt x="398223" y="573082"/>
                </a:lnTo>
                <a:lnTo>
                  <a:pt x="416355" y="531112"/>
                </a:lnTo>
                <a:lnTo>
                  <a:pt x="429262" y="487425"/>
                </a:lnTo>
                <a:lnTo>
                  <a:pt x="436910" y="442527"/>
                </a:lnTo>
                <a:lnTo>
                  <a:pt x="439268" y="396924"/>
                </a:lnTo>
                <a:lnTo>
                  <a:pt x="436303" y="351119"/>
                </a:lnTo>
                <a:lnTo>
                  <a:pt x="427982" y="305620"/>
                </a:lnTo>
                <a:lnTo>
                  <a:pt x="414272" y="260931"/>
                </a:lnTo>
                <a:lnTo>
                  <a:pt x="395141" y="217558"/>
                </a:lnTo>
                <a:lnTo>
                  <a:pt x="370557" y="176005"/>
                </a:lnTo>
                <a:lnTo>
                  <a:pt x="340487" y="136778"/>
                </a:lnTo>
                <a:lnTo>
                  <a:pt x="336951" y="133223"/>
                </a:lnTo>
                <a:close/>
              </a:path>
              <a:path w="439420" h="775335">
                <a:moveTo>
                  <a:pt x="328365" y="124587"/>
                </a:moveTo>
                <a:lnTo>
                  <a:pt x="291973" y="124587"/>
                </a:lnTo>
                <a:lnTo>
                  <a:pt x="293116" y="126237"/>
                </a:lnTo>
                <a:lnTo>
                  <a:pt x="294132" y="127888"/>
                </a:lnTo>
                <a:lnTo>
                  <a:pt x="295275" y="129412"/>
                </a:lnTo>
                <a:lnTo>
                  <a:pt x="296291" y="131063"/>
                </a:lnTo>
                <a:lnTo>
                  <a:pt x="297434" y="132714"/>
                </a:lnTo>
                <a:lnTo>
                  <a:pt x="298450" y="134365"/>
                </a:lnTo>
                <a:lnTo>
                  <a:pt x="299974" y="133223"/>
                </a:lnTo>
                <a:lnTo>
                  <a:pt x="336951" y="133223"/>
                </a:lnTo>
                <a:lnTo>
                  <a:pt x="328365" y="124587"/>
                </a:lnTo>
                <a:close/>
              </a:path>
              <a:path w="439420" h="775335">
                <a:moveTo>
                  <a:pt x="319779" y="115950"/>
                </a:moveTo>
                <a:lnTo>
                  <a:pt x="284099" y="115950"/>
                </a:lnTo>
                <a:lnTo>
                  <a:pt x="285115" y="117475"/>
                </a:lnTo>
                <a:lnTo>
                  <a:pt x="286131" y="119125"/>
                </a:lnTo>
                <a:lnTo>
                  <a:pt x="287274" y="120776"/>
                </a:lnTo>
                <a:lnTo>
                  <a:pt x="288290" y="122427"/>
                </a:lnTo>
                <a:lnTo>
                  <a:pt x="289433" y="123951"/>
                </a:lnTo>
                <a:lnTo>
                  <a:pt x="290449" y="125602"/>
                </a:lnTo>
                <a:lnTo>
                  <a:pt x="291973" y="124587"/>
                </a:lnTo>
                <a:lnTo>
                  <a:pt x="328365" y="124587"/>
                </a:lnTo>
                <a:lnTo>
                  <a:pt x="319779" y="115950"/>
                </a:lnTo>
                <a:close/>
              </a:path>
              <a:path w="439420" h="775335">
                <a:moveTo>
                  <a:pt x="314350" y="110489"/>
                </a:moveTo>
                <a:lnTo>
                  <a:pt x="278257" y="110489"/>
                </a:lnTo>
                <a:lnTo>
                  <a:pt x="279273" y="112140"/>
                </a:lnTo>
                <a:lnTo>
                  <a:pt x="280289" y="113664"/>
                </a:lnTo>
                <a:lnTo>
                  <a:pt x="281432" y="115315"/>
                </a:lnTo>
                <a:lnTo>
                  <a:pt x="282448" y="116967"/>
                </a:lnTo>
                <a:lnTo>
                  <a:pt x="284099" y="115950"/>
                </a:lnTo>
                <a:lnTo>
                  <a:pt x="319779" y="115950"/>
                </a:lnTo>
                <a:lnTo>
                  <a:pt x="314350" y="110489"/>
                </a:lnTo>
                <a:close/>
              </a:path>
              <a:path w="439420" h="775335">
                <a:moveTo>
                  <a:pt x="37084" y="0"/>
                </a:moveTo>
                <a:lnTo>
                  <a:pt x="87913" y="7571"/>
                </a:lnTo>
                <a:lnTo>
                  <a:pt x="137852" y="22226"/>
                </a:lnTo>
                <a:lnTo>
                  <a:pt x="186012" y="43763"/>
                </a:lnTo>
                <a:lnTo>
                  <a:pt x="231501" y="71981"/>
                </a:lnTo>
                <a:lnTo>
                  <a:pt x="273431" y="106680"/>
                </a:lnTo>
                <a:lnTo>
                  <a:pt x="274447" y="108203"/>
                </a:lnTo>
                <a:lnTo>
                  <a:pt x="275590" y="109855"/>
                </a:lnTo>
                <a:lnTo>
                  <a:pt x="276606" y="111506"/>
                </a:lnTo>
                <a:lnTo>
                  <a:pt x="278257" y="110489"/>
                </a:lnTo>
                <a:lnTo>
                  <a:pt x="314350" y="110489"/>
                </a:lnTo>
                <a:lnTo>
                  <a:pt x="263919" y="68607"/>
                </a:lnTo>
                <a:lnTo>
                  <a:pt x="221471" y="43102"/>
                </a:lnTo>
                <a:lnTo>
                  <a:pt x="176999" y="23416"/>
                </a:lnTo>
                <a:lnTo>
                  <a:pt x="131068" y="9621"/>
                </a:lnTo>
                <a:lnTo>
                  <a:pt x="84241" y="1791"/>
                </a:lnTo>
                <a:lnTo>
                  <a:pt x="37084" y="0"/>
                </a:lnTo>
                <a:close/>
              </a:path>
            </a:pathLst>
          </a:custGeom>
          <a:solidFill>
            <a:srgbClr val="A6A6A6"/>
          </a:solidFill>
        </p:spPr>
        <p:txBody>
          <a:bodyPr wrap="square" lIns="0" tIns="0" rIns="0" bIns="0" rtlCol="0"/>
          <a:lstStyle/>
          <a:p>
            <a:endParaRPr/>
          </a:p>
        </p:txBody>
      </p:sp>
      <p:sp>
        <p:nvSpPr>
          <p:cNvPr id="95" name="object 95"/>
          <p:cNvSpPr/>
          <p:nvPr/>
        </p:nvSpPr>
        <p:spPr>
          <a:xfrm>
            <a:off x="9229343" y="2450592"/>
            <a:ext cx="248411" cy="249936"/>
          </a:xfrm>
          <a:prstGeom prst="rect">
            <a:avLst/>
          </a:prstGeom>
          <a:blipFill>
            <a:blip r:embed="rId9" cstate="print"/>
            <a:stretch>
              <a:fillRect/>
            </a:stretch>
          </a:blipFill>
        </p:spPr>
        <p:txBody>
          <a:bodyPr wrap="square" lIns="0" tIns="0" rIns="0" bIns="0" rtlCol="0"/>
          <a:lstStyle/>
          <a:p>
            <a:endParaRPr/>
          </a:p>
        </p:txBody>
      </p:sp>
      <p:sp>
        <p:nvSpPr>
          <p:cNvPr id="96" name="object 96"/>
          <p:cNvSpPr txBox="1"/>
          <p:nvPr/>
        </p:nvSpPr>
        <p:spPr>
          <a:xfrm>
            <a:off x="10309986" y="3114192"/>
            <a:ext cx="1150620" cy="683895"/>
          </a:xfrm>
          <a:prstGeom prst="rect">
            <a:avLst/>
          </a:prstGeom>
        </p:spPr>
        <p:txBody>
          <a:bodyPr vert="horz" wrap="square" lIns="0" tIns="36830" rIns="0" bIns="0" rtlCol="0">
            <a:spAutoFit/>
          </a:bodyPr>
          <a:lstStyle/>
          <a:p>
            <a:pPr marL="12700">
              <a:lnSpc>
                <a:spcPct val="100000"/>
              </a:lnSpc>
              <a:spcBef>
                <a:spcPts val="290"/>
              </a:spcBef>
            </a:pPr>
            <a:r>
              <a:rPr sz="1000" b="1" spc="-5">
                <a:latin typeface="Verdana"/>
                <a:cs typeface="Verdana"/>
              </a:rPr>
              <a:t>Prioritization</a:t>
            </a:r>
            <a:endParaRPr sz="1000">
              <a:latin typeface="Verdana"/>
              <a:cs typeface="Verdana"/>
            </a:endParaRPr>
          </a:p>
          <a:p>
            <a:pPr marL="184785" marR="5080" indent="-172720">
              <a:lnSpc>
                <a:spcPct val="100000"/>
              </a:lnSpc>
              <a:spcBef>
                <a:spcPts val="195"/>
              </a:spcBef>
              <a:buClr>
                <a:srgbClr val="006FAC"/>
              </a:buClr>
              <a:buFont typeface="Wingdings"/>
              <a:buChar char=""/>
              <a:tabLst>
                <a:tab pos="185420" algn="l"/>
              </a:tabLst>
            </a:pPr>
            <a:r>
              <a:rPr sz="1000" spc="-5">
                <a:latin typeface="Verdana"/>
                <a:cs typeface="Verdana"/>
              </a:rPr>
              <a:t>Always weight  Time / </a:t>
            </a:r>
            <a:r>
              <a:rPr sz="1000" spc="-10">
                <a:latin typeface="Verdana"/>
                <a:cs typeface="Verdana"/>
              </a:rPr>
              <a:t>Cost </a:t>
            </a:r>
            <a:r>
              <a:rPr sz="1000" spc="-5">
                <a:latin typeface="Verdana"/>
                <a:cs typeface="Verdana"/>
              </a:rPr>
              <a:t>/  </a:t>
            </a:r>
            <a:r>
              <a:rPr sz="1000">
                <a:latin typeface="Verdana"/>
                <a:cs typeface="Verdana"/>
              </a:rPr>
              <a:t>Quality</a:t>
            </a:r>
            <a:r>
              <a:rPr sz="1000" spc="-100">
                <a:latin typeface="Verdana"/>
                <a:cs typeface="Verdana"/>
              </a:rPr>
              <a:t> </a:t>
            </a:r>
            <a:r>
              <a:rPr sz="1000" spc="-5">
                <a:latin typeface="Verdana"/>
                <a:cs typeface="Verdana"/>
              </a:rPr>
              <a:t>Drivers</a:t>
            </a:r>
            <a:endParaRPr sz="1000">
              <a:latin typeface="Verdana"/>
              <a:cs typeface="Verdana"/>
            </a:endParaRPr>
          </a:p>
        </p:txBody>
      </p:sp>
      <p:sp>
        <p:nvSpPr>
          <p:cNvPr id="97" name="object 97"/>
          <p:cNvSpPr/>
          <p:nvPr/>
        </p:nvSpPr>
        <p:spPr>
          <a:xfrm>
            <a:off x="10076688" y="3099816"/>
            <a:ext cx="1592580" cy="757555"/>
          </a:xfrm>
          <a:custGeom>
            <a:avLst/>
            <a:gdLst/>
            <a:ahLst/>
            <a:cxnLst/>
            <a:rect l="l" t="t" r="r" b="b"/>
            <a:pathLst>
              <a:path w="1592579" h="757554">
                <a:moveTo>
                  <a:pt x="0" y="126237"/>
                </a:moveTo>
                <a:lnTo>
                  <a:pt x="9919" y="77098"/>
                </a:lnTo>
                <a:lnTo>
                  <a:pt x="36972" y="36972"/>
                </a:lnTo>
                <a:lnTo>
                  <a:pt x="77098" y="9919"/>
                </a:lnTo>
                <a:lnTo>
                  <a:pt x="126237" y="0"/>
                </a:lnTo>
                <a:lnTo>
                  <a:pt x="1466341" y="0"/>
                </a:lnTo>
                <a:lnTo>
                  <a:pt x="1515481" y="9919"/>
                </a:lnTo>
                <a:lnTo>
                  <a:pt x="1555607" y="36972"/>
                </a:lnTo>
                <a:lnTo>
                  <a:pt x="1582660" y="77098"/>
                </a:lnTo>
                <a:lnTo>
                  <a:pt x="1592579" y="126237"/>
                </a:lnTo>
                <a:lnTo>
                  <a:pt x="1592579" y="631190"/>
                </a:lnTo>
                <a:lnTo>
                  <a:pt x="1582660" y="680329"/>
                </a:lnTo>
                <a:lnTo>
                  <a:pt x="1555607" y="720455"/>
                </a:lnTo>
                <a:lnTo>
                  <a:pt x="1515481" y="747508"/>
                </a:lnTo>
                <a:lnTo>
                  <a:pt x="1466341" y="757428"/>
                </a:lnTo>
                <a:lnTo>
                  <a:pt x="126237" y="757428"/>
                </a:lnTo>
                <a:lnTo>
                  <a:pt x="77098" y="747508"/>
                </a:lnTo>
                <a:lnTo>
                  <a:pt x="36972" y="720455"/>
                </a:lnTo>
                <a:lnTo>
                  <a:pt x="9919" y="680329"/>
                </a:lnTo>
                <a:lnTo>
                  <a:pt x="0" y="631190"/>
                </a:lnTo>
                <a:lnTo>
                  <a:pt x="0" y="126237"/>
                </a:lnTo>
                <a:close/>
              </a:path>
            </a:pathLst>
          </a:custGeom>
          <a:ln w="12192">
            <a:solidFill>
              <a:srgbClr val="12ABDB"/>
            </a:solidFill>
          </a:ln>
        </p:spPr>
        <p:txBody>
          <a:bodyPr wrap="square" lIns="0" tIns="0" rIns="0" bIns="0" rtlCol="0"/>
          <a:lstStyle/>
          <a:p>
            <a:endParaRPr/>
          </a:p>
        </p:txBody>
      </p:sp>
      <p:sp>
        <p:nvSpPr>
          <p:cNvPr id="98" name="object 98"/>
          <p:cNvSpPr/>
          <p:nvPr/>
        </p:nvSpPr>
        <p:spPr>
          <a:xfrm>
            <a:off x="9462300" y="3155969"/>
            <a:ext cx="640715" cy="650240"/>
          </a:xfrm>
          <a:custGeom>
            <a:avLst/>
            <a:gdLst/>
            <a:ahLst/>
            <a:cxnLst/>
            <a:rect l="l" t="t" r="r" b="b"/>
            <a:pathLst>
              <a:path w="640715" h="650239">
                <a:moveTo>
                  <a:pt x="313054" y="0"/>
                </a:moveTo>
                <a:lnTo>
                  <a:pt x="268549" y="2559"/>
                </a:lnTo>
                <a:lnTo>
                  <a:pt x="224848" y="11484"/>
                </a:lnTo>
                <a:lnTo>
                  <a:pt x="182669" y="26824"/>
                </a:lnTo>
                <a:lnTo>
                  <a:pt x="142730" y="48626"/>
                </a:lnTo>
                <a:lnTo>
                  <a:pt x="105751" y="76942"/>
                </a:lnTo>
                <a:lnTo>
                  <a:pt x="72812" y="110522"/>
                </a:lnTo>
                <a:lnTo>
                  <a:pt x="45977" y="147882"/>
                </a:lnTo>
                <a:lnTo>
                  <a:pt x="25263" y="188297"/>
                </a:lnTo>
                <a:lnTo>
                  <a:pt x="10685" y="231044"/>
                </a:lnTo>
                <a:lnTo>
                  <a:pt x="2259" y="275399"/>
                </a:lnTo>
                <a:lnTo>
                  <a:pt x="0" y="320639"/>
                </a:lnTo>
                <a:lnTo>
                  <a:pt x="3923" y="366039"/>
                </a:lnTo>
                <a:lnTo>
                  <a:pt x="14044" y="410877"/>
                </a:lnTo>
                <a:lnTo>
                  <a:pt x="30378" y="454428"/>
                </a:lnTo>
                <a:lnTo>
                  <a:pt x="52941" y="495969"/>
                </a:lnTo>
                <a:lnTo>
                  <a:pt x="81748" y="534777"/>
                </a:lnTo>
                <a:lnTo>
                  <a:pt x="116365" y="569145"/>
                </a:lnTo>
                <a:lnTo>
                  <a:pt x="154365" y="597533"/>
                </a:lnTo>
                <a:lnTo>
                  <a:pt x="195062" y="619879"/>
                </a:lnTo>
                <a:lnTo>
                  <a:pt x="237771" y="636124"/>
                </a:lnTo>
                <a:lnTo>
                  <a:pt x="281808" y="646207"/>
                </a:lnTo>
                <a:lnTo>
                  <a:pt x="326486" y="650066"/>
                </a:lnTo>
                <a:lnTo>
                  <a:pt x="371121" y="647642"/>
                </a:lnTo>
                <a:lnTo>
                  <a:pt x="415027" y="638873"/>
                </a:lnTo>
                <a:lnTo>
                  <a:pt x="457519" y="623699"/>
                </a:lnTo>
                <a:lnTo>
                  <a:pt x="497912" y="602059"/>
                </a:lnTo>
                <a:lnTo>
                  <a:pt x="515653" y="588772"/>
                </a:lnTo>
                <a:lnTo>
                  <a:pt x="328934" y="588772"/>
                </a:lnTo>
                <a:lnTo>
                  <a:pt x="284665" y="584987"/>
                </a:lnTo>
                <a:lnTo>
                  <a:pt x="241345" y="573644"/>
                </a:lnTo>
                <a:lnTo>
                  <a:pt x="200001" y="554843"/>
                </a:lnTo>
                <a:lnTo>
                  <a:pt x="161658" y="528687"/>
                </a:lnTo>
                <a:lnTo>
                  <a:pt x="127341" y="495280"/>
                </a:lnTo>
                <a:lnTo>
                  <a:pt x="99241" y="456410"/>
                </a:lnTo>
                <a:lnTo>
                  <a:pt x="78825" y="414502"/>
                </a:lnTo>
                <a:lnTo>
                  <a:pt x="66033" y="370608"/>
                </a:lnTo>
                <a:lnTo>
                  <a:pt x="60809" y="325783"/>
                </a:lnTo>
                <a:lnTo>
                  <a:pt x="63092" y="281081"/>
                </a:lnTo>
                <a:lnTo>
                  <a:pt x="72826" y="237555"/>
                </a:lnTo>
                <a:lnTo>
                  <a:pt x="89950" y="196258"/>
                </a:lnTo>
                <a:lnTo>
                  <a:pt x="114407" y="158244"/>
                </a:lnTo>
                <a:lnTo>
                  <a:pt x="146137" y="124567"/>
                </a:lnTo>
                <a:lnTo>
                  <a:pt x="183465" y="97340"/>
                </a:lnTo>
                <a:lnTo>
                  <a:pt x="223986" y="77927"/>
                </a:lnTo>
                <a:lnTo>
                  <a:pt x="266679" y="66260"/>
                </a:lnTo>
                <a:lnTo>
                  <a:pt x="310523" y="62269"/>
                </a:lnTo>
                <a:lnTo>
                  <a:pt x="497766" y="62269"/>
                </a:lnTo>
                <a:lnTo>
                  <a:pt x="484742" y="52426"/>
                </a:lnTo>
                <a:lnTo>
                  <a:pt x="444207" y="30018"/>
                </a:lnTo>
                <a:lnTo>
                  <a:pt x="401601" y="13778"/>
                </a:lnTo>
                <a:lnTo>
                  <a:pt x="357644" y="3755"/>
                </a:lnTo>
                <a:lnTo>
                  <a:pt x="313054" y="0"/>
                </a:lnTo>
                <a:close/>
              </a:path>
              <a:path w="640715" h="650239">
                <a:moveTo>
                  <a:pt x="497766" y="62269"/>
                </a:moveTo>
                <a:lnTo>
                  <a:pt x="310523" y="62269"/>
                </a:lnTo>
                <a:lnTo>
                  <a:pt x="354497" y="65886"/>
                </a:lnTo>
                <a:lnTo>
                  <a:pt x="397579" y="77041"/>
                </a:lnTo>
                <a:lnTo>
                  <a:pt x="438748" y="95665"/>
                </a:lnTo>
                <a:lnTo>
                  <a:pt x="476983" y="121690"/>
                </a:lnTo>
                <a:lnTo>
                  <a:pt x="511262" y="155047"/>
                </a:lnTo>
                <a:lnTo>
                  <a:pt x="539416" y="193934"/>
                </a:lnTo>
                <a:lnTo>
                  <a:pt x="560049" y="235889"/>
                </a:lnTo>
                <a:lnTo>
                  <a:pt x="573173" y="279850"/>
                </a:lnTo>
                <a:lnTo>
                  <a:pt x="578802" y="324755"/>
                </a:lnTo>
                <a:lnTo>
                  <a:pt x="576951" y="369542"/>
                </a:lnTo>
                <a:lnTo>
                  <a:pt x="567632" y="413148"/>
                </a:lnTo>
                <a:lnTo>
                  <a:pt x="550859" y="454513"/>
                </a:lnTo>
                <a:lnTo>
                  <a:pt x="526646" y="492573"/>
                </a:lnTo>
                <a:lnTo>
                  <a:pt x="495006" y="526268"/>
                </a:lnTo>
                <a:lnTo>
                  <a:pt x="457190" y="553745"/>
                </a:lnTo>
                <a:lnTo>
                  <a:pt x="416223" y="573253"/>
                </a:lnTo>
                <a:lnTo>
                  <a:pt x="373129" y="584895"/>
                </a:lnTo>
                <a:lnTo>
                  <a:pt x="328934" y="588772"/>
                </a:lnTo>
                <a:lnTo>
                  <a:pt x="515653" y="588772"/>
                </a:lnTo>
                <a:lnTo>
                  <a:pt x="568197" y="539971"/>
                </a:lnTo>
                <a:lnTo>
                  <a:pt x="594849" y="502403"/>
                </a:lnTo>
                <a:lnTo>
                  <a:pt x="615436" y="461888"/>
                </a:lnTo>
                <a:lnTo>
                  <a:pt x="629914" y="419125"/>
                </a:lnTo>
                <a:lnTo>
                  <a:pt x="638243" y="374812"/>
                </a:lnTo>
                <a:lnTo>
                  <a:pt x="640380" y="329650"/>
                </a:lnTo>
                <a:lnTo>
                  <a:pt x="636284" y="284336"/>
                </a:lnTo>
                <a:lnTo>
                  <a:pt x="625912" y="239570"/>
                </a:lnTo>
                <a:lnTo>
                  <a:pt x="609224" y="196051"/>
                </a:lnTo>
                <a:lnTo>
                  <a:pt x="586176" y="154478"/>
                </a:lnTo>
                <a:lnTo>
                  <a:pt x="556728" y="115550"/>
                </a:lnTo>
                <a:lnTo>
                  <a:pt x="522489" y="80953"/>
                </a:lnTo>
                <a:lnTo>
                  <a:pt x="497766" y="62269"/>
                </a:lnTo>
                <a:close/>
              </a:path>
            </a:pathLst>
          </a:custGeom>
          <a:solidFill>
            <a:srgbClr val="EBE8E7"/>
          </a:solidFill>
        </p:spPr>
        <p:txBody>
          <a:bodyPr wrap="square" lIns="0" tIns="0" rIns="0" bIns="0" rtlCol="0"/>
          <a:lstStyle/>
          <a:p>
            <a:endParaRPr/>
          </a:p>
        </p:txBody>
      </p:sp>
      <p:sp>
        <p:nvSpPr>
          <p:cNvPr id="99" name="object 99"/>
          <p:cNvSpPr/>
          <p:nvPr/>
        </p:nvSpPr>
        <p:spPr>
          <a:xfrm>
            <a:off x="9462300" y="3155969"/>
            <a:ext cx="640715" cy="650240"/>
          </a:xfrm>
          <a:custGeom>
            <a:avLst/>
            <a:gdLst/>
            <a:ahLst/>
            <a:cxnLst/>
            <a:rect l="l" t="t" r="r" b="b"/>
            <a:pathLst>
              <a:path w="640715" h="650239">
                <a:moveTo>
                  <a:pt x="105751" y="76942"/>
                </a:moveTo>
                <a:lnTo>
                  <a:pt x="72812" y="110522"/>
                </a:lnTo>
                <a:lnTo>
                  <a:pt x="45977" y="147882"/>
                </a:lnTo>
                <a:lnTo>
                  <a:pt x="25263" y="188297"/>
                </a:lnTo>
                <a:lnTo>
                  <a:pt x="10685" y="231044"/>
                </a:lnTo>
                <a:lnTo>
                  <a:pt x="2259" y="275399"/>
                </a:lnTo>
                <a:lnTo>
                  <a:pt x="0" y="320639"/>
                </a:lnTo>
                <a:lnTo>
                  <a:pt x="3923" y="366039"/>
                </a:lnTo>
                <a:lnTo>
                  <a:pt x="14044" y="410877"/>
                </a:lnTo>
                <a:lnTo>
                  <a:pt x="30378" y="454428"/>
                </a:lnTo>
                <a:lnTo>
                  <a:pt x="52941" y="495969"/>
                </a:lnTo>
                <a:lnTo>
                  <a:pt x="81748" y="534777"/>
                </a:lnTo>
                <a:lnTo>
                  <a:pt x="116365" y="569145"/>
                </a:lnTo>
                <a:lnTo>
                  <a:pt x="154365" y="597533"/>
                </a:lnTo>
                <a:lnTo>
                  <a:pt x="195062" y="619879"/>
                </a:lnTo>
                <a:lnTo>
                  <a:pt x="237771" y="636124"/>
                </a:lnTo>
                <a:lnTo>
                  <a:pt x="281808" y="646207"/>
                </a:lnTo>
                <a:lnTo>
                  <a:pt x="326486" y="650066"/>
                </a:lnTo>
                <a:lnTo>
                  <a:pt x="371121" y="647642"/>
                </a:lnTo>
                <a:lnTo>
                  <a:pt x="415027" y="638873"/>
                </a:lnTo>
                <a:lnTo>
                  <a:pt x="457519" y="623699"/>
                </a:lnTo>
                <a:lnTo>
                  <a:pt x="497912" y="602059"/>
                </a:lnTo>
                <a:lnTo>
                  <a:pt x="535519" y="573893"/>
                </a:lnTo>
                <a:lnTo>
                  <a:pt x="568197" y="539971"/>
                </a:lnTo>
                <a:lnTo>
                  <a:pt x="594849" y="502403"/>
                </a:lnTo>
                <a:lnTo>
                  <a:pt x="615436" y="461888"/>
                </a:lnTo>
                <a:lnTo>
                  <a:pt x="629914" y="419125"/>
                </a:lnTo>
                <a:lnTo>
                  <a:pt x="638243" y="374812"/>
                </a:lnTo>
                <a:lnTo>
                  <a:pt x="640380" y="329650"/>
                </a:lnTo>
                <a:lnTo>
                  <a:pt x="636284" y="284336"/>
                </a:lnTo>
                <a:lnTo>
                  <a:pt x="625912" y="239570"/>
                </a:lnTo>
                <a:lnTo>
                  <a:pt x="609224" y="196051"/>
                </a:lnTo>
                <a:lnTo>
                  <a:pt x="586176" y="154478"/>
                </a:lnTo>
                <a:lnTo>
                  <a:pt x="556728" y="115550"/>
                </a:lnTo>
                <a:lnTo>
                  <a:pt x="522489" y="80953"/>
                </a:lnTo>
                <a:lnTo>
                  <a:pt x="484742" y="52426"/>
                </a:lnTo>
                <a:lnTo>
                  <a:pt x="444207" y="30018"/>
                </a:lnTo>
                <a:lnTo>
                  <a:pt x="401601" y="13778"/>
                </a:lnTo>
                <a:lnTo>
                  <a:pt x="357644" y="3755"/>
                </a:lnTo>
                <a:lnTo>
                  <a:pt x="313054" y="0"/>
                </a:lnTo>
                <a:lnTo>
                  <a:pt x="268549" y="2559"/>
                </a:lnTo>
                <a:lnTo>
                  <a:pt x="224848" y="11484"/>
                </a:lnTo>
                <a:lnTo>
                  <a:pt x="182669" y="26824"/>
                </a:lnTo>
                <a:lnTo>
                  <a:pt x="142730" y="48626"/>
                </a:lnTo>
                <a:lnTo>
                  <a:pt x="105751" y="76942"/>
                </a:lnTo>
                <a:close/>
              </a:path>
            </a:pathLst>
          </a:custGeom>
          <a:ln w="6350">
            <a:solidFill>
              <a:srgbClr val="BEBEBE"/>
            </a:solidFill>
          </a:ln>
        </p:spPr>
        <p:txBody>
          <a:bodyPr wrap="square" lIns="0" tIns="0" rIns="0" bIns="0" rtlCol="0"/>
          <a:lstStyle/>
          <a:p>
            <a:endParaRPr/>
          </a:p>
        </p:txBody>
      </p:sp>
      <p:sp>
        <p:nvSpPr>
          <p:cNvPr id="100" name="object 100"/>
          <p:cNvSpPr/>
          <p:nvPr/>
        </p:nvSpPr>
        <p:spPr>
          <a:xfrm>
            <a:off x="9523110" y="3218239"/>
            <a:ext cx="518159" cy="527050"/>
          </a:xfrm>
          <a:custGeom>
            <a:avLst/>
            <a:gdLst/>
            <a:ahLst/>
            <a:cxnLst/>
            <a:rect l="l" t="t" r="r" b="b"/>
            <a:pathLst>
              <a:path w="518159" h="527050">
                <a:moveTo>
                  <a:pt x="434197" y="463998"/>
                </a:moveTo>
                <a:lnTo>
                  <a:pt x="396381" y="491476"/>
                </a:lnTo>
                <a:lnTo>
                  <a:pt x="355413" y="510984"/>
                </a:lnTo>
                <a:lnTo>
                  <a:pt x="312320" y="522625"/>
                </a:lnTo>
                <a:lnTo>
                  <a:pt x="268125" y="526503"/>
                </a:lnTo>
                <a:lnTo>
                  <a:pt x="223855" y="522718"/>
                </a:lnTo>
                <a:lnTo>
                  <a:pt x="180536" y="511374"/>
                </a:lnTo>
                <a:lnTo>
                  <a:pt x="139192" y="492573"/>
                </a:lnTo>
                <a:lnTo>
                  <a:pt x="100849" y="466418"/>
                </a:lnTo>
                <a:lnTo>
                  <a:pt x="66532" y="433010"/>
                </a:lnTo>
                <a:lnTo>
                  <a:pt x="38432" y="394141"/>
                </a:lnTo>
                <a:lnTo>
                  <a:pt x="18015" y="352232"/>
                </a:lnTo>
                <a:lnTo>
                  <a:pt x="5224" y="308339"/>
                </a:lnTo>
                <a:lnTo>
                  <a:pt x="0" y="263514"/>
                </a:lnTo>
                <a:lnTo>
                  <a:pt x="2283" y="218812"/>
                </a:lnTo>
                <a:lnTo>
                  <a:pt x="12016" y="175285"/>
                </a:lnTo>
                <a:lnTo>
                  <a:pt x="29141" y="133988"/>
                </a:lnTo>
                <a:lnTo>
                  <a:pt x="53597" y="95974"/>
                </a:lnTo>
                <a:lnTo>
                  <a:pt x="85328" y="62297"/>
                </a:lnTo>
                <a:lnTo>
                  <a:pt x="122656" y="35070"/>
                </a:lnTo>
                <a:lnTo>
                  <a:pt x="163177" y="15658"/>
                </a:lnTo>
                <a:lnTo>
                  <a:pt x="205870" y="3990"/>
                </a:lnTo>
                <a:lnTo>
                  <a:pt x="249714" y="0"/>
                </a:lnTo>
                <a:lnTo>
                  <a:pt x="293687" y="3616"/>
                </a:lnTo>
                <a:lnTo>
                  <a:pt x="336769" y="14771"/>
                </a:lnTo>
                <a:lnTo>
                  <a:pt x="377938" y="33396"/>
                </a:lnTo>
                <a:lnTo>
                  <a:pt x="416173" y="59421"/>
                </a:lnTo>
                <a:lnTo>
                  <a:pt x="450453" y="92777"/>
                </a:lnTo>
                <a:lnTo>
                  <a:pt x="478607" y="131665"/>
                </a:lnTo>
                <a:lnTo>
                  <a:pt x="499239" y="173620"/>
                </a:lnTo>
                <a:lnTo>
                  <a:pt x="512363" y="217581"/>
                </a:lnTo>
                <a:lnTo>
                  <a:pt x="517993" y="262486"/>
                </a:lnTo>
                <a:lnTo>
                  <a:pt x="516141" y="307272"/>
                </a:lnTo>
                <a:lnTo>
                  <a:pt x="506822" y="350879"/>
                </a:lnTo>
                <a:lnTo>
                  <a:pt x="490050" y="392244"/>
                </a:lnTo>
                <a:lnTo>
                  <a:pt x="465837" y="430304"/>
                </a:lnTo>
                <a:lnTo>
                  <a:pt x="434197" y="463998"/>
                </a:lnTo>
                <a:close/>
              </a:path>
            </a:pathLst>
          </a:custGeom>
          <a:ln w="6350">
            <a:solidFill>
              <a:srgbClr val="BEBEBE"/>
            </a:solidFill>
          </a:ln>
        </p:spPr>
        <p:txBody>
          <a:bodyPr wrap="square" lIns="0" tIns="0" rIns="0" bIns="0" rtlCol="0"/>
          <a:lstStyle/>
          <a:p>
            <a:endParaRPr/>
          </a:p>
        </p:txBody>
      </p:sp>
      <p:sp>
        <p:nvSpPr>
          <p:cNvPr id="101" name="object 101"/>
          <p:cNvSpPr/>
          <p:nvPr/>
        </p:nvSpPr>
        <p:spPr>
          <a:xfrm>
            <a:off x="9523194" y="3216716"/>
            <a:ext cx="518159" cy="527050"/>
          </a:xfrm>
          <a:custGeom>
            <a:avLst/>
            <a:gdLst/>
            <a:ahLst/>
            <a:cxnLst/>
            <a:rect l="l" t="t" r="r" b="b"/>
            <a:pathLst>
              <a:path w="518159" h="527050">
                <a:moveTo>
                  <a:pt x="249303" y="0"/>
                </a:moveTo>
                <a:lnTo>
                  <a:pt x="205484" y="3937"/>
                </a:lnTo>
                <a:lnTo>
                  <a:pt x="162832" y="15564"/>
                </a:lnTo>
                <a:lnTo>
                  <a:pt x="122369" y="34951"/>
                </a:lnTo>
                <a:lnTo>
                  <a:pt x="85117" y="62169"/>
                </a:lnTo>
                <a:lnTo>
                  <a:pt x="53428" y="95813"/>
                </a:lnTo>
                <a:lnTo>
                  <a:pt x="29014" y="133812"/>
                </a:lnTo>
                <a:lnTo>
                  <a:pt x="11932" y="175110"/>
                </a:lnTo>
                <a:lnTo>
                  <a:pt x="2241" y="218653"/>
                </a:lnTo>
                <a:lnTo>
                  <a:pt x="0" y="263388"/>
                </a:lnTo>
                <a:lnTo>
                  <a:pt x="5266" y="308258"/>
                </a:lnTo>
                <a:lnTo>
                  <a:pt x="18100" y="352209"/>
                </a:lnTo>
                <a:lnTo>
                  <a:pt x="38559" y="394187"/>
                </a:lnTo>
                <a:lnTo>
                  <a:pt x="66702" y="433136"/>
                </a:lnTo>
                <a:lnTo>
                  <a:pt x="101056" y="466595"/>
                </a:lnTo>
                <a:lnTo>
                  <a:pt x="139427" y="492814"/>
                </a:lnTo>
                <a:lnTo>
                  <a:pt x="180790" y="511688"/>
                </a:lnTo>
                <a:lnTo>
                  <a:pt x="224119" y="523108"/>
                </a:lnTo>
                <a:lnTo>
                  <a:pt x="268388" y="526966"/>
                </a:lnTo>
                <a:lnTo>
                  <a:pt x="312574" y="523156"/>
                </a:lnTo>
                <a:lnTo>
                  <a:pt x="355648" y="511568"/>
                </a:lnTo>
                <a:lnTo>
                  <a:pt x="396588" y="492096"/>
                </a:lnTo>
                <a:lnTo>
                  <a:pt x="434367" y="464632"/>
                </a:lnTo>
                <a:lnTo>
                  <a:pt x="465959" y="430933"/>
                </a:lnTo>
                <a:lnTo>
                  <a:pt x="490118" y="392860"/>
                </a:lnTo>
                <a:lnTo>
                  <a:pt x="506832" y="351475"/>
                </a:lnTo>
                <a:lnTo>
                  <a:pt x="516088" y="307842"/>
                </a:lnTo>
                <a:lnTo>
                  <a:pt x="517876" y="263024"/>
                </a:lnTo>
                <a:lnTo>
                  <a:pt x="512185" y="218083"/>
                </a:lnTo>
                <a:lnTo>
                  <a:pt x="499001" y="174083"/>
                </a:lnTo>
                <a:lnTo>
                  <a:pt x="478315" y="132087"/>
                </a:lnTo>
                <a:lnTo>
                  <a:pt x="450115" y="93157"/>
                </a:lnTo>
                <a:lnTo>
                  <a:pt x="415797" y="59716"/>
                </a:lnTo>
                <a:lnTo>
                  <a:pt x="377535" y="33609"/>
                </a:lnTo>
                <a:lnTo>
                  <a:pt x="336351" y="14906"/>
                </a:lnTo>
                <a:lnTo>
                  <a:pt x="293266" y="3680"/>
                </a:lnTo>
                <a:lnTo>
                  <a:pt x="249303" y="0"/>
                </a:lnTo>
                <a:close/>
              </a:path>
            </a:pathLst>
          </a:custGeom>
          <a:solidFill>
            <a:srgbClr val="BBE7FF"/>
          </a:solidFill>
        </p:spPr>
        <p:txBody>
          <a:bodyPr wrap="square" lIns="0" tIns="0" rIns="0" bIns="0" rtlCol="0"/>
          <a:lstStyle/>
          <a:p>
            <a:endParaRPr/>
          </a:p>
        </p:txBody>
      </p:sp>
      <p:sp>
        <p:nvSpPr>
          <p:cNvPr id="102" name="object 102"/>
          <p:cNvSpPr/>
          <p:nvPr/>
        </p:nvSpPr>
        <p:spPr>
          <a:xfrm>
            <a:off x="9523247" y="3210842"/>
            <a:ext cx="295275" cy="526415"/>
          </a:xfrm>
          <a:custGeom>
            <a:avLst/>
            <a:gdLst/>
            <a:ahLst/>
            <a:cxnLst/>
            <a:rect l="l" t="t" r="r" b="b"/>
            <a:pathLst>
              <a:path w="295275" h="526414">
                <a:moveTo>
                  <a:pt x="250376" y="0"/>
                </a:moveTo>
                <a:lnTo>
                  <a:pt x="206049" y="3435"/>
                </a:lnTo>
                <a:lnTo>
                  <a:pt x="163038" y="14831"/>
                </a:lnTo>
                <a:lnTo>
                  <a:pt x="122369" y="34299"/>
                </a:lnTo>
                <a:lnTo>
                  <a:pt x="85064" y="61947"/>
                </a:lnTo>
                <a:lnTo>
                  <a:pt x="53380" y="95586"/>
                </a:lnTo>
                <a:lnTo>
                  <a:pt x="28976" y="133571"/>
                </a:lnTo>
                <a:lnTo>
                  <a:pt x="11908" y="174845"/>
                </a:lnTo>
                <a:lnTo>
                  <a:pt x="2230" y="218356"/>
                </a:lnTo>
                <a:lnTo>
                  <a:pt x="0" y="263048"/>
                </a:lnTo>
                <a:lnTo>
                  <a:pt x="5271" y="307866"/>
                </a:lnTo>
                <a:lnTo>
                  <a:pt x="18099" y="351756"/>
                </a:lnTo>
                <a:lnTo>
                  <a:pt x="38540" y="393663"/>
                </a:lnTo>
                <a:lnTo>
                  <a:pt x="66649" y="432533"/>
                </a:lnTo>
                <a:lnTo>
                  <a:pt x="101545" y="466044"/>
                </a:lnTo>
                <a:lnTo>
                  <a:pt x="140317" y="492288"/>
                </a:lnTo>
                <a:lnTo>
                  <a:pt x="181937" y="511162"/>
                </a:lnTo>
                <a:lnTo>
                  <a:pt x="225373" y="522563"/>
                </a:lnTo>
                <a:lnTo>
                  <a:pt x="269595" y="526386"/>
                </a:lnTo>
                <a:lnTo>
                  <a:pt x="226514" y="514906"/>
                </a:lnTo>
                <a:lnTo>
                  <a:pt x="185458" y="495985"/>
                </a:lnTo>
                <a:lnTo>
                  <a:pt x="147544" y="469754"/>
                </a:lnTo>
                <a:lnTo>
                  <a:pt x="113893" y="436343"/>
                </a:lnTo>
                <a:lnTo>
                  <a:pt x="85696" y="397469"/>
                </a:lnTo>
                <a:lnTo>
                  <a:pt x="65100" y="355616"/>
                </a:lnTo>
                <a:lnTo>
                  <a:pt x="52087" y="311812"/>
                </a:lnTo>
                <a:lnTo>
                  <a:pt x="46637" y="267087"/>
                </a:lnTo>
                <a:lnTo>
                  <a:pt x="48731" y="222468"/>
                </a:lnTo>
                <a:lnTo>
                  <a:pt x="58352" y="178985"/>
                </a:lnTo>
                <a:lnTo>
                  <a:pt x="75480" y="137665"/>
                </a:lnTo>
                <a:lnTo>
                  <a:pt x="100096" y="99537"/>
                </a:lnTo>
                <a:lnTo>
                  <a:pt x="132181" y="65630"/>
                </a:lnTo>
                <a:lnTo>
                  <a:pt x="168783" y="38224"/>
                </a:lnTo>
                <a:lnTo>
                  <a:pt x="208873" y="18973"/>
                </a:lnTo>
                <a:lnTo>
                  <a:pt x="251321" y="7748"/>
                </a:lnTo>
                <a:lnTo>
                  <a:pt x="294995" y="4416"/>
                </a:lnTo>
                <a:lnTo>
                  <a:pt x="250376" y="0"/>
                </a:lnTo>
                <a:close/>
              </a:path>
            </a:pathLst>
          </a:custGeom>
          <a:solidFill>
            <a:srgbClr val="12ABDB"/>
          </a:solidFill>
        </p:spPr>
        <p:txBody>
          <a:bodyPr wrap="square" lIns="0" tIns="0" rIns="0" bIns="0" rtlCol="0"/>
          <a:lstStyle/>
          <a:p>
            <a:endParaRPr/>
          </a:p>
        </p:txBody>
      </p:sp>
      <p:sp>
        <p:nvSpPr>
          <p:cNvPr id="103" name="object 103"/>
          <p:cNvSpPr/>
          <p:nvPr/>
        </p:nvSpPr>
        <p:spPr>
          <a:xfrm>
            <a:off x="9773157" y="3108832"/>
            <a:ext cx="439420" cy="775335"/>
          </a:xfrm>
          <a:custGeom>
            <a:avLst/>
            <a:gdLst/>
            <a:ahLst/>
            <a:cxnLst/>
            <a:rect l="l" t="t" r="r" b="b"/>
            <a:pathLst>
              <a:path w="439420" h="775335">
                <a:moveTo>
                  <a:pt x="0" y="769619"/>
                </a:moveTo>
                <a:lnTo>
                  <a:pt x="47265" y="775142"/>
                </a:lnTo>
                <a:lnTo>
                  <a:pt x="94572" y="774812"/>
                </a:lnTo>
                <a:lnTo>
                  <a:pt x="130139" y="770104"/>
                </a:lnTo>
                <a:lnTo>
                  <a:pt x="47337" y="770104"/>
                </a:lnTo>
                <a:lnTo>
                  <a:pt x="0" y="769619"/>
                </a:lnTo>
                <a:close/>
              </a:path>
              <a:path w="439420" h="775335">
                <a:moveTo>
                  <a:pt x="336825" y="133222"/>
                </a:moveTo>
                <a:lnTo>
                  <a:pt x="299974" y="133222"/>
                </a:lnTo>
                <a:lnTo>
                  <a:pt x="301117" y="134874"/>
                </a:lnTo>
                <a:lnTo>
                  <a:pt x="309237" y="145220"/>
                </a:lnTo>
                <a:lnTo>
                  <a:pt x="316928" y="155828"/>
                </a:lnTo>
                <a:lnTo>
                  <a:pt x="355455" y="218662"/>
                </a:lnTo>
                <a:lnTo>
                  <a:pt x="374024" y="261544"/>
                </a:lnTo>
                <a:lnTo>
                  <a:pt x="387328" y="305700"/>
                </a:lnTo>
                <a:lnTo>
                  <a:pt x="395388" y="350637"/>
                </a:lnTo>
                <a:lnTo>
                  <a:pt x="398229" y="395861"/>
                </a:lnTo>
                <a:lnTo>
                  <a:pt x="395874" y="440880"/>
                </a:lnTo>
                <a:lnTo>
                  <a:pt x="388347" y="485200"/>
                </a:lnTo>
                <a:lnTo>
                  <a:pt x="375670" y="528329"/>
                </a:lnTo>
                <a:lnTo>
                  <a:pt x="357868" y="569773"/>
                </a:lnTo>
                <a:lnTo>
                  <a:pt x="334963" y="609040"/>
                </a:lnTo>
                <a:lnTo>
                  <a:pt x="306978" y="645636"/>
                </a:lnTo>
                <a:lnTo>
                  <a:pt x="273939" y="679068"/>
                </a:lnTo>
                <a:lnTo>
                  <a:pt x="233934" y="710183"/>
                </a:lnTo>
                <a:lnTo>
                  <a:pt x="198268" y="730865"/>
                </a:lnTo>
                <a:lnTo>
                  <a:pt x="186690" y="736853"/>
                </a:lnTo>
                <a:lnTo>
                  <a:pt x="185166" y="737869"/>
                </a:lnTo>
                <a:lnTo>
                  <a:pt x="183515" y="738885"/>
                </a:lnTo>
                <a:lnTo>
                  <a:pt x="139392" y="754546"/>
                </a:lnTo>
                <a:lnTo>
                  <a:pt x="93900" y="765016"/>
                </a:lnTo>
                <a:lnTo>
                  <a:pt x="47337" y="770104"/>
                </a:lnTo>
                <a:lnTo>
                  <a:pt x="130139" y="770104"/>
                </a:lnTo>
                <a:lnTo>
                  <a:pt x="187028" y="756553"/>
                </a:lnTo>
                <a:lnTo>
                  <a:pt x="231034" y="738602"/>
                </a:lnTo>
                <a:lnTo>
                  <a:pt x="272796" y="714755"/>
                </a:lnTo>
                <a:lnTo>
                  <a:pt x="312674" y="683640"/>
                </a:lnTo>
                <a:lnTo>
                  <a:pt x="346313" y="649852"/>
                </a:lnTo>
                <a:lnTo>
                  <a:pt x="374821" y="612831"/>
                </a:lnTo>
                <a:lnTo>
                  <a:pt x="398164" y="573082"/>
                </a:lnTo>
                <a:lnTo>
                  <a:pt x="416309" y="531112"/>
                </a:lnTo>
                <a:lnTo>
                  <a:pt x="429225" y="487425"/>
                </a:lnTo>
                <a:lnTo>
                  <a:pt x="436878" y="442527"/>
                </a:lnTo>
                <a:lnTo>
                  <a:pt x="439236" y="396924"/>
                </a:lnTo>
                <a:lnTo>
                  <a:pt x="436266" y="351119"/>
                </a:lnTo>
                <a:lnTo>
                  <a:pt x="427936" y="305620"/>
                </a:lnTo>
                <a:lnTo>
                  <a:pt x="414213" y="260931"/>
                </a:lnTo>
                <a:lnTo>
                  <a:pt x="395064" y="217558"/>
                </a:lnTo>
                <a:lnTo>
                  <a:pt x="370457" y="176005"/>
                </a:lnTo>
                <a:lnTo>
                  <a:pt x="340360" y="136778"/>
                </a:lnTo>
                <a:lnTo>
                  <a:pt x="336825" y="133222"/>
                </a:lnTo>
                <a:close/>
              </a:path>
              <a:path w="439420" h="775335">
                <a:moveTo>
                  <a:pt x="328243" y="124587"/>
                </a:moveTo>
                <a:lnTo>
                  <a:pt x="291973" y="124587"/>
                </a:lnTo>
                <a:lnTo>
                  <a:pt x="293116" y="126237"/>
                </a:lnTo>
                <a:lnTo>
                  <a:pt x="294132" y="127762"/>
                </a:lnTo>
                <a:lnTo>
                  <a:pt x="295275" y="129412"/>
                </a:lnTo>
                <a:lnTo>
                  <a:pt x="296291" y="131063"/>
                </a:lnTo>
                <a:lnTo>
                  <a:pt x="297434" y="132714"/>
                </a:lnTo>
                <a:lnTo>
                  <a:pt x="298450" y="134238"/>
                </a:lnTo>
                <a:lnTo>
                  <a:pt x="299974" y="133222"/>
                </a:lnTo>
                <a:lnTo>
                  <a:pt x="336825" y="133222"/>
                </a:lnTo>
                <a:lnTo>
                  <a:pt x="328243" y="124587"/>
                </a:lnTo>
                <a:close/>
              </a:path>
              <a:path w="439420" h="775335">
                <a:moveTo>
                  <a:pt x="319660" y="115950"/>
                </a:moveTo>
                <a:lnTo>
                  <a:pt x="283972" y="115950"/>
                </a:lnTo>
                <a:lnTo>
                  <a:pt x="285115" y="117475"/>
                </a:lnTo>
                <a:lnTo>
                  <a:pt x="286131" y="119125"/>
                </a:lnTo>
                <a:lnTo>
                  <a:pt x="287274" y="120776"/>
                </a:lnTo>
                <a:lnTo>
                  <a:pt x="288290" y="122427"/>
                </a:lnTo>
                <a:lnTo>
                  <a:pt x="289433" y="123951"/>
                </a:lnTo>
                <a:lnTo>
                  <a:pt x="290449" y="125602"/>
                </a:lnTo>
                <a:lnTo>
                  <a:pt x="291973" y="124587"/>
                </a:lnTo>
                <a:lnTo>
                  <a:pt x="328243" y="124587"/>
                </a:lnTo>
                <a:lnTo>
                  <a:pt x="319660" y="115950"/>
                </a:lnTo>
                <a:close/>
              </a:path>
              <a:path w="439420" h="775335">
                <a:moveTo>
                  <a:pt x="314233" y="110489"/>
                </a:moveTo>
                <a:lnTo>
                  <a:pt x="278130" y="110489"/>
                </a:lnTo>
                <a:lnTo>
                  <a:pt x="279273" y="112013"/>
                </a:lnTo>
                <a:lnTo>
                  <a:pt x="280289" y="113664"/>
                </a:lnTo>
                <a:lnTo>
                  <a:pt x="281432" y="115315"/>
                </a:lnTo>
                <a:lnTo>
                  <a:pt x="282448" y="116966"/>
                </a:lnTo>
                <a:lnTo>
                  <a:pt x="283972" y="115950"/>
                </a:lnTo>
                <a:lnTo>
                  <a:pt x="319660" y="115950"/>
                </a:lnTo>
                <a:lnTo>
                  <a:pt x="314233" y="110489"/>
                </a:lnTo>
                <a:close/>
              </a:path>
              <a:path w="439420" h="775335">
                <a:moveTo>
                  <a:pt x="37084" y="0"/>
                </a:moveTo>
                <a:lnTo>
                  <a:pt x="87913" y="7559"/>
                </a:lnTo>
                <a:lnTo>
                  <a:pt x="137852" y="22189"/>
                </a:lnTo>
                <a:lnTo>
                  <a:pt x="186012" y="43708"/>
                </a:lnTo>
                <a:lnTo>
                  <a:pt x="231501" y="71932"/>
                </a:lnTo>
                <a:lnTo>
                  <a:pt x="273431" y="106679"/>
                </a:lnTo>
                <a:lnTo>
                  <a:pt x="274447" y="108203"/>
                </a:lnTo>
                <a:lnTo>
                  <a:pt x="275590" y="109854"/>
                </a:lnTo>
                <a:lnTo>
                  <a:pt x="276606" y="111505"/>
                </a:lnTo>
                <a:lnTo>
                  <a:pt x="278130" y="110489"/>
                </a:lnTo>
                <a:lnTo>
                  <a:pt x="314233" y="110489"/>
                </a:lnTo>
                <a:lnTo>
                  <a:pt x="263817" y="68585"/>
                </a:lnTo>
                <a:lnTo>
                  <a:pt x="221394" y="43062"/>
                </a:lnTo>
                <a:lnTo>
                  <a:pt x="176949" y="23363"/>
                </a:lnTo>
                <a:lnTo>
                  <a:pt x="131043" y="9566"/>
                </a:lnTo>
                <a:lnTo>
                  <a:pt x="84234" y="1751"/>
                </a:lnTo>
                <a:lnTo>
                  <a:pt x="37084" y="0"/>
                </a:lnTo>
                <a:close/>
              </a:path>
            </a:pathLst>
          </a:custGeom>
          <a:solidFill>
            <a:srgbClr val="A6A6A6"/>
          </a:solidFill>
        </p:spPr>
        <p:txBody>
          <a:bodyPr wrap="square" lIns="0" tIns="0" rIns="0" bIns="0" rtlCol="0"/>
          <a:lstStyle/>
          <a:p>
            <a:endParaRPr/>
          </a:p>
        </p:txBody>
      </p:sp>
      <p:sp>
        <p:nvSpPr>
          <p:cNvPr id="104" name="object 104"/>
          <p:cNvSpPr/>
          <p:nvPr/>
        </p:nvSpPr>
        <p:spPr>
          <a:xfrm>
            <a:off x="9657588" y="3355847"/>
            <a:ext cx="248411" cy="249936"/>
          </a:xfrm>
          <a:prstGeom prst="rect">
            <a:avLst/>
          </a:prstGeom>
          <a:blipFill>
            <a:blip r:embed="rId9" cstate="print"/>
            <a:stretch>
              <a:fillRect/>
            </a:stretch>
          </a:blipFill>
        </p:spPr>
        <p:txBody>
          <a:bodyPr wrap="square" lIns="0" tIns="0" rIns="0" bIns="0" rtlCol="0"/>
          <a:lstStyle/>
          <a:p>
            <a:endParaRPr/>
          </a:p>
        </p:txBody>
      </p:sp>
      <p:sp>
        <p:nvSpPr>
          <p:cNvPr id="105" name="object 105"/>
          <p:cNvSpPr txBox="1"/>
          <p:nvPr/>
        </p:nvSpPr>
        <p:spPr>
          <a:xfrm>
            <a:off x="214680" y="6638645"/>
            <a:ext cx="333629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Cap</a:t>
            </a:r>
            <a:r>
              <a:rPr sz="800">
                <a:solidFill>
                  <a:srgbClr val="B6B6B6"/>
                </a:solidFill>
                <a:latin typeface="Verdana"/>
                <a:cs typeface="Verdana"/>
              </a:rPr>
              <a:t>g</a:t>
            </a:r>
            <a:r>
              <a:rPr sz="800">
                <a:solidFill>
                  <a:srgbClr val="A6A6A6"/>
                </a:solidFill>
                <a:latin typeface="Verdana"/>
                <a:cs typeface="Verdana"/>
              </a:rPr>
              <a:t>emini’s Respo</a:t>
            </a:r>
            <a:r>
              <a:rPr sz="800">
                <a:solidFill>
                  <a:srgbClr val="B6B6B6"/>
                </a:solidFill>
                <a:latin typeface="Verdana"/>
                <a:cs typeface="Verdana"/>
              </a:rPr>
              <a:t>nse </a:t>
            </a:r>
            <a:r>
              <a:rPr sz="800" spc="-190">
                <a:solidFill>
                  <a:srgbClr val="A6A6A6"/>
                </a:solidFill>
                <a:latin typeface="Verdana"/>
                <a:cs typeface="Verdana"/>
              </a:rPr>
              <a:t>tSoalReFsPfofrocre </a:t>
            </a:r>
            <a:r>
              <a:rPr sz="800" spc="-225">
                <a:solidFill>
                  <a:srgbClr val="A6A6A6"/>
                </a:solidFill>
                <a:latin typeface="Verdana"/>
                <a:cs typeface="Verdana"/>
              </a:rPr>
              <a:t>SRyoslltoeumt </a:t>
            </a:r>
            <a:r>
              <a:rPr sz="800" spc="-195">
                <a:solidFill>
                  <a:srgbClr val="A6A6A6"/>
                </a:solidFill>
                <a:latin typeface="Verdana"/>
                <a:cs typeface="Verdana"/>
              </a:rPr>
              <a:t>PInrotejegcrtat|oSr </a:t>
            </a:r>
            <a:r>
              <a:rPr sz="800" spc="-190">
                <a:solidFill>
                  <a:srgbClr val="A6A6A6"/>
                </a:solidFill>
                <a:latin typeface="Verdana"/>
                <a:cs typeface="Verdana"/>
              </a:rPr>
              <a:t>e|pA2p0ri2l</a:t>
            </a:r>
            <a:r>
              <a:rPr sz="800" spc="-140">
                <a:solidFill>
                  <a:srgbClr val="A6A6A6"/>
                </a:solidFill>
                <a:latin typeface="Verdana"/>
                <a:cs typeface="Verdana"/>
              </a:rPr>
              <a:t> </a:t>
            </a:r>
            <a:r>
              <a:rPr sz="800" spc="-80">
                <a:solidFill>
                  <a:srgbClr val="A6A6A6"/>
                </a:solidFill>
                <a:latin typeface="Verdana"/>
                <a:cs typeface="Verdana"/>
              </a:rPr>
              <a:t>02020</a:t>
            </a:r>
            <a:endParaRPr sz="800">
              <a:latin typeface="Verdana"/>
              <a:cs typeface="Verdana"/>
            </a:endParaRPr>
          </a:p>
        </p:txBody>
      </p:sp>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latin typeface="Verdana"/>
                <a:cs typeface="Verdana"/>
              </a:rPr>
              <a:t>08.4</a:t>
            </a:r>
            <a:endParaRPr sz="4400">
              <a:latin typeface="Verdana"/>
              <a:cs typeface="Verdana"/>
            </a:endParaRPr>
          </a:p>
        </p:txBody>
      </p:sp>
      <p:sp>
        <p:nvSpPr>
          <p:cNvPr id="6" name="object 6"/>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7" name="object 7"/>
          <p:cNvSpPr txBox="1"/>
          <p:nvPr/>
        </p:nvSpPr>
        <p:spPr>
          <a:xfrm>
            <a:off x="540207" y="2902153"/>
            <a:ext cx="1794510" cy="3314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Architecture</a:t>
            </a:r>
            <a:endParaRPr sz="2000">
              <a:latin typeface="Verdana"/>
              <a:cs typeface="Verdana"/>
            </a:endParaRPr>
          </a:p>
        </p:txBody>
      </p:sp>
      <p:sp>
        <p:nvSpPr>
          <p:cNvPr id="8" name="object 8"/>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9" name="object 9"/>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0" name="object 10"/>
          <p:cNvSpPr txBox="1"/>
          <p:nvPr/>
        </p:nvSpPr>
        <p:spPr>
          <a:xfrm>
            <a:off x="214680" y="6638097"/>
            <a:ext cx="1945639"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11" name="object 11"/>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0</a:t>
            </a:fld>
            <a:endParaRPr sz="800">
              <a:latin typeface="Verdana"/>
              <a:cs typeface="Verdana"/>
            </a:endParaRPr>
          </a:p>
        </p:txBody>
      </p:sp>
      <p:pic>
        <p:nvPicPr>
          <p:cNvPr id="12" name="Picture 11">
            <a:extLst>
              <a:ext uri="{FF2B5EF4-FFF2-40B4-BE49-F238E27FC236}">
                <a16:creationId xmlns:a16="http://schemas.microsoft.com/office/drawing/2014/main" id="{00DB6A96-8CDC-4E59-921F-EEA47EBCA651}"/>
              </a:ext>
            </a:extLst>
          </p:cNvPr>
          <p:cNvPicPr>
            <a:picLocks noChangeAspect="1"/>
          </p:cNvPicPr>
          <p:nvPr/>
        </p:nvPicPr>
        <p:blipFill>
          <a:blip r:embed="rId3">
            <a:alphaModFix/>
          </a:blip>
          <a:stretch>
            <a:fillRect/>
          </a:stretch>
        </p:blipFill>
        <p:spPr>
          <a:xfrm>
            <a:off x="6173969" y="1628775"/>
            <a:ext cx="5094106" cy="2828925"/>
          </a:xfrm>
          <a:prstGeom prst="rect">
            <a:avLst/>
          </a:prstGeom>
        </p:spPr>
      </p:pic>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68883" y="201929"/>
            <a:ext cx="3561079" cy="452120"/>
          </a:xfrm>
          <a:prstGeom prst="rect">
            <a:avLst/>
          </a:prstGeom>
        </p:spPr>
        <p:txBody>
          <a:bodyPr vert="horz" wrap="square" lIns="0" tIns="12065" rIns="0" bIns="0" rtlCol="0">
            <a:spAutoFit/>
          </a:bodyPr>
          <a:lstStyle/>
          <a:p>
            <a:pPr marL="12700">
              <a:lnSpc>
                <a:spcPct val="100000"/>
              </a:lnSpc>
              <a:spcBef>
                <a:spcPts val="95"/>
              </a:spcBef>
            </a:pPr>
            <a:r>
              <a:rPr sz="2800" spc="-15"/>
              <a:t>Overall</a:t>
            </a:r>
            <a:r>
              <a:rPr sz="2800" spc="-20"/>
              <a:t> </a:t>
            </a:r>
            <a:r>
              <a:rPr sz="2800" spc="-15"/>
              <a:t>Architecture</a:t>
            </a:r>
            <a:endParaRPr sz="2800"/>
          </a:p>
        </p:txBody>
      </p:sp>
      <p:sp>
        <p:nvSpPr>
          <p:cNvPr id="3" name="object 3"/>
          <p:cNvSpPr/>
          <p:nvPr/>
        </p:nvSpPr>
        <p:spPr>
          <a:xfrm>
            <a:off x="1441703" y="787908"/>
            <a:ext cx="9604375" cy="3566160"/>
          </a:xfrm>
          <a:custGeom>
            <a:avLst/>
            <a:gdLst/>
            <a:ahLst/>
            <a:cxnLst/>
            <a:rect l="l" t="t" r="r" b="b"/>
            <a:pathLst>
              <a:path w="9604375" h="3566160">
                <a:moveTo>
                  <a:pt x="0" y="3566160"/>
                </a:moveTo>
                <a:lnTo>
                  <a:pt x="9604248" y="3566160"/>
                </a:lnTo>
                <a:lnTo>
                  <a:pt x="9604248" y="0"/>
                </a:lnTo>
                <a:lnTo>
                  <a:pt x="0" y="0"/>
                </a:lnTo>
                <a:lnTo>
                  <a:pt x="0" y="3566160"/>
                </a:lnTo>
                <a:close/>
              </a:path>
            </a:pathLst>
          </a:custGeom>
          <a:ln w="12192">
            <a:solidFill>
              <a:srgbClr val="A6A6A6"/>
            </a:solidFill>
          </a:ln>
        </p:spPr>
        <p:txBody>
          <a:bodyPr wrap="square" lIns="0" tIns="0" rIns="0" bIns="0" rtlCol="0"/>
          <a:lstStyle/>
          <a:p>
            <a:endParaRPr/>
          </a:p>
        </p:txBody>
      </p:sp>
      <p:sp>
        <p:nvSpPr>
          <p:cNvPr id="4" name="object 4"/>
          <p:cNvSpPr/>
          <p:nvPr/>
        </p:nvSpPr>
        <p:spPr>
          <a:xfrm>
            <a:off x="911352" y="1694688"/>
            <a:ext cx="1297305" cy="2468880"/>
          </a:xfrm>
          <a:custGeom>
            <a:avLst/>
            <a:gdLst/>
            <a:ahLst/>
            <a:cxnLst/>
            <a:rect l="l" t="t" r="r" b="b"/>
            <a:pathLst>
              <a:path w="1297305" h="2468879">
                <a:moveTo>
                  <a:pt x="0" y="2468880"/>
                </a:moveTo>
                <a:lnTo>
                  <a:pt x="1296923" y="2468880"/>
                </a:lnTo>
                <a:lnTo>
                  <a:pt x="1296923" y="0"/>
                </a:lnTo>
                <a:lnTo>
                  <a:pt x="0" y="0"/>
                </a:lnTo>
                <a:lnTo>
                  <a:pt x="0" y="2468880"/>
                </a:lnTo>
                <a:close/>
              </a:path>
            </a:pathLst>
          </a:custGeom>
          <a:solidFill>
            <a:srgbClr val="4574C5"/>
          </a:solidFill>
        </p:spPr>
        <p:txBody>
          <a:bodyPr wrap="square" lIns="0" tIns="0" rIns="0" bIns="0" rtlCol="0"/>
          <a:lstStyle/>
          <a:p>
            <a:endParaRPr/>
          </a:p>
        </p:txBody>
      </p:sp>
      <p:sp>
        <p:nvSpPr>
          <p:cNvPr id="5" name="object 5"/>
          <p:cNvSpPr txBox="1"/>
          <p:nvPr/>
        </p:nvSpPr>
        <p:spPr>
          <a:xfrm>
            <a:off x="911352" y="2778633"/>
            <a:ext cx="1297305" cy="299720"/>
          </a:xfrm>
          <a:prstGeom prst="rect">
            <a:avLst/>
          </a:prstGeom>
        </p:spPr>
        <p:txBody>
          <a:bodyPr vert="horz" wrap="square" lIns="0" tIns="12700" rIns="0" bIns="0" rtlCol="0">
            <a:spAutoFit/>
          </a:bodyPr>
          <a:lstStyle/>
          <a:p>
            <a:pPr marL="271145">
              <a:lnSpc>
                <a:spcPct val="100000"/>
              </a:lnSpc>
              <a:spcBef>
                <a:spcPts val="100"/>
              </a:spcBef>
            </a:pPr>
            <a:r>
              <a:rPr sz="1800" spc="-5">
                <a:solidFill>
                  <a:srgbClr val="FFFFFF"/>
                </a:solidFill>
                <a:latin typeface="Verdana"/>
                <a:cs typeface="Verdana"/>
              </a:rPr>
              <a:t>Marelli</a:t>
            </a:r>
            <a:endParaRPr sz="1800">
              <a:latin typeface="Verdana"/>
              <a:cs typeface="Verdana"/>
            </a:endParaRPr>
          </a:p>
        </p:txBody>
      </p:sp>
      <p:sp>
        <p:nvSpPr>
          <p:cNvPr id="6" name="object 6"/>
          <p:cNvSpPr/>
          <p:nvPr/>
        </p:nvSpPr>
        <p:spPr>
          <a:xfrm>
            <a:off x="2519172" y="934211"/>
            <a:ext cx="1297305" cy="1007744"/>
          </a:xfrm>
          <a:custGeom>
            <a:avLst/>
            <a:gdLst/>
            <a:ahLst/>
            <a:cxnLst/>
            <a:rect l="l" t="t" r="r" b="b"/>
            <a:pathLst>
              <a:path w="1297304" h="1007744">
                <a:moveTo>
                  <a:pt x="0" y="1007363"/>
                </a:moveTo>
                <a:lnTo>
                  <a:pt x="1296924" y="1007363"/>
                </a:lnTo>
                <a:lnTo>
                  <a:pt x="1296924" y="0"/>
                </a:lnTo>
                <a:lnTo>
                  <a:pt x="0" y="0"/>
                </a:lnTo>
                <a:lnTo>
                  <a:pt x="0" y="1007363"/>
                </a:lnTo>
                <a:close/>
              </a:path>
            </a:pathLst>
          </a:custGeom>
          <a:solidFill>
            <a:srgbClr val="12ABDB"/>
          </a:solidFill>
        </p:spPr>
        <p:txBody>
          <a:bodyPr wrap="square" lIns="0" tIns="0" rIns="0" bIns="0" rtlCol="0"/>
          <a:lstStyle/>
          <a:p>
            <a:endParaRPr/>
          </a:p>
        </p:txBody>
      </p:sp>
      <p:sp>
        <p:nvSpPr>
          <p:cNvPr id="7" name="object 7"/>
          <p:cNvSpPr/>
          <p:nvPr/>
        </p:nvSpPr>
        <p:spPr>
          <a:xfrm>
            <a:off x="2519172" y="2744723"/>
            <a:ext cx="1297305" cy="55244"/>
          </a:xfrm>
          <a:custGeom>
            <a:avLst/>
            <a:gdLst/>
            <a:ahLst/>
            <a:cxnLst/>
            <a:rect l="l" t="t" r="r" b="b"/>
            <a:pathLst>
              <a:path w="1297304" h="55244">
                <a:moveTo>
                  <a:pt x="0" y="54863"/>
                </a:moveTo>
                <a:lnTo>
                  <a:pt x="1296924" y="54863"/>
                </a:lnTo>
                <a:lnTo>
                  <a:pt x="1296924" y="0"/>
                </a:lnTo>
                <a:lnTo>
                  <a:pt x="0" y="0"/>
                </a:lnTo>
                <a:lnTo>
                  <a:pt x="0" y="54863"/>
                </a:lnTo>
                <a:close/>
              </a:path>
            </a:pathLst>
          </a:custGeom>
          <a:solidFill>
            <a:srgbClr val="12ABDB"/>
          </a:solidFill>
        </p:spPr>
        <p:txBody>
          <a:bodyPr wrap="square" lIns="0" tIns="0" rIns="0" bIns="0" rtlCol="0"/>
          <a:lstStyle/>
          <a:p>
            <a:endParaRPr/>
          </a:p>
        </p:txBody>
      </p:sp>
      <p:sp>
        <p:nvSpPr>
          <p:cNvPr id="8" name="object 8"/>
          <p:cNvSpPr/>
          <p:nvPr/>
        </p:nvSpPr>
        <p:spPr>
          <a:xfrm>
            <a:off x="2519172" y="3174492"/>
            <a:ext cx="1297305" cy="13970"/>
          </a:xfrm>
          <a:custGeom>
            <a:avLst/>
            <a:gdLst/>
            <a:ahLst/>
            <a:cxnLst/>
            <a:rect l="l" t="t" r="r" b="b"/>
            <a:pathLst>
              <a:path w="1297304" h="13969">
                <a:moveTo>
                  <a:pt x="0" y="13716"/>
                </a:moveTo>
                <a:lnTo>
                  <a:pt x="1296924" y="13716"/>
                </a:lnTo>
                <a:lnTo>
                  <a:pt x="1296924" y="0"/>
                </a:lnTo>
                <a:lnTo>
                  <a:pt x="0" y="0"/>
                </a:lnTo>
                <a:lnTo>
                  <a:pt x="0" y="13716"/>
                </a:lnTo>
                <a:close/>
              </a:path>
            </a:pathLst>
          </a:custGeom>
          <a:solidFill>
            <a:srgbClr val="12ABDB"/>
          </a:solidFill>
        </p:spPr>
        <p:txBody>
          <a:bodyPr wrap="square" lIns="0" tIns="0" rIns="0" bIns="0" rtlCol="0"/>
          <a:lstStyle/>
          <a:p>
            <a:endParaRPr/>
          </a:p>
        </p:txBody>
      </p:sp>
      <p:sp>
        <p:nvSpPr>
          <p:cNvPr id="9" name="object 9"/>
          <p:cNvSpPr/>
          <p:nvPr/>
        </p:nvSpPr>
        <p:spPr>
          <a:xfrm>
            <a:off x="3918203" y="932688"/>
            <a:ext cx="1297305" cy="1009015"/>
          </a:xfrm>
          <a:custGeom>
            <a:avLst/>
            <a:gdLst/>
            <a:ahLst/>
            <a:cxnLst/>
            <a:rect l="l" t="t" r="r" b="b"/>
            <a:pathLst>
              <a:path w="1297304" h="1009014">
                <a:moveTo>
                  <a:pt x="0" y="1008887"/>
                </a:moveTo>
                <a:lnTo>
                  <a:pt x="1296924" y="1008887"/>
                </a:lnTo>
                <a:lnTo>
                  <a:pt x="1296924" y="0"/>
                </a:lnTo>
                <a:lnTo>
                  <a:pt x="0" y="0"/>
                </a:lnTo>
                <a:lnTo>
                  <a:pt x="0" y="1008887"/>
                </a:lnTo>
                <a:close/>
              </a:path>
            </a:pathLst>
          </a:custGeom>
          <a:solidFill>
            <a:srgbClr val="12ABDB"/>
          </a:solidFill>
        </p:spPr>
        <p:txBody>
          <a:bodyPr wrap="square" lIns="0" tIns="0" rIns="0" bIns="0" rtlCol="0"/>
          <a:lstStyle/>
          <a:p>
            <a:endParaRPr/>
          </a:p>
        </p:txBody>
      </p:sp>
      <p:sp>
        <p:nvSpPr>
          <p:cNvPr id="10" name="object 10"/>
          <p:cNvSpPr/>
          <p:nvPr/>
        </p:nvSpPr>
        <p:spPr>
          <a:xfrm>
            <a:off x="3918203" y="2744723"/>
            <a:ext cx="1297305" cy="55244"/>
          </a:xfrm>
          <a:custGeom>
            <a:avLst/>
            <a:gdLst/>
            <a:ahLst/>
            <a:cxnLst/>
            <a:rect l="l" t="t" r="r" b="b"/>
            <a:pathLst>
              <a:path w="1297304" h="55244">
                <a:moveTo>
                  <a:pt x="0" y="54863"/>
                </a:moveTo>
                <a:lnTo>
                  <a:pt x="1296924" y="54863"/>
                </a:lnTo>
                <a:lnTo>
                  <a:pt x="1296924" y="0"/>
                </a:lnTo>
                <a:lnTo>
                  <a:pt x="0" y="0"/>
                </a:lnTo>
                <a:lnTo>
                  <a:pt x="0" y="54863"/>
                </a:lnTo>
                <a:close/>
              </a:path>
            </a:pathLst>
          </a:custGeom>
          <a:solidFill>
            <a:srgbClr val="12ABDB"/>
          </a:solidFill>
        </p:spPr>
        <p:txBody>
          <a:bodyPr wrap="square" lIns="0" tIns="0" rIns="0" bIns="0" rtlCol="0"/>
          <a:lstStyle/>
          <a:p>
            <a:endParaRPr/>
          </a:p>
        </p:txBody>
      </p:sp>
      <p:sp>
        <p:nvSpPr>
          <p:cNvPr id="11" name="object 11"/>
          <p:cNvSpPr/>
          <p:nvPr/>
        </p:nvSpPr>
        <p:spPr>
          <a:xfrm>
            <a:off x="3918203" y="3174492"/>
            <a:ext cx="1297305" cy="12700"/>
          </a:xfrm>
          <a:custGeom>
            <a:avLst/>
            <a:gdLst/>
            <a:ahLst/>
            <a:cxnLst/>
            <a:rect l="l" t="t" r="r" b="b"/>
            <a:pathLst>
              <a:path w="1297304" h="12700">
                <a:moveTo>
                  <a:pt x="0" y="12192"/>
                </a:moveTo>
                <a:lnTo>
                  <a:pt x="1296924" y="12192"/>
                </a:lnTo>
                <a:lnTo>
                  <a:pt x="1296924" y="0"/>
                </a:lnTo>
                <a:lnTo>
                  <a:pt x="0" y="0"/>
                </a:lnTo>
                <a:lnTo>
                  <a:pt x="0" y="12192"/>
                </a:lnTo>
                <a:close/>
              </a:path>
            </a:pathLst>
          </a:custGeom>
          <a:solidFill>
            <a:srgbClr val="12ABDB"/>
          </a:solidFill>
        </p:spPr>
        <p:txBody>
          <a:bodyPr wrap="square" lIns="0" tIns="0" rIns="0" bIns="0" rtlCol="0"/>
          <a:lstStyle/>
          <a:p>
            <a:endParaRPr/>
          </a:p>
        </p:txBody>
      </p:sp>
      <p:sp>
        <p:nvSpPr>
          <p:cNvPr id="12" name="object 12"/>
          <p:cNvSpPr/>
          <p:nvPr/>
        </p:nvSpPr>
        <p:spPr>
          <a:xfrm>
            <a:off x="5297423" y="932688"/>
            <a:ext cx="1297305" cy="1009015"/>
          </a:xfrm>
          <a:custGeom>
            <a:avLst/>
            <a:gdLst/>
            <a:ahLst/>
            <a:cxnLst/>
            <a:rect l="l" t="t" r="r" b="b"/>
            <a:pathLst>
              <a:path w="1297304" h="1009014">
                <a:moveTo>
                  <a:pt x="0" y="1008887"/>
                </a:moveTo>
                <a:lnTo>
                  <a:pt x="1296924" y="1008887"/>
                </a:lnTo>
                <a:lnTo>
                  <a:pt x="1296924" y="0"/>
                </a:lnTo>
                <a:lnTo>
                  <a:pt x="0" y="0"/>
                </a:lnTo>
                <a:lnTo>
                  <a:pt x="0" y="1008887"/>
                </a:lnTo>
                <a:close/>
              </a:path>
            </a:pathLst>
          </a:custGeom>
          <a:solidFill>
            <a:srgbClr val="12ABDB"/>
          </a:solidFill>
        </p:spPr>
        <p:txBody>
          <a:bodyPr wrap="square" lIns="0" tIns="0" rIns="0" bIns="0" rtlCol="0"/>
          <a:lstStyle/>
          <a:p>
            <a:endParaRPr/>
          </a:p>
        </p:txBody>
      </p:sp>
      <p:sp>
        <p:nvSpPr>
          <p:cNvPr id="13" name="object 13"/>
          <p:cNvSpPr/>
          <p:nvPr/>
        </p:nvSpPr>
        <p:spPr>
          <a:xfrm>
            <a:off x="5297423" y="2744723"/>
            <a:ext cx="1297305" cy="55244"/>
          </a:xfrm>
          <a:custGeom>
            <a:avLst/>
            <a:gdLst/>
            <a:ahLst/>
            <a:cxnLst/>
            <a:rect l="l" t="t" r="r" b="b"/>
            <a:pathLst>
              <a:path w="1297304" h="55244">
                <a:moveTo>
                  <a:pt x="0" y="54863"/>
                </a:moveTo>
                <a:lnTo>
                  <a:pt x="1296924" y="54863"/>
                </a:lnTo>
                <a:lnTo>
                  <a:pt x="1296924" y="0"/>
                </a:lnTo>
                <a:lnTo>
                  <a:pt x="0" y="0"/>
                </a:lnTo>
                <a:lnTo>
                  <a:pt x="0" y="54863"/>
                </a:lnTo>
                <a:close/>
              </a:path>
            </a:pathLst>
          </a:custGeom>
          <a:solidFill>
            <a:srgbClr val="12ABDB"/>
          </a:solidFill>
        </p:spPr>
        <p:txBody>
          <a:bodyPr wrap="square" lIns="0" tIns="0" rIns="0" bIns="0" rtlCol="0"/>
          <a:lstStyle/>
          <a:p>
            <a:endParaRPr/>
          </a:p>
        </p:txBody>
      </p:sp>
      <p:sp>
        <p:nvSpPr>
          <p:cNvPr id="14" name="object 14"/>
          <p:cNvSpPr/>
          <p:nvPr/>
        </p:nvSpPr>
        <p:spPr>
          <a:xfrm>
            <a:off x="5297423" y="3174492"/>
            <a:ext cx="1297305" cy="12700"/>
          </a:xfrm>
          <a:custGeom>
            <a:avLst/>
            <a:gdLst/>
            <a:ahLst/>
            <a:cxnLst/>
            <a:rect l="l" t="t" r="r" b="b"/>
            <a:pathLst>
              <a:path w="1297304" h="12700">
                <a:moveTo>
                  <a:pt x="0" y="12192"/>
                </a:moveTo>
                <a:lnTo>
                  <a:pt x="1296924" y="12192"/>
                </a:lnTo>
                <a:lnTo>
                  <a:pt x="1296924" y="0"/>
                </a:lnTo>
                <a:lnTo>
                  <a:pt x="0" y="0"/>
                </a:lnTo>
                <a:lnTo>
                  <a:pt x="0" y="12192"/>
                </a:lnTo>
                <a:close/>
              </a:path>
            </a:pathLst>
          </a:custGeom>
          <a:solidFill>
            <a:srgbClr val="12ABDB"/>
          </a:solidFill>
        </p:spPr>
        <p:txBody>
          <a:bodyPr wrap="square" lIns="0" tIns="0" rIns="0" bIns="0" rtlCol="0"/>
          <a:lstStyle/>
          <a:p>
            <a:endParaRPr/>
          </a:p>
        </p:txBody>
      </p:sp>
      <p:sp>
        <p:nvSpPr>
          <p:cNvPr id="15" name="object 15"/>
          <p:cNvSpPr/>
          <p:nvPr/>
        </p:nvSpPr>
        <p:spPr>
          <a:xfrm>
            <a:off x="6697980" y="943355"/>
            <a:ext cx="1295400" cy="998219"/>
          </a:xfrm>
          <a:custGeom>
            <a:avLst/>
            <a:gdLst/>
            <a:ahLst/>
            <a:cxnLst/>
            <a:rect l="l" t="t" r="r" b="b"/>
            <a:pathLst>
              <a:path w="1295400" h="998219">
                <a:moveTo>
                  <a:pt x="0" y="998220"/>
                </a:moveTo>
                <a:lnTo>
                  <a:pt x="1295400" y="998220"/>
                </a:lnTo>
                <a:lnTo>
                  <a:pt x="1295400" y="0"/>
                </a:lnTo>
                <a:lnTo>
                  <a:pt x="0" y="0"/>
                </a:lnTo>
                <a:lnTo>
                  <a:pt x="0" y="998220"/>
                </a:lnTo>
                <a:close/>
              </a:path>
            </a:pathLst>
          </a:custGeom>
          <a:solidFill>
            <a:srgbClr val="12ABDB"/>
          </a:solidFill>
        </p:spPr>
        <p:txBody>
          <a:bodyPr wrap="square" lIns="0" tIns="0" rIns="0" bIns="0" rtlCol="0"/>
          <a:lstStyle/>
          <a:p>
            <a:endParaRPr/>
          </a:p>
        </p:txBody>
      </p:sp>
      <p:sp>
        <p:nvSpPr>
          <p:cNvPr id="16" name="object 16"/>
          <p:cNvSpPr/>
          <p:nvPr/>
        </p:nvSpPr>
        <p:spPr>
          <a:xfrm>
            <a:off x="6697980" y="2744723"/>
            <a:ext cx="1295400" cy="55244"/>
          </a:xfrm>
          <a:custGeom>
            <a:avLst/>
            <a:gdLst/>
            <a:ahLst/>
            <a:cxnLst/>
            <a:rect l="l" t="t" r="r" b="b"/>
            <a:pathLst>
              <a:path w="1295400" h="55244">
                <a:moveTo>
                  <a:pt x="0" y="54863"/>
                </a:moveTo>
                <a:lnTo>
                  <a:pt x="1295400" y="54863"/>
                </a:lnTo>
                <a:lnTo>
                  <a:pt x="1295400" y="0"/>
                </a:lnTo>
                <a:lnTo>
                  <a:pt x="0" y="0"/>
                </a:lnTo>
                <a:lnTo>
                  <a:pt x="0" y="54863"/>
                </a:lnTo>
                <a:close/>
              </a:path>
            </a:pathLst>
          </a:custGeom>
          <a:solidFill>
            <a:srgbClr val="12ABDB"/>
          </a:solidFill>
        </p:spPr>
        <p:txBody>
          <a:bodyPr wrap="square" lIns="0" tIns="0" rIns="0" bIns="0" rtlCol="0"/>
          <a:lstStyle/>
          <a:p>
            <a:endParaRPr/>
          </a:p>
        </p:txBody>
      </p:sp>
      <p:sp>
        <p:nvSpPr>
          <p:cNvPr id="17" name="object 17"/>
          <p:cNvSpPr/>
          <p:nvPr/>
        </p:nvSpPr>
        <p:spPr>
          <a:xfrm>
            <a:off x="6697980" y="3174492"/>
            <a:ext cx="1295400" cy="22860"/>
          </a:xfrm>
          <a:custGeom>
            <a:avLst/>
            <a:gdLst/>
            <a:ahLst/>
            <a:cxnLst/>
            <a:rect l="l" t="t" r="r" b="b"/>
            <a:pathLst>
              <a:path w="1295400" h="22860">
                <a:moveTo>
                  <a:pt x="0" y="22860"/>
                </a:moveTo>
                <a:lnTo>
                  <a:pt x="1295400" y="22860"/>
                </a:lnTo>
                <a:lnTo>
                  <a:pt x="1295400" y="0"/>
                </a:lnTo>
                <a:lnTo>
                  <a:pt x="0" y="0"/>
                </a:lnTo>
                <a:lnTo>
                  <a:pt x="0" y="22860"/>
                </a:lnTo>
                <a:close/>
              </a:path>
            </a:pathLst>
          </a:custGeom>
          <a:solidFill>
            <a:srgbClr val="12ABDB"/>
          </a:solidFill>
        </p:spPr>
        <p:txBody>
          <a:bodyPr wrap="square" lIns="0" tIns="0" rIns="0" bIns="0" rtlCol="0"/>
          <a:lstStyle/>
          <a:p>
            <a:endParaRPr/>
          </a:p>
        </p:txBody>
      </p:sp>
      <p:sp>
        <p:nvSpPr>
          <p:cNvPr id="18" name="object 18"/>
          <p:cNvSpPr/>
          <p:nvPr/>
        </p:nvSpPr>
        <p:spPr>
          <a:xfrm>
            <a:off x="8098535" y="960119"/>
            <a:ext cx="1312545" cy="981710"/>
          </a:xfrm>
          <a:custGeom>
            <a:avLst/>
            <a:gdLst/>
            <a:ahLst/>
            <a:cxnLst/>
            <a:rect l="l" t="t" r="r" b="b"/>
            <a:pathLst>
              <a:path w="1312545" h="981710">
                <a:moveTo>
                  <a:pt x="0" y="981455"/>
                </a:moveTo>
                <a:lnTo>
                  <a:pt x="1312164" y="981455"/>
                </a:lnTo>
                <a:lnTo>
                  <a:pt x="1312164" y="0"/>
                </a:lnTo>
                <a:lnTo>
                  <a:pt x="0" y="0"/>
                </a:lnTo>
                <a:lnTo>
                  <a:pt x="0" y="981455"/>
                </a:lnTo>
                <a:close/>
              </a:path>
            </a:pathLst>
          </a:custGeom>
          <a:solidFill>
            <a:srgbClr val="12ABDB"/>
          </a:solidFill>
        </p:spPr>
        <p:txBody>
          <a:bodyPr wrap="square" lIns="0" tIns="0" rIns="0" bIns="0" rtlCol="0"/>
          <a:lstStyle/>
          <a:p>
            <a:endParaRPr/>
          </a:p>
        </p:txBody>
      </p:sp>
      <p:sp>
        <p:nvSpPr>
          <p:cNvPr id="19" name="object 19"/>
          <p:cNvSpPr/>
          <p:nvPr/>
        </p:nvSpPr>
        <p:spPr>
          <a:xfrm>
            <a:off x="8098535" y="2744723"/>
            <a:ext cx="1312545" cy="55244"/>
          </a:xfrm>
          <a:custGeom>
            <a:avLst/>
            <a:gdLst/>
            <a:ahLst/>
            <a:cxnLst/>
            <a:rect l="l" t="t" r="r" b="b"/>
            <a:pathLst>
              <a:path w="1312545" h="55244">
                <a:moveTo>
                  <a:pt x="0" y="54863"/>
                </a:moveTo>
                <a:lnTo>
                  <a:pt x="1312164" y="54863"/>
                </a:lnTo>
                <a:lnTo>
                  <a:pt x="1312164" y="0"/>
                </a:lnTo>
                <a:lnTo>
                  <a:pt x="0" y="0"/>
                </a:lnTo>
                <a:lnTo>
                  <a:pt x="0" y="54863"/>
                </a:lnTo>
                <a:close/>
              </a:path>
            </a:pathLst>
          </a:custGeom>
          <a:solidFill>
            <a:srgbClr val="12ABDB"/>
          </a:solidFill>
        </p:spPr>
        <p:txBody>
          <a:bodyPr wrap="square" lIns="0" tIns="0" rIns="0" bIns="0" rtlCol="0"/>
          <a:lstStyle/>
          <a:p>
            <a:endParaRPr/>
          </a:p>
        </p:txBody>
      </p:sp>
      <p:sp>
        <p:nvSpPr>
          <p:cNvPr id="20" name="object 20"/>
          <p:cNvSpPr/>
          <p:nvPr/>
        </p:nvSpPr>
        <p:spPr>
          <a:xfrm>
            <a:off x="8098535" y="3174492"/>
            <a:ext cx="1312545" cy="12700"/>
          </a:xfrm>
          <a:custGeom>
            <a:avLst/>
            <a:gdLst/>
            <a:ahLst/>
            <a:cxnLst/>
            <a:rect l="l" t="t" r="r" b="b"/>
            <a:pathLst>
              <a:path w="1312545" h="12700">
                <a:moveTo>
                  <a:pt x="0" y="12192"/>
                </a:moveTo>
                <a:lnTo>
                  <a:pt x="1312164" y="12192"/>
                </a:lnTo>
                <a:lnTo>
                  <a:pt x="1312164" y="0"/>
                </a:lnTo>
                <a:lnTo>
                  <a:pt x="0" y="0"/>
                </a:lnTo>
                <a:lnTo>
                  <a:pt x="0" y="12192"/>
                </a:lnTo>
                <a:close/>
              </a:path>
            </a:pathLst>
          </a:custGeom>
          <a:solidFill>
            <a:srgbClr val="12ABDB"/>
          </a:solidFill>
        </p:spPr>
        <p:txBody>
          <a:bodyPr wrap="square" lIns="0" tIns="0" rIns="0" bIns="0" rtlCol="0"/>
          <a:lstStyle/>
          <a:p>
            <a:endParaRPr/>
          </a:p>
        </p:txBody>
      </p:sp>
      <p:sp>
        <p:nvSpPr>
          <p:cNvPr id="21" name="object 21"/>
          <p:cNvSpPr/>
          <p:nvPr/>
        </p:nvSpPr>
        <p:spPr>
          <a:xfrm>
            <a:off x="9503664" y="943355"/>
            <a:ext cx="1297305" cy="998219"/>
          </a:xfrm>
          <a:custGeom>
            <a:avLst/>
            <a:gdLst/>
            <a:ahLst/>
            <a:cxnLst/>
            <a:rect l="l" t="t" r="r" b="b"/>
            <a:pathLst>
              <a:path w="1297304" h="998219">
                <a:moveTo>
                  <a:pt x="0" y="998220"/>
                </a:moveTo>
                <a:lnTo>
                  <a:pt x="1296924" y="998220"/>
                </a:lnTo>
                <a:lnTo>
                  <a:pt x="1296924" y="0"/>
                </a:lnTo>
                <a:lnTo>
                  <a:pt x="0" y="0"/>
                </a:lnTo>
                <a:lnTo>
                  <a:pt x="0" y="998220"/>
                </a:lnTo>
                <a:close/>
              </a:path>
            </a:pathLst>
          </a:custGeom>
          <a:solidFill>
            <a:srgbClr val="12ABDB"/>
          </a:solidFill>
        </p:spPr>
        <p:txBody>
          <a:bodyPr wrap="square" lIns="0" tIns="0" rIns="0" bIns="0" rtlCol="0"/>
          <a:lstStyle/>
          <a:p>
            <a:endParaRPr/>
          </a:p>
        </p:txBody>
      </p:sp>
      <p:sp>
        <p:nvSpPr>
          <p:cNvPr id="22" name="object 22"/>
          <p:cNvSpPr/>
          <p:nvPr/>
        </p:nvSpPr>
        <p:spPr>
          <a:xfrm>
            <a:off x="9503664" y="2744723"/>
            <a:ext cx="1297305" cy="55244"/>
          </a:xfrm>
          <a:custGeom>
            <a:avLst/>
            <a:gdLst/>
            <a:ahLst/>
            <a:cxnLst/>
            <a:rect l="l" t="t" r="r" b="b"/>
            <a:pathLst>
              <a:path w="1297304" h="55244">
                <a:moveTo>
                  <a:pt x="0" y="54863"/>
                </a:moveTo>
                <a:lnTo>
                  <a:pt x="1296924" y="54863"/>
                </a:lnTo>
                <a:lnTo>
                  <a:pt x="1296924" y="0"/>
                </a:lnTo>
                <a:lnTo>
                  <a:pt x="0" y="0"/>
                </a:lnTo>
                <a:lnTo>
                  <a:pt x="0" y="54863"/>
                </a:lnTo>
                <a:close/>
              </a:path>
            </a:pathLst>
          </a:custGeom>
          <a:solidFill>
            <a:srgbClr val="12ABDB"/>
          </a:solidFill>
        </p:spPr>
        <p:txBody>
          <a:bodyPr wrap="square" lIns="0" tIns="0" rIns="0" bIns="0" rtlCol="0"/>
          <a:lstStyle/>
          <a:p>
            <a:endParaRPr/>
          </a:p>
        </p:txBody>
      </p:sp>
      <p:sp>
        <p:nvSpPr>
          <p:cNvPr id="23" name="object 23"/>
          <p:cNvSpPr/>
          <p:nvPr/>
        </p:nvSpPr>
        <p:spPr>
          <a:xfrm>
            <a:off x="9503664" y="3174492"/>
            <a:ext cx="1297305" cy="22860"/>
          </a:xfrm>
          <a:custGeom>
            <a:avLst/>
            <a:gdLst/>
            <a:ahLst/>
            <a:cxnLst/>
            <a:rect l="l" t="t" r="r" b="b"/>
            <a:pathLst>
              <a:path w="1297304" h="22860">
                <a:moveTo>
                  <a:pt x="0" y="22860"/>
                </a:moveTo>
                <a:lnTo>
                  <a:pt x="1296924" y="22860"/>
                </a:lnTo>
                <a:lnTo>
                  <a:pt x="1296924" y="0"/>
                </a:lnTo>
                <a:lnTo>
                  <a:pt x="0" y="0"/>
                </a:lnTo>
                <a:lnTo>
                  <a:pt x="0" y="22860"/>
                </a:lnTo>
                <a:close/>
              </a:path>
            </a:pathLst>
          </a:custGeom>
          <a:solidFill>
            <a:srgbClr val="12ABDB"/>
          </a:solidFill>
        </p:spPr>
        <p:txBody>
          <a:bodyPr wrap="square" lIns="0" tIns="0" rIns="0" bIns="0" rtlCol="0"/>
          <a:lstStyle/>
          <a:p>
            <a:endParaRPr/>
          </a:p>
        </p:txBody>
      </p:sp>
      <p:sp>
        <p:nvSpPr>
          <p:cNvPr id="24" name="object 24"/>
          <p:cNvSpPr/>
          <p:nvPr/>
        </p:nvSpPr>
        <p:spPr>
          <a:xfrm>
            <a:off x="975360" y="1400555"/>
            <a:ext cx="1170431" cy="598932"/>
          </a:xfrm>
          <a:prstGeom prst="rect">
            <a:avLst/>
          </a:prstGeom>
          <a:blipFill>
            <a:blip r:embed="rId2" cstate="print"/>
            <a:stretch>
              <a:fillRect/>
            </a:stretch>
          </a:blipFill>
        </p:spPr>
        <p:txBody>
          <a:bodyPr wrap="square" lIns="0" tIns="0" rIns="0" bIns="0" rtlCol="0"/>
          <a:lstStyle/>
          <a:p>
            <a:endParaRPr/>
          </a:p>
        </p:txBody>
      </p:sp>
      <p:graphicFrame>
        <p:nvGraphicFramePr>
          <p:cNvPr id="25" name="object 25"/>
          <p:cNvGraphicFramePr>
            <a:graphicFrameLocks noGrp="1"/>
          </p:cNvGraphicFramePr>
          <p:nvPr/>
        </p:nvGraphicFramePr>
        <p:xfrm>
          <a:off x="2503932" y="932688"/>
          <a:ext cx="8280400" cy="1383790"/>
        </p:xfrm>
        <a:graphic>
          <a:graphicData uri="http://schemas.openxmlformats.org/drawingml/2006/table">
            <a:tbl>
              <a:tblPr firstRow="1" bandRow="1">
                <a:tableStyleId>{2D5ABB26-0587-4C30-8999-92F81FD0307C}</a:tableStyleId>
              </a:tblPr>
              <a:tblGrid>
                <a:gridCol w="2746375">
                  <a:extLst>
                    <a:ext uri="{9D8B030D-6E8A-4147-A177-3AD203B41FA5}">
                      <a16:colId xmlns:a16="http://schemas.microsoft.com/office/drawing/2014/main" val="20000"/>
                    </a:ext>
                  </a:extLst>
                </a:gridCol>
                <a:gridCol w="5534025">
                  <a:extLst>
                    <a:ext uri="{9D8B030D-6E8A-4147-A177-3AD203B41FA5}">
                      <a16:colId xmlns:a16="http://schemas.microsoft.com/office/drawing/2014/main" val="20001"/>
                    </a:ext>
                  </a:extLst>
                </a:gridCol>
              </a:tblGrid>
              <a:tr h="1008887">
                <a:tc>
                  <a:txBody>
                    <a:bodyPr/>
                    <a:lstStyle/>
                    <a:p>
                      <a:pPr marL="418465">
                        <a:lnSpc>
                          <a:spcPct val="100000"/>
                        </a:lnSpc>
                        <a:spcBef>
                          <a:spcPts val="370"/>
                        </a:spcBef>
                        <a:tabLst>
                          <a:tab pos="1654175" algn="l"/>
                        </a:tabLst>
                      </a:pPr>
                      <a:r>
                        <a:rPr sz="1400">
                          <a:solidFill>
                            <a:srgbClr val="FFFFFF"/>
                          </a:solidFill>
                          <a:latin typeface="Verdana"/>
                          <a:cs typeface="Verdana"/>
                        </a:rPr>
                        <a:t>Sales	Analytics</a:t>
                      </a:r>
                      <a:endParaRPr sz="1400">
                        <a:latin typeface="Verdana"/>
                        <a:cs typeface="Verdana"/>
                      </a:endParaRPr>
                    </a:p>
                  </a:txBody>
                  <a:tcPr marL="0" marR="0" marT="46990" marB="0">
                    <a:lnR w="82296">
                      <a:solidFill>
                        <a:srgbClr val="FFFFFF"/>
                      </a:solidFill>
                      <a:prstDash val="solid"/>
                    </a:lnR>
                    <a:lnB w="12700">
                      <a:solidFill>
                        <a:srgbClr val="A6A6A6"/>
                      </a:solidFill>
                      <a:prstDash val="solid"/>
                    </a:lnB>
                  </a:tcPr>
                </a:tc>
                <a:tc>
                  <a:txBody>
                    <a:bodyPr/>
                    <a:lstStyle/>
                    <a:p>
                      <a:pPr marL="353060">
                        <a:lnSpc>
                          <a:spcPct val="100000"/>
                        </a:lnSpc>
                        <a:spcBef>
                          <a:spcPts val="440"/>
                        </a:spcBef>
                        <a:tabLst>
                          <a:tab pos="1776095" algn="l"/>
                          <a:tab pos="2983865" algn="l"/>
                          <a:tab pos="4608195" algn="l"/>
                        </a:tabLst>
                      </a:pPr>
                      <a:r>
                        <a:rPr sz="2100" spc="-7" baseline="3968">
                          <a:solidFill>
                            <a:srgbClr val="FFFFFF"/>
                          </a:solidFill>
                          <a:latin typeface="Verdana"/>
                          <a:cs typeface="Verdana"/>
                        </a:rPr>
                        <a:t>Charter	</a:t>
                      </a:r>
                      <a:r>
                        <a:rPr sz="1400" spc="-5">
                          <a:solidFill>
                            <a:srgbClr val="FFFFFF"/>
                          </a:solidFill>
                          <a:latin typeface="Verdana"/>
                          <a:cs typeface="Verdana"/>
                        </a:rPr>
                        <a:t>Survey	</a:t>
                      </a:r>
                      <a:r>
                        <a:rPr sz="2100" baseline="-5952">
                          <a:solidFill>
                            <a:srgbClr val="FFFFFF"/>
                          </a:solidFill>
                          <a:latin typeface="Verdana"/>
                          <a:cs typeface="Verdana"/>
                        </a:rPr>
                        <a:t>Community	</a:t>
                      </a:r>
                      <a:r>
                        <a:rPr sz="1400" spc="-5">
                          <a:solidFill>
                            <a:srgbClr val="FFFFFF"/>
                          </a:solidFill>
                          <a:latin typeface="Verdana"/>
                          <a:cs typeface="Verdana"/>
                        </a:rPr>
                        <a:t>Pardot</a:t>
                      </a:r>
                      <a:endParaRPr sz="1400">
                        <a:latin typeface="Verdana"/>
                        <a:cs typeface="Verdana"/>
                      </a:endParaRPr>
                    </a:p>
                  </a:txBody>
                  <a:tcPr marL="0" marR="0" marT="55880" marB="0">
                    <a:lnL w="82296">
                      <a:solidFill>
                        <a:srgbClr val="FFFFFF"/>
                      </a:solidFill>
                      <a:prstDash val="solid"/>
                    </a:lnL>
                    <a:lnB w="12700">
                      <a:solidFill>
                        <a:srgbClr val="A6A6A6"/>
                      </a:solidFill>
                      <a:prstDash val="solid"/>
                    </a:lnB>
                  </a:tcPr>
                </a:tc>
                <a:extLst>
                  <a:ext uri="{0D108BD9-81ED-4DB2-BD59-A6C34878D82A}">
                    <a16:rowId xmlns:a16="http://schemas.microsoft.com/office/drawing/2014/main" val="10000"/>
                  </a:ext>
                </a:extLst>
              </a:tr>
              <a:tr h="374903">
                <a:tc gridSpan="2">
                  <a:txBody>
                    <a:bodyPr/>
                    <a:lstStyle/>
                    <a:p>
                      <a:pPr marL="1270" algn="ctr">
                        <a:lnSpc>
                          <a:spcPct val="100000"/>
                        </a:lnSpc>
                        <a:spcBef>
                          <a:spcPts val="505"/>
                        </a:spcBef>
                      </a:pPr>
                      <a:r>
                        <a:rPr sz="1600" spc="-5">
                          <a:solidFill>
                            <a:srgbClr val="FFFFFF"/>
                          </a:solidFill>
                          <a:latin typeface="Verdana"/>
                          <a:cs typeface="Verdana"/>
                        </a:rPr>
                        <a:t>Sales </a:t>
                      </a:r>
                      <a:r>
                        <a:rPr sz="1600" spc="-10">
                          <a:solidFill>
                            <a:srgbClr val="FFFFFF"/>
                          </a:solidFill>
                          <a:latin typeface="Verdana"/>
                          <a:cs typeface="Verdana"/>
                        </a:rPr>
                        <a:t>Opportunity</a:t>
                      </a:r>
                      <a:r>
                        <a:rPr sz="1600" spc="60">
                          <a:solidFill>
                            <a:srgbClr val="FFFFFF"/>
                          </a:solidFill>
                          <a:latin typeface="Verdana"/>
                          <a:cs typeface="Verdana"/>
                        </a:rPr>
                        <a:t> </a:t>
                      </a:r>
                      <a:r>
                        <a:rPr sz="1600" spc="-5">
                          <a:solidFill>
                            <a:srgbClr val="FFFFFF"/>
                          </a:solidFill>
                          <a:latin typeface="Verdana"/>
                          <a:cs typeface="Verdana"/>
                        </a:rPr>
                        <a:t>Management</a:t>
                      </a:r>
                      <a:endParaRPr sz="1600">
                        <a:latin typeface="Verdana"/>
                        <a:cs typeface="Verdana"/>
                      </a:endParaRPr>
                    </a:p>
                  </a:txBody>
                  <a:tcPr marL="0" marR="0" marT="64135" marB="0">
                    <a:lnL w="12700">
                      <a:solidFill>
                        <a:srgbClr val="A6A6A6"/>
                      </a:solidFill>
                      <a:prstDash val="solid"/>
                    </a:lnL>
                    <a:lnR w="12700">
                      <a:solidFill>
                        <a:srgbClr val="A6A6A6"/>
                      </a:solidFill>
                      <a:prstDash val="solid"/>
                    </a:lnR>
                    <a:lnT w="12700">
                      <a:solidFill>
                        <a:srgbClr val="A6A6A6"/>
                      </a:solidFill>
                      <a:prstDash val="solid"/>
                    </a:lnT>
                    <a:lnB w="12700">
                      <a:solidFill>
                        <a:srgbClr val="12ABDB"/>
                      </a:solidFill>
                      <a:prstDash val="solid"/>
                    </a:lnB>
                    <a:solidFill>
                      <a:srgbClr val="BEBEBE"/>
                    </a:solidFill>
                  </a:tcPr>
                </a:tc>
                <a:tc hMerge="1">
                  <a:txBody>
                    <a:bodyPr/>
                    <a:lstStyle/>
                    <a:p>
                      <a:endParaRPr/>
                    </a:p>
                  </a:txBody>
                  <a:tcPr marL="0" marR="0" marT="0" marB="0"/>
                </a:tc>
                <a:extLst>
                  <a:ext uri="{0D108BD9-81ED-4DB2-BD59-A6C34878D82A}">
                    <a16:rowId xmlns:a16="http://schemas.microsoft.com/office/drawing/2014/main" val="10001"/>
                  </a:ext>
                </a:extLst>
              </a:tr>
            </a:tbl>
          </a:graphicData>
        </a:graphic>
      </p:graphicFrame>
      <p:sp>
        <p:nvSpPr>
          <p:cNvPr id="26" name="object 26"/>
          <p:cNvSpPr txBox="1"/>
          <p:nvPr/>
        </p:nvSpPr>
        <p:spPr>
          <a:xfrm>
            <a:off x="2529839" y="3304032"/>
            <a:ext cx="8288020" cy="363220"/>
          </a:xfrm>
          <a:prstGeom prst="rect">
            <a:avLst/>
          </a:prstGeom>
          <a:solidFill>
            <a:srgbClr val="12ABDB"/>
          </a:solidFill>
        </p:spPr>
        <p:txBody>
          <a:bodyPr vert="horz" wrap="square" lIns="0" tIns="57785" rIns="0" bIns="0" rtlCol="0">
            <a:spAutoFit/>
          </a:bodyPr>
          <a:lstStyle/>
          <a:p>
            <a:pPr marL="2540" algn="ctr">
              <a:lnSpc>
                <a:spcPct val="100000"/>
              </a:lnSpc>
              <a:spcBef>
                <a:spcPts val="455"/>
              </a:spcBef>
            </a:pPr>
            <a:r>
              <a:rPr sz="1600" spc="-10">
                <a:solidFill>
                  <a:srgbClr val="FFFFFF"/>
                </a:solidFill>
                <a:latin typeface="Verdana"/>
                <a:cs typeface="Verdana"/>
              </a:rPr>
              <a:t>Einstein</a:t>
            </a:r>
            <a:endParaRPr sz="1600">
              <a:latin typeface="Verdana"/>
              <a:cs typeface="Verdana"/>
            </a:endParaRPr>
          </a:p>
        </p:txBody>
      </p:sp>
      <p:sp>
        <p:nvSpPr>
          <p:cNvPr id="27" name="object 27"/>
          <p:cNvSpPr txBox="1"/>
          <p:nvPr/>
        </p:nvSpPr>
        <p:spPr>
          <a:xfrm>
            <a:off x="2519172" y="3774947"/>
            <a:ext cx="8288020" cy="335280"/>
          </a:xfrm>
          <a:prstGeom prst="rect">
            <a:avLst/>
          </a:prstGeom>
          <a:solidFill>
            <a:srgbClr val="12ABDB"/>
          </a:solidFill>
        </p:spPr>
        <p:txBody>
          <a:bodyPr vert="horz" wrap="square" lIns="0" tIns="44450" rIns="0" bIns="0" rtlCol="0">
            <a:spAutoFit/>
          </a:bodyPr>
          <a:lstStyle/>
          <a:p>
            <a:pPr marL="635" algn="ctr">
              <a:lnSpc>
                <a:spcPct val="100000"/>
              </a:lnSpc>
              <a:spcBef>
                <a:spcPts val="350"/>
              </a:spcBef>
            </a:pPr>
            <a:r>
              <a:rPr sz="1600" spc="-10">
                <a:solidFill>
                  <a:srgbClr val="FFFFFF"/>
                </a:solidFill>
                <a:latin typeface="Verdana"/>
                <a:cs typeface="Verdana"/>
              </a:rPr>
              <a:t>Lighting</a:t>
            </a:r>
            <a:endParaRPr sz="1600">
              <a:latin typeface="Verdana"/>
              <a:cs typeface="Verdana"/>
            </a:endParaRPr>
          </a:p>
        </p:txBody>
      </p:sp>
      <p:sp>
        <p:nvSpPr>
          <p:cNvPr id="28" name="object 28"/>
          <p:cNvSpPr/>
          <p:nvPr/>
        </p:nvSpPr>
        <p:spPr>
          <a:xfrm>
            <a:off x="2510027" y="2371344"/>
            <a:ext cx="8280400" cy="373380"/>
          </a:xfrm>
          <a:custGeom>
            <a:avLst/>
            <a:gdLst/>
            <a:ahLst/>
            <a:cxnLst/>
            <a:rect l="l" t="t" r="r" b="b"/>
            <a:pathLst>
              <a:path w="8280400" h="373380">
                <a:moveTo>
                  <a:pt x="0" y="373379"/>
                </a:moveTo>
                <a:lnTo>
                  <a:pt x="8279892" y="373379"/>
                </a:lnTo>
                <a:lnTo>
                  <a:pt x="8279892" y="0"/>
                </a:lnTo>
                <a:lnTo>
                  <a:pt x="0" y="0"/>
                </a:lnTo>
                <a:lnTo>
                  <a:pt x="0" y="373379"/>
                </a:lnTo>
                <a:close/>
              </a:path>
            </a:pathLst>
          </a:custGeom>
          <a:ln w="12192">
            <a:solidFill>
              <a:srgbClr val="A6A6A6"/>
            </a:solidFill>
          </a:ln>
        </p:spPr>
        <p:txBody>
          <a:bodyPr wrap="square" lIns="0" tIns="0" rIns="0" bIns="0" rtlCol="0"/>
          <a:lstStyle/>
          <a:p>
            <a:endParaRPr/>
          </a:p>
        </p:txBody>
      </p:sp>
      <p:sp>
        <p:nvSpPr>
          <p:cNvPr id="29" name="object 29"/>
          <p:cNvSpPr txBox="1"/>
          <p:nvPr/>
        </p:nvSpPr>
        <p:spPr>
          <a:xfrm>
            <a:off x="2516123" y="2377439"/>
            <a:ext cx="8267700" cy="361315"/>
          </a:xfrm>
          <a:prstGeom prst="rect">
            <a:avLst/>
          </a:prstGeom>
          <a:solidFill>
            <a:srgbClr val="BEBEBE"/>
          </a:solidFill>
        </p:spPr>
        <p:txBody>
          <a:bodyPr vert="horz" wrap="square" lIns="0" tIns="57150" rIns="0" bIns="0" rtlCol="0">
            <a:spAutoFit/>
          </a:bodyPr>
          <a:lstStyle/>
          <a:p>
            <a:pPr algn="ctr">
              <a:lnSpc>
                <a:spcPct val="100000"/>
              </a:lnSpc>
              <a:spcBef>
                <a:spcPts val="450"/>
              </a:spcBef>
            </a:pPr>
            <a:r>
              <a:rPr sz="1600" spc="-10">
                <a:solidFill>
                  <a:srgbClr val="FFFFFF"/>
                </a:solidFill>
                <a:latin typeface="Verdana"/>
                <a:cs typeface="Verdana"/>
              </a:rPr>
              <a:t>RFQ</a:t>
            </a:r>
            <a:r>
              <a:rPr sz="1600" spc="20">
                <a:solidFill>
                  <a:srgbClr val="FFFFFF"/>
                </a:solidFill>
                <a:latin typeface="Verdana"/>
                <a:cs typeface="Verdana"/>
              </a:rPr>
              <a:t> </a:t>
            </a:r>
            <a:r>
              <a:rPr sz="1600" spc="-5">
                <a:solidFill>
                  <a:srgbClr val="FFFFFF"/>
                </a:solidFill>
                <a:latin typeface="Verdana"/>
                <a:cs typeface="Verdana"/>
              </a:rPr>
              <a:t>Management</a:t>
            </a:r>
            <a:endParaRPr sz="1600">
              <a:latin typeface="Verdana"/>
              <a:cs typeface="Verdana"/>
            </a:endParaRPr>
          </a:p>
        </p:txBody>
      </p:sp>
      <p:sp>
        <p:nvSpPr>
          <p:cNvPr id="30" name="object 30"/>
          <p:cNvSpPr/>
          <p:nvPr/>
        </p:nvSpPr>
        <p:spPr>
          <a:xfrm>
            <a:off x="2510027" y="2799588"/>
            <a:ext cx="8280400" cy="375285"/>
          </a:xfrm>
          <a:custGeom>
            <a:avLst/>
            <a:gdLst/>
            <a:ahLst/>
            <a:cxnLst/>
            <a:rect l="l" t="t" r="r" b="b"/>
            <a:pathLst>
              <a:path w="8280400" h="375285">
                <a:moveTo>
                  <a:pt x="0" y="374903"/>
                </a:moveTo>
                <a:lnTo>
                  <a:pt x="8279892" y="374903"/>
                </a:lnTo>
                <a:lnTo>
                  <a:pt x="8279892" y="0"/>
                </a:lnTo>
                <a:lnTo>
                  <a:pt x="0" y="0"/>
                </a:lnTo>
                <a:lnTo>
                  <a:pt x="0" y="374903"/>
                </a:lnTo>
                <a:close/>
              </a:path>
            </a:pathLst>
          </a:custGeom>
          <a:ln w="12191">
            <a:solidFill>
              <a:srgbClr val="A6A6A6"/>
            </a:solidFill>
          </a:ln>
        </p:spPr>
        <p:txBody>
          <a:bodyPr wrap="square" lIns="0" tIns="0" rIns="0" bIns="0" rtlCol="0"/>
          <a:lstStyle/>
          <a:p>
            <a:endParaRPr/>
          </a:p>
        </p:txBody>
      </p:sp>
      <p:sp>
        <p:nvSpPr>
          <p:cNvPr id="31" name="object 31"/>
          <p:cNvSpPr txBox="1"/>
          <p:nvPr/>
        </p:nvSpPr>
        <p:spPr>
          <a:xfrm>
            <a:off x="2516123" y="2805683"/>
            <a:ext cx="8267700" cy="354330"/>
          </a:xfrm>
          <a:prstGeom prst="rect">
            <a:avLst/>
          </a:prstGeom>
          <a:solidFill>
            <a:srgbClr val="BEBEBE"/>
          </a:solidFill>
        </p:spPr>
        <p:txBody>
          <a:bodyPr vert="horz" wrap="square" lIns="0" tIns="57785" rIns="0" bIns="0" rtlCol="0">
            <a:spAutoFit/>
          </a:bodyPr>
          <a:lstStyle/>
          <a:p>
            <a:pPr algn="ctr">
              <a:lnSpc>
                <a:spcPct val="100000"/>
              </a:lnSpc>
              <a:spcBef>
                <a:spcPts val="455"/>
              </a:spcBef>
            </a:pPr>
            <a:r>
              <a:rPr sz="1600" spc="-10">
                <a:solidFill>
                  <a:srgbClr val="FFFFFF"/>
                </a:solidFill>
                <a:latin typeface="Verdana"/>
                <a:cs typeface="Verdana"/>
              </a:rPr>
              <a:t>Event</a:t>
            </a:r>
            <a:r>
              <a:rPr sz="1600">
                <a:solidFill>
                  <a:srgbClr val="FFFFFF"/>
                </a:solidFill>
                <a:latin typeface="Verdana"/>
                <a:cs typeface="Verdana"/>
              </a:rPr>
              <a:t> </a:t>
            </a:r>
            <a:r>
              <a:rPr sz="1600" spc="-10">
                <a:solidFill>
                  <a:srgbClr val="FFFFFF"/>
                </a:solidFill>
                <a:latin typeface="Verdana"/>
                <a:cs typeface="Verdana"/>
              </a:rPr>
              <a:t>Marketing</a:t>
            </a:r>
            <a:endParaRPr sz="1600">
              <a:latin typeface="Verdana"/>
              <a:cs typeface="Verdana"/>
            </a:endParaRPr>
          </a:p>
        </p:txBody>
      </p:sp>
      <p:sp>
        <p:nvSpPr>
          <p:cNvPr id="32" name="object 32"/>
          <p:cNvSpPr/>
          <p:nvPr/>
        </p:nvSpPr>
        <p:spPr>
          <a:xfrm>
            <a:off x="975360" y="5321808"/>
            <a:ext cx="10071100" cy="1129665"/>
          </a:xfrm>
          <a:custGeom>
            <a:avLst/>
            <a:gdLst/>
            <a:ahLst/>
            <a:cxnLst/>
            <a:rect l="l" t="t" r="r" b="b"/>
            <a:pathLst>
              <a:path w="10071100" h="1129664">
                <a:moveTo>
                  <a:pt x="0" y="1129284"/>
                </a:moveTo>
                <a:lnTo>
                  <a:pt x="10070592" y="1129284"/>
                </a:lnTo>
                <a:lnTo>
                  <a:pt x="10070592" y="0"/>
                </a:lnTo>
                <a:lnTo>
                  <a:pt x="0" y="0"/>
                </a:lnTo>
                <a:lnTo>
                  <a:pt x="0" y="1129284"/>
                </a:lnTo>
                <a:close/>
              </a:path>
            </a:pathLst>
          </a:custGeom>
          <a:solidFill>
            <a:srgbClr val="BEBEBE"/>
          </a:solidFill>
        </p:spPr>
        <p:txBody>
          <a:bodyPr wrap="square" lIns="0" tIns="0" rIns="0" bIns="0" rtlCol="0"/>
          <a:lstStyle/>
          <a:p>
            <a:endParaRPr/>
          </a:p>
        </p:txBody>
      </p:sp>
      <p:sp>
        <p:nvSpPr>
          <p:cNvPr id="33" name="object 33"/>
          <p:cNvSpPr/>
          <p:nvPr/>
        </p:nvSpPr>
        <p:spPr>
          <a:xfrm>
            <a:off x="975360" y="5321808"/>
            <a:ext cx="10071100" cy="1129665"/>
          </a:xfrm>
          <a:custGeom>
            <a:avLst/>
            <a:gdLst/>
            <a:ahLst/>
            <a:cxnLst/>
            <a:rect l="l" t="t" r="r" b="b"/>
            <a:pathLst>
              <a:path w="10071100" h="1129664">
                <a:moveTo>
                  <a:pt x="0" y="1129284"/>
                </a:moveTo>
                <a:lnTo>
                  <a:pt x="10070592" y="1129284"/>
                </a:lnTo>
                <a:lnTo>
                  <a:pt x="10070592" y="0"/>
                </a:lnTo>
                <a:lnTo>
                  <a:pt x="0" y="0"/>
                </a:lnTo>
                <a:lnTo>
                  <a:pt x="0" y="1129284"/>
                </a:lnTo>
                <a:close/>
              </a:path>
            </a:pathLst>
          </a:custGeom>
          <a:ln w="12192">
            <a:solidFill>
              <a:srgbClr val="BEBEBE"/>
            </a:solidFill>
          </a:ln>
        </p:spPr>
        <p:txBody>
          <a:bodyPr wrap="square" lIns="0" tIns="0" rIns="0" bIns="0" rtlCol="0"/>
          <a:lstStyle/>
          <a:p>
            <a:endParaRPr/>
          </a:p>
        </p:txBody>
      </p:sp>
      <p:sp>
        <p:nvSpPr>
          <p:cNvPr id="34" name="object 34"/>
          <p:cNvSpPr txBox="1"/>
          <p:nvPr/>
        </p:nvSpPr>
        <p:spPr>
          <a:xfrm>
            <a:off x="1053490" y="5629147"/>
            <a:ext cx="784225" cy="513080"/>
          </a:xfrm>
          <a:prstGeom prst="rect">
            <a:avLst/>
          </a:prstGeom>
        </p:spPr>
        <p:txBody>
          <a:bodyPr vert="horz" wrap="square" lIns="0" tIns="12065" rIns="0" bIns="0" rtlCol="0">
            <a:spAutoFit/>
          </a:bodyPr>
          <a:lstStyle/>
          <a:p>
            <a:pPr marL="83820">
              <a:lnSpc>
                <a:spcPct val="100000"/>
              </a:lnSpc>
              <a:spcBef>
                <a:spcPts val="95"/>
              </a:spcBef>
            </a:pPr>
            <a:r>
              <a:rPr sz="1600" spc="-5">
                <a:solidFill>
                  <a:srgbClr val="FFFFFF"/>
                </a:solidFill>
                <a:latin typeface="Verdana"/>
                <a:cs typeface="Verdana"/>
              </a:rPr>
              <a:t>Marelli</a:t>
            </a:r>
            <a:endParaRPr sz="1600">
              <a:latin typeface="Verdana"/>
              <a:cs typeface="Verdana"/>
            </a:endParaRPr>
          </a:p>
          <a:p>
            <a:pPr marL="12700">
              <a:lnSpc>
                <a:spcPct val="100000"/>
              </a:lnSpc>
              <a:spcBef>
                <a:spcPts val="5"/>
              </a:spcBef>
            </a:pPr>
            <a:r>
              <a:rPr sz="1600" spc="-30">
                <a:solidFill>
                  <a:srgbClr val="FFFFFF"/>
                </a:solidFill>
                <a:latin typeface="Verdana"/>
                <a:cs typeface="Verdana"/>
              </a:rPr>
              <a:t>S</a:t>
            </a:r>
            <a:r>
              <a:rPr sz="1600" spc="-5">
                <a:solidFill>
                  <a:srgbClr val="FFFFFF"/>
                </a:solidFill>
                <a:latin typeface="Verdana"/>
                <a:cs typeface="Verdana"/>
              </a:rPr>
              <a:t>ys</a:t>
            </a:r>
            <a:r>
              <a:rPr sz="1600" spc="-10">
                <a:solidFill>
                  <a:srgbClr val="FFFFFF"/>
                </a:solidFill>
                <a:latin typeface="Verdana"/>
                <a:cs typeface="Verdana"/>
              </a:rPr>
              <a:t>t</a:t>
            </a:r>
            <a:r>
              <a:rPr sz="1600" spc="-5">
                <a:solidFill>
                  <a:srgbClr val="FFFFFF"/>
                </a:solidFill>
                <a:latin typeface="Verdana"/>
                <a:cs typeface="Verdana"/>
              </a:rPr>
              <a:t>em</a:t>
            </a:r>
            <a:endParaRPr sz="1600">
              <a:latin typeface="Verdana"/>
              <a:cs typeface="Verdana"/>
            </a:endParaRPr>
          </a:p>
        </p:txBody>
      </p:sp>
      <p:graphicFrame>
        <p:nvGraphicFramePr>
          <p:cNvPr id="35" name="object 35"/>
          <p:cNvGraphicFramePr>
            <a:graphicFrameLocks noGrp="1"/>
          </p:cNvGraphicFramePr>
          <p:nvPr/>
        </p:nvGraphicFramePr>
        <p:xfrm>
          <a:off x="2058923" y="5449823"/>
          <a:ext cx="6989443" cy="894588"/>
        </p:xfrm>
        <a:graphic>
          <a:graphicData uri="http://schemas.openxmlformats.org/drawingml/2006/table">
            <a:tbl>
              <a:tblPr firstRow="1" bandRow="1">
                <a:tableStyleId>{2D5ABB26-0587-4C30-8999-92F81FD0307C}</a:tableStyleId>
              </a:tblPr>
              <a:tblGrid>
                <a:gridCol w="1147445">
                  <a:extLst>
                    <a:ext uri="{9D8B030D-6E8A-4147-A177-3AD203B41FA5}">
                      <a16:colId xmlns:a16="http://schemas.microsoft.com/office/drawing/2014/main" val="20000"/>
                    </a:ext>
                  </a:extLst>
                </a:gridCol>
                <a:gridCol w="1169670">
                  <a:extLst>
                    <a:ext uri="{9D8B030D-6E8A-4147-A177-3AD203B41FA5}">
                      <a16:colId xmlns:a16="http://schemas.microsoft.com/office/drawing/2014/main" val="20001"/>
                    </a:ext>
                  </a:extLst>
                </a:gridCol>
                <a:gridCol w="1169669">
                  <a:extLst>
                    <a:ext uri="{9D8B030D-6E8A-4147-A177-3AD203B41FA5}">
                      <a16:colId xmlns:a16="http://schemas.microsoft.com/office/drawing/2014/main" val="20002"/>
                    </a:ext>
                  </a:extLst>
                </a:gridCol>
                <a:gridCol w="1174750">
                  <a:extLst>
                    <a:ext uri="{9D8B030D-6E8A-4147-A177-3AD203B41FA5}">
                      <a16:colId xmlns:a16="http://schemas.microsoft.com/office/drawing/2014/main" val="20003"/>
                    </a:ext>
                  </a:extLst>
                </a:gridCol>
                <a:gridCol w="1175385">
                  <a:extLst>
                    <a:ext uri="{9D8B030D-6E8A-4147-A177-3AD203B41FA5}">
                      <a16:colId xmlns:a16="http://schemas.microsoft.com/office/drawing/2014/main" val="20004"/>
                    </a:ext>
                  </a:extLst>
                </a:gridCol>
                <a:gridCol w="1152524">
                  <a:extLst>
                    <a:ext uri="{9D8B030D-6E8A-4147-A177-3AD203B41FA5}">
                      <a16:colId xmlns:a16="http://schemas.microsoft.com/office/drawing/2014/main" val="20005"/>
                    </a:ext>
                  </a:extLst>
                </a:gridCol>
              </a:tblGrid>
              <a:tr h="894588">
                <a:tc>
                  <a:txBody>
                    <a:bodyPr/>
                    <a:lstStyle/>
                    <a:p>
                      <a:pPr marL="189230" marR="206375" algn="ctr">
                        <a:lnSpc>
                          <a:spcPct val="100000"/>
                        </a:lnSpc>
                        <a:spcBef>
                          <a:spcPts val="994"/>
                        </a:spcBef>
                      </a:pPr>
                      <a:r>
                        <a:rPr sz="1400" spc="-5">
                          <a:solidFill>
                            <a:srgbClr val="FFFFFF"/>
                          </a:solidFill>
                          <a:latin typeface="Verdana"/>
                          <a:cs typeface="Verdana"/>
                        </a:rPr>
                        <a:t>SAP</a:t>
                      </a:r>
                      <a:r>
                        <a:rPr sz="1400" spc="-85">
                          <a:solidFill>
                            <a:srgbClr val="FFFFFF"/>
                          </a:solidFill>
                          <a:latin typeface="Verdana"/>
                          <a:cs typeface="Verdana"/>
                        </a:rPr>
                        <a:t> </a:t>
                      </a:r>
                      <a:r>
                        <a:rPr sz="1400">
                          <a:solidFill>
                            <a:srgbClr val="FFFFFF"/>
                          </a:solidFill>
                          <a:latin typeface="Verdana"/>
                          <a:cs typeface="Verdana"/>
                        </a:rPr>
                        <a:t>and  Others  </a:t>
                      </a:r>
                      <a:r>
                        <a:rPr sz="1400" spc="-5">
                          <a:solidFill>
                            <a:srgbClr val="FFFFFF"/>
                          </a:solidFill>
                          <a:latin typeface="Verdana"/>
                          <a:cs typeface="Verdana"/>
                        </a:rPr>
                        <a:t>System</a:t>
                      </a:r>
                      <a:endParaRPr sz="1400">
                        <a:latin typeface="Verdana"/>
                        <a:cs typeface="Verdana"/>
                      </a:endParaRPr>
                    </a:p>
                  </a:txBody>
                  <a:tcPr marL="0" marR="0" marT="126364" marB="0">
                    <a:lnR w="53975">
                      <a:solidFill>
                        <a:srgbClr val="FFFFFF"/>
                      </a:solidFill>
                      <a:prstDash val="solid"/>
                    </a:lnR>
                    <a:solidFill>
                      <a:srgbClr val="12ABDB"/>
                    </a:solidFill>
                  </a:tcPr>
                </a:tc>
                <a:tc>
                  <a:txBody>
                    <a:bodyPr/>
                    <a:lstStyle/>
                    <a:p>
                      <a:pPr>
                        <a:lnSpc>
                          <a:spcPct val="100000"/>
                        </a:lnSpc>
                        <a:spcBef>
                          <a:spcPts val="55"/>
                        </a:spcBef>
                      </a:pPr>
                      <a:endParaRPr sz="1550">
                        <a:latin typeface="Times New Roman"/>
                        <a:cs typeface="Times New Roman"/>
                      </a:endParaRPr>
                    </a:p>
                    <a:p>
                      <a:pPr marL="213360">
                        <a:lnSpc>
                          <a:spcPct val="100000"/>
                        </a:lnSpc>
                      </a:pPr>
                      <a:r>
                        <a:rPr sz="1400">
                          <a:solidFill>
                            <a:srgbClr val="FFFFFF"/>
                          </a:solidFill>
                          <a:latin typeface="Verdana"/>
                          <a:cs typeface="Verdana"/>
                        </a:rPr>
                        <a:t>Demand</a:t>
                      </a:r>
                      <a:endParaRPr sz="1400">
                        <a:latin typeface="Verdana"/>
                        <a:cs typeface="Verdana"/>
                      </a:endParaRPr>
                    </a:p>
                    <a:p>
                      <a:pPr marL="205740">
                        <a:lnSpc>
                          <a:spcPct val="100000"/>
                        </a:lnSpc>
                      </a:pPr>
                      <a:r>
                        <a:rPr sz="1400">
                          <a:solidFill>
                            <a:srgbClr val="FFFFFF"/>
                          </a:solidFill>
                          <a:latin typeface="Verdana"/>
                          <a:cs typeface="Verdana"/>
                        </a:rPr>
                        <a:t>Planning</a:t>
                      </a:r>
                      <a:endParaRPr sz="1400">
                        <a:latin typeface="Verdana"/>
                        <a:cs typeface="Verdana"/>
                      </a:endParaRPr>
                    </a:p>
                  </a:txBody>
                  <a:tcPr marL="0" marR="0" marT="6985" marB="0">
                    <a:lnL w="53975">
                      <a:solidFill>
                        <a:srgbClr val="FFFFFF"/>
                      </a:solidFill>
                      <a:prstDash val="solid"/>
                    </a:lnL>
                    <a:lnR w="53975">
                      <a:solidFill>
                        <a:srgbClr val="FFFFFF"/>
                      </a:solidFill>
                      <a:prstDash val="solid"/>
                    </a:lnR>
                    <a:solidFill>
                      <a:srgbClr val="12ABDB"/>
                    </a:solidFill>
                  </a:tcPr>
                </a:tc>
                <a:tc>
                  <a:txBody>
                    <a:bodyPr/>
                    <a:lstStyle/>
                    <a:p>
                      <a:pPr>
                        <a:lnSpc>
                          <a:spcPct val="100000"/>
                        </a:lnSpc>
                        <a:spcBef>
                          <a:spcPts val="30"/>
                        </a:spcBef>
                      </a:pPr>
                      <a:endParaRPr sz="2300">
                        <a:latin typeface="Times New Roman"/>
                        <a:cs typeface="Times New Roman"/>
                      </a:endParaRPr>
                    </a:p>
                    <a:p>
                      <a:pPr algn="ctr">
                        <a:lnSpc>
                          <a:spcPct val="100000"/>
                        </a:lnSpc>
                      </a:pPr>
                      <a:r>
                        <a:rPr sz="1400" spc="-5">
                          <a:solidFill>
                            <a:srgbClr val="FFFFFF"/>
                          </a:solidFill>
                          <a:latin typeface="Verdana"/>
                          <a:cs typeface="Verdana"/>
                        </a:rPr>
                        <a:t>Jira</a:t>
                      </a:r>
                      <a:endParaRPr sz="1400">
                        <a:latin typeface="Verdana"/>
                        <a:cs typeface="Verdana"/>
                      </a:endParaRPr>
                    </a:p>
                  </a:txBody>
                  <a:tcPr marL="0" marR="0" marT="3810" marB="0">
                    <a:lnL w="53975">
                      <a:solidFill>
                        <a:srgbClr val="FFFFFF"/>
                      </a:solidFill>
                      <a:prstDash val="solid"/>
                    </a:lnL>
                    <a:lnR w="76200">
                      <a:solidFill>
                        <a:srgbClr val="FFFFFF"/>
                      </a:solidFill>
                      <a:prstDash val="solid"/>
                    </a:lnR>
                    <a:solidFill>
                      <a:srgbClr val="12ABDB"/>
                    </a:solidFill>
                  </a:tcPr>
                </a:tc>
                <a:tc>
                  <a:txBody>
                    <a:bodyPr/>
                    <a:lstStyle/>
                    <a:p>
                      <a:pPr>
                        <a:lnSpc>
                          <a:spcPct val="100000"/>
                        </a:lnSpc>
                        <a:spcBef>
                          <a:spcPts val="55"/>
                        </a:spcBef>
                      </a:pPr>
                      <a:endParaRPr sz="1550">
                        <a:latin typeface="Times New Roman"/>
                        <a:cs typeface="Times New Roman"/>
                      </a:endParaRPr>
                    </a:p>
                    <a:p>
                      <a:pPr marL="3175" algn="ctr">
                        <a:lnSpc>
                          <a:spcPct val="100000"/>
                        </a:lnSpc>
                      </a:pPr>
                      <a:r>
                        <a:rPr sz="1400">
                          <a:solidFill>
                            <a:srgbClr val="FFFFFF"/>
                          </a:solidFill>
                          <a:latin typeface="Verdana"/>
                          <a:cs typeface="Verdana"/>
                        </a:rPr>
                        <a:t>ECM</a:t>
                      </a:r>
                      <a:endParaRPr sz="1400">
                        <a:latin typeface="Verdana"/>
                        <a:cs typeface="Verdana"/>
                      </a:endParaRPr>
                    </a:p>
                    <a:p>
                      <a:pPr marL="4445" algn="ctr">
                        <a:lnSpc>
                          <a:spcPct val="100000"/>
                        </a:lnSpc>
                      </a:pPr>
                      <a:r>
                        <a:rPr sz="1400" spc="-30">
                          <a:solidFill>
                            <a:srgbClr val="FFFFFF"/>
                          </a:solidFill>
                          <a:latin typeface="Verdana"/>
                          <a:cs typeface="Verdana"/>
                        </a:rPr>
                        <a:t>Tools</a:t>
                      </a:r>
                      <a:endParaRPr sz="1400">
                        <a:latin typeface="Verdana"/>
                        <a:cs typeface="Verdana"/>
                      </a:endParaRPr>
                    </a:p>
                  </a:txBody>
                  <a:tcPr marL="0" marR="0" marT="6985" marB="0">
                    <a:lnL w="76200">
                      <a:solidFill>
                        <a:srgbClr val="FFFFFF"/>
                      </a:solidFill>
                      <a:prstDash val="solid"/>
                    </a:lnL>
                    <a:lnR w="53975">
                      <a:solidFill>
                        <a:srgbClr val="FFFFFF"/>
                      </a:solidFill>
                      <a:prstDash val="solid"/>
                    </a:lnR>
                    <a:solidFill>
                      <a:srgbClr val="12ABDB"/>
                    </a:solidFill>
                  </a:tcPr>
                </a:tc>
                <a:tc>
                  <a:txBody>
                    <a:bodyPr/>
                    <a:lstStyle/>
                    <a:p>
                      <a:pPr marL="203835" marR="198755" algn="ctr">
                        <a:lnSpc>
                          <a:spcPct val="100000"/>
                        </a:lnSpc>
                        <a:spcBef>
                          <a:spcPts val="994"/>
                        </a:spcBef>
                      </a:pPr>
                      <a:r>
                        <a:rPr sz="1400" spc="-5">
                          <a:solidFill>
                            <a:srgbClr val="FFFFFF"/>
                          </a:solidFill>
                          <a:latin typeface="Verdana"/>
                          <a:cs typeface="Verdana"/>
                        </a:rPr>
                        <a:t>R&amp;D  </a:t>
                      </a:r>
                      <a:r>
                        <a:rPr sz="1400">
                          <a:solidFill>
                            <a:srgbClr val="FFFFFF"/>
                          </a:solidFill>
                          <a:latin typeface="Verdana"/>
                          <a:cs typeface="Verdana"/>
                        </a:rPr>
                        <a:t>Budget  P</a:t>
                      </a:r>
                      <a:r>
                        <a:rPr sz="1400" spc="5">
                          <a:solidFill>
                            <a:srgbClr val="FFFFFF"/>
                          </a:solidFill>
                          <a:latin typeface="Verdana"/>
                          <a:cs typeface="Verdana"/>
                        </a:rPr>
                        <a:t>l</a:t>
                      </a:r>
                      <a:r>
                        <a:rPr sz="1400">
                          <a:solidFill>
                            <a:srgbClr val="FFFFFF"/>
                          </a:solidFill>
                          <a:latin typeface="Verdana"/>
                          <a:cs typeface="Verdana"/>
                        </a:rPr>
                        <a:t>a</a:t>
                      </a:r>
                      <a:r>
                        <a:rPr sz="1400" spc="-5">
                          <a:solidFill>
                            <a:srgbClr val="FFFFFF"/>
                          </a:solidFill>
                          <a:latin typeface="Verdana"/>
                          <a:cs typeface="Verdana"/>
                        </a:rPr>
                        <a:t>n</a:t>
                      </a:r>
                      <a:r>
                        <a:rPr sz="1400">
                          <a:solidFill>
                            <a:srgbClr val="FFFFFF"/>
                          </a:solidFill>
                          <a:latin typeface="Verdana"/>
                          <a:cs typeface="Verdana"/>
                        </a:rPr>
                        <a:t>n</a:t>
                      </a:r>
                      <a:r>
                        <a:rPr sz="1400" spc="10">
                          <a:solidFill>
                            <a:srgbClr val="FFFFFF"/>
                          </a:solidFill>
                          <a:latin typeface="Verdana"/>
                          <a:cs typeface="Verdana"/>
                        </a:rPr>
                        <a:t>i</a:t>
                      </a:r>
                      <a:r>
                        <a:rPr sz="1400">
                          <a:solidFill>
                            <a:srgbClr val="FFFFFF"/>
                          </a:solidFill>
                          <a:latin typeface="Verdana"/>
                          <a:cs typeface="Verdana"/>
                        </a:rPr>
                        <a:t>ng</a:t>
                      </a:r>
                      <a:endParaRPr sz="1400">
                        <a:latin typeface="Verdana"/>
                        <a:cs typeface="Verdana"/>
                      </a:endParaRPr>
                    </a:p>
                  </a:txBody>
                  <a:tcPr marL="0" marR="0" marT="126364" marB="0">
                    <a:lnL w="53975">
                      <a:solidFill>
                        <a:srgbClr val="FFFFFF"/>
                      </a:solidFill>
                      <a:prstDash val="solid"/>
                    </a:lnL>
                    <a:lnR w="76200">
                      <a:solidFill>
                        <a:srgbClr val="FFFFFF"/>
                      </a:solidFill>
                      <a:prstDash val="solid"/>
                    </a:lnR>
                    <a:solidFill>
                      <a:srgbClr val="12ABDB"/>
                    </a:solidFill>
                  </a:tcPr>
                </a:tc>
                <a:tc>
                  <a:txBody>
                    <a:bodyPr/>
                    <a:lstStyle/>
                    <a:p>
                      <a:pPr>
                        <a:lnSpc>
                          <a:spcPct val="100000"/>
                        </a:lnSpc>
                      </a:pPr>
                      <a:endParaRPr sz="1600">
                        <a:latin typeface="Times New Roman"/>
                        <a:cs typeface="Times New Roman"/>
                      </a:endParaRPr>
                    </a:p>
                    <a:p>
                      <a:pPr marL="412750">
                        <a:lnSpc>
                          <a:spcPct val="100000"/>
                        </a:lnSpc>
                      </a:pPr>
                      <a:r>
                        <a:rPr sz="1400">
                          <a:solidFill>
                            <a:srgbClr val="FFFFFF"/>
                          </a:solidFill>
                          <a:latin typeface="Verdana"/>
                          <a:cs typeface="Verdana"/>
                        </a:rPr>
                        <a:t>PLM</a:t>
                      </a:r>
                      <a:endParaRPr sz="1400">
                        <a:latin typeface="Verdana"/>
                        <a:cs typeface="Verdana"/>
                      </a:endParaRPr>
                    </a:p>
                    <a:p>
                      <a:pPr marL="414020">
                        <a:lnSpc>
                          <a:spcPct val="100000"/>
                        </a:lnSpc>
                      </a:pPr>
                      <a:r>
                        <a:rPr sz="1400" spc="-40">
                          <a:solidFill>
                            <a:srgbClr val="FFFFFF"/>
                          </a:solidFill>
                          <a:latin typeface="Verdana"/>
                          <a:cs typeface="Verdana"/>
                        </a:rPr>
                        <a:t>Tool</a:t>
                      </a:r>
                      <a:endParaRPr sz="1400">
                        <a:latin typeface="Verdana"/>
                        <a:cs typeface="Verdana"/>
                      </a:endParaRPr>
                    </a:p>
                  </a:txBody>
                  <a:tcPr marL="0" marR="0" marT="0" marB="0">
                    <a:lnL w="76200">
                      <a:solidFill>
                        <a:srgbClr val="FFFFFF"/>
                      </a:solidFill>
                      <a:prstDash val="solid"/>
                    </a:lnL>
                    <a:solidFill>
                      <a:srgbClr val="12ABDB"/>
                    </a:solidFill>
                  </a:tcPr>
                </a:tc>
                <a:extLst>
                  <a:ext uri="{0D108BD9-81ED-4DB2-BD59-A6C34878D82A}">
                    <a16:rowId xmlns:a16="http://schemas.microsoft.com/office/drawing/2014/main" val="10000"/>
                  </a:ext>
                </a:extLst>
              </a:tr>
            </a:tbl>
          </a:graphicData>
        </a:graphic>
      </p:graphicFrame>
      <p:sp>
        <p:nvSpPr>
          <p:cNvPr id="36" name="object 36"/>
          <p:cNvSpPr/>
          <p:nvPr/>
        </p:nvSpPr>
        <p:spPr>
          <a:xfrm>
            <a:off x="9147047" y="5526785"/>
            <a:ext cx="1748155" cy="816610"/>
          </a:xfrm>
          <a:custGeom>
            <a:avLst/>
            <a:gdLst/>
            <a:ahLst/>
            <a:cxnLst/>
            <a:rect l="l" t="t" r="r" b="b"/>
            <a:pathLst>
              <a:path w="1748154" h="816610">
                <a:moveTo>
                  <a:pt x="0" y="0"/>
                </a:moveTo>
                <a:lnTo>
                  <a:pt x="0" y="699515"/>
                </a:lnTo>
                <a:lnTo>
                  <a:pt x="3207" y="709575"/>
                </a:lnTo>
                <a:lnTo>
                  <a:pt x="49229" y="738188"/>
                </a:lnTo>
                <a:lnTo>
                  <a:pt x="107618" y="755608"/>
                </a:lnTo>
                <a:lnTo>
                  <a:pt x="185725" y="771378"/>
                </a:lnTo>
                <a:lnTo>
                  <a:pt x="231518" y="778557"/>
                </a:lnTo>
                <a:lnTo>
                  <a:pt x="281453" y="785218"/>
                </a:lnTo>
                <a:lnTo>
                  <a:pt x="335269" y="791326"/>
                </a:lnTo>
                <a:lnTo>
                  <a:pt x="392702" y="796847"/>
                </a:lnTo>
                <a:lnTo>
                  <a:pt x="453492" y="801746"/>
                </a:lnTo>
                <a:lnTo>
                  <a:pt x="517375" y="805986"/>
                </a:lnTo>
                <a:lnTo>
                  <a:pt x="584089" y="809534"/>
                </a:lnTo>
                <a:lnTo>
                  <a:pt x="653373" y="812355"/>
                </a:lnTo>
                <a:lnTo>
                  <a:pt x="724963" y="814413"/>
                </a:lnTo>
                <a:lnTo>
                  <a:pt x="798597" y="815674"/>
                </a:lnTo>
                <a:lnTo>
                  <a:pt x="874013" y="816101"/>
                </a:lnTo>
                <a:lnTo>
                  <a:pt x="949430" y="815674"/>
                </a:lnTo>
                <a:lnTo>
                  <a:pt x="1023064" y="814413"/>
                </a:lnTo>
                <a:lnTo>
                  <a:pt x="1094654" y="812355"/>
                </a:lnTo>
                <a:lnTo>
                  <a:pt x="1163938" y="809534"/>
                </a:lnTo>
                <a:lnTo>
                  <a:pt x="1230652" y="805986"/>
                </a:lnTo>
                <a:lnTo>
                  <a:pt x="1294535" y="801746"/>
                </a:lnTo>
                <a:lnTo>
                  <a:pt x="1355325" y="796847"/>
                </a:lnTo>
                <a:lnTo>
                  <a:pt x="1412758" y="791326"/>
                </a:lnTo>
                <a:lnTo>
                  <a:pt x="1466574" y="785218"/>
                </a:lnTo>
                <a:lnTo>
                  <a:pt x="1516509" y="778557"/>
                </a:lnTo>
                <a:lnTo>
                  <a:pt x="1562302" y="771378"/>
                </a:lnTo>
                <a:lnTo>
                  <a:pt x="1603689" y="763717"/>
                </a:lnTo>
                <a:lnTo>
                  <a:pt x="1672200" y="747087"/>
                </a:lnTo>
                <a:lnTo>
                  <a:pt x="1719943" y="728946"/>
                </a:lnTo>
                <a:lnTo>
                  <a:pt x="1748027" y="699515"/>
                </a:lnTo>
                <a:lnTo>
                  <a:pt x="1748027" y="116585"/>
                </a:lnTo>
                <a:lnTo>
                  <a:pt x="874013" y="116585"/>
                </a:lnTo>
                <a:lnTo>
                  <a:pt x="798597" y="116158"/>
                </a:lnTo>
                <a:lnTo>
                  <a:pt x="724963" y="114897"/>
                </a:lnTo>
                <a:lnTo>
                  <a:pt x="653373" y="112839"/>
                </a:lnTo>
                <a:lnTo>
                  <a:pt x="584089" y="110018"/>
                </a:lnTo>
                <a:lnTo>
                  <a:pt x="517375" y="106470"/>
                </a:lnTo>
                <a:lnTo>
                  <a:pt x="453492" y="102230"/>
                </a:lnTo>
                <a:lnTo>
                  <a:pt x="392702" y="97331"/>
                </a:lnTo>
                <a:lnTo>
                  <a:pt x="335269" y="91810"/>
                </a:lnTo>
                <a:lnTo>
                  <a:pt x="281453" y="85702"/>
                </a:lnTo>
                <a:lnTo>
                  <a:pt x="231518" y="79041"/>
                </a:lnTo>
                <a:lnTo>
                  <a:pt x="185725" y="71862"/>
                </a:lnTo>
                <a:lnTo>
                  <a:pt x="144338" y="64201"/>
                </a:lnTo>
                <a:lnTo>
                  <a:pt x="75827" y="47571"/>
                </a:lnTo>
                <a:lnTo>
                  <a:pt x="28084" y="29430"/>
                </a:lnTo>
                <a:lnTo>
                  <a:pt x="3207" y="10059"/>
                </a:lnTo>
                <a:lnTo>
                  <a:pt x="0" y="0"/>
                </a:lnTo>
                <a:close/>
              </a:path>
              <a:path w="1748154" h="816610">
                <a:moveTo>
                  <a:pt x="1748027" y="0"/>
                </a:moveTo>
                <a:lnTo>
                  <a:pt x="1719943" y="29430"/>
                </a:lnTo>
                <a:lnTo>
                  <a:pt x="1672200" y="47571"/>
                </a:lnTo>
                <a:lnTo>
                  <a:pt x="1603689" y="64201"/>
                </a:lnTo>
                <a:lnTo>
                  <a:pt x="1562302" y="71862"/>
                </a:lnTo>
                <a:lnTo>
                  <a:pt x="1516509" y="79041"/>
                </a:lnTo>
                <a:lnTo>
                  <a:pt x="1466574" y="85702"/>
                </a:lnTo>
                <a:lnTo>
                  <a:pt x="1412758" y="91810"/>
                </a:lnTo>
                <a:lnTo>
                  <a:pt x="1355325" y="97331"/>
                </a:lnTo>
                <a:lnTo>
                  <a:pt x="1294535" y="102230"/>
                </a:lnTo>
                <a:lnTo>
                  <a:pt x="1230652" y="106470"/>
                </a:lnTo>
                <a:lnTo>
                  <a:pt x="1163938" y="110018"/>
                </a:lnTo>
                <a:lnTo>
                  <a:pt x="1094654" y="112839"/>
                </a:lnTo>
                <a:lnTo>
                  <a:pt x="1023064" y="114897"/>
                </a:lnTo>
                <a:lnTo>
                  <a:pt x="949430" y="116158"/>
                </a:lnTo>
                <a:lnTo>
                  <a:pt x="874013" y="116585"/>
                </a:lnTo>
                <a:lnTo>
                  <a:pt x="1748027" y="116585"/>
                </a:lnTo>
                <a:lnTo>
                  <a:pt x="1748027" y="0"/>
                </a:lnTo>
                <a:close/>
              </a:path>
            </a:pathLst>
          </a:custGeom>
          <a:solidFill>
            <a:srgbClr val="12ABDB"/>
          </a:solidFill>
        </p:spPr>
        <p:txBody>
          <a:bodyPr wrap="square" lIns="0" tIns="0" rIns="0" bIns="0" rtlCol="0"/>
          <a:lstStyle/>
          <a:p>
            <a:endParaRPr/>
          </a:p>
        </p:txBody>
      </p:sp>
      <p:sp>
        <p:nvSpPr>
          <p:cNvPr id="37" name="object 37"/>
          <p:cNvSpPr/>
          <p:nvPr/>
        </p:nvSpPr>
        <p:spPr>
          <a:xfrm>
            <a:off x="9147047" y="5410200"/>
            <a:ext cx="1748155" cy="233679"/>
          </a:xfrm>
          <a:custGeom>
            <a:avLst/>
            <a:gdLst/>
            <a:ahLst/>
            <a:cxnLst/>
            <a:rect l="l" t="t" r="r" b="b"/>
            <a:pathLst>
              <a:path w="1748154" h="233679">
                <a:moveTo>
                  <a:pt x="874013" y="0"/>
                </a:moveTo>
                <a:lnTo>
                  <a:pt x="798597" y="427"/>
                </a:lnTo>
                <a:lnTo>
                  <a:pt x="724963" y="1688"/>
                </a:lnTo>
                <a:lnTo>
                  <a:pt x="653373" y="3746"/>
                </a:lnTo>
                <a:lnTo>
                  <a:pt x="584089" y="6567"/>
                </a:lnTo>
                <a:lnTo>
                  <a:pt x="517375" y="10115"/>
                </a:lnTo>
                <a:lnTo>
                  <a:pt x="453492" y="14355"/>
                </a:lnTo>
                <a:lnTo>
                  <a:pt x="392702" y="19254"/>
                </a:lnTo>
                <a:lnTo>
                  <a:pt x="335269" y="24775"/>
                </a:lnTo>
                <a:lnTo>
                  <a:pt x="281453" y="30883"/>
                </a:lnTo>
                <a:lnTo>
                  <a:pt x="231518" y="37544"/>
                </a:lnTo>
                <a:lnTo>
                  <a:pt x="185725" y="44723"/>
                </a:lnTo>
                <a:lnTo>
                  <a:pt x="144338" y="52384"/>
                </a:lnTo>
                <a:lnTo>
                  <a:pt x="75827" y="69014"/>
                </a:lnTo>
                <a:lnTo>
                  <a:pt x="28084" y="87155"/>
                </a:lnTo>
                <a:lnTo>
                  <a:pt x="0" y="116586"/>
                </a:lnTo>
                <a:lnTo>
                  <a:pt x="3207" y="126645"/>
                </a:lnTo>
                <a:lnTo>
                  <a:pt x="49229" y="155258"/>
                </a:lnTo>
                <a:lnTo>
                  <a:pt x="107618" y="172678"/>
                </a:lnTo>
                <a:lnTo>
                  <a:pt x="185725" y="188448"/>
                </a:lnTo>
                <a:lnTo>
                  <a:pt x="231518" y="195627"/>
                </a:lnTo>
                <a:lnTo>
                  <a:pt x="281453" y="202288"/>
                </a:lnTo>
                <a:lnTo>
                  <a:pt x="335269" y="208396"/>
                </a:lnTo>
                <a:lnTo>
                  <a:pt x="392702" y="213917"/>
                </a:lnTo>
                <a:lnTo>
                  <a:pt x="453492" y="218816"/>
                </a:lnTo>
                <a:lnTo>
                  <a:pt x="517375" y="223056"/>
                </a:lnTo>
                <a:lnTo>
                  <a:pt x="584089" y="226604"/>
                </a:lnTo>
                <a:lnTo>
                  <a:pt x="653373" y="229425"/>
                </a:lnTo>
                <a:lnTo>
                  <a:pt x="724963" y="231483"/>
                </a:lnTo>
                <a:lnTo>
                  <a:pt x="798597" y="232744"/>
                </a:lnTo>
                <a:lnTo>
                  <a:pt x="874013" y="233172"/>
                </a:lnTo>
                <a:lnTo>
                  <a:pt x="949430" y="232744"/>
                </a:lnTo>
                <a:lnTo>
                  <a:pt x="1023064" y="231483"/>
                </a:lnTo>
                <a:lnTo>
                  <a:pt x="1094654" y="229425"/>
                </a:lnTo>
                <a:lnTo>
                  <a:pt x="1163938" y="226604"/>
                </a:lnTo>
                <a:lnTo>
                  <a:pt x="1230652" y="223056"/>
                </a:lnTo>
                <a:lnTo>
                  <a:pt x="1294535" y="218816"/>
                </a:lnTo>
                <a:lnTo>
                  <a:pt x="1355325" y="213917"/>
                </a:lnTo>
                <a:lnTo>
                  <a:pt x="1412758" y="208396"/>
                </a:lnTo>
                <a:lnTo>
                  <a:pt x="1466574" y="202288"/>
                </a:lnTo>
                <a:lnTo>
                  <a:pt x="1516509" y="195627"/>
                </a:lnTo>
                <a:lnTo>
                  <a:pt x="1562302" y="188448"/>
                </a:lnTo>
                <a:lnTo>
                  <a:pt x="1603689" y="180787"/>
                </a:lnTo>
                <a:lnTo>
                  <a:pt x="1672200" y="164157"/>
                </a:lnTo>
                <a:lnTo>
                  <a:pt x="1719943" y="146016"/>
                </a:lnTo>
                <a:lnTo>
                  <a:pt x="1748027" y="116586"/>
                </a:lnTo>
                <a:lnTo>
                  <a:pt x="1744820" y="106526"/>
                </a:lnTo>
                <a:lnTo>
                  <a:pt x="1698798" y="77913"/>
                </a:lnTo>
                <a:lnTo>
                  <a:pt x="1640409" y="60493"/>
                </a:lnTo>
                <a:lnTo>
                  <a:pt x="1562302" y="44723"/>
                </a:lnTo>
                <a:lnTo>
                  <a:pt x="1516509" y="37544"/>
                </a:lnTo>
                <a:lnTo>
                  <a:pt x="1466574" y="30883"/>
                </a:lnTo>
                <a:lnTo>
                  <a:pt x="1412758" y="24775"/>
                </a:lnTo>
                <a:lnTo>
                  <a:pt x="1355325" y="19254"/>
                </a:lnTo>
                <a:lnTo>
                  <a:pt x="1294535" y="14355"/>
                </a:lnTo>
                <a:lnTo>
                  <a:pt x="1230652" y="10115"/>
                </a:lnTo>
                <a:lnTo>
                  <a:pt x="1163938" y="6567"/>
                </a:lnTo>
                <a:lnTo>
                  <a:pt x="1094654" y="3746"/>
                </a:lnTo>
                <a:lnTo>
                  <a:pt x="1023064" y="1688"/>
                </a:lnTo>
                <a:lnTo>
                  <a:pt x="949430" y="427"/>
                </a:lnTo>
                <a:lnTo>
                  <a:pt x="874013" y="0"/>
                </a:lnTo>
                <a:close/>
              </a:path>
            </a:pathLst>
          </a:custGeom>
          <a:solidFill>
            <a:srgbClr val="70CDE9"/>
          </a:solidFill>
        </p:spPr>
        <p:txBody>
          <a:bodyPr wrap="square" lIns="0" tIns="0" rIns="0" bIns="0" rtlCol="0"/>
          <a:lstStyle/>
          <a:p>
            <a:endParaRPr/>
          </a:p>
        </p:txBody>
      </p:sp>
      <p:sp>
        <p:nvSpPr>
          <p:cNvPr id="38" name="object 38"/>
          <p:cNvSpPr/>
          <p:nvPr/>
        </p:nvSpPr>
        <p:spPr>
          <a:xfrm>
            <a:off x="9147047" y="5410200"/>
            <a:ext cx="1748155" cy="233679"/>
          </a:xfrm>
          <a:custGeom>
            <a:avLst/>
            <a:gdLst/>
            <a:ahLst/>
            <a:cxnLst/>
            <a:rect l="l" t="t" r="r" b="b"/>
            <a:pathLst>
              <a:path w="1748154" h="233679">
                <a:moveTo>
                  <a:pt x="1748027" y="116586"/>
                </a:moveTo>
                <a:lnTo>
                  <a:pt x="1719943" y="146016"/>
                </a:lnTo>
                <a:lnTo>
                  <a:pt x="1672200" y="164157"/>
                </a:lnTo>
                <a:lnTo>
                  <a:pt x="1603689" y="180787"/>
                </a:lnTo>
                <a:lnTo>
                  <a:pt x="1562302" y="188448"/>
                </a:lnTo>
                <a:lnTo>
                  <a:pt x="1516509" y="195627"/>
                </a:lnTo>
                <a:lnTo>
                  <a:pt x="1466574" y="202288"/>
                </a:lnTo>
                <a:lnTo>
                  <a:pt x="1412758" y="208396"/>
                </a:lnTo>
                <a:lnTo>
                  <a:pt x="1355325" y="213917"/>
                </a:lnTo>
                <a:lnTo>
                  <a:pt x="1294535" y="218816"/>
                </a:lnTo>
                <a:lnTo>
                  <a:pt x="1230652" y="223056"/>
                </a:lnTo>
                <a:lnTo>
                  <a:pt x="1163938" y="226604"/>
                </a:lnTo>
                <a:lnTo>
                  <a:pt x="1094654" y="229425"/>
                </a:lnTo>
                <a:lnTo>
                  <a:pt x="1023064" y="231483"/>
                </a:lnTo>
                <a:lnTo>
                  <a:pt x="949430" y="232744"/>
                </a:lnTo>
                <a:lnTo>
                  <a:pt x="874013" y="233172"/>
                </a:lnTo>
                <a:lnTo>
                  <a:pt x="798597" y="232744"/>
                </a:lnTo>
                <a:lnTo>
                  <a:pt x="724963" y="231483"/>
                </a:lnTo>
                <a:lnTo>
                  <a:pt x="653373" y="229425"/>
                </a:lnTo>
                <a:lnTo>
                  <a:pt x="584089" y="226604"/>
                </a:lnTo>
                <a:lnTo>
                  <a:pt x="517375" y="223056"/>
                </a:lnTo>
                <a:lnTo>
                  <a:pt x="453492" y="218816"/>
                </a:lnTo>
                <a:lnTo>
                  <a:pt x="392702" y="213917"/>
                </a:lnTo>
                <a:lnTo>
                  <a:pt x="335269" y="208396"/>
                </a:lnTo>
                <a:lnTo>
                  <a:pt x="281453" y="202288"/>
                </a:lnTo>
                <a:lnTo>
                  <a:pt x="231518" y="195627"/>
                </a:lnTo>
                <a:lnTo>
                  <a:pt x="185725" y="188448"/>
                </a:lnTo>
                <a:lnTo>
                  <a:pt x="144338" y="180787"/>
                </a:lnTo>
                <a:lnTo>
                  <a:pt x="75827" y="164157"/>
                </a:lnTo>
                <a:lnTo>
                  <a:pt x="28084" y="146016"/>
                </a:lnTo>
                <a:lnTo>
                  <a:pt x="0" y="116586"/>
                </a:lnTo>
                <a:lnTo>
                  <a:pt x="3207" y="106526"/>
                </a:lnTo>
                <a:lnTo>
                  <a:pt x="49229" y="77913"/>
                </a:lnTo>
                <a:lnTo>
                  <a:pt x="107618" y="60493"/>
                </a:lnTo>
                <a:lnTo>
                  <a:pt x="185725" y="44723"/>
                </a:lnTo>
                <a:lnTo>
                  <a:pt x="231518" y="37544"/>
                </a:lnTo>
                <a:lnTo>
                  <a:pt x="281453" y="30883"/>
                </a:lnTo>
                <a:lnTo>
                  <a:pt x="335269" y="24775"/>
                </a:lnTo>
                <a:lnTo>
                  <a:pt x="392702" y="19254"/>
                </a:lnTo>
                <a:lnTo>
                  <a:pt x="453492" y="14355"/>
                </a:lnTo>
                <a:lnTo>
                  <a:pt x="517375" y="10115"/>
                </a:lnTo>
                <a:lnTo>
                  <a:pt x="584089" y="6567"/>
                </a:lnTo>
                <a:lnTo>
                  <a:pt x="653373" y="3746"/>
                </a:lnTo>
                <a:lnTo>
                  <a:pt x="724963" y="1688"/>
                </a:lnTo>
                <a:lnTo>
                  <a:pt x="798597" y="427"/>
                </a:lnTo>
                <a:lnTo>
                  <a:pt x="874013" y="0"/>
                </a:lnTo>
                <a:lnTo>
                  <a:pt x="949430" y="427"/>
                </a:lnTo>
                <a:lnTo>
                  <a:pt x="1023064" y="1688"/>
                </a:lnTo>
                <a:lnTo>
                  <a:pt x="1094654" y="3746"/>
                </a:lnTo>
                <a:lnTo>
                  <a:pt x="1163938" y="6567"/>
                </a:lnTo>
                <a:lnTo>
                  <a:pt x="1230652" y="10115"/>
                </a:lnTo>
                <a:lnTo>
                  <a:pt x="1294535" y="14355"/>
                </a:lnTo>
                <a:lnTo>
                  <a:pt x="1355325" y="19254"/>
                </a:lnTo>
                <a:lnTo>
                  <a:pt x="1412758" y="24775"/>
                </a:lnTo>
                <a:lnTo>
                  <a:pt x="1466574" y="30883"/>
                </a:lnTo>
                <a:lnTo>
                  <a:pt x="1516509" y="37544"/>
                </a:lnTo>
                <a:lnTo>
                  <a:pt x="1562302" y="44723"/>
                </a:lnTo>
                <a:lnTo>
                  <a:pt x="1603689" y="52384"/>
                </a:lnTo>
                <a:lnTo>
                  <a:pt x="1672200" y="69014"/>
                </a:lnTo>
                <a:lnTo>
                  <a:pt x="1719943" y="87155"/>
                </a:lnTo>
                <a:lnTo>
                  <a:pt x="1748027" y="116586"/>
                </a:lnTo>
                <a:close/>
              </a:path>
            </a:pathLst>
          </a:custGeom>
          <a:ln w="12192">
            <a:solidFill>
              <a:srgbClr val="12ABDB"/>
            </a:solidFill>
          </a:ln>
        </p:spPr>
        <p:txBody>
          <a:bodyPr wrap="square" lIns="0" tIns="0" rIns="0" bIns="0" rtlCol="0"/>
          <a:lstStyle/>
          <a:p>
            <a:endParaRPr/>
          </a:p>
        </p:txBody>
      </p:sp>
      <p:sp>
        <p:nvSpPr>
          <p:cNvPr id="39" name="object 39"/>
          <p:cNvSpPr/>
          <p:nvPr/>
        </p:nvSpPr>
        <p:spPr>
          <a:xfrm>
            <a:off x="9147047" y="5526785"/>
            <a:ext cx="1748155" cy="816610"/>
          </a:xfrm>
          <a:custGeom>
            <a:avLst/>
            <a:gdLst/>
            <a:ahLst/>
            <a:cxnLst/>
            <a:rect l="l" t="t" r="r" b="b"/>
            <a:pathLst>
              <a:path w="1748154" h="816610">
                <a:moveTo>
                  <a:pt x="1748027" y="0"/>
                </a:moveTo>
                <a:lnTo>
                  <a:pt x="1748027" y="699515"/>
                </a:lnTo>
                <a:lnTo>
                  <a:pt x="1744820" y="709575"/>
                </a:lnTo>
                <a:lnTo>
                  <a:pt x="1698798" y="738188"/>
                </a:lnTo>
                <a:lnTo>
                  <a:pt x="1640409" y="755608"/>
                </a:lnTo>
                <a:lnTo>
                  <a:pt x="1562302" y="771378"/>
                </a:lnTo>
                <a:lnTo>
                  <a:pt x="1516509" y="778557"/>
                </a:lnTo>
                <a:lnTo>
                  <a:pt x="1466574" y="785218"/>
                </a:lnTo>
                <a:lnTo>
                  <a:pt x="1412758" y="791326"/>
                </a:lnTo>
                <a:lnTo>
                  <a:pt x="1355325" y="796847"/>
                </a:lnTo>
                <a:lnTo>
                  <a:pt x="1294535" y="801746"/>
                </a:lnTo>
                <a:lnTo>
                  <a:pt x="1230652" y="805986"/>
                </a:lnTo>
                <a:lnTo>
                  <a:pt x="1163938" y="809534"/>
                </a:lnTo>
                <a:lnTo>
                  <a:pt x="1094654" y="812355"/>
                </a:lnTo>
                <a:lnTo>
                  <a:pt x="1023064" y="814413"/>
                </a:lnTo>
                <a:lnTo>
                  <a:pt x="949430" y="815674"/>
                </a:lnTo>
                <a:lnTo>
                  <a:pt x="874013" y="816101"/>
                </a:lnTo>
                <a:lnTo>
                  <a:pt x="798597" y="815674"/>
                </a:lnTo>
                <a:lnTo>
                  <a:pt x="724963" y="814413"/>
                </a:lnTo>
                <a:lnTo>
                  <a:pt x="653373" y="812355"/>
                </a:lnTo>
                <a:lnTo>
                  <a:pt x="584089" y="809534"/>
                </a:lnTo>
                <a:lnTo>
                  <a:pt x="517375" y="805986"/>
                </a:lnTo>
                <a:lnTo>
                  <a:pt x="453492" y="801746"/>
                </a:lnTo>
                <a:lnTo>
                  <a:pt x="392702" y="796847"/>
                </a:lnTo>
                <a:lnTo>
                  <a:pt x="335269" y="791326"/>
                </a:lnTo>
                <a:lnTo>
                  <a:pt x="281453" y="785218"/>
                </a:lnTo>
                <a:lnTo>
                  <a:pt x="231518" y="778557"/>
                </a:lnTo>
                <a:lnTo>
                  <a:pt x="185725" y="771378"/>
                </a:lnTo>
                <a:lnTo>
                  <a:pt x="144338" y="763717"/>
                </a:lnTo>
                <a:lnTo>
                  <a:pt x="75827" y="747087"/>
                </a:lnTo>
                <a:lnTo>
                  <a:pt x="28084" y="728946"/>
                </a:lnTo>
                <a:lnTo>
                  <a:pt x="0" y="699515"/>
                </a:lnTo>
                <a:lnTo>
                  <a:pt x="0" y="0"/>
                </a:lnTo>
              </a:path>
            </a:pathLst>
          </a:custGeom>
          <a:ln w="12192">
            <a:solidFill>
              <a:srgbClr val="12ABDB"/>
            </a:solidFill>
          </a:ln>
        </p:spPr>
        <p:txBody>
          <a:bodyPr wrap="square" lIns="0" tIns="0" rIns="0" bIns="0" rtlCol="0"/>
          <a:lstStyle/>
          <a:p>
            <a:endParaRPr/>
          </a:p>
        </p:txBody>
      </p:sp>
      <p:sp>
        <p:nvSpPr>
          <p:cNvPr id="40" name="object 40"/>
          <p:cNvSpPr txBox="1"/>
          <p:nvPr/>
        </p:nvSpPr>
        <p:spPr>
          <a:xfrm>
            <a:off x="9315450" y="5708700"/>
            <a:ext cx="1411605" cy="452755"/>
          </a:xfrm>
          <a:prstGeom prst="rect">
            <a:avLst/>
          </a:prstGeom>
        </p:spPr>
        <p:txBody>
          <a:bodyPr vert="horz" wrap="square" lIns="0" tIns="12700" rIns="0" bIns="0" rtlCol="0">
            <a:spAutoFit/>
          </a:bodyPr>
          <a:lstStyle/>
          <a:p>
            <a:pPr marL="287020" marR="5080" indent="-274320">
              <a:lnSpc>
                <a:spcPct val="100000"/>
              </a:lnSpc>
              <a:spcBef>
                <a:spcPts val="100"/>
              </a:spcBef>
            </a:pPr>
            <a:r>
              <a:rPr sz="1400">
                <a:solidFill>
                  <a:srgbClr val="FFFFFF"/>
                </a:solidFill>
                <a:latin typeface="Verdana"/>
                <a:cs typeface="Verdana"/>
              </a:rPr>
              <a:t>Marelli</a:t>
            </a:r>
            <a:r>
              <a:rPr sz="1400" spc="-90">
                <a:solidFill>
                  <a:srgbClr val="FFFFFF"/>
                </a:solidFill>
                <a:latin typeface="Verdana"/>
                <a:cs typeface="Verdana"/>
              </a:rPr>
              <a:t> </a:t>
            </a:r>
            <a:r>
              <a:rPr sz="1400" spc="-5">
                <a:solidFill>
                  <a:srgbClr val="FFFFFF"/>
                </a:solidFill>
                <a:latin typeface="Verdana"/>
                <a:cs typeface="Verdana"/>
              </a:rPr>
              <a:t>External  Database</a:t>
            </a:r>
            <a:endParaRPr sz="1400">
              <a:latin typeface="Verdana"/>
              <a:cs typeface="Verdana"/>
            </a:endParaRPr>
          </a:p>
        </p:txBody>
      </p:sp>
      <p:sp>
        <p:nvSpPr>
          <p:cNvPr id="41" name="object 41"/>
          <p:cNvSpPr/>
          <p:nvPr/>
        </p:nvSpPr>
        <p:spPr>
          <a:xfrm>
            <a:off x="1680972" y="4434840"/>
            <a:ext cx="527685" cy="832485"/>
          </a:xfrm>
          <a:custGeom>
            <a:avLst/>
            <a:gdLst/>
            <a:ahLst/>
            <a:cxnLst/>
            <a:rect l="l" t="t" r="r" b="b"/>
            <a:pathLst>
              <a:path w="527685" h="832485">
                <a:moveTo>
                  <a:pt x="527303" y="695960"/>
                </a:moveTo>
                <a:lnTo>
                  <a:pt x="0" y="695960"/>
                </a:lnTo>
                <a:lnTo>
                  <a:pt x="263651" y="832104"/>
                </a:lnTo>
                <a:lnTo>
                  <a:pt x="527303" y="695960"/>
                </a:lnTo>
                <a:close/>
              </a:path>
              <a:path w="527685" h="832485">
                <a:moveTo>
                  <a:pt x="395477" y="136144"/>
                </a:moveTo>
                <a:lnTo>
                  <a:pt x="131825" y="136144"/>
                </a:lnTo>
                <a:lnTo>
                  <a:pt x="131825" y="695960"/>
                </a:lnTo>
                <a:lnTo>
                  <a:pt x="395477" y="695960"/>
                </a:lnTo>
                <a:lnTo>
                  <a:pt x="395477" y="136144"/>
                </a:lnTo>
                <a:close/>
              </a:path>
              <a:path w="527685" h="832485">
                <a:moveTo>
                  <a:pt x="263651" y="0"/>
                </a:moveTo>
                <a:lnTo>
                  <a:pt x="0" y="136144"/>
                </a:lnTo>
                <a:lnTo>
                  <a:pt x="527303" y="136144"/>
                </a:lnTo>
                <a:lnTo>
                  <a:pt x="263651" y="0"/>
                </a:lnTo>
                <a:close/>
              </a:path>
            </a:pathLst>
          </a:custGeom>
          <a:solidFill>
            <a:srgbClr val="006FAC"/>
          </a:solidFill>
        </p:spPr>
        <p:txBody>
          <a:bodyPr wrap="square" lIns="0" tIns="0" rIns="0" bIns="0" rtlCol="0"/>
          <a:lstStyle/>
          <a:p>
            <a:endParaRPr/>
          </a:p>
        </p:txBody>
      </p:sp>
      <p:sp>
        <p:nvSpPr>
          <p:cNvPr id="42" name="object 42"/>
          <p:cNvSpPr/>
          <p:nvPr/>
        </p:nvSpPr>
        <p:spPr>
          <a:xfrm>
            <a:off x="1680972" y="4434840"/>
            <a:ext cx="527685" cy="832485"/>
          </a:xfrm>
          <a:custGeom>
            <a:avLst/>
            <a:gdLst/>
            <a:ahLst/>
            <a:cxnLst/>
            <a:rect l="l" t="t" r="r" b="b"/>
            <a:pathLst>
              <a:path w="527685" h="832485">
                <a:moveTo>
                  <a:pt x="0" y="136144"/>
                </a:moveTo>
                <a:lnTo>
                  <a:pt x="263651" y="0"/>
                </a:lnTo>
                <a:lnTo>
                  <a:pt x="527303" y="136144"/>
                </a:lnTo>
                <a:lnTo>
                  <a:pt x="395477" y="136144"/>
                </a:lnTo>
                <a:lnTo>
                  <a:pt x="395477" y="695960"/>
                </a:lnTo>
                <a:lnTo>
                  <a:pt x="527303" y="695960"/>
                </a:lnTo>
                <a:lnTo>
                  <a:pt x="263651" y="832104"/>
                </a:lnTo>
                <a:lnTo>
                  <a:pt x="0" y="695960"/>
                </a:lnTo>
                <a:lnTo>
                  <a:pt x="131825" y="695960"/>
                </a:lnTo>
                <a:lnTo>
                  <a:pt x="131825" y="136144"/>
                </a:lnTo>
                <a:lnTo>
                  <a:pt x="0" y="136144"/>
                </a:lnTo>
                <a:close/>
              </a:path>
            </a:pathLst>
          </a:custGeom>
          <a:ln w="12191">
            <a:solidFill>
              <a:srgbClr val="00507D"/>
            </a:solidFill>
          </a:ln>
        </p:spPr>
        <p:txBody>
          <a:bodyPr wrap="square" lIns="0" tIns="0" rIns="0" bIns="0" rtlCol="0"/>
          <a:lstStyle/>
          <a:p>
            <a:endParaRPr/>
          </a:p>
        </p:txBody>
      </p:sp>
      <p:sp>
        <p:nvSpPr>
          <p:cNvPr id="43" name="object 43"/>
          <p:cNvSpPr/>
          <p:nvPr/>
        </p:nvSpPr>
        <p:spPr>
          <a:xfrm>
            <a:off x="5573267" y="4434840"/>
            <a:ext cx="528955" cy="832485"/>
          </a:xfrm>
          <a:custGeom>
            <a:avLst/>
            <a:gdLst/>
            <a:ahLst/>
            <a:cxnLst/>
            <a:rect l="l" t="t" r="r" b="b"/>
            <a:pathLst>
              <a:path w="528954" h="832485">
                <a:moveTo>
                  <a:pt x="528828" y="695579"/>
                </a:moveTo>
                <a:lnTo>
                  <a:pt x="0" y="695579"/>
                </a:lnTo>
                <a:lnTo>
                  <a:pt x="264414" y="832104"/>
                </a:lnTo>
                <a:lnTo>
                  <a:pt x="528828" y="695579"/>
                </a:lnTo>
                <a:close/>
              </a:path>
              <a:path w="528954" h="832485">
                <a:moveTo>
                  <a:pt x="396621" y="136525"/>
                </a:moveTo>
                <a:lnTo>
                  <a:pt x="132207" y="136525"/>
                </a:lnTo>
                <a:lnTo>
                  <a:pt x="132207" y="695579"/>
                </a:lnTo>
                <a:lnTo>
                  <a:pt x="396621" y="695579"/>
                </a:lnTo>
                <a:lnTo>
                  <a:pt x="396621" y="136525"/>
                </a:lnTo>
                <a:close/>
              </a:path>
              <a:path w="528954" h="832485">
                <a:moveTo>
                  <a:pt x="264414" y="0"/>
                </a:moveTo>
                <a:lnTo>
                  <a:pt x="0" y="136525"/>
                </a:lnTo>
                <a:lnTo>
                  <a:pt x="528828" y="136525"/>
                </a:lnTo>
                <a:lnTo>
                  <a:pt x="264414" y="0"/>
                </a:lnTo>
                <a:close/>
              </a:path>
            </a:pathLst>
          </a:custGeom>
          <a:solidFill>
            <a:srgbClr val="006FAC"/>
          </a:solidFill>
        </p:spPr>
        <p:txBody>
          <a:bodyPr wrap="square" lIns="0" tIns="0" rIns="0" bIns="0" rtlCol="0"/>
          <a:lstStyle/>
          <a:p>
            <a:endParaRPr/>
          </a:p>
        </p:txBody>
      </p:sp>
      <p:sp>
        <p:nvSpPr>
          <p:cNvPr id="44" name="object 44"/>
          <p:cNvSpPr/>
          <p:nvPr/>
        </p:nvSpPr>
        <p:spPr>
          <a:xfrm>
            <a:off x="5573267" y="4434840"/>
            <a:ext cx="528955" cy="832485"/>
          </a:xfrm>
          <a:custGeom>
            <a:avLst/>
            <a:gdLst/>
            <a:ahLst/>
            <a:cxnLst/>
            <a:rect l="l" t="t" r="r" b="b"/>
            <a:pathLst>
              <a:path w="528954" h="832485">
                <a:moveTo>
                  <a:pt x="0" y="136525"/>
                </a:moveTo>
                <a:lnTo>
                  <a:pt x="264414" y="0"/>
                </a:lnTo>
                <a:lnTo>
                  <a:pt x="528828" y="136525"/>
                </a:lnTo>
                <a:lnTo>
                  <a:pt x="396621" y="136525"/>
                </a:lnTo>
                <a:lnTo>
                  <a:pt x="396621" y="695579"/>
                </a:lnTo>
                <a:lnTo>
                  <a:pt x="528828" y="695579"/>
                </a:lnTo>
                <a:lnTo>
                  <a:pt x="264414" y="832104"/>
                </a:lnTo>
                <a:lnTo>
                  <a:pt x="0" y="695579"/>
                </a:lnTo>
                <a:lnTo>
                  <a:pt x="132207" y="695579"/>
                </a:lnTo>
                <a:lnTo>
                  <a:pt x="132207" y="136525"/>
                </a:lnTo>
                <a:lnTo>
                  <a:pt x="0" y="136525"/>
                </a:lnTo>
                <a:close/>
              </a:path>
            </a:pathLst>
          </a:custGeom>
          <a:ln w="12192">
            <a:solidFill>
              <a:srgbClr val="00507D"/>
            </a:solidFill>
          </a:ln>
        </p:spPr>
        <p:txBody>
          <a:bodyPr wrap="square" lIns="0" tIns="0" rIns="0" bIns="0" rtlCol="0"/>
          <a:lstStyle/>
          <a:p>
            <a:endParaRPr/>
          </a:p>
        </p:txBody>
      </p:sp>
      <p:sp>
        <p:nvSpPr>
          <p:cNvPr id="45" name="object 45"/>
          <p:cNvSpPr/>
          <p:nvPr/>
        </p:nvSpPr>
        <p:spPr>
          <a:xfrm>
            <a:off x="9752076" y="4434840"/>
            <a:ext cx="527685" cy="832485"/>
          </a:xfrm>
          <a:custGeom>
            <a:avLst/>
            <a:gdLst/>
            <a:ahLst/>
            <a:cxnLst/>
            <a:rect l="l" t="t" r="r" b="b"/>
            <a:pathLst>
              <a:path w="527684" h="832485">
                <a:moveTo>
                  <a:pt x="527303" y="695960"/>
                </a:moveTo>
                <a:lnTo>
                  <a:pt x="0" y="695960"/>
                </a:lnTo>
                <a:lnTo>
                  <a:pt x="263651" y="832104"/>
                </a:lnTo>
                <a:lnTo>
                  <a:pt x="527303" y="695960"/>
                </a:lnTo>
                <a:close/>
              </a:path>
              <a:path w="527684" h="832485">
                <a:moveTo>
                  <a:pt x="395477" y="136144"/>
                </a:moveTo>
                <a:lnTo>
                  <a:pt x="131825" y="136144"/>
                </a:lnTo>
                <a:lnTo>
                  <a:pt x="131825" y="695960"/>
                </a:lnTo>
                <a:lnTo>
                  <a:pt x="395477" y="695960"/>
                </a:lnTo>
                <a:lnTo>
                  <a:pt x="395477" y="136144"/>
                </a:lnTo>
                <a:close/>
              </a:path>
              <a:path w="527684" h="832485">
                <a:moveTo>
                  <a:pt x="263651" y="0"/>
                </a:moveTo>
                <a:lnTo>
                  <a:pt x="0" y="136144"/>
                </a:lnTo>
                <a:lnTo>
                  <a:pt x="527303" y="136144"/>
                </a:lnTo>
                <a:lnTo>
                  <a:pt x="263651" y="0"/>
                </a:lnTo>
                <a:close/>
              </a:path>
            </a:pathLst>
          </a:custGeom>
          <a:solidFill>
            <a:srgbClr val="006FAC"/>
          </a:solidFill>
        </p:spPr>
        <p:txBody>
          <a:bodyPr wrap="square" lIns="0" tIns="0" rIns="0" bIns="0" rtlCol="0"/>
          <a:lstStyle/>
          <a:p>
            <a:endParaRPr/>
          </a:p>
        </p:txBody>
      </p:sp>
      <p:sp>
        <p:nvSpPr>
          <p:cNvPr id="46" name="object 46"/>
          <p:cNvSpPr/>
          <p:nvPr/>
        </p:nvSpPr>
        <p:spPr>
          <a:xfrm>
            <a:off x="9752076" y="4434840"/>
            <a:ext cx="527685" cy="832485"/>
          </a:xfrm>
          <a:custGeom>
            <a:avLst/>
            <a:gdLst/>
            <a:ahLst/>
            <a:cxnLst/>
            <a:rect l="l" t="t" r="r" b="b"/>
            <a:pathLst>
              <a:path w="527684" h="832485">
                <a:moveTo>
                  <a:pt x="0" y="136144"/>
                </a:moveTo>
                <a:lnTo>
                  <a:pt x="263651" y="0"/>
                </a:lnTo>
                <a:lnTo>
                  <a:pt x="527303" y="136144"/>
                </a:lnTo>
                <a:lnTo>
                  <a:pt x="395477" y="136144"/>
                </a:lnTo>
                <a:lnTo>
                  <a:pt x="395477" y="695960"/>
                </a:lnTo>
                <a:lnTo>
                  <a:pt x="527303" y="695960"/>
                </a:lnTo>
                <a:lnTo>
                  <a:pt x="263651" y="832104"/>
                </a:lnTo>
                <a:lnTo>
                  <a:pt x="0" y="695960"/>
                </a:lnTo>
                <a:lnTo>
                  <a:pt x="131825" y="695960"/>
                </a:lnTo>
                <a:lnTo>
                  <a:pt x="131825" y="136144"/>
                </a:lnTo>
                <a:lnTo>
                  <a:pt x="0" y="136144"/>
                </a:lnTo>
                <a:close/>
              </a:path>
            </a:pathLst>
          </a:custGeom>
          <a:ln w="12191">
            <a:solidFill>
              <a:srgbClr val="00507D"/>
            </a:solidFill>
          </a:ln>
        </p:spPr>
        <p:txBody>
          <a:bodyPr wrap="square" lIns="0" tIns="0" rIns="0" bIns="0" rtlCol="0"/>
          <a:lstStyle/>
          <a:p>
            <a:endParaRPr/>
          </a:p>
        </p:txBody>
      </p:sp>
      <p:sp>
        <p:nvSpPr>
          <p:cNvPr id="47" name="object 47"/>
          <p:cNvSpPr/>
          <p:nvPr/>
        </p:nvSpPr>
        <p:spPr>
          <a:xfrm>
            <a:off x="1441703" y="4683252"/>
            <a:ext cx="9631680" cy="309880"/>
          </a:xfrm>
          <a:custGeom>
            <a:avLst/>
            <a:gdLst/>
            <a:ahLst/>
            <a:cxnLst/>
            <a:rect l="l" t="t" r="r" b="b"/>
            <a:pathLst>
              <a:path w="9631680" h="309879">
                <a:moveTo>
                  <a:pt x="0" y="309372"/>
                </a:moveTo>
                <a:lnTo>
                  <a:pt x="9631680" y="309372"/>
                </a:lnTo>
                <a:lnTo>
                  <a:pt x="9631680" y="0"/>
                </a:lnTo>
                <a:lnTo>
                  <a:pt x="0" y="0"/>
                </a:lnTo>
                <a:lnTo>
                  <a:pt x="0" y="309372"/>
                </a:lnTo>
                <a:close/>
              </a:path>
            </a:pathLst>
          </a:custGeom>
          <a:solidFill>
            <a:srgbClr val="FFFFFF"/>
          </a:solidFill>
        </p:spPr>
        <p:txBody>
          <a:bodyPr wrap="square" lIns="0" tIns="0" rIns="0" bIns="0" rtlCol="0"/>
          <a:lstStyle/>
          <a:p>
            <a:endParaRPr/>
          </a:p>
        </p:txBody>
      </p:sp>
      <p:sp>
        <p:nvSpPr>
          <p:cNvPr id="48" name="object 48"/>
          <p:cNvSpPr/>
          <p:nvPr/>
        </p:nvSpPr>
        <p:spPr>
          <a:xfrm>
            <a:off x="1441703" y="4683252"/>
            <a:ext cx="9631680" cy="309880"/>
          </a:xfrm>
          <a:custGeom>
            <a:avLst/>
            <a:gdLst/>
            <a:ahLst/>
            <a:cxnLst/>
            <a:rect l="l" t="t" r="r" b="b"/>
            <a:pathLst>
              <a:path w="9631680" h="309879">
                <a:moveTo>
                  <a:pt x="0" y="309372"/>
                </a:moveTo>
                <a:lnTo>
                  <a:pt x="9631680" y="309372"/>
                </a:lnTo>
                <a:lnTo>
                  <a:pt x="9631680" y="0"/>
                </a:lnTo>
                <a:lnTo>
                  <a:pt x="0" y="0"/>
                </a:lnTo>
                <a:lnTo>
                  <a:pt x="0" y="309372"/>
                </a:lnTo>
                <a:close/>
              </a:path>
            </a:pathLst>
          </a:custGeom>
          <a:ln w="12192">
            <a:solidFill>
              <a:srgbClr val="421F5D"/>
            </a:solidFill>
          </a:ln>
        </p:spPr>
        <p:txBody>
          <a:bodyPr wrap="square" lIns="0" tIns="0" rIns="0" bIns="0" rtlCol="0"/>
          <a:lstStyle/>
          <a:p>
            <a:endParaRPr/>
          </a:p>
        </p:txBody>
      </p:sp>
      <p:sp>
        <p:nvSpPr>
          <p:cNvPr id="49" name="object 49"/>
          <p:cNvSpPr txBox="1"/>
          <p:nvPr/>
        </p:nvSpPr>
        <p:spPr>
          <a:xfrm>
            <a:off x="5763258" y="4687316"/>
            <a:ext cx="3285107" cy="289823"/>
          </a:xfrm>
          <a:prstGeom prst="rect">
            <a:avLst/>
          </a:prstGeom>
        </p:spPr>
        <p:txBody>
          <a:bodyPr vert="horz" wrap="square" lIns="0" tIns="12700" rIns="0" bIns="0" rtlCol="0">
            <a:spAutoFit/>
          </a:bodyPr>
          <a:lstStyle/>
          <a:p>
            <a:pPr marL="12700">
              <a:lnSpc>
                <a:spcPct val="100000"/>
              </a:lnSpc>
              <a:spcBef>
                <a:spcPts val="100"/>
              </a:spcBef>
            </a:pPr>
            <a:r>
              <a:rPr lang="it-IT" sz="1800" spc="-5" dirty="0">
                <a:solidFill>
                  <a:srgbClr val="001F5F"/>
                </a:solidFill>
                <a:latin typeface="Verdana"/>
                <a:cs typeface="Verdana"/>
              </a:rPr>
              <a:t>MARC API Gateway</a:t>
            </a:r>
            <a:endParaRPr sz="1800" dirty="0">
              <a:latin typeface="Verdana"/>
              <a:cs typeface="Verdana"/>
            </a:endParaRPr>
          </a:p>
        </p:txBody>
      </p:sp>
      <p:sp>
        <p:nvSpPr>
          <p:cNvPr id="50" name="object 50"/>
          <p:cNvSpPr txBox="1"/>
          <p:nvPr/>
        </p:nvSpPr>
        <p:spPr>
          <a:xfrm>
            <a:off x="8643366" y="4411726"/>
            <a:ext cx="1151890" cy="193675"/>
          </a:xfrm>
          <a:prstGeom prst="rect">
            <a:avLst/>
          </a:prstGeom>
        </p:spPr>
        <p:txBody>
          <a:bodyPr vert="horz" wrap="square" lIns="0" tIns="12700" rIns="0" bIns="0" rtlCol="0">
            <a:spAutoFit/>
          </a:bodyPr>
          <a:lstStyle/>
          <a:p>
            <a:pPr marL="12700">
              <a:lnSpc>
                <a:spcPct val="100000"/>
              </a:lnSpc>
              <a:spcBef>
                <a:spcPts val="100"/>
              </a:spcBef>
            </a:pPr>
            <a:r>
              <a:rPr sz="1100">
                <a:latin typeface="Verdana"/>
                <a:cs typeface="Verdana"/>
              </a:rPr>
              <a:t>OData</a:t>
            </a:r>
            <a:r>
              <a:rPr sz="1100" spc="-70">
                <a:latin typeface="Verdana"/>
                <a:cs typeface="Verdana"/>
              </a:rPr>
              <a:t> </a:t>
            </a:r>
            <a:r>
              <a:rPr sz="1100">
                <a:latin typeface="Verdana"/>
                <a:cs typeface="Verdana"/>
              </a:rPr>
              <a:t>Interface</a:t>
            </a:r>
          </a:p>
        </p:txBody>
      </p:sp>
      <p:sp>
        <p:nvSpPr>
          <p:cNvPr id="51" name="object 51"/>
          <p:cNvSpPr txBox="1"/>
          <p:nvPr/>
        </p:nvSpPr>
        <p:spPr>
          <a:xfrm>
            <a:off x="10359897" y="4384294"/>
            <a:ext cx="674370" cy="193675"/>
          </a:xfrm>
          <a:prstGeom prst="rect">
            <a:avLst/>
          </a:prstGeom>
        </p:spPr>
        <p:txBody>
          <a:bodyPr vert="horz" wrap="square" lIns="0" tIns="12700" rIns="0" bIns="0" rtlCol="0">
            <a:spAutoFit/>
          </a:bodyPr>
          <a:lstStyle/>
          <a:p>
            <a:pPr marL="12700">
              <a:lnSpc>
                <a:spcPct val="100000"/>
              </a:lnSpc>
              <a:spcBef>
                <a:spcPts val="100"/>
              </a:spcBef>
            </a:pPr>
            <a:r>
              <a:rPr sz="1100">
                <a:latin typeface="Verdana"/>
                <a:cs typeface="Verdana"/>
              </a:rPr>
              <a:t>Arc</a:t>
            </a:r>
            <a:r>
              <a:rPr sz="1100" spc="-5">
                <a:latin typeface="Verdana"/>
                <a:cs typeface="Verdana"/>
              </a:rPr>
              <a:t>h</a:t>
            </a:r>
            <a:r>
              <a:rPr sz="1100" spc="-15">
                <a:latin typeface="Verdana"/>
                <a:cs typeface="Verdana"/>
              </a:rPr>
              <a:t>i</a:t>
            </a:r>
            <a:r>
              <a:rPr sz="1100" spc="-10">
                <a:latin typeface="Verdana"/>
                <a:cs typeface="Verdana"/>
              </a:rPr>
              <a:t>v</a:t>
            </a:r>
            <a:r>
              <a:rPr sz="1100" spc="-15">
                <a:latin typeface="Verdana"/>
                <a:cs typeface="Verdana"/>
              </a:rPr>
              <a:t>i</a:t>
            </a:r>
            <a:r>
              <a:rPr sz="1100">
                <a:latin typeface="Verdana"/>
                <a:cs typeface="Verdana"/>
              </a:rPr>
              <a:t>ng</a:t>
            </a:r>
          </a:p>
        </p:txBody>
      </p:sp>
      <p:sp>
        <p:nvSpPr>
          <p:cNvPr id="52" name="object 52"/>
          <p:cNvSpPr/>
          <p:nvPr/>
        </p:nvSpPr>
        <p:spPr>
          <a:xfrm>
            <a:off x="10946892" y="4702047"/>
            <a:ext cx="844550" cy="1341755"/>
          </a:xfrm>
          <a:custGeom>
            <a:avLst/>
            <a:gdLst/>
            <a:ahLst/>
            <a:cxnLst/>
            <a:rect l="l" t="t" r="r" b="b"/>
            <a:pathLst>
              <a:path w="844550" h="1341754">
                <a:moveTo>
                  <a:pt x="211074" y="919492"/>
                </a:moveTo>
                <a:lnTo>
                  <a:pt x="0" y="1167638"/>
                </a:lnTo>
                <a:lnTo>
                  <a:pt x="211074" y="1341640"/>
                </a:lnTo>
                <a:lnTo>
                  <a:pt x="211074" y="1236103"/>
                </a:lnTo>
                <a:lnTo>
                  <a:pt x="249413" y="1221086"/>
                </a:lnTo>
                <a:lnTo>
                  <a:pt x="286882" y="1203763"/>
                </a:lnTo>
                <a:lnTo>
                  <a:pt x="323446" y="1184199"/>
                </a:lnTo>
                <a:lnTo>
                  <a:pt x="359071" y="1162464"/>
                </a:lnTo>
                <a:lnTo>
                  <a:pt x="393722" y="1138624"/>
                </a:lnTo>
                <a:lnTo>
                  <a:pt x="427366" y="1112746"/>
                </a:lnTo>
                <a:lnTo>
                  <a:pt x="459968" y="1084897"/>
                </a:lnTo>
                <a:lnTo>
                  <a:pt x="491493" y="1055144"/>
                </a:lnTo>
                <a:lnTo>
                  <a:pt x="520490" y="1025029"/>
                </a:lnTo>
                <a:lnTo>
                  <a:pt x="211074" y="1025029"/>
                </a:lnTo>
                <a:lnTo>
                  <a:pt x="211074" y="919492"/>
                </a:lnTo>
                <a:close/>
              </a:path>
              <a:path w="844550" h="1341754">
                <a:moveTo>
                  <a:pt x="840866" y="0"/>
                </a:moveTo>
                <a:lnTo>
                  <a:pt x="836176" y="56324"/>
                </a:lnTo>
                <a:lnTo>
                  <a:pt x="829577" y="111859"/>
                </a:lnTo>
                <a:lnTo>
                  <a:pt x="821114" y="166534"/>
                </a:lnTo>
                <a:lnTo>
                  <a:pt x="810829" y="220278"/>
                </a:lnTo>
                <a:lnTo>
                  <a:pt x="798766" y="273023"/>
                </a:lnTo>
                <a:lnTo>
                  <a:pt x="784967" y="324696"/>
                </a:lnTo>
                <a:lnTo>
                  <a:pt x="769476" y="375228"/>
                </a:lnTo>
                <a:lnTo>
                  <a:pt x="752336" y="424549"/>
                </a:lnTo>
                <a:lnTo>
                  <a:pt x="733590" y="472588"/>
                </a:lnTo>
                <a:lnTo>
                  <a:pt x="713282" y="519276"/>
                </a:lnTo>
                <a:lnTo>
                  <a:pt x="691454" y="564540"/>
                </a:lnTo>
                <a:lnTo>
                  <a:pt x="668150" y="608313"/>
                </a:lnTo>
                <a:lnTo>
                  <a:pt x="643413" y="650522"/>
                </a:lnTo>
                <a:lnTo>
                  <a:pt x="617286" y="691098"/>
                </a:lnTo>
                <a:lnTo>
                  <a:pt x="589813" y="729971"/>
                </a:lnTo>
                <a:lnTo>
                  <a:pt x="561036" y="767070"/>
                </a:lnTo>
                <a:lnTo>
                  <a:pt x="530999" y="802324"/>
                </a:lnTo>
                <a:lnTo>
                  <a:pt x="499744" y="835664"/>
                </a:lnTo>
                <a:lnTo>
                  <a:pt x="467316" y="867020"/>
                </a:lnTo>
                <a:lnTo>
                  <a:pt x="433757" y="896320"/>
                </a:lnTo>
                <a:lnTo>
                  <a:pt x="399110" y="923495"/>
                </a:lnTo>
                <a:lnTo>
                  <a:pt x="363419" y="948474"/>
                </a:lnTo>
                <a:lnTo>
                  <a:pt x="326726" y="971188"/>
                </a:lnTo>
                <a:lnTo>
                  <a:pt x="289076" y="991565"/>
                </a:lnTo>
                <a:lnTo>
                  <a:pt x="250511" y="1009536"/>
                </a:lnTo>
                <a:lnTo>
                  <a:pt x="211074" y="1025029"/>
                </a:lnTo>
                <a:lnTo>
                  <a:pt x="520490" y="1025029"/>
                </a:lnTo>
                <a:lnTo>
                  <a:pt x="551180" y="990198"/>
                </a:lnTo>
                <a:lnTo>
                  <a:pt x="579272" y="955138"/>
                </a:lnTo>
                <a:lnTo>
                  <a:pt x="606151" y="918444"/>
                </a:lnTo>
                <a:lnTo>
                  <a:pt x="631783" y="880182"/>
                </a:lnTo>
                <a:lnTo>
                  <a:pt x="656133" y="840419"/>
                </a:lnTo>
                <a:lnTo>
                  <a:pt x="679168" y="799224"/>
                </a:lnTo>
                <a:lnTo>
                  <a:pt x="700853" y="756662"/>
                </a:lnTo>
                <a:lnTo>
                  <a:pt x="721153" y="712802"/>
                </a:lnTo>
                <a:lnTo>
                  <a:pt x="740036" y="667709"/>
                </a:lnTo>
                <a:lnTo>
                  <a:pt x="757466" y="621453"/>
                </a:lnTo>
                <a:lnTo>
                  <a:pt x="773409" y="574099"/>
                </a:lnTo>
                <a:lnTo>
                  <a:pt x="787831" y="525715"/>
                </a:lnTo>
                <a:lnTo>
                  <a:pt x="800697" y="476368"/>
                </a:lnTo>
                <a:lnTo>
                  <a:pt x="811975" y="426125"/>
                </a:lnTo>
                <a:lnTo>
                  <a:pt x="821628" y="375054"/>
                </a:lnTo>
                <a:lnTo>
                  <a:pt x="829624" y="323221"/>
                </a:lnTo>
                <a:lnTo>
                  <a:pt x="835928" y="270695"/>
                </a:lnTo>
                <a:lnTo>
                  <a:pt x="840505" y="217541"/>
                </a:lnTo>
                <a:lnTo>
                  <a:pt x="843322" y="163827"/>
                </a:lnTo>
                <a:lnTo>
                  <a:pt x="844344" y="109621"/>
                </a:lnTo>
                <a:lnTo>
                  <a:pt x="843537" y="54989"/>
                </a:lnTo>
                <a:lnTo>
                  <a:pt x="840866" y="0"/>
                </a:lnTo>
                <a:close/>
              </a:path>
            </a:pathLst>
          </a:custGeom>
          <a:solidFill>
            <a:srgbClr val="006FAC"/>
          </a:solidFill>
        </p:spPr>
        <p:txBody>
          <a:bodyPr wrap="square" lIns="0" tIns="0" rIns="0" bIns="0" rtlCol="0"/>
          <a:lstStyle/>
          <a:p>
            <a:endParaRPr/>
          </a:p>
        </p:txBody>
      </p:sp>
      <p:sp>
        <p:nvSpPr>
          <p:cNvPr id="53" name="object 53"/>
          <p:cNvSpPr/>
          <p:nvPr/>
        </p:nvSpPr>
        <p:spPr>
          <a:xfrm>
            <a:off x="10946892" y="3429000"/>
            <a:ext cx="844550" cy="1378585"/>
          </a:xfrm>
          <a:custGeom>
            <a:avLst/>
            <a:gdLst/>
            <a:ahLst/>
            <a:cxnLst/>
            <a:rect l="l" t="t" r="r" b="b"/>
            <a:pathLst>
              <a:path w="844550" h="1378585">
                <a:moveTo>
                  <a:pt x="0" y="0"/>
                </a:moveTo>
                <a:lnTo>
                  <a:pt x="0" y="211074"/>
                </a:lnTo>
                <a:lnTo>
                  <a:pt x="39749" y="212344"/>
                </a:lnTo>
                <a:lnTo>
                  <a:pt x="79024" y="216119"/>
                </a:lnTo>
                <a:lnTo>
                  <a:pt x="117786" y="222343"/>
                </a:lnTo>
                <a:lnTo>
                  <a:pt x="155993" y="230958"/>
                </a:lnTo>
                <a:lnTo>
                  <a:pt x="193605" y="241909"/>
                </a:lnTo>
                <a:lnTo>
                  <a:pt x="230582" y="255141"/>
                </a:lnTo>
                <a:lnTo>
                  <a:pt x="266882" y="270596"/>
                </a:lnTo>
                <a:lnTo>
                  <a:pt x="302466" y="288219"/>
                </a:lnTo>
                <a:lnTo>
                  <a:pt x="337293" y="307954"/>
                </a:lnTo>
                <a:lnTo>
                  <a:pt x="371322" y="329744"/>
                </a:lnTo>
                <a:lnTo>
                  <a:pt x="404513" y="353534"/>
                </a:lnTo>
                <a:lnTo>
                  <a:pt x="436826" y="379268"/>
                </a:lnTo>
                <a:lnTo>
                  <a:pt x="468219" y="406889"/>
                </a:lnTo>
                <a:lnTo>
                  <a:pt x="498652" y="436341"/>
                </a:lnTo>
                <a:lnTo>
                  <a:pt x="528085" y="467569"/>
                </a:lnTo>
                <a:lnTo>
                  <a:pt x="556478" y="500516"/>
                </a:lnTo>
                <a:lnTo>
                  <a:pt x="583789" y="535126"/>
                </a:lnTo>
                <a:lnTo>
                  <a:pt x="609978" y="571343"/>
                </a:lnTo>
                <a:lnTo>
                  <a:pt x="635005" y="609111"/>
                </a:lnTo>
                <a:lnTo>
                  <a:pt x="658830" y="648374"/>
                </a:lnTo>
                <a:lnTo>
                  <a:pt x="681410" y="689076"/>
                </a:lnTo>
                <a:lnTo>
                  <a:pt x="702707" y="731161"/>
                </a:lnTo>
                <a:lnTo>
                  <a:pt x="722680" y="774572"/>
                </a:lnTo>
                <a:lnTo>
                  <a:pt x="741287" y="819255"/>
                </a:lnTo>
                <a:lnTo>
                  <a:pt x="758489" y="865151"/>
                </a:lnTo>
                <a:lnTo>
                  <a:pt x="774246" y="912207"/>
                </a:lnTo>
                <a:lnTo>
                  <a:pt x="788515" y="960364"/>
                </a:lnTo>
                <a:lnTo>
                  <a:pt x="801258" y="1009568"/>
                </a:lnTo>
                <a:lnTo>
                  <a:pt x="812433" y="1059763"/>
                </a:lnTo>
                <a:lnTo>
                  <a:pt x="822000" y="1110891"/>
                </a:lnTo>
                <a:lnTo>
                  <a:pt x="829918" y="1162898"/>
                </a:lnTo>
                <a:lnTo>
                  <a:pt x="836147" y="1215727"/>
                </a:lnTo>
                <a:lnTo>
                  <a:pt x="840647" y="1269321"/>
                </a:lnTo>
                <a:lnTo>
                  <a:pt x="843377" y="1323626"/>
                </a:lnTo>
                <a:lnTo>
                  <a:pt x="844296" y="1378585"/>
                </a:lnTo>
                <a:lnTo>
                  <a:pt x="844218" y="1162898"/>
                </a:lnTo>
                <a:lnTo>
                  <a:pt x="843377" y="1112552"/>
                </a:lnTo>
                <a:lnTo>
                  <a:pt x="840647" y="1058247"/>
                </a:lnTo>
                <a:lnTo>
                  <a:pt x="836147" y="1004653"/>
                </a:lnTo>
                <a:lnTo>
                  <a:pt x="829918" y="951824"/>
                </a:lnTo>
                <a:lnTo>
                  <a:pt x="822000" y="899817"/>
                </a:lnTo>
                <a:lnTo>
                  <a:pt x="812433" y="848689"/>
                </a:lnTo>
                <a:lnTo>
                  <a:pt x="801258" y="798494"/>
                </a:lnTo>
                <a:lnTo>
                  <a:pt x="788515" y="749290"/>
                </a:lnTo>
                <a:lnTo>
                  <a:pt x="774246" y="701133"/>
                </a:lnTo>
                <a:lnTo>
                  <a:pt x="758489" y="654077"/>
                </a:lnTo>
                <a:lnTo>
                  <a:pt x="741287" y="608181"/>
                </a:lnTo>
                <a:lnTo>
                  <a:pt x="722680" y="563498"/>
                </a:lnTo>
                <a:lnTo>
                  <a:pt x="702707" y="520087"/>
                </a:lnTo>
                <a:lnTo>
                  <a:pt x="681410" y="478002"/>
                </a:lnTo>
                <a:lnTo>
                  <a:pt x="658830" y="437300"/>
                </a:lnTo>
                <a:lnTo>
                  <a:pt x="635005" y="398037"/>
                </a:lnTo>
                <a:lnTo>
                  <a:pt x="609978" y="360269"/>
                </a:lnTo>
                <a:lnTo>
                  <a:pt x="583789" y="324052"/>
                </a:lnTo>
                <a:lnTo>
                  <a:pt x="556478" y="289442"/>
                </a:lnTo>
                <a:lnTo>
                  <a:pt x="528085" y="256495"/>
                </a:lnTo>
                <a:lnTo>
                  <a:pt x="498652" y="225267"/>
                </a:lnTo>
                <a:lnTo>
                  <a:pt x="468219" y="195815"/>
                </a:lnTo>
                <a:lnTo>
                  <a:pt x="436826" y="168194"/>
                </a:lnTo>
                <a:lnTo>
                  <a:pt x="404513" y="142460"/>
                </a:lnTo>
                <a:lnTo>
                  <a:pt x="371322" y="118670"/>
                </a:lnTo>
                <a:lnTo>
                  <a:pt x="337293" y="96880"/>
                </a:lnTo>
                <a:lnTo>
                  <a:pt x="302466" y="77145"/>
                </a:lnTo>
                <a:lnTo>
                  <a:pt x="266882" y="59522"/>
                </a:lnTo>
                <a:lnTo>
                  <a:pt x="230582" y="44067"/>
                </a:lnTo>
                <a:lnTo>
                  <a:pt x="193605" y="30835"/>
                </a:lnTo>
                <a:lnTo>
                  <a:pt x="155993" y="19884"/>
                </a:lnTo>
                <a:lnTo>
                  <a:pt x="117786" y="11269"/>
                </a:lnTo>
                <a:lnTo>
                  <a:pt x="79024" y="5045"/>
                </a:lnTo>
                <a:lnTo>
                  <a:pt x="39749" y="1270"/>
                </a:lnTo>
                <a:lnTo>
                  <a:pt x="0" y="0"/>
                </a:lnTo>
                <a:close/>
              </a:path>
            </a:pathLst>
          </a:custGeom>
          <a:solidFill>
            <a:srgbClr val="005A8A"/>
          </a:solidFill>
        </p:spPr>
        <p:txBody>
          <a:bodyPr wrap="square" lIns="0" tIns="0" rIns="0" bIns="0" rtlCol="0"/>
          <a:lstStyle/>
          <a:p>
            <a:endParaRPr/>
          </a:p>
        </p:txBody>
      </p:sp>
      <p:sp>
        <p:nvSpPr>
          <p:cNvPr id="54" name="object 54"/>
          <p:cNvSpPr/>
          <p:nvPr/>
        </p:nvSpPr>
        <p:spPr>
          <a:xfrm>
            <a:off x="10946892" y="3429000"/>
            <a:ext cx="844550" cy="2614930"/>
          </a:xfrm>
          <a:custGeom>
            <a:avLst/>
            <a:gdLst/>
            <a:ahLst/>
            <a:cxnLst/>
            <a:rect l="l" t="t" r="r" b="b"/>
            <a:pathLst>
              <a:path w="844550" h="2614929">
                <a:moveTo>
                  <a:pt x="844296" y="1378585"/>
                </a:moveTo>
                <a:lnTo>
                  <a:pt x="843377" y="1323626"/>
                </a:lnTo>
                <a:lnTo>
                  <a:pt x="840647" y="1269321"/>
                </a:lnTo>
                <a:lnTo>
                  <a:pt x="836147" y="1215727"/>
                </a:lnTo>
                <a:lnTo>
                  <a:pt x="829918" y="1162898"/>
                </a:lnTo>
                <a:lnTo>
                  <a:pt x="822000" y="1110891"/>
                </a:lnTo>
                <a:lnTo>
                  <a:pt x="812433" y="1059763"/>
                </a:lnTo>
                <a:lnTo>
                  <a:pt x="801258" y="1009568"/>
                </a:lnTo>
                <a:lnTo>
                  <a:pt x="788515" y="960364"/>
                </a:lnTo>
                <a:lnTo>
                  <a:pt x="774246" y="912207"/>
                </a:lnTo>
                <a:lnTo>
                  <a:pt x="758489" y="865151"/>
                </a:lnTo>
                <a:lnTo>
                  <a:pt x="741287" y="819255"/>
                </a:lnTo>
                <a:lnTo>
                  <a:pt x="722680" y="774572"/>
                </a:lnTo>
                <a:lnTo>
                  <a:pt x="702707" y="731161"/>
                </a:lnTo>
                <a:lnTo>
                  <a:pt x="681410" y="689076"/>
                </a:lnTo>
                <a:lnTo>
                  <a:pt x="658830" y="648374"/>
                </a:lnTo>
                <a:lnTo>
                  <a:pt x="635005" y="609111"/>
                </a:lnTo>
                <a:lnTo>
                  <a:pt x="609978" y="571343"/>
                </a:lnTo>
                <a:lnTo>
                  <a:pt x="583789" y="535126"/>
                </a:lnTo>
                <a:lnTo>
                  <a:pt x="556478" y="500516"/>
                </a:lnTo>
                <a:lnTo>
                  <a:pt x="528085" y="467569"/>
                </a:lnTo>
                <a:lnTo>
                  <a:pt x="498652" y="436341"/>
                </a:lnTo>
                <a:lnTo>
                  <a:pt x="468219" y="406889"/>
                </a:lnTo>
                <a:lnTo>
                  <a:pt x="436826" y="379268"/>
                </a:lnTo>
                <a:lnTo>
                  <a:pt x="404513" y="353534"/>
                </a:lnTo>
                <a:lnTo>
                  <a:pt x="371322" y="329744"/>
                </a:lnTo>
                <a:lnTo>
                  <a:pt x="337293" y="307954"/>
                </a:lnTo>
                <a:lnTo>
                  <a:pt x="302466" y="288219"/>
                </a:lnTo>
                <a:lnTo>
                  <a:pt x="266882" y="270596"/>
                </a:lnTo>
                <a:lnTo>
                  <a:pt x="230582" y="255141"/>
                </a:lnTo>
                <a:lnTo>
                  <a:pt x="193605" y="241909"/>
                </a:lnTo>
                <a:lnTo>
                  <a:pt x="155993" y="230958"/>
                </a:lnTo>
                <a:lnTo>
                  <a:pt x="117786" y="222343"/>
                </a:lnTo>
                <a:lnTo>
                  <a:pt x="79024" y="216119"/>
                </a:lnTo>
                <a:lnTo>
                  <a:pt x="39749" y="212344"/>
                </a:lnTo>
                <a:lnTo>
                  <a:pt x="0" y="211074"/>
                </a:lnTo>
                <a:lnTo>
                  <a:pt x="0" y="0"/>
                </a:lnTo>
                <a:lnTo>
                  <a:pt x="39749" y="1270"/>
                </a:lnTo>
                <a:lnTo>
                  <a:pt x="79024" y="5045"/>
                </a:lnTo>
                <a:lnTo>
                  <a:pt x="117786" y="11269"/>
                </a:lnTo>
                <a:lnTo>
                  <a:pt x="155993" y="19884"/>
                </a:lnTo>
                <a:lnTo>
                  <a:pt x="193605" y="30835"/>
                </a:lnTo>
                <a:lnTo>
                  <a:pt x="230582" y="44067"/>
                </a:lnTo>
                <a:lnTo>
                  <a:pt x="266882" y="59522"/>
                </a:lnTo>
                <a:lnTo>
                  <a:pt x="302466" y="77145"/>
                </a:lnTo>
                <a:lnTo>
                  <a:pt x="337293" y="96880"/>
                </a:lnTo>
                <a:lnTo>
                  <a:pt x="371322" y="118670"/>
                </a:lnTo>
                <a:lnTo>
                  <a:pt x="404513" y="142460"/>
                </a:lnTo>
                <a:lnTo>
                  <a:pt x="436826" y="168194"/>
                </a:lnTo>
                <a:lnTo>
                  <a:pt x="468219" y="195815"/>
                </a:lnTo>
                <a:lnTo>
                  <a:pt x="498652" y="225267"/>
                </a:lnTo>
                <a:lnTo>
                  <a:pt x="528085" y="256495"/>
                </a:lnTo>
                <a:lnTo>
                  <a:pt x="556478" y="289442"/>
                </a:lnTo>
                <a:lnTo>
                  <a:pt x="583789" y="324052"/>
                </a:lnTo>
                <a:lnTo>
                  <a:pt x="609978" y="360269"/>
                </a:lnTo>
                <a:lnTo>
                  <a:pt x="635005" y="398037"/>
                </a:lnTo>
                <a:lnTo>
                  <a:pt x="658830" y="437300"/>
                </a:lnTo>
                <a:lnTo>
                  <a:pt x="681410" y="478002"/>
                </a:lnTo>
                <a:lnTo>
                  <a:pt x="702707" y="520087"/>
                </a:lnTo>
                <a:lnTo>
                  <a:pt x="722680" y="563498"/>
                </a:lnTo>
                <a:lnTo>
                  <a:pt x="741287" y="608181"/>
                </a:lnTo>
                <a:lnTo>
                  <a:pt x="758489" y="654077"/>
                </a:lnTo>
                <a:lnTo>
                  <a:pt x="774246" y="701133"/>
                </a:lnTo>
                <a:lnTo>
                  <a:pt x="788515" y="749290"/>
                </a:lnTo>
                <a:lnTo>
                  <a:pt x="801258" y="798494"/>
                </a:lnTo>
                <a:lnTo>
                  <a:pt x="812433" y="848689"/>
                </a:lnTo>
                <a:lnTo>
                  <a:pt x="822000" y="899817"/>
                </a:lnTo>
                <a:lnTo>
                  <a:pt x="829918" y="951824"/>
                </a:lnTo>
                <a:lnTo>
                  <a:pt x="836147" y="1004653"/>
                </a:lnTo>
                <a:lnTo>
                  <a:pt x="840647" y="1058247"/>
                </a:lnTo>
                <a:lnTo>
                  <a:pt x="843377" y="1112552"/>
                </a:lnTo>
                <a:lnTo>
                  <a:pt x="844296" y="1167511"/>
                </a:lnTo>
                <a:lnTo>
                  <a:pt x="844296" y="1378585"/>
                </a:lnTo>
                <a:lnTo>
                  <a:pt x="843372" y="1433420"/>
                </a:lnTo>
                <a:lnTo>
                  <a:pt x="840627" y="1487708"/>
                </a:lnTo>
                <a:lnTo>
                  <a:pt x="836097" y="1541385"/>
                </a:lnTo>
                <a:lnTo>
                  <a:pt x="829818" y="1594384"/>
                </a:lnTo>
                <a:lnTo>
                  <a:pt x="821826" y="1646641"/>
                </a:lnTo>
                <a:lnTo>
                  <a:pt x="812158" y="1698092"/>
                </a:lnTo>
                <a:lnTo>
                  <a:pt x="800851" y="1748670"/>
                </a:lnTo>
                <a:lnTo>
                  <a:pt x="787940" y="1798310"/>
                </a:lnTo>
                <a:lnTo>
                  <a:pt x="773463" y="1846949"/>
                </a:lnTo>
                <a:lnTo>
                  <a:pt x="757455" y="1894521"/>
                </a:lnTo>
                <a:lnTo>
                  <a:pt x="739954" y="1940960"/>
                </a:lnTo>
                <a:lnTo>
                  <a:pt x="720996" y="1986202"/>
                </a:lnTo>
                <a:lnTo>
                  <a:pt x="700617" y="2030183"/>
                </a:lnTo>
                <a:lnTo>
                  <a:pt x="678853" y="2072835"/>
                </a:lnTo>
                <a:lnTo>
                  <a:pt x="655742" y="2114096"/>
                </a:lnTo>
                <a:lnTo>
                  <a:pt x="631319" y="2153899"/>
                </a:lnTo>
                <a:lnTo>
                  <a:pt x="605621" y="2192180"/>
                </a:lnTo>
                <a:lnTo>
                  <a:pt x="578685" y="2228874"/>
                </a:lnTo>
                <a:lnTo>
                  <a:pt x="550547" y="2263916"/>
                </a:lnTo>
                <a:lnTo>
                  <a:pt x="521243" y="2297240"/>
                </a:lnTo>
                <a:lnTo>
                  <a:pt x="490810" y="2328782"/>
                </a:lnTo>
                <a:lnTo>
                  <a:pt x="459284" y="2358476"/>
                </a:lnTo>
                <a:lnTo>
                  <a:pt x="426703" y="2386258"/>
                </a:lnTo>
                <a:lnTo>
                  <a:pt x="393101" y="2412063"/>
                </a:lnTo>
                <a:lnTo>
                  <a:pt x="358516" y="2435826"/>
                </a:lnTo>
                <a:lnTo>
                  <a:pt x="322985" y="2457481"/>
                </a:lnTo>
                <a:lnTo>
                  <a:pt x="286543" y="2476963"/>
                </a:lnTo>
                <a:lnTo>
                  <a:pt x="249227" y="2494208"/>
                </a:lnTo>
                <a:lnTo>
                  <a:pt x="211074" y="2509151"/>
                </a:lnTo>
                <a:lnTo>
                  <a:pt x="211074" y="2614688"/>
                </a:lnTo>
                <a:lnTo>
                  <a:pt x="0" y="2440686"/>
                </a:lnTo>
                <a:lnTo>
                  <a:pt x="211074" y="2192540"/>
                </a:lnTo>
                <a:lnTo>
                  <a:pt x="211074" y="2298077"/>
                </a:lnTo>
                <a:lnTo>
                  <a:pt x="250511" y="2282584"/>
                </a:lnTo>
                <a:lnTo>
                  <a:pt x="289076" y="2264613"/>
                </a:lnTo>
                <a:lnTo>
                  <a:pt x="326726" y="2244236"/>
                </a:lnTo>
                <a:lnTo>
                  <a:pt x="363419" y="2221522"/>
                </a:lnTo>
                <a:lnTo>
                  <a:pt x="399110" y="2196543"/>
                </a:lnTo>
                <a:lnTo>
                  <a:pt x="433757" y="2169368"/>
                </a:lnTo>
                <a:lnTo>
                  <a:pt x="467316" y="2140068"/>
                </a:lnTo>
                <a:lnTo>
                  <a:pt x="499744" y="2108712"/>
                </a:lnTo>
                <a:lnTo>
                  <a:pt x="530999" y="2075372"/>
                </a:lnTo>
                <a:lnTo>
                  <a:pt x="561036" y="2040118"/>
                </a:lnTo>
                <a:lnTo>
                  <a:pt x="589813" y="2003019"/>
                </a:lnTo>
                <a:lnTo>
                  <a:pt x="617286" y="1964146"/>
                </a:lnTo>
                <a:lnTo>
                  <a:pt x="643413" y="1923570"/>
                </a:lnTo>
                <a:lnTo>
                  <a:pt x="668150" y="1881361"/>
                </a:lnTo>
                <a:lnTo>
                  <a:pt x="691454" y="1837588"/>
                </a:lnTo>
                <a:lnTo>
                  <a:pt x="713282" y="1792324"/>
                </a:lnTo>
                <a:lnTo>
                  <a:pt x="733590" y="1745636"/>
                </a:lnTo>
                <a:lnTo>
                  <a:pt x="752336" y="1697597"/>
                </a:lnTo>
                <a:lnTo>
                  <a:pt x="769476" y="1648276"/>
                </a:lnTo>
                <a:lnTo>
                  <a:pt x="784967" y="1597744"/>
                </a:lnTo>
                <a:lnTo>
                  <a:pt x="798766" y="1546071"/>
                </a:lnTo>
                <a:lnTo>
                  <a:pt x="810829" y="1493326"/>
                </a:lnTo>
                <a:lnTo>
                  <a:pt x="821114" y="1439582"/>
                </a:lnTo>
                <a:lnTo>
                  <a:pt x="829577" y="1384907"/>
                </a:lnTo>
                <a:lnTo>
                  <a:pt x="836176" y="1329372"/>
                </a:lnTo>
                <a:lnTo>
                  <a:pt x="840866" y="1273048"/>
                </a:lnTo>
              </a:path>
            </a:pathLst>
          </a:custGeom>
          <a:ln w="12192">
            <a:solidFill>
              <a:srgbClr val="00507D"/>
            </a:solidFill>
          </a:ln>
        </p:spPr>
        <p:txBody>
          <a:bodyPr wrap="square" lIns="0" tIns="0" rIns="0" bIns="0" rtlCol="0"/>
          <a:lstStyle/>
          <a:p>
            <a:endParaRPr/>
          </a:p>
        </p:txBody>
      </p:sp>
      <p:sp>
        <p:nvSpPr>
          <p:cNvPr id="55" name="object 5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6" name="object 5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1</a:t>
            </a:fld>
            <a:endParaRPr sz="800">
              <a:latin typeface="Verdana"/>
              <a:cs typeface="Verdana"/>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729739" y="1463039"/>
            <a:ext cx="1697989" cy="5120640"/>
          </a:xfrm>
          <a:custGeom>
            <a:avLst/>
            <a:gdLst/>
            <a:ahLst/>
            <a:cxnLst/>
            <a:rect l="l" t="t" r="r" b="b"/>
            <a:pathLst>
              <a:path w="1697989" h="5120640">
                <a:moveTo>
                  <a:pt x="0" y="5120640"/>
                </a:moveTo>
                <a:lnTo>
                  <a:pt x="1697736" y="5120640"/>
                </a:lnTo>
                <a:lnTo>
                  <a:pt x="1697736" y="0"/>
                </a:lnTo>
                <a:lnTo>
                  <a:pt x="0" y="0"/>
                </a:lnTo>
                <a:lnTo>
                  <a:pt x="0" y="5120640"/>
                </a:lnTo>
                <a:close/>
              </a:path>
            </a:pathLst>
          </a:custGeom>
          <a:solidFill>
            <a:srgbClr val="003856"/>
          </a:solidFill>
        </p:spPr>
        <p:txBody>
          <a:bodyPr wrap="square" lIns="0" tIns="0" rIns="0" bIns="0" rtlCol="0"/>
          <a:lstStyle/>
          <a:p>
            <a:endParaRPr/>
          </a:p>
        </p:txBody>
      </p:sp>
      <p:sp>
        <p:nvSpPr>
          <p:cNvPr id="3" name="object 3"/>
          <p:cNvSpPr/>
          <p:nvPr/>
        </p:nvSpPr>
        <p:spPr>
          <a:xfrm>
            <a:off x="8819811" y="2965704"/>
            <a:ext cx="3030389" cy="1735741"/>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7344156" y="3840479"/>
            <a:ext cx="1447800" cy="253365"/>
          </a:xfrm>
          <a:custGeom>
            <a:avLst/>
            <a:gdLst/>
            <a:ahLst/>
            <a:cxnLst/>
            <a:rect l="l" t="t" r="r" b="b"/>
            <a:pathLst>
              <a:path w="1447800" h="253364">
                <a:moveTo>
                  <a:pt x="126492" y="0"/>
                </a:moveTo>
                <a:lnTo>
                  <a:pt x="0" y="126492"/>
                </a:lnTo>
                <a:lnTo>
                  <a:pt x="126492" y="252984"/>
                </a:lnTo>
                <a:lnTo>
                  <a:pt x="126492" y="189738"/>
                </a:lnTo>
                <a:lnTo>
                  <a:pt x="1384553" y="189738"/>
                </a:lnTo>
                <a:lnTo>
                  <a:pt x="1447800" y="126492"/>
                </a:lnTo>
                <a:lnTo>
                  <a:pt x="1384553" y="63246"/>
                </a:lnTo>
                <a:lnTo>
                  <a:pt x="126492" y="63246"/>
                </a:lnTo>
                <a:lnTo>
                  <a:pt x="126492" y="0"/>
                </a:lnTo>
                <a:close/>
              </a:path>
              <a:path w="1447800" h="253364">
                <a:moveTo>
                  <a:pt x="1384553" y="189738"/>
                </a:moveTo>
                <a:lnTo>
                  <a:pt x="1321308" y="189738"/>
                </a:lnTo>
                <a:lnTo>
                  <a:pt x="1321308" y="252984"/>
                </a:lnTo>
                <a:lnTo>
                  <a:pt x="1384553" y="189738"/>
                </a:lnTo>
                <a:close/>
              </a:path>
              <a:path w="1447800" h="253364">
                <a:moveTo>
                  <a:pt x="1321308" y="0"/>
                </a:moveTo>
                <a:lnTo>
                  <a:pt x="1321308" y="63246"/>
                </a:lnTo>
                <a:lnTo>
                  <a:pt x="1384553" y="63246"/>
                </a:lnTo>
                <a:lnTo>
                  <a:pt x="1321308" y="0"/>
                </a:lnTo>
                <a:close/>
              </a:path>
            </a:pathLst>
          </a:custGeom>
          <a:solidFill>
            <a:srgbClr val="2B133C"/>
          </a:solidFill>
        </p:spPr>
        <p:txBody>
          <a:bodyPr wrap="square" lIns="0" tIns="0" rIns="0" bIns="0" rtlCol="0"/>
          <a:lstStyle/>
          <a:p>
            <a:endParaRPr/>
          </a:p>
        </p:txBody>
      </p:sp>
      <p:sp>
        <p:nvSpPr>
          <p:cNvPr id="9" name="object 9"/>
          <p:cNvSpPr txBox="1"/>
          <p:nvPr/>
        </p:nvSpPr>
        <p:spPr>
          <a:xfrm>
            <a:off x="7405496" y="3474846"/>
            <a:ext cx="1264920" cy="361315"/>
          </a:xfrm>
          <a:prstGeom prst="rect">
            <a:avLst/>
          </a:prstGeom>
        </p:spPr>
        <p:txBody>
          <a:bodyPr vert="horz" wrap="square" lIns="0" tIns="13335" rIns="0" bIns="0" rtlCol="0">
            <a:spAutoFit/>
          </a:bodyPr>
          <a:lstStyle/>
          <a:p>
            <a:pPr marL="447040" marR="5080" indent="-434975">
              <a:lnSpc>
                <a:spcPct val="100000"/>
              </a:lnSpc>
              <a:spcBef>
                <a:spcPts val="105"/>
              </a:spcBef>
            </a:pPr>
            <a:r>
              <a:rPr sz="1100" b="1" spc="-5">
                <a:solidFill>
                  <a:srgbClr val="00AFEF"/>
                </a:solidFill>
                <a:latin typeface="Verdana"/>
                <a:cs typeface="Verdana"/>
              </a:rPr>
              <a:t>Realtime </a:t>
            </a:r>
            <a:r>
              <a:rPr sz="1100" b="1">
                <a:solidFill>
                  <a:srgbClr val="00AFEF"/>
                </a:solidFill>
                <a:latin typeface="Verdana"/>
                <a:cs typeface="Verdana"/>
              </a:rPr>
              <a:t>–</a:t>
            </a:r>
            <a:r>
              <a:rPr sz="1100" b="1" spc="-85">
                <a:solidFill>
                  <a:srgbClr val="00AFEF"/>
                </a:solidFill>
                <a:latin typeface="Verdana"/>
                <a:cs typeface="Verdana"/>
              </a:rPr>
              <a:t> </a:t>
            </a:r>
            <a:r>
              <a:rPr sz="1100" b="1">
                <a:solidFill>
                  <a:srgbClr val="00AFEF"/>
                </a:solidFill>
                <a:latin typeface="Verdana"/>
                <a:cs typeface="Verdana"/>
              </a:rPr>
              <a:t>Rest  </a:t>
            </a:r>
            <a:r>
              <a:rPr sz="1100" b="1" spc="-5">
                <a:solidFill>
                  <a:srgbClr val="00AFEF"/>
                </a:solidFill>
                <a:latin typeface="Verdana"/>
                <a:cs typeface="Verdana"/>
              </a:rPr>
              <a:t>APIs</a:t>
            </a:r>
            <a:endParaRPr sz="1100">
              <a:latin typeface="Verdana"/>
              <a:cs typeface="Verdana"/>
            </a:endParaRPr>
          </a:p>
        </p:txBody>
      </p:sp>
      <p:sp>
        <p:nvSpPr>
          <p:cNvPr id="10" name="object 10"/>
          <p:cNvSpPr/>
          <p:nvPr/>
        </p:nvSpPr>
        <p:spPr>
          <a:xfrm>
            <a:off x="3107435" y="3840479"/>
            <a:ext cx="669290" cy="266700"/>
          </a:xfrm>
          <a:custGeom>
            <a:avLst/>
            <a:gdLst/>
            <a:ahLst/>
            <a:cxnLst/>
            <a:rect l="l" t="t" r="r" b="b"/>
            <a:pathLst>
              <a:path w="669289" h="266700">
                <a:moveTo>
                  <a:pt x="133350" y="0"/>
                </a:moveTo>
                <a:lnTo>
                  <a:pt x="0" y="133350"/>
                </a:lnTo>
                <a:lnTo>
                  <a:pt x="133350" y="266700"/>
                </a:lnTo>
                <a:lnTo>
                  <a:pt x="133350" y="200025"/>
                </a:lnTo>
                <a:lnTo>
                  <a:pt x="602361" y="200025"/>
                </a:lnTo>
                <a:lnTo>
                  <a:pt x="669036" y="133350"/>
                </a:lnTo>
                <a:lnTo>
                  <a:pt x="602361" y="66675"/>
                </a:lnTo>
                <a:lnTo>
                  <a:pt x="133350" y="66675"/>
                </a:lnTo>
                <a:lnTo>
                  <a:pt x="133350" y="0"/>
                </a:lnTo>
                <a:close/>
              </a:path>
              <a:path w="669289" h="266700">
                <a:moveTo>
                  <a:pt x="602361" y="200025"/>
                </a:moveTo>
                <a:lnTo>
                  <a:pt x="535686" y="200025"/>
                </a:lnTo>
                <a:lnTo>
                  <a:pt x="535686" y="266700"/>
                </a:lnTo>
                <a:lnTo>
                  <a:pt x="602361" y="200025"/>
                </a:lnTo>
                <a:close/>
              </a:path>
              <a:path w="669289" h="266700">
                <a:moveTo>
                  <a:pt x="535686" y="0"/>
                </a:moveTo>
                <a:lnTo>
                  <a:pt x="535686" y="66675"/>
                </a:lnTo>
                <a:lnTo>
                  <a:pt x="602361" y="66675"/>
                </a:lnTo>
                <a:lnTo>
                  <a:pt x="535686" y="0"/>
                </a:lnTo>
                <a:close/>
              </a:path>
            </a:pathLst>
          </a:custGeom>
          <a:solidFill>
            <a:srgbClr val="2B133C"/>
          </a:solidFill>
        </p:spPr>
        <p:txBody>
          <a:bodyPr wrap="square" lIns="0" tIns="0" rIns="0" bIns="0" rtlCol="0"/>
          <a:lstStyle/>
          <a:p>
            <a:endParaRPr/>
          </a:p>
        </p:txBody>
      </p:sp>
      <p:sp>
        <p:nvSpPr>
          <p:cNvPr id="15" name="object 15"/>
          <p:cNvSpPr txBox="1"/>
          <p:nvPr/>
        </p:nvSpPr>
        <p:spPr>
          <a:xfrm>
            <a:off x="3782567" y="1463039"/>
            <a:ext cx="3533734" cy="5239896"/>
          </a:xfrm>
          <a:prstGeom prst="rect">
            <a:avLst/>
          </a:prstGeom>
          <a:solidFill>
            <a:srgbClr val="00AFEF"/>
          </a:solidFill>
        </p:spPr>
        <p:txBody>
          <a:bodyPr vert="horz" wrap="square" lIns="0" tIns="0" rIns="0" bIns="0" rtlCol="0">
            <a:spAutoFit/>
          </a:bodyPr>
          <a:lstStyle/>
          <a:p>
            <a:pPr>
              <a:lnSpc>
                <a:spcPct val="100000"/>
              </a:lnSpc>
            </a:pPr>
            <a:endParaRPr sz="1700" dirty="0">
              <a:latin typeface="Times New Roman"/>
              <a:cs typeface="Times New Roman"/>
            </a:endParaRPr>
          </a:p>
          <a:p>
            <a:pPr>
              <a:lnSpc>
                <a:spcPct val="100000"/>
              </a:lnSpc>
            </a:pPr>
            <a:endParaRPr sz="1700" dirty="0">
              <a:latin typeface="Times New Roman"/>
              <a:cs typeface="Times New Roman"/>
            </a:endParaRPr>
          </a:p>
          <a:p>
            <a:pPr>
              <a:lnSpc>
                <a:spcPct val="100000"/>
              </a:lnSpc>
            </a:pPr>
            <a:endParaRPr sz="1700" dirty="0">
              <a:latin typeface="Times New Roman"/>
              <a:cs typeface="Times New Roman"/>
            </a:endParaRPr>
          </a:p>
          <a:p>
            <a:pPr>
              <a:lnSpc>
                <a:spcPct val="100000"/>
              </a:lnSpc>
              <a:spcBef>
                <a:spcPts val="35"/>
              </a:spcBef>
            </a:pPr>
            <a:endParaRPr sz="2350" dirty="0">
              <a:latin typeface="Times New Roman"/>
              <a:cs typeface="Times New Roman"/>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gn="ctr">
              <a:lnSpc>
                <a:spcPct val="100000"/>
              </a:lnSpc>
            </a:pPr>
            <a:r>
              <a:rPr lang="it-IT" sz="1400" b="1" dirty="0">
                <a:solidFill>
                  <a:srgbClr val="FFFFFF"/>
                </a:solidFill>
                <a:latin typeface="Verdana"/>
                <a:cs typeface="Verdana"/>
              </a:rPr>
              <a:t>MARC</a:t>
            </a: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sz="1400" dirty="0">
              <a:latin typeface="Verdana"/>
              <a:cs typeface="Verdana"/>
            </a:endParaRPr>
          </a:p>
        </p:txBody>
      </p:sp>
      <p:sp>
        <p:nvSpPr>
          <p:cNvPr id="16" name="object 16"/>
          <p:cNvSpPr txBox="1"/>
          <p:nvPr/>
        </p:nvSpPr>
        <p:spPr>
          <a:xfrm>
            <a:off x="1977008" y="913638"/>
            <a:ext cx="867410" cy="452755"/>
          </a:xfrm>
          <a:prstGeom prst="rect">
            <a:avLst/>
          </a:prstGeom>
        </p:spPr>
        <p:txBody>
          <a:bodyPr vert="horz" wrap="square" lIns="0" tIns="13335" rIns="0" bIns="0" rtlCol="0">
            <a:spAutoFit/>
          </a:bodyPr>
          <a:lstStyle/>
          <a:p>
            <a:pPr marL="12700" marR="5080" indent="81915">
              <a:lnSpc>
                <a:spcPct val="100000"/>
              </a:lnSpc>
              <a:spcBef>
                <a:spcPts val="105"/>
              </a:spcBef>
            </a:pPr>
            <a:r>
              <a:rPr sz="1400" b="1">
                <a:solidFill>
                  <a:srgbClr val="00AFEF"/>
                </a:solidFill>
                <a:latin typeface="Verdana"/>
                <a:cs typeface="Verdana"/>
              </a:rPr>
              <a:t>Marelli  </a:t>
            </a:r>
            <a:r>
              <a:rPr sz="1400" b="1" spc="-5">
                <a:solidFill>
                  <a:srgbClr val="00AFEF"/>
                </a:solidFill>
                <a:latin typeface="Verdana"/>
                <a:cs typeface="Verdana"/>
              </a:rPr>
              <a:t>Sy</a:t>
            </a:r>
            <a:r>
              <a:rPr sz="1400" b="1" spc="-10">
                <a:solidFill>
                  <a:srgbClr val="00AFEF"/>
                </a:solidFill>
                <a:latin typeface="Verdana"/>
                <a:cs typeface="Verdana"/>
              </a:rPr>
              <a:t>s</a:t>
            </a:r>
            <a:r>
              <a:rPr sz="1400" b="1" spc="-5">
                <a:solidFill>
                  <a:srgbClr val="00AFEF"/>
                </a:solidFill>
                <a:latin typeface="Verdana"/>
                <a:cs typeface="Verdana"/>
              </a:rPr>
              <a:t>te</a:t>
            </a:r>
            <a:r>
              <a:rPr sz="1400" b="1">
                <a:solidFill>
                  <a:srgbClr val="00AFEF"/>
                </a:solidFill>
                <a:latin typeface="Verdana"/>
                <a:cs typeface="Verdana"/>
              </a:rPr>
              <a:t>ms</a:t>
            </a:r>
            <a:endParaRPr sz="1400">
              <a:latin typeface="Verdana"/>
              <a:cs typeface="Verdana"/>
            </a:endParaRPr>
          </a:p>
        </p:txBody>
      </p:sp>
      <p:sp>
        <p:nvSpPr>
          <p:cNvPr id="17" name="object 17"/>
          <p:cNvSpPr/>
          <p:nvPr/>
        </p:nvSpPr>
        <p:spPr>
          <a:xfrm>
            <a:off x="1993392" y="3101339"/>
            <a:ext cx="1304925" cy="1644650"/>
          </a:xfrm>
          <a:custGeom>
            <a:avLst/>
            <a:gdLst/>
            <a:ahLst/>
            <a:cxnLst/>
            <a:rect l="l" t="t" r="r" b="b"/>
            <a:pathLst>
              <a:path w="1304925" h="1644650">
                <a:moveTo>
                  <a:pt x="0" y="1644395"/>
                </a:moveTo>
                <a:lnTo>
                  <a:pt x="1304544" y="1644395"/>
                </a:lnTo>
                <a:lnTo>
                  <a:pt x="1304544" y="0"/>
                </a:lnTo>
                <a:lnTo>
                  <a:pt x="0" y="0"/>
                </a:lnTo>
                <a:lnTo>
                  <a:pt x="0" y="1644395"/>
                </a:lnTo>
                <a:close/>
              </a:path>
            </a:pathLst>
          </a:custGeom>
          <a:solidFill>
            <a:srgbClr val="AD7DD4"/>
          </a:solidFill>
        </p:spPr>
        <p:txBody>
          <a:bodyPr wrap="square" lIns="0" tIns="0" rIns="0" bIns="0" rtlCol="0"/>
          <a:lstStyle/>
          <a:p>
            <a:endParaRPr/>
          </a:p>
        </p:txBody>
      </p:sp>
      <p:sp>
        <p:nvSpPr>
          <p:cNvPr id="18" name="object 18"/>
          <p:cNvSpPr/>
          <p:nvPr/>
        </p:nvSpPr>
        <p:spPr>
          <a:xfrm>
            <a:off x="1993392" y="3101339"/>
            <a:ext cx="1304925" cy="1644650"/>
          </a:xfrm>
          <a:custGeom>
            <a:avLst/>
            <a:gdLst/>
            <a:ahLst/>
            <a:cxnLst/>
            <a:rect l="l" t="t" r="r" b="b"/>
            <a:pathLst>
              <a:path w="1304925" h="1644650">
                <a:moveTo>
                  <a:pt x="0" y="1644395"/>
                </a:moveTo>
                <a:lnTo>
                  <a:pt x="1304544" y="1644395"/>
                </a:lnTo>
                <a:lnTo>
                  <a:pt x="1304544" y="0"/>
                </a:lnTo>
                <a:lnTo>
                  <a:pt x="0" y="0"/>
                </a:lnTo>
                <a:lnTo>
                  <a:pt x="0" y="1644395"/>
                </a:lnTo>
                <a:close/>
              </a:path>
            </a:pathLst>
          </a:custGeom>
          <a:ln w="12192">
            <a:solidFill>
              <a:srgbClr val="00507D"/>
            </a:solidFill>
          </a:ln>
        </p:spPr>
        <p:txBody>
          <a:bodyPr wrap="square" lIns="0" tIns="0" rIns="0" bIns="0" rtlCol="0"/>
          <a:lstStyle/>
          <a:p>
            <a:endParaRPr/>
          </a:p>
        </p:txBody>
      </p:sp>
      <p:graphicFrame>
        <p:nvGraphicFramePr>
          <p:cNvPr id="19" name="object 19"/>
          <p:cNvGraphicFramePr>
            <a:graphicFrameLocks noGrp="1"/>
          </p:cNvGraphicFramePr>
          <p:nvPr/>
        </p:nvGraphicFramePr>
        <p:xfrm>
          <a:off x="2092451" y="3163823"/>
          <a:ext cx="1134745" cy="1530094"/>
        </p:xfrm>
        <a:graphic>
          <a:graphicData uri="http://schemas.openxmlformats.org/drawingml/2006/table">
            <a:tbl>
              <a:tblPr firstRow="1" bandRow="1">
                <a:tableStyleId>{2D5ABB26-0587-4C30-8999-92F81FD0307C}</a:tableStyleId>
              </a:tblPr>
              <a:tblGrid>
                <a:gridCol w="1134745">
                  <a:extLst>
                    <a:ext uri="{9D8B030D-6E8A-4147-A177-3AD203B41FA5}">
                      <a16:colId xmlns:a16="http://schemas.microsoft.com/office/drawing/2014/main" val="20000"/>
                    </a:ext>
                  </a:extLst>
                </a:gridCol>
              </a:tblGrid>
              <a:tr h="477011">
                <a:tc>
                  <a:txBody>
                    <a:bodyPr/>
                    <a:lstStyle/>
                    <a:p>
                      <a:pPr algn="ctr">
                        <a:lnSpc>
                          <a:spcPct val="100000"/>
                        </a:lnSpc>
                        <a:spcBef>
                          <a:spcPts val="1035"/>
                        </a:spcBef>
                      </a:pPr>
                      <a:r>
                        <a:rPr sz="1400">
                          <a:solidFill>
                            <a:srgbClr val="FFFFFF"/>
                          </a:solidFill>
                          <a:latin typeface="Verdana"/>
                          <a:cs typeface="Verdana"/>
                        </a:rPr>
                        <a:t>GPICS</a:t>
                      </a:r>
                      <a:endParaRPr sz="1400">
                        <a:latin typeface="Verdana"/>
                        <a:cs typeface="Verdana"/>
                      </a:endParaRPr>
                    </a:p>
                  </a:txBody>
                  <a:tcPr marL="0" marR="0" marT="131445"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0"/>
                  </a:ext>
                </a:extLst>
              </a:tr>
              <a:tr h="51816">
                <a:tc>
                  <a:txBody>
                    <a:bodyPr/>
                    <a:lstStyle/>
                    <a:p>
                      <a:pPr>
                        <a:lnSpc>
                          <a:spcPct val="100000"/>
                        </a:lnSpc>
                      </a:pPr>
                      <a:endParaRPr sz="100">
                        <a:latin typeface="Times New Roman"/>
                        <a:cs typeface="Times New Roman"/>
                      </a:endParaRPr>
                    </a:p>
                  </a:txBody>
                  <a:tcPr marL="0" marR="0" marT="0" marB="0">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1"/>
                  </a:ext>
                </a:extLst>
              </a:tr>
              <a:tr h="501395">
                <a:tc>
                  <a:txBody>
                    <a:bodyPr/>
                    <a:lstStyle/>
                    <a:p>
                      <a:pPr marL="419100" marR="97790" indent="-326390">
                        <a:lnSpc>
                          <a:spcPct val="100000"/>
                        </a:lnSpc>
                        <a:spcBef>
                          <a:spcPts val="570"/>
                        </a:spcBef>
                      </a:pPr>
                      <a:r>
                        <a:rPr sz="1100">
                          <a:solidFill>
                            <a:srgbClr val="FFFFFF"/>
                          </a:solidFill>
                          <a:latin typeface="Verdana"/>
                          <a:cs typeface="Verdana"/>
                        </a:rPr>
                        <a:t>SAP</a:t>
                      </a:r>
                      <a:r>
                        <a:rPr sz="1100" spc="-75">
                          <a:solidFill>
                            <a:srgbClr val="FFFFFF"/>
                          </a:solidFill>
                          <a:latin typeface="Verdana"/>
                          <a:cs typeface="Verdana"/>
                        </a:rPr>
                        <a:t> </a:t>
                      </a:r>
                      <a:r>
                        <a:rPr sz="1100" spc="-5">
                          <a:solidFill>
                            <a:srgbClr val="FFFFFF"/>
                          </a:solidFill>
                          <a:latin typeface="Verdana"/>
                          <a:cs typeface="Verdana"/>
                        </a:rPr>
                        <a:t>Business  </a:t>
                      </a:r>
                      <a:r>
                        <a:rPr sz="1100">
                          <a:solidFill>
                            <a:srgbClr val="FFFFFF"/>
                          </a:solidFill>
                          <a:latin typeface="Verdana"/>
                          <a:cs typeface="Verdana"/>
                        </a:rPr>
                        <a:t>One</a:t>
                      </a:r>
                      <a:endParaRPr sz="1100">
                        <a:latin typeface="Verdana"/>
                        <a:cs typeface="Verdana"/>
                      </a:endParaRPr>
                    </a:p>
                  </a:txBody>
                  <a:tcPr marL="0" marR="0" marT="72390"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2"/>
                  </a:ext>
                </a:extLst>
              </a:tr>
              <a:tr h="499872">
                <a:tc>
                  <a:txBody>
                    <a:bodyPr/>
                    <a:lstStyle/>
                    <a:p>
                      <a:pPr marL="13970" algn="ctr">
                        <a:lnSpc>
                          <a:spcPct val="100000"/>
                        </a:lnSpc>
                        <a:spcBef>
                          <a:spcPts val="1205"/>
                        </a:spcBef>
                      </a:pPr>
                      <a:r>
                        <a:rPr sz="1400" spc="-5">
                          <a:solidFill>
                            <a:srgbClr val="FFFFFF"/>
                          </a:solidFill>
                          <a:latin typeface="Verdana"/>
                          <a:cs typeface="Verdana"/>
                        </a:rPr>
                        <a:t>IFS</a:t>
                      </a:r>
                      <a:endParaRPr sz="1400">
                        <a:latin typeface="Verdana"/>
                        <a:cs typeface="Verdana"/>
                      </a:endParaRPr>
                    </a:p>
                  </a:txBody>
                  <a:tcPr marL="0" marR="0" marT="153035"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3"/>
                  </a:ext>
                </a:extLst>
              </a:tr>
            </a:tbl>
          </a:graphicData>
        </a:graphic>
      </p:graphicFrame>
      <p:sp>
        <p:nvSpPr>
          <p:cNvPr id="20" name="object 20"/>
          <p:cNvSpPr/>
          <p:nvPr/>
        </p:nvSpPr>
        <p:spPr>
          <a:xfrm>
            <a:off x="461772" y="1463039"/>
            <a:ext cx="1268095" cy="5120640"/>
          </a:xfrm>
          <a:custGeom>
            <a:avLst/>
            <a:gdLst/>
            <a:ahLst/>
            <a:cxnLst/>
            <a:rect l="l" t="t" r="r" b="b"/>
            <a:pathLst>
              <a:path w="1268095" h="5120640">
                <a:moveTo>
                  <a:pt x="0" y="5120640"/>
                </a:moveTo>
                <a:lnTo>
                  <a:pt x="1267967" y="5120640"/>
                </a:lnTo>
                <a:lnTo>
                  <a:pt x="1267967" y="0"/>
                </a:lnTo>
                <a:lnTo>
                  <a:pt x="0" y="0"/>
                </a:lnTo>
                <a:lnTo>
                  <a:pt x="0" y="5120640"/>
                </a:lnTo>
                <a:close/>
              </a:path>
            </a:pathLst>
          </a:custGeom>
          <a:solidFill>
            <a:srgbClr val="00AFEF"/>
          </a:solidFill>
        </p:spPr>
        <p:txBody>
          <a:bodyPr wrap="square" lIns="0" tIns="0" rIns="0" bIns="0" rtlCol="0"/>
          <a:lstStyle/>
          <a:p>
            <a:endParaRPr/>
          </a:p>
        </p:txBody>
      </p:sp>
      <p:sp>
        <p:nvSpPr>
          <p:cNvPr id="21" name="object 21"/>
          <p:cNvSpPr txBox="1"/>
          <p:nvPr/>
        </p:nvSpPr>
        <p:spPr>
          <a:xfrm>
            <a:off x="916939" y="886713"/>
            <a:ext cx="471805"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00AFEF"/>
                </a:solidFill>
                <a:latin typeface="Verdana"/>
                <a:cs typeface="Verdana"/>
              </a:rPr>
              <a:t>BU’s</a:t>
            </a:r>
            <a:endParaRPr sz="1400">
              <a:latin typeface="Verdana"/>
              <a:cs typeface="Verdana"/>
            </a:endParaRPr>
          </a:p>
        </p:txBody>
      </p:sp>
      <p:sp>
        <p:nvSpPr>
          <p:cNvPr id="22" name="object 22"/>
          <p:cNvSpPr/>
          <p:nvPr/>
        </p:nvSpPr>
        <p:spPr>
          <a:xfrm>
            <a:off x="481583" y="3122676"/>
            <a:ext cx="1061085" cy="1586865"/>
          </a:xfrm>
          <a:custGeom>
            <a:avLst/>
            <a:gdLst/>
            <a:ahLst/>
            <a:cxnLst/>
            <a:rect l="l" t="t" r="r" b="b"/>
            <a:pathLst>
              <a:path w="1061085" h="1586864">
                <a:moveTo>
                  <a:pt x="1060704" y="0"/>
                </a:moveTo>
                <a:lnTo>
                  <a:pt x="176784" y="0"/>
                </a:lnTo>
                <a:lnTo>
                  <a:pt x="129786" y="6312"/>
                </a:lnTo>
                <a:lnTo>
                  <a:pt x="87556" y="24129"/>
                </a:lnTo>
                <a:lnTo>
                  <a:pt x="51777" y="51768"/>
                </a:lnTo>
                <a:lnTo>
                  <a:pt x="24135" y="87545"/>
                </a:lnTo>
                <a:lnTo>
                  <a:pt x="6314" y="129778"/>
                </a:lnTo>
                <a:lnTo>
                  <a:pt x="0" y="176784"/>
                </a:lnTo>
                <a:lnTo>
                  <a:pt x="0" y="1586484"/>
                </a:lnTo>
                <a:lnTo>
                  <a:pt x="883919" y="1586484"/>
                </a:lnTo>
                <a:lnTo>
                  <a:pt x="930925" y="1580171"/>
                </a:lnTo>
                <a:lnTo>
                  <a:pt x="973158" y="1562354"/>
                </a:lnTo>
                <a:lnTo>
                  <a:pt x="1008935" y="1534715"/>
                </a:lnTo>
                <a:lnTo>
                  <a:pt x="1036573" y="1498938"/>
                </a:lnTo>
                <a:lnTo>
                  <a:pt x="1054391" y="1456705"/>
                </a:lnTo>
                <a:lnTo>
                  <a:pt x="1060704" y="1409700"/>
                </a:lnTo>
                <a:lnTo>
                  <a:pt x="1060704" y="0"/>
                </a:lnTo>
                <a:close/>
              </a:path>
            </a:pathLst>
          </a:custGeom>
          <a:solidFill>
            <a:srgbClr val="BBE7FF"/>
          </a:solidFill>
        </p:spPr>
        <p:txBody>
          <a:bodyPr wrap="square" lIns="0" tIns="0" rIns="0" bIns="0" rtlCol="0"/>
          <a:lstStyle/>
          <a:p>
            <a:endParaRPr/>
          </a:p>
        </p:txBody>
      </p:sp>
      <p:sp>
        <p:nvSpPr>
          <p:cNvPr id="23" name="object 23"/>
          <p:cNvSpPr/>
          <p:nvPr/>
        </p:nvSpPr>
        <p:spPr>
          <a:xfrm>
            <a:off x="481583" y="3122676"/>
            <a:ext cx="1061085" cy="1586865"/>
          </a:xfrm>
          <a:custGeom>
            <a:avLst/>
            <a:gdLst/>
            <a:ahLst/>
            <a:cxnLst/>
            <a:rect l="l" t="t" r="r" b="b"/>
            <a:pathLst>
              <a:path w="1061085" h="1586864">
                <a:moveTo>
                  <a:pt x="176784" y="0"/>
                </a:moveTo>
                <a:lnTo>
                  <a:pt x="1060704" y="0"/>
                </a:lnTo>
                <a:lnTo>
                  <a:pt x="1060704" y="1409700"/>
                </a:lnTo>
                <a:lnTo>
                  <a:pt x="1054391" y="1456705"/>
                </a:lnTo>
                <a:lnTo>
                  <a:pt x="1036573" y="1498938"/>
                </a:lnTo>
                <a:lnTo>
                  <a:pt x="1008935" y="1534715"/>
                </a:lnTo>
                <a:lnTo>
                  <a:pt x="973158" y="1562354"/>
                </a:lnTo>
                <a:lnTo>
                  <a:pt x="930925" y="1580171"/>
                </a:lnTo>
                <a:lnTo>
                  <a:pt x="883919" y="1586484"/>
                </a:lnTo>
                <a:lnTo>
                  <a:pt x="0" y="1586484"/>
                </a:lnTo>
                <a:lnTo>
                  <a:pt x="0" y="176784"/>
                </a:lnTo>
                <a:lnTo>
                  <a:pt x="6314" y="129778"/>
                </a:lnTo>
                <a:lnTo>
                  <a:pt x="24135" y="87545"/>
                </a:lnTo>
                <a:lnTo>
                  <a:pt x="51777" y="51768"/>
                </a:lnTo>
                <a:lnTo>
                  <a:pt x="87556" y="24129"/>
                </a:lnTo>
                <a:lnTo>
                  <a:pt x="129786" y="6312"/>
                </a:lnTo>
                <a:lnTo>
                  <a:pt x="176784" y="0"/>
                </a:lnTo>
                <a:close/>
              </a:path>
            </a:pathLst>
          </a:custGeom>
          <a:ln w="12192">
            <a:solidFill>
              <a:srgbClr val="00507D"/>
            </a:solidFill>
          </a:ln>
        </p:spPr>
        <p:txBody>
          <a:bodyPr wrap="square" lIns="0" tIns="0" rIns="0" bIns="0" rtlCol="0"/>
          <a:lstStyle/>
          <a:p>
            <a:endParaRPr/>
          </a:p>
        </p:txBody>
      </p:sp>
      <p:sp>
        <p:nvSpPr>
          <p:cNvPr id="24" name="object 24"/>
          <p:cNvSpPr/>
          <p:nvPr/>
        </p:nvSpPr>
        <p:spPr>
          <a:xfrm>
            <a:off x="693419" y="3153155"/>
            <a:ext cx="727075" cy="478790"/>
          </a:xfrm>
          <a:custGeom>
            <a:avLst/>
            <a:gdLst/>
            <a:ahLst/>
            <a:cxnLst/>
            <a:rect l="l" t="t" r="r" b="b"/>
            <a:pathLst>
              <a:path w="727075" h="478789">
                <a:moveTo>
                  <a:pt x="726948" y="0"/>
                </a:moveTo>
                <a:lnTo>
                  <a:pt x="79756" y="0"/>
                </a:lnTo>
                <a:lnTo>
                  <a:pt x="48713" y="6264"/>
                </a:lnTo>
                <a:lnTo>
                  <a:pt x="23361" y="23352"/>
                </a:lnTo>
                <a:lnTo>
                  <a:pt x="6268" y="48702"/>
                </a:lnTo>
                <a:lnTo>
                  <a:pt x="0" y="79756"/>
                </a:lnTo>
                <a:lnTo>
                  <a:pt x="0" y="478536"/>
                </a:lnTo>
                <a:lnTo>
                  <a:pt x="647192" y="478536"/>
                </a:lnTo>
                <a:lnTo>
                  <a:pt x="678245" y="472271"/>
                </a:lnTo>
                <a:lnTo>
                  <a:pt x="703595" y="455183"/>
                </a:lnTo>
                <a:lnTo>
                  <a:pt x="720683" y="429833"/>
                </a:lnTo>
                <a:lnTo>
                  <a:pt x="726948" y="398780"/>
                </a:lnTo>
                <a:lnTo>
                  <a:pt x="726948" y="0"/>
                </a:lnTo>
                <a:close/>
              </a:path>
            </a:pathLst>
          </a:custGeom>
          <a:solidFill>
            <a:srgbClr val="006FAC"/>
          </a:solidFill>
        </p:spPr>
        <p:txBody>
          <a:bodyPr wrap="square" lIns="0" tIns="0" rIns="0" bIns="0" rtlCol="0"/>
          <a:lstStyle/>
          <a:p>
            <a:endParaRPr/>
          </a:p>
        </p:txBody>
      </p:sp>
      <p:sp>
        <p:nvSpPr>
          <p:cNvPr id="25" name="object 25"/>
          <p:cNvSpPr/>
          <p:nvPr/>
        </p:nvSpPr>
        <p:spPr>
          <a:xfrm>
            <a:off x="693419" y="3153155"/>
            <a:ext cx="727075" cy="478790"/>
          </a:xfrm>
          <a:custGeom>
            <a:avLst/>
            <a:gdLst/>
            <a:ahLst/>
            <a:cxnLst/>
            <a:rect l="l" t="t" r="r" b="b"/>
            <a:pathLst>
              <a:path w="727075" h="478789">
                <a:moveTo>
                  <a:pt x="79756" y="0"/>
                </a:moveTo>
                <a:lnTo>
                  <a:pt x="726948" y="0"/>
                </a:lnTo>
                <a:lnTo>
                  <a:pt x="726948" y="398780"/>
                </a:lnTo>
                <a:lnTo>
                  <a:pt x="720683" y="429833"/>
                </a:lnTo>
                <a:lnTo>
                  <a:pt x="703595" y="455183"/>
                </a:lnTo>
                <a:lnTo>
                  <a:pt x="678245" y="472271"/>
                </a:lnTo>
                <a:lnTo>
                  <a:pt x="647192" y="478536"/>
                </a:lnTo>
                <a:lnTo>
                  <a:pt x="0" y="478536"/>
                </a:lnTo>
                <a:lnTo>
                  <a:pt x="0" y="79756"/>
                </a:lnTo>
                <a:lnTo>
                  <a:pt x="6268" y="48702"/>
                </a:lnTo>
                <a:lnTo>
                  <a:pt x="23361" y="23352"/>
                </a:lnTo>
                <a:lnTo>
                  <a:pt x="48713" y="6264"/>
                </a:lnTo>
                <a:lnTo>
                  <a:pt x="79756" y="0"/>
                </a:lnTo>
                <a:close/>
              </a:path>
            </a:pathLst>
          </a:custGeom>
          <a:ln w="12192">
            <a:solidFill>
              <a:srgbClr val="00507D"/>
            </a:solidFill>
          </a:ln>
        </p:spPr>
        <p:txBody>
          <a:bodyPr wrap="square" lIns="0" tIns="0" rIns="0" bIns="0" rtlCol="0"/>
          <a:lstStyle/>
          <a:p>
            <a:endParaRPr/>
          </a:p>
        </p:txBody>
      </p:sp>
      <p:sp>
        <p:nvSpPr>
          <p:cNvPr id="26" name="object 26"/>
          <p:cNvSpPr txBox="1"/>
          <p:nvPr/>
        </p:nvSpPr>
        <p:spPr>
          <a:xfrm>
            <a:off x="831494" y="3257550"/>
            <a:ext cx="463550" cy="269240"/>
          </a:xfrm>
          <a:prstGeom prst="rect">
            <a:avLst/>
          </a:prstGeom>
        </p:spPr>
        <p:txBody>
          <a:bodyPr vert="horz" wrap="square" lIns="0" tIns="12065" rIns="0" bIns="0" rtlCol="0">
            <a:spAutoFit/>
          </a:bodyPr>
          <a:lstStyle/>
          <a:p>
            <a:pPr>
              <a:lnSpc>
                <a:spcPct val="100000"/>
              </a:lnSpc>
              <a:spcBef>
                <a:spcPts val="95"/>
              </a:spcBef>
            </a:pPr>
            <a:r>
              <a:rPr sz="1600" spc="-10">
                <a:solidFill>
                  <a:srgbClr val="FFFFFF"/>
                </a:solidFill>
                <a:latin typeface="Verdana"/>
                <a:cs typeface="Verdana"/>
              </a:rPr>
              <a:t>EPW</a:t>
            </a:r>
            <a:endParaRPr sz="1600">
              <a:latin typeface="Verdana"/>
              <a:cs typeface="Verdana"/>
            </a:endParaRPr>
          </a:p>
        </p:txBody>
      </p:sp>
      <p:sp>
        <p:nvSpPr>
          <p:cNvPr id="27" name="object 27"/>
          <p:cNvSpPr/>
          <p:nvPr/>
        </p:nvSpPr>
        <p:spPr>
          <a:xfrm>
            <a:off x="687323" y="3675888"/>
            <a:ext cx="742315" cy="478790"/>
          </a:xfrm>
          <a:custGeom>
            <a:avLst/>
            <a:gdLst/>
            <a:ahLst/>
            <a:cxnLst/>
            <a:rect l="l" t="t" r="r" b="b"/>
            <a:pathLst>
              <a:path w="742315" h="478789">
                <a:moveTo>
                  <a:pt x="742188" y="0"/>
                </a:moveTo>
                <a:lnTo>
                  <a:pt x="79756" y="0"/>
                </a:lnTo>
                <a:lnTo>
                  <a:pt x="48713" y="6264"/>
                </a:lnTo>
                <a:lnTo>
                  <a:pt x="23361" y="23352"/>
                </a:lnTo>
                <a:lnTo>
                  <a:pt x="6268" y="48702"/>
                </a:lnTo>
                <a:lnTo>
                  <a:pt x="0" y="79756"/>
                </a:lnTo>
                <a:lnTo>
                  <a:pt x="0" y="478536"/>
                </a:lnTo>
                <a:lnTo>
                  <a:pt x="662432" y="478536"/>
                </a:lnTo>
                <a:lnTo>
                  <a:pt x="693485" y="472271"/>
                </a:lnTo>
                <a:lnTo>
                  <a:pt x="718835" y="455183"/>
                </a:lnTo>
                <a:lnTo>
                  <a:pt x="735923" y="429833"/>
                </a:lnTo>
                <a:lnTo>
                  <a:pt x="742188" y="398780"/>
                </a:lnTo>
                <a:lnTo>
                  <a:pt x="742188" y="0"/>
                </a:lnTo>
                <a:close/>
              </a:path>
            </a:pathLst>
          </a:custGeom>
          <a:solidFill>
            <a:srgbClr val="006FAC"/>
          </a:solidFill>
        </p:spPr>
        <p:txBody>
          <a:bodyPr wrap="square" lIns="0" tIns="0" rIns="0" bIns="0" rtlCol="0"/>
          <a:lstStyle/>
          <a:p>
            <a:endParaRPr/>
          </a:p>
        </p:txBody>
      </p:sp>
      <p:sp>
        <p:nvSpPr>
          <p:cNvPr id="28" name="object 28"/>
          <p:cNvSpPr/>
          <p:nvPr/>
        </p:nvSpPr>
        <p:spPr>
          <a:xfrm>
            <a:off x="687323" y="3675888"/>
            <a:ext cx="742315" cy="478790"/>
          </a:xfrm>
          <a:custGeom>
            <a:avLst/>
            <a:gdLst/>
            <a:ahLst/>
            <a:cxnLst/>
            <a:rect l="l" t="t" r="r" b="b"/>
            <a:pathLst>
              <a:path w="742315" h="478789">
                <a:moveTo>
                  <a:pt x="79756" y="0"/>
                </a:moveTo>
                <a:lnTo>
                  <a:pt x="742188" y="0"/>
                </a:lnTo>
                <a:lnTo>
                  <a:pt x="742188" y="398780"/>
                </a:lnTo>
                <a:lnTo>
                  <a:pt x="735923" y="429833"/>
                </a:lnTo>
                <a:lnTo>
                  <a:pt x="718835" y="455183"/>
                </a:lnTo>
                <a:lnTo>
                  <a:pt x="693485" y="472271"/>
                </a:lnTo>
                <a:lnTo>
                  <a:pt x="662432" y="478536"/>
                </a:lnTo>
                <a:lnTo>
                  <a:pt x="0" y="478536"/>
                </a:lnTo>
                <a:lnTo>
                  <a:pt x="0" y="79756"/>
                </a:lnTo>
                <a:lnTo>
                  <a:pt x="6268" y="48702"/>
                </a:lnTo>
                <a:lnTo>
                  <a:pt x="23361" y="23352"/>
                </a:lnTo>
                <a:lnTo>
                  <a:pt x="48713" y="6264"/>
                </a:lnTo>
                <a:lnTo>
                  <a:pt x="79756" y="0"/>
                </a:lnTo>
                <a:close/>
              </a:path>
            </a:pathLst>
          </a:custGeom>
          <a:ln w="12192">
            <a:solidFill>
              <a:srgbClr val="00507D"/>
            </a:solidFill>
          </a:ln>
        </p:spPr>
        <p:txBody>
          <a:bodyPr wrap="square" lIns="0" tIns="0" rIns="0" bIns="0" rtlCol="0"/>
          <a:lstStyle/>
          <a:p>
            <a:endParaRPr/>
          </a:p>
        </p:txBody>
      </p:sp>
      <p:sp>
        <p:nvSpPr>
          <p:cNvPr id="29" name="object 29"/>
          <p:cNvSpPr/>
          <p:nvPr/>
        </p:nvSpPr>
        <p:spPr>
          <a:xfrm>
            <a:off x="682751" y="4212335"/>
            <a:ext cx="744220" cy="429895"/>
          </a:xfrm>
          <a:custGeom>
            <a:avLst/>
            <a:gdLst/>
            <a:ahLst/>
            <a:cxnLst/>
            <a:rect l="l" t="t" r="r" b="b"/>
            <a:pathLst>
              <a:path w="744219" h="429895">
                <a:moveTo>
                  <a:pt x="743711" y="0"/>
                </a:moveTo>
                <a:lnTo>
                  <a:pt x="71628" y="0"/>
                </a:lnTo>
                <a:lnTo>
                  <a:pt x="43746" y="5637"/>
                </a:lnTo>
                <a:lnTo>
                  <a:pt x="20978" y="21002"/>
                </a:lnTo>
                <a:lnTo>
                  <a:pt x="5628" y="43773"/>
                </a:lnTo>
                <a:lnTo>
                  <a:pt x="0" y="71627"/>
                </a:lnTo>
                <a:lnTo>
                  <a:pt x="0" y="429768"/>
                </a:lnTo>
                <a:lnTo>
                  <a:pt x="672084" y="429768"/>
                </a:lnTo>
                <a:lnTo>
                  <a:pt x="699938" y="424130"/>
                </a:lnTo>
                <a:lnTo>
                  <a:pt x="722709" y="408765"/>
                </a:lnTo>
                <a:lnTo>
                  <a:pt x="738074" y="385994"/>
                </a:lnTo>
                <a:lnTo>
                  <a:pt x="743711" y="358139"/>
                </a:lnTo>
                <a:lnTo>
                  <a:pt x="743711" y="0"/>
                </a:lnTo>
                <a:close/>
              </a:path>
            </a:pathLst>
          </a:custGeom>
          <a:solidFill>
            <a:srgbClr val="006FAC"/>
          </a:solidFill>
        </p:spPr>
        <p:txBody>
          <a:bodyPr wrap="square" lIns="0" tIns="0" rIns="0" bIns="0" rtlCol="0"/>
          <a:lstStyle/>
          <a:p>
            <a:endParaRPr/>
          </a:p>
        </p:txBody>
      </p:sp>
      <p:sp>
        <p:nvSpPr>
          <p:cNvPr id="30" name="object 30"/>
          <p:cNvSpPr/>
          <p:nvPr/>
        </p:nvSpPr>
        <p:spPr>
          <a:xfrm>
            <a:off x="682751" y="4212335"/>
            <a:ext cx="744220" cy="429895"/>
          </a:xfrm>
          <a:custGeom>
            <a:avLst/>
            <a:gdLst/>
            <a:ahLst/>
            <a:cxnLst/>
            <a:rect l="l" t="t" r="r" b="b"/>
            <a:pathLst>
              <a:path w="744219" h="429895">
                <a:moveTo>
                  <a:pt x="71628" y="0"/>
                </a:moveTo>
                <a:lnTo>
                  <a:pt x="743711" y="0"/>
                </a:lnTo>
                <a:lnTo>
                  <a:pt x="743711" y="358139"/>
                </a:lnTo>
                <a:lnTo>
                  <a:pt x="738074" y="385994"/>
                </a:lnTo>
                <a:lnTo>
                  <a:pt x="722709" y="408765"/>
                </a:lnTo>
                <a:lnTo>
                  <a:pt x="699938" y="424130"/>
                </a:lnTo>
                <a:lnTo>
                  <a:pt x="672084" y="429768"/>
                </a:lnTo>
                <a:lnTo>
                  <a:pt x="0" y="429768"/>
                </a:lnTo>
                <a:lnTo>
                  <a:pt x="0" y="71627"/>
                </a:lnTo>
                <a:lnTo>
                  <a:pt x="5628" y="43773"/>
                </a:lnTo>
                <a:lnTo>
                  <a:pt x="20978" y="21002"/>
                </a:lnTo>
                <a:lnTo>
                  <a:pt x="43746" y="5637"/>
                </a:lnTo>
                <a:lnTo>
                  <a:pt x="71628" y="0"/>
                </a:lnTo>
                <a:close/>
              </a:path>
            </a:pathLst>
          </a:custGeom>
          <a:ln w="12191">
            <a:solidFill>
              <a:srgbClr val="00507D"/>
            </a:solidFill>
          </a:ln>
        </p:spPr>
        <p:txBody>
          <a:bodyPr wrap="square" lIns="0" tIns="0" rIns="0" bIns="0" rtlCol="0"/>
          <a:lstStyle/>
          <a:p>
            <a:endParaRPr/>
          </a:p>
        </p:txBody>
      </p:sp>
      <p:sp>
        <p:nvSpPr>
          <p:cNvPr id="31" name="object 31"/>
          <p:cNvSpPr txBox="1"/>
          <p:nvPr/>
        </p:nvSpPr>
        <p:spPr>
          <a:xfrm>
            <a:off x="818692" y="3765042"/>
            <a:ext cx="484505" cy="811530"/>
          </a:xfrm>
          <a:prstGeom prst="rect">
            <a:avLst/>
          </a:prstGeom>
        </p:spPr>
        <p:txBody>
          <a:bodyPr vert="horz" wrap="square" lIns="0" tIns="12700" rIns="0" bIns="0" rtlCol="0">
            <a:spAutoFit/>
          </a:bodyPr>
          <a:lstStyle/>
          <a:p>
            <a:pPr marL="57785">
              <a:lnSpc>
                <a:spcPct val="100000"/>
              </a:lnSpc>
              <a:spcBef>
                <a:spcPts val="100"/>
              </a:spcBef>
            </a:pPr>
            <a:r>
              <a:rPr sz="1800" spc="-10">
                <a:solidFill>
                  <a:srgbClr val="FFFFFF"/>
                </a:solidFill>
                <a:latin typeface="Verdana"/>
                <a:cs typeface="Verdana"/>
              </a:rPr>
              <a:t>PW</a:t>
            </a:r>
            <a:endParaRPr sz="1800">
              <a:latin typeface="Verdana"/>
              <a:cs typeface="Verdana"/>
            </a:endParaRPr>
          </a:p>
          <a:p>
            <a:pPr>
              <a:lnSpc>
                <a:spcPct val="100000"/>
              </a:lnSpc>
              <a:spcBef>
                <a:spcPts val="1864"/>
              </a:spcBef>
            </a:pPr>
            <a:r>
              <a:rPr sz="1800" spc="-5">
                <a:solidFill>
                  <a:srgbClr val="FFFFFF"/>
                </a:solidFill>
                <a:latin typeface="Verdana"/>
                <a:cs typeface="Verdana"/>
              </a:rPr>
              <a:t>G</a:t>
            </a:r>
            <a:r>
              <a:rPr sz="1800" spc="-25">
                <a:solidFill>
                  <a:srgbClr val="FFFFFF"/>
                </a:solidFill>
                <a:latin typeface="Verdana"/>
                <a:cs typeface="Verdana"/>
              </a:rPr>
              <a:t>T</a:t>
            </a:r>
            <a:r>
              <a:rPr sz="1800">
                <a:solidFill>
                  <a:srgbClr val="FFFFFF"/>
                </a:solidFill>
                <a:latin typeface="Verdana"/>
                <a:cs typeface="Verdana"/>
              </a:rPr>
              <a:t>S</a:t>
            </a:r>
            <a:endParaRPr sz="1800">
              <a:latin typeface="Verdana"/>
              <a:cs typeface="Verdana"/>
            </a:endParaRPr>
          </a:p>
        </p:txBody>
      </p:sp>
      <p:sp>
        <p:nvSpPr>
          <p:cNvPr id="32" name="object 32"/>
          <p:cNvSpPr/>
          <p:nvPr/>
        </p:nvSpPr>
        <p:spPr>
          <a:xfrm>
            <a:off x="1536191" y="3742944"/>
            <a:ext cx="475615" cy="242570"/>
          </a:xfrm>
          <a:custGeom>
            <a:avLst/>
            <a:gdLst/>
            <a:ahLst/>
            <a:cxnLst/>
            <a:rect l="l" t="t" r="r" b="b"/>
            <a:pathLst>
              <a:path w="475614" h="242570">
                <a:moveTo>
                  <a:pt x="354330" y="0"/>
                </a:moveTo>
                <a:lnTo>
                  <a:pt x="354330" y="60578"/>
                </a:lnTo>
                <a:lnTo>
                  <a:pt x="0" y="60578"/>
                </a:lnTo>
                <a:lnTo>
                  <a:pt x="0" y="181736"/>
                </a:lnTo>
                <a:lnTo>
                  <a:pt x="354330" y="181736"/>
                </a:lnTo>
                <a:lnTo>
                  <a:pt x="354330" y="242315"/>
                </a:lnTo>
                <a:lnTo>
                  <a:pt x="475488" y="121157"/>
                </a:lnTo>
                <a:lnTo>
                  <a:pt x="354330" y="0"/>
                </a:lnTo>
                <a:close/>
              </a:path>
            </a:pathLst>
          </a:custGeom>
          <a:solidFill>
            <a:srgbClr val="006FAC"/>
          </a:solidFill>
        </p:spPr>
        <p:txBody>
          <a:bodyPr wrap="square" lIns="0" tIns="0" rIns="0" bIns="0" rtlCol="0"/>
          <a:lstStyle/>
          <a:p>
            <a:endParaRPr/>
          </a:p>
        </p:txBody>
      </p:sp>
      <p:sp>
        <p:nvSpPr>
          <p:cNvPr id="33" name="object 33"/>
          <p:cNvSpPr/>
          <p:nvPr/>
        </p:nvSpPr>
        <p:spPr>
          <a:xfrm>
            <a:off x="1536191" y="3742944"/>
            <a:ext cx="475615" cy="242570"/>
          </a:xfrm>
          <a:custGeom>
            <a:avLst/>
            <a:gdLst/>
            <a:ahLst/>
            <a:cxnLst/>
            <a:rect l="l" t="t" r="r" b="b"/>
            <a:pathLst>
              <a:path w="475614" h="242570">
                <a:moveTo>
                  <a:pt x="0" y="60578"/>
                </a:moveTo>
                <a:lnTo>
                  <a:pt x="354330" y="60578"/>
                </a:lnTo>
                <a:lnTo>
                  <a:pt x="354330" y="0"/>
                </a:lnTo>
                <a:lnTo>
                  <a:pt x="475488" y="121157"/>
                </a:lnTo>
                <a:lnTo>
                  <a:pt x="354330" y="242315"/>
                </a:lnTo>
                <a:lnTo>
                  <a:pt x="354330" y="181736"/>
                </a:lnTo>
                <a:lnTo>
                  <a:pt x="0" y="181736"/>
                </a:lnTo>
                <a:lnTo>
                  <a:pt x="0" y="60578"/>
                </a:lnTo>
                <a:close/>
              </a:path>
            </a:pathLst>
          </a:custGeom>
          <a:ln w="12192">
            <a:solidFill>
              <a:srgbClr val="00507D"/>
            </a:solidFill>
          </a:ln>
        </p:spPr>
        <p:txBody>
          <a:bodyPr wrap="square" lIns="0" tIns="0" rIns="0" bIns="0" rtlCol="0"/>
          <a:lstStyle/>
          <a:p>
            <a:endParaRPr/>
          </a:p>
        </p:txBody>
      </p:sp>
      <p:sp>
        <p:nvSpPr>
          <p:cNvPr id="34" name="object 34"/>
          <p:cNvSpPr txBox="1">
            <a:spLocks noGrp="1"/>
          </p:cNvSpPr>
          <p:nvPr>
            <p:ph type="title"/>
          </p:nvPr>
        </p:nvSpPr>
        <p:spPr>
          <a:xfrm>
            <a:off x="468883" y="201929"/>
            <a:ext cx="8458835" cy="452120"/>
          </a:xfrm>
          <a:prstGeom prst="rect">
            <a:avLst/>
          </a:prstGeom>
        </p:spPr>
        <p:txBody>
          <a:bodyPr vert="horz" wrap="square" lIns="0" tIns="12065" rIns="0" bIns="0" rtlCol="0">
            <a:spAutoFit/>
          </a:bodyPr>
          <a:lstStyle/>
          <a:p>
            <a:pPr marL="12700">
              <a:lnSpc>
                <a:spcPct val="100000"/>
              </a:lnSpc>
              <a:spcBef>
                <a:spcPts val="95"/>
              </a:spcBef>
            </a:pPr>
            <a:r>
              <a:rPr sz="2800" spc="-55"/>
              <a:t>Wave </a:t>
            </a:r>
            <a:r>
              <a:rPr sz="2800" spc="-5"/>
              <a:t>– 1 : </a:t>
            </a:r>
            <a:r>
              <a:rPr sz="2800" spc="-10"/>
              <a:t>Application Integration</a:t>
            </a:r>
            <a:r>
              <a:rPr sz="2800" spc="229"/>
              <a:t> </a:t>
            </a:r>
            <a:r>
              <a:rPr sz="2800" spc="-15"/>
              <a:t>Architecture</a:t>
            </a:r>
            <a:endParaRPr sz="2800"/>
          </a:p>
        </p:txBody>
      </p:sp>
      <p:sp>
        <p:nvSpPr>
          <p:cNvPr id="35" name="object 3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6" name="object 3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2</a:t>
            </a:fld>
            <a:endParaRPr sz="800">
              <a:latin typeface="Verdana"/>
              <a:cs typeface="Verdana"/>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729739" y="1463039"/>
            <a:ext cx="1697989" cy="5120640"/>
          </a:xfrm>
          <a:custGeom>
            <a:avLst/>
            <a:gdLst/>
            <a:ahLst/>
            <a:cxnLst/>
            <a:rect l="l" t="t" r="r" b="b"/>
            <a:pathLst>
              <a:path w="1697989" h="5120640">
                <a:moveTo>
                  <a:pt x="0" y="5120640"/>
                </a:moveTo>
                <a:lnTo>
                  <a:pt x="1697736" y="5120640"/>
                </a:lnTo>
                <a:lnTo>
                  <a:pt x="1697736" y="0"/>
                </a:lnTo>
                <a:lnTo>
                  <a:pt x="0" y="0"/>
                </a:lnTo>
                <a:lnTo>
                  <a:pt x="0" y="5120640"/>
                </a:lnTo>
                <a:close/>
              </a:path>
            </a:pathLst>
          </a:custGeom>
          <a:solidFill>
            <a:srgbClr val="003856"/>
          </a:solidFill>
        </p:spPr>
        <p:txBody>
          <a:bodyPr wrap="square" lIns="0" tIns="0" rIns="0" bIns="0" rtlCol="0"/>
          <a:lstStyle/>
          <a:p>
            <a:endParaRPr/>
          </a:p>
        </p:txBody>
      </p:sp>
      <p:sp>
        <p:nvSpPr>
          <p:cNvPr id="3" name="object 3"/>
          <p:cNvSpPr/>
          <p:nvPr/>
        </p:nvSpPr>
        <p:spPr>
          <a:xfrm>
            <a:off x="8819811" y="2965704"/>
            <a:ext cx="3030389" cy="1735741"/>
          </a:xfrm>
          <a:prstGeom prst="rect">
            <a:avLst/>
          </a:prstGeom>
          <a:blipFill>
            <a:blip r:embed="rId2" cstate="print"/>
            <a:stretch>
              <a:fillRect/>
            </a:stretch>
          </a:blipFill>
        </p:spPr>
        <p:txBody>
          <a:bodyPr wrap="square" lIns="0" tIns="0" rIns="0" bIns="0" rtlCol="0"/>
          <a:lstStyle/>
          <a:p>
            <a:endParaRPr/>
          </a:p>
        </p:txBody>
      </p:sp>
      <p:sp>
        <p:nvSpPr>
          <p:cNvPr id="14" name="object 14"/>
          <p:cNvSpPr/>
          <p:nvPr/>
        </p:nvSpPr>
        <p:spPr>
          <a:xfrm>
            <a:off x="7344156" y="3840479"/>
            <a:ext cx="1447800" cy="253365"/>
          </a:xfrm>
          <a:custGeom>
            <a:avLst/>
            <a:gdLst/>
            <a:ahLst/>
            <a:cxnLst/>
            <a:rect l="l" t="t" r="r" b="b"/>
            <a:pathLst>
              <a:path w="1447800" h="253364">
                <a:moveTo>
                  <a:pt x="126492" y="0"/>
                </a:moveTo>
                <a:lnTo>
                  <a:pt x="0" y="126492"/>
                </a:lnTo>
                <a:lnTo>
                  <a:pt x="126492" y="252984"/>
                </a:lnTo>
                <a:lnTo>
                  <a:pt x="126492" y="189738"/>
                </a:lnTo>
                <a:lnTo>
                  <a:pt x="1384553" y="189738"/>
                </a:lnTo>
                <a:lnTo>
                  <a:pt x="1447800" y="126492"/>
                </a:lnTo>
                <a:lnTo>
                  <a:pt x="1384553" y="63246"/>
                </a:lnTo>
                <a:lnTo>
                  <a:pt x="126492" y="63246"/>
                </a:lnTo>
                <a:lnTo>
                  <a:pt x="126492" y="0"/>
                </a:lnTo>
                <a:close/>
              </a:path>
              <a:path w="1447800" h="253364">
                <a:moveTo>
                  <a:pt x="1384553" y="189738"/>
                </a:moveTo>
                <a:lnTo>
                  <a:pt x="1321308" y="189738"/>
                </a:lnTo>
                <a:lnTo>
                  <a:pt x="1321308" y="252984"/>
                </a:lnTo>
                <a:lnTo>
                  <a:pt x="1384553" y="189738"/>
                </a:lnTo>
                <a:close/>
              </a:path>
              <a:path w="1447800" h="253364">
                <a:moveTo>
                  <a:pt x="1321308" y="0"/>
                </a:moveTo>
                <a:lnTo>
                  <a:pt x="1321308" y="63246"/>
                </a:lnTo>
                <a:lnTo>
                  <a:pt x="1384553" y="63246"/>
                </a:lnTo>
                <a:lnTo>
                  <a:pt x="1321308" y="0"/>
                </a:lnTo>
                <a:close/>
              </a:path>
            </a:pathLst>
          </a:custGeom>
          <a:solidFill>
            <a:srgbClr val="2B133C"/>
          </a:solidFill>
        </p:spPr>
        <p:txBody>
          <a:bodyPr wrap="square" lIns="0" tIns="0" rIns="0" bIns="0" rtlCol="0"/>
          <a:lstStyle/>
          <a:p>
            <a:endParaRPr/>
          </a:p>
        </p:txBody>
      </p:sp>
      <p:sp>
        <p:nvSpPr>
          <p:cNvPr id="15" name="object 15"/>
          <p:cNvSpPr txBox="1"/>
          <p:nvPr/>
        </p:nvSpPr>
        <p:spPr>
          <a:xfrm>
            <a:off x="7405496" y="3474846"/>
            <a:ext cx="1264920" cy="361315"/>
          </a:xfrm>
          <a:prstGeom prst="rect">
            <a:avLst/>
          </a:prstGeom>
        </p:spPr>
        <p:txBody>
          <a:bodyPr vert="horz" wrap="square" lIns="0" tIns="13335" rIns="0" bIns="0" rtlCol="0">
            <a:spAutoFit/>
          </a:bodyPr>
          <a:lstStyle/>
          <a:p>
            <a:pPr marL="447040" marR="5080" indent="-434975">
              <a:lnSpc>
                <a:spcPct val="100000"/>
              </a:lnSpc>
              <a:spcBef>
                <a:spcPts val="105"/>
              </a:spcBef>
            </a:pPr>
            <a:r>
              <a:rPr sz="1100" b="1" spc="-5">
                <a:solidFill>
                  <a:srgbClr val="00AFEF"/>
                </a:solidFill>
                <a:latin typeface="Verdana"/>
                <a:cs typeface="Verdana"/>
              </a:rPr>
              <a:t>Realtime </a:t>
            </a:r>
            <a:r>
              <a:rPr sz="1100" b="1">
                <a:solidFill>
                  <a:srgbClr val="00AFEF"/>
                </a:solidFill>
                <a:latin typeface="Verdana"/>
                <a:cs typeface="Verdana"/>
              </a:rPr>
              <a:t>–</a:t>
            </a:r>
            <a:r>
              <a:rPr sz="1100" b="1" spc="-85">
                <a:solidFill>
                  <a:srgbClr val="00AFEF"/>
                </a:solidFill>
                <a:latin typeface="Verdana"/>
                <a:cs typeface="Verdana"/>
              </a:rPr>
              <a:t> </a:t>
            </a:r>
            <a:r>
              <a:rPr sz="1100" b="1">
                <a:solidFill>
                  <a:srgbClr val="00AFEF"/>
                </a:solidFill>
                <a:latin typeface="Verdana"/>
                <a:cs typeface="Verdana"/>
              </a:rPr>
              <a:t>Rest  </a:t>
            </a:r>
            <a:r>
              <a:rPr sz="1100" b="1" spc="-5">
                <a:solidFill>
                  <a:srgbClr val="00AFEF"/>
                </a:solidFill>
                <a:latin typeface="Verdana"/>
                <a:cs typeface="Verdana"/>
              </a:rPr>
              <a:t>APIs</a:t>
            </a:r>
            <a:endParaRPr sz="1100">
              <a:latin typeface="Verdana"/>
              <a:cs typeface="Verdana"/>
            </a:endParaRPr>
          </a:p>
        </p:txBody>
      </p:sp>
      <p:sp>
        <p:nvSpPr>
          <p:cNvPr id="16" name="object 16"/>
          <p:cNvSpPr/>
          <p:nvPr/>
        </p:nvSpPr>
        <p:spPr>
          <a:xfrm>
            <a:off x="3107435" y="3840479"/>
            <a:ext cx="669290" cy="266700"/>
          </a:xfrm>
          <a:custGeom>
            <a:avLst/>
            <a:gdLst/>
            <a:ahLst/>
            <a:cxnLst/>
            <a:rect l="l" t="t" r="r" b="b"/>
            <a:pathLst>
              <a:path w="669289" h="266700">
                <a:moveTo>
                  <a:pt x="133350" y="0"/>
                </a:moveTo>
                <a:lnTo>
                  <a:pt x="0" y="133350"/>
                </a:lnTo>
                <a:lnTo>
                  <a:pt x="133350" y="266700"/>
                </a:lnTo>
                <a:lnTo>
                  <a:pt x="133350" y="200025"/>
                </a:lnTo>
                <a:lnTo>
                  <a:pt x="602361" y="200025"/>
                </a:lnTo>
                <a:lnTo>
                  <a:pt x="669036" y="133350"/>
                </a:lnTo>
                <a:lnTo>
                  <a:pt x="602361" y="66675"/>
                </a:lnTo>
                <a:lnTo>
                  <a:pt x="133350" y="66675"/>
                </a:lnTo>
                <a:lnTo>
                  <a:pt x="133350" y="0"/>
                </a:lnTo>
                <a:close/>
              </a:path>
              <a:path w="669289" h="266700">
                <a:moveTo>
                  <a:pt x="602361" y="200025"/>
                </a:moveTo>
                <a:lnTo>
                  <a:pt x="535686" y="200025"/>
                </a:lnTo>
                <a:lnTo>
                  <a:pt x="535686" y="266700"/>
                </a:lnTo>
                <a:lnTo>
                  <a:pt x="602361" y="200025"/>
                </a:lnTo>
                <a:close/>
              </a:path>
              <a:path w="669289" h="266700">
                <a:moveTo>
                  <a:pt x="535686" y="0"/>
                </a:moveTo>
                <a:lnTo>
                  <a:pt x="535686" y="66675"/>
                </a:lnTo>
                <a:lnTo>
                  <a:pt x="602361" y="66675"/>
                </a:lnTo>
                <a:lnTo>
                  <a:pt x="535686" y="0"/>
                </a:lnTo>
                <a:close/>
              </a:path>
            </a:pathLst>
          </a:custGeom>
          <a:solidFill>
            <a:srgbClr val="2B133C"/>
          </a:solidFill>
        </p:spPr>
        <p:txBody>
          <a:bodyPr wrap="square" lIns="0" tIns="0" rIns="0" bIns="0" rtlCol="0"/>
          <a:lstStyle/>
          <a:p>
            <a:endParaRPr/>
          </a:p>
        </p:txBody>
      </p:sp>
      <p:sp>
        <p:nvSpPr>
          <p:cNvPr id="22" name="object 22"/>
          <p:cNvSpPr txBox="1"/>
          <p:nvPr/>
        </p:nvSpPr>
        <p:spPr>
          <a:xfrm>
            <a:off x="1977008" y="913638"/>
            <a:ext cx="867410" cy="452755"/>
          </a:xfrm>
          <a:prstGeom prst="rect">
            <a:avLst/>
          </a:prstGeom>
        </p:spPr>
        <p:txBody>
          <a:bodyPr vert="horz" wrap="square" lIns="0" tIns="13335" rIns="0" bIns="0" rtlCol="0">
            <a:spAutoFit/>
          </a:bodyPr>
          <a:lstStyle/>
          <a:p>
            <a:pPr marL="12700" marR="5080" indent="81915">
              <a:lnSpc>
                <a:spcPct val="100000"/>
              </a:lnSpc>
              <a:spcBef>
                <a:spcPts val="105"/>
              </a:spcBef>
            </a:pPr>
            <a:r>
              <a:rPr sz="1400" b="1">
                <a:solidFill>
                  <a:srgbClr val="00AFEF"/>
                </a:solidFill>
                <a:latin typeface="Verdana"/>
                <a:cs typeface="Verdana"/>
              </a:rPr>
              <a:t>Marelli  </a:t>
            </a:r>
            <a:r>
              <a:rPr sz="1400" b="1" spc="-5">
                <a:solidFill>
                  <a:srgbClr val="00AFEF"/>
                </a:solidFill>
                <a:latin typeface="Verdana"/>
                <a:cs typeface="Verdana"/>
              </a:rPr>
              <a:t>Sy</a:t>
            </a:r>
            <a:r>
              <a:rPr sz="1400" b="1" spc="-10">
                <a:solidFill>
                  <a:srgbClr val="00AFEF"/>
                </a:solidFill>
                <a:latin typeface="Verdana"/>
                <a:cs typeface="Verdana"/>
              </a:rPr>
              <a:t>s</a:t>
            </a:r>
            <a:r>
              <a:rPr sz="1400" b="1" spc="-5">
                <a:solidFill>
                  <a:srgbClr val="00AFEF"/>
                </a:solidFill>
                <a:latin typeface="Verdana"/>
                <a:cs typeface="Verdana"/>
              </a:rPr>
              <a:t>te</a:t>
            </a:r>
            <a:r>
              <a:rPr sz="1400" b="1">
                <a:solidFill>
                  <a:srgbClr val="00AFEF"/>
                </a:solidFill>
                <a:latin typeface="Verdana"/>
                <a:cs typeface="Verdana"/>
              </a:rPr>
              <a:t>ms</a:t>
            </a:r>
            <a:endParaRPr sz="1400">
              <a:latin typeface="Verdana"/>
              <a:cs typeface="Verdana"/>
            </a:endParaRPr>
          </a:p>
        </p:txBody>
      </p:sp>
      <p:sp>
        <p:nvSpPr>
          <p:cNvPr id="23" name="object 23"/>
          <p:cNvSpPr/>
          <p:nvPr/>
        </p:nvSpPr>
        <p:spPr>
          <a:xfrm>
            <a:off x="461772" y="1463039"/>
            <a:ext cx="1268095" cy="5120640"/>
          </a:xfrm>
          <a:custGeom>
            <a:avLst/>
            <a:gdLst/>
            <a:ahLst/>
            <a:cxnLst/>
            <a:rect l="l" t="t" r="r" b="b"/>
            <a:pathLst>
              <a:path w="1268095" h="5120640">
                <a:moveTo>
                  <a:pt x="0" y="5120640"/>
                </a:moveTo>
                <a:lnTo>
                  <a:pt x="1267967" y="5120640"/>
                </a:lnTo>
                <a:lnTo>
                  <a:pt x="1267967" y="0"/>
                </a:lnTo>
                <a:lnTo>
                  <a:pt x="0" y="0"/>
                </a:lnTo>
                <a:lnTo>
                  <a:pt x="0" y="5120640"/>
                </a:lnTo>
                <a:close/>
              </a:path>
            </a:pathLst>
          </a:custGeom>
          <a:solidFill>
            <a:srgbClr val="00AFEF"/>
          </a:solidFill>
        </p:spPr>
        <p:txBody>
          <a:bodyPr wrap="square" lIns="0" tIns="0" rIns="0" bIns="0" rtlCol="0"/>
          <a:lstStyle/>
          <a:p>
            <a:endParaRPr/>
          </a:p>
        </p:txBody>
      </p:sp>
      <p:sp>
        <p:nvSpPr>
          <p:cNvPr id="24" name="object 24"/>
          <p:cNvSpPr txBox="1"/>
          <p:nvPr/>
        </p:nvSpPr>
        <p:spPr>
          <a:xfrm>
            <a:off x="916939" y="886713"/>
            <a:ext cx="471805"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00AFEF"/>
                </a:solidFill>
                <a:latin typeface="Verdana"/>
                <a:cs typeface="Verdana"/>
              </a:rPr>
              <a:t>BU’s</a:t>
            </a:r>
            <a:endParaRPr sz="1400">
              <a:latin typeface="Verdana"/>
              <a:cs typeface="Verdana"/>
            </a:endParaRPr>
          </a:p>
        </p:txBody>
      </p:sp>
      <p:sp>
        <p:nvSpPr>
          <p:cNvPr id="25" name="object 25"/>
          <p:cNvSpPr/>
          <p:nvPr/>
        </p:nvSpPr>
        <p:spPr>
          <a:xfrm>
            <a:off x="498348" y="2869692"/>
            <a:ext cx="1054735" cy="2352040"/>
          </a:xfrm>
          <a:custGeom>
            <a:avLst/>
            <a:gdLst/>
            <a:ahLst/>
            <a:cxnLst/>
            <a:rect l="l" t="t" r="r" b="b"/>
            <a:pathLst>
              <a:path w="1054735" h="2352040">
                <a:moveTo>
                  <a:pt x="1054608" y="0"/>
                </a:moveTo>
                <a:lnTo>
                  <a:pt x="175767" y="0"/>
                </a:lnTo>
                <a:lnTo>
                  <a:pt x="129040" y="6281"/>
                </a:lnTo>
                <a:lnTo>
                  <a:pt x="87052" y="24007"/>
                </a:lnTo>
                <a:lnTo>
                  <a:pt x="51479" y="51498"/>
                </a:lnTo>
                <a:lnTo>
                  <a:pt x="23996" y="87074"/>
                </a:lnTo>
                <a:lnTo>
                  <a:pt x="6278" y="129057"/>
                </a:lnTo>
                <a:lnTo>
                  <a:pt x="0" y="175768"/>
                </a:lnTo>
                <a:lnTo>
                  <a:pt x="0" y="2351532"/>
                </a:lnTo>
                <a:lnTo>
                  <a:pt x="878839" y="2351532"/>
                </a:lnTo>
                <a:lnTo>
                  <a:pt x="925550" y="2345250"/>
                </a:lnTo>
                <a:lnTo>
                  <a:pt x="967533" y="2327524"/>
                </a:lnTo>
                <a:lnTo>
                  <a:pt x="1003109" y="2300033"/>
                </a:lnTo>
                <a:lnTo>
                  <a:pt x="1030600" y="2264457"/>
                </a:lnTo>
                <a:lnTo>
                  <a:pt x="1048326" y="2222474"/>
                </a:lnTo>
                <a:lnTo>
                  <a:pt x="1054608" y="2175764"/>
                </a:lnTo>
                <a:lnTo>
                  <a:pt x="1054608" y="0"/>
                </a:lnTo>
                <a:close/>
              </a:path>
            </a:pathLst>
          </a:custGeom>
          <a:solidFill>
            <a:srgbClr val="BBE7FF"/>
          </a:solidFill>
        </p:spPr>
        <p:txBody>
          <a:bodyPr wrap="square" lIns="0" tIns="0" rIns="0" bIns="0" rtlCol="0"/>
          <a:lstStyle/>
          <a:p>
            <a:endParaRPr/>
          </a:p>
        </p:txBody>
      </p:sp>
      <p:sp>
        <p:nvSpPr>
          <p:cNvPr id="26" name="object 26"/>
          <p:cNvSpPr/>
          <p:nvPr/>
        </p:nvSpPr>
        <p:spPr>
          <a:xfrm>
            <a:off x="498348" y="2869692"/>
            <a:ext cx="1054735" cy="2352040"/>
          </a:xfrm>
          <a:custGeom>
            <a:avLst/>
            <a:gdLst/>
            <a:ahLst/>
            <a:cxnLst/>
            <a:rect l="l" t="t" r="r" b="b"/>
            <a:pathLst>
              <a:path w="1054735" h="2352040">
                <a:moveTo>
                  <a:pt x="175767" y="0"/>
                </a:moveTo>
                <a:lnTo>
                  <a:pt x="1054608" y="0"/>
                </a:lnTo>
                <a:lnTo>
                  <a:pt x="1054608" y="2175764"/>
                </a:lnTo>
                <a:lnTo>
                  <a:pt x="1048326" y="2222474"/>
                </a:lnTo>
                <a:lnTo>
                  <a:pt x="1030600" y="2264457"/>
                </a:lnTo>
                <a:lnTo>
                  <a:pt x="1003109" y="2300033"/>
                </a:lnTo>
                <a:lnTo>
                  <a:pt x="967533" y="2327524"/>
                </a:lnTo>
                <a:lnTo>
                  <a:pt x="925550" y="2345250"/>
                </a:lnTo>
                <a:lnTo>
                  <a:pt x="878839" y="2351532"/>
                </a:lnTo>
                <a:lnTo>
                  <a:pt x="0" y="2351532"/>
                </a:lnTo>
                <a:lnTo>
                  <a:pt x="0" y="175768"/>
                </a:lnTo>
                <a:lnTo>
                  <a:pt x="6278" y="129057"/>
                </a:lnTo>
                <a:lnTo>
                  <a:pt x="23996" y="87074"/>
                </a:lnTo>
                <a:lnTo>
                  <a:pt x="51479" y="51498"/>
                </a:lnTo>
                <a:lnTo>
                  <a:pt x="87052" y="24007"/>
                </a:lnTo>
                <a:lnTo>
                  <a:pt x="129040" y="6281"/>
                </a:lnTo>
                <a:lnTo>
                  <a:pt x="175767" y="0"/>
                </a:lnTo>
                <a:close/>
              </a:path>
            </a:pathLst>
          </a:custGeom>
          <a:ln w="12192">
            <a:solidFill>
              <a:srgbClr val="00507D"/>
            </a:solidFill>
          </a:ln>
        </p:spPr>
        <p:txBody>
          <a:bodyPr wrap="square" lIns="0" tIns="0" rIns="0" bIns="0" rtlCol="0"/>
          <a:lstStyle/>
          <a:p>
            <a:endParaRPr/>
          </a:p>
        </p:txBody>
      </p:sp>
      <p:sp>
        <p:nvSpPr>
          <p:cNvPr id="27" name="object 27"/>
          <p:cNvSpPr/>
          <p:nvPr/>
        </p:nvSpPr>
        <p:spPr>
          <a:xfrm>
            <a:off x="681227" y="2956560"/>
            <a:ext cx="774700" cy="437515"/>
          </a:xfrm>
          <a:custGeom>
            <a:avLst/>
            <a:gdLst/>
            <a:ahLst/>
            <a:cxnLst/>
            <a:rect l="l" t="t" r="r" b="b"/>
            <a:pathLst>
              <a:path w="774700" h="437514">
                <a:moveTo>
                  <a:pt x="774191" y="0"/>
                </a:moveTo>
                <a:lnTo>
                  <a:pt x="72898" y="0"/>
                </a:lnTo>
                <a:lnTo>
                  <a:pt x="44523" y="5728"/>
                </a:lnTo>
                <a:lnTo>
                  <a:pt x="21351" y="21351"/>
                </a:lnTo>
                <a:lnTo>
                  <a:pt x="5728" y="44523"/>
                </a:lnTo>
                <a:lnTo>
                  <a:pt x="0" y="72898"/>
                </a:lnTo>
                <a:lnTo>
                  <a:pt x="0" y="437388"/>
                </a:lnTo>
                <a:lnTo>
                  <a:pt x="701294" y="437388"/>
                </a:lnTo>
                <a:lnTo>
                  <a:pt x="729668" y="431659"/>
                </a:lnTo>
                <a:lnTo>
                  <a:pt x="752840" y="416036"/>
                </a:lnTo>
                <a:lnTo>
                  <a:pt x="768463" y="392864"/>
                </a:lnTo>
                <a:lnTo>
                  <a:pt x="774191" y="364489"/>
                </a:lnTo>
                <a:lnTo>
                  <a:pt x="774191" y="0"/>
                </a:lnTo>
                <a:close/>
              </a:path>
            </a:pathLst>
          </a:custGeom>
          <a:solidFill>
            <a:srgbClr val="006FAC"/>
          </a:solidFill>
        </p:spPr>
        <p:txBody>
          <a:bodyPr wrap="square" lIns="0" tIns="0" rIns="0" bIns="0" rtlCol="0"/>
          <a:lstStyle/>
          <a:p>
            <a:endParaRPr/>
          </a:p>
        </p:txBody>
      </p:sp>
      <p:sp>
        <p:nvSpPr>
          <p:cNvPr id="28" name="object 28"/>
          <p:cNvSpPr/>
          <p:nvPr/>
        </p:nvSpPr>
        <p:spPr>
          <a:xfrm>
            <a:off x="681227" y="2956560"/>
            <a:ext cx="774700" cy="437515"/>
          </a:xfrm>
          <a:custGeom>
            <a:avLst/>
            <a:gdLst/>
            <a:ahLst/>
            <a:cxnLst/>
            <a:rect l="l" t="t" r="r" b="b"/>
            <a:pathLst>
              <a:path w="774700" h="437514">
                <a:moveTo>
                  <a:pt x="72898" y="0"/>
                </a:moveTo>
                <a:lnTo>
                  <a:pt x="774191" y="0"/>
                </a:lnTo>
                <a:lnTo>
                  <a:pt x="774191" y="364489"/>
                </a:lnTo>
                <a:lnTo>
                  <a:pt x="768463" y="392864"/>
                </a:lnTo>
                <a:lnTo>
                  <a:pt x="752840" y="416036"/>
                </a:lnTo>
                <a:lnTo>
                  <a:pt x="729668" y="431659"/>
                </a:lnTo>
                <a:lnTo>
                  <a:pt x="701294" y="437388"/>
                </a:lnTo>
                <a:lnTo>
                  <a:pt x="0" y="437388"/>
                </a:lnTo>
                <a:lnTo>
                  <a:pt x="0" y="72898"/>
                </a:lnTo>
                <a:lnTo>
                  <a:pt x="5728" y="44523"/>
                </a:lnTo>
                <a:lnTo>
                  <a:pt x="21351" y="21351"/>
                </a:lnTo>
                <a:lnTo>
                  <a:pt x="44523" y="5728"/>
                </a:lnTo>
                <a:lnTo>
                  <a:pt x="72898" y="0"/>
                </a:lnTo>
                <a:close/>
              </a:path>
            </a:pathLst>
          </a:custGeom>
          <a:ln w="12192">
            <a:solidFill>
              <a:srgbClr val="00507D"/>
            </a:solidFill>
          </a:ln>
        </p:spPr>
        <p:txBody>
          <a:bodyPr wrap="square" lIns="0" tIns="0" rIns="0" bIns="0" rtlCol="0"/>
          <a:lstStyle/>
          <a:p>
            <a:endParaRPr/>
          </a:p>
        </p:txBody>
      </p:sp>
      <p:sp>
        <p:nvSpPr>
          <p:cNvPr id="29" name="object 29"/>
          <p:cNvSpPr/>
          <p:nvPr/>
        </p:nvSpPr>
        <p:spPr>
          <a:xfrm>
            <a:off x="673608" y="3953255"/>
            <a:ext cx="774700" cy="478790"/>
          </a:xfrm>
          <a:custGeom>
            <a:avLst/>
            <a:gdLst/>
            <a:ahLst/>
            <a:cxnLst/>
            <a:rect l="l" t="t" r="r" b="b"/>
            <a:pathLst>
              <a:path w="774700" h="478789">
                <a:moveTo>
                  <a:pt x="774192" y="0"/>
                </a:moveTo>
                <a:lnTo>
                  <a:pt x="79756" y="0"/>
                </a:lnTo>
                <a:lnTo>
                  <a:pt x="48713" y="6264"/>
                </a:lnTo>
                <a:lnTo>
                  <a:pt x="23361" y="23352"/>
                </a:lnTo>
                <a:lnTo>
                  <a:pt x="6268" y="48702"/>
                </a:lnTo>
                <a:lnTo>
                  <a:pt x="0" y="79756"/>
                </a:lnTo>
                <a:lnTo>
                  <a:pt x="0" y="478536"/>
                </a:lnTo>
                <a:lnTo>
                  <a:pt x="694436" y="478536"/>
                </a:lnTo>
                <a:lnTo>
                  <a:pt x="725489" y="472271"/>
                </a:lnTo>
                <a:lnTo>
                  <a:pt x="750839" y="455183"/>
                </a:lnTo>
                <a:lnTo>
                  <a:pt x="767927" y="429833"/>
                </a:lnTo>
                <a:lnTo>
                  <a:pt x="774192" y="398780"/>
                </a:lnTo>
                <a:lnTo>
                  <a:pt x="774192" y="0"/>
                </a:lnTo>
                <a:close/>
              </a:path>
            </a:pathLst>
          </a:custGeom>
          <a:solidFill>
            <a:srgbClr val="006FAC"/>
          </a:solidFill>
        </p:spPr>
        <p:txBody>
          <a:bodyPr wrap="square" lIns="0" tIns="0" rIns="0" bIns="0" rtlCol="0"/>
          <a:lstStyle/>
          <a:p>
            <a:endParaRPr/>
          </a:p>
        </p:txBody>
      </p:sp>
      <p:sp>
        <p:nvSpPr>
          <p:cNvPr id="30" name="object 30"/>
          <p:cNvSpPr/>
          <p:nvPr/>
        </p:nvSpPr>
        <p:spPr>
          <a:xfrm>
            <a:off x="673608" y="3953255"/>
            <a:ext cx="774700" cy="478790"/>
          </a:xfrm>
          <a:custGeom>
            <a:avLst/>
            <a:gdLst/>
            <a:ahLst/>
            <a:cxnLst/>
            <a:rect l="l" t="t" r="r" b="b"/>
            <a:pathLst>
              <a:path w="774700" h="478789">
                <a:moveTo>
                  <a:pt x="79756" y="0"/>
                </a:moveTo>
                <a:lnTo>
                  <a:pt x="774192" y="0"/>
                </a:lnTo>
                <a:lnTo>
                  <a:pt x="774192" y="398780"/>
                </a:lnTo>
                <a:lnTo>
                  <a:pt x="767927" y="429833"/>
                </a:lnTo>
                <a:lnTo>
                  <a:pt x="750839" y="455183"/>
                </a:lnTo>
                <a:lnTo>
                  <a:pt x="725489" y="472271"/>
                </a:lnTo>
                <a:lnTo>
                  <a:pt x="694436" y="478536"/>
                </a:lnTo>
                <a:lnTo>
                  <a:pt x="0" y="478536"/>
                </a:lnTo>
                <a:lnTo>
                  <a:pt x="0" y="79756"/>
                </a:lnTo>
                <a:lnTo>
                  <a:pt x="6268" y="48702"/>
                </a:lnTo>
                <a:lnTo>
                  <a:pt x="23361" y="23352"/>
                </a:lnTo>
                <a:lnTo>
                  <a:pt x="48713" y="6264"/>
                </a:lnTo>
                <a:lnTo>
                  <a:pt x="79756" y="0"/>
                </a:lnTo>
                <a:close/>
              </a:path>
            </a:pathLst>
          </a:custGeom>
          <a:ln w="12192">
            <a:solidFill>
              <a:srgbClr val="00507D"/>
            </a:solidFill>
          </a:ln>
        </p:spPr>
        <p:txBody>
          <a:bodyPr wrap="square" lIns="0" tIns="0" rIns="0" bIns="0" rtlCol="0"/>
          <a:lstStyle/>
          <a:p>
            <a:endParaRPr/>
          </a:p>
        </p:txBody>
      </p:sp>
      <p:sp>
        <p:nvSpPr>
          <p:cNvPr id="31" name="object 31"/>
          <p:cNvSpPr/>
          <p:nvPr/>
        </p:nvSpPr>
        <p:spPr>
          <a:xfrm>
            <a:off x="658368" y="4477511"/>
            <a:ext cx="774700" cy="477520"/>
          </a:xfrm>
          <a:custGeom>
            <a:avLst/>
            <a:gdLst/>
            <a:ahLst/>
            <a:cxnLst/>
            <a:rect l="l" t="t" r="r" b="b"/>
            <a:pathLst>
              <a:path w="774700" h="477520">
                <a:moveTo>
                  <a:pt x="774191" y="0"/>
                </a:moveTo>
                <a:lnTo>
                  <a:pt x="79501" y="0"/>
                </a:lnTo>
                <a:lnTo>
                  <a:pt x="48557" y="6242"/>
                </a:lnTo>
                <a:lnTo>
                  <a:pt x="23287" y="23272"/>
                </a:lnTo>
                <a:lnTo>
                  <a:pt x="6248" y="48541"/>
                </a:lnTo>
                <a:lnTo>
                  <a:pt x="0" y="79501"/>
                </a:lnTo>
                <a:lnTo>
                  <a:pt x="0" y="477012"/>
                </a:lnTo>
                <a:lnTo>
                  <a:pt x="694690" y="477012"/>
                </a:lnTo>
                <a:lnTo>
                  <a:pt x="725650" y="470769"/>
                </a:lnTo>
                <a:lnTo>
                  <a:pt x="750919" y="453739"/>
                </a:lnTo>
                <a:lnTo>
                  <a:pt x="767949" y="428470"/>
                </a:lnTo>
                <a:lnTo>
                  <a:pt x="774191" y="397510"/>
                </a:lnTo>
                <a:lnTo>
                  <a:pt x="774191" y="0"/>
                </a:lnTo>
                <a:close/>
              </a:path>
            </a:pathLst>
          </a:custGeom>
          <a:solidFill>
            <a:srgbClr val="006FAC"/>
          </a:solidFill>
        </p:spPr>
        <p:txBody>
          <a:bodyPr wrap="square" lIns="0" tIns="0" rIns="0" bIns="0" rtlCol="0"/>
          <a:lstStyle/>
          <a:p>
            <a:endParaRPr/>
          </a:p>
        </p:txBody>
      </p:sp>
      <p:sp>
        <p:nvSpPr>
          <p:cNvPr id="32" name="object 32"/>
          <p:cNvSpPr/>
          <p:nvPr/>
        </p:nvSpPr>
        <p:spPr>
          <a:xfrm>
            <a:off x="658368" y="4477511"/>
            <a:ext cx="774700" cy="477520"/>
          </a:xfrm>
          <a:custGeom>
            <a:avLst/>
            <a:gdLst/>
            <a:ahLst/>
            <a:cxnLst/>
            <a:rect l="l" t="t" r="r" b="b"/>
            <a:pathLst>
              <a:path w="774700" h="477520">
                <a:moveTo>
                  <a:pt x="79501" y="0"/>
                </a:moveTo>
                <a:lnTo>
                  <a:pt x="774191" y="0"/>
                </a:lnTo>
                <a:lnTo>
                  <a:pt x="774191" y="397510"/>
                </a:lnTo>
                <a:lnTo>
                  <a:pt x="767949" y="428470"/>
                </a:lnTo>
                <a:lnTo>
                  <a:pt x="750919" y="453739"/>
                </a:lnTo>
                <a:lnTo>
                  <a:pt x="725650" y="470769"/>
                </a:lnTo>
                <a:lnTo>
                  <a:pt x="694690" y="477012"/>
                </a:lnTo>
                <a:lnTo>
                  <a:pt x="0" y="477012"/>
                </a:lnTo>
                <a:lnTo>
                  <a:pt x="0" y="79501"/>
                </a:lnTo>
                <a:lnTo>
                  <a:pt x="6248" y="48541"/>
                </a:lnTo>
                <a:lnTo>
                  <a:pt x="23287" y="23272"/>
                </a:lnTo>
                <a:lnTo>
                  <a:pt x="48557" y="6242"/>
                </a:lnTo>
                <a:lnTo>
                  <a:pt x="79501" y="0"/>
                </a:lnTo>
                <a:close/>
              </a:path>
            </a:pathLst>
          </a:custGeom>
          <a:ln w="12192">
            <a:solidFill>
              <a:srgbClr val="00507D"/>
            </a:solidFill>
          </a:ln>
        </p:spPr>
        <p:txBody>
          <a:bodyPr wrap="square" lIns="0" tIns="0" rIns="0" bIns="0" rtlCol="0"/>
          <a:lstStyle/>
          <a:p>
            <a:endParaRPr/>
          </a:p>
        </p:txBody>
      </p:sp>
      <p:sp>
        <p:nvSpPr>
          <p:cNvPr id="33" name="object 33"/>
          <p:cNvSpPr/>
          <p:nvPr/>
        </p:nvSpPr>
        <p:spPr>
          <a:xfrm>
            <a:off x="681227" y="3435096"/>
            <a:ext cx="757555" cy="477520"/>
          </a:xfrm>
          <a:custGeom>
            <a:avLst/>
            <a:gdLst/>
            <a:ahLst/>
            <a:cxnLst/>
            <a:rect l="l" t="t" r="r" b="b"/>
            <a:pathLst>
              <a:path w="757555" h="477520">
                <a:moveTo>
                  <a:pt x="757428" y="0"/>
                </a:moveTo>
                <a:lnTo>
                  <a:pt x="79501" y="0"/>
                </a:lnTo>
                <a:lnTo>
                  <a:pt x="48557" y="6242"/>
                </a:lnTo>
                <a:lnTo>
                  <a:pt x="23287" y="23272"/>
                </a:lnTo>
                <a:lnTo>
                  <a:pt x="6248" y="48541"/>
                </a:lnTo>
                <a:lnTo>
                  <a:pt x="0" y="79501"/>
                </a:lnTo>
                <a:lnTo>
                  <a:pt x="0" y="477011"/>
                </a:lnTo>
                <a:lnTo>
                  <a:pt x="677926" y="477011"/>
                </a:lnTo>
                <a:lnTo>
                  <a:pt x="708886" y="470769"/>
                </a:lnTo>
                <a:lnTo>
                  <a:pt x="734155" y="453739"/>
                </a:lnTo>
                <a:lnTo>
                  <a:pt x="751185" y="428470"/>
                </a:lnTo>
                <a:lnTo>
                  <a:pt x="757428" y="397509"/>
                </a:lnTo>
                <a:lnTo>
                  <a:pt x="757428" y="0"/>
                </a:lnTo>
                <a:close/>
              </a:path>
            </a:pathLst>
          </a:custGeom>
          <a:solidFill>
            <a:srgbClr val="006FAC"/>
          </a:solidFill>
        </p:spPr>
        <p:txBody>
          <a:bodyPr wrap="square" lIns="0" tIns="0" rIns="0" bIns="0" rtlCol="0"/>
          <a:lstStyle/>
          <a:p>
            <a:endParaRPr/>
          </a:p>
        </p:txBody>
      </p:sp>
      <p:sp>
        <p:nvSpPr>
          <p:cNvPr id="34" name="object 34"/>
          <p:cNvSpPr/>
          <p:nvPr/>
        </p:nvSpPr>
        <p:spPr>
          <a:xfrm>
            <a:off x="681227" y="3435096"/>
            <a:ext cx="757555" cy="477520"/>
          </a:xfrm>
          <a:custGeom>
            <a:avLst/>
            <a:gdLst/>
            <a:ahLst/>
            <a:cxnLst/>
            <a:rect l="l" t="t" r="r" b="b"/>
            <a:pathLst>
              <a:path w="757555" h="477520">
                <a:moveTo>
                  <a:pt x="79501" y="0"/>
                </a:moveTo>
                <a:lnTo>
                  <a:pt x="757428" y="0"/>
                </a:lnTo>
                <a:lnTo>
                  <a:pt x="757428" y="397509"/>
                </a:lnTo>
                <a:lnTo>
                  <a:pt x="751185" y="428470"/>
                </a:lnTo>
                <a:lnTo>
                  <a:pt x="734155" y="453739"/>
                </a:lnTo>
                <a:lnTo>
                  <a:pt x="708886" y="470769"/>
                </a:lnTo>
                <a:lnTo>
                  <a:pt x="677926" y="477011"/>
                </a:lnTo>
                <a:lnTo>
                  <a:pt x="0" y="477011"/>
                </a:lnTo>
                <a:lnTo>
                  <a:pt x="0" y="79501"/>
                </a:lnTo>
                <a:lnTo>
                  <a:pt x="6248" y="48541"/>
                </a:lnTo>
                <a:lnTo>
                  <a:pt x="23287" y="23272"/>
                </a:lnTo>
                <a:lnTo>
                  <a:pt x="48557" y="6242"/>
                </a:lnTo>
                <a:lnTo>
                  <a:pt x="79501" y="0"/>
                </a:lnTo>
                <a:close/>
              </a:path>
            </a:pathLst>
          </a:custGeom>
          <a:ln w="12192">
            <a:solidFill>
              <a:srgbClr val="00507D"/>
            </a:solidFill>
          </a:ln>
        </p:spPr>
        <p:txBody>
          <a:bodyPr wrap="square" lIns="0" tIns="0" rIns="0" bIns="0" rtlCol="0"/>
          <a:lstStyle/>
          <a:p>
            <a:endParaRPr/>
          </a:p>
        </p:txBody>
      </p:sp>
      <p:sp>
        <p:nvSpPr>
          <p:cNvPr id="35" name="object 35"/>
          <p:cNvSpPr txBox="1"/>
          <p:nvPr/>
        </p:nvSpPr>
        <p:spPr>
          <a:xfrm>
            <a:off x="461772" y="3024632"/>
            <a:ext cx="1268095" cy="1840864"/>
          </a:xfrm>
          <a:prstGeom prst="rect">
            <a:avLst/>
          </a:prstGeom>
        </p:spPr>
        <p:txBody>
          <a:bodyPr vert="horz" wrap="square" lIns="0" tIns="12700" rIns="0" bIns="0" rtlCol="0">
            <a:spAutoFit/>
          </a:bodyPr>
          <a:lstStyle/>
          <a:p>
            <a:pPr marR="48895" algn="ctr">
              <a:lnSpc>
                <a:spcPct val="100000"/>
              </a:lnSpc>
              <a:spcBef>
                <a:spcPts val="100"/>
              </a:spcBef>
            </a:pPr>
            <a:r>
              <a:rPr sz="1800" spc="-5">
                <a:solidFill>
                  <a:srgbClr val="FFFFFF"/>
                </a:solidFill>
                <a:latin typeface="Verdana"/>
                <a:cs typeface="Verdana"/>
              </a:rPr>
              <a:t>RD</a:t>
            </a:r>
            <a:endParaRPr sz="1800">
              <a:latin typeface="Verdana"/>
              <a:cs typeface="Verdana"/>
            </a:endParaRPr>
          </a:p>
          <a:p>
            <a:pPr marL="437515" marR="502284" algn="ctr">
              <a:lnSpc>
                <a:spcPts val="4090"/>
              </a:lnSpc>
              <a:spcBef>
                <a:spcPts val="290"/>
              </a:spcBef>
            </a:pPr>
            <a:r>
              <a:rPr sz="1800">
                <a:solidFill>
                  <a:srgbClr val="FFFFFF"/>
                </a:solidFill>
                <a:latin typeface="Verdana"/>
                <a:cs typeface="Verdana"/>
              </a:rPr>
              <a:t>CC  </a:t>
            </a:r>
            <a:r>
              <a:rPr sz="1800" spc="-20">
                <a:solidFill>
                  <a:srgbClr val="FFFFFF"/>
                </a:solidFill>
                <a:latin typeface="Verdana"/>
                <a:cs typeface="Verdana"/>
              </a:rPr>
              <a:t>TS</a:t>
            </a:r>
            <a:endParaRPr sz="1800">
              <a:latin typeface="Verdana"/>
              <a:cs typeface="Verdana"/>
            </a:endParaRPr>
          </a:p>
          <a:p>
            <a:pPr marR="95885" algn="ctr">
              <a:lnSpc>
                <a:spcPct val="100000"/>
              </a:lnSpc>
              <a:spcBef>
                <a:spcPts val="1500"/>
              </a:spcBef>
            </a:pPr>
            <a:r>
              <a:rPr sz="1800" spc="-5">
                <a:solidFill>
                  <a:srgbClr val="FFFFFF"/>
                </a:solidFill>
                <a:latin typeface="Verdana"/>
                <a:cs typeface="Verdana"/>
              </a:rPr>
              <a:t>IE</a:t>
            </a:r>
            <a:endParaRPr sz="1800">
              <a:latin typeface="Verdana"/>
              <a:cs typeface="Verdana"/>
            </a:endParaRPr>
          </a:p>
        </p:txBody>
      </p:sp>
      <p:graphicFrame>
        <p:nvGraphicFramePr>
          <p:cNvPr id="36" name="object 36"/>
          <p:cNvGraphicFramePr>
            <a:graphicFrameLocks noGrp="1"/>
          </p:cNvGraphicFramePr>
          <p:nvPr/>
        </p:nvGraphicFramePr>
        <p:xfrm>
          <a:off x="2019300" y="2724911"/>
          <a:ext cx="1278890" cy="2622039"/>
        </p:xfrm>
        <a:graphic>
          <a:graphicData uri="http://schemas.openxmlformats.org/drawingml/2006/table">
            <a:tbl>
              <a:tblPr firstRow="1" bandRow="1">
                <a:tableStyleId>{2D5ABB26-0587-4C30-8999-92F81FD0307C}</a:tableStyleId>
              </a:tblPr>
              <a:tblGrid>
                <a:gridCol w="102235">
                  <a:extLst>
                    <a:ext uri="{9D8B030D-6E8A-4147-A177-3AD203B41FA5}">
                      <a16:colId xmlns:a16="http://schemas.microsoft.com/office/drawing/2014/main" val="20000"/>
                    </a:ext>
                  </a:extLst>
                </a:gridCol>
                <a:gridCol w="1176655">
                  <a:extLst>
                    <a:ext uri="{9D8B030D-6E8A-4147-A177-3AD203B41FA5}">
                      <a16:colId xmlns:a16="http://schemas.microsoft.com/office/drawing/2014/main" val="20001"/>
                    </a:ext>
                  </a:extLst>
                </a:gridCol>
              </a:tblGrid>
              <a:tr h="80771">
                <a:tc>
                  <a:txBody>
                    <a:bodyPr/>
                    <a:lstStyle/>
                    <a:p>
                      <a:pPr>
                        <a:lnSpc>
                          <a:spcPct val="100000"/>
                        </a:lnSpc>
                      </a:pPr>
                      <a:endParaRPr sz="300">
                        <a:latin typeface="Times New Roman"/>
                        <a:cs typeface="Times New Roman"/>
                      </a:endParaRPr>
                    </a:p>
                  </a:txBody>
                  <a:tcPr marL="0" marR="0" marT="0" marB="0">
                    <a:lnL w="12700">
                      <a:solidFill>
                        <a:srgbClr val="00507D"/>
                      </a:solidFill>
                      <a:prstDash val="solid"/>
                    </a:lnL>
                    <a:lnT w="12700">
                      <a:solidFill>
                        <a:srgbClr val="00507D"/>
                      </a:solidFill>
                      <a:prstDash val="solid"/>
                    </a:lnT>
                    <a:solidFill>
                      <a:srgbClr val="AD7DD4"/>
                    </a:solidFill>
                  </a:tcPr>
                </a:tc>
                <a:tc>
                  <a:txBody>
                    <a:bodyPr/>
                    <a:lstStyle/>
                    <a:p>
                      <a:pPr>
                        <a:lnSpc>
                          <a:spcPct val="100000"/>
                        </a:lnSpc>
                      </a:pPr>
                      <a:endParaRPr sz="300">
                        <a:latin typeface="Times New Roman"/>
                        <a:cs typeface="Times New Roman"/>
                      </a:endParaRPr>
                    </a:p>
                  </a:txBody>
                  <a:tcPr marL="0" marR="0" marT="0" marB="0">
                    <a:lnR w="12700">
                      <a:solidFill>
                        <a:srgbClr val="00507D"/>
                      </a:solidFill>
                      <a:prstDash val="solid"/>
                    </a:lnR>
                    <a:lnT w="12700">
                      <a:solidFill>
                        <a:srgbClr val="00507D"/>
                      </a:solidFill>
                      <a:prstDash val="solid"/>
                    </a:lnT>
                    <a:lnB w="12700">
                      <a:solidFill>
                        <a:srgbClr val="00507D"/>
                      </a:solidFill>
                      <a:prstDash val="solid"/>
                    </a:lnB>
                    <a:solidFill>
                      <a:srgbClr val="AD7DD4"/>
                    </a:solidFill>
                  </a:tcPr>
                </a:tc>
                <a:extLst>
                  <a:ext uri="{0D108BD9-81ED-4DB2-BD59-A6C34878D82A}">
                    <a16:rowId xmlns:a16="http://schemas.microsoft.com/office/drawing/2014/main" val="10000"/>
                  </a:ext>
                </a:extLst>
              </a:tr>
              <a:tr h="505206">
                <a:tc>
                  <a:txBody>
                    <a:bodyPr/>
                    <a:lstStyle/>
                    <a:p>
                      <a:pPr>
                        <a:lnSpc>
                          <a:spcPct val="100000"/>
                        </a:lnSpc>
                      </a:pPr>
                      <a:endParaRPr sz="1100">
                        <a:latin typeface="Times New Roman"/>
                        <a:cs typeface="Times New Roman"/>
                      </a:endParaRPr>
                    </a:p>
                  </a:txBody>
                  <a:tcPr marL="0" marR="0" marT="0" marB="0">
                    <a:lnL w="12700">
                      <a:solidFill>
                        <a:srgbClr val="00507D"/>
                      </a:solidFill>
                      <a:prstDash val="solid"/>
                    </a:lnL>
                    <a:lnR w="12700">
                      <a:solidFill>
                        <a:srgbClr val="00507D"/>
                      </a:solidFill>
                      <a:prstDash val="solid"/>
                    </a:lnR>
                    <a:solidFill>
                      <a:srgbClr val="AD7DD4"/>
                    </a:solidFill>
                  </a:tcPr>
                </a:tc>
                <a:tc>
                  <a:txBody>
                    <a:bodyPr/>
                    <a:lstStyle/>
                    <a:p>
                      <a:pPr marR="315595" algn="r">
                        <a:lnSpc>
                          <a:spcPct val="100000"/>
                        </a:lnSpc>
                        <a:spcBef>
                          <a:spcPts val="1045"/>
                        </a:spcBef>
                      </a:pPr>
                      <a:r>
                        <a:rPr sz="1400" spc="-5">
                          <a:solidFill>
                            <a:srgbClr val="FFFFFF"/>
                          </a:solidFill>
                          <a:latin typeface="Verdana"/>
                          <a:cs typeface="Verdana"/>
                        </a:rPr>
                        <a:t>G</a:t>
                      </a:r>
                      <a:r>
                        <a:rPr sz="1400" spc="5">
                          <a:solidFill>
                            <a:srgbClr val="FFFFFF"/>
                          </a:solidFill>
                          <a:latin typeface="Verdana"/>
                          <a:cs typeface="Verdana"/>
                        </a:rPr>
                        <a:t>P</a:t>
                      </a:r>
                      <a:r>
                        <a:rPr sz="1400">
                          <a:solidFill>
                            <a:srgbClr val="FFFFFF"/>
                          </a:solidFill>
                          <a:latin typeface="Verdana"/>
                          <a:cs typeface="Verdana"/>
                        </a:rPr>
                        <a:t>ICS</a:t>
                      </a:r>
                      <a:endParaRPr sz="1400">
                        <a:latin typeface="Verdana"/>
                        <a:cs typeface="Verdana"/>
                      </a:endParaRPr>
                    </a:p>
                  </a:txBody>
                  <a:tcPr marL="0" marR="0" marT="132715"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1"/>
                  </a:ext>
                </a:extLst>
              </a:tr>
              <a:tr h="516636">
                <a:tc rowSpan="2">
                  <a:txBody>
                    <a:bodyPr/>
                    <a:lstStyle/>
                    <a:p>
                      <a:pPr>
                        <a:lnSpc>
                          <a:spcPct val="100000"/>
                        </a:lnSpc>
                      </a:pPr>
                      <a:endParaRPr sz="1100">
                        <a:latin typeface="Times New Roman"/>
                        <a:cs typeface="Times New Roman"/>
                      </a:endParaRPr>
                    </a:p>
                  </a:txBody>
                  <a:tcPr marL="0" marR="0" marT="0" marB="0">
                    <a:lnL w="12700">
                      <a:solidFill>
                        <a:srgbClr val="00507D"/>
                      </a:solidFill>
                      <a:prstDash val="solid"/>
                    </a:lnL>
                    <a:lnR w="12700">
                      <a:solidFill>
                        <a:srgbClr val="00507D"/>
                      </a:solidFill>
                      <a:prstDash val="solid"/>
                    </a:lnR>
                    <a:solidFill>
                      <a:srgbClr val="AD7DD4"/>
                    </a:solidFill>
                  </a:tcPr>
                </a:tc>
                <a:tc>
                  <a:txBody>
                    <a:bodyPr/>
                    <a:lstStyle/>
                    <a:p>
                      <a:pPr marR="20955" algn="ctr">
                        <a:lnSpc>
                          <a:spcPct val="100000"/>
                        </a:lnSpc>
                        <a:spcBef>
                          <a:spcPts val="765"/>
                        </a:spcBef>
                      </a:pPr>
                      <a:r>
                        <a:rPr sz="1100">
                          <a:solidFill>
                            <a:srgbClr val="FFFFFF"/>
                          </a:solidFill>
                          <a:latin typeface="Verdana"/>
                          <a:cs typeface="Verdana"/>
                        </a:rPr>
                        <a:t>SAP</a:t>
                      </a:r>
                      <a:r>
                        <a:rPr sz="1100" spc="-40">
                          <a:solidFill>
                            <a:srgbClr val="FFFFFF"/>
                          </a:solidFill>
                          <a:latin typeface="Verdana"/>
                          <a:cs typeface="Verdana"/>
                        </a:rPr>
                        <a:t> </a:t>
                      </a:r>
                      <a:r>
                        <a:rPr sz="1100" spc="-5">
                          <a:solidFill>
                            <a:srgbClr val="FFFFFF"/>
                          </a:solidFill>
                          <a:latin typeface="Verdana"/>
                          <a:cs typeface="Verdana"/>
                        </a:rPr>
                        <a:t>Business</a:t>
                      </a:r>
                      <a:endParaRPr sz="1100">
                        <a:latin typeface="Verdana"/>
                        <a:cs typeface="Verdana"/>
                      </a:endParaRPr>
                    </a:p>
                    <a:p>
                      <a:pPr marR="19685" algn="ctr">
                        <a:lnSpc>
                          <a:spcPct val="100000"/>
                        </a:lnSpc>
                      </a:pPr>
                      <a:r>
                        <a:rPr sz="1100" spc="-5">
                          <a:solidFill>
                            <a:srgbClr val="FFFFFF"/>
                          </a:solidFill>
                          <a:latin typeface="Verdana"/>
                          <a:cs typeface="Verdana"/>
                        </a:rPr>
                        <a:t>One</a:t>
                      </a:r>
                      <a:endParaRPr sz="1100">
                        <a:latin typeface="Verdana"/>
                        <a:cs typeface="Verdana"/>
                      </a:endParaRPr>
                    </a:p>
                  </a:txBody>
                  <a:tcPr marL="0" marR="0" marT="97155"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2"/>
                  </a:ext>
                </a:extLst>
              </a:tr>
              <a:tr h="506729">
                <a:tc vMerge="1">
                  <a:txBody>
                    <a:bodyPr/>
                    <a:lstStyle/>
                    <a:p>
                      <a:endParaRPr/>
                    </a:p>
                  </a:txBody>
                  <a:tcPr marL="0" marR="0" marT="0" marB="0">
                    <a:lnL w="12700">
                      <a:solidFill>
                        <a:srgbClr val="00507D"/>
                      </a:solidFill>
                      <a:prstDash val="solid"/>
                    </a:lnL>
                    <a:lnR w="12700">
                      <a:solidFill>
                        <a:srgbClr val="00507D"/>
                      </a:solidFill>
                      <a:prstDash val="solid"/>
                    </a:lnR>
                    <a:solidFill>
                      <a:srgbClr val="AD7DD4"/>
                    </a:solidFill>
                  </a:tcPr>
                </a:tc>
                <a:tc>
                  <a:txBody>
                    <a:bodyPr/>
                    <a:lstStyle/>
                    <a:p>
                      <a:pPr marR="9525" algn="ctr">
                        <a:lnSpc>
                          <a:spcPct val="100000"/>
                        </a:lnSpc>
                        <a:spcBef>
                          <a:spcPts val="1135"/>
                        </a:spcBef>
                      </a:pPr>
                      <a:r>
                        <a:rPr sz="1400" spc="-5">
                          <a:solidFill>
                            <a:srgbClr val="FFFFFF"/>
                          </a:solidFill>
                          <a:latin typeface="Verdana"/>
                          <a:cs typeface="Verdana"/>
                        </a:rPr>
                        <a:t>IFS</a:t>
                      </a:r>
                      <a:endParaRPr sz="1400">
                        <a:latin typeface="Verdana"/>
                        <a:cs typeface="Verdana"/>
                      </a:endParaRPr>
                    </a:p>
                  </a:txBody>
                  <a:tcPr marL="0" marR="0" marT="144145"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3"/>
                  </a:ext>
                </a:extLst>
              </a:tr>
              <a:tr h="512063">
                <a:tc>
                  <a:txBody>
                    <a:bodyPr/>
                    <a:lstStyle/>
                    <a:p>
                      <a:pPr>
                        <a:lnSpc>
                          <a:spcPct val="100000"/>
                        </a:lnSpc>
                      </a:pPr>
                      <a:endParaRPr sz="1100">
                        <a:latin typeface="Times New Roman"/>
                        <a:cs typeface="Times New Roman"/>
                      </a:endParaRPr>
                    </a:p>
                  </a:txBody>
                  <a:tcPr marL="0" marR="0" marT="0" marB="0">
                    <a:lnL w="12700">
                      <a:solidFill>
                        <a:srgbClr val="00507D"/>
                      </a:solidFill>
                      <a:prstDash val="solid"/>
                    </a:lnL>
                    <a:lnR w="12700">
                      <a:solidFill>
                        <a:srgbClr val="00507D"/>
                      </a:solidFill>
                      <a:prstDash val="solid"/>
                    </a:lnR>
                    <a:solidFill>
                      <a:srgbClr val="AD7DD4"/>
                    </a:solidFill>
                  </a:tcPr>
                </a:tc>
                <a:tc>
                  <a:txBody>
                    <a:bodyPr/>
                    <a:lstStyle/>
                    <a:p>
                      <a:pPr marL="334010">
                        <a:lnSpc>
                          <a:spcPct val="100000"/>
                        </a:lnSpc>
                        <a:spcBef>
                          <a:spcPts val="1175"/>
                        </a:spcBef>
                      </a:pPr>
                      <a:r>
                        <a:rPr sz="1400">
                          <a:solidFill>
                            <a:srgbClr val="FFFFFF"/>
                          </a:solidFill>
                          <a:latin typeface="Verdana"/>
                          <a:cs typeface="Verdana"/>
                        </a:rPr>
                        <a:t>BPCS</a:t>
                      </a:r>
                      <a:endParaRPr sz="1400">
                        <a:latin typeface="Verdana"/>
                        <a:cs typeface="Verdana"/>
                      </a:endParaRPr>
                    </a:p>
                  </a:txBody>
                  <a:tcPr marL="0" marR="0" marT="149225" marB="0">
                    <a:lnL w="12700">
                      <a:solidFill>
                        <a:srgbClr val="00507D"/>
                      </a:solidFill>
                      <a:prstDash val="solid"/>
                    </a:lnL>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4"/>
                  </a:ext>
                </a:extLst>
              </a:tr>
              <a:tr h="500634">
                <a:tc>
                  <a:txBody>
                    <a:bodyPr/>
                    <a:lstStyle/>
                    <a:p>
                      <a:pPr>
                        <a:lnSpc>
                          <a:spcPct val="100000"/>
                        </a:lnSpc>
                      </a:pPr>
                      <a:endParaRPr sz="1100">
                        <a:latin typeface="Times New Roman"/>
                        <a:cs typeface="Times New Roman"/>
                      </a:endParaRPr>
                    </a:p>
                  </a:txBody>
                  <a:tcPr marL="0" marR="0" marT="0" marB="0">
                    <a:lnL w="12700">
                      <a:solidFill>
                        <a:srgbClr val="00507D"/>
                      </a:solidFill>
                      <a:prstDash val="solid"/>
                    </a:lnL>
                    <a:lnB w="12700">
                      <a:solidFill>
                        <a:srgbClr val="00507D"/>
                      </a:solidFill>
                      <a:prstDash val="solid"/>
                    </a:lnB>
                    <a:solidFill>
                      <a:srgbClr val="AD7DD4"/>
                    </a:solidFill>
                  </a:tcPr>
                </a:tc>
                <a:tc>
                  <a:txBody>
                    <a:bodyPr/>
                    <a:lstStyle/>
                    <a:p>
                      <a:pPr marR="323850" algn="r">
                        <a:lnSpc>
                          <a:spcPct val="100000"/>
                        </a:lnSpc>
                        <a:spcBef>
                          <a:spcPts val="1170"/>
                        </a:spcBef>
                      </a:pPr>
                      <a:r>
                        <a:rPr sz="1400" spc="-5">
                          <a:solidFill>
                            <a:srgbClr val="FFFFFF"/>
                          </a:solidFill>
                          <a:latin typeface="Verdana"/>
                          <a:cs typeface="Verdana"/>
                        </a:rPr>
                        <a:t>G</a:t>
                      </a:r>
                      <a:r>
                        <a:rPr sz="1400" spc="15">
                          <a:solidFill>
                            <a:srgbClr val="FFFFFF"/>
                          </a:solidFill>
                          <a:latin typeface="Verdana"/>
                          <a:cs typeface="Verdana"/>
                        </a:rPr>
                        <a:t>l</a:t>
                      </a:r>
                      <a:r>
                        <a:rPr sz="1400" spc="-15">
                          <a:solidFill>
                            <a:srgbClr val="FFFFFF"/>
                          </a:solidFill>
                          <a:latin typeface="Verdana"/>
                          <a:cs typeface="Verdana"/>
                        </a:rPr>
                        <a:t>o</a:t>
                      </a:r>
                      <a:r>
                        <a:rPr sz="1400">
                          <a:solidFill>
                            <a:srgbClr val="FFFFFF"/>
                          </a:solidFill>
                          <a:latin typeface="Verdana"/>
                          <a:cs typeface="Verdana"/>
                        </a:rPr>
                        <a:t>v</a:t>
                      </a:r>
                      <a:r>
                        <a:rPr sz="1400" spc="10">
                          <a:solidFill>
                            <a:srgbClr val="FFFFFF"/>
                          </a:solidFill>
                          <a:latin typeface="Verdana"/>
                          <a:cs typeface="Verdana"/>
                        </a:rPr>
                        <a:t>i</a:t>
                      </a:r>
                      <a:r>
                        <a:rPr sz="1400">
                          <a:solidFill>
                            <a:srgbClr val="FFFFFF"/>
                          </a:solidFill>
                          <a:latin typeface="Verdana"/>
                          <a:cs typeface="Verdana"/>
                        </a:rPr>
                        <a:t>a</a:t>
                      </a:r>
                      <a:endParaRPr sz="1400">
                        <a:latin typeface="Verdana"/>
                        <a:cs typeface="Verdana"/>
                      </a:endParaRPr>
                    </a:p>
                  </a:txBody>
                  <a:tcPr marL="0" marR="0" marT="148590" marB="0">
                    <a:lnR w="12700">
                      <a:solidFill>
                        <a:srgbClr val="00507D"/>
                      </a:solidFill>
                      <a:prstDash val="solid"/>
                    </a:lnR>
                    <a:lnT w="12700">
                      <a:solidFill>
                        <a:srgbClr val="00507D"/>
                      </a:solidFill>
                      <a:prstDash val="solid"/>
                    </a:lnT>
                    <a:lnB w="12700">
                      <a:solidFill>
                        <a:srgbClr val="00507D"/>
                      </a:solidFill>
                      <a:prstDash val="solid"/>
                    </a:lnB>
                    <a:solidFill>
                      <a:srgbClr val="006FAC"/>
                    </a:solidFill>
                  </a:tcPr>
                </a:tc>
                <a:extLst>
                  <a:ext uri="{0D108BD9-81ED-4DB2-BD59-A6C34878D82A}">
                    <a16:rowId xmlns:a16="http://schemas.microsoft.com/office/drawing/2014/main" val="10005"/>
                  </a:ext>
                </a:extLst>
              </a:tr>
            </a:tbl>
          </a:graphicData>
        </a:graphic>
      </p:graphicFrame>
      <p:sp>
        <p:nvSpPr>
          <p:cNvPr id="37" name="object 37"/>
          <p:cNvSpPr/>
          <p:nvPr/>
        </p:nvSpPr>
        <p:spPr>
          <a:xfrm>
            <a:off x="1546860" y="3872484"/>
            <a:ext cx="475615" cy="242570"/>
          </a:xfrm>
          <a:custGeom>
            <a:avLst/>
            <a:gdLst/>
            <a:ahLst/>
            <a:cxnLst/>
            <a:rect l="l" t="t" r="r" b="b"/>
            <a:pathLst>
              <a:path w="475614" h="242570">
                <a:moveTo>
                  <a:pt x="354329" y="0"/>
                </a:moveTo>
                <a:lnTo>
                  <a:pt x="354329" y="60579"/>
                </a:lnTo>
                <a:lnTo>
                  <a:pt x="0" y="60579"/>
                </a:lnTo>
                <a:lnTo>
                  <a:pt x="0" y="181737"/>
                </a:lnTo>
                <a:lnTo>
                  <a:pt x="354329" y="181737"/>
                </a:lnTo>
                <a:lnTo>
                  <a:pt x="354329" y="242316"/>
                </a:lnTo>
                <a:lnTo>
                  <a:pt x="475488" y="121158"/>
                </a:lnTo>
                <a:lnTo>
                  <a:pt x="354329" y="0"/>
                </a:lnTo>
                <a:close/>
              </a:path>
            </a:pathLst>
          </a:custGeom>
          <a:solidFill>
            <a:srgbClr val="006FAC"/>
          </a:solidFill>
        </p:spPr>
        <p:txBody>
          <a:bodyPr wrap="square" lIns="0" tIns="0" rIns="0" bIns="0" rtlCol="0"/>
          <a:lstStyle/>
          <a:p>
            <a:endParaRPr/>
          </a:p>
        </p:txBody>
      </p:sp>
      <p:sp>
        <p:nvSpPr>
          <p:cNvPr id="38" name="object 38"/>
          <p:cNvSpPr/>
          <p:nvPr/>
        </p:nvSpPr>
        <p:spPr>
          <a:xfrm>
            <a:off x="1546860" y="3872484"/>
            <a:ext cx="475615" cy="242570"/>
          </a:xfrm>
          <a:custGeom>
            <a:avLst/>
            <a:gdLst/>
            <a:ahLst/>
            <a:cxnLst/>
            <a:rect l="l" t="t" r="r" b="b"/>
            <a:pathLst>
              <a:path w="475614" h="242570">
                <a:moveTo>
                  <a:pt x="0" y="60579"/>
                </a:moveTo>
                <a:lnTo>
                  <a:pt x="354329" y="60579"/>
                </a:lnTo>
                <a:lnTo>
                  <a:pt x="354329" y="0"/>
                </a:lnTo>
                <a:lnTo>
                  <a:pt x="475488" y="121158"/>
                </a:lnTo>
                <a:lnTo>
                  <a:pt x="354329" y="242316"/>
                </a:lnTo>
                <a:lnTo>
                  <a:pt x="354329" y="181737"/>
                </a:lnTo>
                <a:lnTo>
                  <a:pt x="0" y="181737"/>
                </a:lnTo>
                <a:lnTo>
                  <a:pt x="0" y="60579"/>
                </a:lnTo>
                <a:close/>
              </a:path>
            </a:pathLst>
          </a:custGeom>
          <a:ln w="12192">
            <a:solidFill>
              <a:srgbClr val="00507D"/>
            </a:solidFill>
          </a:ln>
        </p:spPr>
        <p:txBody>
          <a:bodyPr wrap="square" lIns="0" tIns="0" rIns="0" bIns="0" rtlCol="0"/>
          <a:lstStyle/>
          <a:p>
            <a:endParaRPr/>
          </a:p>
        </p:txBody>
      </p:sp>
      <p:sp>
        <p:nvSpPr>
          <p:cNvPr id="39" name="object 39"/>
          <p:cNvSpPr txBox="1">
            <a:spLocks noGrp="1"/>
          </p:cNvSpPr>
          <p:nvPr>
            <p:ph type="title"/>
          </p:nvPr>
        </p:nvSpPr>
        <p:spPr>
          <a:xfrm>
            <a:off x="468883" y="201929"/>
            <a:ext cx="8458835" cy="452120"/>
          </a:xfrm>
          <a:prstGeom prst="rect">
            <a:avLst/>
          </a:prstGeom>
        </p:spPr>
        <p:txBody>
          <a:bodyPr vert="horz" wrap="square" lIns="0" tIns="12065" rIns="0" bIns="0" rtlCol="0">
            <a:spAutoFit/>
          </a:bodyPr>
          <a:lstStyle/>
          <a:p>
            <a:pPr marL="12700">
              <a:lnSpc>
                <a:spcPct val="100000"/>
              </a:lnSpc>
              <a:spcBef>
                <a:spcPts val="95"/>
              </a:spcBef>
            </a:pPr>
            <a:r>
              <a:rPr sz="2800" spc="-55"/>
              <a:t>Wave </a:t>
            </a:r>
            <a:r>
              <a:rPr sz="2800" spc="-5"/>
              <a:t>– 2 : </a:t>
            </a:r>
            <a:r>
              <a:rPr sz="2800" spc="-10"/>
              <a:t>Application Integration</a:t>
            </a:r>
            <a:r>
              <a:rPr sz="2800" spc="229"/>
              <a:t> </a:t>
            </a:r>
            <a:r>
              <a:rPr sz="2800" spc="-15"/>
              <a:t>Architecture</a:t>
            </a:r>
            <a:endParaRPr sz="2800"/>
          </a:p>
        </p:txBody>
      </p:sp>
      <p:sp>
        <p:nvSpPr>
          <p:cNvPr id="40" name="object 4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1" name="object 41"/>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3</a:t>
            </a:fld>
            <a:endParaRPr sz="800">
              <a:latin typeface="Verdana"/>
              <a:cs typeface="Verdana"/>
            </a:endParaRPr>
          </a:p>
        </p:txBody>
      </p:sp>
      <p:sp>
        <p:nvSpPr>
          <p:cNvPr id="44" name="object 15">
            <a:extLst>
              <a:ext uri="{FF2B5EF4-FFF2-40B4-BE49-F238E27FC236}">
                <a16:creationId xmlns:a16="http://schemas.microsoft.com/office/drawing/2014/main" id="{5E9AAD66-0F7E-445D-9DA8-036119B1EF0D}"/>
              </a:ext>
            </a:extLst>
          </p:cNvPr>
          <p:cNvSpPr txBox="1"/>
          <p:nvPr/>
        </p:nvSpPr>
        <p:spPr>
          <a:xfrm>
            <a:off x="3782567" y="1463039"/>
            <a:ext cx="3533734" cy="5239896"/>
          </a:xfrm>
          <a:prstGeom prst="rect">
            <a:avLst/>
          </a:prstGeom>
          <a:solidFill>
            <a:srgbClr val="00AFEF"/>
          </a:solidFill>
        </p:spPr>
        <p:txBody>
          <a:bodyPr vert="horz" wrap="square" lIns="0" tIns="0" rIns="0" bIns="0" rtlCol="0">
            <a:spAutoFit/>
          </a:bodyPr>
          <a:lstStyle/>
          <a:p>
            <a:pPr>
              <a:lnSpc>
                <a:spcPct val="100000"/>
              </a:lnSpc>
            </a:pPr>
            <a:endParaRPr sz="1700" dirty="0">
              <a:latin typeface="Times New Roman"/>
              <a:cs typeface="Times New Roman"/>
            </a:endParaRPr>
          </a:p>
          <a:p>
            <a:pPr>
              <a:lnSpc>
                <a:spcPct val="100000"/>
              </a:lnSpc>
            </a:pPr>
            <a:endParaRPr sz="1700" dirty="0">
              <a:latin typeface="Times New Roman"/>
              <a:cs typeface="Times New Roman"/>
            </a:endParaRPr>
          </a:p>
          <a:p>
            <a:pPr>
              <a:lnSpc>
                <a:spcPct val="100000"/>
              </a:lnSpc>
            </a:pPr>
            <a:endParaRPr sz="1700" dirty="0">
              <a:latin typeface="Times New Roman"/>
              <a:cs typeface="Times New Roman"/>
            </a:endParaRPr>
          </a:p>
          <a:p>
            <a:pPr>
              <a:lnSpc>
                <a:spcPct val="100000"/>
              </a:lnSpc>
              <a:spcBef>
                <a:spcPts val="35"/>
              </a:spcBef>
            </a:pPr>
            <a:endParaRPr sz="2350" dirty="0">
              <a:latin typeface="Times New Roman"/>
              <a:cs typeface="Times New Roman"/>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gn="ctr">
              <a:lnSpc>
                <a:spcPct val="100000"/>
              </a:lnSpc>
            </a:pPr>
            <a:r>
              <a:rPr lang="it-IT" sz="1400" b="1" dirty="0">
                <a:solidFill>
                  <a:srgbClr val="FFFFFF"/>
                </a:solidFill>
                <a:latin typeface="Verdana"/>
                <a:cs typeface="Verdana"/>
              </a:rPr>
              <a:t>MARC</a:t>
            </a: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sz="1400" dirty="0">
              <a:latin typeface="Verdana"/>
              <a:cs typeface="Verdana"/>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42544" y="1493519"/>
            <a:ext cx="1716405" cy="5151120"/>
          </a:xfrm>
          <a:custGeom>
            <a:avLst/>
            <a:gdLst/>
            <a:ahLst/>
            <a:cxnLst/>
            <a:rect l="l" t="t" r="r" b="b"/>
            <a:pathLst>
              <a:path w="1716405" h="5151120">
                <a:moveTo>
                  <a:pt x="0" y="5151120"/>
                </a:moveTo>
                <a:lnTo>
                  <a:pt x="1716024" y="5151120"/>
                </a:lnTo>
                <a:lnTo>
                  <a:pt x="1716024" y="0"/>
                </a:lnTo>
                <a:lnTo>
                  <a:pt x="0" y="0"/>
                </a:lnTo>
                <a:lnTo>
                  <a:pt x="0" y="5151120"/>
                </a:lnTo>
                <a:close/>
              </a:path>
            </a:pathLst>
          </a:custGeom>
          <a:solidFill>
            <a:srgbClr val="003856"/>
          </a:solidFill>
        </p:spPr>
        <p:txBody>
          <a:bodyPr wrap="square" lIns="0" tIns="0" rIns="0" bIns="0" rtlCol="0"/>
          <a:lstStyle/>
          <a:p>
            <a:endParaRPr/>
          </a:p>
        </p:txBody>
      </p:sp>
      <p:sp>
        <p:nvSpPr>
          <p:cNvPr id="13" name="object 13"/>
          <p:cNvSpPr/>
          <p:nvPr/>
        </p:nvSpPr>
        <p:spPr>
          <a:xfrm>
            <a:off x="2366772" y="3875532"/>
            <a:ext cx="2519680" cy="268605"/>
          </a:xfrm>
          <a:custGeom>
            <a:avLst/>
            <a:gdLst/>
            <a:ahLst/>
            <a:cxnLst/>
            <a:rect l="l" t="t" r="r" b="b"/>
            <a:pathLst>
              <a:path w="2519679" h="268604">
                <a:moveTo>
                  <a:pt x="134111" y="0"/>
                </a:moveTo>
                <a:lnTo>
                  <a:pt x="0" y="134112"/>
                </a:lnTo>
                <a:lnTo>
                  <a:pt x="134111" y="268224"/>
                </a:lnTo>
                <a:lnTo>
                  <a:pt x="134111" y="201168"/>
                </a:lnTo>
                <a:lnTo>
                  <a:pt x="2452116" y="201168"/>
                </a:lnTo>
                <a:lnTo>
                  <a:pt x="2519172" y="134112"/>
                </a:lnTo>
                <a:lnTo>
                  <a:pt x="2452116" y="67056"/>
                </a:lnTo>
                <a:lnTo>
                  <a:pt x="134111" y="67056"/>
                </a:lnTo>
                <a:lnTo>
                  <a:pt x="134111" y="0"/>
                </a:lnTo>
                <a:close/>
              </a:path>
              <a:path w="2519679" h="268604">
                <a:moveTo>
                  <a:pt x="2452116" y="201168"/>
                </a:moveTo>
                <a:lnTo>
                  <a:pt x="2385060" y="201168"/>
                </a:lnTo>
                <a:lnTo>
                  <a:pt x="2385060" y="268224"/>
                </a:lnTo>
                <a:lnTo>
                  <a:pt x="2452116" y="201168"/>
                </a:lnTo>
                <a:close/>
              </a:path>
              <a:path w="2519679" h="268604">
                <a:moveTo>
                  <a:pt x="2385060" y="0"/>
                </a:moveTo>
                <a:lnTo>
                  <a:pt x="2385060" y="67056"/>
                </a:lnTo>
                <a:lnTo>
                  <a:pt x="2452116" y="67056"/>
                </a:lnTo>
                <a:lnTo>
                  <a:pt x="2385060" y="0"/>
                </a:lnTo>
                <a:close/>
              </a:path>
            </a:pathLst>
          </a:custGeom>
          <a:solidFill>
            <a:srgbClr val="2B133C"/>
          </a:solidFill>
        </p:spPr>
        <p:txBody>
          <a:bodyPr wrap="square" lIns="0" tIns="0" rIns="0" bIns="0" rtlCol="0"/>
          <a:lstStyle/>
          <a:p>
            <a:endParaRPr/>
          </a:p>
        </p:txBody>
      </p:sp>
      <p:sp>
        <p:nvSpPr>
          <p:cNvPr id="14" name="object 14"/>
          <p:cNvSpPr txBox="1"/>
          <p:nvPr/>
        </p:nvSpPr>
        <p:spPr>
          <a:xfrm>
            <a:off x="3109086" y="3521202"/>
            <a:ext cx="1264920" cy="361315"/>
          </a:xfrm>
          <a:prstGeom prst="rect">
            <a:avLst/>
          </a:prstGeom>
        </p:spPr>
        <p:txBody>
          <a:bodyPr vert="horz" wrap="square" lIns="0" tIns="13335" rIns="0" bIns="0" rtlCol="0">
            <a:spAutoFit/>
          </a:bodyPr>
          <a:lstStyle/>
          <a:p>
            <a:pPr marL="446405" marR="5080" indent="-434340">
              <a:lnSpc>
                <a:spcPct val="100000"/>
              </a:lnSpc>
              <a:spcBef>
                <a:spcPts val="105"/>
              </a:spcBef>
            </a:pPr>
            <a:r>
              <a:rPr sz="1100" b="1" spc="-5">
                <a:solidFill>
                  <a:srgbClr val="00AFEF"/>
                </a:solidFill>
                <a:latin typeface="Verdana"/>
                <a:cs typeface="Verdana"/>
              </a:rPr>
              <a:t>Realtime </a:t>
            </a:r>
            <a:r>
              <a:rPr sz="1100" b="1">
                <a:solidFill>
                  <a:srgbClr val="00AFEF"/>
                </a:solidFill>
                <a:latin typeface="Verdana"/>
                <a:cs typeface="Verdana"/>
              </a:rPr>
              <a:t>–</a:t>
            </a:r>
            <a:r>
              <a:rPr sz="1100" b="1" spc="-85">
                <a:solidFill>
                  <a:srgbClr val="00AFEF"/>
                </a:solidFill>
                <a:latin typeface="Verdana"/>
                <a:cs typeface="Verdana"/>
              </a:rPr>
              <a:t> </a:t>
            </a:r>
            <a:r>
              <a:rPr sz="1100" b="1">
                <a:solidFill>
                  <a:srgbClr val="00AFEF"/>
                </a:solidFill>
                <a:latin typeface="Verdana"/>
                <a:cs typeface="Verdana"/>
              </a:rPr>
              <a:t>Rest  </a:t>
            </a:r>
            <a:r>
              <a:rPr sz="1100" b="1" spc="-5">
                <a:solidFill>
                  <a:srgbClr val="00AFEF"/>
                </a:solidFill>
                <a:latin typeface="Verdana"/>
                <a:cs typeface="Verdana"/>
              </a:rPr>
              <a:t>APIs</a:t>
            </a:r>
            <a:endParaRPr sz="1100">
              <a:latin typeface="Verdana"/>
              <a:cs typeface="Verdana"/>
            </a:endParaRPr>
          </a:p>
        </p:txBody>
      </p:sp>
      <p:sp>
        <p:nvSpPr>
          <p:cNvPr id="15" name="object 15"/>
          <p:cNvSpPr/>
          <p:nvPr/>
        </p:nvSpPr>
        <p:spPr>
          <a:xfrm>
            <a:off x="8471916" y="3875532"/>
            <a:ext cx="672465" cy="268605"/>
          </a:xfrm>
          <a:custGeom>
            <a:avLst/>
            <a:gdLst/>
            <a:ahLst/>
            <a:cxnLst/>
            <a:rect l="l" t="t" r="r" b="b"/>
            <a:pathLst>
              <a:path w="672465" h="268604">
                <a:moveTo>
                  <a:pt x="134111" y="0"/>
                </a:moveTo>
                <a:lnTo>
                  <a:pt x="0" y="134112"/>
                </a:lnTo>
                <a:lnTo>
                  <a:pt x="134111" y="268224"/>
                </a:lnTo>
                <a:lnTo>
                  <a:pt x="134111" y="201168"/>
                </a:lnTo>
                <a:lnTo>
                  <a:pt x="605027" y="201168"/>
                </a:lnTo>
                <a:lnTo>
                  <a:pt x="672083" y="134112"/>
                </a:lnTo>
                <a:lnTo>
                  <a:pt x="605027" y="67056"/>
                </a:lnTo>
                <a:lnTo>
                  <a:pt x="134111" y="67056"/>
                </a:lnTo>
                <a:lnTo>
                  <a:pt x="134111" y="0"/>
                </a:lnTo>
                <a:close/>
              </a:path>
              <a:path w="672465" h="268604">
                <a:moveTo>
                  <a:pt x="605027" y="201168"/>
                </a:moveTo>
                <a:lnTo>
                  <a:pt x="537972" y="201168"/>
                </a:lnTo>
                <a:lnTo>
                  <a:pt x="537972" y="268224"/>
                </a:lnTo>
                <a:lnTo>
                  <a:pt x="605027" y="201168"/>
                </a:lnTo>
                <a:close/>
              </a:path>
              <a:path w="672465" h="268604">
                <a:moveTo>
                  <a:pt x="537972" y="0"/>
                </a:moveTo>
                <a:lnTo>
                  <a:pt x="537972" y="67056"/>
                </a:lnTo>
                <a:lnTo>
                  <a:pt x="605027" y="67056"/>
                </a:lnTo>
                <a:lnTo>
                  <a:pt x="537972" y="0"/>
                </a:lnTo>
                <a:close/>
              </a:path>
            </a:pathLst>
          </a:custGeom>
          <a:solidFill>
            <a:srgbClr val="2B133C"/>
          </a:solidFill>
        </p:spPr>
        <p:txBody>
          <a:bodyPr wrap="square" lIns="0" tIns="0" rIns="0" bIns="0" rtlCol="0"/>
          <a:lstStyle/>
          <a:p>
            <a:endParaRPr/>
          </a:p>
        </p:txBody>
      </p:sp>
      <p:sp>
        <p:nvSpPr>
          <p:cNvPr id="21" name="object 21"/>
          <p:cNvSpPr txBox="1"/>
          <p:nvPr/>
        </p:nvSpPr>
        <p:spPr>
          <a:xfrm>
            <a:off x="600252" y="1017524"/>
            <a:ext cx="1602105"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00AFEF"/>
                </a:solidFill>
                <a:latin typeface="Verdana"/>
                <a:cs typeface="Verdana"/>
              </a:rPr>
              <a:t>Marelli</a:t>
            </a:r>
            <a:r>
              <a:rPr sz="1400" b="1" spc="-85">
                <a:solidFill>
                  <a:srgbClr val="00AFEF"/>
                </a:solidFill>
                <a:latin typeface="Verdana"/>
                <a:cs typeface="Verdana"/>
              </a:rPr>
              <a:t> </a:t>
            </a:r>
            <a:r>
              <a:rPr sz="1400" b="1" spc="-5">
                <a:solidFill>
                  <a:srgbClr val="00AFEF"/>
                </a:solidFill>
                <a:latin typeface="Verdana"/>
                <a:cs typeface="Verdana"/>
              </a:rPr>
              <a:t>Systems</a:t>
            </a:r>
            <a:endParaRPr sz="1400">
              <a:latin typeface="Verdana"/>
              <a:cs typeface="Verdana"/>
            </a:endParaRPr>
          </a:p>
        </p:txBody>
      </p:sp>
      <p:sp>
        <p:nvSpPr>
          <p:cNvPr id="22" name="object 22"/>
          <p:cNvSpPr txBox="1"/>
          <p:nvPr/>
        </p:nvSpPr>
        <p:spPr>
          <a:xfrm>
            <a:off x="832103" y="2068067"/>
            <a:ext cx="1144905" cy="481965"/>
          </a:xfrm>
          <a:prstGeom prst="rect">
            <a:avLst/>
          </a:prstGeom>
          <a:solidFill>
            <a:srgbClr val="006FAC"/>
          </a:solidFill>
          <a:ln w="12191">
            <a:solidFill>
              <a:srgbClr val="00507D"/>
            </a:solidFill>
          </a:ln>
        </p:spPr>
        <p:txBody>
          <a:bodyPr vert="horz" wrap="square" lIns="0" tIns="133350" rIns="0" bIns="0" rtlCol="0">
            <a:spAutoFit/>
          </a:bodyPr>
          <a:lstStyle/>
          <a:p>
            <a:pPr algn="ctr">
              <a:lnSpc>
                <a:spcPct val="100000"/>
              </a:lnSpc>
              <a:spcBef>
                <a:spcPts val="1050"/>
              </a:spcBef>
            </a:pPr>
            <a:r>
              <a:rPr sz="1400" spc="-5">
                <a:solidFill>
                  <a:srgbClr val="FFFFFF"/>
                </a:solidFill>
                <a:latin typeface="Verdana"/>
                <a:cs typeface="Verdana"/>
              </a:rPr>
              <a:t>Jira</a:t>
            </a:r>
            <a:endParaRPr sz="1400">
              <a:latin typeface="Verdana"/>
              <a:cs typeface="Verdana"/>
            </a:endParaRPr>
          </a:p>
        </p:txBody>
      </p:sp>
      <p:sp>
        <p:nvSpPr>
          <p:cNvPr id="23" name="object 23"/>
          <p:cNvSpPr txBox="1"/>
          <p:nvPr/>
        </p:nvSpPr>
        <p:spPr>
          <a:xfrm>
            <a:off x="832103" y="3261359"/>
            <a:ext cx="1144905" cy="480059"/>
          </a:xfrm>
          <a:prstGeom prst="rect">
            <a:avLst/>
          </a:prstGeom>
          <a:solidFill>
            <a:srgbClr val="006FAC"/>
          </a:solidFill>
          <a:ln w="12191">
            <a:solidFill>
              <a:srgbClr val="00507D"/>
            </a:solidFill>
          </a:ln>
        </p:spPr>
        <p:txBody>
          <a:bodyPr vert="horz" wrap="square" lIns="0" tIns="132715" rIns="0" bIns="0" rtlCol="0">
            <a:spAutoFit/>
          </a:bodyPr>
          <a:lstStyle/>
          <a:p>
            <a:pPr marL="132080">
              <a:lnSpc>
                <a:spcPct val="100000"/>
              </a:lnSpc>
              <a:spcBef>
                <a:spcPts val="1045"/>
              </a:spcBef>
            </a:pPr>
            <a:r>
              <a:rPr sz="1400">
                <a:solidFill>
                  <a:srgbClr val="FFFFFF"/>
                </a:solidFill>
                <a:latin typeface="Verdana"/>
                <a:cs typeface="Verdana"/>
              </a:rPr>
              <a:t>ECM</a:t>
            </a:r>
            <a:r>
              <a:rPr sz="1400" spc="-55">
                <a:solidFill>
                  <a:srgbClr val="FFFFFF"/>
                </a:solidFill>
                <a:latin typeface="Verdana"/>
                <a:cs typeface="Verdana"/>
              </a:rPr>
              <a:t> </a:t>
            </a:r>
            <a:r>
              <a:rPr sz="1400">
                <a:solidFill>
                  <a:srgbClr val="FFFFFF"/>
                </a:solidFill>
                <a:latin typeface="Verdana"/>
                <a:cs typeface="Verdana"/>
              </a:rPr>
              <a:t>tools</a:t>
            </a:r>
            <a:endParaRPr sz="1400">
              <a:latin typeface="Verdana"/>
              <a:cs typeface="Verdana"/>
            </a:endParaRPr>
          </a:p>
        </p:txBody>
      </p:sp>
      <p:sp>
        <p:nvSpPr>
          <p:cNvPr id="24" name="object 24"/>
          <p:cNvSpPr txBox="1"/>
          <p:nvPr/>
        </p:nvSpPr>
        <p:spPr>
          <a:xfrm>
            <a:off x="795527" y="4567428"/>
            <a:ext cx="1181100" cy="480059"/>
          </a:xfrm>
          <a:prstGeom prst="rect">
            <a:avLst/>
          </a:prstGeom>
          <a:solidFill>
            <a:srgbClr val="006FAC"/>
          </a:solidFill>
          <a:ln w="12191">
            <a:solidFill>
              <a:srgbClr val="00507D"/>
            </a:solidFill>
          </a:ln>
        </p:spPr>
        <p:txBody>
          <a:bodyPr vert="horz" wrap="square" lIns="0" tIns="56515" rIns="0" bIns="0" rtlCol="0">
            <a:spAutoFit/>
          </a:bodyPr>
          <a:lstStyle/>
          <a:p>
            <a:pPr marL="266065" marR="118745" indent="-142240">
              <a:lnSpc>
                <a:spcPct val="100000"/>
              </a:lnSpc>
              <a:spcBef>
                <a:spcPts val="445"/>
              </a:spcBef>
            </a:pPr>
            <a:r>
              <a:rPr sz="1200">
                <a:solidFill>
                  <a:srgbClr val="FFFFFF"/>
                </a:solidFill>
                <a:latin typeface="Verdana"/>
                <a:cs typeface="Verdana"/>
              </a:rPr>
              <a:t>R&amp;D</a:t>
            </a:r>
            <a:r>
              <a:rPr sz="1200" spc="-85">
                <a:solidFill>
                  <a:srgbClr val="FFFFFF"/>
                </a:solidFill>
                <a:latin typeface="Verdana"/>
                <a:cs typeface="Verdana"/>
              </a:rPr>
              <a:t> </a:t>
            </a:r>
            <a:r>
              <a:rPr sz="1200" spc="-5">
                <a:solidFill>
                  <a:srgbClr val="FFFFFF"/>
                </a:solidFill>
                <a:latin typeface="Verdana"/>
                <a:cs typeface="Verdana"/>
              </a:rPr>
              <a:t>Budget  Planning</a:t>
            </a:r>
            <a:endParaRPr sz="1200">
              <a:latin typeface="Verdana"/>
              <a:cs typeface="Verdana"/>
            </a:endParaRPr>
          </a:p>
        </p:txBody>
      </p:sp>
      <p:sp>
        <p:nvSpPr>
          <p:cNvPr id="25" name="object 25"/>
          <p:cNvSpPr txBox="1"/>
          <p:nvPr/>
        </p:nvSpPr>
        <p:spPr>
          <a:xfrm>
            <a:off x="777240" y="5865876"/>
            <a:ext cx="1199515" cy="480059"/>
          </a:xfrm>
          <a:prstGeom prst="rect">
            <a:avLst/>
          </a:prstGeom>
          <a:solidFill>
            <a:srgbClr val="006FAC"/>
          </a:solidFill>
          <a:ln w="12191">
            <a:solidFill>
              <a:srgbClr val="00507D"/>
            </a:solidFill>
          </a:ln>
        </p:spPr>
        <p:txBody>
          <a:bodyPr vert="horz" wrap="square" lIns="0" tIns="133350" rIns="0" bIns="0" rtlCol="0">
            <a:spAutoFit/>
          </a:bodyPr>
          <a:lstStyle/>
          <a:p>
            <a:pPr marL="175260">
              <a:lnSpc>
                <a:spcPct val="100000"/>
              </a:lnSpc>
              <a:spcBef>
                <a:spcPts val="1050"/>
              </a:spcBef>
            </a:pPr>
            <a:r>
              <a:rPr sz="1400">
                <a:solidFill>
                  <a:srgbClr val="FFFFFF"/>
                </a:solidFill>
                <a:latin typeface="Verdana"/>
                <a:cs typeface="Verdana"/>
              </a:rPr>
              <a:t>PLM</a:t>
            </a:r>
            <a:r>
              <a:rPr sz="1400" spc="-50">
                <a:solidFill>
                  <a:srgbClr val="FFFFFF"/>
                </a:solidFill>
                <a:latin typeface="Verdana"/>
                <a:cs typeface="Verdana"/>
              </a:rPr>
              <a:t> </a:t>
            </a:r>
            <a:r>
              <a:rPr sz="1400">
                <a:solidFill>
                  <a:srgbClr val="FFFFFF"/>
                </a:solidFill>
                <a:latin typeface="Verdana"/>
                <a:cs typeface="Verdana"/>
              </a:rPr>
              <a:t>tools</a:t>
            </a:r>
            <a:endParaRPr sz="1400">
              <a:latin typeface="Verdana"/>
              <a:cs typeface="Verdana"/>
            </a:endParaRPr>
          </a:p>
        </p:txBody>
      </p:sp>
      <p:sp>
        <p:nvSpPr>
          <p:cNvPr id="26" name="object 26"/>
          <p:cNvSpPr/>
          <p:nvPr/>
        </p:nvSpPr>
        <p:spPr>
          <a:xfrm>
            <a:off x="8951976" y="2982467"/>
            <a:ext cx="3240024" cy="1744979"/>
          </a:xfrm>
          <a:prstGeom prst="rect">
            <a:avLst/>
          </a:prstGeom>
          <a:blipFill>
            <a:blip r:embed="rId2" cstate="print"/>
            <a:stretch>
              <a:fillRect/>
            </a:stretch>
          </a:blipFill>
        </p:spPr>
        <p:txBody>
          <a:bodyPr wrap="square" lIns="0" tIns="0" rIns="0" bIns="0" rtlCol="0"/>
          <a:lstStyle/>
          <a:p>
            <a:endParaRPr/>
          </a:p>
        </p:txBody>
      </p:sp>
      <p:sp>
        <p:nvSpPr>
          <p:cNvPr id="27" name="object 27"/>
          <p:cNvSpPr txBox="1">
            <a:spLocks noGrp="1"/>
          </p:cNvSpPr>
          <p:nvPr>
            <p:ph type="title"/>
          </p:nvPr>
        </p:nvSpPr>
        <p:spPr>
          <a:xfrm>
            <a:off x="468883" y="201929"/>
            <a:ext cx="8284845" cy="452120"/>
          </a:xfrm>
          <a:prstGeom prst="rect">
            <a:avLst/>
          </a:prstGeom>
        </p:spPr>
        <p:txBody>
          <a:bodyPr vert="horz" wrap="square" lIns="0" tIns="12065" rIns="0" bIns="0" rtlCol="0">
            <a:spAutoFit/>
          </a:bodyPr>
          <a:lstStyle/>
          <a:p>
            <a:pPr marL="12700">
              <a:lnSpc>
                <a:spcPct val="100000"/>
              </a:lnSpc>
              <a:spcBef>
                <a:spcPts val="95"/>
              </a:spcBef>
            </a:pPr>
            <a:r>
              <a:rPr sz="2800" spc="-5"/>
              <a:t>Streams : </a:t>
            </a:r>
            <a:r>
              <a:rPr sz="2800" spc="-10"/>
              <a:t>Application Integration</a:t>
            </a:r>
            <a:r>
              <a:rPr sz="2800" spc="170"/>
              <a:t> </a:t>
            </a:r>
            <a:r>
              <a:rPr sz="2800" spc="-15"/>
              <a:t>Architecture</a:t>
            </a:r>
            <a:endParaRPr sz="2800"/>
          </a:p>
        </p:txBody>
      </p:sp>
      <p:sp>
        <p:nvSpPr>
          <p:cNvPr id="28" name="object 2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9" name="object 29"/>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4</a:t>
            </a:fld>
            <a:endParaRPr sz="800">
              <a:latin typeface="Verdana"/>
              <a:cs typeface="Verdana"/>
            </a:endParaRPr>
          </a:p>
        </p:txBody>
      </p:sp>
      <p:sp>
        <p:nvSpPr>
          <p:cNvPr id="31" name="object 15">
            <a:extLst>
              <a:ext uri="{FF2B5EF4-FFF2-40B4-BE49-F238E27FC236}">
                <a16:creationId xmlns:a16="http://schemas.microsoft.com/office/drawing/2014/main" id="{68FEF825-18EE-4C47-9098-BB8A1F393B47}"/>
              </a:ext>
            </a:extLst>
          </p:cNvPr>
          <p:cNvSpPr txBox="1"/>
          <p:nvPr/>
        </p:nvSpPr>
        <p:spPr>
          <a:xfrm>
            <a:off x="4938182" y="1505506"/>
            <a:ext cx="3533734" cy="5239896"/>
          </a:xfrm>
          <a:prstGeom prst="rect">
            <a:avLst/>
          </a:prstGeom>
          <a:solidFill>
            <a:srgbClr val="00AFEF"/>
          </a:solidFill>
        </p:spPr>
        <p:txBody>
          <a:bodyPr vert="horz" wrap="square" lIns="0" tIns="0" rIns="0" bIns="0" rtlCol="0">
            <a:spAutoFit/>
          </a:bodyPr>
          <a:lstStyle/>
          <a:p>
            <a:pPr>
              <a:lnSpc>
                <a:spcPct val="100000"/>
              </a:lnSpc>
            </a:pPr>
            <a:endParaRPr sz="1700" dirty="0">
              <a:latin typeface="Times New Roman"/>
              <a:cs typeface="Times New Roman"/>
            </a:endParaRPr>
          </a:p>
          <a:p>
            <a:pPr>
              <a:lnSpc>
                <a:spcPct val="100000"/>
              </a:lnSpc>
            </a:pPr>
            <a:endParaRPr sz="1700" dirty="0">
              <a:latin typeface="Times New Roman"/>
              <a:cs typeface="Times New Roman"/>
            </a:endParaRPr>
          </a:p>
          <a:p>
            <a:pPr>
              <a:lnSpc>
                <a:spcPct val="100000"/>
              </a:lnSpc>
            </a:pPr>
            <a:endParaRPr sz="1700" dirty="0">
              <a:latin typeface="Times New Roman"/>
              <a:cs typeface="Times New Roman"/>
            </a:endParaRPr>
          </a:p>
          <a:p>
            <a:pPr>
              <a:lnSpc>
                <a:spcPct val="100000"/>
              </a:lnSpc>
              <a:spcBef>
                <a:spcPts val="35"/>
              </a:spcBef>
            </a:pPr>
            <a:endParaRPr sz="2350" dirty="0">
              <a:latin typeface="Times New Roman"/>
              <a:cs typeface="Times New Roman"/>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gn="ctr">
              <a:lnSpc>
                <a:spcPct val="100000"/>
              </a:lnSpc>
            </a:pPr>
            <a:r>
              <a:rPr lang="it-IT" sz="1400" b="1" dirty="0">
                <a:solidFill>
                  <a:srgbClr val="FFFFFF"/>
                </a:solidFill>
                <a:latin typeface="Verdana"/>
                <a:cs typeface="Verdana"/>
              </a:rPr>
              <a:t>MARC</a:t>
            </a: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lang="it-IT" sz="1400" b="1" dirty="0">
              <a:solidFill>
                <a:srgbClr val="FFFFFF"/>
              </a:solidFill>
              <a:latin typeface="Verdana"/>
              <a:cs typeface="Verdana"/>
            </a:endParaRPr>
          </a:p>
          <a:p>
            <a:pPr marL="95250">
              <a:lnSpc>
                <a:spcPct val="100000"/>
              </a:lnSpc>
            </a:pPr>
            <a:endParaRPr sz="1400" dirty="0">
              <a:latin typeface="Verdana"/>
              <a:cs typeface="Verdana"/>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214680" y="6638645"/>
            <a:ext cx="194754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2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5" name="object 5"/>
          <p:cNvSpPr txBox="1"/>
          <p:nvPr/>
        </p:nvSpPr>
        <p:spPr>
          <a:xfrm>
            <a:off x="9604629" y="6638645"/>
            <a:ext cx="234886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0">
                <a:solidFill>
                  <a:srgbClr val="12ABDB"/>
                </a:solidFill>
                <a:latin typeface="Verdana"/>
                <a:cs typeface="Verdana"/>
              </a:rPr>
              <a:t> </a:t>
            </a:r>
            <a:r>
              <a:rPr sz="800">
                <a:solidFill>
                  <a:srgbClr val="A6A6A6"/>
                </a:solidFill>
                <a:latin typeface="Verdana"/>
                <a:cs typeface="Verdana"/>
              </a:rPr>
              <a:t>117</a:t>
            </a:r>
            <a:endParaRPr sz="800">
              <a:latin typeface="Verdana"/>
              <a:cs typeface="Verdana"/>
            </a:endParaRPr>
          </a:p>
        </p:txBody>
      </p:sp>
      <p:sp>
        <p:nvSpPr>
          <p:cNvPr id="7" name="object 7"/>
          <p:cNvSpPr txBox="1"/>
          <p:nvPr/>
        </p:nvSpPr>
        <p:spPr>
          <a:xfrm>
            <a:off x="540207" y="2902153"/>
            <a:ext cx="2143125" cy="331470"/>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Data</a:t>
            </a:r>
            <a:r>
              <a:rPr sz="2000" b="1" spc="-65">
                <a:solidFill>
                  <a:srgbClr val="FFFFFF"/>
                </a:solidFill>
                <a:latin typeface="Verdana"/>
                <a:cs typeface="Verdana"/>
              </a:rPr>
              <a:t> </a:t>
            </a:r>
            <a:r>
              <a:rPr sz="2000" b="1">
                <a:solidFill>
                  <a:srgbClr val="FFFFFF"/>
                </a:solidFill>
                <a:latin typeface="Verdana"/>
                <a:cs typeface="Verdana"/>
              </a:rPr>
              <a:t>Migration</a:t>
            </a:r>
            <a:endParaRPr sz="2000">
              <a:latin typeface="Verdana"/>
              <a:cs typeface="Verdana"/>
            </a:endParaRPr>
          </a:p>
        </p:txBody>
      </p:sp>
      <p:sp>
        <p:nvSpPr>
          <p:cNvPr id="8" name="object 8"/>
          <p:cNvSpPr txBox="1"/>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latin typeface="Verdana"/>
                <a:cs typeface="Verdana"/>
              </a:rPr>
              <a:t>09</a:t>
            </a:r>
            <a:endParaRPr sz="4400">
              <a:latin typeface="Verdana"/>
              <a:cs typeface="Verdana"/>
            </a:endParaRPr>
          </a:p>
        </p:txBody>
      </p:sp>
      <p:sp>
        <p:nvSpPr>
          <p:cNvPr id="9" name="object 9"/>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pic>
        <p:nvPicPr>
          <p:cNvPr id="12" name="Picture 11">
            <a:extLst>
              <a:ext uri="{FF2B5EF4-FFF2-40B4-BE49-F238E27FC236}">
                <a16:creationId xmlns:a16="http://schemas.microsoft.com/office/drawing/2014/main" id="{A32E3E86-78D6-4CA2-9723-5E8C22E44182}"/>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177790" cy="422275"/>
          </a:xfrm>
          <a:prstGeom prst="rect">
            <a:avLst/>
          </a:prstGeom>
        </p:spPr>
        <p:txBody>
          <a:bodyPr vert="horz" wrap="square" lIns="0" tIns="12700" rIns="0" bIns="0" rtlCol="0">
            <a:spAutoFit/>
          </a:bodyPr>
          <a:lstStyle/>
          <a:p>
            <a:pPr marL="12700">
              <a:lnSpc>
                <a:spcPct val="100000"/>
              </a:lnSpc>
              <a:spcBef>
                <a:spcPts val="100"/>
              </a:spcBef>
            </a:pPr>
            <a:r>
              <a:rPr sz="2600" spc="-5"/>
              <a:t>Data Migration </a:t>
            </a:r>
            <a:r>
              <a:rPr sz="2600"/>
              <a:t>–</a:t>
            </a:r>
            <a:r>
              <a:rPr sz="2600" spc="-55"/>
              <a:t> </a:t>
            </a:r>
            <a:r>
              <a:rPr sz="2600" spc="-5"/>
              <a:t>Consideration</a:t>
            </a:r>
            <a:endParaRPr sz="2600"/>
          </a:p>
        </p:txBody>
      </p:sp>
      <p:sp>
        <p:nvSpPr>
          <p:cNvPr id="3" name="object 3"/>
          <p:cNvSpPr txBox="1"/>
          <p:nvPr/>
        </p:nvSpPr>
        <p:spPr>
          <a:xfrm>
            <a:off x="252984" y="1136903"/>
            <a:ext cx="11686540" cy="523240"/>
          </a:xfrm>
          <a:prstGeom prst="rect">
            <a:avLst/>
          </a:prstGeom>
          <a:solidFill>
            <a:srgbClr val="421F5D"/>
          </a:solidFill>
        </p:spPr>
        <p:txBody>
          <a:bodyPr vert="horz" wrap="square" lIns="0" tIns="44450" rIns="0" bIns="0" rtlCol="0">
            <a:spAutoFit/>
          </a:bodyPr>
          <a:lstStyle/>
          <a:p>
            <a:pPr marL="1852930" marR="1583690" indent="749935">
              <a:lnSpc>
                <a:spcPct val="100000"/>
              </a:lnSpc>
              <a:spcBef>
                <a:spcPts val="350"/>
              </a:spcBef>
            </a:pPr>
            <a:r>
              <a:rPr sz="1400" i="1">
                <a:solidFill>
                  <a:srgbClr val="FFFFFF"/>
                </a:solidFill>
                <a:latin typeface="Verdana"/>
                <a:cs typeface="Verdana"/>
              </a:rPr>
              <a:t>Data </a:t>
            </a:r>
            <a:r>
              <a:rPr sz="1400" i="1" spc="-5">
                <a:solidFill>
                  <a:srgbClr val="FFFFFF"/>
                </a:solidFill>
                <a:latin typeface="Verdana"/>
                <a:cs typeface="Verdana"/>
              </a:rPr>
              <a:t>management in </a:t>
            </a:r>
            <a:r>
              <a:rPr sz="1400" i="1">
                <a:solidFill>
                  <a:srgbClr val="FFFFFF"/>
                </a:solidFill>
                <a:latin typeface="Verdana"/>
                <a:cs typeface="Verdana"/>
              </a:rPr>
              <a:t>a </a:t>
            </a:r>
            <a:r>
              <a:rPr sz="1400" i="1" spc="-5">
                <a:solidFill>
                  <a:srgbClr val="FFFFFF"/>
                </a:solidFill>
                <a:latin typeface="Verdana"/>
                <a:cs typeface="Verdana"/>
              </a:rPr>
              <a:t>transformation project is </a:t>
            </a:r>
            <a:r>
              <a:rPr sz="1400" i="1">
                <a:solidFill>
                  <a:srgbClr val="FFFFFF"/>
                </a:solidFill>
                <a:latin typeface="Verdana"/>
                <a:cs typeface="Verdana"/>
              </a:rPr>
              <a:t>a composite </a:t>
            </a:r>
            <a:r>
              <a:rPr sz="1400" i="1" spc="-5">
                <a:solidFill>
                  <a:srgbClr val="FFFFFF"/>
                </a:solidFill>
                <a:latin typeface="Verdana"/>
                <a:cs typeface="Verdana"/>
              </a:rPr>
              <a:t>discipline </a:t>
            </a:r>
            <a:r>
              <a:rPr sz="1400" i="1">
                <a:solidFill>
                  <a:srgbClr val="FFFFFF"/>
                </a:solidFill>
                <a:latin typeface="Verdana"/>
                <a:cs typeface="Verdana"/>
              </a:rPr>
              <a:t>and  </a:t>
            </a:r>
            <a:r>
              <a:rPr sz="1400" i="1" spc="-5">
                <a:solidFill>
                  <a:srgbClr val="FFFFFF"/>
                </a:solidFill>
                <a:latin typeface="Verdana"/>
                <a:cs typeface="Verdana"/>
              </a:rPr>
              <a:t>migration </a:t>
            </a:r>
            <a:r>
              <a:rPr sz="1400" i="1">
                <a:solidFill>
                  <a:srgbClr val="FFFFFF"/>
                </a:solidFill>
                <a:latin typeface="Verdana"/>
                <a:cs typeface="Verdana"/>
              </a:rPr>
              <a:t>strategy </a:t>
            </a:r>
            <a:r>
              <a:rPr sz="1400" i="1" spc="-5">
                <a:solidFill>
                  <a:srgbClr val="FFFFFF"/>
                </a:solidFill>
                <a:latin typeface="Verdana"/>
                <a:cs typeface="Verdana"/>
              </a:rPr>
              <a:t>must be </a:t>
            </a:r>
            <a:r>
              <a:rPr sz="1400" i="1">
                <a:solidFill>
                  <a:srgbClr val="FFFFFF"/>
                </a:solidFill>
                <a:latin typeface="Verdana"/>
                <a:cs typeface="Verdana"/>
              </a:rPr>
              <a:t>based on a systematic and structured </a:t>
            </a:r>
            <a:r>
              <a:rPr sz="1400" i="1" spc="-5">
                <a:solidFill>
                  <a:srgbClr val="FFFFFF"/>
                </a:solidFill>
                <a:latin typeface="Verdana"/>
                <a:cs typeface="Verdana"/>
              </a:rPr>
              <a:t>methodological</a:t>
            </a:r>
            <a:r>
              <a:rPr sz="1400" i="1" spc="-140">
                <a:solidFill>
                  <a:srgbClr val="FFFFFF"/>
                </a:solidFill>
                <a:latin typeface="Verdana"/>
                <a:cs typeface="Verdana"/>
              </a:rPr>
              <a:t> </a:t>
            </a:r>
            <a:r>
              <a:rPr sz="1400" i="1">
                <a:solidFill>
                  <a:srgbClr val="FFFFFF"/>
                </a:solidFill>
                <a:latin typeface="Verdana"/>
                <a:cs typeface="Verdana"/>
              </a:rPr>
              <a:t>approach.</a:t>
            </a:r>
            <a:endParaRPr sz="1400">
              <a:latin typeface="Verdana"/>
              <a:cs typeface="Verdana"/>
            </a:endParaRPr>
          </a:p>
        </p:txBody>
      </p:sp>
      <p:sp>
        <p:nvSpPr>
          <p:cNvPr id="4" name="object 4"/>
          <p:cNvSpPr/>
          <p:nvPr/>
        </p:nvSpPr>
        <p:spPr>
          <a:xfrm>
            <a:off x="252984" y="1799844"/>
            <a:ext cx="6873240" cy="4671060"/>
          </a:xfrm>
          <a:custGeom>
            <a:avLst/>
            <a:gdLst/>
            <a:ahLst/>
            <a:cxnLst/>
            <a:rect l="l" t="t" r="r" b="b"/>
            <a:pathLst>
              <a:path w="6873240" h="4671060">
                <a:moveTo>
                  <a:pt x="6869430" y="0"/>
                </a:moveTo>
                <a:lnTo>
                  <a:pt x="3873" y="0"/>
                </a:lnTo>
                <a:lnTo>
                  <a:pt x="0" y="3809"/>
                </a:lnTo>
                <a:lnTo>
                  <a:pt x="0" y="4667186"/>
                </a:lnTo>
                <a:lnTo>
                  <a:pt x="3873" y="4671059"/>
                </a:lnTo>
                <a:lnTo>
                  <a:pt x="6869430" y="4671059"/>
                </a:lnTo>
                <a:lnTo>
                  <a:pt x="6873240" y="4667186"/>
                </a:lnTo>
                <a:lnTo>
                  <a:pt x="6873240" y="3809"/>
                </a:lnTo>
                <a:lnTo>
                  <a:pt x="6869430" y="0"/>
                </a:lnTo>
                <a:close/>
              </a:path>
            </a:pathLst>
          </a:custGeom>
          <a:solidFill>
            <a:srgbClr val="EBEBEB"/>
          </a:solidFill>
        </p:spPr>
        <p:txBody>
          <a:bodyPr wrap="square" lIns="0" tIns="0" rIns="0" bIns="0" rtlCol="0"/>
          <a:lstStyle/>
          <a:p>
            <a:endParaRPr/>
          </a:p>
        </p:txBody>
      </p:sp>
      <p:sp>
        <p:nvSpPr>
          <p:cNvPr id="5" name="object 5"/>
          <p:cNvSpPr txBox="1"/>
          <p:nvPr/>
        </p:nvSpPr>
        <p:spPr>
          <a:xfrm>
            <a:off x="425907" y="2201671"/>
            <a:ext cx="4647565" cy="208279"/>
          </a:xfrm>
          <a:prstGeom prst="rect">
            <a:avLst/>
          </a:prstGeom>
        </p:spPr>
        <p:txBody>
          <a:bodyPr vert="horz" wrap="square" lIns="0" tIns="12700" rIns="0" bIns="0" rtlCol="0">
            <a:spAutoFit/>
          </a:bodyPr>
          <a:lstStyle/>
          <a:p>
            <a:pPr marL="12700">
              <a:lnSpc>
                <a:spcPct val="100000"/>
              </a:lnSpc>
              <a:spcBef>
                <a:spcPts val="100"/>
              </a:spcBef>
            </a:pPr>
            <a:r>
              <a:rPr sz="1200" spc="-5">
                <a:latin typeface="Verdana"/>
                <a:cs typeface="Verdana"/>
              </a:rPr>
              <a:t>Data </a:t>
            </a:r>
            <a:r>
              <a:rPr sz="1200" spc="-10">
                <a:latin typeface="Verdana"/>
                <a:cs typeface="Verdana"/>
              </a:rPr>
              <a:t>Migration </a:t>
            </a:r>
            <a:r>
              <a:rPr sz="1200" spc="-5">
                <a:latin typeface="Verdana"/>
                <a:cs typeface="Verdana"/>
              </a:rPr>
              <a:t>and </a:t>
            </a:r>
            <a:r>
              <a:rPr sz="1200" spc="-10">
                <a:latin typeface="Verdana"/>
                <a:cs typeface="Verdana"/>
              </a:rPr>
              <a:t>Cutover </a:t>
            </a:r>
            <a:r>
              <a:rPr sz="1200">
                <a:latin typeface="Verdana"/>
                <a:cs typeface="Verdana"/>
              </a:rPr>
              <a:t>are </a:t>
            </a:r>
            <a:r>
              <a:rPr sz="1200" spc="-5">
                <a:latin typeface="Verdana"/>
                <a:cs typeface="Verdana"/>
              </a:rPr>
              <a:t>fully in </a:t>
            </a:r>
            <a:r>
              <a:rPr sz="1200">
                <a:latin typeface="Verdana"/>
                <a:cs typeface="Verdana"/>
              </a:rPr>
              <a:t>scope of </a:t>
            </a:r>
            <a:r>
              <a:rPr sz="1200" spc="-5">
                <a:latin typeface="Verdana"/>
                <a:cs typeface="Verdana"/>
              </a:rPr>
              <a:t>the</a:t>
            </a:r>
            <a:r>
              <a:rPr sz="1200" spc="110">
                <a:latin typeface="Verdana"/>
                <a:cs typeface="Verdana"/>
              </a:rPr>
              <a:t> </a:t>
            </a:r>
            <a:r>
              <a:rPr sz="1200" spc="-5">
                <a:latin typeface="Verdana"/>
                <a:cs typeface="Verdana"/>
              </a:rPr>
              <a:t>project.</a:t>
            </a:r>
            <a:endParaRPr sz="1200">
              <a:latin typeface="Verdana"/>
              <a:cs typeface="Verdana"/>
            </a:endParaRPr>
          </a:p>
        </p:txBody>
      </p:sp>
      <p:sp>
        <p:nvSpPr>
          <p:cNvPr id="6" name="object 6"/>
          <p:cNvSpPr txBox="1"/>
          <p:nvPr/>
        </p:nvSpPr>
        <p:spPr>
          <a:xfrm>
            <a:off x="425907" y="2567432"/>
            <a:ext cx="6099810" cy="391160"/>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Verdana"/>
                <a:cs typeface="Verdana"/>
              </a:rPr>
              <a:t>The Data </a:t>
            </a:r>
            <a:r>
              <a:rPr sz="1200" spc="-10">
                <a:latin typeface="Verdana"/>
                <a:cs typeface="Verdana"/>
              </a:rPr>
              <a:t>Migration </a:t>
            </a:r>
            <a:r>
              <a:rPr sz="1200" spc="-5">
                <a:latin typeface="Verdana"/>
                <a:cs typeface="Verdana"/>
              </a:rPr>
              <a:t>Method is </a:t>
            </a:r>
            <a:r>
              <a:rPr sz="1200">
                <a:latin typeface="Verdana"/>
                <a:cs typeface="Verdana"/>
              </a:rPr>
              <a:t>a </a:t>
            </a:r>
            <a:r>
              <a:rPr sz="1200" spc="-5">
                <a:latin typeface="Verdana"/>
                <a:cs typeface="Verdana"/>
              </a:rPr>
              <a:t>means to </a:t>
            </a:r>
            <a:r>
              <a:rPr sz="1200" spc="-10">
                <a:latin typeface="Verdana"/>
                <a:cs typeface="Verdana"/>
              </a:rPr>
              <a:t>make </a:t>
            </a:r>
            <a:r>
              <a:rPr sz="1200" spc="-5">
                <a:latin typeface="Verdana"/>
                <a:cs typeface="Verdana"/>
              </a:rPr>
              <a:t>the complex process </a:t>
            </a:r>
            <a:r>
              <a:rPr sz="1200">
                <a:latin typeface="Verdana"/>
                <a:cs typeface="Verdana"/>
              </a:rPr>
              <a:t>of </a:t>
            </a:r>
            <a:r>
              <a:rPr sz="1200" spc="-5">
                <a:latin typeface="Verdana"/>
                <a:cs typeface="Verdana"/>
              </a:rPr>
              <a:t>data  </a:t>
            </a:r>
            <a:r>
              <a:rPr sz="1200" spc="-10">
                <a:latin typeface="Verdana"/>
                <a:cs typeface="Verdana"/>
              </a:rPr>
              <a:t>migration </a:t>
            </a:r>
            <a:r>
              <a:rPr sz="1200" spc="-5">
                <a:latin typeface="Verdana"/>
                <a:cs typeface="Verdana"/>
              </a:rPr>
              <a:t>more transparent by providing one common language and</a:t>
            </a:r>
            <a:r>
              <a:rPr sz="1200" spc="150">
                <a:latin typeface="Verdana"/>
                <a:cs typeface="Verdana"/>
              </a:rPr>
              <a:t> </a:t>
            </a:r>
            <a:r>
              <a:rPr sz="1200" spc="-5">
                <a:latin typeface="Verdana"/>
                <a:cs typeface="Verdana"/>
              </a:rPr>
              <a:t>approach.</a:t>
            </a:r>
            <a:endParaRPr sz="1200">
              <a:latin typeface="Verdana"/>
              <a:cs typeface="Verdana"/>
            </a:endParaRPr>
          </a:p>
        </p:txBody>
      </p:sp>
      <p:sp>
        <p:nvSpPr>
          <p:cNvPr id="7" name="object 7"/>
          <p:cNvSpPr txBox="1"/>
          <p:nvPr/>
        </p:nvSpPr>
        <p:spPr>
          <a:xfrm>
            <a:off x="425907" y="3115766"/>
            <a:ext cx="5725795" cy="391795"/>
          </a:xfrm>
          <a:prstGeom prst="rect">
            <a:avLst/>
          </a:prstGeom>
        </p:spPr>
        <p:txBody>
          <a:bodyPr vert="horz" wrap="square" lIns="0" tIns="12700" rIns="0" bIns="0" rtlCol="0">
            <a:spAutoFit/>
          </a:bodyPr>
          <a:lstStyle/>
          <a:p>
            <a:pPr marL="12700">
              <a:lnSpc>
                <a:spcPct val="100000"/>
              </a:lnSpc>
              <a:spcBef>
                <a:spcPts val="100"/>
              </a:spcBef>
            </a:pPr>
            <a:r>
              <a:rPr sz="1200" spc="-5">
                <a:latin typeface="Verdana"/>
                <a:cs typeface="Verdana"/>
              </a:rPr>
              <a:t>The data </a:t>
            </a:r>
            <a:r>
              <a:rPr sz="1200" spc="-10">
                <a:latin typeface="Verdana"/>
                <a:cs typeface="Verdana"/>
              </a:rPr>
              <a:t>migration </a:t>
            </a:r>
            <a:r>
              <a:rPr sz="1200" spc="-5">
                <a:latin typeface="Verdana"/>
                <a:cs typeface="Verdana"/>
              </a:rPr>
              <a:t>strategy and guidelines impact the </a:t>
            </a:r>
            <a:r>
              <a:rPr sz="1200" spc="-10">
                <a:latin typeface="Verdana"/>
                <a:cs typeface="Verdana"/>
              </a:rPr>
              <a:t>way cutover </a:t>
            </a:r>
            <a:r>
              <a:rPr sz="1200" spc="-5">
                <a:latin typeface="Verdana"/>
                <a:cs typeface="Verdana"/>
              </a:rPr>
              <a:t>will</a:t>
            </a:r>
            <a:r>
              <a:rPr sz="1200" spc="204">
                <a:latin typeface="Verdana"/>
                <a:cs typeface="Verdana"/>
              </a:rPr>
              <a:t> </a:t>
            </a:r>
            <a:r>
              <a:rPr sz="1200" spc="-5">
                <a:latin typeface="Verdana"/>
                <a:cs typeface="Verdana"/>
              </a:rPr>
              <a:t>be</a:t>
            </a:r>
            <a:endParaRPr sz="1200">
              <a:latin typeface="Verdana"/>
              <a:cs typeface="Verdana"/>
            </a:endParaRPr>
          </a:p>
          <a:p>
            <a:pPr marL="12700">
              <a:lnSpc>
                <a:spcPct val="100000"/>
              </a:lnSpc>
              <a:spcBef>
                <a:spcPts val="5"/>
              </a:spcBef>
            </a:pPr>
            <a:r>
              <a:rPr sz="1200" spc="-5">
                <a:latin typeface="Verdana"/>
                <a:cs typeface="Verdana"/>
              </a:rPr>
              <a:t>performed.</a:t>
            </a:r>
            <a:endParaRPr sz="1200">
              <a:latin typeface="Verdana"/>
              <a:cs typeface="Verdana"/>
            </a:endParaRPr>
          </a:p>
        </p:txBody>
      </p:sp>
      <p:sp>
        <p:nvSpPr>
          <p:cNvPr id="8" name="object 8"/>
          <p:cNvSpPr txBox="1"/>
          <p:nvPr/>
        </p:nvSpPr>
        <p:spPr>
          <a:xfrm>
            <a:off x="425907" y="3664966"/>
            <a:ext cx="6307455" cy="391160"/>
          </a:xfrm>
          <a:prstGeom prst="rect">
            <a:avLst/>
          </a:prstGeom>
        </p:spPr>
        <p:txBody>
          <a:bodyPr vert="horz" wrap="square" lIns="0" tIns="12700" rIns="0" bIns="0" rtlCol="0">
            <a:spAutoFit/>
          </a:bodyPr>
          <a:lstStyle/>
          <a:p>
            <a:pPr marL="12700" marR="5080">
              <a:lnSpc>
                <a:spcPct val="100000"/>
              </a:lnSpc>
              <a:spcBef>
                <a:spcPts val="100"/>
              </a:spcBef>
            </a:pPr>
            <a:r>
              <a:rPr sz="1200">
                <a:latin typeface="Verdana"/>
                <a:cs typeface="Verdana"/>
              </a:rPr>
              <a:t>When </a:t>
            </a:r>
            <a:r>
              <a:rPr sz="1200" spc="-5">
                <a:latin typeface="Verdana"/>
                <a:cs typeface="Verdana"/>
              </a:rPr>
              <a:t>considering cutover we need to think </a:t>
            </a:r>
            <a:r>
              <a:rPr sz="1200">
                <a:latin typeface="Verdana"/>
                <a:cs typeface="Verdana"/>
              </a:rPr>
              <a:t>of </a:t>
            </a:r>
            <a:r>
              <a:rPr sz="1200" spc="-5">
                <a:latin typeface="Verdana"/>
                <a:cs typeface="Verdana"/>
              </a:rPr>
              <a:t>the leading period, the period itself  and </a:t>
            </a:r>
            <a:r>
              <a:rPr sz="1200" spc="-10">
                <a:latin typeface="Verdana"/>
                <a:cs typeface="Verdana"/>
              </a:rPr>
              <a:t>any </a:t>
            </a:r>
            <a:r>
              <a:rPr sz="1200" spc="-5">
                <a:latin typeface="Verdana"/>
                <a:cs typeface="Verdana"/>
              </a:rPr>
              <a:t>post cutover impacts that need to be </a:t>
            </a:r>
            <a:r>
              <a:rPr sz="1200" spc="-10">
                <a:latin typeface="Verdana"/>
                <a:cs typeface="Verdana"/>
              </a:rPr>
              <a:t>taken </a:t>
            </a:r>
            <a:r>
              <a:rPr sz="1200" spc="-5">
                <a:latin typeface="Verdana"/>
                <a:cs typeface="Verdana"/>
              </a:rPr>
              <a:t>in to</a:t>
            </a:r>
            <a:r>
              <a:rPr sz="1200" spc="160">
                <a:latin typeface="Verdana"/>
                <a:cs typeface="Verdana"/>
              </a:rPr>
              <a:t> </a:t>
            </a:r>
            <a:r>
              <a:rPr sz="1200" spc="-5">
                <a:latin typeface="Verdana"/>
                <a:cs typeface="Verdana"/>
              </a:rPr>
              <a:t>account.</a:t>
            </a:r>
            <a:endParaRPr sz="1200">
              <a:latin typeface="Verdana"/>
              <a:cs typeface="Verdana"/>
            </a:endParaRPr>
          </a:p>
        </p:txBody>
      </p:sp>
      <p:sp>
        <p:nvSpPr>
          <p:cNvPr id="9" name="object 9"/>
          <p:cNvSpPr txBox="1"/>
          <p:nvPr/>
        </p:nvSpPr>
        <p:spPr>
          <a:xfrm>
            <a:off x="425907" y="4213605"/>
            <a:ext cx="6485255" cy="574675"/>
          </a:xfrm>
          <a:prstGeom prst="rect">
            <a:avLst/>
          </a:prstGeom>
        </p:spPr>
        <p:txBody>
          <a:bodyPr vert="horz" wrap="square" lIns="0" tIns="12700" rIns="0" bIns="0" rtlCol="0">
            <a:spAutoFit/>
          </a:bodyPr>
          <a:lstStyle/>
          <a:p>
            <a:pPr marL="12700" marR="5080">
              <a:lnSpc>
                <a:spcPct val="100000"/>
              </a:lnSpc>
              <a:spcBef>
                <a:spcPts val="100"/>
              </a:spcBef>
            </a:pPr>
            <a:r>
              <a:rPr sz="1200" spc="-10">
                <a:latin typeface="Verdana"/>
                <a:cs typeface="Verdana"/>
              </a:rPr>
              <a:t>Cutover </a:t>
            </a:r>
            <a:r>
              <a:rPr sz="1200" spc="-5">
                <a:latin typeface="Verdana"/>
                <a:cs typeface="Verdana"/>
              </a:rPr>
              <a:t>is broader than just </a:t>
            </a:r>
            <a:r>
              <a:rPr sz="1200" spc="-10">
                <a:latin typeface="Verdana"/>
                <a:cs typeface="Verdana"/>
              </a:rPr>
              <a:t>migrating </a:t>
            </a:r>
            <a:r>
              <a:rPr sz="1200" spc="-5">
                <a:latin typeface="Verdana"/>
                <a:cs typeface="Verdana"/>
              </a:rPr>
              <a:t>data it manages the shift </a:t>
            </a:r>
            <a:r>
              <a:rPr sz="1200">
                <a:latin typeface="Verdana"/>
                <a:cs typeface="Verdana"/>
              </a:rPr>
              <a:t>of </a:t>
            </a:r>
            <a:r>
              <a:rPr sz="1200" spc="-5">
                <a:latin typeface="Verdana"/>
                <a:cs typeface="Verdana"/>
              </a:rPr>
              <a:t>the Agency </a:t>
            </a:r>
            <a:r>
              <a:rPr sz="1200">
                <a:latin typeface="Verdana"/>
                <a:cs typeface="Verdana"/>
              </a:rPr>
              <a:t>from  </a:t>
            </a:r>
            <a:r>
              <a:rPr sz="1200" spc="-5">
                <a:latin typeface="Verdana"/>
                <a:cs typeface="Verdana"/>
              </a:rPr>
              <a:t>one </a:t>
            </a:r>
            <a:r>
              <a:rPr sz="1200" spc="-10">
                <a:latin typeface="Verdana"/>
                <a:cs typeface="Verdana"/>
              </a:rPr>
              <a:t>way </a:t>
            </a:r>
            <a:r>
              <a:rPr sz="1200">
                <a:latin typeface="Verdana"/>
                <a:cs typeface="Verdana"/>
              </a:rPr>
              <a:t>of </a:t>
            </a:r>
            <a:r>
              <a:rPr sz="1200" spc="-5">
                <a:latin typeface="Verdana"/>
                <a:cs typeface="Verdana"/>
              </a:rPr>
              <a:t>working to another and hence needs to consider people, </a:t>
            </a:r>
            <a:r>
              <a:rPr sz="1200">
                <a:latin typeface="Verdana"/>
                <a:cs typeface="Verdana"/>
              </a:rPr>
              <a:t>processes,  </a:t>
            </a:r>
            <a:r>
              <a:rPr sz="1200" spc="-5">
                <a:latin typeface="Verdana"/>
                <a:cs typeface="Verdana"/>
              </a:rPr>
              <a:t>applications, </a:t>
            </a:r>
            <a:r>
              <a:rPr sz="1200">
                <a:latin typeface="Verdana"/>
                <a:cs typeface="Verdana"/>
              </a:rPr>
              <a:t>IT </a:t>
            </a:r>
            <a:r>
              <a:rPr sz="1200" spc="-5">
                <a:latin typeface="Verdana"/>
                <a:cs typeface="Verdana"/>
              </a:rPr>
              <a:t>infrastructure and the ensuing application </a:t>
            </a:r>
            <a:r>
              <a:rPr sz="1200">
                <a:latin typeface="Verdana"/>
                <a:cs typeface="Verdana"/>
              </a:rPr>
              <a:t>service </a:t>
            </a:r>
            <a:r>
              <a:rPr sz="1200" spc="-10">
                <a:latin typeface="Verdana"/>
                <a:cs typeface="Verdana"/>
              </a:rPr>
              <a:t>build</a:t>
            </a:r>
            <a:r>
              <a:rPr sz="1200" spc="150">
                <a:latin typeface="Verdana"/>
                <a:cs typeface="Verdana"/>
              </a:rPr>
              <a:t> </a:t>
            </a:r>
            <a:r>
              <a:rPr sz="1200" spc="-10">
                <a:latin typeface="Verdana"/>
                <a:cs typeface="Verdana"/>
              </a:rPr>
              <a:t>up.</a:t>
            </a:r>
            <a:endParaRPr sz="1200">
              <a:latin typeface="Verdana"/>
              <a:cs typeface="Verdana"/>
            </a:endParaRPr>
          </a:p>
        </p:txBody>
      </p:sp>
      <p:sp>
        <p:nvSpPr>
          <p:cNvPr id="10" name="object 10"/>
          <p:cNvSpPr txBox="1"/>
          <p:nvPr/>
        </p:nvSpPr>
        <p:spPr>
          <a:xfrm>
            <a:off x="425907" y="4945507"/>
            <a:ext cx="6351270" cy="391160"/>
          </a:xfrm>
          <a:prstGeom prst="rect">
            <a:avLst/>
          </a:prstGeom>
        </p:spPr>
        <p:txBody>
          <a:bodyPr vert="horz" wrap="square" lIns="0" tIns="12700" rIns="0" bIns="0" rtlCol="0">
            <a:spAutoFit/>
          </a:bodyPr>
          <a:lstStyle/>
          <a:p>
            <a:pPr marL="12700" marR="5080">
              <a:lnSpc>
                <a:spcPct val="100000"/>
              </a:lnSpc>
              <a:spcBef>
                <a:spcPts val="100"/>
              </a:spcBef>
            </a:pPr>
            <a:r>
              <a:rPr sz="1200" spc="-30">
                <a:latin typeface="Verdana"/>
                <a:cs typeface="Verdana"/>
              </a:rPr>
              <a:t>We </a:t>
            </a:r>
            <a:r>
              <a:rPr sz="1200" spc="-5">
                <a:latin typeface="Verdana"/>
                <a:cs typeface="Verdana"/>
              </a:rPr>
              <a:t>will be supportive </a:t>
            </a:r>
            <a:r>
              <a:rPr sz="1200">
                <a:latin typeface="Verdana"/>
                <a:cs typeface="Verdana"/>
              </a:rPr>
              <a:t>of </a:t>
            </a:r>
            <a:r>
              <a:rPr sz="1200" spc="-10">
                <a:latin typeface="Verdana"/>
                <a:cs typeface="Verdana"/>
              </a:rPr>
              <a:t>building </a:t>
            </a:r>
            <a:r>
              <a:rPr sz="1200" spc="-5">
                <a:latin typeface="Verdana"/>
                <a:cs typeface="Verdana"/>
              </a:rPr>
              <a:t>simple </a:t>
            </a:r>
            <a:r>
              <a:rPr sz="1200" spc="-10">
                <a:latin typeface="Verdana"/>
                <a:cs typeface="Verdana"/>
              </a:rPr>
              <a:t>validation </a:t>
            </a:r>
            <a:r>
              <a:rPr sz="1200" spc="-5">
                <a:latin typeface="Verdana"/>
                <a:cs typeface="Verdana"/>
              </a:rPr>
              <a:t>tools and provide the expertise  </a:t>
            </a:r>
            <a:r>
              <a:rPr sz="1200">
                <a:latin typeface="Verdana"/>
                <a:cs typeface="Verdana"/>
              </a:rPr>
              <a:t>on </a:t>
            </a:r>
            <a:r>
              <a:rPr sz="1200" spc="-5">
                <a:latin typeface="Verdana"/>
                <a:cs typeface="Verdana"/>
              </a:rPr>
              <a:t>how to best design the conversion</a:t>
            </a:r>
            <a:r>
              <a:rPr sz="1200" spc="50">
                <a:latin typeface="Verdana"/>
                <a:cs typeface="Verdana"/>
              </a:rPr>
              <a:t> </a:t>
            </a:r>
            <a:r>
              <a:rPr sz="1200" spc="-5">
                <a:latin typeface="Verdana"/>
                <a:cs typeface="Verdana"/>
              </a:rPr>
              <a:t>process.</a:t>
            </a:r>
            <a:endParaRPr sz="1200">
              <a:latin typeface="Verdana"/>
              <a:cs typeface="Verdana"/>
            </a:endParaRPr>
          </a:p>
        </p:txBody>
      </p:sp>
      <p:sp>
        <p:nvSpPr>
          <p:cNvPr id="11" name="object 11"/>
          <p:cNvSpPr txBox="1"/>
          <p:nvPr/>
        </p:nvSpPr>
        <p:spPr>
          <a:xfrm>
            <a:off x="425907" y="5494121"/>
            <a:ext cx="6244590" cy="574675"/>
          </a:xfrm>
          <a:prstGeom prst="rect">
            <a:avLst/>
          </a:prstGeom>
        </p:spPr>
        <p:txBody>
          <a:bodyPr vert="horz" wrap="square" lIns="0" tIns="12700" rIns="0" bIns="0" rtlCol="0">
            <a:spAutoFit/>
          </a:bodyPr>
          <a:lstStyle/>
          <a:p>
            <a:pPr marL="12700" marR="5080" algn="just">
              <a:lnSpc>
                <a:spcPct val="100000"/>
              </a:lnSpc>
              <a:spcBef>
                <a:spcPts val="100"/>
              </a:spcBef>
            </a:pPr>
            <a:r>
              <a:rPr sz="1200" spc="-5">
                <a:latin typeface="Verdana"/>
                <a:cs typeface="Verdana"/>
              </a:rPr>
              <a:t>Our support to Marelli </a:t>
            </a:r>
            <a:r>
              <a:rPr sz="1200">
                <a:latin typeface="Verdana"/>
                <a:cs typeface="Verdana"/>
              </a:rPr>
              <a:t>for </a:t>
            </a:r>
            <a:r>
              <a:rPr sz="1200" spc="-5">
                <a:latin typeface="Verdana"/>
                <a:cs typeface="Verdana"/>
              </a:rPr>
              <a:t>this </a:t>
            </a:r>
            <a:r>
              <a:rPr sz="1200" spc="-10">
                <a:latin typeface="Verdana"/>
                <a:cs typeface="Verdana"/>
              </a:rPr>
              <a:t>activity </a:t>
            </a:r>
            <a:r>
              <a:rPr sz="1200" spc="-5">
                <a:latin typeface="Verdana"/>
                <a:cs typeface="Verdana"/>
              </a:rPr>
              <a:t>is to </a:t>
            </a:r>
            <a:r>
              <a:rPr sz="1200">
                <a:latin typeface="Verdana"/>
                <a:cs typeface="Verdana"/>
              </a:rPr>
              <a:t>set </a:t>
            </a:r>
            <a:r>
              <a:rPr sz="1200" spc="-5">
                <a:latin typeface="Verdana"/>
                <a:cs typeface="Verdana"/>
              </a:rPr>
              <a:t>up the governance </a:t>
            </a:r>
            <a:r>
              <a:rPr sz="1200">
                <a:latin typeface="Verdana"/>
                <a:cs typeface="Verdana"/>
              </a:rPr>
              <a:t>of </a:t>
            </a:r>
            <a:r>
              <a:rPr sz="1200" spc="-5">
                <a:latin typeface="Verdana"/>
                <a:cs typeface="Verdana"/>
              </a:rPr>
              <a:t>the </a:t>
            </a:r>
            <a:r>
              <a:rPr sz="1200">
                <a:latin typeface="Verdana"/>
                <a:cs typeface="Verdana"/>
              </a:rPr>
              <a:t>process  </a:t>
            </a:r>
            <a:r>
              <a:rPr sz="1200" spc="-5">
                <a:latin typeface="Verdana"/>
                <a:cs typeface="Verdana"/>
              </a:rPr>
              <a:t>and support it to reaching go-live </a:t>
            </a:r>
            <a:r>
              <a:rPr sz="1200" spc="-20">
                <a:latin typeface="Verdana"/>
                <a:cs typeface="Verdana"/>
              </a:rPr>
              <a:t>quality. </a:t>
            </a:r>
            <a:r>
              <a:rPr sz="1200" spc="-5">
                <a:latin typeface="Verdana"/>
                <a:cs typeface="Verdana"/>
              </a:rPr>
              <a:t>This is done by setting up </a:t>
            </a:r>
            <a:r>
              <a:rPr sz="1200" spc="-10">
                <a:latin typeface="Verdana"/>
                <a:cs typeface="Verdana"/>
              </a:rPr>
              <a:t>tracking </a:t>
            </a:r>
            <a:r>
              <a:rPr sz="1200" spc="-5">
                <a:latin typeface="Verdana"/>
                <a:cs typeface="Verdana"/>
              </a:rPr>
              <a:t>and  monitoring tools, plan and</a:t>
            </a:r>
            <a:r>
              <a:rPr sz="1200" spc="30">
                <a:latin typeface="Verdana"/>
                <a:cs typeface="Verdana"/>
              </a:rPr>
              <a:t> </a:t>
            </a:r>
            <a:r>
              <a:rPr sz="1200" spc="-5">
                <a:latin typeface="Verdana"/>
                <a:cs typeface="Verdana"/>
              </a:rPr>
              <a:t>organization</a:t>
            </a:r>
            <a:endParaRPr sz="1200">
              <a:latin typeface="Verdana"/>
              <a:cs typeface="Verdana"/>
            </a:endParaRPr>
          </a:p>
        </p:txBody>
      </p:sp>
      <p:sp>
        <p:nvSpPr>
          <p:cNvPr id="12" name="object 12"/>
          <p:cNvSpPr/>
          <p:nvPr/>
        </p:nvSpPr>
        <p:spPr>
          <a:xfrm>
            <a:off x="10229067" y="3060192"/>
            <a:ext cx="1287811" cy="1289304"/>
          </a:xfrm>
          <a:prstGeom prst="rect">
            <a:avLst/>
          </a:prstGeom>
          <a:blipFill>
            <a:blip r:embed="rId2" cstate="print"/>
            <a:stretch>
              <a:fillRect/>
            </a:stretch>
          </a:blipFill>
        </p:spPr>
        <p:txBody>
          <a:bodyPr wrap="square" lIns="0" tIns="0" rIns="0" bIns="0" rtlCol="0"/>
          <a:lstStyle/>
          <a:p>
            <a:endParaRPr/>
          </a:p>
        </p:txBody>
      </p:sp>
      <p:sp>
        <p:nvSpPr>
          <p:cNvPr id="13" name="object 13"/>
          <p:cNvSpPr/>
          <p:nvPr/>
        </p:nvSpPr>
        <p:spPr>
          <a:xfrm>
            <a:off x="10379964" y="3474720"/>
            <a:ext cx="978407" cy="484631"/>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10291571" y="3067811"/>
            <a:ext cx="1209040" cy="1210310"/>
          </a:xfrm>
          <a:custGeom>
            <a:avLst/>
            <a:gdLst/>
            <a:ahLst/>
            <a:cxnLst/>
            <a:rect l="l" t="t" r="r" b="b"/>
            <a:pathLst>
              <a:path w="1209040" h="1210310">
                <a:moveTo>
                  <a:pt x="604266" y="0"/>
                </a:moveTo>
                <a:lnTo>
                  <a:pt x="557039" y="1820"/>
                </a:lnTo>
                <a:lnTo>
                  <a:pt x="510807" y="7191"/>
                </a:lnTo>
                <a:lnTo>
                  <a:pt x="465704" y="15979"/>
                </a:lnTo>
                <a:lnTo>
                  <a:pt x="421864" y="28049"/>
                </a:lnTo>
                <a:lnTo>
                  <a:pt x="379422" y="43267"/>
                </a:lnTo>
                <a:lnTo>
                  <a:pt x="338512" y="61497"/>
                </a:lnTo>
                <a:lnTo>
                  <a:pt x="299268" y="82606"/>
                </a:lnTo>
                <a:lnTo>
                  <a:pt x="261824" y="106459"/>
                </a:lnTo>
                <a:lnTo>
                  <a:pt x="226316" y="132921"/>
                </a:lnTo>
                <a:lnTo>
                  <a:pt x="192876" y="161858"/>
                </a:lnTo>
                <a:lnTo>
                  <a:pt x="161640" y="193135"/>
                </a:lnTo>
                <a:lnTo>
                  <a:pt x="132741" y="226618"/>
                </a:lnTo>
                <a:lnTo>
                  <a:pt x="106314" y="262172"/>
                </a:lnTo>
                <a:lnTo>
                  <a:pt x="82493" y="299663"/>
                </a:lnTo>
                <a:lnTo>
                  <a:pt x="61413" y="338956"/>
                </a:lnTo>
                <a:lnTo>
                  <a:pt x="43207" y="379917"/>
                </a:lnTo>
                <a:lnTo>
                  <a:pt x="28010" y="422411"/>
                </a:lnTo>
                <a:lnTo>
                  <a:pt x="15957" y="466304"/>
                </a:lnTo>
                <a:lnTo>
                  <a:pt x="7181" y="511460"/>
                </a:lnTo>
                <a:lnTo>
                  <a:pt x="1817" y="557746"/>
                </a:lnTo>
                <a:lnTo>
                  <a:pt x="0" y="605027"/>
                </a:lnTo>
                <a:lnTo>
                  <a:pt x="1817" y="652309"/>
                </a:lnTo>
                <a:lnTo>
                  <a:pt x="7181" y="698595"/>
                </a:lnTo>
                <a:lnTo>
                  <a:pt x="15957" y="743751"/>
                </a:lnTo>
                <a:lnTo>
                  <a:pt x="28010" y="787644"/>
                </a:lnTo>
                <a:lnTo>
                  <a:pt x="43207" y="830138"/>
                </a:lnTo>
                <a:lnTo>
                  <a:pt x="61413" y="871099"/>
                </a:lnTo>
                <a:lnTo>
                  <a:pt x="82493" y="910392"/>
                </a:lnTo>
                <a:lnTo>
                  <a:pt x="106314" y="947883"/>
                </a:lnTo>
                <a:lnTo>
                  <a:pt x="132741" y="983437"/>
                </a:lnTo>
                <a:lnTo>
                  <a:pt x="161640" y="1016920"/>
                </a:lnTo>
                <a:lnTo>
                  <a:pt x="192876" y="1048197"/>
                </a:lnTo>
                <a:lnTo>
                  <a:pt x="226316" y="1077134"/>
                </a:lnTo>
                <a:lnTo>
                  <a:pt x="261824" y="1103596"/>
                </a:lnTo>
                <a:lnTo>
                  <a:pt x="299268" y="1127449"/>
                </a:lnTo>
                <a:lnTo>
                  <a:pt x="338512" y="1148558"/>
                </a:lnTo>
                <a:lnTo>
                  <a:pt x="379422" y="1166788"/>
                </a:lnTo>
                <a:lnTo>
                  <a:pt x="421864" y="1182006"/>
                </a:lnTo>
                <a:lnTo>
                  <a:pt x="465704" y="1194076"/>
                </a:lnTo>
                <a:lnTo>
                  <a:pt x="510807" y="1202864"/>
                </a:lnTo>
                <a:lnTo>
                  <a:pt x="557039" y="1208235"/>
                </a:lnTo>
                <a:lnTo>
                  <a:pt x="604266" y="1210056"/>
                </a:lnTo>
                <a:lnTo>
                  <a:pt x="651492" y="1208235"/>
                </a:lnTo>
                <a:lnTo>
                  <a:pt x="697724" y="1202864"/>
                </a:lnTo>
                <a:lnTo>
                  <a:pt x="742827" y="1194076"/>
                </a:lnTo>
                <a:lnTo>
                  <a:pt x="786667" y="1182006"/>
                </a:lnTo>
                <a:lnTo>
                  <a:pt x="829109" y="1166788"/>
                </a:lnTo>
                <a:lnTo>
                  <a:pt x="870019" y="1148558"/>
                </a:lnTo>
                <a:lnTo>
                  <a:pt x="909263" y="1127449"/>
                </a:lnTo>
                <a:lnTo>
                  <a:pt x="946707" y="1103596"/>
                </a:lnTo>
                <a:lnTo>
                  <a:pt x="982215" y="1077134"/>
                </a:lnTo>
                <a:lnTo>
                  <a:pt x="1015655" y="1048197"/>
                </a:lnTo>
                <a:lnTo>
                  <a:pt x="1046891" y="1016920"/>
                </a:lnTo>
                <a:lnTo>
                  <a:pt x="1075790" y="983437"/>
                </a:lnTo>
                <a:lnTo>
                  <a:pt x="1102217" y="947883"/>
                </a:lnTo>
                <a:lnTo>
                  <a:pt x="1126038" y="910392"/>
                </a:lnTo>
                <a:lnTo>
                  <a:pt x="1147118" y="871099"/>
                </a:lnTo>
                <a:lnTo>
                  <a:pt x="1165324" y="830138"/>
                </a:lnTo>
                <a:lnTo>
                  <a:pt x="1180521" y="787644"/>
                </a:lnTo>
                <a:lnTo>
                  <a:pt x="1192574" y="743751"/>
                </a:lnTo>
                <a:lnTo>
                  <a:pt x="1201350" y="698595"/>
                </a:lnTo>
                <a:lnTo>
                  <a:pt x="1206714" y="652309"/>
                </a:lnTo>
                <a:lnTo>
                  <a:pt x="1208531" y="605027"/>
                </a:lnTo>
                <a:lnTo>
                  <a:pt x="1206714" y="557746"/>
                </a:lnTo>
                <a:lnTo>
                  <a:pt x="1201350" y="511460"/>
                </a:lnTo>
                <a:lnTo>
                  <a:pt x="1192574" y="466304"/>
                </a:lnTo>
                <a:lnTo>
                  <a:pt x="1180521" y="422411"/>
                </a:lnTo>
                <a:lnTo>
                  <a:pt x="1165324" y="379917"/>
                </a:lnTo>
                <a:lnTo>
                  <a:pt x="1147118" y="338956"/>
                </a:lnTo>
                <a:lnTo>
                  <a:pt x="1126038" y="299663"/>
                </a:lnTo>
                <a:lnTo>
                  <a:pt x="1102217" y="262172"/>
                </a:lnTo>
                <a:lnTo>
                  <a:pt x="1075790" y="226618"/>
                </a:lnTo>
                <a:lnTo>
                  <a:pt x="1046891" y="193135"/>
                </a:lnTo>
                <a:lnTo>
                  <a:pt x="1015655" y="161858"/>
                </a:lnTo>
                <a:lnTo>
                  <a:pt x="982215" y="132921"/>
                </a:lnTo>
                <a:lnTo>
                  <a:pt x="946707" y="106459"/>
                </a:lnTo>
                <a:lnTo>
                  <a:pt x="909263" y="82606"/>
                </a:lnTo>
                <a:lnTo>
                  <a:pt x="870019" y="61497"/>
                </a:lnTo>
                <a:lnTo>
                  <a:pt x="829109" y="43267"/>
                </a:lnTo>
                <a:lnTo>
                  <a:pt x="786667" y="28049"/>
                </a:lnTo>
                <a:lnTo>
                  <a:pt x="742827" y="15979"/>
                </a:lnTo>
                <a:lnTo>
                  <a:pt x="697724" y="7191"/>
                </a:lnTo>
                <a:lnTo>
                  <a:pt x="651492" y="1820"/>
                </a:lnTo>
                <a:lnTo>
                  <a:pt x="604266" y="0"/>
                </a:lnTo>
                <a:close/>
              </a:path>
            </a:pathLst>
          </a:custGeom>
          <a:solidFill>
            <a:srgbClr val="12ABDB"/>
          </a:solidFill>
        </p:spPr>
        <p:txBody>
          <a:bodyPr wrap="square" lIns="0" tIns="0" rIns="0" bIns="0" rtlCol="0"/>
          <a:lstStyle/>
          <a:p>
            <a:endParaRPr/>
          </a:p>
        </p:txBody>
      </p:sp>
      <p:sp>
        <p:nvSpPr>
          <p:cNvPr id="15" name="object 15"/>
          <p:cNvSpPr txBox="1"/>
          <p:nvPr/>
        </p:nvSpPr>
        <p:spPr>
          <a:xfrm>
            <a:off x="10516869" y="3522345"/>
            <a:ext cx="759460" cy="299720"/>
          </a:xfrm>
          <a:prstGeom prst="rect">
            <a:avLst/>
          </a:prstGeom>
        </p:spPr>
        <p:txBody>
          <a:bodyPr vert="horz" wrap="square" lIns="0" tIns="12700" rIns="0" bIns="0" rtlCol="0">
            <a:spAutoFit/>
          </a:bodyPr>
          <a:lstStyle/>
          <a:p>
            <a:pPr marL="12700" marR="5080" indent="191770">
              <a:lnSpc>
                <a:spcPct val="100000"/>
              </a:lnSpc>
              <a:spcBef>
                <a:spcPts val="100"/>
              </a:spcBef>
            </a:pPr>
            <a:r>
              <a:rPr sz="900" b="1" spc="-5">
                <a:solidFill>
                  <a:srgbClr val="FFFFFF"/>
                </a:solidFill>
                <a:latin typeface="Verdana"/>
                <a:cs typeface="Verdana"/>
              </a:rPr>
              <a:t>DATA  </a:t>
            </a:r>
            <a:r>
              <a:rPr sz="900" b="1">
                <a:solidFill>
                  <a:srgbClr val="FFFFFF"/>
                </a:solidFill>
                <a:latin typeface="Verdana"/>
                <a:cs typeface="Verdana"/>
              </a:rPr>
              <a:t>PROFILI</a:t>
            </a:r>
            <a:r>
              <a:rPr sz="900" b="1" spc="5">
                <a:solidFill>
                  <a:srgbClr val="FFFFFF"/>
                </a:solidFill>
                <a:latin typeface="Verdana"/>
                <a:cs typeface="Verdana"/>
              </a:rPr>
              <a:t>N</a:t>
            </a:r>
            <a:r>
              <a:rPr sz="900" b="1">
                <a:solidFill>
                  <a:srgbClr val="FFFFFF"/>
                </a:solidFill>
                <a:latin typeface="Verdana"/>
                <a:cs typeface="Verdana"/>
              </a:rPr>
              <a:t>G</a:t>
            </a:r>
            <a:endParaRPr sz="900">
              <a:latin typeface="Verdana"/>
              <a:cs typeface="Verdana"/>
            </a:endParaRPr>
          </a:p>
        </p:txBody>
      </p:sp>
      <p:sp>
        <p:nvSpPr>
          <p:cNvPr id="16" name="object 16"/>
          <p:cNvSpPr/>
          <p:nvPr/>
        </p:nvSpPr>
        <p:spPr>
          <a:xfrm>
            <a:off x="7281687" y="3704859"/>
            <a:ext cx="1812013" cy="1812013"/>
          </a:xfrm>
          <a:prstGeom prst="rect">
            <a:avLst/>
          </a:prstGeom>
          <a:blipFill>
            <a:blip r:embed="rId4" cstate="print"/>
            <a:stretch>
              <a:fillRect/>
            </a:stretch>
          </a:blipFill>
        </p:spPr>
        <p:txBody>
          <a:bodyPr wrap="square" lIns="0" tIns="0" rIns="0" bIns="0" rtlCol="0"/>
          <a:lstStyle/>
          <a:p>
            <a:endParaRPr/>
          </a:p>
        </p:txBody>
      </p:sp>
      <p:sp>
        <p:nvSpPr>
          <p:cNvPr id="17" name="object 17"/>
          <p:cNvSpPr/>
          <p:nvPr/>
        </p:nvSpPr>
        <p:spPr>
          <a:xfrm>
            <a:off x="7487411" y="4381500"/>
            <a:ext cx="1392936" cy="483107"/>
          </a:xfrm>
          <a:prstGeom prst="rect">
            <a:avLst/>
          </a:prstGeom>
          <a:blipFill>
            <a:blip r:embed="rId5" cstate="print"/>
            <a:stretch>
              <a:fillRect/>
            </a:stretch>
          </a:blipFill>
        </p:spPr>
        <p:txBody>
          <a:bodyPr wrap="square" lIns="0" tIns="0" rIns="0" bIns="0" rtlCol="0"/>
          <a:lstStyle/>
          <a:p>
            <a:endParaRPr/>
          </a:p>
        </p:txBody>
      </p:sp>
      <p:sp>
        <p:nvSpPr>
          <p:cNvPr id="18" name="object 18"/>
          <p:cNvSpPr/>
          <p:nvPr/>
        </p:nvSpPr>
        <p:spPr>
          <a:xfrm>
            <a:off x="7344156" y="3712464"/>
            <a:ext cx="1732914" cy="1732914"/>
          </a:xfrm>
          <a:custGeom>
            <a:avLst/>
            <a:gdLst/>
            <a:ahLst/>
            <a:cxnLst/>
            <a:rect l="l" t="t" r="r" b="b"/>
            <a:pathLst>
              <a:path w="1732915" h="1732914">
                <a:moveTo>
                  <a:pt x="866394" y="0"/>
                </a:moveTo>
                <a:lnTo>
                  <a:pt x="818853" y="1281"/>
                </a:lnTo>
                <a:lnTo>
                  <a:pt x="771983" y="5083"/>
                </a:lnTo>
                <a:lnTo>
                  <a:pt x="725850" y="11338"/>
                </a:lnTo>
                <a:lnTo>
                  <a:pt x="680520" y="19981"/>
                </a:lnTo>
                <a:lnTo>
                  <a:pt x="636058" y="30945"/>
                </a:lnTo>
                <a:lnTo>
                  <a:pt x="592531" y="44165"/>
                </a:lnTo>
                <a:lnTo>
                  <a:pt x="550004" y="59574"/>
                </a:lnTo>
                <a:lnTo>
                  <a:pt x="508545" y="77107"/>
                </a:lnTo>
                <a:lnTo>
                  <a:pt x="468218" y="96697"/>
                </a:lnTo>
                <a:lnTo>
                  <a:pt x="429090" y="118279"/>
                </a:lnTo>
                <a:lnTo>
                  <a:pt x="391227" y="141786"/>
                </a:lnTo>
                <a:lnTo>
                  <a:pt x="354695" y="167152"/>
                </a:lnTo>
                <a:lnTo>
                  <a:pt x="319560" y="194311"/>
                </a:lnTo>
                <a:lnTo>
                  <a:pt x="285888" y="223198"/>
                </a:lnTo>
                <a:lnTo>
                  <a:pt x="253746" y="253746"/>
                </a:lnTo>
                <a:lnTo>
                  <a:pt x="223198" y="285888"/>
                </a:lnTo>
                <a:lnTo>
                  <a:pt x="194311" y="319560"/>
                </a:lnTo>
                <a:lnTo>
                  <a:pt x="167152" y="354695"/>
                </a:lnTo>
                <a:lnTo>
                  <a:pt x="141786" y="391227"/>
                </a:lnTo>
                <a:lnTo>
                  <a:pt x="118279" y="429090"/>
                </a:lnTo>
                <a:lnTo>
                  <a:pt x="96697" y="468218"/>
                </a:lnTo>
                <a:lnTo>
                  <a:pt x="77107" y="508545"/>
                </a:lnTo>
                <a:lnTo>
                  <a:pt x="59574" y="550004"/>
                </a:lnTo>
                <a:lnTo>
                  <a:pt x="44165" y="592531"/>
                </a:lnTo>
                <a:lnTo>
                  <a:pt x="30945" y="636058"/>
                </a:lnTo>
                <a:lnTo>
                  <a:pt x="19981" y="680520"/>
                </a:lnTo>
                <a:lnTo>
                  <a:pt x="11338" y="725850"/>
                </a:lnTo>
                <a:lnTo>
                  <a:pt x="5083" y="771983"/>
                </a:lnTo>
                <a:lnTo>
                  <a:pt x="1281" y="818853"/>
                </a:lnTo>
                <a:lnTo>
                  <a:pt x="0" y="866394"/>
                </a:lnTo>
                <a:lnTo>
                  <a:pt x="1281" y="913934"/>
                </a:lnTo>
                <a:lnTo>
                  <a:pt x="5083" y="960804"/>
                </a:lnTo>
                <a:lnTo>
                  <a:pt x="11338" y="1006937"/>
                </a:lnTo>
                <a:lnTo>
                  <a:pt x="19981" y="1052267"/>
                </a:lnTo>
                <a:lnTo>
                  <a:pt x="30945" y="1096729"/>
                </a:lnTo>
                <a:lnTo>
                  <a:pt x="44165" y="1140256"/>
                </a:lnTo>
                <a:lnTo>
                  <a:pt x="59574" y="1182783"/>
                </a:lnTo>
                <a:lnTo>
                  <a:pt x="77107" y="1224242"/>
                </a:lnTo>
                <a:lnTo>
                  <a:pt x="96697" y="1264569"/>
                </a:lnTo>
                <a:lnTo>
                  <a:pt x="118279" y="1303697"/>
                </a:lnTo>
                <a:lnTo>
                  <a:pt x="141786" y="1341560"/>
                </a:lnTo>
                <a:lnTo>
                  <a:pt x="167152" y="1378092"/>
                </a:lnTo>
                <a:lnTo>
                  <a:pt x="194311" y="1413227"/>
                </a:lnTo>
                <a:lnTo>
                  <a:pt x="223198" y="1446899"/>
                </a:lnTo>
                <a:lnTo>
                  <a:pt x="253746" y="1479042"/>
                </a:lnTo>
                <a:lnTo>
                  <a:pt x="285888" y="1509589"/>
                </a:lnTo>
                <a:lnTo>
                  <a:pt x="319560" y="1538476"/>
                </a:lnTo>
                <a:lnTo>
                  <a:pt x="354695" y="1565635"/>
                </a:lnTo>
                <a:lnTo>
                  <a:pt x="391227" y="1591001"/>
                </a:lnTo>
                <a:lnTo>
                  <a:pt x="429090" y="1614508"/>
                </a:lnTo>
                <a:lnTo>
                  <a:pt x="468218" y="1636090"/>
                </a:lnTo>
                <a:lnTo>
                  <a:pt x="508545" y="1655680"/>
                </a:lnTo>
                <a:lnTo>
                  <a:pt x="550004" y="1673213"/>
                </a:lnTo>
                <a:lnTo>
                  <a:pt x="592531" y="1688622"/>
                </a:lnTo>
                <a:lnTo>
                  <a:pt x="636058" y="1701842"/>
                </a:lnTo>
                <a:lnTo>
                  <a:pt x="680520" y="1712806"/>
                </a:lnTo>
                <a:lnTo>
                  <a:pt x="725850" y="1721449"/>
                </a:lnTo>
                <a:lnTo>
                  <a:pt x="771983" y="1727704"/>
                </a:lnTo>
                <a:lnTo>
                  <a:pt x="818853" y="1731506"/>
                </a:lnTo>
                <a:lnTo>
                  <a:pt x="866394" y="1732788"/>
                </a:lnTo>
                <a:lnTo>
                  <a:pt x="913934" y="1731506"/>
                </a:lnTo>
                <a:lnTo>
                  <a:pt x="960804" y="1727704"/>
                </a:lnTo>
                <a:lnTo>
                  <a:pt x="1006937" y="1721449"/>
                </a:lnTo>
                <a:lnTo>
                  <a:pt x="1052267" y="1712806"/>
                </a:lnTo>
                <a:lnTo>
                  <a:pt x="1096729" y="1701842"/>
                </a:lnTo>
                <a:lnTo>
                  <a:pt x="1140256" y="1688622"/>
                </a:lnTo>
                <a:lnTo>
                  <a:pt x="1182783" y="1673213"/>
                </a:lnTo>
                <a:lnTo>
                  <a:pt x="1224242" y="1655680"/>
                </a:lnTo>
                <a:lnTo>
                  <a:pt x="1264569" y="1636090"/>
                </a:lnTo>
                <a:lnTo>
                  <a:pt x="1303697" y="1614508"/>
                </a:lnTo>
                <a:lnTo>
                  <a:pt x="1341560" y="1591001"/>
                </a:lnTo>
                <a:lnTo>
                  <a:pt x="1378092" y="1565635"/>
                </a:lnTo>
                <a:lnTo>
                  <a:pt x="1413227" y="1538476"/>
                </a:lnTo>
                <a:lnTo>
                  <a:pt x="1446899" y="1509589"/>
                </a:lnTo>
                <a:lnTo>
                  <a:pt x="1479041" y="1479042"/>
                </a:lnTo>
                <a:lnTo>
                  <a:pt x="1509589" y="1446899"/>
                </a:lnTo>
                <a:lnTo>
                  <a:pt x="1538476" y="1413227"/>
                </a:lnTo>
                <a:lnTo>
                  <a:pt x="1565635" y="1378092"/>
                </a:lnTo>
                <a:lnTo>
                  <a:pt x="1591001" y="1341560"/>
                </a:lnTo>
                <a:lnTo>
                  <a:pt x="1614508" y="1303697"/>
                </a:lnTo>
                <a:lnTo>
                  <a:pt x="1636090" y="1264569"/>
                </a:lnTo>
                <a:lnTo>
                  <a:pt x="1655680" y="1224242"/>
                </a:lnTo>
                <a:lnTo>
                  <a:pt x="1673213" y="1182783"/>
                </a:lnTo>
                <a:lnTo>
                  <a:pt x="1688622" y="1140256"/>
                </a:lnTo>
                <a:lnTo>
                  <a:pt x="1701842" y="1096729"/>
                </a:lnTo>
                <a:lnTo>
                  <a:pt x="1712806" y="1052267"/>
                </a:lnTo>
                <a:lnTo>
                  <a:pt x="1721449" y="1006937"/>
                </a:lnTo>
                <a:lnTo>
                  <a:pt x="1727704" y="960804"/>
                </a:lnTo>
                <a:lnTo>
                  <a:pt x="1731506" y="913934"/>
                </a:lnTo>
                <a:lnTo>
                  <a:pt x="1732788" y="866394"/>
                </a:lnTo>
                <a:lnTo>
                  <a:pt x="1731506" y="818853"/>
                </a:lnTo>
                <a:lnTo>
                  <a:pt x="1727704" y="771983"/>
                </a:lnTo>
                <a:lnTo>
                  <a:pt x="1721449" y="725850"/>
                </a:lnTo>
                <a:lnTo>
                  <a:pt x="1712806" y="680520"/>
                </a:lnTo>
                <a:lnTo>
                  <a:pt x="1701842" y="636058"/>
                </a:lnTo>
                <a:lnTo>
                  <a:pt x="1688622" y="592531"/>
                </a:lnTo>
                <a:lnTo>
                  <a:pt x="1673213" y="550004"/>
                </a:lnTo>
                <a:lnTo>
                  <a:pt x="1655680" y="508545"/>
                </a:lnTo>
                <a:lnTo>
                  <a:pt x="1636090" y="468218"/>
                </a:lnTo>
                <a:lnTo>
                  <a:pt x="1614508" y="429090"/>
                </a:lnTo>
                <a:lnTo>
                  <a:pt x="1591001" y="391227"/>
                </a:lnTo>
                <a:lnTo>
                  <a:pt x="1565635" y="354695"/>
                </a:lnTo>
                <a:lnTo>
                  <a:pt x="1538476" y="319560"/>
                </a:lnTo>
                <a:lnTo>
                  <a:pt x="1509589" y="285888"/>
                </a:lnTo>
                <a:lnTo>
                  <a:pt x="1479041" y="253746"/>
                </a:lnTo>
                <a:lnTo>
                  <a:pt x="1446899" y="223198"/>
                </a:lnTo>
                <a:lnTo>
                  <a:pt x="1413227" y="194311"/>
                </a:lnTo>
                <a:lnTo>
                  <a:pt x="1378092" y="167152"/>
                </a:lnTo>
                <a:lnTo>
                  <a:pt x="1341560" y="141786"/>
                </a:lnTo>
                <a:lnTo>
                  <a:pt x="1303697" y="118279"/>
                </a:lnTo>
                <a:lnTo>
                  <a:pt x="1264569" y="96697"/>
                </a:lnTo>
                <a:lnTo>
                  <a:pt x="1224242" y="77107"/>
                </a:lnTo>
                <a:lnTo>
                  <a:pt x="1182783" y="59574"/>
                </a:lnTo>
                <a:lnTo>
                  <a:pt x="1140256" y="44165"/>
                </a:lnTo>
                <a:lnTo>
                  <a:pt x="1096729" y="30945"/>
                </a:lnTo>
                <a:lnTo>
                  <a:pt x="1052267" y="19981"/>
                </a:lnTo>
                <a:lnTo>
                  <a:pt x="1006937" y="11338"/>
                </a:lnTo>
                <a:lnTo>
                  <a:pt x="960804" y="5083"/>
                </a:lnTo>
                <a:lnTo>
                  <a:pt x="913934" y="1281"/>
                </a:lnTo>
                <a:lnTo>
                  <a:pt x="866394" y="0"/>
                </a:lnTo>
                <a:close/>
              </a:path>
            </a:pathLst>
          </a:custGeom>
          <a:solidFill>
            <a:srgbClr val="12ABDB"/>
          </a:solidFill>
        </p:spPr>
        <p:txBody>
          <a:bodyPr wrap="square" lIns="0" tIns="0" rIns="0" bIns="0" rtlCol="0"/>
          <a:lstStyle/>
          <a:p>
            <a:endParaRPr/>
          </a:p>
        </p:txBody>
      </p:sp>
      <p:sp>
        <p:nvSpPr>
          <p:cNvPr id="19" name="object 19"/>
          <p:cNvSpPr txBox="1"/>
          <p:nvPr/>
        </p:nvSpPr>
        <p:spPr>
          <a:xfrm>
            <a:off x="7624064" y="4428870"/>
            <a:ext cx="1173480" cy="299720"/>
          </a:xfrm>
          <a:prstGeom prst="rect">
            <a:avLst/>
          </a:prstGeom>
        </p:spPr>
        <p:txBody>
          <a:bodyPr vert="horz" wrap="square" lIns="0" tIns="12700" rIns="0" bIns="0" rtlCol="0">
            <a:spAutoFit/>
          </a:bodyPr>
          <a:lstStyle/>
          <a:p>
            <a:pPr marL="12700" marR="5080" indent="398780">
              <a:lnSpc>
                <a:spcPct val="100000"/>
              </a:lnSpc>
              <a:spcBef>
                <a:spcPts val="100"/>
              </a:spcBef>
            </a:pPr>
            <a:r>
              <a:rPr sz="900" b="1" spc="-5">
                <a:solidFill>
                  <a:srgbClr val="FFFFFF"/>
                </a:solidFill>
                <a:latin typeface="Verdana"/>
                <a:cs typeface="Verdana"/>
              </a:rPr>
              <a:t>DATA  </a:t>
            </a:r>
            <a:r>
              <a:rPr sz="900" b="1">
                <a:solidFill>
                  <a:srgbClr val="FFFFFF"/>
                </a:solidFill>
                <a:latin typeface="Verdana"/>
                <a:cs typeface="Verdana"/>
              </a:rPr>
              <a:t>R</a:t>
            </a:r>
            <a:r>
              <a:rPr sz="900" b="1" spc="-5">
                <a:solidFill>
                  <a:srgbClr val="FFFFFF"/>
                </a:solidFill>
                <a:latin typeface="Verdana"/>
                <a:cs typeface="Verdana"/>
              </a:rPr>
              <a:t>EC</a:t>
            </a:r>
            <a:r>
              <a:rPr sz="900" b="1">
                <a:solidFill>
                  <a:srgbClr val="FFFFFF"/>
                </a:solidFill>
                <a:latin typeface="Verdana"/>
                <a:cs typeface="Verdana"/>
              </a:rPr>
              <a:t>ON</a:t>
            </a:r>
            <a:r>
              <a:rPr sz="900" b="1" spc="-5">
                <a:solidFill>
                  <a:srgbClr val="FFFFFF"/>
                </a:solidFill>
                <a:latin typeface="Verdana"/>
                <a:cs typeface="Verdana"/>
              </a:rPr>
              <a:t>C</a:t>
            </a:r>
            <a:r>
              <a:rPr sz="900" b="1">
                <a:solidFill>
                  <a:srgbClr val="FFFFFF"/>
                </a:solidFill>
                <a:latin typeface="Verdana"/>
                <a:cs typeface="Verdana"/>
              </a:rPr>
              <a:t>ILIA</a:t>
            </a:r>
            <a:r>
              <a:rPr sz="900" b="1" spc="-5">
                <a:solidFill>
                  <a:srgbClr val="FFFFFF"/>
                </a:solidFill>
                <a:latin typeface="Verdana"/>
                <a:cs typeface="Verdana"/>
              </a:rPr>
              <a:t>T</a:t>
            </a:r>
            <a:r>
              <a:rPr sz="900" b="1">
                <a:solidFill>
                  <a:srgbClr val="FFFFFF"/>
                </a:solidFill>
                <a:latin typeface="Verdana"/>
                <a:cs typeface="Verdana"/>
              </a:rPr>
              <a:t>ION</a:t>
            </a:r>
            <a:endParaRPr sz="900">
              <a:latin typeface="Verdana"/>
              <a:cs typeface="Verdana"/>
            </a:endParaRPr>
          </a:p>
        </p:txBody>
      </p:sp>
      <p:sp>
        <p:nvSpPr>
          <p:cNvPr id="20" name="object 20"/>
          <p:cNvSpPr/>
          <p:nvPr/>
        </p:nvSpPr>
        <p:spPr>
          <a:xfrm>
            <a:off x="9107423" y="1994916"/>
            <a:ext cx="1840992" cy="1839468"/>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9427464" y="2689860"/>
            <a:ext cx="1199387" cy="483108"/>
          </a:xfrm>
          <a:prstGeom prst="rect">
            <a:avLst/>
          </a:prstGeom>
          <a:blipFill>
            <a:blip r:embed="rId7" cstate="print"/>
            <a:stretch>
              <a:fillRect/>
            </a:stretch>
          </a:blipFill>
        </p:spPr>
        <p:txBody>
          <a:bodyPr wrap="square" lIns="0" tIns="0" rIns="0" bIns="0" rtlCol="0"/>
          <a:lstStyle/>
          <a:p>
            <a:endParaRPr/>
          </a:p>
        </p:txBody>
      </p:sp>
      <p:sp>
        <p:nvSpPr>
          <p:cNvPr id="22" name="object 22"/>
          <p:cNvSpPr/>
          <p:nvPr/>
        </p:nvSpPr>
        <p:spPr>
          <a:xfrm>
            <a:off x="9188195" y="2020823"/>
            <a:ext cx="1734820" cy="1732914"/>
          </a:xfrm>
          <a:custGeom>
            <a:avLst/>
            <a:gdLst/>
            <a:ahLst/>
            <a:cxnLst/>
            <a:rect l="l" t="t" r="r" b="b"/>
            <a:pathLst>
              <a:path w="1734820" h="1732914">
                <a:moveTo>
                  <a:pt x="867155" y="0"/>
                </a:moveTo>
                <a:lnTo>
                  <a:pt x="819577" y="1281"/>
                </a:lnTo>
                <a:lnTo>
                  <a:pt x="772669" y="5083"/>
                </a:lnTo>
                <a:lnTo>
                  <a:pt x="726498" y="11338"/>
                </a:lnTo>
                <a:lnTo>
                  <a:pt x="681130" y="19981"/>
                </a:lnTo>
                <a:lnTo>
                  <a:pt x="636631" y="30945"/>
                </a:lnTo>
                <a:lnTo>
                  <a:pt x="593067" y="44165"/>
                </a:lnTo>
                <a:lnTo>
                  <a:pt x="550504" y="59574"/>
                </a:lnTo>
                <a:lnTo>
                  <a:pt x="509009" y="77107"/>
                </a:lnTo>
                <a:lnTo>
                  <a:pt x="468647" y="96697"/>
                </a:lnTo>
                <a:lnTo>
                  <a:pt x="429485" y="118279"/>
                </a:lnTo>
                <a:lnTo>
                  <a:pt x="391589" y="141786"/>
                </a:lnTo>
                <a:lnTo>
                  <a:pt x="355024" y="167152"/>
                </a:lnTo>
                <a:lnTo>
                  <a:pt x="319858" y="194311"/>
                </a:lnTo>
                <a:lnTo>
                  <a:pt x="286156" y="223198"/>
                </a:lnTo>
                <a:lnTo>
                  <a:pt x="253984" y="253746"/>
                </a:lnTo>
                <a:lnTo>
                  <a:pt x="223408" y="285888"/>
                </a:lnTo>
                <a:lnTo>
                  <a:pt x="194495" y="319560"/>
                </a:lnTo>
                <a:lnTo>
                  <a:pt x="167310" y="354695"/>
                </a:lnTo>
                <a:lnTo>
                  <a:pt x="141921" y="391227"/>
                </a:lnTo>
                <a:lnTo>
                  <a:pt x="118392" y="429090"/>
                </a:lnTo>
                <a:lnTo>
                  <a:pt x="96790" y="468218"/>
                </a:lnTo>
                <a:lnTo>
                  <a:pt x="77181" y="508545"/>
                </a:lnTo>
                <a:lnTo>
                  <a:pt x="59632" y="550004"/>
                </a:lnTo>
                <a:lnTo>
                  <a:pt x="44208" y="592531"/>
                </a:lnTo>
                <a:lnTo>
                  <a:pt x="30975" y="636058"/>
                </a:lnTo>
                <a:lnTo>
                  <a:pt x="20000" y="680520"/>
                </a:lnTo>
                <a:lnTo>
                  <a:pt x="11349" y="725850"/>
                </a:lnTo>
                <a:lnTo>
                  <a:pt x="5088" y="771983"/>
                </a:lnTo>
                <a:lnTo>
                  <a:pt x="1283" y="818853"/>
                </a:lnTo>
                <a:lnTo>
                  <a:pt x="0" y="866393"/>
                </a:lnTo>
                <a:lnTo>
                  <a:pt x="1283" y="913934"/>
                </a:lnTo>
                <a:lnTo>
                  <a:pt x="5088" y="960804"/>
                </a:lnTo>
                <a:lnTo>
                  <a:pt x="11349" y="1006937"/>
                </a:lnTo>
                <a:lnTo>
                  <a:pt x="20000" y="1052267"/>
                </a:lnTo>
                <a:lnTo>
                  <a:pt x="30975" y="1096729"/>
                </a:lnTo>
                <a:lnTo>
                  <a:pt x="44208" y="1140256"/>
                </a:lnTo>
                <a:lnTo>
                  <a:pt x="59632" y="1182783"/>
                </a:lnTo>
                <a:lnTo>
                  <a:pt x="77181" y="1224242"/>
                </a:lnTo>
                <a:lnTo>
                  <a:pt x="96790" y="1264569"/>
                </a:lnTo>
                <a:lnTo>
                  <a:pt x="118392" y="1303697"/>
                </a:lnTo>
                <a:lnTo>
                  <a:pt x="141921" y="1341560"/>
                </a:lnTo>
                <a:lnTo>
                  <a:pt x="167310" y="1378092"/>
                </a:lnTo>
                <a:lnTo>
                  <a:pt x="194495" y="1413227"/>
                </a:lnTo>
                <a:lnTo>
                  <a:pt x="223408" y="1446899"/>
                </a:lnTo>
                <a:lnTo>
                  <a:pt x="253984" y="1479042"/>
                </a:lnTo>
                <a:lnTo>
                  <a:pt x="286156" y="1509589"/>
                </a:lnTo>
                <a:lnTo>
                  <a:pt x="319858" y="1538476"/>
                </a:lnTo>
                <a:lnTo>
                  <a:pt x="355024" y="1565635"/>
                </a:lnTo>
                <a:lnTo>
                  <a:pt x="391589" y="1591001"/>
                </a:lnTo>
                <a:lnTo>
                  <a:pt x="429485" y="1614508"/>
                </a:lnTo>
                <a:lnTo>
                  <a:pt x="468647" y="1636090"/>
                </a:lnTo>
                <a:lnTo>
                  <a:pt x="509009" y="1655680"/>
                </a:lnTo>
                <a:lnTo>
                  <a:pt x="550504" y="1673213"/>
                </a:lnTo>
                <a:lnTo>
                  <a:pt x="593067" y="1688622"/>
                </a:lnTo>
                <a:lnTo>
                  <a:pt x="636631" y="1701842"/>
                </a:lnTo>
                <a:lnTo>
                  <a:pt x="681130" y="1712806"/>
                </a:lnTo>
                <a:lnTo>
                  <a:pt x="726498" y="1721449"/>
                </a:lnTo>
                <a:lnTo>
                  <a:pt x="772669" y="1727704"/>
                </a:lnTo>
                <a:lnTo>
                  <a:pt x="819577" y="1731506"/>
                </a:lnTo>
                <a:lnTo>
                  <a:pt x="867155" y="1732788"/>
                </a:lnTo>
                <a:lnTo>
                  <a:pt x="914734" y="1731506"/>
                </a:lnTo>
                <a:lnTo>
                  <a:pt x="961642" y="1727704"/>
                </a:lnTo>
                <a:lnTo>
                  <a:pt x="1007813" y="1721449"/>
                </a:lnTo>
                <a:lnTo>
                  <a:pt x="1053181" y="1712806"/>
                </a:lnTo>
                <a:lnTo>
                  <a:pt x="1097680" y="1701842"/>
                </a:lnTo>
                <a:lnTo>
                  <a:pt x="1141244" y="1688622"/>
                </a:lnTo>
                <a:lnTo>
                  <a:pt x="1183807" y="1673213"/>
                </a:lnTo>
                <a:lnTo>
                  <a:pt x="1225302" y="1655680"/>
                </a:lnTo>
                <a:lnTo>
                  <a:pt x="1265664" y="1636090"/>
                </a:lnTo>
                <a:lnTo>
                  <a:pt x="1304826" y="1614508"/>
                </a:lnTo>
                <a:lnTo>
                  <a:pt x="1342722" y="1591001"/>
                </a:lnTo>
                <a:lnTo>
                  <a:pt x="1379287" y="1565635"/>
                </a:lnTo>
                <a:lnTo>
                  <a:pt x="1414453" y="1538476"/>
                </a:lnTo>
                <a:lnTo>
                  <a:pt x="1448155" y="1509589"/>
                </a:lnTo>
                <a:lnTo>
                  <a:pt x="1480327" y="1479042"/>
                </a:lnTo>
                <a:lnTo>
                  <a:pt x="1510903" y="1446899"/>
                </a:lnTo>
                <a:lnTo>
                  <a:pt x="1539816" y="1413227"/>
                </a:lnTo>
                <a:lnTo>
                  <a:pt x="1567001" y="1378092"/>
                </a:lnTo>
                <a:lnTo>
                  <a:pt x="1592390" y="1341560"/>
                </a:lnTo>
                <a:lnTo>
                  <a:pt x="1615919" y="1303697"/>
                </a:lnTo>
                <a:lnTo>
                  <a:pt x="1637521" y="1264569"/>
                </a:lnTo>
                <a:lnTo>
                  <a:pt x="1657130" y="1224242"/>
                </a:lnTo>
                <a:lnTo>
                  <a:pt x="1674679" y="1182783"/>
                </a:lnTo>
                <a:lnTo>
                  <a:pt x="1690103" y="1140256"/>
                </a:lnTo>
                <a:lnTo>
                  <a:pt x="1703336" y="1096729"/>
                </a:lnTo>
                <a:lnTo>
                  <a:pt x="1714311" y="1052267"/>
                </a:lnTo>
                <a:lnTo>
                  <a:pt x="1722962" y="1006937"/>
                </a:lnTo>
                <a:lnTo>
                  <a:pt x="1729223" y="960804"/>
                </a:lnTo>
                <a:lnTo>
                  <a:pt x="1733028" y="913934"/>
                </a:lnTo>
                <a:lnTo>
                  <a:pt x="1734311" y="866393"/>
                </a:lnTo>
                <a:lnTo>
                  <a:pt x="1733028" y="818853"/>
                </a:lnTo>
                <a:lnTo>
                  <a:pt x="1729223" y="771983"/>
                </a:lnTo>
                <a:lnTo>
                  <a:pt x="1722962" y="725850"/>
                </a:lnTo>
                <a:lnTo>
                  <a:pt x="1714311" y="680520"/>
                </a:lnTo>
                <a:lnTo>
                  <a:pt x="1703336" y="636058"/>
                </a:lnTo>
                <a:lnTo>
                  <a:pt x="1690103" y="592531"/>
                </a:lnTo>
                <a:lnTo>
                  <a:pt x="1674679" y="550004"/>
                </a:lnTo>
                <a:lnTo>
                  <a:pt x="1657130" y="508545"/>
                </a:lnTo>
                <a:lnTo>
                  <a:pt x="1637521" y="468218"/>
                </a:lnTo>
                <a:lnTo>
                  <a:pt x="1615919" y="429090"/>
                </a:lnTo>
                <a:lnTo>
                  <a:pt x="1592390" y="391227"/>
                </a:lnTo>
                <a:lnTo>
                  <a:pt x="1567001" y="354695"/>
                </a:lnTo>
                <a:lnTo>
                  <a:pt x="1539816" y="319560"/>
                </a:lnTo>
                <a:lnTo>
                  <a:pt x="1510903" y="285888"/>
                </a:lnTo>
                <a:lnTo>
                  <a:pt x="1480327" y="253746"/>
                </a:lnTo>
                <a:lnTo>
                  <a:pt x="1448155" y="223198"/>
                </a:lnTo>
                <a:lnTo>
                  <a:pt x="1414453" y="194311"/>
                </a:lnTo>
                <a:lnTo>
                  <a:pt x="1379287" y="167152"/>
                </a:lnTo>
                <a:lnTo>
                  <a:pt x="1342722" y="141786"/>
                </a:lnTo>
                <a:lnTo>
                  <a:pt x="1304826" y="118279"/>
                </a:lnTo>
                <a:lnTo>
                  <a:pt x="1265664" y="96697"/>
                </a:lnTo>
                <a:lnTo>
                  <a:pt x="1225302" y="77107"/>
                </a:lnTo>
                <a:lnTo>
                  <a:pt x="1183807" y="59574"/>
                </a:lnTo>
                <a:lnTo>
                  <a:pt x="1141244" y="44165"/>
                </a:lnTo>
                <a:lnTo>
                  <a:pt x="1097680" y="30945"/>
                </a:lnTo>
                <a:lnTo>
                  <a:pt x="1053181" y="19981"/>
                </a:lnTo>
                <a:lnTo>
                  <a:pt x="1007813" y="11338"/>
                </a:lnTo>
                <a:lnTo>
                  <a:pt x="961642" y="5083"/>
                </a:lnTo>
                <a:lnTo>
                  <a:pt x="914734" y="1281"/>
                </a:lnTo>
                <a:lnTo>
                  <a:pt x="867155" y="0"/>
                </a:lnTo>
                <a:close/>
              </a:path>
            </a:pathLst>
          </a:custGeom>
          <a:solidFill>
            <a:srgbClr val="D9D9D9"/>
          </a:solidFill>
        </p:spPr>
        <p:txBody>
          <a:bodyPr wrap="square" lIns="0" tIns="0" rIns="0" bIns="0" rtlCol="0"/>
          <a:lstStyle/>
          <a:p>
            <a:endParaRPr/>
          </a:p>
        </p:txBody>
      </p:sp>
      <p:sp>
        <p:nvSpPr>
          <p:cNvPr id="23" name="object 23"/>
          <p:cNvSpPr txBox="1"/>
          <p:nvPr/>
        </p:nvSpPr>
        <p:spPr>
          <a:xfrm>
            <a:off x="9565640" y="2736341"/>
            <a:ext cx="981075" cy="299720"/>
          </a:xfrm>
          <a:prstGeom prst="rect">
            <a:avLst/>
          </a:prstGeom>
        </p:spPr>
        <p:txBody>
          <a:bodyPr vert="horz" wrap="square" lIns="0" tIns="12700" rIns="0" bIns="0" rtlCol="0">
            <a:spAutoFit/>
          </a:bodyPr>
          <a:lstStyle/>
          <a:p>
            <a:pPr marL="12700" marR="5080" indent="302895">
              <a:lnSpc>
                <a:spcPct val="100000"/>
              </a:lnSpc>
              <a:spcBef>
                <a:spcPts val="100"/>
              </a:spcBef>
            </a:pPr>
            <a:r>
              <a:rPr sz="900" b="1" spc="-5">
                <a:latin typeface="Verdana"/>
                <a:cs typeface="Verdana"/>
              </a:rPr>
              <a:t>DATA  </a:t>
            </a:r>
            <a:r>
              <a:rPr sz="900" b="1">
                <a:latin typeface="Verdana"/>
                <a:cs typeface="Verdana"/>
              </a:rPr>
              <a:t>M</a:t>
            </a:r>
            <a:r>
              <a:rPr sz="900" b="1" spc="-5">
                <a:latin typeface="Verdana"/>
                <a:cs typeface="Verdana"/>
              </a:rPr>
              <a:t>A</a:t>
            </a:r>
            <a:r>
              <a:rPr sz="900" b="1">
                <a:latin typeface="Verdana"/>
                <a:cs typeface="Verdana"/>
              </a:rPr>
              <a:t>I</a:t>
            </a:r>
            <a:r>
              <a:rPr sz="900" b="1" spc="5">
                <a:latin typeface="Verdana"/>
                <a:cs typeface="Verdana"/>
              </a:rPr>
              <a:t>N</a:t>
            </a:r>
            <a:r>
              <a:rPr sz="900" b="1">
                <a:latin typeface="Verdana"/>
                <a:cs typeface="Verdana"/>
              </a:rPr>
              <a:t>T</a:t>
            </a:r>
            <a:r>
              <a:rPr sz="900" b="1" spc="-5">
                <a:latin typeface="Verdana"/>
                <a:cs typeface="Verdana"/>
              </a:rPr>
              <a:t>E</a:t>
            </a:r>
            <a:r>
              <a:rPr sz="900" b="1">
                <a:latin typeface="Verdana"/>
                <a:cs typeface="Verdana"/>
              </a:rPr>
              <a:t>N</a:t>
            </a:r>
            <a:r>
              <a:rPr sz="900" b="1" spc="-5">
                <a:latin typeface="Verdana"/>
                <a:cs typeface="Verdana"/>
              </a:rPr>
              <a:t>A</a:t>
            </a:r>
            <a:r>
              <a:rPr sz="900" b="1">
                <a:latin typeface="Verdana"/>
                <a:cs typeface="Verdana"/>
              </a:rPr>
              <a:t>N</a:t>
            </a:r>
            <a:r>
              <a:rPr sz="900" b="1" spc="-5">
                <a:latin typeface="Verdana"/>
                <a:cs typeface="Verdana"/>
              </a:rPr>
              <a:t>C</a:t>
            </a:r>
            <a:r>
              <a:rPr sz="900" b="1">
                <a:latin typeface="Verdana"/>
                <a:cs typeface="Verdana"/>
              </a:rPr>
              <a:t>E</a:t>
            </a:r>
            <a:endParaRPr sz="900">
              <a:latin typeface="Verdana"/>
              <a:cs typeface="Verdana"/>
            </a:endParaRPr>
          </a:p>
        </p:txBody>
      </p:sp>
      <p:sp>
        <p:nvSpPr>
          <p:cNvPr id="24" name="object 24"/>
          <p:cNvSpPr/>
          <p:nvPr/>
        </p:nvSpPr>
        <p:spPr>
          <a:xfrm>
            <a:off x="7525511" y="2455164"/>
            <a:ext cx="1839468" cy="1839468"/>
          </a:xfrm>
          <a:prstGeom prst="rect">
            <a:avLst/>
          </a:prstGeom>
          <a:blipFill>
            <a:blip r:embed="rId8" cstate="print"/>
            <a:stretch>
              <a:fillRect/>
            </a:stretch>
          </a:blipFill>
        </p:spPr>
        <p:txBody>
          <a:bodyPr wrap="square" lIns="0" tIns="0" rIns="0" bIns="0" rtlCol="0"/>
          <a:lstStyle/>
          <a:p>
            <a:endParaRPr/>
          </a:p>
        </p:txBody>
      </p:sp>
      <p:sp>
        <p:nvSpPr>
          <p:cNvPr id="25" name="object 25"/>
          <p:cNvSpPr/>
          <p:nvPr/>
        </p:nvSpPr>
        <p:spPr>
          <a:xfrm>
            <a:off x="7866888" y="3081527"/>
            <a:ext cx="1158240" cy="620268"/>
          </a:xfrm>
          <a:prstGeom prst="rect">
            <a:avLst/>
          </a:prstGeom>
          <a:blipFill>
            <a:blip r:embed="rId9" cstate="print"/>
            <a:stretch>
              <a:fillRect/>
            </a:stretch>
          </a:blipFill>
        </p:spPr>
        <p:txBody>
          <a:bodyPr wrap="square" lIns="0" tIns="0" rIns="0" bIns="0" rtlCol="0"/>
          <a:lstStyle/>
          <a:p>
            <a:endParaRPr/>
          </a:p>
        </p:txBody>
      </p:sp>
      <p:sp>
        <p:nvSpPr>
          <p:cNvPr id="26" name="object 26"/>
          <p:cNvSpPr/>
          <p:nvPr/>
        </p:nvSpPr>
        <p:spPr>
          <a:xfrm>
            <a:off x="7606283" y="2481072"/>
            <a:ext cx="1732914" cy="1732914"/>
          </a:xfrm>
          <a:custGeom>
            <a:avLst/>
            <a:gdLst/>
            <a:ahLst/>
            <a:cxnLst/>
            <a:rect l="l" t="t" r="r" b="b"/>
            <a:pathLst>
              <a:path w="1732915" h="1732914">
                <a:moveTo>
                  <a:pt x="866394" y="0"/>
                </a:moveTo>
                <a:lnTo>
                  <a:pt x="818853" y="1281"/>
                </a:lnTo>
                <a:lnTo>
                  <a:pt x="771983" y="5083"/>
                </a:lnTo>
                <a:lnTo>
                  <a:pt x="725850" y="11338"/>
                </a:lnTo>
                <a:lnTo>
                  <a:pt x="680520" y="19981"/>
                </a:lnTo>
                <a:lnTo>
                  <a:pt x="636058" y="30945"/>
                </a:lnTo>
                <a:lnTo>
                  <a:pt x="592531" y="44165"/>
                </a:lnTo>
                <a:lnTo>
                  <a:pt x="550004" y="59574"/>
                </a:lnTo>
                <a:lnTo>
                  <a:pt x="508545" y="77107"/>
                </a:lnTo>
                <a:lnTo>
                  <a:pt x="468218" y="96697"/>
                </a:lnTo>
                <a:lnTo>
                  <a:pt x="429090" y="118279"/>
                </a:lnTo>
                <a:lnTo>
                  <a:pt x="391227" y="141786"/>
                </a:lnTo>
                <a:lnTo>
                  <a:pt x="354695" y="167152"/>
                </a:lnTo>
                <a:lnTo>
                  <a:pt x="319560" y="194311"/>
                </a:lnTo>
                <a:lnTo>
                  <a:pt x="285888" y="223198"/>
                </a:lnTo>
                <a:lnTo>
                  <a:pt x="253746" y="253746"/>
                </a:lnTo>
                <a:lnTo>
                  <a:pt x="223198" y="285888"/>
                </a:lnTo>
                <a:lnTo>
                  <a:pt x="194311" y="319560"/>
                </a:lnTo>
                <a:lnTo>
                  <a:pt x="167152" y="354695"/>
                </a:lnTo>
                <a:lnTo>
                  <a:pt x="141786" y="391227"/>
                </a:lnTo>
                <a:lnTo>
                  <a:pt x="118279" y="429090"/>
                </a:lnTo>
                <a:lnTo>
                  <a:pt x="96697" y="468218"/>
                </a:lnTo>
                <a:lnTo>
                  <a:pt x="77107" y="508545"/>
                </a:lnTo>
                <a:lnTo>
                  <a:pt x="59574" y="550004"/>
                </a:lnTo>
                <a:lnTo>
                  <a:pt x="44165" y="592531"/>
                </a:lnTo>
                <a:lnTo>
                  <a:pt x="30945" y="636058"/>
                </a:lnTo>
                <a:lnTo>
                  <a:pt x="19981" y="680520"/>
                </a:lnTo>
                <a:lnTo>
                  <a:pt x="11338" y="725850"/>
                </a:lnTo>
                <a:lnTo>
                  <a:pt x="5083" y="771983"/>
                </a:lnTo>
                <a:lnTo>
                  <a:pt x="1281" y="818853"/>
                </a:lnTo>
                <a:lnTo>
                  <a:pt x="0" y="866393"/>
                </a:lnTo>
                <a:lnTo>
                  <a:pt x="1281" y="913934"/>
                </a:lnTo>
                <a:lnTo>
                  <a:pt x="5083" y="960804"/>
                </a:lnTo>
                <a:lnTo>
                  <a:pt x="11338" y="1006937"/>
                </a:lnTo>
                <a:lnTo>
                  <a:pt x="19981" y="1052267"/>
                </a:lnTo>
                <a:lnTo>
                  <a:pt x="30945" y="1096729"/>
                </a:lnTo>
                <a:lnTo>
                  <a:pt x="44165" y="1140256"/>
                </a:lnTo>
                <a:lnTo>
                  <a:pt x="59574" y="1182783"/>
                </a:lnTo>
                <a:lnTo>
                  <a:pt x="77107" y="1224242"/>
                </a:lnTo>
                <a:lnTo>
                  <a:pt x="96697" y="1264569"/>
                </a:lnTo>
                <a:lnTo>
                  <a:pt x="118279" y="1303697"/>
                </a:lnTo>
                <a:lnTo>
                  <a:pt x="141786" y="1341560"/>
                </a:lnTo>
                <a:lnTo>
                  <a:pt x="167152" y="1378092"/>
                </a:lnTo>
                <a:lnTo>
                  <a:pt x="194311" y="1413227"/>
                </a:lnTo>
                <a:lnTo>
                  <a:pt x="223198" y="1446899"/>
                </a:lnTo>
                <a:lnTo>
                  <a:pt x="253746" y="1479042"/>
                </a:lnTo>
                <a:lnTo>
                  <a:pt x="285888" y="1509589"/>
                </a:lnTo>
                <a:lnTo>
                  <a:pt x="319560" y="1538476"/>
                </a:lnTo>
                <a:lnTo>
                  <a:pt x="354695" y="1565635"/>
                </a:lnTo>
                <a:lnTo>
                  <a:pt x="391227" y="1591001"/>
                </a:lnTo>
                <a:lnTo>
                  <a:pt x="429090" y="1614508"/>
                </a:lnTo>
                <a:lnTo>
                  <a:pt x="468218" y="1636090"/>
                </a:lnTo>
                <a:lnTo>
                  <a:pt x="508545" y="1655680"/>
                </a:lnTo>
                <a:lnTo>
                  <a:pt x="550004" y="1673213"/>
                </a:lnTo>
                <a:lnTo>
                  <a:pt x="592531" y="1688622"/>
                </a:lnTo>
                <a:lnTo>
                  <a:pt x="636058" y="1701842"/>
                </a:lnTo>
                <a:lnTo>
                  <a:pt x="680520" y="1712806"/>
                </a:lnTo>
                <a:lnTo>
                  <a:pt x="725850" y="1721449"/>
                </a:lnTo>
                <a:lnTo>
                  <a:pt x="771983" y="1727704"/>
                </a:lnTo>
                <a:lnTo>
                  <a:pt x="818853" y="1731506"/>
                </a:lnTo>
                <a:lnTo>
                  <a:pt x="866394" y="1732788"/>
                </a:lnTo>
                <a:lnTo>
                  <a:pt x="913934" y="1731506"/>
                </a:lnTo>
                <a:lnTo>
                  <a:pt x="960804" y="1727704"/>
                </a:lnTo>
                <a:lnTo>
                  <a:pt x="1006937" y="1721449"/>
                </a:lnTo>
                <a:lnTo>
                  <a:pt x="1052267" y="1712806"/>
                </a:lnTo>
                <a:lnTo>
                  <a:pt x="1096729" y="1701842"/>
                </a:lnTo>
                <a:lnTo>
                  <a:pt x="1140256" y="1688622"/>
                </a:lnTo>
                <a:lnTo>
                  <a:pt x="1182783" y="1673213"/>
                </a:lnTo>
                <a:lnTo>
                  <a:pt x="1224242" y="1655680"/>
                </a:lnTo>
                <a:lnTo>
                  <a:pt x="1264569" y="1636090"/>
                </a:lnTo>
                <a:lnTo>
                  <a:pt x="1303697" y="1614508"/>
                </a:lnTo>
                <a:lnTo>
                  <a:pt x="1341560" y="1591001"/>
                </a:lnTo>
                <a:lnTo>
                  <a:pt x="1378092" y="1565635"/>
                </a:lnTo>
                <a:lnTo>
                  <a:pt x="1413227" y="1538476"/>
                </a:lnTo>
                <a:lnTo>
                  <a:pt x="1446899" y="1509589"/>
                </a:lnTo>
                <a:lnTo>
                  <a:pt x="1479041" y="1479042"/>
                </a:lnTo>
                <a:lnTo>
                  <a:pt x="1509589" y="1446899"/>
                </a:lnTo>
                <a:lnTo>
                  <a:pt x="1538476" y="1413227"/>
                </a:lnTo>
                <a:lnTo>
                  <a:pt x="1565635" y="1378092"/>
                </a:lnTo>
                <a:lnTo>
                  <a:pt x="1591001" y="1341560"/>
                </a:lnTo>
                <a:lnTo>
                  <a:pt x="1614508" y="1303697"/>
                </a:lnTo>
                <a:lnTo>
                  <a:pt x="1636090" y="1264569"/>
                </a:lnTo>
                <a:lnTo>
                  <a:pt x="1655680" y="1224242"/>
                </a:lnTo>
                <a:lnTo>
                  <a:pt x="1673213" y="1182783"/>
                </a:lnTo>
                <a:lnTo>
                  <a:pt x="1688622" y="1140256"/>
                </a:lnTo>
                <a:lnTo>
                  <a:pt x="1701842" y="1096729"/>
                </a:lnTo>
                <a:lnTo>
                  <a:pt x="1712806" y="1052267"/>
                </a:lnTo>
                <a:lnTo>
                  <a:pt x="1721449" y="1006937"/>
                </a:lnTo>
                <a:lnTo>
                  <a:pt x="1727704" y="960804"/>
                </a:lnTo>
                <a:lnTo>
                  <a:pt x="1731506" y="913934"/>
                </a:lnTo>
                <a:lnTo>
                  <a:pt x="1732788" y="866393"/>
                </a:lnTo>
                <a:lnTo>
                  <a:pt x="1731506" y="818853"/>
                </a:lnTo>
                <a:lnTo>
                  <a:pt x="1727704" y="771983"/>
                </a:lnTo>
                <a:lnTo>
                  <a:pt x="1721449" y="725850"/>
                </a:lnTo>
                <a:lnTo>
                  <a:pt x="1712806" y="680520"/>
                </a:lnTo>
                <a:lnTo>
                  <a:pt x="1701842" y="636058"/>
                </a:lnTo>
                <a:lnTo>
                  <a:pt x="1688622" y="592531"/>
                </a:lnTo>
                <a:lnTo>
                  <a:pt x="1673213" y="550004"/>
                </a:lnTo>
                <a:lnTo>
                  <a:pt x="1655680" y="508545"/>
                </a:lnTo>
                <a:lnTo>
                  <a:pt x="1636090" y="468218"/>
                </a:lnTo>
                <a:lnTo>
                  <a:pt x="1614508" y="429090"/>
                </a:lnTo>
                <a:lnTo>
                  <a:pt x="1591001" y="391227"/>
                </a:lnTo>
                <a:lnTo>
                  <a:pt x="1565635" y="354695"/>
                </a:lnTo>
                <a:lnTo>
                  <a:pt x="1538476" y="319560"/>
                </a:lnTo>
                <a:lnTo>
                  <a:pt x="1509589" y="285888"/>
                </a:lnTo>
                <a:lnTo>
                  <a:pt x="1479041" y="253746"/>
                </a:lnTo>
                <a:lnTo>
                  <a:pt x="1446899" y="223198"/>
                </a:lnTo>
                <a:lnTo>
                  <a:pt x="1413227" y="194311"/>
                </a:lnTo>
                <a:lnTo>
                  <a:pt x="1378092" y="167152"/>
                </a:lnTo>
                <a:lnTo>
                  <a:pt x="1341560" y="141786"/>
                </a:lnTo>
                <a:lnTo>
                  <a:pt x="1303697" y="118279"/>
                </a:lnTo>
                <a:lnTo>
                  <a:pt x="1264569" y="96697"/>
                </a:lnTo>
                <a:lnTo>
                  <a:pt x="1224242" y="77107"/>
                </a:lnTo>
                <a:lnTo>
                  <a:pt x="1182783" y="59574"/>
                </a:lnTo>
                <a:lnTo>
                  <a:pt x="1140256" y="44165"/>
                </a:lnTo>
                <a:lnTo>
                  <a:pt x="1096729" y="30945"/>
                </a:lnTo>
                <a:lnTo>
                  <a:pt x="1052267" y="19981"/>
                </a:lnTo>
                <a:lnTo>
                  <a:pt x="1006937" y="11338"/>
                </a:lnTo>
                <a:lnTo>
                  <a:pt x="960804" y="5083"/>
                </a:lnTo>
                <a:lnTo>
                  <a:pt x="913934" y="1281"/>
                </a:lnTo>
                <a:lnTo>
                  <a:pt x="866394" y="0"/>
                </a:lnTo>
                <a:close/>
              </a:path>
            </a:pathLst>
          </a:custGeom>
          <a:solidFill>
            <a:srgbClr val="FFFFFF"/>
          </a:solidFill>
        </p:spPr>
        <p:txBody>
          <a:bodyPr wrap="square" lIns="0" tIns="0" rIns="0" bIns="0" rtlCol="0"/>
          <a:lstStyle/>
          <a:p>
            <a:endParaRPr/>
          </a:p>
        </p:txBody>
      </p:sp>
      <p:sp>
        <p:nvSpPr>
          <p:cNvPr id="27" name="object 27"/>
          <p:cNvSpPr txBox="1"/>
          <p:nvPr/>
        </p:nvSpPr>
        <p:spPr>
          <a:xfrm>
            <a:off x="8003540" y="3128517"/>
            <a:ext cx="939800" cy="436880"/>
          </a:xfrm>
          <a:prstGeom prst="rect">
            <a:avLst/>
          </a:prstGeom>
        </p:spPr>
        <p:txBody>
          <a:bodyPr vert="horz" wrap="square" lIns="0" tIns="12700" rIns="0" bIns="0" rtlCol="0">
            <a:spAutoFit/>
          </a:bodyPr>
          <a:lstStyle/>
          <a:p>
            <a:pPr marL="12700" marR="5080" indent="-1270" algn="ctr">
              <a:lnSpc>
                <a:spcPct val="100000"/>
              </a:lnSpc>
              <a:spcBef>
                <a:spcPts val="100"/>
              </a:spcBef>
            </a:pPr>
            <a:r>
              <a:rPr sz="900" b="1" spc="-5">
                <a:latin typeface="Verdana"/>
                <a:cs typeface="Verdana"/>
              </a:rPr>
              <a:t>DATA  </a:t>
            </a:r>
            <a:r>
              <a:rPr sz="900" b="1">
                <a:latin typeface="Verdana"/>
                <a:cs typeface="Verdana"/>
              </a:rPr>
              <a:t>QUALITY  M</a:t>
            </a:r>
            <a:r>
              <a:rPr sz="900" b="1" spc="-5">
                <a:latin typeface="Verdana"/>
                <a:cs typeface="Verdana"/>
              </a:rPr>
              <a:t>A</a:t>
            </a:r>
            <a:r>
              <a:rPr sz="900" b="1">
                <a:latin typeface="Verdana"/>
                <a:cs typeface="Verdana"/>
              </a:rPr>
              <a:t>N</a:t>
            </a:r>
            <a:r>
              <a:rPr sz="900" b="1" spc="-5">
                <a:latin typeface="Verdana"/>
                <a:cs typeface="Verdana"/>
              </a:rPr>
              <a:t>AGE</a:t>
            </a:r>
            <a:r>
              <a:rPr sz="900" b="1">
                <a:latin typeface="Verdana"/>
                <a:cs typeface="Verdana"/>
              </a:rPr>
              <a:t>M</a:t>
            </a:r>
            <a:r>
              <a:rPr sz="900" b="1" spc="-5">
                <a:latin typeface="Verdana"/>
                <a:cs typeface="Verdana"/>
              </a:rPr>
              <a:t>E</a:t>
            </a:r>
            <a:r>
              <a:rPr sz="900" b="1">
                <a:latin typeface="Verdana"/>
                <a:cs typeface="Verdana"/>
              </a:rPr>
              <a:t>NT</a:t>
            </a:r>
            <a:endParaRPr sz="900">
              <a:latin typeface="Verdana"/>
              <a:cs typeface="Verdana"/>
            </a:endParaRPr>
          </a:p>
        </p:txBody>
      </p:sp>
      <p:sp>
        <p:nvSpPr>
          <p:cNvPr id="28" name="object 28"/>
          <p:cNvSpPr/>
          <p:nvPr/>
        </p:nvSpPr>
        <p:spPr>
          <a:xfrm>
            <a:off x="8482583" y="4529328"/>
            <a:ext cx="1839468" cy="1840992"/>
          </a:xfrm>
          <a:prstGeom prst="rect">
            <a:avLst/>
          </a:prstGeom>
          <a:blipFill>
            <a:blip r:embed="rId10" cstate="print"/>
            <a:stretch>
              <a:fillRect/>
            </a:stretch>
          </a:blipFill>
        </p:spPr>
        <p:txBody>
          <a:bodyPr wrap="square" lIns="0" tIns="0" rIns="0" bIns="0" rtlCol="0"/>
          <a:lstStyle/>
          <a:p>
            <a:endParaRPr/>
          </a:p>
        </p:txBody>
      </p:sp>
      <p:sp>
        <p:nvSpPr>
          <p:cNvPr id="29" name="object 29"/>
          <p:cNvSpPr/>
          <p:nvPr/>
        </p:nvSpPr>
        <p:spPr>
          <a:xfrm>
            <a:off x="8798052" y="5224271"/>
            <a:ext cx="1210055" cy="484631"/>
          </a:xfrm>
          <a:prstGeom prst="rect">
            <a:avLst/>
          </a:prstGeom>
          <a:blipFill>
            <a:blip r:embed="rId11" cstate="print"/>
            <a:stretch>
              <a:fillRect/>
            </a:stretch>
          </a:blipFill>
        </p:spPr>
        <p:txBody>
          <a:bodyPr wrap="square" lIns="0" tIns="0" rIns="0" bIns="0" rtlCol="0"/>
          <a:lstStyle/>
          <a:p>
            <a:endParaRPr/>
          </a:p>
        </p:txBody>
      </p:sp>
      <p:sp>
        <p:nvSpPr>
          <p:cNvPr id="30" name="object 30"/>
          <p:cNvSpPr/>
          <p:nvPr/>
        </p:nvSpPr>
        <p:spPr>
          <a:xfrm>
            <a:off x="8563356" y="4555235"/>
            <a:ext cx="1732914" cy="1734820"/>
          </a:xfrm>
          <a:custGeom>
            <a:avLst/>
            <a:gdLst/>
            <a:ahLst/>
            <a:cxnLst/>
            <a:rect l="l" t="t" r="r" b="b"/>
            <a:pathLst>
              <a:path w="1732915" h="1734820">
                <a:moveTo>
                  <a:pt x="866394" y="0"/>
                </a:moveTo>
                <a:lnTo>
                  <a:pt x="818853" y="1283"/>
                </a:lnTo>
                <a:lnTo>
                  <a:pt x="771983" y="5088"/>
                </a:lnTo>
                <a:lnTo>
                  <a:pt x="725850" y="11349"/>
                </a:lnTo>
                <a:lnTo>
                  <a:pt x="680520" y="20000"/>
                </a:lnTo>
                <a:lnTo>
                  <a:pt x="636058" y="30975"/>
                </a:lnTo>
                <a:lnTo>
                  <a:pt x="592531" y="44208"/>
                </a:lnTo>
                <a:lnTo>
                  <a:pt x="550004" y="59632"/>
                </a:lnTo>
                <a:lnTo>
                  <a:pt x="508545" y="77181"/>
                </a:lnTo>
                <a:lnTo>
                  <a:pt x="468218" y="96790"/>
                </a:lnTo>
                <a:lnTo>
                  <a:pt x="429090" y="118392"/>
                </a:lnTo>
                <a:lnTo>
                  <a:pt x="391227" y="141921"/>
                </a:lnTo>
                <a:lnTo>
                  <a:pt x="354695" y="167310"/>
                </a:lnTo>
                <a:lnTo>
                  <a:pt x="319560" y="194495"/>
                </a:lnTo>
                <a:lnTo>
                  <a:pt x="285888" y="223408"/>
                </a:lnTo>
                <a:lnTo>
                  <a:pt x="253746" y="253984"/>
                </a:lnTo>
                <a:lnTo>
                  <a:pt x="223198" y="286156"/>
                </a:lnTo>
                <a:lnTo>
                  <a:pt x="194311" y="319858"/>
                </a:lnTo>
                <a:lnTo>
                  <a:pt x="167152" y="355024"/>
                </a:lnTo>
                <a:lnTo>
                  <a:pt x="141786" y="391589"/>
                </a:lnTo>
                <a:lnTo>
                  <a:pt x="118279" y="429485"/>
                </a:lnTo>
                <a:lnTo>
                  <a:pt x="96697" y="468647"/>
                </a:lnTo>
                <a:lnTo>
                  <a:pt x="77107" y="509009"/>
                </a:lnTo>
                <a:lnTo>
                  <a:pt x="59574" y="550504"/>
                </a:lnTo>
                <a:lnTo>
                  <a:pt x="44165" y="593067"/>
                </a:lnTo>
                <a:lnTo>
                  <a:pt x="30945" y="636631"/>
                </a:lnTo>
                <a:lnTo>
                  <a:pt x="19981" y="681130"/>
                </a:lnTo>
                <a:lnTo>
                  <a:pt x="11338" y="726498"/>
                </a:lnTo>
                <a:lnTo>
                  <a:pt x="5083" y="772669"/>
                </a:lnTo>
                <a:lnTo>
                  <a:pt x="1281" y="819577"/>
                </a:lnTo>
                <a:lnTo>
                  <a:pt x="0" y="867155"/>
                </a:lnTo>
                <a:lnTo>
                  <a:pt x="1281" y="914734"/>
                </a:lnTo>
                <a:lnTo>
                  <a:pt x="5083" y="961642"/>
                </a:lnTo>
                <a:lnTo>
                  <a:pt x="11338" y="1007813"/>
                </a:lnTo>
                <a:lnTo>
                  <a:pt x="19981" y="1053181"/>
                </a:lnTo>
                <a:lnTo>
                  <a:pt x="30945" y="1097680"/>
                </a:lnTo>
                <a:lnTo>
                  <a:pt x="44165" y="1141244"/>
                </a:lnTo>
                <a:lnTo>
                  <a:pt x="59574" y="1183807"/>
                </a:lnTo>
                <a:lnTo>
                  <a:pt x="77107" y="1225302"/>
                </a:lnTo>
                <a:lnTo>
                  <a:pt x="96697" y="1265664"/>
                </a:lnTo>
                <a:lnTo>
                  <a:pt x="118279" y="1304826"/>
                </a:lnTo>
                <a:lnTo>
                  <a:pt x="141786" y="1342722"/>
                </a:lnTo>
                <a:lnTo>
                  <a:pt x="167152" y="1379287"/>
                </a:lnTo>
                <a:lnTo>
                  <a:pt x="194311" y="1414453"/>
                </a:lnTo>
                <a:lnTo>
                  <a:pt x="223198" y="1448155"/>
                </a:lnTo>
                <a:lnTo>
                  <a:pt x="253746" y="1480327"/>
                </a:lnTo>
                <a:lnTo>
                  <a:pt x="285888" y="1510903"/>
                </a:lnTo>
                <a:lnTo>
                  <a:pt x="319560" y="1539816"/>
                </a:lnTo>
                <a:lnTo>
                  <a:pt x="354695" y="1567001"/>
                </a:lnTo>
                <a:lnTo>
                  <a:pt x="391227" y="1592390"/>
                </a:lnTo>
                <a:lnTo>
                  <a:pt x="429090" y="1615919"/>
                </a:lnTo>
                <a:lnTo>
                  <a:pt x="468218" y="1637521"/>
                </a:lnTo>
                <a:lnTo>
                  <a:pt x="508545" y="1657130"/>
                </a:lnTo>
                <a:lnTo>
                  <a:pt x="550004" y="1674679"/>
                </a:lnTo>
                <a:lnTo>
                  <a:pt x="592531" y="1690103"/>
                </a:lnTo>
                <a:lnTo>
                  <a:pt x="636058" y="1703336"/>
                </a:lnTo>
                <a:lnTo>
                  <a:pt x="680520" y="1714311"/>
                </a:lnTo>
                <a:lnTo>
                  <a:pt x="725850" y="1722962"/>
                </a:lnTo>
                <a:lnTo>
                  <a:pt x="771983" y="1729223"/>
                </a:lnTo>
                <a:lnTo>
                  <a:pt x="818853" y="1733028"/>
                </a:lnTo>
                <a:lnTo>
                  <a:pt x="866394" y="1734312"/>
                </a:lnTo>
                <a:lnTo>
                  <a:pt x="913934" y="1733028"/>
                </a:lnTo>
                <a:lnTo>
                  <a:pt x="960804" y="1729223"/>
                </a:lnTo>
                <a:lnTo>
                  <a:pt x="1006937" y="1722962"/>
                </a:lnTo>
                <a:lnTo>
                  <a:pt x="1052267" y="1714311"/>
                </a:lnTo>
                <a:lnTo>
                  <a:pt x="1096729" y="1703336"/>
                </a:lnTo>
                <a:lnTo>
                  <a:pt x="1140256" y="1690103"/>
                </a:lnTo>
                <a:lnTo>
                  <a:pt x="1182783" y="1674679"/>
                </a:lnTo>
                <a:lnTo>
                  <a:pt x="1224242" y="1657130"/>
                </a:lnTo>
                <a:lnTo>
                  <a:pt x="1264569" y="1637521"/>
                </a:lnTo>
                <a:lnTo>
                  <a:pt x="1303697" y="1615919"/>
                </a:lnTo>
                <a:lnTo>
                  <a:pt x="1341560" y="1592390"/>
                </a:lnTo>
                <a:lnTo>
                  <a:pt x="1378092" y="1567001"/>
                </a:lnTo>
                <a:lnTo>
                  <a:pt x="1413227" y="1539816"/>
                </a:lnTo>
                <a:lnTo>
                  <a:pt x="1446899" y="1510903"/>
                </a:lnTo>
                <a:lnTo>
                  <a:pt x="1479041" y="1480327"/>
                </a:lnTo>
                <a:lnTo>
                  <a:pt x="1509589" y="1448155"/>
                </a:lnTo>
                <a:lnTo>
                  <a:pt x="1538476" y="1414453"/>
                </a:lnTo>
                <a:lnTo>
                  <a:pt x="1565635" y="1379287"/>
                </a:lnTo>
                <a:lnTo>
                  <a:pt x="1591001" y="1342722"/>
                </a:lnTo>
                <a:lnTo>
                  <a:pt x="1614508" y="1304826"/>
                </a:lnTo>
                <a:lnTo>
                  <a:pt x="1636090" y="1265664"/>
                </a:lnTo>
                <a:lnTo>
                  <a:pt x="1655680" y="1225302"/>
                </a:lnTo>
                <a:lnTo>
                  <a:pt x="1673213" y="1183807"/>
                </a:lnTo>
                <a:lnTo>
                  <a:pt x="1688622" y="1141244"/>
                </a:lnTo>
                <a:lnTo>
                  <a:pt x="1701842" y="1097680"/>
                </a:lnTo>
                <a:lnTo>
                  <a:pt x="1712806" y="1053181"/>
                </a:lnTo>
                <a:lnTo>
                  <a:pt x="1721449" y="1007813"/>
                </a:lnTo>
                <a:lnTo>
                  <a:pt x="1727704" y="961642"/>
                </a:lnTo>
                <a:lnTo>
                  <a:pt x="1731506" y="914734"/>
                </a:lnTo>
                <a:lnTo>
                  <a:pt x="1732788" y="867155"/>
                </a:lnTo>
                <a:lnTo>
                  <a:pt x="1731506" y="819577"/>
                </a:lnTo>
                <a:lnTo>
                  <a:pt x="1727704" y="772669"/>
                </a:lnTo>
                <a:lnTo>
                  <a:pt x="1721449" y="726498"/>
                </a:lnTo>
                <a:lnTo>
                  <a:pt x="1712806" y="681130"/>
                </a:lnTo>
                <a:lnTo>
                  <a:pt x="1701842" y="636631"/>
                </a:lnTo>
                <a:lnTo>
                  <a:pt x="1688622" y="593067"/>
                </a:lnTo>
                <a:lnTo>
                  <a:pt x="1673213" y="550504"/>
                </a:lnTo>
                <a:lnTo>
                  <a:pt x="1655680" y="509009"/>
                </a:lnTo>
                <a:lnTo>
                  <a:pt x="1636090" y="468647"/>
                </a:lnTo>
                <a:lnTo>
                  <a:pt x="1614508" y="429485"/>
                </a:lnTo>
                <a:lnTo>
                  <a:pt x="1591001" y="391589"/>
                </a:lnTo>
                <a:lnTo>
                  <a:pt x="1565635" y="355024"/>
                </a:lnTo>
                <a:lnTo>
                  <a:pt x="1538476" y="319858"/>
                </a:lnTo>
                <a:lnTo>
                  <a:pt x="1509589" y="286156"/>
                </a:lnTo>
                <a:lnTo>
                  <a:pt x="1479041" y="253984"/>
                </a:lnTo>
                <a:lnTo>
                  <a:pt x="1446899" y="223408"/>
                </a:lnTo>
                <a:lnTo>
                  <a:pt x="1413227" y="194495"/>
                </a:lnTo>
                <a:lnTo>
                  <a:pt x="1378092" y="167310"/>
                </a:lnTo>
                <a:lnTo>
                  <a:pt x="1341560" y="141921"/>
                </a:lnTo>
                <a:lnTo>
                  <a:pt x="1303697" y="118392"/>
                </a:lnTo>
                <a:lnTo>
                  <a:pt x="1264569" y="96790"/>
                </a:lnTo>
                <a:lnTo>
                  <a:pt x="1224242" y="77181"/>
                </a:lnTo>
                <a:lnTo>
                  <a:pt x="1182783" y="59632"/>
                </a:lnTo>
                <a:lnTo>
                  <a:pt x="1140256" y="44208"/>
                </a:lnTo>
                <a:lnTo>
                  <a:pt x="1096729" y="30975"/>
                </a:lnTo>
                <a:lnTo>
                  <a:pt x="1052267" y="20000"/>
                </a:lnTo>
                <a:lnTo>
                  <a:pt x="1006937" y="11349"/>
                </a:lnTo>
                <a:lnTo>
                  <a:pt x="960804" y="5088"/>
                </a:lnTo>
                <a:lnTo>
                  <a:pt x="913934" y="1283"/>
                </a:lnTo>
                <a:lnTo>
                  <a:pt x="866394" y="0"/>
                </a:lnTo>
                <a:close/>
              </a:path>
            </a:pathLst>
          </a:custGeom>
          <a:solidFill>
            <a:srgbClr val="D9D9D9"/>
          </a:solidFill>
        </p:spPr>
        <p:txBody>
          <a:bodyPr wrap="square" lIns="0" tIns="0" rIns="0" bIns="0" rtlCol="0"/>
          <a:lstStyle/>
          <a:p>
            <a:endParaRPr/>
          </a:p>
        </p:txBody>
      </p:sp>
      <p:sp>
        <p:nvSpPr>
          <p:cNvPr id="31" name="object 31"/>
          <p:cNvSpPr txBox="1"/>
          <p:nvPr/>
        </p:nvSpPr>
        <p:spPr>
          <a:xfrm>
            <a:off x="8935339" y="5271896"/>
            <a:ext cx="991869" cy="299720"/>
          </a:xfrm>
          <a:prstGeom prst="rect">
            <a:avLst/>
          </a:prstGeom>
        </p:spPr>
        <p:txBody>
          <a:bodyPr vert="horz" wrap="square" lIns="0" tIns="12700" rIns="0" bIns="0" rtlCol="0">
            <a:spAutoFit/>
          </a:bodyPr>
          <a:lstStyle/>
          <a:p>
            <a:pPr algn="ctr">
              <a:lnSpc>
                <a:spcPct val="100000"/>
              </a:lnSpc>
              <a:spcBef>
                <a:spcPts val="100"/>
              </a:spcBef>
            </a:pPr>
            <a:r>
              <a:rPr sz="900" b="1" spc="-5">
                <a:latin typeface="Verdana"/>
                <a:cs typeface="Verdana"/>
              </a:rPr>
              <a:t>DATA</a:t>
            </a:r>
            <a:endParaRPr sz="900">
              <a:latin typeface="Verdana"/>
              <a:cs typeface="Verdana"/>
            </a:endParaRPr>
          </a:p>
          <a:p>
            <a:pPr algn="ctr">
              <a:lnSpc>
                <a:spcPct val="100000"/>
              </a:lnSpc>
            </a:pPr>
            <a:r>
              <a:rPr sz="900" b="1" spc="-5">
                <a:latin typeface="Verdana"/>
                <a:cs typeface="Verdana"/>
              </a:rPr>
              <a:t>CO-EXISTANCE</a:t>
            </a:r>
            <a:endParaRPr sz="900">
              <a:latin typeface="Verdana"/>
              <a:cs typeface="Verdana"/>
            </a:endParaRPr>
          </a:p>
        </p:txBody>
      </p:sp>
      <p:sp>
        <p:nvSpPr>
          <p:cNvPr id="32" name="object 32"/>
          <p:cNvSpPr/>
          <p:nvPr/>
        </p:nvSpPr>
        <p:spPr>
          <a:xfrm>
            <a:off x="9811511" y="4047744"/>
            <a:ext cx="1840992" cy="1839468"/>
          </a:xfrm>
          <a:prstGeom prst="rect">
            <a:avLst/>
          </a:prstGeom>
          <a:blipFill>
            <a:blip r:embed="rId6" cstate="print"/>
            <a:stretch>
              <a:fillRect/>
            </a:stretch>
          </a:blipFill>
        </p:spPr>
        <p:txBody>
          <a:bodyPr wrap="square" lIns="0" tIns="0" rIns="0" bIns="0" rtlCol="0"/>
          <a:lstStyle/>
          <a:p>
            <a:endParaRPr/>
          </a:p>
        </p:txBody>
      </p:sp>
      <p:sp>
        <p:nvSpPr>
          <p:cNvPr id="33" name="object 33"/>
          <p:cNvSpPr/>
          <p:nvPr/>
        </p:nvSpPr>
        <p:spPr>
          <a:xfrm>
            <a:off x="10073640" y="4674108"/>
            <a:ext cx="1316736" cy="620268"/>
          </a:xfrm>
          <a:prstGeom prst="rect">
            <a:avLst/>
          </a:prstGeom>
          <a:blipFill>
            <a:blip r:embed="rId12" cstate="print"/>
            <a:stretch>
              <a:fillRect/>
            </a:stretch>
          </a:blipFill>
        </p:spPr>
        <p:txBody>
          <a:bodyPr wrap="square" lIns="0" tIns="0" rIns="0" bIns="0" rtlCol="0"/>
          <a:lstStyle/>
          <a:p>
            <a:endParaRPr/>
          </a:p>
        </p:txBody>
      </p:sp>
      <p:sp>
        <p:nvSpPr>
          <p:cNvPr id="34" name="object 34"/>
          <p:cNvSpPr/>
          <p:nvPr/>
        </p:nvSpPr>
        <p:spPr>
          <a:xfrm>
            <a:off x="9892283" y="4073652"/>
            <a:ext cx="1734820" cy="1732914"/>
          </a:xfrm>
          <a:custGeom>
            <a:avLst/>
            <a:gdLst/>
            <a:ahLst/>
            <a:cxnLst/>
            <a:rect l="l" t="t" r="r" b="b"/>
            <a:pathLst>
              <a:path w="1734820" h="1732914">
                <a:moveTo>
                  <a:pt x="867156" y="0"/>
                </a:moveTo>
                <a:lnTo>
                  <a:pt x="819577" y="1281"/>
                </a:lnTo>
                <a:lnTo>
                  <a:pt x="772669" y="5083"/>
                </a:lnTo>
                <a:lnTo>
                  <a:pt x="726498" y="11338"/>
                </a:lnTo>
                <a:lnTo>
                  <a:pt x="681130" y="19981"/>
                </a:lnTo>
                <a:lnTo>
                  <a:pt x="636631" y="30945"/>
                </a:lnTo>
                <a:lnTo>
                  <a:pt x="593067" y="44165"/>
                </a:lnTo>
                <a:lnTo>
                  <a:pt x="550504" y="59574"/>
                </a:lnTo>
                <a:lnTo>
                  <a:pt x="509009" y="77107"/>
                </a:lnTo>
                <a:lnTo>
                  <a:pt x="468647" y="96697"/>
                </a:lnTo>
                <a:lnTo>
                  <a:pt x="429485" y="118279"/>
                </a:lnTo>
                <a:lnTo>
                  <a:pt x="391589" y="141786"/>
                </a:lnTo>
                <a:lnTo>
                  <a:pt x="355024" y="167152"/>
                </a:lnTo>
                <a:lnTo>
                  <a:pt x="319858" y="194311"/>
                </a:lnTo>
                <a:lnTo>
                  <a:pt x="286156" y="223198"/>
                </a:lnTo>
                <a:lnTo>
                  <a:pt x="253984" y="253746"/>
                </a:lnTo>
                <a:lnTo>
                  <a:pt x="223408" y="285888"/>
                </a:lnTo>
                <a:lnTo>
                  <a:pt x="194495" y="319560"/>
                </a:lnTo>
                <a:lnTo>
                  <a:pt x="167310" y="354695"/>
                </a:lnTo>
                <a:lnTo>
                  <a:pt x="141921" y="391227"/>
                </a:lnTo>
                <a:lnTo>
                  <a:pt x="118392" y="429090"/>
                </a:lnTo>
                <a:lnTo>
                  <a:pt x="96790" y="468218"/>
                </a:lnTo>
                <a:lnTo>
                  <a:pt x="77181" y="508545"/>
                </a:lnTo>
                <a:lnTo>
                  <a:pt x="59632" y="550004"/>
                </a:lnTo>
                <a:lnTo>
                  <a:pt x="44208" y="592531"/>
                </a:lnTo>
                <a:lnTo>
                  <a:pt x="30975" y="636058"/>
                </a:lnTo>
                <a:lnTo>
                  <a:pt x="20000" y="680520"/>
                </a:lnTo>
                <a:lnTo>
                  <a:pt x="11349" y="725850"/>
                </a:lnTo>
                <a:lnTo>
                  <a:pt x="5088" y="771983"/>
                </a:lnTo>
                <a:lnTo>
                  <a:pt x="1283" y="818853"/>
                </a:lnTo>
                <a:lnTo>
                  <a:pt x="0" y="866394"/>
                </a:lnTo>
                <a:lnTo>
                  <a:pt x="1283" y="913934"/>
                </a:lnTo>
                <a:lnTo>
                  <a:pt x="5088" y="960804"/>
                </a:lnTo>
                <a:lnTo>
                  <a:pt x="11349" y="1006937"/>
                </a:lnTo>
                <a:lnTo>
                  <a:pt x="20000" y="1052267"/>
                </a:lnTo>
                <a:lnTo>
                  <a:pt x="30975" y="1096729"/>
                </a:lnTo>
                <a:lnTo>
                  <a:pt x="44208" y="1140256"/>
                </a:lnTo>
                <a:lnTo>
                  <a:pt x="59632" y="1182783"/>
                </a:lnTo>
                <a:lnTo>
                  <a:pt x="77181" y="1224242"/>
                </a:lnTo>
                <a:lnTo>
                  <a:pt x="96790" y="1264569"/>
                </a:lnTo>
                <a:lnTo>
                  <a:pt x="118392" y="1303697"/>
                </a:lnTo>
                <a:lnTo>
                  <a:pt x="141921" y="1341560"/>
                </a:lnTo>
                <a:lnTo>
                  <a:pt x="167310" y="1378092"/>
                </a:lnTo>
                <a:lnTo>
                  <a:pt x="194495" y="1413227"/>
                </a:lnTo>
                <a:lnTo>
                  <a:pt x="223408" y="1446899"/>
                </a:lnTo>
                <a:lnTo>
                  <a:pt x="253984" y="1479042"/>
                </a:lnTo>
                <a:lnTo>
                  <a:pt x="286156" y="1509589"/>
                </a:lnTo>
                <a:lnTo>
                  <a:pt x="319858" y="1538476"/>
                </a:lnTo>
                <a:lnTo>
                  <a:pt x="355024" y="1565635"/>
                </a:lnTo>
                <a:lnTo>
                  <a:pt x="391589" y="1591001"/>
                </a:lnTo>
                <a:lnTo>
                  <a:pt x="429485" y="1614508"/>
                </a:lnTo>
                <a:lnTo>
                  <a:pt x="468647" y="1636090"/>
                </a:lnTo>
                <a:lnTo>
                  <a:pt x="509009" y="1655680"/>
                </a:lnTo>
                <a:lnTo>
                  <a:pt x="550504" y="1673213"/>
                </a:lnTo>
                <a:lnTo>
                  <a:pt x="593067" y="1688622"/>
                </a:lnTo>
                <a:lnTo>
                  <a:pt x="636631" y="1701842"/>
                </a:lnTo>
                <a:lnTo>
                  <a:pt x="681130" y="1712806"/>
                </a:lnTo>
                <a:lnTo>
                  <a:pt x="726498" y="1721449"/>
                </a:lnTo>
                <a:lnTo>
                  <a:pt x="772669" y="1727704"/>
                </a:lnTo>
                <a:lnTo>
                  <a:pt x="819577" y="1731506"/>
                </a:lnTo>
                <a:lnTo>
                  <a:pt x="867156" y="1732788"/>
                </a:lnTo>
                <a:lnTo>
                  <a:pt x="914734" y="1731506"/>
                </a:lnTo>
                <a:lnTo>
                  <a:pt x="961642" y="1727704"/>
                </a:lnTo>
                <a:lnTo>
                  <a:pt x="1007813" y="1721449"/>
                </a:lnTo>
                <a:lnTo>
                  <a:pt x="1053181" y="1712806"/>
                </a:lnTo>
                <a:lnTo>
                  <a:pt x="1097680" y="1701842"/>
                </a:lnTo>
                <a:lnTo>
                  <a:pt x="1141244" y="1688622"/>
                </a:lnTo>
                <a:lnTo>
                  <a:pt x="1183807" y="1673213"/>
                </a:lnTo>
                <a:lnTo>
                  <a:pt x="1225302" y="1655680"/>
                </a:lnTo>
                <a:lnTo>
                  <a:pt x="1265664" y="1636090"/>
                </a:lnTo>
                <a:lnTo>
                  <a:pt x="1304826" y="1614508"/>
                </a:lnTo>
                <a:lnTo>
                  <a:pt x="1342722" y="1591001"/>
                </a:lnTo>
                <a:lnTo>
                  <a:pt x="1379287" y="1565635"/>
                </a:lnTo>
                <a:lnTo>
                  <a:pt x="1414453" y="1538476"/>
                </a:lnTo>
                <a:lnTo>
                  <a:pt x="1448155" y="1509589"/>
                </a:lnTo>
                <a:lnTo>
                  <a:pt x="1480327" y="1479042"/>
                </a:lnTo>
                <a:lnTo>
                  <a:pt x="1510903" y="1446899"/>
                </a:lnTo>
                <a:lnTo>
                  <a:pt x="1539816" y="1413227"/>
                </a:lnTo>
                <a:lnTo>
                  <a:pt x="1567001" y="1378092"/>
                </a:lnTo>
                <a:lnTo>
                  <a:pt x="1592390" y="1341560"/>
                </a:lnTo>
                <a:lnTo>
                  <a:pt x="1615919" y="1303697"/>
                </a:lnTo>
                <a:lnTo>
                  <a:pt x="1637521" y="1264569"/>
                </a:lnTo>
                <a:lnTo>
                  <a:pt x="1657130" y="1224242"/>
                </a:lnTo>
                <a:lnTo>
                  <a:pt x="1674679" y="1182783"/>
                </a:lnTo>
                <a:lnTo>
                  <a:pt x="1690103" y="1140256"/>
                </a:lnTo>
                <a:lnTo>
                  <a:pt x="1703336" y="1096729"/>
                </a:lnTo>
                <a:lnTo>
                  <a:pt x="1714311" y="1052267"/>
                </a:lnTo>
                <a:lnTo>
                  <a:pt x="1722962" y="1006937"/>
                </a:lnTo>
                <a:lnTo>
                  <a:pt x="1729223" y="960804"/>
                </a:lnTo>
                <a:lnTo>
                  <a:pt x="1733028" y="913934"/>
                </a:lnTo>
                <a:lnTo>
                  <a:pt x="1734312" y="866394"/>
                </a:lnTo>
                <a:lnTo>
                  <a:pt x="1733028" y="818853"/>
                </a:lnTo>
                <a:lnTo>
                  <a:pt x="1729223" y="771983"/>
                </a:lnTo>
                <a:lnTo>
                  <a:pt x="1722962" y="725850"/>
                </a:lnTo>
                <a:lnTo>
                  <a:pt x="1714311" y="680520"/>
                </a:lnTo>
                <a:lnTo>
                  <a:pt x="1703336" y="636058"/>
                </a:lnTo>
                <a:lnTo>
                  <a:pt x="1690103" y="592531"/>
                </a:lnTo>
                <a:lnTo>
                  <a:pt x="1674679" y="550004"/>
                </a:lnTo>
                <a:lnTo>
                  <a:pt x="1657130" y="508545"/>
                </a:lnTo>
                <a:lnTo>
                  <a:pt x="1637521" y="468218"/>
                </a:lnTo>
                <a:lnTo>
                  <a:pt x="1615919" y="429090"/>
                </a:lnTo>
                <a:lnTo>
                  <a:pt x="1592390" y="391227"/>
                </a:lnTo>
                <a:lnTo>
                  <a:pt x="1567001" y="354695"/>
                </a:lnTo>
                <a:lnTo>
                  <a:pt x="1539816" y="319560"/>
                </a:lnTo>
                <a:lnTo>
                  <a:pt x="1510903" y="285888"/>
                </a:lnTo>
                <a:lnTo>
                  <a:pt x="1480327" y="253746"/>
                </a:lnTo>
                <a:lnTo>
                  <a:pt x="1448155" y="223198"/>
                </a:lnTo>
                <a:lnTo>
                  <a:pt x="1414453" y="194311"/>
                </a:lnTo>
                <a:lnTo>
                  <a:pt x="1379287" y="167152"/>
                </a:lnTo>
                <a:lnTo>
                  <a:pt x="1342722" y="141786"/>
                </a:lnTo>
                <a:lnTo>
                  <a:pt x="1304826" y="118279"/>
                </a:lnTo>
                <a:lnTo>
                  <a:pt x="1265664" y="96697"/>
                </a:lnTo>
                <a:lnTo>
                  <a:pt x="1225302" y="77107"/>
                </a:lnTo>
                <a:lnTo>
                  <a:pt x="1183807" y="59574"/>
                </a:lnTo>
                <a:lnTo>
                  <a:pt x="1141244" y="44165"/>
                </a:lnTo>
                <a:lnTo>
                  <a:pt x="1097680" y="30945"/>
                </a:lnTo>
                <a:lnTo>
                  <a:pt x="1053181" y="19981"/>
                </a:lnTo>
                <a:lnTo>
                  <a:pt x="1007813" y="11338"/>
                </a:lnTo>
                <a:lnTo>
                  <a:pt x="961642" y="5083"/>
                </a:lnTo>
                <a:lnTo>
                  <a:pt x="914734" y="1281"/>
                </a:lnTo>
                <a:lnTo>
                  <a:pt x="867156" y="0"/>
                </a:lnTo>
                <a:close/>
              </a:path>
            </a:pathLst>
          </a:custGeom>
          <a:solidFill>
            <a:srgbClr val="FFFFFF"/>
          </a:solidFill>
        </p:spPr>
        <p:txBody>
          <a:bodyPr wrap="square" lIns="0" tIns="0" rIns="0" bIns="0" rtlCol="0"/>
          <a:lstStyle/>
          <a:p>
            <a:endParaRPr/>
          </a:p>
        </p:txBody>
      </p:sp>
      <p:sp>
        <p:nvSpPr>
          <p:cNvPr id="35" name="object 35"/>
          <p:cNvSpPr txBox="1"/>
          <p:nvPr/>
        </p:nvSpPr>
        <p:spPr>
          <a:xfrm>
            <a:off x="10211181" y="4721097"/>
            <a:ext cx="1097280" cy="436880"/>
          </a:xfrm>
          <a:prstGeom prst="rect">
            <a:avLst/>
          </a:prstGeom>
        </p:spPr>
        <p:txBody>
          <a:bodyPr vert="horz" wrap="square" lIns="0" tIns="12700" rIns="0" bIns="0" rtlCol="0">
            <a:spAutoFit/>
          </a:bodyPr>
          <a:lstStyle/>
          <a:p>
            <a:pPr marL="201295" marR="194945" algn="ctr">
              <a:lnSpc>
                <a:spcPct val="100000"/>
              </a:lnSpc>
              <a:spcBef>
                <a:spcPts val="100"/>
              </a:spcBef>
            </a:pPr>
            <a:r>
              <a:rPr sz="900" b="1" spc="-5">
                <a:latin typeface="Verdana"/>
                <a:cs typeface="Verdana"/>
              </a:rPr>
              <a:t>CUTOVER  </a:t>
            </a:r>
            <a:r>
              <a:rPr sz="900" b="1">
                <a:latin typeface="Verdana"/>
                <a:cs typeface="Verdana"/>
              </a:rPr>
              <a:t>PL</a:t>
            </a:r>
            <a:r>
              <a:rPr sz="900" b="1" spc="-5">
                <a:latin typeface="Verdana"/>
                <a:cs typeface="Verdana"/>
              </a:rPr>
              <a:t>A</a:t>
            </a:r>
            <a:r>
              <a:rPr sz="900" b="1">
                <a:latin typeface="Verdana"/>
                <a:cs typeface="Verdana"/>
              </a:rPr>
              <a:t>NNI</a:t>
            </a:r>
            <a:r>
              <a:rPr sz="900" b="1" spc="5">
                <a:latin typeface="Verdana"/>
                <a:cs typeface="Verdana"/>
              </a:rPr>
              <a:t>N</a:t>
            </a:r>
            <a:r>
              <a:rPr sz="900" b="1">
                <a:latin typeface="Verdana"/>
                <a:cs typeface="Verdana"/>
              </a:rPr>
              <a:t>G</a:t>
            </a:r>
            <a:endParaRPr sz="900">
              <a:latin typeface="Verdana"/>
              <a:cs typeface="Verdana"/>
            </a:endParaRPr>
          </a:p>
          <a:p>
            <a:pPr algn="ctr">
              <a:lnSpc>
                <a:spcPct val="100000"/>
              </a:lnSpc>
            </a:pPr>
            <a:r>
              <a:rPr sz="900" b="1" spc="-5">
                <a:latin typeface="Verdana"/>
                <a:cs typeface="Verdana"/>
              </a:rPr>
              <a:t>AND</a:t>
            </a:r>
            <a:r>
              <a:rPr sz="900" b="1" spc="-50">
                <a:latin typeface="Verdana"/>
                <a:cs typeface="Verdana"/>
              </a:rPr>
              <a:t> </a:t>
            </a:r>
            <a:r>
              <a:rPr sz="900" b="1" spc="-5">
                <a:latin typeface="Verdana"/>
                <a:cs typeface="Verdana"/>
              </a:rPr>
              <a:t>EXECUTION</a:t>
            </a:r>
            <a:endParaRPr sz="900">
              <a:latin typeface="Verdana"/>
              <a:cs typeface="Verdana"/>
            </a:endParaRPr>
          </a:p>
        </p:txBody>
      </p:sp>
      <p:sp>
        <p:nvSpPr>
          <p:cNvPr id="36" name="object 36"/>
          <p:cNvSpPr/>
          <p:nvPr/>
        </p:nvSpPr>
        <p:spPr>
          <a:xfrm>
            <a:off x="8734043" y="3204972"/>
            <a:ext cx="1840992" cy="1839467"/>
          </a:xfrm>
          <a:prstGeom prst="rect">
            <a:avLst/>
          </a:prstGeom>
          <a:blipFill>
            <a:blip r:embed="rId6" cstate="print"/>
            <a:stretch>
              <a:fillRect/>
            </a:stretch>
          </a:blipFill>
        </p:spPr>
        <p:txBody>
          <a:bodyPr wrap="square" lIns="0" tIns="0" rIns="0" bIns="0" rtlCol="0"/>
          <a:lstStyle/>
          <a:p>
            <a:endParaRPr/>
          </a:p>
        </p:txBody>
      </p:sp>
      <p:sp>
        <p:nvSpPr>
          <p:cNvPr id="37" name="object 37"/>
          <p:cNvSpPr/>
          <p:nvPr/>
        </p:nvSpPr>
        <p:spPr>
          <a:xfrm>
            <a:off x="8887968" y="3803903"/>
            <a:ext cx="1531620" cy="693419"/>
          </a:xfrm>
          <a:prstGeom prst="rect">
            <a:avLst/>
          </a:prstGeom>
          <a:blipFill>
            <a:blip r:embed="rId13" cstate="print"/>
            <a:stretch>
              <a:fillRect/>
            </a:stretch>
          </a:blipFill>
        </p:spPr>
        <p:txBody>
          <a:bodyPr wrap="square" lIns="0" tIns="0" rIns="0" bIns="0" rtlCol="0"/>
          <a:lstStyle/>
          <a:p>
            <a:endParaRPr/>
          </a:p>
        </p:txBody>
      </p:sp>
      <p:sp>
        <p:nvSpPr>
          <p:cNvPr id="38" name="object 38"/>
          <p:cNvSpPr/>
          <p:nvPr/>
        </p:nvSpPr>
        <p:spPr>
          <a:xfrm>
            <a:off x="8814816" y="3230879"/>
            <a:ext cx="1734820" cy="1732914"/>
          </a:xfrm>
          <a:custGeom>
            <a:avLst/>
            <a:gdLst/>
            <a:ahLst/>
            <a:cxnLst/>
            <a:rect l="l" t="t" r="r" b="b"/>
            <a:pathLst>
              <a:path w="1734820" h="1732914">
                <a:moveTo>
                  <a:pt x="867155" y="0"/>
                </a:moveTo>
                <a:lnTo>
                  <a:pt x="819577" y="1281"/>
                </a:lnTo>
                <a:lnTo>
                  <a:pt x="772669" y="5083"/>
                </a:lnTo>
                <a:lnTo>
                  <a:pt x="726498" y="11338"/>
                </a:lnTo>
                <a:lnTo>
                  <a:pt x="681130" y="19981"/>
                </a:lnTo>
                <a:lnTo>
                  <a:pt x="636631" y="30945"/>
                </a:lnTo>
                <a:lnTo>
                  <a:pt x="593067" y="44165"/>
                </a:lnTo>
                <a:lnTo>
                  <a:pt x="550504" y="59574"/>
                </a:lnTo>
                <a:lnTo>
                  <a:pt x="509009" y="77107"/>
                </a:lnTo>
                <a:lnTo>
                  <a:pt x="468647" y="96697"/>
                </a:lnTo>
                <a:lnTo>
                  <a:pt x="429485" y="118279"/>
                </a:lnTo>
                <a:lnTo>
                  <a:pt x="391589" y="141786"/>
                </a:lnTo>
                <a:lnTo>
                  <a:pt x="355024" y="167152"/>
                </a:lnTo>
                <a:lnTo>
                  <a:pt x="319858" y="194311"/>
                </a:lnTo>
                <a:lnTo>
                  <a:pt x="286156" y="223198"/>
                </a:lnTo>
                <a:lnTo>
                  <a:pt x="253984" y="253746"/>
                </a:lnTo>
                <a:lnTo>
                  <a:pt x="223408" y="285888"/>
                </a:lnTo>
                <a:lnTo>
                  <a:pt x="194495" y="319560"/>
                </a:lnTo>
                <a:lnTo>
                  <a:pt x="167310" y="354695"/>
                </a:lnTo>
                <a:lnTo>
                  <a:pt x="141921" y="391227"/>
                </a:lnTo>
                <a:lnTo>
                  <a:pt x="118392" y="429090"/>
                </a:lnTo>
                <a:lnTo>
                  <a:pt x="96790" y="468218"/>
                </a:lnTo>
                <a:lnTo>
                  <a:pt x="77181" y="508545"/>
                </a:lnTo>
                <a:lnTo>
                  <a:pt x="59632" y="550004"/>
                </a:lnTo>
                <a:lnTo>
                  <a:pt x="44208" y="592531"/>
                </a:lnTo>
                <a:lnTo>
                  <a:pt x="30975" y="636058"/>
                </a:lnTo>
                <a:lnTo>
                  <a:pt x="20000" y="680520"/>
                </a:lnTo>
                <a:lnTo>
                  <a:pt x="11349" y="725850"/>
                </a:lnTo>
                <a:lnTo>
                  <a:pt x="5088" y="771983"/>
                </a:lnTo>
                <a:lnTo>
                  <a:pt x="1283" y="818853"/>
                </a:lnTo>
                <a:lnTo>
                  <a:pt x="0" y="866394"/>
                </a:lnTo>
                <a:lnTo>
                  <a:pt x="1283" y="913934"/>
                </a:lnTo>
                <a:lnTo>
                  <a:pt x="5088" y="960804"/>
                </a:lnTo>
                <a:lnTo>
                  <a:pt x="11349" y="1006937"/>
                </a:lnTo>
                <a:lnTo>
                  <a:pt x="20000" y="1052267"/>
                </a:lnTo>
                <a:lnTo>
                  <a:pt x="30975" y="1096729"/>
                </a:lnTo>
                <a:lnTo>
                  <a:pt x="44208" y="1140256"/>
                </a:lnTo>
                <a:lnTo>
                  <a:pt x="59632" y="1182783"/>
                </a:lnTo>
                <a:lnTo>
                  <a:pt x="77181" y="1224242"/>
                </a:lnTo>
                <a:lnTo>
                  <a:pt x="96790" y="1264569"/>
                </a:lnTo>
                <a:lnTo>
                  <a:pt x="118392" y="1303697"/>
                </a:lnTo>
                <a:lnTo>
                  <a:pt x="141921" y="1341560"/>
                </a:lnTo>
                <a:lnTo>
                  <a:pt x="167310" y="1378092"/>
                </a:lnTo>
                <a:lnTo>
                  <a:pt x="194495" y="1413227"/>
                </a:lnTo>
                <a:lnTo>
                  <a:pt x="223408" y="1446899"/>
                </a:lnTo>
                <a:lnTo>
                  <a:pt x="253984" y="1479042"/>
                </a:lnTo>
                <a:lnTo>
                  <a:pt x="286156" y="1509589"/>
                </a:lnTo>
                <a:lnTo>
                  <a:pt x="319858" y="1538476"/>
                </a:lnTo>
                <a:lnTo>
                  <a:pt x="355024" y="1565635"/>
                </a:lnTo>
                <a:lnTo>
                  <a:pt x="391589" y="1591001"/>
                </a:lnTo>
                <a:lnTo>
                  <a:pt x="429485" y="1614508"/>
                </a:lnTo>
                <a:lnTo>
                  <a:pt x="468647" y="1636090"/>
                </a:lnTo>
                <a:lnTo>
                  <a:pt x="509009" y="1655680"/>
                </a:lnTo>
                <a:lnTo>
                  <a:pt x="550504" y="1673213"/>
                </a:lnTo>
                <a:lnTo>
                  <a:pt x="593067" y="1688622"/>
                </a:lnTo>
                <a:lnTo>
                  <a:pt x="636631" y="1701842"/>
                </a:lnTo>
                <a:lnTo>
                  <a:pt x="681130" y="1712806"/>
                </a:lnTo>
                <a:lnTo>
                  <a:pt x="726498" y="1721449"/>
                </a:lnTo>
                <a:lnTo>
                  <a:pt x="772669" y="1727704"/>
                </a:lnTo>
                <a:lnTo>
                  <a:pt x="819577" y="1731506"/>
                </a:lnTo>
                <a:lnTo>
                  <a:pt x="867155" y="1732788"/>
                </a:lnTo>
                <a:lnTo>
                  <a:pt x="914734" y="1731506"/>
                </a:lnTo>
                <a:lnTo>
                  <a:pt x="961642" y="1727704"/>
                </a:lnTo>
                <a:lnTo>
                  <a:pt x="1007813" y="1721449"/>
                </a:lnTo>
                <a:lnTo>
                  <a:pt x="1053181" y="1712806"/>
                </a:lnTo>
                <a:lnTo>
                  <a:pt x="1097680" y="1701842"/>
                </a:lnTo>
                <a:lnTo>
                  <a:pt x="1141244" y="1688622"/>
                </a:lnTo>
                <a:lnTo>
                  <a:pt x="1183807" y="1673213"/>
                </a:lnTo>
                <a:lnTo>
                  <a:pt x="1225302" y="1655680"/>
                </a:lnTo>
                <a:lnTo>
                  <a:pt x="1265664" y="1636090"/>
                </a:lnTo>
                <a:lnTo>
                  <a:pt x="1304826" y="1614508"/>
                </a:lnTo>
                <a:lnTo>
                  <a:pt x="1342722" y="1591001"/>
                </a:lnTo>
                <a:lnTo>
                  <a:pt x="1379287" y="1565635"/>
                </a:lnTo>
                <a:lnTo>
                  <a:pt x="1414453" y="1538476"/>
                </a:lnTo>
                <a:lnTo>
                  <a:pt x="1448155" y="1509589"/>
                </a:lnTo>
                <a:lnTo>
                  <a:pt x="1480327" y="1479042"/>
                </a:lnTo>
                <a:lnTo>
                  <a:pt x="1510903" y="1446899"/>
                </a:lnTo>
                <a:lnTo>
                  <a:pt x="1539816" y="1413227"/>
                </a:lnTo>
                <a:lnTo>
                  <a:pt x="1567001" y="1378092"/>
                </a:lnTo>
                <a:lnTo>
                  <a:pt x="1592390" y="1341560"/>
                </a:lnTo>
                <a:lnTo>
                  <a:pt x="1615919" y="1303697"/>
                </a:lnTo>
                <a:lnTo>
                  <a:pt x="1637521" y="1264569"/>
                </a:lnTo>
                <a:lnTo>
                  <a:pt x="1657130" y="1224242"/>
                </a:lnTo>
                <a:lnTo>
                  <a:pt x="1674679" y="1182783"/>
                </a:lnTo>
                <a:lnTo>
                  <a:pt x="1690103" y="1140256"/>
                </a:lnTo>
                <a:lnTo>
                  <a:pt x="1703336" y="1096729"/>
                </a:lnTo>
                <a:lnTo>
                  <a:pt x="1714311" y="1052267"/>
                </a:lnTo>
                <a:lnTo>
                  <a:pt x="1722962" y="1006937"/>
                </a:lnTo>
                <a:lnTo>
                  <a:pt x="1729223" y="960804"/>
                </a:lnTo>
                <a:lnTo>
                  <a:pt x="1733028" y="913934"/>
                </a:lnTo>
                <a:lnTo>
                  <a:pt x="1734311" y="866394"/>
                </a:lnTo>
                <a:lnTo>
                  <a:pt x="1733028" y="818853"/>
                </a:lnTo>
                <a:lnTo>
                  <a:pt x="1729223" y="771983"/>
                </a:lnTo>
                <a:lnTo>
                  <a:pt x="1722962" y="725850"/>
                </a:lnTo>
                <a:lnTo>
                  <a:pt x="1714311" y="680520"/>
                </a:lnTo>
                <a:lnTo>
                  <a:pt x="1703336" y="636058"/>
                </a:lnTo>
                <a:lnTo>
                  <a:pt x="1690103" y="592531"/>
                </a:lnTo>
                <a:lnTo>
                  <a:pt x="1674679" y="550004"/>
                </a:lnTo>
                <a:lnTo>
                  <a:pt x="1657130" y="508545"/>
                </a:lnTo>
                <a:lnTo>
                  <a:pt x="1637521" y="468218"/>
                </a:lnTo>
                <a:lnTo>
                  <a:pt x="1615919" y="429090"/>
                </a:lnTo>
                <a:lnTo>
                  <a:pt x="1592390" y="391227"/>
                </a:lnTo>
                <a:lnTo>
                  <a:pt x="1567001" y="354695"/>
                </a:lnTo>
                <a:lnTo>
                  <a:pt x="1539816" y="319560"/>
                </a:lnTo>
                <a:lnTo>
                  <a:pt x="1510903" y="285888"/>
                </a:lnTo>
                <a:lnTo>
                  <a:pt x="1480327" y="253746"/>
                </a:lnTo>
                <a:lnTo>
                  <a:pt x="1448155" y="223198"/>
                </a:lnTo>
                <a:lnTo>
                  <a:pt x="1414453" y="194311"/>
                </a:lnTo>
                <a:lnTo>
                  <a:pt x="1379287" y="167152"/>
                </a:lnTo>
                <a:lnTo>
                  <a:pt x="1342722" y="141786"/>
                </a:lnTo>
                <a:lnTo>
                  <a:pt x="1304826" y="118279"/>
                </a:lnTo>
                <a:lnTo>
                  <a:pt x="1265664" y="96697"/>
                </a:lnTo>
                <a:lnTo>
                  <a:pt x="1225302" y="77107"/>
                </a:lnTo>
                <a:lnTo>
                  <a:pt x="1183807" y="59574"/>
                </a:lnTo>
                <a:lnTo>
                  <a:pt x="1141244" y="44165"/>
                </a:lnTo>
                <a:lnTo>
                  <a:pt x="1097680" y="30945"/>
                </a:lnTo>
                <a:lnTo>
                  <a:pt x="1053181" y="19981"/>
                </a:lnTo>
                <a:lnTo>
                  <a:pt x="1007813" y="11338"/>
                </a:lnTo>
                <a:lnTo>
                  <a:pt x="961642" y="5083"/>
                </a:lnTo>
                <a:lnTo>
                  <a:pt x="914734" y="1281"/>
                </a:lnTo>
                <a:lnTo>
                  <a:pt x="867155" y="0"/>
                </a:lnTo>
                <a:close/>
              </a:path>
            </a:pathLst>
          </a:custGeom>
          <a:solidFill>
            <a:srgbClr val="FF2F4B"/>
          </a:solidFill>
        </p:spPr>
        <p:txBody>
          <a:bodyPr wrap="square" lIns="0" tIns="0" rIns="0" bIns="0" rtlCol="0"/>
          <a:lstStyle/>
          <a:p>
            <a:endParaRPr/>
          </a:p>
        </p:txBody>
      </p:sp>
      <p:sp>
        <p:nvSpPr>
          <p:cNvPr id="39" name="object 39"/>
          <p:cNvSpPr txBox="1"/>
          <p:nvPr/>
        </p:nvSpPr>
        <p:spPr>
          <a:xfrm>
            <a:off x="9063608" y="3870452"/>
            <a:ext cx="1237615" cy="452755"/>
          </a:xfrm>
          <a:prstGeom prst="rect">
            <a:avLst/>
          </a:prstGeom>
        </p:spPr>
        <p:txBody>
          <a:bodyPr vert="horz" wrap="square" lIns="0" tIns="12700" rIns="0" bIns="0" rtlCol="0">
            <a:spAutoFit/>
          </a:bodyPr>
          <a:lstStyle/>
          <a:p>
            <a:pPr marL="12700" marR="5080" indent="332105">
              <a:lnSpc>
                <a:spcPct val="100000"/>
              </a:lnSpc>
              <a:spcBef>
                <a:spcPts val="100"/>
              </a:spcBef>
            </a:pPr>
            <a:r>
              <a:rPr sz="1400" b="1" spc="-5">
                <a:solidFill>
                  <a:srgbClr val="FFFFFF"/>
                </a:solidFill>
                <a:latin typeface="Verdana"/>
                <a:cs typeface="Verdana"/>
              </a:rPr>
              <a:t>DATA  </a:t>
            </a:r>
            <a:r>
              <a:rPr sz="1400" b="1">
                <a:solidFill>
                  <a:srgbClr val="FFFFFF"/>
                </a:solidFill>
                <a:latin typeface="Verdana"/>
                <a:cs typeface="Verdana"/>
              </a:rPr>
              <a:t>MIG</a:t>
            </a:r>
            <a:r>
              <a:rPr sz="1400" b="1" spc="5">
                <a:solidFill>
                  <a:srgbClr val="FFFFFF"/>
                </a:solidFill>
                <a:latin typeface="Verdana"/>
                <a:cs typeface="Verdana"/>
              </a:rPr>
              <a:t>R</a:t>
            </a:r>
            <a:r>
              <a:rPr sz="1400" b="1" spc="-5">
                <a:solidFill>
                  <a:srgbClr val="FFFFFF"/>
                </a:solidFill>
                <a:latin typeface="Verdana"/>
                <a:cs typeface="Verdana"/>
              </a:rPr>
              <a:t>A</a:t>
            </a:r>
            <a:r>
              <a:rPr sz="1400" b="1">
                <a:solidFill>
                  <a:srgbClr val="FFFFFF"/>
                </a:solidFill>
                <a:latin typeface="Verdana"/>
                <a:cs typeface="Verdana"/>
              </a:rPr>
              <a:t>TION</a:t>
            </a:r>
            <a:endParaRPr sz="1400">
              <a:latin typeface="Verdana"/>
              <a:cs typeface="Verdana"/>
            </a:endParaRPr>
          </a:p>
        </p:txBody>
      </p:sp>
      <p:sp>
        <p:nvSpPr>
          <p:cNvPr id="40" name="object 4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1" name="object 41"/>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6</a:t>
            </a:fld>
            <a:endParaRPr sz="800">
              <a:latin typeface="Verdana"/>
              <a:cs typeface="Verdana"/>
            </a:endParaRP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4674235" cy="422275"/>
          </a:xfrm>
          <a:prstGeom prst="rect">
            <a:avLst/>
          </a:prstGeom>
        </p:spPr>
        <p:txBody>
          <a:bodyPr vert="horz" wrap="square" lIns="0" tIns="12700" rIns="0" bIns="0" rtlCol="0">
            <a:spAutoFit/>
          </a:bodyPr>
          <a:lstStyle/>
          <a:p>
            <a:pPr marL="12700">
              <a:lnSpc>
                <a:spcPct val="100000"/>
              </a:lnSpc>
              <a:spcBef>
                <a:spcPts val="100"/>
              </a:spcBef>
            </a:pPr>
            <a:r>
              <a:rPr sz="2600" spc="-5"/>
              <a:t>Data Migration </a:t>
            </a:r>
            <a:r>
              <a:rPr sz="2600"/>
              <a:t>– Main</a:t>
            </a:r>
            <a:r>
              <a:rPr sz="2600" spc="-90"/>
              <a:t> </a:t>
            </a:r>
            <a:r>
              <a:rPr sz="2600"/>
              <a:t>steps</a:t>
            </a:r>
          </a:p>
        </p:txBody>
      </p:sp>
      <p:sp>
        <p:nvSpPr>
          <p:cNvPr id="3" name="object 3"/>
          <p:cNvSpPr/>
          <p:nvPr/>
        </p:nvSpPr>
        <p:spPr>
          <a:xfrm>
            <a:off x="9226295" y="396240"/>
            <a:ext cx="337185" cy="213360"/>
          </a:xfrm>
          <a:custGeom>
            <a:avLst/>
            <a:gdLst/>
            <a:ahLst/>
            <a:cxnLst/>
            <a:rect l="l" t="t" r="r" b="b"/>
            <a:pathLst>
              <a:path w="337184" h="213359">
                <a:moveTo>
                  <a:pt x="0" y="213360"/>
                </a:moveTo>
                <a:lnTo>
                  <a:pt x="336803" y="213360"/>
                </a:lnTo>
                <a:lnTo>
                  <a:pt x="336803" y="0"/>
                </a:lnTo>
                <a:lnTo>
                  <a:pt x="0" y="0"/>
                </a:lnTo>
                <a:lnTo>
                  <a:pt x="0" y="213360"/>
                </a:lnTo>
                <a:close/>
              </a:path>
            </a:pathLst>
          </a:custGeom>
          <a:solidFill>
            <a:srgbClr val="006FAC"/>
          </a:solidFill>
        </p:spPr>
        <p:txBody>
          <a:bodyPr wrap="square" lIns="0" tIns="0" rIns="0" bIns="0" rtlCol="0"/>
          <a:lstStyle/>
          <a:p>
            <a:endParaRPr/>
          </a:p>
        </p:txBody>
      </p:sp>
      <p:sp>
        <p:nvSpPr>
          <p:cNvPr id="4" name="object 4"/>
          <p:cNvSpPr/>
          <p:nvPr/>
        </p:nvSpPr>
        <p:spPr>
          <a:xfrm>
            <a:off x="8068056" y="396240"/>
            <a:ext cx="337185" cy="213360"/>
          </a:xfrm>
          <a:custGeom>
            <a:avLst/>
            <a:gdLst/>
            <a:ahLst/>
            <a:cxnLst/>
            <a:rect l="l" t="t" r="r" b="b"/>
            <a:pathLst>
              <a:path w="337184" h="213359">
                <a:moveTo>
                  <a:pt x="0" y="213360"/>
                </a:moveTo>
                <a:lnTo>
                  <a:pt x="336803" y="213360"/>
                </a:lnTo>
                <a:lnTo>
                  <a:pt x="336803" y="0"/>
                </a:lnTo>
                <a:lnTo>
                  <a:pt x="0" y="0"/>
                </a:lnTo>
                <a:lnTo>
                  <a:pt x="0" y="213360"/>
                </a:lnTo>
                <a:close/>
              </a:path>
            </a:pathLst>
          </a:custGeom>
          <a:solidFill>
            <a:srgbClr val="FF2F4B"/>
          </a:solidFill>
        </p:spPr>
        <p:txBody>
          <a:bodyPr wrap="square" lIns="0" tIns="0" rIns="0" bIns="0" rtlCol="0"/>
          <a:lstStyle/>
          <a:p>
            <a:endParaRPr/>
          </a:p>
        </p:txBody>
      </p:sp>
      <p:sp>
        <p:nvSpPr>
          <p:cNvPr id="5" name="object 5"/>
          <p:cNvSpPr txBox="1"/>
          <p:nvPr/>
        </p:nvSpPr>
        <p:spPr>
          <a:xfrm>
            <a:off x="9662541" y="413130"/>
            <a:ext cx="698500"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Capgemini</a:t>
            </a:r>
            <a:endParaRPr sz="1000">
              <a:latin typeface="Verdana"/>
              <a:cs typeface="Verdana"/>
            </a:endParaRPr>
          </a:p>
        </p:txBody>
      </p:sp>
      <p:sp>
        <p:nvSpPr>
          <p:cNvPr id="6" name="object 6"/>
          <p:cNvSpPr txBox="1"/>
          <p:nvPr/>
        </p:nvSpPr>
        <p:spPr>
          <a:xfrm>
            <a:off x="8491855" y="413130"/>
            <a:ext cx="44386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Marelli</a:t>
            </a:r>
            <a:endParaRPr sz="1000">
              <a:latin typeface="Verdana"/>
              <a:cs typeface="Verdana"/>
            </a:endParaRPr>
          </a:p>
        </p:txBody>
      </p:sp>
      <p:sp>
        <p:nvSpPr>
          <p:cNvPr id="69" name="object 6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0" name="object 70"/>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7</a:t>
            </a:fld>
            <a:endParaRPr sz="800">
              <a:latin typeface="Verdana"/>
              <a:cs typeface="Verdana"/>
            </a:endParaRPr>
          </a:p>
        </p:txBody>
      </p:sp>
      <p:sp>
        <p:nvSpPr>
          <p:cNvPr id="71" name="Rectangle 70">
            <a:extLst>
              <a:ext uri="{FF2B5EF4-FFF2-40B4-BE49-F238E27FC236}">
                <a16:creationId xmlns:a16="http://schemas.microsoft.com/office/drawing/2014/main" id="{EF7431D9-11EC-4AA3-9554-3E6A2BC9FA73}"/>
              </a:ext>
            </a:extLst>
          </p:cNvPr>
          <p:cNvSpPr/>
          <p:nvPr/>
        </p:nvSpPr>
        <p:spPr bwMode="auto">
          <a:xfrm>
            <a:off x="1745163" y="4403179"/>
            <a:ext cx="450468" cy="1644815"/>
          </a:xfrm>
          <a:prstGeom prst="rect">
            <a:avLst/>
          </a:prstGeom>
          <a:solidFill>
            <a:sysClr val="window" lastClr="FFFFFF"/>
          </a:solidFill>
          <a:ln w="25400" cap="flat" cmpd="sng" algn="ctr">
            <a:noFill/>
            <a:prstDash val="solid"/>
          </a:ln>
          <a:effectLst/>
        </p:spPr>
        <p:txBody>
          <a:bodyPr anchor="ctr"/>
          <a:lstStyle/>
          <a:p>
            <a:pPr algn="ctr" defTabSz="957756">
              <a:defRPr/>
            </a:pPr>
            <a:endParaRPr lang="fr-FR" sz="2400" kern="0">
              <a:solidFill>
                <a:srgbClr val="00264A"/>
              </a:solidFill>
              <a:latin typeface="Arial" pitchFamily="34" charset="0"/>
              <a:cs typeface="Arial" pitchFamily="34" charset="0"/>
            </a:endParaRPr>
          </a:p>
        </p:txBody>
      </p:sp>
      <p:sp>
        <p:nvSpPr>
          <p:cNvPr id="72" name="Flowchart: Magnetic Disk 71">
            <a:extLst>
              <a:ext uri="{FF2B5EF4-FFF2-40B4-BE49-F238E27FC236}">
                <a16:creationId xmlns:a16="http://schemas.microsoft.com/office/drawing/2014/main" id="{A890FA20-967F-4290-B22B-B9BB76EE05D6}"/>
              </a:ext>
            </a:extLst>
          </p:cNvPr>
          <p:cNvSpPr/>
          <p:nvPr/>
        </p:nvSpPr>
        <p:spPr bwMode="auto">
          <a:xfrm>
            <a:off x="1413228" y="2854193"/>
            <a:ext cx="1157787" cy="923755"/>
          </a:xfrm>
          <a:prstGeom prst="flowChartMagneticDisk">
            <a:avLst/>
          </a:prstGeom>
          <a:solidFill>
            <a:srgbClr val="FF304C"/>
          </a:solidFill>
          <a:ln w="9525" cap="flat" cmpd="sng" algn="ctr">
            <a:solidFill>
              <a:sysClr val="window" lastClr="FFFFFF">
                <a:lumMod val="85000"/>
              </a:sysClr>
            </a:solidFill>
            <a:prstDash val="solid"/>
            <a:headEnd type="none" w="med" len="med"/>
            <a:tailEnd type="none" w="med" len="med"/>
          </a:ln>
          <a:effectLst/>
        </p:spPr>
        <p:txBody>
          <a:bodyPr wrap="none" anchor="ctr"/>
          <a:lstStyle/>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External </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System</a:t>
            </a:r>
          </a:p>
        </p:txBody>
      </p:sp>
      <p:cxnSp>
        <p:nvCxnSpPr>
          <p:cNvPr id="73" name="Shape 11">
            <a:extLst>
              <a:ext uri="{FF2B5EF4-FFF2-40B4-BE49-F238E27FC236}">
                <a16:creationId xmlns:a16="http://schemas.microsoft.com/office/drawing/2014/main" id="{76368E39-F917-490A-BE2F-4777CD0915C8}"/>
              </a:ext>
            </a:extLst>
          </p:cNvPr>
          <p:cNvCxnSpPr>
            <a:cxnSpLocks noChangeShapeType="1"/>
            <a:stCxn id="72" idx="2"/>
          </p:cNvCxnSpPr>
          <p:nvPr/>
        </p:nvCxnSpPr>
        <p:spPr bwMode="auto">
          <a:xfrm rot="10800000">
            <a:off x="1081992" y="2539197"/>
            <a:ext cx="331237" cy="776875"/>
          </a:xfrm>
          <a:prstGeom prst="bentConnector2">
            <a:avLst/>
          </a:prstGeom>
          <a:noFill/>
          <a:ln w="19050" algn="ctr">
            <a:solidFill>
              <a:srgbClr val="2B143D"/>
            </a:solidFill>
            <a:round/>
            <a:headEnd/>
            <a:tailEnd type="triangle" w="med" len="med"/>
          </a:ln>
        </p:spPr>
      </p:cxnSp>
      <p:cxnSp>
        <p:nvCxnSpPr>
          <p:cNvPr id="74" name="Shape 12">
            <a:extLst>
              <a:ext uri="{FF2B5EF4-FFF2-40B4-BE49-F238E27FC236}">
                <a16:creationId xmlns:a16="http://schemas.microsoft.com/office/drawing/2014/main" id="{320A78F0-16FF-4D00-BD73-EB88B94290D8}"/>
              </a:ext>
            </a:extLst>
          </p:cNvPr>
          <p:cNvCxnSpPr>
            <a:cxnSpLocks noChangeShapeType="1"/>
            <a:endCxn id="82" idx="1"/>
          </p:cNvCxnSpPr>
          <p:nvPr/>
        </p:nvCxnSpPr>
        <p:spPr bwMode="auto">
          <a:xfrm>
            <a:off x="1725206" y="2137486"/>
            <a:ext cx="2100118" cy="1340507"/>
          </a:xfrm>
          <a:prstGeom prst="bentConnector3">
            <a:avLst>
              <a:gd name="adj1" fmla="val 50000"/>
            </a:avLst>
          </a:prstGeom>
          <a:noFill/>
          <a:ln w="19050" algn="ctr">
            <a:solidFill>
              <a:srgbClr val="2B143D"/>
            </a:solidFill>
            <a:round/>
            <a:headEnd/>
            <a:tailEnd type="triangle" w="med" len="med"/>
          </a:ln>
        </p:spPr>
      </p:cxnSp>
      <p:cxnSp>
        <p:nvCxnSpPr>
          <p:cNvPr id="75" name="Shape 15">
            <a:extLst>
              <a:ext uri="{FF2B5EF4-FFF2-40B4-BE49-F238E27FC236}">
                <a16:creationId xmlns:a16="http://schemas.microsoft.com/office/drawing/2014/main" id="{DBA8CBCC-6087-4790-BD4F-70EC82DD80D9}"/>
              </a:ext>
            </a:extLst>
          </p:cNvPr>
          <p:cNvCxnSpPr>
            <a:cxnSpLocks noChangeShapeType="1"/>
          </p:cNvCxnSpPr>
          <p:nvPr/>
        </p:nvCxnSpPr>
        <p:spPr bwMode="auto">
          <a:xfrm>
            <a:off x="6729291" y="2137485"/>
            <a:ext cx="534490" cy="897211"/>
          </a:xfrm>
          <a:prstGeom prst="bentConnector2">
            <a:avLst/>
          </a:prstGeom>
          <a:noFill/>
          <a:ln w="19050" algn="ctr">
            <a:solidFill>
              <a:srgbClr val="2B143D"/>
            </a:solidFill>
            <a:round/>
            <a:headEnd/>
            <a:tailEnd type="triangle" w="med" len="med"/>
          </a:ln>
        </p:spPr>
      </p:cxnSp>
      <p:cxnSp>
        <p:nvCxnSpPr>
          <p:cNvPr id="76" name="Shape 16">
            <a:extLst>
              <a:ext uri="{FF2B5EF4-FFF2-40B4-BE49-F238E27FC236}">
                <a16:creationId xmlns:a16="http://schemas.microsoft.com/office/drawing/2014/main" id="{F3DFFB6F-B57F-49AD-8CC1-00345BA941F3}"/>
              </a:ext>
            </a:extLst>
          </p:cNvPr>
          <p:cNvCxnSpPr>
            <a:cxnSpLocks noChangeShapeType="1"/>
            <a:stCxn id="80" idx="3"/>
          </p:cNvCxnSpPr>
          <p:nvPr/>
        </p:nvCxnSpPr>
        <p:spPr bwMode="auto">
          <a:xfrm flipV="1">
            <a:off x="7887003" y="2539194"/>
            <a:ext cx="828545" cy="891017"/>
          </a:xfrm>
          <a:prstGeom prst="bentConnector2">
            <a:avLst/>
          </a:prstGeom>
          <a:noFill/>
          <a:ln w="19050" algn="ctr">
            <a:solidFill>
              <a:srgbClr val="2B143D"/>
            </a:solidFill>
            <a:round/>
            <a:headEnd/>
            <a:tailEnd type="triangle" w="med" len="med"/>
          </a:ln>
        </p:spPr>
      </p:cxnSp>
      <p:cxnSp>
        <p:nvCxnSpPr>
          <p:cNvPr id="77" name="Shape 17">
            <a:extLst>
              <a:ext uri="{FF2B5EF4-FFF2-40B4-BE49-F238E27FC236}">
                <a16:creationId xmlns:a16="http://schemas.microsoft.com/office/drawing/2014/main" id="{412A638D-0F00-4124-A8AD-D1B0D5245478}"/>
              </a:ext>
            </a:extLst>
          </p:cNvPr>
          <p:cNvCxnSpPr>
            <a:cxnSpLocks noChangeShapeType="1"/>
            <a:stCxn id="86" idx="3"/>
            <a:endCxn id="79" idx="1"/>
          </p:cNvCxnSpPr>
          <p:nvPr/>
        </p:nvCxnSpPr>
        <p:spPr bwMode="auto">
          <a:xfrm>
            <a:off x="9104071" y="2136623"/>
            <a:ext cx="920529" cy="737036"/>
          </a:xfrm>
          <a:prstGeom prst="bentConnector2">
            <a:avLst/>
          </a:prstGeom>
          <a:noFill/>
          <a:ln w="19050" algn="ctr">
            <a:solidFill>
              <a:srgbClr val="2B143D"/>
            </a:solidFill>
            <a:round/>
            <a:headEnd/>
            <a:tailEnd type="triangle" w="med" len="med"/>
          </a:ln>
        </p:spPr>
      </p:cxnSp>
      <p:cxnSp>
        <p:nvCxnSpPr>
          <p:cNvPr id="78" name="Shape 22">
            <a:extLst>
              <a:ext uri="{FF2B5EF4-FFF2-40B4-BE49-F238E27FC236}">
                <a16:creationId xmlns:a16="http://schemas.microsoft.com/office/drawing/2014/main" id="{72756CEB-D30E-4530-A49B-BF5D9704F91A}"/>
              </a:ext>
            </a:extLst>
          </p:cNvPr>
          <p:cNvCxnSpPr>
            <a:cxnSpLocks noChangeShapeType="1"/>
            <a:stCxn id="79" idx="4"/>
          </p:cNvCxnSpPr>
          <p:nvPr/>
        </p:nvCxnSpPr>
        <p:spPr bwMode="auto">
          <a:xfrm flipV="1">
            <a:off x="10603493" y="2517064"/>
            <a:ext cx="341636" cy="818472"/>
          </a:xfrm>
          <a:prstGeom prst="bentConnector2">
            <a:avLst/>
          </a:prstGeom>
          <a:noFill/>
          <a:ln w="19050" algn="ctr">
            <a:solidFill>
              <a:srgbClr val="2B143D"/>
            </a:solidFill>
            <a:round/>
            <a:headEnd/>
            <a:tailEnd type="triangle" w="med" len="med"/>
          </a:ln>
        </p:spPr>
      </p:cxnSp>
      <p:sp>
        <p:nvSpPr>
          <p:cNvPr id="79" name="Flowchart: Magnetic Disk 78">
            <a:extLst>
              <a:ext uri="{FF2B5EF4-FFF2-40B4-BE49-F238E27FC236}">
                <a16:creationId xmlns:a16="http://schemas.microsoft.com/office/drawing/2014/main" id="{927816FA-CAC1-4B0D-ADAD-90E070FFD388}"/>
              </a:ext>
            </a:extLst>
          </p:cNvPr>
          <p:cNvSpPr/>
          <p:nvPr/>
        </p:nvSpPr>
        <p:spPr bwMode="auto">
          <a:xfrm>
            <a:off x="9445707" y="2873659"/>
            <a:ext cx="1157787" cy="923755"/>
          </a:xfrm>
          <a:prstGeom prst="flowChartMagneticDisk">
            <a:avLst/>
          </a:prstGeom>
          <a:solidFill>
            <a:srgbClr val="0070AD"/>
          </a:solidFill>
          <a:ln w="9525" cap="flat" cmpd="sng" algn="ctr">
            <a:solidFill>
              <a:sysClr val="window" lastClr="FFFFFF">
                <a:lumMod val="95000"/>
              </a:sysClr>
            </a:solidFill>
            <a:prstDash val="solid"/>
            <a:headEnd type="none" w="med" len="med"/>
            <a:tailEnd type="none" w="med" len="med"/>
          </a:ln>
          <a:effectLst/>
        </p:spPr>
        <p:txBody>
          <a:bodyPr wrap="none" anchor="ctr"/>
          <a:lstStyle/>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Target System</a:t>
            </a:r>
          </a:p>
        </p:txBody>
      </p:sp>
      <p:sp>
        <p:nvSpPr>
          <p:cNvPr id="80" name="Flowchart: Document 79">
            <a:extLst>
              <a:ext uri="{FF2B5EF4-FFF2-40B4-BE49-F238E27FC236}">
                <a16:creationId xmlns:a16="http://schemas.microsoft.com/office/drawing/2014/main" id="{5573EE78-B65E-4602-A70A-07031A9F5FAF}"/>
              </a:ext>
            </a:extLst>
          </p:cNvPr>
          <p:cNvSpPr/>
          <p:nvPr/>
        </p:nvSpPr>
        <p:spPr bwMode="auto">
          <a:xfrm>
            <a:off x="6825698" y="3034696"/>
            <a:ext cx="1061305" cy="791032"/>
          </a:xfrm>
          <a:prstGeom prst="flowChartDocument">
            <a:avLst/>
          </a:prstGeom>
          <a:solidFill>
            <a:srgbClr val="0070AD"/>
          </a:solidFill>
          <a:ln w="9525" cap="flat" cmpd="sng" algn="ctr">
            <a:solidFill>
              <a:sysClr val="window" lastClr="FFFFFF">
                <a:lumMod val="95000"/>
              </a:sysClr>
            </a:solidFill>
            <a:prstDash val="solid"/>
            <a:headEnd type="none" w="med" len="med"/>
            <a:tailEnd type="none" w="med" len="med"/>
          </a:ln>
          <a:effectLst/>
        </p:spPr>
        <p:txBody>
          <a:bodyPr wrap="none" anchor="ctr"/>
          <a:lstStyle/>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Data</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Load</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Sheet</a:t>
            </a:r>
            <a:endParaRPr kumimoji="0" lang="en-US" sz="1000" b="1" i="0" u="none" strike="noStrike" kern="0" cap="none" spc="0" normalizeH="0" baseline="0" noProof="0">
              <a:ln>
                <a:noFill/>
              </a:ln>
              <a:solidFill>
                <a:prstClr val="white"/>
              </a:solidFill>
              <a:effectLst/>
              <a:uLnTx/>
              <a:uFillTx/>
              <a:latin typeface="Verdana"/>
              <a:cs typeface="Arial" pitchFamily="34" charset="0"/>
            </a:endParaRPr>
          </a:p>
        </p:txBody>
      </p:sp>
      <p:cxnSp>
        <p:nvCxnSpPr>
          <p:cNvPr id="81" name="Straight Arrow Connector 33">
            <a:extLst>
              <a:ext uri="{FF2B5EF4-FFF2-40B4-BE49-F238E27FC236}">
                <a16:creationId xmlns:a16="http://schemas.microsoft.com/office/drawing/2014/main" id="{D472BE9D-8A86-464C-A1BE-E125CFA1E0FE}"/>
              </a:ext>
            </a:extLst>
          </p:cNvPr>
          <p:cNvCxnSpPr>
            <a:cxnSpLocks noChangeShapeType="1"/>
          </p:cNvCxnSpPr>
          <p:nvPr/>
        </p:nvCxnSpPr>
        <p:spPr bwMode="auto">
          <a:xfrm>
            <a:off x="4357681" y="2137485"/>
            <a:ext cx="1177751" cy="0"/>
          </a:xfrm>
          <a:prstGeom prst="straightConnector1">
            <a:avLst/>
          </a:prstGeom>
          <a:noFill/>
          <a:ln w="19050" algn="ctr">
            <a:solidFill>
              <a:srgbClr val="FFFFFF">
                <a:lumMod val="50000"/>
              </a:srgbClr>
            </a:solidFill>
            <a:round/>
            <a:headEnd/>
            <a:tailEnd type="triangle" w="med" len="med"/>
          </a:ln>
        </p:spPr>
      </p:cxnSp>
      <p:sp>
        <p:nvSpPr>
          <p:cNvPr id="82" name="Flowchart: Document 81">
            <a:extLst>
              <a:ext uri="{FF2B5EF4-FFF2-40B4-BE49-F238E27FC236}">
                <a16:creationId xmlns:a16="http://schemas.microsoft.com/office/drawing/2014/main" id="{7BB67319-6DD5-46F4-9F18-250408E5E4C4}"/>
              </a:ext>
            </a:extLst>
          </p:cNvPr>
          <p:cNvSpPr/>
          <p:nvPr/>
        </p:nvSpPr>
        <p:spPr bwMode="auto">
          <a:xfrm>
            <a:off x="3825324" y="3082476"/>
            <a:ext cx="1061305" cy="791033"/>
          </a:xfrm>
          <a:prstGeom prst="flowChartDocument">
            <a:avLst/>
          </a:prstGeom>
          <a:solidFill>
            <a:srgbClr val="0070AD"/>
          </a:solidFill>
          <a:ln w="9525" cap="flat" cmpd="sng" algn="ctr">
            <a:solidFill>
              <a:sysClr val="window" lastClr="FFFFFF">
                <a:lumMod val="85000"/>
              </a:sysClr>
            </a:solidFill>
            <a:prstDash val="solid"/>
            <a:headEnd type="none" w="med" len="med"/>
            <a:tailEnd type="none" w="med" len="med"/>
          </a:ln>
          <a:effectLst/>
        </p:spPr>
        <p:txBody>
          <a:bodyPr wrap="none" anchor="ctr"/>
          <a:lstStyle/>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Data</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 Extraction</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 Template</a:t>
            </a:r>
          </a:p>
        </p:txBody>
      </p:sp>
      <p:cxnSp>
        <p:nvCxnSpPr>
          <p:cNvPr id="83" name="Shape 12">
            <a:extLst>
              <a:ext uri="{FF2B5EF4-FFF2-40B4-BE49-F238E27FC236}">
                <a16:creationId xmlns:a16="http://schemas.microsoft.com/office/drawing/2014/main" id="{14521B6F-8E85-45BD-A420-87CC7FFD5B24}"/>
              </a:ext>
            </a:extLst>
          </p:cNvPr>
          <p:cNvCxnSpPr>
            <a:cxnSpLocks noChangeShapeType="1"/>
            <a:stCxn id="82" idx="0"/>
          </p:cNvCxnSpPr>
          <p:nvPr/>
        </p:nvCxnSpPr>
        <p:spPr bwMode="auto">
          <a:xfrm rot="16200000" flipV="1">
            <a:off x="3763581" y="2490080"/>
            <a:ext cx="543281" cy="641511"/>
          </a:xfrm>
          <a:prstGeom prst="bentConnector3">
            <a:avLst>
              <a:gd name="adj1" fmla="val 50000"/>
            </a:avLst>
          </a:prstGeom>
          <a:noFill/>
          <a:ln w="19050" algn="ctr">
            <a:solidFill>
              <a:srgbClr val="2B143D"/>
            </a:solidFill>
            <a:round/>
            <a:headEnd/>
            <a:tailEnd type="triangle" w="med" len="med"/>
          </a:ln>
        </p:spPr>
      </p:cxnSp>
      <p:sp>
        <p:nvSpPr>
          <p:cNvPr id="84" name="Flowchart: Magnetic Disk 83">
            <a:extLst>
              <a:ext uri="{FF2B5EF4-FFF2-40B4-BE49-F238E27FC236}">
                <a16:creationId xmlns:a16="http://schemas.microsoft.com/office/drawing/2014/main" id="{9D916A3C-E551-4866-95FD-D42FC9614206}"/>
              </a:ext>
            </a:extLst>
          </p:cNvPr>
          <p:cNvSpPr/>
          <p:nvPr/>
        </p:nvSpPr>
        <p:spPr bwMode="auto">
          <a:xfrm>
            <a:off x="9593819" y="3018790"/>
            <a:ext cx="1157787" cy="923755"/>
          </a:xfrm>
          <a:prstGeom prst="flowChartMagneticDisk">
            <a:avLst/>
          </a:prstGeom>
          <a:solidFill>
            <a:srgbClr val="0070AD"/>
          </a:solidFill>
          <a:ln w="9525" cap="flat" cmpd="sng" algn="ctr">
            <a:solidFill>
              <a:sysClr val="window" lastClr="FFFFFF">
                <a:lumMod val="95000"/>
              </a:sysClr>
            </a:solidFill>
            <a:prstDash val="solid"/>
            <a:headEnd type="none" w="med" len="med"/>
            <a:tailEnd type="none" w="med" len="med"/>
          </a:ln>
          <a:effectLst/>
        </p:spPr>
        <p:txBody>
          <a:bodyPr wrap="none" anchor="ctr"/>
          <a:lstStyle/>
          <a:p>
            <a:pPr marL="0" marR="0" lvl="0" indent="0" algn="ctr" defTabSz="914103"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cs typeface="Arial" pitchFamily="34" charset="0"/>
              </a:rPr>
              <a:t>Target System</a:t>
            </a:r>
          </a:p>
        </p:txBody>
      </p:sp>
      <p:sp>
        <p:nvSpPr>
          <p:cNvPr id="85" name="Rectangle : coins arrondis 4">
            <a:extLst>
              <a:ext uri="{FF2B5EF4-FFF2-40B4-BE49-F238E27FC236}">
                <a16:creationId xmlns:a16="http://schemas.microsoft.com/office/drawing/2014/main" id="{693E2FC7-D9A4-4552-8395-1C831E3E6CAA}"/>
              </a:ext>
            </a:extLst>
          </p:cNvPr>
          <p:cNvSpPr/>
          <p:nvPr/>
        </p:nvSpPr>
        <p:spPr>
          <a:xfrm>
            <a:off x="671208" y="1727391"/>
            <a:ext cx="1306386" cy="818462"/>
          </a:xfrm>
          <a:prstGeom prst="roundRect">
            <a:avLst>
              <a:gd name="adj" fmla="val 5307"/>
            </a:avLst>
          </a:prstGeom>
          <a:solidFill>
            <a:srgbClr val="FF304C"/>
          </a:solidFill>
          <a:ln w="12700" cap="flat" cmpd="sng" algn="ctr">
            <a:noFill/>
            <a:prstDash val="solid"/>
            <a:miter lim="800000"/>
          </a:ln>
          <a:effectLst/>
        </p:spPr>
        <p:txBody>
          <a:bodyPr rtlCol="0" anchor="ctr"/>
          <a:lstStyle/>
          <a:p>
            <a:pPr marL="228600" marR="0" lvl="0" indent="-228600" algn="ctr" defTabSz="914400" eaLnBrk="1" fontAlgn="auto" latinLnBrk="0" hangingPunct="1">
              <a:lnSpc>
                <a:spcPct val="100000"/>
              </a:lnSpc>
              <a:spcBef>
                <a:spcPts val="0"/>
              </a:spcBef>
              <a:spcAft>
                <a:spcPts val="0"/>
              </a:spcAft>
              <a:buClrTx/>
              <a:buSzTx/>
              <a:buFont typeface="+mj-lt"/>
              <a:buAutoNum type="arabicPeriod"/>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Extraction</a:t>
            </a:r>
          </a:p>
        </p:txBody>
      </p:sp>
      <p:sp>
        <p:nvSpPr>
          <p:cNvPr id="86" name="Rectangle : coins arrondis 39">
            <a:extLst>
              <a:ext uri="{FF2B5EF4-FFF2-40B4-BE49-F238E27FC236}">
                <a16:creationId xmlns:a16="http://schemas.microsoft.com/office/drawing/2014/main" id="{FE95C0E0-304B-42BB-83C8-7D183E8C0704}"/>
              </a:ext>
            </a:extLst>
          </p:cNvPr>
          <p:cNvSpPr/>
          <p:nvPr/>
        </p:nvSpPr>
        <p:spPr>
          <a:xfrm>
            <a:off x="7797685" y="1727391"/>
            <a:ext cx="1306386" cy="818462"/>
          </a:xfrm>
          <a:prstGeom prst="roundRect">
            <a:avLst>
              <a:gd name="adj" fmla="val 5307"/>
            </a:avLst>
          </a:prstGeom>
          <a:solidFill>
            <a:srgbClr val="0070AD"/>
          </a:solidFill>
          <a:ln w="12700" cap="flat" cmpd="sng" algn="ctr">
            <a:noFill/>
            <a:prstDash val="solid"/>
            <a:miter lim="800000"/>
          </a:ln>
          <a:effectLst/>
        </p:spPr>
        <p:txBody>
          <a:bodyPr rtlCol="0" anchor="ctr"/>
          <a:lstStyle/>
          <a:p>
            <a:pPr marL="228600" marR="0" lvl="0" indent="-228600" algn="ctr" defTabSz="914400" eaLnBrk="1" fontAlgn="auto" latinLnBrk="0" hangingPunct="1">
              <a:lnSpc>
                <a:spcPct val="100000"/>
              </a:lnSpc>
              <a:spcBef>
                <a:spcPts val="0"/>
              </a:spcBef>
              <a:spcAft>
                <a:spcPts val="0"/>
              </a:spcAft>
              <a:buClrTx/>
              <a:buSzTx/>
              <a:buFont typeface="+mj-lt"/>
              <a:buAutoNum type="arabicPeriod" startAt="4"/>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Load</a:t>
            </a:r>
          </a:p>
        </p:txBody>
      </p:sp>
      <p:sp>
        <p:nvSpPr>
          <p:cNvPr id="87" name="Rectangle : coins arrondis 40">
            <a:extLst>
              <a:ext uri="{FF2B5EF4-FFF2-40B4-BE49-F238E27FC236}">
                <a16:creationId xmlns:a16="http://schemas.microsoft.com/office/drawing/2014/main" id="{13A437FA-6F9C-4243-9E6D-1F8BAE0B22F4}"/>
              </a:ext>
            </a:extLst>
          </p:cNvPr>
          <p:cNvSpPr/>
          <p:nvPr/>
        </p:nvSpPr>
        <p:spPr>
          <a:xfrm>
            <a:off x="10172711" y="1727391"/>
            <a:ext cx="1306386" cy="818462"/>
          </a:xfrm>
          <a:prstGeom prst="roundRect">
            <a:avLst>
              <a:gd name="adj" fmla="val 5307"/>
            </a:avLst>
          </a:prstGeom>
          <a:solidFill>
            <a:srgbClr val="FF304C"/>
          </a:solidFill>
          <a:ln w="12700" cap="flat" cmpd="sng" algn="ctr">
            <a:noFill/>
            <a:prstDash val="solid"/>
            <a:miter lim="800000"/>
          </a:ln>
          <a:effectLst/>
        </p:spPr>
        <p:txBody>
          <a:bodyPr rtlCol="0" anchor="ctr"/>
          <a:lstStyle/>
          <a:p>
            <a:pPr marL="228600" marR="0" lvl="0" indent="-228600" algn="ctr" defTabSz="914400" eaLnBrk="1" fontAlgn="auto" latinLnBrk="0" hangingPunct="1">
              <a:lnSpc>
                <a:spcPct val="100000"/>
              </a:lnSpc>
              <a:spcBef>
                <a:spcPts val="0"/>
              </a:spcBef>
              <a:spcAft>
                <a:spcPts val="0"/>
              </a:spcAft>
              <a:buClrTx/>
              <a:buSzTx/>
              <a:buFont typeface="+mj-lt"/>
              <a:buAutoNum type="arabicPeriod" startAt="5"/>
              <a:tabLst/>
              <a:defRPr/>
            </a:pPr>
            <a:r>
              <a:rPr kumimoji="0" lang="en-US" sz="1200" b="0" i="0" u="none" strike="noStrike" kern="0" cap="none" spc="0" normalizeH="0" baseline="0" noProof="0">
                <a:ln>
                  <a:noFill/>
                </a:ln>
                <a:solidFill>
                  <a:srgbClr val="FFFFFF"/>
                </a:solidFill>
                <a:effectLst/>
                <a:uLnTx/>
                <a:uFillTx/>
                <a:latin typeface="Verdana"/>
                <a:ea typeface="+mn-ea"/>
                <a:cs typeface="+mn-cs"/>
              </a:rPr>
              <a:t>Validate</a:t>
            </a:r>
            <a:r>
              <a:rPr kumimoji="0" lang="fr-FR" sz="1200" b="0" i="0" u="none" strike="noStrike" kern="0" cap="none" spc="0" normalizeH="0" baseline="0" noProof="0">
                <a:ln>
                  <a:noFill/>
                </a:ln>
                <a:solidFill>
                  <a:srgbClr val="FFFFFF"/>
                </a:solidFill>
                <a:effectLst/>
                <a:uLnTx/>
                <a:uFillTx/>
                <a:latin typeface="Verdana"/>
                <a:ea typeface="+mn-ea"/>
                <a:cs typeface="+mn-cs"/>
              </a:rPr>
              <a:t> &am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Sign off</a:t>
            </a:r>
          </a:p>
        </p:txBody>
      </p:sp>
      <p:sp>
        <p:nvSpPr>
          <p:cNvPr id="88" name="Rectangle : coins arrondis 38">
            <a:extLst>
              <a:ext uri="{FF2B5EF4-FFF2-40B4-BE49-F238E27FC236}">
                <a16:creationId xmlns:a16="http://schemas.microsoft.com/office/drawing/2014/main" id="{A6CC7532-F300-4BAC-BE19-4D2CF350F1D6}"/>
              </a:ext>
            </a:extLst>
          </p:cNvPr>
          <p:cNvSpPr/>
          <p:nvPr/>
        </p:nvSpPr>
        <p:spPr>
          <a:xfrm>
            <a:off x="5421258" y="1717162"/>
            <a:ext cx="1306386" cy="818462"/>
          </a:xfrm>
          <a:prstGeom prst="roundRect">
            <a:avLst>
              <a:gd name="adj" fmla="val 5307"/>
            </a:avLst>
          </a:prstGeom>
          <a:solidFill>
            <a:srgbClr val="FFFFFF">
              <a:lumMod val="75000"/>
            </a:srgbClr>
          </a:solidFill>
          <a:ln w="12700" cap="flat" cmpd="sng" algn="ctr">
            <a:noFill/>
            <a:prstDash val="solid"/>
            <a:miter lim="800000"/>
          </a:ln>
          <a:effectLst/>
        </p:spPr>
        <p:txBody>
          <a:bodyPr rtlCol="0" anchor="ctr"/>
          <a:lstStyle/>
          <a:p>
            <a:pPr marL="228600" marR="0" lvl="0" indent="-228600" algn="ctr" defTabSz="914400" eaLnBrk="1" fontAlgn="auto" latinLnBrk="0" hangingPunct="1">
              <a:lnSpc>
                <a:spcPct val="100000"/>
              </a:lnSpc>
              <a:spcBef>
                <a:spcPts val="0"/>
              </a:spcBef>
              <a:spcAft>
                <a:spcPts val="0"/>
              </a:spcAft>
              <a:buClrTx/>
              <a:buSzTx/>
              <a:buFont typeface="+mj-lt"/>
              <a:buAutoNum type="arabicPeriod" startAt="4"/>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Transformation</a:t>
            </a:r>
          </a:p>
        </p:txBody>
      </p:sp>
      <p:grpSp>
        <p:nvGrpSpPr>
          <p:cNvPr id="89" name="Groupe 44">
            <a:extLst>
              <a:ext uri="{FF2B5EF4-FFF2-40B4-BE49-F238E27FC236}">
                <a16:creationId xmlns:a16="http://schemas.microsoft.com/office/drawing/2014/main" id="{2635EDF8-A26F-411B-8CA3-2458037E51CF}"/>
              </a:ext>
            </a:extLst>
          </p:cNvPr>
          <p:cNvGrpSpPr/>
          <p:nvPr/>
        </p:nvGrpSpPr>
        <p:grpSpPr>
          <a:xfrm>
            <a:off x="3046233" y="1734446"/>
            <a:ext cx="1306386" cy="818462"/>
            <a:chOff x="2912554" y="1798724"/>
            <a:chExt cx="1344206" cy="859457"/>
          </a:xfrm>
          <a:solidFill>
            <a:srgbClr val="FF304C"/>
          </a:solidFill>
        </p:grpSpPr>
        <p:sp>
          <p:nvSpPr>
            <p:cNvPr id="90" name="Rectangle : coins arrondis 45">
              <a:extLst>
                <a:ext uri="{FF2B5EF4-FFF2-40B4-BE49-F238E27FC236}">
                  <a16:creationId xmlns:a16="http://schemas.microsoft.com/office/drawing/2014/main" id="{D7890274-A75E-4BEC-A0CC-CF2A9CAB60D2}"/>
                </a:ext>
              </a:extLst>
            </p:cNvPr>
            <p:cNvSpPr/>
            <p:nvPr/>
          </p:nvSpPr>
          <p:spPr>
            <a:xfrm>
              <a:off x="2912554" y="1798724"/>
              <a:ext cx="1344206" cy="859457"/>
            </a:xfrm>
            <a:prstGeom prst="roundRect">
              <a:avLst>
                <a:gd name="adj" fmla="val 5307"/>
              </a:avLst>
            </a:prstGeom>
            <a:grpFill/>
            <a:ln w="12700" cap="flat" cmpd="sng" algn="ctr">
              <a:noFill/>
              <a:prstDash val="solid"/>
              <a:miter lim="800000"/>
            </a:ln>
            <a:effectLst/>
          </p:spPr>
          <p:txBody>
            <a:bodyPr rtlCol="0" anchor="ctr"/>
            <a:lstStyle/>
            <a:p>
              <a:pPr marL="228600" marR="0" lvl="0" indent="-228600" algn="ctr" defTabSz="914400" eaLnBrk="1" fontAlgn="auto" latinLnBrk="0" hangingPunct="1">
                <a:lnSpc>
                  <a:spcPct val="100000"/>
                </a:lnSpc>
                <a:spcBef>
                  <a:spcPts val="0"/>
                </a:spcBef>
                <a:spcAft>
                  <a:spcPts val="0"/>
                </a:spcAft>
                <a:buClrTx/>
                <a:buSzTx/>
                <a:buFont typeface="+mj-lt"/>
                <a:buAutoNum type="arabicPeriod" startAt="2"/>
                <a:tabLst/>
                <a:defRPr/>
              </a:pPr>
              <a:r>
                <a:rPr kumimoji="0" lang="fr-FR" sz="1200" b="0" i="0" u="none" strike="noStrike" kern="0" cap="none" spc="0" normalizeH="0" baseline="0" noProof="0">
                  <a:ln>
                    <a:noFill/>
                  </a:ln>
                  <a:solidFill>
                    <a:srgbClr val="FFFFFF"/>
                  </a:solidFill>
                  <a:effectLst/>
                  <a:uLnTx/>
                  <a:uFillTx/>
                  <a:latin typeface="Verdana"/>
                  <a:ea typeface="+mn-ea"/>
                  <a:cs typeface="+mn-cs"/>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err="1">
                  <a:ln>
                    <a:noFill/>
                  </a:ln>
                  <a:solidFill>
                    <a:srgbClr val="FFFFFF"/>
                  </a:solidFill>
                  <a:effectLst/>
                  <a:uLnTx/>
                  <a:uFillTx/>
                  <a:latin typeface="Verdana"/>
                  <a:ea typeface="+mn-ea"/>
                  <a:cs typeface="+mn-cs"/>
                </a:rPr>
                <a:t>cleansing</a:t>
              </a:r>
              <a:endParaRPr kumimoji="0" lang="fr-FR" sz="1200" b="0" i="0" u="none" strike="noStrike" kern="0" cap="none" spc="0" normalizeH="0" baseline="0" noProof="0">
                <a:ln>
                  <a:noFill/>
                </a:ln>
                <a:solidFill>
                  <a:srgbClr val="FFFFFF"/>
                </a:solidFill>
                <a:effectLst/>
                <a:uLnTx/>
                <a:uFillTx/>
                <a:latin typeface="Verdana"/>
                <a:ea typeface="+mn-ea"/>
                <a:cs typeface="+mn-cs"/>
              </a:endParaRPr>
            </a:p>
          </p:txBody>
        </p:sp>
        <p:sp>
          <p:nvSpPr>
            <p:cNvPr id="91" name="Right Triangle 33">
              <a:extLst>
                <a:ext uri="{FF2B5EF4-FFF2-40B4-BE49-F238E27FC236}">
                  <a16:creationId xmlns:a16="http://schemas.microsoft.com/office/drawing/2014/main" id="{0B0E69EA-82C8-4DA2-85A1-0F17611E3DB9}"/>
                </a:ext>
              </a:extLst>
            </p:cNvPr>
            <p:cNvSpPr/>
            <p:nvPr/>
          </p:nvSpPr>
          <p:spPr>
            <a:xfrm flipH="1">
              <a:off x="3662860" y="2139994"/>
              <a:ext cx="593900" cy="518187"/>
            </a:xfrm>
            <a:prstGeom prst="rtTriangle">
              <a:avLst/>
            </a:prstGeom>
            <a:solidFill>
              <a:srgbClr val="ECECEC">
                <a:lumMod val="9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a:ea typeface="+mn-ea"/>
                <a:cs typeface="+mn-cs"/>
              </a:endParaRPr>
            </a:p>
          </p:txBody>
        </p:sp>
      </p:grpSp>
      <p:sp>
        <p:nvSpPr>
          <p:cNvPr id="92" name="Rounded Rectangle 421">
            <a:extLst>
              <a:ext uri="{FF2B5EF4-FFF2-40B4-BE49-F238E27FC236}">
                <a16:creationId xmlns:a16="http://schemas.microsoft.com/office/drawing/2014/main" id="{09645F56-360D-44A4-8D4D-A337F37D358B}"/>
              </a:ext>
            </a:extLst>
          </p:cNvPr>
          <p:cNvSpPr/>
          <p:nvPr/>
        </p:nvSpPr>
        <p:spPr bwMode="auto">
          <a:xfrm>
            <a:off x="485318" y="4083099"/>
            <a:ext cx="11333221" cy="2417246"/>
          </a:xfrm>
          <a:prstGeom prst="roundRect">
            <a:avLst>
              <a:gd name="adj" fmla="val 4498"/>
            </a:avLst>
          </a:prstGeom>
          <a:solidFill>
            <a:srgbClr val="ECECEC"/>
          </a:solidFill>
          <a:ln w="12700" cap="flat" cmpd="sng" algn="ctr">
            <a:noFill/>
            <a:prstDash val="solid"/>
            <a:round/>
            <a:headEnd type="none" w="med" len="med"/>
            <a:tailEnd type="none" w="med" len="med"/>
          </a:ln>
          <a:effectLst/>
        </p:spPr>
        <p:txBody>
          <a:bodyPr vert="horz" wrap="square" lIns="144000" tIns="72000" rIns="144000" bIns="45720" numCol="1" rtlCol="0" anchor="t" anchorCtr="0" compatLnSpc="1">
            <a:prstTxWarp prst="textNoShape">
              <a:avLst/>
            </a:prstTxWarp>
            <a:noAutofit/>
          </a:bodyPr>
          <a:lstStyle/>
          <a:p>
            <a:pPr marL="179388" marR="0" lvl="0" indent="-179388" defTabSz="914103" eaLnBrk="1" fontAlgn="auto" latinLnBrk="0" hangingPunct="1">
              <a:lnSpc>
                <a:spcPct val="100000"/>
              </a:lnSpc>
              <a:spcBef>
                <a:spcPts val="300"/>
              </a:spcBef>
              <a:spcAft>
                <a:spcPts val="300"/>
              </a:spcAft>
              <a:buClr>
                <a:srgbClr val="0098C7"/>
              </a:buClr>
              <a:buSzTx/>
              <a:buFontTx/>
              <a:buNone/>
              <a:tabLst/>
              <a:defRPr/>
            </a:pPr>
            <a:endParaRPr kumimoji="0" lang="en-US" sz="1100" b="1" i="0" u="none" strike="noStrike" kern="0" cap="none" spc="0" normalizeH="0" baseline="0" noProof="0">
              <a:ln>
                <a:noFill/>
              </a:ln>
              <a:solidFill>
                <a:srgbClr val="0070AD"/>
              </a:solidFill>
              <a:effectLst/>
              <a:uLnTx/>
              <a:uFillTx/>
              <a:latin typeface="Verdana"/>
              <a:cs typeface="Arial" pitchFamily="34" charset="0"/>
            </a:endParaRPr>
          </a:p>
          <a:p>
            <a:pPr marL="179388" marR="0" lvl="0" indent="-179388" defTabSz="914103" eaLnBrk="1" fontAlgn="auto" latinLnBrk="0" hangingPunct="1">
              <a:lnSpc>
                <a:spcPct val="100000"/>
              </a:lnSpc>
              <a:spcBef>
                <a:spcPts val="300"/>
              </a:spcBef>
              <a:spcAft>
                <a:spcPts val="300"/>
              </a:spcAft>
              <a:buClr>
                <a:srgbClr val="0098C7"/>
              </a:buClr>
              <a:buSzTx/>
              <a:buFontTx/>
              <a:buNone/>
              <a:tabLst/>
              <a:defRPr/>
            </a:pPr>
            <a:r>
              <a:rPr kumimoji="0" lang="en-US" sz="1100" b="1" i="0" u="none" strike="noStrike" kern="0" cap="none" spc="0" normalizeH="0" baseline="0" noProof="0">
                <a:ln>
                  <a:noFill/>
                </a:ln>
                <a:solidFill>
                  <a:srgbClr val="0070AD"/>
                </a:solidFill>
                <a:effectLst/>
                <a:uLnTx/>
                <a:uFillTx/>
                <a:latin typeface="Verdana"/>
                <a:cs typeface="Arial" pitchFamily="34" charset="0"/>
              </a:rPr>
              <a:t>The data migration approach consist of following five steps : </a:t>
            </a:r>
            <a:endParaRPr kumimoji="0" lang="en-US" sz="1100" b="0" i="0" u="none" strike="noStrike" kern="0" cap="none" spc="0" normalizeH="0" baseline="0" noProof="0">
              <a:ln>
                <a:noFill/>
              </a:ln>
              <a:solidFill>
                <a:srgbClr val="0070AD"/>
              </a:solidFill>
              <a:effectLst/>
              <a:uLnTx/>
              <a:uFillTx/>
              <a:latin typeface="Verdana"/>
              <a:cs typeface="Arial" pitchFamily="34" charset="0"/>
            </a:endParaRPr>
          </a:p>
          <a:p>
            <a:pPr marL="225425" marR="0" lvl="1" indent="-225425" defTabSz="914103" eaLnBrk="1" fontAlgn="auto" latinLnBrk="0" hangingPunct="1">
              <a:lnSpc>
                <a:spcPct val="100000"/>
              </a:lnSpc>
              <a:spcBef>
                <a:spcPts val="300"/>
              </a:spcBef>
              <a:spcAft>
                <a:spcPts val="300"/>
              </a:spcAft>
              <a:buClr>
                <a:srgbClr val="0098C7"/>
              </a:buClr>
              <a:buSzTx/>
              <a:buFont typeface="+mj-lt"/>
              <a:buAutoNum type="arabicPeriod"/>
              <a:tabLst/>
              <a:defRPr/>
            </a:pPr>
            <a:r>
              <a:rPr kumimoji="0" lang="en-US" sz="1100" b="1" i="0" u="none" strike="noStrike" kern="0" cap="none" spc="0" normalizeH="0" baseline="0" noProof="0">
                <a:ln>
                  <a:noFill/>
                </a:ln>
                <a:solidFill>
                  <a:prstClr val="black"/>
                </a:solidFill>
                <a:effectLst/>
                <a:uLnTx/>
                <a:uFillTx/>
                <a:latin typeface="Verdana"/>
                <a:cs typeface="Arial" pitchFamily="34" charset="0"/>
              </a:rPr>
              <a:t>Data Extraction: </a:t>
            </a:r>
            <a:r>
              <a:rPr kumimoji="0" lang="en-US" sz="1100" b="0" i="0" u="none" strike="noStrike" kern="0" cap="none" spc="0" normalizeH="0" baseline="0" noProof="0">
                <a:ln>
                  <a:noFill/>
                </a:ln>
                <a:solidFill>
                  <a:prstClr val="black"/>
                </a:solidFill>
                <a:effectLst/>
                <a:uLnTx/>
                <a:uFillTx/>
                <a:latin typeface="Verdana"/>
                <a:cs typeface="Arial" pitchFamily="34" charset="0"/>
              </a:rPr>
              <a:t>Marelli will be responsible for extracting data from legacy systems. Extraction template will be provided by Capgemini and common to all BLs/countries.</a:t>
            </a:r>
          </a:p>
          <a:p>
            <a:pPr marL="225425" marR="0" lvl="1" indent="-225425" defTabSz="914103" eaLnBrk="1" fontAlgn="auto" latinLnBrk="0" hangingPunct="1">
              <a:lnSpc>
                <a:spcPct val="100000"/>
              </a:lnSpc>
              <a:spcBef>
                <a:spcPts val="300"/>
              </a:spcBef>
              <a:spcAft>
                <a:spcPts val="300"/>
              </a:spcAft>
              <a:buClr>
                <a:srgbClr val="0098C7"/>
              </a:buClr>
              <a:buSzTx/>
              <a:buFont typeface="+mj-lt"/>
              <a:buAutoNum type="arabicPeriod"/>
              <a:tabLst/>
              <a:defRPr/>
            </a:pPr>
            <a:r>
              <a:rPr kumimoji="0" lang="en-US" sz="1100" b="1" i="0" u="none" strike="noStrike" kern="0" cap="none" spc="0" normalizeH="0" baseline="0" noProof="0">
                <a:ln>
                  <a:noFill/>
                </a:ln>
                <a:solidFill>
                  <a:prstClr val="black"/>
                </a:solidFill>
                <a:effectLst/>
                <a:uLnTx/>
                <a:uFillTx/>
                <a:latin typeface="Verdana"/>
                <a:cs typeface="Arial" pitchFamily="34" charset="0"/>
              </a:rPr>
              <a:t>Data Cleansing: </a:t>
            </a:r>
            <a:r>
              <a:rPr kumimoji="0" lang="en-US" sz="1100" b="0" i="0" u="none" strike="noStrike" kern="0" cap="none" spc="0" normalizeH="0" baseline="0" noProof="0">
                <a:ln>
                  <a:noFill/>
                </a:ln>
                <a:solidFill>
                  <a:prstClr val="black"/>
                </a:solidFill>
                <a:effectLst/>
                <a:uLnTx/>
                <a:uFillTx/>
                <a:latin typeface="Verdana"/>
                <a:cs typeface="Arial" pitchFamily="34" charset="0"/>
              </a:rPr>
              <a:t>Marelli will be responsible to cleanse the data in the source system and ensure data quality. </a:t>
            </a:r>
          </a:p>
          <a:p>
            <a:pPr marL="225425" marR="0" lvl="1" indent="-225425" defTabSz="914103" eaLnBrk="1" fontAlgn="auto" latinLnBrk="0" hangingPunct="1">
              <a:lnSpc>
                <a:spcPct val="100000"/>
              </a:lnSpc>
              <a:spcBef>
                <a:spcPts val="300"/>
              </a:spcBef>
              <a:spcAft>
                <a:spcPts val="300"/>
              </a:spcAft>
              <a:buClr>
                <a:srgbClr val="0098C7"/>
              </a:buClr>
              <a:buSzTx/>
              <a:buFont typeface="+mj-lt"/>
              <a:buAutoNum type="arabicPeriod"/>
              <a:tabLst/>
              <a:defRPr/>
            </a:pPr>
            <a:r>
              <a:rPr kumimoji="0" lang="en-US" sz="1100" b="1" i="0" u="none" strike="noStrike" kern="0" cap="none" spc="0" normalizeH="0" baseline="0" noProof="0">
                <a:ln>
                  <a:noFill/>
                </a:ln>
                <a:solidFill>
                  <a:prstClr val="black"/>
                </a:solidFill>
                <a:effectLst/>
                <a:uLnTx/>
                <a:uFillTx/>
                <a:latin typeface="Verdana"/>
                <a:cs typeface="Arial" pitchFamily="34" charset="0"/>
              </a:rPr>
              <a:t>Transformation: </a:t>
            </a:r>
            <a:r>
              <a:rPr kumimoji="0" lang="en-US" sz="1100" b="0" i="0" u="none" strike="noStrike" kern="0" cap="none" spc="0" normalizeH="0" baseline="0" noProof="0">
                <a:ln>
                  <a:noFill/>
                </a:ln>
                <a:solidFill>
                  <a:prstClr val="black"/>
                </a:solidFill>
                <a:effectLst/>
                <a:uLnTx/>
                <a:uFillTx/>
                <a:latin typeface="Verdana"/>
                <a:cs typeface="Arial" pitchFamily="34" charset="0"/>
              </a:rPr>
              <a:t>it is assumed that there is no need to perform transformations since data will be extracted from the source systems with the agreed format. In case this assumption will not be confirmed due to Marelli needs, it will be necessary to use </a:t>
            </a:r>
            <a:r>
              <a:rPr kumimoji="0" lang="en-US" sz="1100" b="0" i="0" u="none" strike="noStrike" kern="0" cap="none" spc="0" normalizeH="0" baseline="0" noProof="0" err="1">
                <a:ln>
                  <a:noFill/>
                </a:ln>
                <a:solidFill>
                  <a:prstClr val="black"/>
                </a:solidFill>
                <a:effectLst/>
                <a:uLnTx/>
                <a:uFillTx/>
                <a:latin typeface="Verdana"/>
                <a:cs typeface="Arial" pitchFamily="34" charset="0"/>
              </a:rPr>
              <a:t>Mulesoft</a:t>
            </a:r>
            <a:r>
              <a:rPr kumimoji="0" lang="en-US" sz="1100" b="0" i="0" u="none" strike="noStrike" kern="0" cap="none" spc="0" normalizeH="0" baseline="0" noProof="0">
                <a:ln>
                  <a:noFill/>
                </a:ln>
                <a:solidFill>
                  <a:prstClr val="black"/>
                </a:solidFill>
                <a:effectLst/>
                <a:uLnTx/>
                <a:uFillTx/>
                <a:latin typeface="Verdana"/>
                <a:cs typeface="Arial" pitchFamily="34" charset="0"/>
              </a:rPr>
              <a:t> as ETL tool</a:t>
            </a:r>
          </a:p>
          <a:p>
            <a:pPr marL="225425" marR="0" lvl="1" indent="-225425" defTabSz="914103" eaLnBrk="1" fontAlgn="auto" latinLnBrk="0" hangingPunct="1">
              <a:lnSpc>
                <a:spcPct val="100000"/>
              </a:lnSpc>
              <a:spcBef>
                <a:spcPts val="300"/>
              </a:spcBef>
              <a:spcAft>
                <a:spcPts val="300"/>
              </a:spcAft>
              <a:buClr>
                <a:srgbClr val="0098C7"/>
              </a:buClr>
              <a:buSzTx/>
              <a:buFont typeface="+mj-lt"/>
              <a:buAutoNum type="arabicPeriod"/>
              <a:tabLst/>
              <a:defRPr/>
            </a:pPr>
            <a:r>
              <a:rPr kumimoji="0" lang="en-US" sz="1100" b="1" i="0" u="none" strike="noStrike" kern="0" cap="none" spc="0" normalizeH="0" baseline="0" noProof="0">
                <a:ln>
                  <a:noFill/>
                </a:ln>
                <a:solidFill>
                  <a:prstClr val="black"/>
                </a:solidFill>
                <a:effectLst/>
                <a:uLnTx/>
                <a:uFillTx/>
                <a:latin typeface="Verdana"/>
                <a:cs typeface="Arial" pitchFamily="34" charset="0"/>
              </a:rPr>
              <a:t>Data Load: </a:t>
            </a:r>
            <a:r>
              <a:rPr kumimoji="0" lang="en-US" sz="1100" b="0" i="0" u="none" strike="noStrike" kern="0" cap="none" spc="0" normalizeH="0" baseline="0" noProof="0">
                <a:ln>
                  <a:noFill/>
                </a:ln>
                <a:solidFill>
                  <a:prstClr val="black"/>
                </a:solidFill>
                <a:effectLst/>
                <a:uLnTx/>
                <a:uFillTx/>
                <a:latin typeface="Verdana"/>
                <a:cs typeface="Arial" pitchFamily="34" charset="0"/>
              </a:rPr>
              <a:t>Capgemini will load (import) the data in Salesforce The results will be presented in a Data Load report so that Marelli will be able to check discarded data. Based on requirements in the RFP, it is assumed to manage a maximum of 24 migration objects</a:t>
            </a:r>
          </a:p>
          <a:p>
            <a:pPr marL="225425" marR="0" lvl="1" indent="-225425" defTabSz="914103" eaLnBrk="1" fontAlgn="auto" latinLnBrk="0" hangingPunct="1">
              <a:lnSpc>
                <a:spcPct val="100000"/>
              </a:lnSpc>
              <a:spcBef>
                <a:spcPts val="300"/>
              </a:spcBef>
              <a:spcAft>
                <a:spcPts val="300"/>
              </a:spcAft>
              <a:buClr>
                <a:srgbClr val="0098C7"/>
              </a:buClr>
              <a:buSzTx/>
              <a:buFont typeface="+mj-lt"/>
              <a:buAutoNum type="arabicPeriod"/>
              <a:tabLst/>
              <a:defRPr/>
            </a:pPr>
            <a:r>
              <a:rPr kumimoji="0" lang="en-US" sz="1100" b="1" i="0" u="none" strike="noStrike" kern="0" cap="none" spc="0" normalizeH="0" baseline="0" noProof="0">
                <a:ln>
                  <a:noFill/>
                </a:ln>
                <a:solidFill>
                  <a:prstClr val="black"/>
                </a:solidFill>
                <a:effectLst/>
                <a:uLnTx/>
                <a:uFillTx/>
                <a:latin typeface="Verdana"/>
                <a:cs typeface="Arial" pitchFamily="34" charset="0"/>
              </a:rPr>
              <a:t>Validate import: </a:t>
            </a:r>
            <a:r>
              <a:rPr kumimoji="0" lang="en-US" sz="1100" b="0" i="0" u="none" strike="noStrike" kern="0" cap="none" spc="0" normalizeH="0" baseline="0" noProof="0">
                <a:ln>
                  <a:noFill/>
                </a:ln>
                <a:solidFill>
                  <a:prstClr val="black"/>
                </a:solidFill>
                <a:effectLst/>
                <a:uLnTx/>
                <a:uFillTx/>
                <a:latin typeface="Verdana"/>
                <a:cs typeface="Arial" pitchFamily="34" charset="0"/>
              </a:rPr>
              <a:t>After the import is finished, Marelli will need to verify the quality of the import and sign off the data migration once it’s correct. </a:t>
            </a:r>
          </a:p>
        </p:txBody>
      </p:sp>
      <p:sp>
        <p:nvSpPr>
          <p:cNvPr id="93" name="Rectangle 92">
            <a:extLst>
              <a:ext uri="{FF2B5EF4-FFF2-40B4-BE49-F238E27FC236}">
                <a16:creationId xmlns:a16="http://schemas.microsoft.com/office/drawing/2014/main" id="{64435269-B6D2-4E25-AC3F-5DF085978AE4}"/>
              </a:ext>
            </a:extLst>
          </p:cNvPr>
          <p:cNvSpPr/>
          <p:nvPr/>
        </p:nvSpPr>
        <p:spPr>
          <a:xfrm>
            <a:off x="648867" y="4072573"/>
            <a:ext cx="11167230" cy="116056"/>
          </a:xfrm>
          <a:prstGeom prst="rect">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94" name="Groupe 5">
            <a:extLst>
              <a:ext uri="{FF2B5EF4-FFF2-40B4-BE49-F238E27FC236}">
                <a16:creationId xmlns:a16="http://schemas.microsoft.com/office/drawing/2014/main" id="{FBF13781-0C9B-4FC1-AC7B-83E20B895FCB}"/>
              </a:ext>
            </a:extLst>
          </p:cNvPr>
          <p:cNvGrpSpPr/>
          <p:nvPr/>
        </p:nvGrpSpPr>
        <p:grpSpPr>
          <a:xfrm>
            <a:off x="297260" y="3667836"/>
            <a:ext cx="669164" cy="678627"/>
            <a:chOff x="13229719" y="3146914"/>
            <a:chExt cx="688537" cy="712618"/>
          </a:xfrm>
        </p:grpSpPr>
        <p:sp>
          <p:nvSpPr>
            <p:cNvPr id="95" name="Oval 20">
              <a:extLst>
                <a:ext uri="{FF2B5EF4-FFF2-40B4-BE49-F238E27FC236}">
                  <a16:creationId xmlns:a16="http://schemas.microsoft.com/office/drawing/2014/main" id="{00BED5C1-EC09-4CA2-B49C-657D7D9FC1CF}"/>
                </a:ext>
              </a:extLst>
            </p:cNvPr>
            <p:cNvSpPr/>
            <p:nvPr/>
          </p:nvSpPr>
          <p:spPr>
            <a:xfrm>
              <a:off x="13229719" y="3146914"/>
              <a:ext cx="688537" cy="65055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w="12700" cap="flat" cmpd="sng" algn="ctr">
              <a:solidFill>
                <a:srgbClr val="0070A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900" b="0" i="0" u="none" strike="noStrike" kern="0" cap="none" spc="0" normalizeH="0" baseline="0" noProof="0">
                <a:ln>
                  <a:noFill/>
                </a:ln>
                <a:solidFill>
                  <a:srgbClr val="FFFFFF"/>
                </a:solidFill>
                <a:effectLst/>
                <a:uLnTx/>
                <a:uFillTx/>
                <a:latin typeface="Verdana"/>
                <a:ea typeface="+mn-ea"/>
                <a:cs typeface="+mn-cs"/>
              </a:endParaRPr>
            </a:p>
          </p:txBody>
        </p:sp>
        <p:sp>
          <p:nvSpPr>
            <p:cNvPr id="96" name="Freeform 47">
              <a:extLst>
                <a:ext uri="{FF2B5EF4-FFF2-40B4-BE49-F238E27FC236}">
                  <a16:creationId xmlns:a16="http://schemas.microsoft.com/office/drawing/2014/main" id="{3E98D981-6230-4588-B6A4-0DF036EBCA5A}"/>
                </a:ext>
              </a:extLst>
            </p:cNvPr>
            <p:cNvSpPr>
              <a:spLocks/>
            </p:cNvSpPr>
            <p:nvPr/>
          </p:nvSpPr>
          <p:spPr bwMode="auto">
            <a:xfrm>
              <a:off x="13357278" y="3317079"/>
              <a:ext cx="271240" cy="89566"/>
            </a:xfrm>
            <a:custGeom>
              <a:avLst/>
              <a:gdLst>
                <a:gd name="T0" fmla="*/ 1920 w 1920"/>
                <a:gd name="T1" fmla="*/ 318 h 634"/>
                <a:gd name="T2" fmla="*/ 1914 w 1920"/>
                <a:gd name="T3" fmla="*/ 382 h 634"/>
                <a:gd name="T4" fmla="*/ 1894 w 1920"/>
                <a:gd name="T5" fmla="*/ 440 h 634"/>
                <a:gd name="T6" fmla="*/ 1866 w 1920"/>
                <a:gd name="T7" fmla="*/ 494 h 634"/>
                <a:gd name="T8" fmla="*/ 1826 w 1920"/>
                <a:gd name="T9" fmla="*/ 542 h 634"/>
                <a:gd name="T10" fmla="*/ 1780 w 1920"/>
                <a:gd name="T11" fmla="*/ 580 h 634"/>
                <a:gd name="T12" fmla="*/ 1726 w 1920"/>
                <a:gd name="T13" fmla="*/ 610 h 634"/>
                <a:gd name="T14" fmla="*/ 1666 w 1920"/>
                <a:gd name="T15" fmla="*/ 628 h 634"/>
                <a:gd name="T16" fmla="*/ 1604 w 1920"/>
                <a:gd name="T17" fmla="*/ 634 h 634"/>
                <a:gd name="T18" fmla="*/ 316 w 1920"/>
                <a:gd name="T19" fmla="*/ 634 h 634"/>
                <a:gd name="T20" fmla="*/ 252 w 1920"/>
                <a:gd name="T21" fmla="*/ 628 h 634"/>
                <a:gd name="T22" fmla="*/ 194 w 1920"/>
                <a:gd name="T23" fmla="*/ 608 h 634"/>
                <a:gd name="T24" fmla="*/ 140 w 1920"/>
                <a:gd name="T25" fmla="*/ 580 h 634"/>
                <a:gd name="T26" fmla="*/ 92 w 1920"/>
                <a:gd name="T27" fmla="*/ 540 h 634"/>
                <a:gd name="T28" fmla="*/ 54 w 1920"/>
                <a:gd name="T29" fmla="*/ 494 h 634"/>
                <a:gd name="T30" fmla="*/ 24 w 1920"/>
                <a:gd name="T31" fmla="*/ 440 h 634"/>
                <a:gd name="T32" fmla="*/ 6 w 1920"/>
                <a:gd name="T33" fmla="*/ 380 h 634"/>
                <a:gd name="T34" fmla="*/ 0 w 1920"/>
                <a:gd name="T35" fmla="*/ 318 h 634"/>
                <a:gd name="T36" fmla="*/ 0 w 1920"/>
                <a:gd name="T37" fmla="*/ 318 h 634"/>
                <a:gd name="T38" fmla="*/ 6 w 1920"/>
                <a:gd name="T39" fmla="*/ 254 h 634"/>
                <a:gd name="T40" fmla="*/ 26 w 1920"/>
                <a:gd name="T41" fmla="*/ 194 h 634"/>
                <a:gd name="T42" fmla="*/ 54 w 1920"/>
                <a:gd name="T43" fmla="*/ 140 h 634"/>
                <a:gd name="T44" fmla="*/ 94 w 1920"/>
                <a:gd name="T45" fmla="*/ 92 h 634"/>
                <a:gd name="T46" fmla="*/ 140 w 1920"/>
                <a:gd name="T47" fmla="*/ 54 h 634"/>
                <a:gd name="T48" fmla="*/ 194 w 1920"/>
                <a:gd name="T49" fmla="*/ 26 h 634"/>
                <a:gd name="T50" fmla="*/ 254 w 1920"/>
                <a:gd name="T51" fmla="*/ 6 h 634"/>
                <a:gd name="T52" fmla="*/ 316 w 1920"/>
                <a:gd name="T53" fmla="*/ 0 h 634"/>
                <a:gd name="T54" fmla="*/ 1600 w 1920"/>
                <a:gd name="T55" fmla="*/ 0 h 634"/>
                <a:gd name="T56" fmla="*/ 1664 w 1920"/>
                <a:gd name="T57" fmla="*/ 6 h 634"/>
                <a:gd name="T58" fmla="*/ 1724 w 1920"/>
                <a:gd name="T59" fmla="*/ 26 h 634"/>
                <a:gd name="T60" fmla="*/ 1778 w 1920"/>
                <a:gd name="T61" fmla="*/ 54 h 634"/>
                <a:gd name="T62" fmla="*/ 1826 w 1920"/>
                <a:gd name="T63" fmla="*/ 92 h 634"/>
                <a:gd name="T64" fmla="*/ 1866 w 1920"/>
                <a:gd name="T65" fmla="*/ 140 h 634"/>
                <a:gd name="T66" fmla="*/ 1894 w 1920"/>
                <a:gd name="T67" fmla="*/ 194 h 634"/>
                <a:gd name="T68" fmla="*/ 1914 w 1920"/>
                <a:gd name="T69" fmla="*/ 254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18" y="350"/>
                  </a:lnTo>
                  <a:lnTo>
                    <a:pt x="1914" y="382"/>
                  </a:lnTo>
                  <a:lnTo>
                    <a:pt x="1906" y="412"/>
                  </a:lnTo>
                  <a:lnTo>
                    <a:pt x="1894" y="440"/>
                  </a:lnTo>
                  <a:lnTo>
                    <a:pt x="1882" y="468"/>
                  </a:lnTo>
                  <a:lnTo>
                    <a:pt x="1866" y="494"/>
                  </a:lnTo>
                  <a:lnTo>
                    <a:pt x="1846" y="520"/>
                  </a:lnTo>
                  <a:lnTo>
                    <a:pt x="1826" y="542"/>
                  </a:lnTo>
                  <a:lnTo>
                    <a:pt x="1804" y="562"/>
                  </a:lnTo>
                  <a:lnTo>
                    <a:pt x="1780" y="580"/>
                  </a:lnTo>
                  <a:lnTo>
                    <a:pt x="1754" y="596"/>
                  </a:lnTo>
                  <a:lnTo>
                    <a:pt x="1726" y="610"/>
                  </a:lnTo>
                  <a:lnTo>
                    <a:pt x="1696" y="620"/>
                  </a:lnTo>
                  <a:lnTo>
                    <a:pt x="1666" y="628"/>
                  </a:lnTo>
                  <a:lnTo>
                    <a:pt x="1636" y="632"/>
                  </a:lnTo>
                  <a:lnTo>
                    <a:pt x="1604" y="634"/>
                  </a:lnTo>
                  <a:lnTo>
                    <a:pt x="316" y="634"/>
                  </a:lnTo>
                  <a:lnTo>
                    <a:pt x="316" y="634"/>
                  </a:lnTo>
                  <a:lnTo>
                    <a:pt x="284" y="632"/>
                  </a:lnTo>
                  <a:lnTo>
                    <a:pt x="252" y="628"/>
                  </a:lnTo>
                  <a:lnTo>
                    <a:pt x="222" y="620"/>
                  </a:lnTo>
                  <a:lnTo>
                    <a:pt x="194" y="608"/>
                  </a:lnTo>
                  <a:lnTo>
                    <a:pt x="166" y="596"/>
                  </a:lnTo>
                  <a:lnTo>
                    <a:pt x="140" y="580"/>
                  </a:lnTo>
                  <a:lnTo>
                    <a:pt x="114" y="560"/>
                  </a:lnTo>
                  <a:lnTo>
                    <a:pt x="92" y="540"/>
                  </a:lnTo>
                  <a:lnTo>
                    <a:pt x="72" y="518"/>
                  </a:lnTo>
                  <a:lnTo>
                    <a:pt x="54" y="494"/>
                  </a:lnTo>
                  <a:lnTo>
                    <a:pt x="38" y="468"/>
                  </a:lnTo>
                  <a:lnTo>
                    <a:pt x="24" y="440"/>
                  </a:lnTo>
                  <a:lnTo>
                    <a:pt x="14" y="410"/>
                  </a:lnTo>
                  <a:lnTo>
                    <a:pt x="6" y="380"/>
                  </a:lnTo>
                  <a:lnTo>
                    <a:pt x="2" y="350"/>
                  </a:lnTo>
                  <a:lnTo>
                    <a:pt x="0" y="318"/>
                  </a:lnTo>
                  <a:lnTo>
                    <a:pt x="0" y="318"/>
                  </a:lnTo>
                  <a:lnTo>
                    <a:pt x="0" y="318"/>
                  </a:lnTo>
                  <a:lnTo>
                    <a:pt x="2" y="284"/>
                  </a:lnTo>
                  <a:lnTo>
                    <a:pt x="6" y="254"/>
                  </a:lnTo>
                  <a:lnTo>
                    <a:pt x="14" y="222"/>
                  </a:lnTo>
                  <a:lnTo>
                    <a:pt x="26" y="194"/>
                  </a:lnTo>
                  <a:lnTo>
                    <a:pt x="38" y="166"/>
                  </a:lnTo>
                  <a:lnTo>
                    <a:pt x="54" y="140"/>
                  </a:lnTo>
                  <a:lnTo>
                    <a:pt x="74" y="116"/>
                  </a:lnTo>
                  <a:lnTo>
                    <a:pt x="94" y="92"/>
                  </a:lnTo>
                  <a:lnTo>
                    <a:pt x="116" y="72"/>
                  </a:lnTo>
                  <a:lnTo>
                    <a:pt x="140" y="54"/>
                  </a:lnTo>
                  <a:lnTo>
                    <a:pt x="166" y="38"/>
                  </a:lnTo>
                  <a:lnTo>
                    <a:pt x="194" y="26"/>
                  </a:lnTo>
                  <a:lnTo>
                    <a:pt x="224" y="14"/>
                  </a:lnTo>
                  <a:lnTo>
                    <a:pt x="254" y="6"/>
                  </a:lnTo>
                  <a:lnTo>
                    <a:pt x="284" y="2"/>
                  </a:lnTo>
                  <a:lnTo>
                    <a:pt x="316" y="0"/>
                  </a:lnTo>
                  <a:lnTo>
                    <a:pt x="1600" y="0"/>
                  </a:lnTo>
                  <a:lnTo>
                    <a:pt x="1600" y="0"/>
                  </a:lnTo>
                  <a:lnTo>
                    <a:pt x="1632" y="2"/>
                  </a:lnTo>
                  <a:lnTo>
                    <a:pt x="1664" y="6"/>
                  </a:lnTo>
                  <a:lnTo>
                    <a:pt x="1694" y="14"/>
                  </a:lnTo>
                  <a:lnTo>
                    <a:pt x="1724" y="26"/>
                  </a:lnTo>
                  <a:lnTo>
                    <a:pt x="1752" y="38"/>
                  </a:lnTo>
                  <a:lnTo>
                    <a:pt x="1778" y="54"/>
                  </a:lnTo>
                  <a:lnTo>
                    <a:pt x="1804" y="72"/>
                  </a:lnTo>
                  <a:lnTo>
                    <a:pt x="1826" y="92"/>
                  </a:lnTo>
                  <a:lnTo>
                    <a:pt x="1846" y="116"/>
                  </a:lnTo>
                  <a:lnTo>
                    <a:pt x="1866" y="140"/>
                  </a:lnTo>
                  <a:lnTo>
                    <a:pt x="1882" y="166"/>
                  </a:lnTo>
                  <a:lnTo>
                    <a:pt x="1894" y="194"/>
                  </a:lnTo>
                  <a:lnTo>
                    <a:pt x="1906" y="222"/>
                  </a:lnTo>
                  <a:lnTo>
                    <a:pt x="1914" y="254"/>
                  </a:lnTo>
                  <a:lnTo>
                    <a:pt x="1918"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97" name="Line 48">
              <a:extLst>
                <a:ext uri="{FF2B5EF4-FFF2-40B4-BE49-F238E27FC236}">
                  <a16:creationId xmlns:a16="http://schemas.microsoft.com/office/drawing/2014/main" id="{33B64BA8-F9D1-4D91-A000-90253F059C78}"/>
                </a:ext>
              </a:extLst>
            </p:cNvPr>
            <p:cNvSpPr>
              <a:spLocks noChangeShapeType="1"/>
            </p:cNvSpPr>
            <p:nvPr/>
          </p:nvSpPr>
          <p:spPr bwMode="auto">
            <a:xfrm>
              <a:off x="13357278" y="3362003"/>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98" name="Line 50">
              <a:extLst>
                <a:ext uri="{FF2B5EF4-FFF2-40B4-BE49-F238E27FC236}">
                  <a16:creationId xmlns:a16="http://schemas.microsoft.com/office/drawing/2014/main" id="{AD873950-3CFB-4CE6-B044-3468064FE0F5}"/>
                </a:ext>
              </a:extLst>
            </p:cNvPr>
            <p:cNvSpPr>
              <a:spLocks noChangeShapeType="1"/>
            </p:cNvSpPr>
            <p:nvPr/>
          </p:nvSpPr>
          <p:spPr bwMode="auto">
            <a:xfrm>
              <a:off x="13358973" y="3477280"/>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99" name="Freeform 52">
              <a:extLst>
                <a:ext uri="{FF2B5EF4-FFF2-40B4-BE49-F238E27FC236}">
                  <a16:creationId xmlns:a16="http://schemas.microsoft.com/office/drawing/2014/main" id="{254A91BF-AC85-4C2B-8BB2-70B19199A815}"/>
                </a:ext>
              </a:extLst>
            </p:cNvPr>
            <p:cNvSpPr>
              <a:spLocks/>
            </p:cNvSpPr>
            <p:nvPr/>
          </p:nvSpPr>
          <p:spPr bwMode="auto">
            <a:xfrm>
              <a:off x="13355582" y="3547633"/>
              <a:ext cx="271240" cy="90131"/>
            </a:xfrm>
            <a:custGeom>
              <a:avLst/>
              <a:gdLst>
                <a:gd name="T0" fmla="*/ 1458 w 1920"/>
                <a:gd name="T1" fmla="*/ 634 h 638"/>
                <a:gd name="T2" fmla="*/ 316 w 1920"/>
                <a:gd name="T3" fmla="*/ 634 h 638"/>
                <a:gd name="T4" fmla="*/ 316 w 1920"/>
                <a:gd name="T5" fmla="*/ 634 h 638"/>
                <a:gd name="T6" fmla="*/ 284 w 1920"/>
                <a:gd name="T7" fmla="*/ 632 h 638"/>
                <a:gd name="T8" fmla="*/ 252 w 1920"/>
                <a:gd name="T9" fmla="*/ 628 h 638"/>
                <a:gd name="T10" fmla="*/ 222 w 1920"/>
                <a:gd name="T11" fmla="*/ 620 h 638"/>
                <a:gd name="T12" fmla="*/ 192 w 1920"/>
                <a:gd name="T13" fmla="*/ 608 h 638"/>
                <a:gd name="T14" fmla="*/ 164 w 1920"/>
                <a:gd name="T15" fmla="*/ 596 h 638"/>
                <a:gd name="T16" fmla="*/ 138 w 1920"/>
                <a:gd name="T17" fmla="*/ 580 h 638"/>
                <a:gd name="T18" fmla="*/ 114 w 1920"/>
                <a:gd name="T19" fmla="*/ 560 h 638"/>
                <a:gd name="T20" fmla="*/ 92 w 1920"/>
                <a:gd name="T21" fmla="*/ 540 h 638"/>
                <a:gd name="T22" fmla="*/ 72 w 1920"/>
                <a:gd name="T23" fmla="*/ 518 h 638"/>
                <a:gd name="T24" fmla="*/ 54 w 1920"/>
                <a:gd name="T25" fmla="*/ 494 h 638"/>
                <a:gd name="T26" fmla="*/ 38 w 1920"/>
                <a:gd name="T27" fmla="*/ 468 h 638"/>
                <a:gd name="T28" fmla="*/ 24 w 1920"/>
                <a:gd name="T29" fmla="*/ 440 h 638"/>
                <a:gd name="T30" fmla="*/ 14 w 1920"/>
                <a:gd name="T31" fmla="*/ 410 h 638"/>
                <a:gd name="T32" fmla="*/ 6 w 1920"/>
                <a:gd name="T33" fmla="*/ 380 h 638"/>
                <a:gd name="T34" fmla="*/ 0 w 1920"/>
                <a:gd name="T35" fmla="*/ 350 h 638"/>
                <a:gd name="T36" fmla="*/ 0 w 1920"/>
                <a:gd name="T37" fmla="*/ 318 h 638"/>
                <a:gd name="T38" fmla="*/ 0 w 1920"/>
                <a:gd name="T39" fmla="*/ 318 h 638"/>
                <a:gd name="T40" fmla="*/ 0 w 1920"/>
                <a:gd name="T41" fmla="*/ 318 h 638"/>
                <a:gd name="T42" fmla="*/ 0 w 1920"/>
                <a:gd name="T43" fmla="*/ 284 h 638"/>
                <a:gd name="T44" fmla="*/ 6 w 1920"/>
                <a:gd name="T45" fmla="*/ 254 h 638"/>
                <a:gd name="T46" fmla="*/ 14 w 1920"/>
                <a:gd name="T47" fmla="*/ 222 h 638"/>
                <a:gd name="T48" fmla="*/ 24 w 1920"/>
                <a:gd name="T49" fmla="*/ 194 h 638"/>
                <a:gd name="T50" fmla="*/ 38 w 1920"/>
                <a:gd name="T51" fmla="*/ 166 h 638"/>
                <a:gd name="T52" fmla="*/ 54 w 1920"/>
                <a:gd name="T53" fmla="*/ 140 h 638"/>
                <a:gd name="T54" fmla="*/ 72 w 1920"/>
                <a:gd name="T55" fmla="*/ 116 h 638"/>
                <a:gd name="T56" fmla="*/ 92 w 1920"/>
                <a:gd name="T57" fmla="*/ 92 h 638"/>
                <a:gd name="T58" fmla="*/ 116 w 1920"/>
                <a:gd name="T59" fmla="*/ 72 h 638"/>
                <a:gd name="T60" fmla="*/ 140 w 1920"/>
                <a:gd name="T61" fmla="*/ 54 h 638"/>
                <a:gd name="T62" fmla="*/ 166 w 1920"/>
                <a:gd name="T63" fmla="*/ 38 h 638"/>
                <a:gd name="T64" fmla="*/ 194 w 1920"/>
                <a:gd name="T65" fmla="*/ 26 h 638"/>
                <a:gd name="T66" fmla="*/ 222 w 1920"/>
                <a:gd name="T67" fmla="*/ 14 h 638"/>
                <a:gd name="T68" fmla="*/ 252 w 1920"/>
                <a:gd name="T69" fmla="*/ 6 h 638"/>
                <a:gd name="T70" fmla="*/ 284 w 1920"/>
                <a:gd name="T71" fmla="*/ 2 h 638"/>
                <a:gd name="T72" fmla="*/ 316 w 1920"/>
                <a:gd name="T73" fmla="*/ 0 h 638"/>
                <a:gd name="T74" fmla="*/ 1600 w 1920"/>
                <a:gd name="T75" fmla="*/ 0 h 638"/>
                <a:gd name="T76" fmla="*/ 1600 w 1920"/>
                <a:gd name="T77" fmla="*/ 0 h 638"/>
                <a:gd name="T78" fmla="*/ 1612 w 1920"/>
                <a:gd name="T79" fmla="*/ 2 h 638"/>
                <a:gd name="T80" fmla="*/ 1650 w 1920"/>
                <a:gd name="T81" fmla="*/ 6 h 638"/>
                <a:gd name="T82" fmla="*/ 1700 w 1920"/>
                <a:gd name="T83" fmla="*/ 14 h 638"/>
                <a:gd name="T84" fmla="*/ 1730 w 1920"/>
                <a:gd name="T85" fmla="*/ 22 h 638"/>
                <a:gd name="T86" fmla="*/ 1760 w 1920"/>
                <a:gd name="T87" fmla="*/ 30 h 638"/>
                <a:gd name="T88" fmla="*/ 1790 w 1920"/>
                <a:gd name="T89" fmla="*/ 42 h 638"/>
                <a:gd name="T90" fmla="*/ 1818 w 1920"/>
                <a:gd name="T91" fmla="*/ 56 h 638"/>
                <a:gd name="T92" fmla="*/ 1844 w 1920"/>
                <a:gd name="T93" fmla="*/ 74 h 638"/>
                <a:gd name="T94" fmla="*/ 1870 w 1920"/>
                <a:gd name="T95" fmla="*/ 94 h 638"/>
                <a:gd name="T96" fmla="*/ 1880 w 1920"/>
                <a:gd name="T97" fmla="*/ 104 h 638"/>
                <a:gd name="T98" fmla="*/ 1890 w 1920"/>
                <a:gd name="T99" fmla="*/ 118 h 638"/>
                <a:gd name="T100" fmla="*/ 1898 w 1920"/>
                <a:gd name="T101" fmla="*/ 130 h 638"/>
                <a:gd name="T102" fmla="*/ 1906 w 1920"/>
                <a:gd name="T103" fmla="*/ 144 h 638"/>
                <a:gd name="T104" fmla="*/ 1912 w 1920"/>
                <a:gd name="T105" fmla="*/ 160 h 638"/>
                <a:gd name="T106" fmla="*/ 1916 w 1920"/>
                <a:gd name="T107" fmla="*/ 176 h 638"/>
                <a:gd name="T108" fmla="*/ 1918 w 1920"/>
                <a:gd name="T109" fmla="*/ 194 h 638"/>
                <a:gd name="T110" fmla="*/ 1920 w 1920"/>
                <a:gd name="T111" fmla="*/ 212 h 638"/>
                <a:gd name="T112" fmla="*/ 1920 w 1920"/>
                <a:gd name="T113" fmla="*/ 212 h 638"/>
                <a:gd name="T114" fmla="*/ 1920 w 1920"/>
                <a:gd name="T115" fmla="*/ 638 h 638"/>
                <a:gd name="T116" fmla="*/ 1458 w 1920"/>
                <a:gd name="T1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638">
                  <a:moveTo>
                    <a:pt x="1458" y="634"/>
                  </a:moveTo>
                  <a:lnTo>
                    <a:pt x="316" y="634"/>
                  </a:lnTo>
                  <a:lnTo>
                    <a:pt x="316" y="634"/>
                  </a:lnTo>
                  <a:lnTo>
                    <a:pt x="284" y="632"/>
                  </a:lnTo>
                  <a:lnTo>
                    <a:pt x="252" y="628"/>
                  </a:lnTo>
                  <a:lnTo>
                    <a:pt x="222" y="620"/>
                  </a:lnTo>
                  <a:lnTo>
                    <a:pt x="192" y="608"/>
                  </a:lnTo>
                  <a:lnTo>
                    <a:pt x="164" y="596"/>
                  </a:lnTo>
                  <a:lnTo>
                    <a:pt x="138" y="580"/>
                  </a:lnTo>
                  <a:lnTo>
                    <a:pt x="114" y="560"/>
                  </a:lnTo>
                  <a:lnTo>
                    <a:pt x="92" y="540"/>
                  </a:lnTo>
                  <a:lnTo>
                    <a:pt x="72" y="518"/>
                  </a:lnTo>
                  <a:lnTo>
                    <a:pt x="54" y="494"/>
                  </a:lnTo>
                  <a:lnTo>
                    <a:pt x="38" y="468"/>
                  </a:lnTo>
                  <a:lnTo>
                    <a:pt x="24" y="440"/>
                  </a:lnTo>
                  <a:lnTo>
                    <a:pt x="14" y="410"/>
                  </a:lnTo>
                  <a:lnTo>
                    <a:pt x="6" y="380"/>
                  </a:lnTo>
                  <a:lnTo>
                    <a:pt x="0" y="350"/>
                  </a:lnTo>
                  <a:lnTo>
                    <a:pt x="0" y="318"/>
                  </a:lnTo>
                  <a:lnTo>
                    <a:pt x="0" y="318"/>
                  </a:lnTo>
                  <a:lnTo>
                    <a:pt x="0" y="318"/>
                  </a:lnTo>
                  <a:lnTo>
                    <a:pt x="0" y="284"/>
                  </a:lnTo>
                  <a:lnTo>
                    <a:pt x="6" y="254"/>
                  </a:lnTo>
                  <a:lnTo>
                    <a:pt x="14" y="222"/>
                  </a:lnTo>
                  <a:lnTo>
                    <a:pt x="24" y="194"/>
                  </a:lnTo>
                  <a:lnTo>
                    <a:pt x="38" y="166"/>
                  </a:lnTo>
                  <a:lnTo>
                    <a:pt x="54" y="140"/>
                  </a:lnTo>
                  <a:lnTo>
                    <a:pt x="72" y="116"/>
                  </a:lnTo>
                  <a:lnTo>
                    <a:pt x="92" y="92"/>
                  </a:lnTo>
                  <a:lnTo>
                    <a:pt x="116" y="72"/>
                  </a:lnTo>
                  <a:lnTo>
                    <a:pt x="140" y="54"/>
                  </a:lnTo>
                  <a:lnTo>
                    <a:pt x="166" y="38"/>
                  </a:lnTo>
                  <a:lnTo>
                    <a:pt x="194" y="26"/>
                  </a:lnTo>
                  <a:lnTo>
                    <a:pt x="222" y="14"/>
                  </a:lnTo>
                  <a:lnTo>
                    <a:pt x="252" y="6"/>
                  </a:lnTo>
                  <a:lnTo>
                    <a:pt x="284" y="2"/>
                  </a:lnTo>
                  <a:lnTo>
                    <a:pt x="316" y="0"/>
                  </a:lnTo>
                  <a:lnTo>
                    <a:pt x="1600" y="0"/>
                  </a:lnTo>
                  <a:lnTo>
                    <a:pt x="1600" y="0"/>
                  </a:lnTo>
                  <a:lnTo>
                    <a:pt x="1612" y="2"/>
                  </a:lnTo>
                  <a:lnTo>
                    <a:pt x="1650" y="6"/>
                  </a:lnTo>
                  <a:lnTo>
                    <a:pt x="1700" y="14"/>
                  </a:lnTo>
                  <a:lnTo>
                    <a:pt x="1730" y="22"/>
                  </a:lnTo>
                  <a:lnTo>
                    <a:pt x="1760" y="30"/>
                  </a:lnTo>
                  <a:lnTo>
                    <a:pt x="1790" y="42"/>
                  </a:lnTo>
                  <a:lnTo>
                    <a:pt x="1818" y="56"/>
                  </a:lnTo>
                  <a:lnTo>
                    <a:pt x="1844" y="74"/>
                  </a:lnTo>
                  <a:lnTo>
                    <a:pt x="1870" y="94"/>
                  </a:lnTo>
                  <a:lnTo>
                    <a:pt x="1880" y="104"/>
                  </a:lnTo>
                  <a:lnTo>
                    <a:pt x="1890" y="118"/>
                  </a:lnTo>
                  <a:lnTo>
                    <a:pt x="1898" y="130"/>
                  </a:lnTo>
                  <a:lnTo>
                    <a:pt x="1906" y="144"/>
                  </a:lnTo>
                  <a:lnTo>
                    <a:pt x="1912" y="160"/>
                  </a:lnTo>
                  <a:lnTo>
                    <a:pt x="1916" y="176"/>
                  </a:lnTo>
                  <a:lnTo>
                    <a:pt x="1918" y="194"/>
                  </a:lnTo>
                  <a:lnTo>
                    <a:pt x="1920" y="212"/>
                  </a:lnTo>
                  <a:lnTo>
                    <a:pt x="1920" y="212"/>
                  </a:lnTo>
                  <a:lnTo>
                    <a:pt x="1920" y="638"/>
                  </a:lnTo>
                  <a:lnTo>
                    <a:pt x="1458" y="6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0" name="Line 53">
              <a:extLst>
                <a:ext uri="{FF2B5EF4-FFF2-40B4-BE49-F238E27FC236}">
                  <a16:creationId xmlns:a16="http://schemas.microsoft.com/office/drawing/2014/main" id="{69A2D436-3D09-47B7-80E8-C0DBD6A5D680}"/>
                </a:ext>
              </a:extLst>
            </p:cNvPr>
            <p:cNvSpPr>
              <a:spLocks noChangeShapeType="1"/>
            </p:cNvSpPr>
            <p:nvPr/>
          </p:nvSpPr>
          <p:spPr bwMode="auto">
            <a:xfrm>
              <a:off x="13355582" y="3591992"/>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1" name="Freeform 59">
              <a:extLst>
                <a:ext uri="{FF2B5EF4-FFF2-40B4-BE49-F238E27FC236}">
                  <a16:creationId xmlns:a16="http://schemas.microsoft.com/office/drawing/2014/main" id="{E0C47F14-D215-40E6-989F-05149556D753}"/>
                </a:ext>
              </a:extLst>
            </p:cNvPr>
            <p:cNvSpPr>
              <a:spLocks/>
            </p:cNvSpPr>
            <p:nvPr/>
          </p:nvSpPr>
          <p:spPr bwMode="auto">
            <a:xfrm>
              <a:off x="13557882" y="3345050"/>
              <a:ext cx="33622" cy="33623"/>
            </a:xfrm>
            <a:custGeom>
              <a:avLst/>
              <a:gdLst>
                <a:gd name="T0" fmla="*/ 120 w 238"/>
                <a:gd name="T1" fmla="*/ 0 h 238"/>
                <a:gd name="T2" fmla="*/ 120 w 238"/>
                <a:gd name="T3" fmla="*/ 0 h 238"/>
                <a:gd name="T4" fmla="*/ 132 w 238"/>
                <a:gd name="T5" fmla="*/ 2 h 238"/>
                <a:gd name="T6" fmla="*/ 144 w 238"/>
                <a:gd name="T7" fmla="*/ 4 h 238"/>
                <a:gd name="T8" fmla="*/ 166 w 238"/>
                <a:gd name="T9" fmla="*/ 10 h 238"/>
                <a:gd name="T10" fmla="*/ 186 w 238"/>
                <a:gd name="T11" fmla="*/ 22 h 238"/>
                <a:gd name="T12" fmla="*/ 202 w 238"/>
                <a:gd name="T13" fmla="*/ 36 h 238"/>
                <a:gd name="T14" fmla="*/ 218 w 238"/>
                <a:gd name="T15" fmla="*/ 54 h 238"/>
                <a:gd name="T16" fmla="*/ 228 w 238"/>
                <a:gd name="T17" fmla="*/ 74 h 238"/>
                <a:gd name="T18" fmla="*/ 236 w 238"/>
                <a:gd name="T19" fmla="*/ 96 h 238"/>
                <a:gd name="T20" fmla="*/ 236 w 238"/>
                <a:gd name="T21" fmla="*/ 108 h 238"/>
                <a:gd name="T22" fmla="*/ 238 w 238"/>
                <a:gd name="T23" fmla="*/ 120 h 238"/>
                <a:gd name="T24" fmla="*/ 238 w 238"/>
                <a:gd name="T25" fmla="*/ 120 h 238"/>
                <a:gd name="T26" fmla="*/ 236 w 238"/>
                <a:gd name="T27" fmla="*/ 132 h 238"/>
                <a:gd name="T28" fmla="*/ 236 w 238"/>
                <a:gd name="T29" fmla="*/ 144 h 238"/>
                <a:gd name="T30" fmla="*/ 228 w 238"/>
                <a:gd name="T31" fmla="*/ 166 h 238"/>
                <a:gd name="T32" fmla="*/ 218 w 238"/>
                <a:gd name="T33" fmla="*/ 186 h 238"/>
                <a:gd name="T34" fmla="*/ 202 w 238"/>
                <a:gd name="T35" fmla="*/ 202 h 238"/>
                <a:gd name="T36" fmla="*/ 186 w 238"/>
                <a:gd name="T37" fmla="*/ 218 h 238"/>
                <a:gd name="T38" fmla="*/ 166 w 238"/>
                <a:gd name="T39" fmla="*/ 228 h 238"/>
                <a:gd name="T40" fmla="*/ 144 w 238"/>
                <a:gd name="T41" fmla="*/ 236 h 238"/>
                <a:gd name="T42" fmla="*/ 132 w 238"/>
                <a:gd name="T43" fmla="*/ 236 h 238"/>
                <a:gd name="T44" fmla="*/ 120 w 238"/>
                <a:gd name="T45" fmla="*/ 238 h 238"/>
                <a:gd name="T46" fmla="*/ 120 w 238"/>
                <a:gd name="T47" fmla="*/ 238 h 238"/>
                <a:gd name="T48" fmla="*/ 108 w 238"/>
                <a:gd name="T49" fmla="*/ 236 h 238"/>
                <a:gd name="T50" fmla="*/ 96 w 238"/>
                <a:gd name="T51" fmla="*/ 236 h 238"/>
                <a:gd name="T52" fmla="*/ 74 w 238"/>
                <a:gd name="T53" fmla="*/ 228 h 238"/>
                <a:gd name="T54" fmla="*/ 54 w 238"/>
                <a:gd name="T55" fmla="*/ 218 h 238"/>
                <a:gd name="T56" fmla="*/ 36 w 238"/>
                <a:gd name="T57" fmla="*/ 202 h 238"/>
                <a:gd name="T58" fmla="*/ 22 w 238"/>
                <a:gd name="T59" fmla="*/ 186 h 238"/>
                <a:gd name="T60" fmla="*/ 10 w 238"/>
                <a:gd name="T61" fmla="*/ 166 h 238"/>
                <a:gd name="T62" fmla="*/ 4 w 238"/>
                <a:gd name="T63" fmla="*/ 144 h 238"/>
                <a:gd name="T64" fmla="*/ 2 w 238"/>
                <a:gd name="T65" fmla="*/ 132 h 238"/>
                <a:gd name="T66" fmla="*/ 0 w 238"/>
                <a:gd name="T67" fmla="*/ 120 h 238"/>
                <a:gd name="T68" fmla="*/ 0 w 238"/>
                <a:gd name="T69" fmla="*/ 120 h 238"/>
                <a:gd name="T70" fmla="*/ 2 w 238"/>
                <a:gd name="T71" fmla="*/ 108 h 238"/>
                <a:gd name="T72" fmla="*/ 4 w 238"/>
                <a:gd name="T73" fmla="*/ 96 h 238"/>
                <a:gd name="T74" fmla="*/ 10 w 238"/>
                <a:gd name="T75" fmla="*/ 74 h 238"/>
                <a:gd name="T76" fmla="*/ 22 w 238"/>
                <a:gd name="T77" fmla="*/ 54 h 238"/>
                <a:gd name="T78" fmla="*/ 36 w 238"/>
                <a:gd name="T79" fmla="*/ 36 h 238"/>
                <a:gd name="T80" fmla="*/ 54 w 238"/>
                <a:gd name="T81" fmla="*/ 22 h 238"/>
                <a:gd name="T82" fmla="*/ 74 w 238"/>
                <a:gd name="T83" fmla="*/ 10 h 238"/>
                <a:gd name="T84" fmla="*/ 96 w 238"/>
                <a:gd name="T85" fmla="*/ 4 h 238"/>
                <a:gd name="T86" fmla="*/ 108 w 238"/>
                <a:gd name="T87" fmla="*/ 2 h 238"/>
                <a:gd name="T88" fmla="*/ 120 w 238"/>
                <a:gd name="T89" fmla="*/ 0 h 238"/>
                <a:gd name="T90" fmla="*/ 120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20" y="0"/>
                  </a:moveTo>
                  <a:lnTo>
                    <a:pt x="120" y="0"/>
                  </a:lnTo>
                  <a:lnTo>
                    <a:pt x="132" y="2"/>
                  </a:lnTo>
                  <a:lnTo>
                    <a:pt x="144" y="4"/>
                  </a:lnTo>
                  <a:lnTo>
                    <a:pt x="166" y="10"/>
                  </a:lnTo>
                  <a:lnTo>
                    <a:pt x="186" y="22"/>
                  </a:lnTo>
                  <a:lnTo>
                    <a:pt x="202" y="36"/>
                  </a:lnTo>
                  <a:lnTo>
                    <a:pt x="218" y="54"/>
                  </a:lnTo>
                  <a:lnTo>
                    <a:pt x="228" y="74"/>
                  </a:lnTo>
                  <a:lnTo>
                    <a:pt x="236" y="96"/>
                  </a:lnTo>
                  <a:lnTo>
                    <a:pt x="236" y="108"/>
                  </a:lnTo>
                  <a:lnTo>
                    <a:pt x="238" y="120"/>
                  </a:lnTo>
                  <a:lnTo>
                    <a:pt x="238" y="120"/>
                  </a:lnTo>
                  <a:lnTo>
                    <a:pt x="236" y="132"/>
                  </a:lnTo>
                  <a:lnTo>
                    <a:pt x="236" y="144"/>
                  </a:lnTo>
                  <a:lnTo>
                    <a:pt x="228" y="166"/>
                  </a:lnTo>
                  <a:lnTo>
                    <a:pt x="218" y="186"/>
                  </a:lnTo>
                  <a:lnTo>
                    <a:pt x="202" y="202"/>
                  </a:lnTo>
                  <a:lnTo>
                    <a:pt x="186" y="218"/>
                  </a:lnTo>
                  <a:lnTo>
                    <a:pt x="166" y="228"/>
                  </a:lnTo>
                  <a:lnTo>
                    <a:pt x="144" y="236"/>
                  </a:lnTo>
                  <a:lnTo>
                    <a:pt x="132" y="236"/>
                  </a:lnTo>
                  <a:lnTo>
                    <a:pt x="120" y="238"/>
                  </a:lnTo>
                  <a:lnTo>
                    <a:pt x="120" y="238"/>
                  </a:lnTo>
                  <a:lnTo>
                    <a:pt x="108" y="236"/>
                  </a:lnTo>
                  <a:lnTo>
                    <a:pt x="96" y="236"/>
                  </a:lnTo>
                  <a:lnTo>
                    <a:pt x="74" y="228"/>
                  </a:lnTo>
                  <a:lnTo>
                    <a:pt x="54" y="218"/>
                  </a:lnTo>
                  <a:lnTo>
                    <a:pt x="36" y="202"/>
                  </a:lnTo>
                  <a:lnTo>
                    <a:pt x="22" y="186"/>
                  </a:lnTo>
                  <a:lnTo>
                    <a:pt x="10" y="166"/>
                  </a:lnTo>
                  <a:lnTo>
                    <a:pt x="4" y="144"/>
                  </a:lnTo>
                  <a:lnTo>
                    <a:pt x="2" y="132"/>
                  </a:lnTo>
                  <a:lnTo>
                    <a:pt x="0" y="120"/>
                  </a:lnTo>
                  <a:lnTo>
                    <a:pt x="0" y="120"/>
                  </a:lnTo>
                  <a:lnTo>
                    <a:pt x="2" y="108"/>
                  </a:lnTo>
                  <a:lnTo>
                    <a:pt x="4" y="96"/>
                  </a:lnTo>
                  <a:lnTo>
                    <a:pt x="10" y="74"/>
                  </a:lnTo>
                  <a:lnTo>
                    <a:pt x="22" y="54"/>
                  </a:lnTo>
                  <a:lnTo>
                    <a:pt x="36" y="36"/>
                  </a:lnTo>
                  <a:lnTo>
                    <a:pt x="54" y="22"/>
                  </a:lnTo>
                  <a:lnTo>
                    <a:pt x="74" y="10"/>
                  </a:lnTo>
                  <a:lnTo>
                    <a:pt x="96" y="4"/>
                  </a:lnTo>
                  <a:lnTo>
                    <a:pt x="108" y="2"/>
                  </a:lnTo>
                  <a:lnTo>
                    <a:pt x="120" y="0"/>
                  </a:lnTo>
                  <a:lnTo>
                    <a:pt x="12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2" name="Freeform 47">
              <a:extLst>
                <a:ext uri="{FF2B5EF4-FFF2-40B4-BE49-F238E27FC236}">
                  <a16:creationId xmlns:a16="http://schemas.microsoft.com/office/drawing/2014/main" id="{B1BD44D2-3DD6-4BA3-A3DB-A7EACA400B01}"/>
                </a:ext>
              </a:extLst>
            </p:cNvPr>
            <p:cNvSpPr>
              <a:spLocks/>
            </p:cNvSpPr>
            <p:nvPr/>
          </p:nvSpPr>
          <p:spPr bwMode="auto">
            <a:xfrm>
              <a:off x="13357278" y="3429000"/>
              <a:ext cx="271240" cy="89566"/>
            </a:xfrm>
            <a:custGeom>
              <a:avLst/>
              <a:gdLst>
                <a:gd name="T0" fmla="*/ 1920 w 1920"/>
                <a:gd name="T1" fmla="*/ 318 h 634"/>
                <a:gd name="T2" fmla="*/ 1914 w 1920"/>
                <a:gd name="T3" fmla="*/ 382 h 634"/>
                <a:gd name="T4" fmla="*/ 1894 w 1920"/>
                <a:gd name="T5" fmla="*/ 440 h 634"/>
                <a:gd name="T6" fmla="*/ 1866 w 1920"/>
                <a:gd name="T7" fmla="*/ 494 h 634"/>
                <a:gd name="T8" fmla="*/ 1826 w 1920"/>
                <a:gd name="T9" fmla="*/ 542 h 634"/>
                <a:gd name="T10" fmla="*/ 1780 w 1920"/>
                <a:gd name="T11" fmla="*/ 580 h 634"/>
                <a:gd name="T12" fmla="*/ 1726 w 1920"/>
                <a:gd name="T13" fmla="*/ 610 h 634"/>
                <a:gd name="T14" fmla="*/ 1666 w 1920"/>
                <a:gd name="T15" fmla="*/ 628 h 634"/>
                <a:gd name="T16" fmla="*/ 1604 w 1920"/>
                <a:gd name="T17" fmla="*/ 634 h 634"/>
                <a:gd name="T18" fmla="*/ 316 w 1920"/>
                <a:gd name="T19" fmla="*/ 634 h 634"/>
                <a:gd name="T20" fmla="*/ 252 w 1920"/>
                <a:gd name="T21" fmla="*/ 628 h 634"/>
                <a:gd name="T22" fmla="*/ 194 w 1920"/>
                <a:gd name="T23" fmla="*/ 608 h 634"/>
                <a:gd name="T24" fmla="*/ 140 w 1920"/>
                <a:gd name="T25" fmla="*/ 580 h 634"/>
                <a:gd name="T26" fmla="*/ 92 w 1920"/>
                <a:gd name="T27" fmla="*/ 540 h 634"/>
                <a:gd name="T28" fmla="*/ 54 w 1920"/>
                <a:gd name="T29" fmla="*/ 494 h 634"/>
                <a:gd name="T30" fmla="*/ 24 w 1920"/>
                <a:gd name="T31" fmla="*/ 440 h 634"/>
                <a:gd name="T32" fmla="*/ 6 w 1920"/>
                <a:gd name="T33" fmla="*/ 380 h 634"/>
                <a:gd name="T34" fmla="*/ 0 w 1920"/>
                <a:gd name="T35" fmla="*/ 318 h 634"/>
                <a:gd name="T36" fmla="*/ 0 w 1920"/>
                <a:gd name="T37" fmla="*/ 318 h 634"/>
                <a:gd name="T38" fmla="*/ 6 w 1920"/>
                <a:gd name="T39" fmla="*/ 254 h 634"/>
                <a:gd name="T40" fmla="*/ 26 w 1920"/>
                <a:gd name="T41" fmla="*/ 194 h 634"/>
                <a:gd name="T42" fmla="*/ 54 w 1920"/>
                <a:gd name="T43" fmla="*/ 140 h 634"/>
                <a:gd name="T44" fmla="*/ 94 w 1920"/>
                <a:gd name="T45" fmla="*/ 92 h 634"/>
                <a:gd name="T46" fmla="*/ 140 w 1920"/>
                <a:gd name="T47" fmla="*/ 54 h 634"/>
                <a:gd name="T48" fmla="*/ 194 w 1920"/>
                <a:gd name="T49" fmla="*/ 26 h 634"/>
                <a:gd name="T50" fmla="*/ 254 w 1920"/>
                <a:gd name="T51" fmla="*/ 6 h 634"/>
                <a:gd name="T52" fmla="*/ 316 w 1920"/>
                <a:gd name="T53" fmla="*/ 0 h 634"/>
                <a:gd name="T54" fmla="*/ 1600 w 1920"/>
                <a:gd name="T55" fmla="*/ 0 h 634"/>
                <a:gd name="T56" fmla="*/ 1664 w 1920"/>
                <a:gd name="T57" fmla="*/ 6 h 634"/>
                <a:gd name="T58" fmla="*/ 1724 w 1920"/>
                <a:gd name="T59" fmla="*/ 26 h 634"/>
                <a:gd name="T60" fmla="*/ 1778 w 1920"/>
                <a:gd name="T61" fmla="*/ 54 h 634"/>
                <a:gd name="T62" fmla="*/ 1826 w 1920"/>
                <a:gd name="T63" fmla="*/ 92 h 634"/>
                <a:gd name="T64" fmla="*/ 1866 w 1920"/>
                <a:gd name="T65" fmla="*/ 140 h 634"/>
                <a:gd name="T66" fmla="*/ 1894 w 1920"/>
                <a:gd name="T67" fmla="*/ 194 h 634"/>
                <a:gd name="T68" fmla="*/ 1914 w 1920"/>
                <a:gd name="T69" fmla="*/ 254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18" y="350"/>
                  </a:lnTo>
                  <a:lnTo>
                    <a:pt x="1914" y="382"/>
                  </a:lnTo>
                  <a:lnTo>
                    <a:pt x="1906" y="412"/>
                  </a:lnTo>
                  <a:lnTo>
                    <a:pt x="1894" y="440"/>
                  </a:lnTo>
                  <a:lnTo>
                    <a:pt x="1882" y="468"/>
                  </a:lnTo>
                  <a:lnTo>
                    <a:pt x="1866" y="494"/>
                  </a:lnTo>
                  <a:lnTo>
                    <a:pt x="1846" y="520"/>
                  </a:lnTo>
                  <a:lnTo>
                    <a:pt x="1826" y="542"/>
                  </a:lnTo>
                  <a:lnTo>
                    <a:pt x="1804" y="562"/>
                  </a:lnTo>
                  <a:lnTo>
                    <a:pt x="1780" y="580"/>
                  </a:lnTo>
                  <a:lnTo>
                    <a:pt x="1754" y="596"/>
                  </a:lnTo>
                  <a:lnTo>
                    <a:pt x="1726" y="610"/>
                  </a:lnTo>
                  <a:lnTo>
                    <a:pt x="1696" y="620"/>
                  </a:lnTo>
                  <a:lnTo>
                    <a:pt x="1666" y="628"/>
                  </a:lnTo>
                  <a:lnTo>
                    <a:pt x="1636" y="632"/>
                  </a:lnTo>
                  <a:lnTo>
                    <a:pt x="1604" y="634"/>
                  </a:lnTo>
                  <a:lnTo>
                    <a:pt x="316" y="634"/>
                  </a:lnTo>
                  <a:lnTo>
                    <a:pt x="316" y="634"/>
                  </a:lnTo>
                  <a:lnTo>
                    <a:pt x="284" y="632"/>
                  </a:lnTo>
                  <a:lnTo>
                    <a:pt x="252" y="628"/>
                  </a:lnTo>
                  <a:lnTo>
                    <a:pt x="222" y="620"/>
                  </a:lnTo>
                  <a:lnTo>
                    <a:pt x="194" y="608"/>
                  </a:lnTo>
                  <a:lnTo>
                    <a:pt x="166" y="596"/>
                  </a:lnTo>
                  <a:lnTo>
                    <a:pt x="140" y="580"/>
                  </a:lnTo>
                  <a:lnTo>
                    <a:pt x="114" y="560"/>
                  </a:lnTo>
                  <a:lnTo>
                    <a:pt x="92" y="540"/>
                  </a:lnTo>
                  <a:lnTo>
                    <a:pt x="72" y="518"/>
                  </a:lnTo>
                  <a:lnTo>
                    <a:pt x="54" y="494"/>
                  </a:lnTo>
                  <a:lnTo>
                    <a:pt x="38" y="468"/>
                  </a:lnTo>
                  <a:lnTo>
                    <a:pt x="24" y="440"/>
                  </a:lnTo>
                  <a:lnTo>
                    <a:pt x="14" y="410"/>
                  </a:lnTo>
                  <a:lnTo>
                    <a:pt x="6" y="380"/>
                  </a:lnTo>
                  <a:lnTo>
                    <a:pt x="2" y="350"/>
                  </a:lnTo>
                  <a:lnTo>
                    <a:pt x="0" y="318"/>
                  </a:lnTo>
                  <a:lnTo>
                    <a:pt x="0" y="318"/>
                  </a:lnTo>
                  <a:lnTo>
                    <a:pt x="0" y="318"/>
                  </a:lnTo>
                  <a:lnTo>
                    <a:pt x="2" y="284"/>
                  </a:lnTo>
                  <a:lnTo>
                    <a:pt x="6" y="254"/>
                  </a:lnTo>
                  <a:lnTo>
                    <a:pt x="14" y="222"/>
                  </a:lnTo>
                  <a:lnTo>
                    <a:pt x="26" y="194"/>
                  </a:lnTo>
                  <a:lnTo>
                    <a:pt x="38" y="166"/>
                  </a:lnTo>
                  <a:lnTo>
                    <a:pt x="54" y="140"/>
                  </a:lnTo>
                  <a:lnTo>
                    <a:pt x="74" y="116"/>
                  </a:lnTo>
                  <a:lnTo>
                    <a:pt x="94" y="92"/>
                  </a:lnTo>
                  <a:lnTo>
                    <a:pt x="116" y="72"/>
                  </a:lnTo>
                  <a:lnTo>
                    <a:pt x="140" y="54"/>
                  </a:lnTo>
                  <a:lnTo>
                    <a:pt x="166" y="38"/>
                  </a:lnTo>
                  <a:lnTo>
                    <a:pt x="194" y="26"/>
                  </a:lnTo>
                  <a:lnTo>
                    <a:pt x="224" y="14"/>
                  </a:lnTo>
                  <a:lnTo>
                    <a:pt x="254" y="6"/>
                  </a:lnTo>
                  <a:lnTo>
                    <a:pt x="284" y="2"/>
                  </a:lnTo>
                  <a:lnTo>
                    <a:pt x="316" y="0"/>
                  </a:lnTo>
                  <a:lnTo>
                    <a:pt x="1600" y="0"/>
                  </a:lnTo>
                  <a:lnTo>
                    <a:pt x="1600" y="0"/>
                  </a:lnTo>
                  <a:lnTo>
                    <a:pt x="1632" y="2"/>
                  </a:lnTo>
                  <a:lnTo>
                    <a:pt x="1664" y="6"/>
                  </a:lnTo>
                  <a:lnTo>
                    <a:pt x="1694" y="14"/>
                  </a:lnTo>
                  <a:lnTo>
                    <a:pt x="1724" y="26"/>
                  </a:lnTo>
                  <a:lnTo>
                    <a:pt x="1752" y="38"/>
                  </a:lnTo>
                  <a:lnTo>
                    <a:pt x="1778" y="54"/>
                  </a:lnTo>
                  <a:lnTo>
                    <a:pt x="1804" y="72"/>
                  </a:lnTo>
                  <a:lnTo>
                    <a:pt x="1826" y="92"/>
                  </a:lnTo>
                  <a:lnTo>
                    <a:pt x="1846" y="116"/>
                  </a:lnTo>
                  <a:lnTo>
                    <a:pt x="1866" y="140"/>
                  </a:lnTo>
                  <a:lnTo>
                    <a:pt x="1882" y="166"/>
                  </a:lnTo>
                  <a:lnTo>
                    <a:pt x="1894" y="194"/>
                  </a:lnTo>
                  <a:lnTo>
                    <a:pt x="1906" y="222"/>
                  </a:lnTo>
                  <a:lnTo>
                    <a:pt x="1914" y="254"/>
                  </a:lnTo>
                  <a:lnTo>
                    <a:pt x="1918"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3" name="Line 48">
              <a:extLst>
                <a:ext uri="{FF2B5EF4-FFF2-40B4-BE49-F238E27FC236}">
                  <a16:creationId xmlns:a16="http://schemas.microsoft.com/office/drawing/2014/main" id="{33D9418D-8BD4-4E40-8A59-79C59BA70897}"/>
                </a:ext>
              </a:extLst>
            </p:cNvPr>
            <p:cNvSpPr>
              <a:spLocks noChangeShapeType="1"/>
            </p:cNvSpPr>
            <p:nvPr/>
          </p:nvSpPr>
          <p:spPr bwMode="auto">
            <a:xfrm>
              <a:off x="13357278" y="3473924"/>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4" name="Line 50">
              <a:extLst>
                <a:ext uri="{FF2B5EF4-FFF2-40B4-BE49-F238E27FC236}">
                  <a16:creationId xmlns:a16="http://schemas.microsoft.com/office/drawing/2014/main" id="{2CE77C7A-06B5-44EC-9CB9-D20010E3F435}"/>
                </a:ext>
              </a:extLst>
            </p:cNvPr>
            <p:cNvSpPr>
              <a:spLocks noChangeShapeType="1"/>
            </p:cNvSpPr>
            <p:nvPr/>
          </p:nvSpPr>
          <p:spPr bwMode="auto">
            <a:xfrm>
              <a:off x="13358973" y="3589201"/>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5" name="Freeform 52">
              <a:extLst>
                <a:ext uri="{FF2B5EF4-FFF2-40B4-BE49-F238E27FC236}">
                  <a16:creationId xmlns:a16="http://schemas.microsoft.com/office/drawing/2014/main" id="{A524B6CE-92D7-4BDC-BE5C-B7640F9568DD}"/>
                </a:ext>
              </a:extLst>
            </p:cNvPr>
            <p:cNvSpPr>
              <a:spLocks/>
            </p:cNvSpPr>
            <p:nvPr/>
          </p:nvSpPr>
          <p:spPr bwMode="auto">
            <a:xfrm>
              <a:off x="13355582" y="3659554"/>
              <a:ext cx="271240" cy="90131"/>
            </a:xfrm>
            <a:custGeom>
              <a:avLst/>
              <a:gdLst>
                <a:gd name="T0" fmla="*/ 1458 w 1920"/>
                <a:gd name="T1" fmla="*/ 634 h 638"/>
                <a:gd name="T2" fmla="*/ 316 w 1920"/>
                <a:gd name="T3" fmla="*/ 634 h 638"/>
                <a:gd name="T4" fmla="*/ 316 w 1920"/>
                <a:gd name="T5" fmla="*/ 634 h 638"/>
                <a:gd name="T6" fmla="*/ 284 w 1920"/>
                <a:gd name="T7" fmla="*/ 632 h 638"/>
                <a:gd name="T8" fmla="*/ 252 w 1920"/>
                <a:gd name="T9" fmla="*/ 628 h 638"/>
                <a:gd name="T10" fmla="*/ 222 w 1920"/>
                <a:gd name="T11" fmla="*/ 620 h 638"/>
                <a:gd name="T12" fmla="*/ 192 w 1920"/>
                <a:gd name="T13" fmla="*/ 608 h 638"/>
                <a:gd name="T14" fmla="*/ 164 w 1920"/>
                <a:gd name="T15" fmla="*/ 596 h 638"/>
                <a:gd name="T16" fmla="*/ 138 w 1920"/>
                <a:gd name="T17" fmla="*/ 580 h 638"/>
                <a:gd name="T18" fmla="*/ 114 w 1920"/>
                <a:gd name="T19" fmla="*/ 560 h 638"/>
                <a:gd name="T20" fmla="*/ 92 w 1920"/>
                <a:gd name="T21" fmla="*/ 540 h 638"/>
                <a:gd name="T22" fmla="*/ 72 w 1920"/>
                <a:gd name="T23" fmla="*/ 518 h 638"/>
                <a:gd name="T24" fmla="*/ 54 w 1920"/>
                <a:gd name="T25" fmla="*/ 494 h 638"/>
                <a:gd name="T26" fmla="*/ 38 w 1920"/>
                <a:gd name="T27" fmla="*/ 468 h 638"/>
                <a:gd name="T28" fmla="*/ 24 w 1920"/>
                <a:gd name="T29" fmla="*/ 440 h 638"/>
                <a:gd name="T30" fmla="*/ 14 w 1920"/>
                <a:gd name="T31" fmla="*/ 410 h 638"/>
                <a:gd name="T32" fmla="*/ 6 w 1920"/>
                <a:gd name="T33" fmla="*/ 380 h 638"/>
                <a:gd name="T34" fmla="*/ 0 w 1920"/>
                <a:gd name="T35" fmla="*/ 350 h 638"/>
                <a:gd name="T36" fmla="*/ 0 w 1920"/>
                <a:gd name="T37" fmla="*/ 318 h 638"/>
                <a:gd name="T38" fmla="*/ 0 w 1920"/>
                <a:gd name="T39" fmla="*/ 318 h 638"/>
                <a:gd name="T40" fmla="*/ 0 w 1920"/>
                <a:gd name="T41" fmla="*/ 318 h 638"/>
                <a:gd name="T42" fmla="*/ 0 w 1920"/>
                <a:gd name="T43" fmla="*/ 284 h 638"/>
                <a:gd name="T44" fmla="*/ 6 w 1920"/>
                <a:gd name="T45" fmla="*/ 254 h 638"/>
                <a:gd name="T46" fmla="*/ 14 w 1920"/>
                <a:gd name="T47" fmla="*/ 222 h 638"/>
                <a:gd name="T48" fmla="*/ 24 w 1920"/>
                <a:gd name="T49" fmla="*/ 194 h 638"/>
                <a:gd name="T50" fmla="*/ 38 w 1920"/>
                <a:gd name="T51" fmla="*/ 166 h 638"/>
                <a:gd name="T52" fmla="*/ 54 w 1920"/>
                <a:gd name="T53" fmla="*/ 140 h 638"/>
                <a:gd name="T54" fmla="*/ 72 w 1920"/>
                <a:gd name="T55" fmla="*/ 116 h 638"/>
                <a:gd name="T56" fmla="*/ 92 w 1920"/>
                <a:gd name="T57" fmla="*/ 92 h 638"/>
                <a:gd name="T58" fmla="*/ 116 w 1920"/>
                <a:gd name="T59" fmla="*/ 72 h 638"/>
                <a:gd name="T60" fmla="*/ 140 w 1920"/>
                <a:gd name="T61" fmla="*/ 54 h 638"/>
                <a:gd name="T62" fmla="*/ 166 w 1920"/>
                <a:gd name="T63" fmla="*/ 38 h 638"/>
                <a:gd name="T64" fmla="*/ 194 w 1920"/>
                <a:gd name="T65" fmla="*/ 26 h 638"/>
                <a:gd name="T66" fmla="*/ 222 w 1920"/>
                <a:gd name="T67" fmla="*/ 14 h 638"/>
                <a:gd name="T68" fmla="*/ 252 w 1920"/>
                <a:gd name="T69" fmla="*/ 6 h 638"/>
                <a:gd name="T70" fmla="*/ 284 w 1920"/>
                <a:gd name="T71" fmla="*/ 2 h 638"/>
                <a:gd name="T72" fmla="*/ 316 w 1920"/>
                <a:gd name="T73" fmla="*/ 0 h 638"/>
                <a:gd name="T74" fmla="*/ 1600 w 1920"/>
                <a:gd name="T75" fmla="*/ 0 h 638"/>
                <a:gd name="T76" fmla="*/ 1600 w 1920"/>
                <a:gd name="T77" fmla="*/ 0 h 638"/>
                <a:gd name="T78" fmla="*/ 1612 w 1920"/>
                <a:gd name="T79" fmla="*/ 2 h 638"/>
                <a:gd name="T80" fmla="*/ 1650 w 1920"/>
                <a:gd name="T81" fmla="*/ 6 h 638"/>
                <a:gd name="T82" fmla="*/ 1700 w 1920"/>
                <a:gd name="T83" fmla="*/ 14 h 638"/>
                <a:gd name="T84" fmla="*/ 1730 w 1920"/>
                <a:gd name="T85" fmla="*/ 22 h 638"/>
                <a:gd name="T86" fmla="*/ 1760 w 1920"/>
                <a:gd name="T87" fmla="*/ 30 h 638"/>
                <a:gd name="T88" fmla="*/ 1790 w 1920"/>
                <a:gd name="T89" fmla="*/ 42 h 638"/>
                <a:gd name="T90" fmla="*/ 1818 w 1920"/>
                <a:gd name="T91" fmla="*/ 56 h 638"/>
                <a:gd name="T92" fmla="*/ 1844 w 1920"/>
                <a:gd name="T93" fmla="*/ 74 h 638"/>
                <a:gd name="T94" fmla="*/ 1870 w 1920"/>
                <a:gd name="T95" fmla="*/ 94 h 638"/>
                <a:gd name="T96" fmla="*/ 1880 w 1920"/>
                <a:gd name="T97" fmla="*/ 104 h 638"/>
                <a:gd name="T98" fmla="*/ 1890 w 1920"/>
                <a:gd name="T99" fmla="*/ 118 h 638"/>
                <a:gd name="T100" fmla="*/ 1898 w 1920"/>
                <a:gd name="T101" fmla="*/ 130 h 638"/>
                <a:gd name="T102" fmla="*/ 1906 w 1920"/>
                <a:gd name="T103" fmla="*/ 144 h 638"/>
                <a:gd name="T104" fmla="*/ 1912 w 1920"/>
                <a:gd name="T105" fmla="*/ 160 h 638"/>
                <a:gd name="T106" fmla="*/ 1916 w 1920"/>
                <a:gd name="T107" fmla="*/ 176 h 638"/>
                <a:gd name="T108" fmla="*/ 1918 w 1920"/>
                <a:gd name="T109" fmla="*/ 194 h 638"/>
                <a:gd name="T110" fmla="*/ 1920 w 1920"/>
                <a:gd name="T111" fmla="*/ 212 h 638"/>
                <a:gd name="T112" fmla="*/ 1920 w 1920"/>
                <a:gd name="T113" fmla="*/ 212 h 638"/>
                <a:gd name="T114" fmla="*/ 1920 w 1920"/>
                <a:gd name="T115" fmla="*/ 638 h 638"/>
                <a:gd name="T116" fmla="*/ 1458 w 1920"/>
                <a:gd name="T1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638">
                  <a:moveTo>
                    <a:pt x="1458" y="634"/>
                  </a:moveTo>
                  <a:lnTo>
                    <a:pt x="316" y="634"/>
                  </a:lnTo>
                  <a:lnTo>
                    <a:pt x="316" y="634"/>
                  </a:lnTo>
                  <a:lnTo>
                    <a:pt x="284" y="632"/>
                  </a:lnTo>
                  <a:lnTo>
                    <a:pt x="252" y="628"/>
                  </a:lnTo>
                  <a:lnTo>
                    <a:pt x="222" y="620"/>
                  </a:lnTo>
                  <a:lnTo>
                    <a:pt x="192" y="608"/>
                  </a:lnTo>
                  <a:lnTo>
                    <a:pt x="164" y="596"/>
                  </a:lnTo>
                  <a:lnTo>
                    <a:pt x="138" y="580"/>
                  </a:lnTo>
                  <a:lnTo>
                    <a:pt x="114" y="560"/>
                  </a:lnTo>
                  <a:lnTo>
                    <a:pt x="92" y="540"/>
                  </a:lnTo>
                  <a:lnTo>
                    <a:pt x="72" y="518"/>
                  </a:lnTo>
                  <a:lnTo>
                    <a:pt x="54" y="494"/>
                  </a:lnTo>
                  <a:lnTo>
                    <a:pt x="38" y="468"/>
                  </a:lnTo>
                  <a:lnTo>
                    <a:pt x="24" y="440"/>
                  </a:lnTo>
                  <a:lnTo>
                    <a:pt x="14" y="410"/>
                  </a:lnTo>
                  <a:lnTo>
                    <a:pt x="6" y="380"/>
                  </a:lnTo>
                  <a:lnTo>
                    <a:pt x="0" y="350"/>
                  </a:lnTo>
                  <a:lnTo>
                    <a:pt x="0" y="318"/>
                  </a:lnTo>
                  <a:lnTo>
                    <a:pt x="0" y="318"/>
                  </a:lnTo>
                  <a:lnTo>
                    <a:pt x="0" y="318"/>
                  </a:lnTo>
                  <a:lnTo>
                    <a:pt x="0" y="284"/>
                  </a:lnTo>
                  <a:lnTo>
                    <a:pt x="6" y="254"/>
                  </a:lnTo>
                  <a:lnTo>
                    <a:pt x="14" y="222"/>
                  </a:lnTo>
                  <a:lnTo>
                    <a:pt x="24" y="194"/>
                  </a:lnTo>
                  <a:lnTo>
                    <a:pt x="38" y="166"/>
                  </a:lnTo>
                  <a:lnTo>
                    <a:pt x="54" y="140"/>
                  </a:lnTo>
                  <a:lnTo>
                    <a:pt x="72" y="116"/>
                  </a:lnTo>
                  <a:lnTo>
                    <a:pt x="92" y="92"/>
                  </a:lnTo>
                  <a:lnTo>
                    <a:pt x="116" y="72"/>
                  </a:lnTo>
                  <a:lnTo>
                    <a:pt x="140" y="54"/>
                  </a:lnTo>
                  <a:lnTo>
                    <a:pt x="166" y="38"/>
                  </a:lnTo>
                  <a:lnTo>
                    <a:pt x="194" y="26"/>
                  </a:lnTo>
                  <a:lnTo>
                    <a:pt x="222" y="14"/>
                  </a:lnTo>
                  <a:lnTo>
                    <a:pt x="252" y="6"/>
                  </a:lnTo>
                  <a:lnTo>
                    <a:pt x="284" y="2"/>
                  </a:lnTo>
                  <a:lnTo>
                    <a:pt x="316" y="0"/>
                  </a:lnTo>
                  <a:lnTo>
                    <a:pt x="1600" y="0"/>
                  </a:lnTo>
                  <a:lnTo>
                    <a:pt x="1600" y="0"/>
                  </a:lnTo>
                  <a:lnTo>
                    <a:pt x="1612" y="2"/>
                  </a:lnTo>
                  <a:lnTo>
                    <a:pt x="1650" y="6"/>
                  </a:lnTo>
                  <a:lnTo>
                    <a:pt x="1700" y="14"/>
                  </a:lnTo>
                  <a:lnTo>
                    <a:pt x="1730" y="22"/>
                  </a:lnTo>
                  <a:lnTo>
                    <a:pt x="1760" y="30"/>
                  </a:lnTo>
                  <a:lnTo>
                    <a:pt x="1790" y="42"/>
                  </a:lnTo>
                  <a:lnTo>
                    <a:pt x="1818" y="56"/>
                  </a:lnTo>
                  <a:lnTo>
                    <a:pt x="1844" y="74"/>
                  </a:lnTo>
                  <a:lnTo>
                    <a:pt x="1870" y="94"/>
                  </a:lnTo>
                  <a:lnTo>
                    <a:pt x="1880" y="104"/>
                  </a:lnTo>
                  <a:lnTo>
                    <a:pt x="1890" y="118"/>
                  </a:lnTo>
                  <a:lnTo>
                    <a:pt x="1898" y="130"/>
                  </a:lnTo>
                  <a:lnTo>
                    <a:pt x="1906" y="144"/>
                  </a:lnTo>
                  <a:lnTo>
                    <a:pt x="1912" y="160"/>
                  </a:lnTo>
                  <a:lnTo>
                    <a:pt x="1916" y="176"/>
                  </a:lnTo>
                  <a:lnTo>
                    <a:pt x="1918" y="194"/>
                  </a:lnTo>
                  <a:lnTo>
                    <a:pt x="1920" y="212"/>
                  </a:lnTo>
                  <a:lnTo>
                    <a:pt x="1920" y="212"/>
                  </a:lnTo>
                  <a:lnTo>
                    <a:pt x="1920" y="638"/>
                  </a:lnTo>
                  <a:lnTo>
                    <a:pt x="1458" y="6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6" name="Line 53">
              <a:extLst>
                <a:ext uri="{FF2B5EF4-FFF2-40B4-BE49-F238E27FC236}">
                  <a16:creationId xmlns:a16="http://schemas.microsoft.com/office/drawing/2014/main" id="{2BD9DA73-0363-44EE-AE92-E2B518B46DB1}"/>
                </a:ext>
              </a:extLst>
            </p:cNvPr>
            <p:cNvSpPr>
              <a:spLocks noChangeShapeType="1"/>
            </p:cNvSpPr>
            <p:nvPr/>
          </p:nvSpPr>
          <p:spPr bwMode="auto">
            <a:xfrm>
              <a:off x="13355582" y="3703913"/>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7" name="Freeform 59">
              <a:extLst>
                <a:ext uri="{FF2B5EF4-FFF2-40B4-BE49-F238E27FC236}">
                  <a16:creationId xmlns:a16="http://schemas.microsoft.com/office/drawing/2014/main" id="{B534265D-662A-4D04-9208-C46F1A7393ED}"/>
                </a:ext>
              </a:extLst>
            </p:cNvPr>
            <p:cNvSpPr>
              <a:spLocks/>
            </p:cNvSpPr>
            <p:nvPr/>
          </p:nvSpPr>
          <p:spPr bwMode="auto">
            <a:xfrm>
              <a:off x="13557882" y="3456971"/>
              <a:ext cx="33622" cy="33623"/>
            </a:xfrm>
            <a:custGeom>
              <a:avLst/>
              <a:gdLst>
                <a:gd name="T0" fmla="*/ 120 w 238"/>
                <a:gd name="T1" fmla="*/ 0 h 238"/>
                <a:gd name="T2" fmla="*/ 120 w 238"/>
                <a:gd name="T3" fmla="*/ 0 h 238"/>
                <a:gd name="T4" fmla="*/ 132 w 238"/>
                <a:gd name="T5" fmla="*/ 2 h 238"/>
                <a:gd name="T6" fmla="*/ 144 w 238"/>
                <a:gd name="T7" fmla="*/ 4 h 238"/>
                <a:gd name="T8" fmla="*/ 166 w 238"/>
                <a:gd name="T9" fmla="*/ 10 h 238"/>
                <a:gd name="T10" fmla="*/ 186 w 238"/>
                <a:gd name="T11" fmla="*/ 22 h 238"/>
                <a:gd name="T12" fmla="*/ 202 w 238"/>
                <a:gd name="T13" fmla="*/ 36 h 238"/>
                <a:gd name="T14" fmla="*/ 218 w 238"/>
                <a:gd name="T15" fmla="*/ 54 h 238"/>
                <a:gd name="T16" fmla="*/ 228 w 238"/>
                <a:gd name="T17" fmla="*/ 74 h 238"/>
                <a:gd name="T18" fmla="*/ 236 w 238"/>
                <a:gd name="T19" fmla="*/ 96 h 238"/>
                <a:gd name="T20" fmla="*/ 236 w 238"/>
                <a:gd name="T21" fmla="*/ 108 h 238"/>
                <a:gd name="T22" fmla="*/ 238 w 238"/>
                <a:gd name="T23" fmla="*/ 120 h 238"/>
                <a:gd name="T24" fmla="*/ 238 w 238"/>
                <a:gd name="T25" fmla="*/ 120 h 238"/>
                <a:gd name="T26" fmla="*/ 236 w 238"/>
                <a:gd name="T27" fmla="*/ 132 h 238"/>
                <a:gd name="T28" fmla="*/ 236 w 238"/>
                <a:gd name="T29" fmla="*/ 144 h 238"/>
                <a:gd name="T30" fmla="*/ 228 w 238"/>
                <a:gd name="T31" fmla="*/ 166 h 238"/>
                <a:gd name="T32" fmla="*/ 218 w 238"/>
                <a:gd name="T33" fmla="*/ 186 h 238"/>
                <a:gd name="T34" fmla="*/ 202 w 238"/>
                <a:gd name="T35" fmla="*/ 202 h 238"/>
                <a:gd name="T36" fmla="*/ 186 w 238"/>
                <a:gd name="T37" fmla="*/ 218 h 238"/>
                <a:gd name="T38" fmla="*/ 166 w 238"/>
                <a:gd name="T39" fmla="*/ 228 h 238"/>
                <a:gd name="T40" fmla="*/ 144 w 238"/>
                <a:gd name="T41" fmla="*/ 236 h 238"/>
                <a:gd name="T42" fmla="*/ 132 w 238"/>
                <a:gd name="T43" fmla="*/ 236 h 238"/>
                <a:gd name="T44" fmla="*/ 120 w 238"/>
                <a:gd name="T45" fmla="*/ 238 h 238"/>
                <a:gd name="T46" fmla="*/ 120 w 238"/>
                <a:gd name="T47" fmla="*/ 238 h 238"/>
                <a:gd name="T48" fmla="*/ 108 w 238"/>
                <a:gd name="T49" fmla="*/ 236 h 238"/>
                <a:gd name="T50" fmla="*/ 96 w 238"/>
                <a:gd name="T51" fmla="*/ 236 h 238"/>
                <a:gd name="T52" fmla="*/ 74 w 238"/>
                <a:gd name="T53" fmla="*/ 228 h 238"/>
                <a:gd name="T54" fmla="*/ 54 w 238"/>
                <a:gd name="T55" fmla="*/ 218 h 238"/>
                <a:gd name="T56" fmla="*/ 36 w 238"/>
                <a:gd name="T57" fmla="*/ 202 h 238"/>
                <a:gd name="T58" fmla="*/ 22 w 238"/>
                <a:gd name="T59" fmla="*/ 186 h 238"/>
                <a:gd name="T60" fmla="*/ 10 w 238"/>
                <a:gd name="T61" fmla="*/ 166 h 238"/>
                <a:gd name="T62" fmla="*/ 4 w 238"/>
                <a:gd name="T63" fmla="*/ 144 h 238"/>
                <a:gd name="T64" fmla="*/ 2 w 238"/>
                <a:gd name="T65" fmla="*/ 132 h 238"/>
                <a:gd name="T66" fmla="*/ 0 w 238"/>
                <a:gd name="T67" fmla="*/ 120 h 238"/>
                <a:gd name="T68" fmla="*/ 0 w 238"/>
                <a:gd name="T69" fmla="*/ 120 h 238"/>
                <a:gd name="T70" fmla="*/ 2 w 238"/>
                <a:gd name="T71" fmla="*/ 108 h 238"/>
                <a:gd name="T72" fmla="*/ 4 w 238"/>
                <a:gd name="T73" fmla="*/ 96 h 238"/>
                <a:gd name="T74" fmla="*/ 10 w 238"/>
                <a:gd name="T75" fmla="*/ 74 h 238"/>
                <a:gd name="T76" fmla="*/ 22 w 238"/>
                <a:gd name="T77" fmla="*/ 54 h 238"/>
                <a:gd name="T78" fmla="*/ 36 w 238"/>
                <a:gd name="T79" fmla="*/ 36 h 238"/>
                <a:gd name="T80" fmla="*/ 54 w 238"/>
                <a:gd name="T81" fmla="*/ 22 h 238"/>
                <a:gd name="T82" fmla="*/ 74 w 238"/>
                <a:gd name="T83" fmla="*/ 10 h 238"/>
                <a:gd name="T84" fmla="*/ 96 w 238"/>
                <a:gd name="T85" fmla="*/ 4 h 238"/>
                <a:gd name="T86" fmla="*/ 108 w 238"/>
                <a:gd name="T87" fmla="*/ 2 h 238"/>
                <a:gd name="T88" fmla="*/ 120 w 238"/>
                <a:gd name="T89" fmla="*/ 0 h 238"/>
                <a:gd name="T90" fmla="*/ 120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20" y="0"/>
                  </a:moveTo>
                  <a:lnTo>
                    <a:pt x="120" y="0"/>
                  </a:lnTo>
                  <a:lnTo>
                    <a:pt x="132" y="2"/>
                  </a:lnTo>
                  <a:lnTo>
                    <a:pt x="144" y="4"/>
                  </a:lnTo>
                  <a:lnTo>
                    <a:pt x="166" y="10"/>
                  </a:lnTo>
                  <a:lnTo>
                    <a:pt x="186" y="22"/>
                  </a:lnTo>
                  <a:lnTo>
                    <a:pt x="202" y="36"/>
                  </a:lnTo>
                  <a:lnTo>
                    <a:pt x="218" y="54"/>
                  </a:lnTo>
                  <a:lnTo>
                    <a:pt x="228" y="74"/>
                  </a:lnTo>
                  <a:lnTo>
                    <a:pt x="236" y="96"/>
                  </a:lnTo>
                  <a:lnTo>
                    <a:pt x="236" y="108"/>
                  </a:lnTo>
                  <a:lnTo>
                    <a:pt x="238" y="120"/>
                  </a:lnTo>
                  <a:lnTo>
                    <a:pt x="238" y="120"/>
                  </a:lnTo>
                  <a:lnTo>
                    <a:pt x="236" y="132"/>
                  </a:lnTo>
                  <a:lnTo>
                    <a:pt x="236" y="144"/>
                  </a:lnTo>
                  <a:lnTo>
                    <a:pt x="228" y="166"/>
                  </a:lnTo>
                  <a:lnTo>
                    <a:pt x="218" y="186"/>
                  </a:lnTo>
                  <a:lnTo>
                    <a:pt x="202" y="202"/>
                  </a:lnTo>
                  <a:lnTo>
                    <a:pt x="186" y="218"/>
                  </a:lnTo>
                  <a:lnTo>
                    <a:pt x="166" y="228"/>
                  </a:lnTo>
                  <a:lnTo>
                    <a:pt x="144" y="236"/>
                  </a:lnTo>
                  <a:lnTo>
                    <a:pt x="132" y="236"/>
                  </a:lnTo>
                  <a:lnTo>
                    <a:pt x="120" y="238"/>
                  </a:lnTo>
                  <a:lnTo>
                    <a:pt x="120" y="238"/>
                  </a:lnTo>
                  <a:lnTo>
                    <a:pt x="108" y="236"/>
                  </a:lnTo>
                  <a:lnTo>
                    <a:pt x="96" y="236"/>
                  </a:lnTo>
                  <a:lnTo>
                    <a:pt x="74" y="228"/>
                  </a:lnTo>
                  <a:lnTo>
                    <a:pt x="54" y="218"/>
                  </a:lnTo>
                  <a:lnTo>
                    <a:pt x="36" y="202"/>
                  </a:lnTo>
                  <a:lnTo>
                    <a:pt x="22" y="186"/>
                  </a:lnTo>
                  <a:lnTo>
                    <a:pt x="10" y="166"/>
                  </a:lnTo>
                  <a:lnTo>
                    <a:pt x="4" y="144"/>
                  </a:lnTo>
                  <a:lnTo>
                    <a:pt x="2" y="132"/>
                  </a:lnTo>
                  <a:lnTo>
                    <a:pt x="0" y="120"/>
                  </a:lnTo>
                  <a:lnTo>
                    <a:pt x="0" y="120"/>
                  </a:lnTo>
                  <a:lnTo>
                    <a:pt x="2" y="108"/>
                  </a:lnTo>
                  <a:lnTo>
                    <a:pt x="4" y="96"/>
                  </a:lnTo>
                  <a:lnTo>
                    <a:pt x="10" y="74"/>
                  </a:lnTo>
                  <a:lnTo>
                    <a:pt x="22" y="54"/>
                  </a:lnTo>
                  <a:lnTo>
                    <a:pt x="36" y="36"/>
                  </a:lnTo>
                  <a:lnTo>
                    <a:pt x="54" y="22"/>
                  </a:lnTo>
                  <a:lnTo>
                    <a:pt x="74" y="10"/>
                  </a:lnTo>
                  <a:lnTo>
                    <a:pt x="96" y="4"/>
                  </a:lnTo>
                  <a:lnTo>
                    <a:pt x="108" y="2"/>
                  </a:lnTo>
                  <a:lnTo>
                    <a:pt x="120" y="0"/>
                  </a:lnTo>
                  <a:lnTo>
                    <a:pt x="12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8" name="Freeform 47">
              <a:extLst>
                <a:ext uri="{FF2B5EF4-FFF2-40B4-BE49-F238E27FC236}">
                  <a16:creationId xmlns:a16="http://schemas.microsoft.com/office/drawing/2014/main" id="{F96AB49E-E6A9-472B-AAD4-FC7C25B5297A}"/>
                </a:ext>
              </a:extLst>
            </p:cNvPr>
            <p:cNvSpPr>
              <a:spLocks/>
            </p:cNvSpPr>
            <p:nvPr/>
          </p:nvSpPr>
          <p:spPr bwMode="auto">
            <a:xfrm>
              <a:off x="13357278" y="3538847"/>
              <a:ext cx="271240" cy="89566"/>
            </a:xfrm>
            <a:custGeom>
              <a:avLst/>
              <a:gdLst>
                <a:gd name="T0" fmla="*/ 1920 w 1920"/>
                <a:gd name="T1" fmla="*/ 318 h 634"/>
                <a:gd name="T2" fmla="*/ 1914 w 1920"/>
                <a:gd name="T3" fmla="*/ 382 h 634"/>
                <a:gd name="T4" fmla="*/ 1894 w 1920"/>
                <a:gd name="T5" fmla="*/ 440 h 634"/>
                <a:gd name="T6" fmla="*/ 1866 w 1920"/>
                <a:gd name="T7" fmla="*/ 494 h 634"/>
                <a:gd name="T8" fmla="*/ 1826 w 1920"/>
                <a:gd name="T9" fmla="*/ 542 h 634"/>
                <a:gd name="T10" fmla="*/ 1780 w 1920"/>
                <a:gd name="T11" fmla="*/ 580 h 634"/>
                <a:gd name="T12" fmla="*/ 1726 w 1920"/>
                <a:gd name="T13" fmla="*/ 610 h 634"/>
                <a:gd name="T14" fmla="*/ 1666 w 1920"/>
                <a:gd name="T15" fmla="*/ 628 h 634"/>
                <a:gd name="T16" fmla="*/ 1604 w 1920"/>
                <a:gd name="T17" fmla="*/ 634 h 634"/>
                <a:gd name="T18" fmla="*/ 316 w 1920"/>
                <a:gd name="T19" fmla="*/ 634 h 634"/>
                <a:gd name="T20" fmla="*/ 252 w 1920"/>
                <a:gd name="T21" fmla="*/ 628 h 634"/>
                <a:gd name="T22" fmla="*/ 194 w 1920"/>
                <a:gd name="T23" fmla="*/ 608 h 634"/>
                <a:gd name="T24" fmla="*/ 140 w 1920"/>
                <a:gd name="T25" fmla="*/ 580 h 634"/>
                <a:gd name="T26" fmla="*/ 92 w 1920"/>
                <a:gd name="T27" fmla="*/ 540 h 634"/>
                <a:gd name="T28" fmla="*/ 54 w 1920"/>
                <a:gd name="T29" fmla="*/ 494 h 634"/>
                <a:gd name="T30" fmla="*/ 24 w 1920"/>
                <a:gd name="T31" fmla="*/ 440 h 634"/>
                <a:gd name="T32" fmla="*/ 6 w 1920"/>
                <a:gd name="T33" fmla="*/ 380 h 634"/>
                <a:gd name="T34" fmla="*/ 0 w 1920"/>
                <a:gd name="T35" fmla="*/ 318 h 634"/>
                <a:gd name="T36" fmla="*/ 0 w 1920"/>
                <a:gd name="T37" fmla="*/ 318 h 634"/>
                <a:gd name="T38" fmla="*/ 6 w 1920"/>
                <a:gd name="T39" fmla="*/ 254 h 634"/>
                <a:gd name="T40" fmla="*/ 26 w 1920"/>
                <a:gd name="T41" fmla="*/ 194 h 634"/>
                <a:gd name="T42" fmla="*/ 54 w 1920"/>
                <a:gd name="T43" fmla="*/ 140 h 634"/>
                <a:gd name="T44" fmla="*/ 94 w 1920"/>
                <a:gd name="T45" fmla="*/ 92 h 634"/>
                <a:gd name="T46" fmla="*/ 140 w 1920"/>
                <a:gd name="T47" fmla="*/ 54 h 634"/>
                <a:gd name="T48" fmla="*/ 194 w 1920"/>
                <a:gd name="T49" fmla="*/ 26 h 634"/>
                <a:gd name="T50" fmla="*/ 254 w 1920"/>
                <a:gd name="T51" fmla="*/ 6 h 634"/>
                <a:gd name="T52" fmla="*/ 316 w 1920"/>
                <a:gd name="T53" fmla="*/ 0 h 634"/>
                <a:gd name="T54" fmla="*/ 1600 w 1920"/>
                <a:gd name="T55" fmla="*/ 0 h 634"/>
                <a:gd name="T56" fmla="*/ 1664 w 1920"/>
                <a:gd name="T57" fmla="*/ 6 h 634"/>
                <a:gd name="T58" fmla="*/ 1724 w 1920"/>
                <a:gd name="T59" fmla="*/ 26 h 634"/>
                <a:gd name="T60" fmla="*/ 1778 w 1920"/>
                <a:gd name="T61" fmla="*/ 54 h 634"/>
                <a:gd name="T62" fmla="*/ 1826 w 1920"/>
                <a:gd name="T63" fmla="*/ 92 h 634"/>
                <a:gd name="T64" fmla="*/ 1866 w 1920"/>
                <a:gd name="T65" fmla="*/ 140 h 634"/>
                <a:gd name="T66" fmla="*/ 1894 w 1920"/>
                <a:gd name="T67" fmla="*/ 194 h 634"/>
                <a:gd name="T68" fmla="*/ 1914 w 1920"/>
                <a:gd name="T69" fmla="*/ 254 h 634"/>
                <a:gd name="T70" fmla="*/ 1920 w 1920"/>
                <a:gd name="T71" fmla="*/ 31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0" h="634">
                  <a:moveTo>
                    <a:pt x="1920" y="318"/>
                  </a:moveTo>
                  <a:lnTo>
                    <a:pt x="1920" y="318"/>
                  </a:lnTo>
                  <a:lnTo>
                    <a:pt x="1918" y="350"/>
                  </a:lnTo>
                  <a:lnTo>
                    <a:pt x="1914" y="382"/>
                  </a:lnTo>
                  <a:lnTo>
                    <a:pt x="1906" y="412"/>
                  </a:lnTo>
                  <a:lnTo>
                    <a:pt x="1894" y="440"/>
                  </a:lnTo>
                  <a:lnTo>
                    <a:pt x="1882" y="468"/>
                  </a:lnTo>
                  <a:lnTo>
                    <a:pt x="1866" y="494"/>
                  </a:lnTo>
                  <a:lnTo>
                    <a:pt x="1846" y="520"/>
                  </a:lnTo>
                  <a:lnTo>
                    <a:pt x="1826" y="542"/>
                  </a:lnTo>
                  <a:lnTo>
                    <a:pt x="1804" y="562"/>
                  </a:lnTo>
                  <a:lnTo>
                    <a:pt x="1780" y="580"/>
                  </a:lnTo>
                  <a:lnTo>
                    <a:pt x="1754" y="596"/>
                  </a:lnTo>
                  <a:lnTo>
                    <a:pt x="1726" y="610"/>
                  </a:lnTo>
                  <a:lnTo>
                    <a:pt x="1696" y="620"/>
                  </a:lnTo>
                  <a:lnTo>
                    <a:pt x="1666" y="628"/>
                  </a:lnTo>
                  <a:lnTo>
                    <a:pt x="1636" y="632"/>
                  </a:lnTo>
                  <a:lnTo>
                    <a:pt x="1604" y="634"/>
                  </a:lnTo>
                  <a:lnTo>
                    <a:pt x="316" y="634"/>
                  </a:lnTo>
                  <a:lnTo>
                    <a:pt x="316" y="634"/>
                  </a:lnTo>
                  <a:lnTo>
                    <a:pt x="284" y="632"/>
                  </a:lnTo>
                  <a:lnTo>
                    <a:pt x="252" y="628"/>
                  </a:lnTo>
                  <a:lnTo>
                    <a:pt x="222" y="620"/>
                  </a:lnTo>
                  <a:lnTo>
                    <a:pt x="194" y="608"/>
                  </a:lnTo>
                  <a:lnTo>
                    <a:pt x="166" y="596"/>
                  </a:lnTo>
                  <a:lnTo>
                    <a:pt x="140" y="580"/>
                  </a:lnTo>
                  <a:lnTo>
                    <a:pt x="114" y="560"/>
                  </a:lnTo>
                  <a:lnTo>
                    <a:pt x="92" y="540"/>
                  </a:lnTo>
                  <a:lnTo>
                    <a:pt x="72" y="518"/>
                  </a:lnTo>
                  <a:lnTo>
                    <a:pt x="54" y="494"/>
                  </a:lnTo>
                  <a:lnTo>
                    <a:pt x="38" y="468"/>
                  </a:lnTo>
                  <a:lnTo>
                    <a:pt x="24" y="440"/>
                  </a:lnTo>
                  <a:lnTo>
                    <a:pt x="14" y="410"/>
                  </a:lnTo>
                  <a:lnTo>
                    <a:pt x="6" y="380"/>
                  </a:lnTo>
                  <a:lnTo>
                    <a:pt x="2" y="350"/>
                  </a:lnTo>
                  <a:lnTo>
                    <a:pt x="0" y="318"/>
                  </a:lnTo>
                  <a:lnTo>
                    <a:pt x="0" y="318"/>
                  </a:lnTo>
                  <a:lnTo>
                    <a:pt x="0" y="318"/>
                  </a:lnTo>
                  <a:lnTo>
                    <a:pt x="2" y="284"/>
                  </a:lnTo>
                  <a:lnTo>
                    <a:pt x="6" y="254"/>
                  </a:lnTo>
                  <a:lnTo>
                    <a:pt x="14" y="222"/>
                  </a:lnTo>
                  <a:lnTo>
                    <a:pt x="26" y="194"/>
                  </a:lnTo>
                  <a:lnTo>
                    <a:pt x="38" y="166"/>
                  </a:lnTo>
                  <a:lnTo>
                    <a:pt x="54" y="140"/>
                  </a:lnTo>
                  <a:lnTo>
                    <a:pt x="74" y="116"/>
                  </a:lnTo>
                  <a:lnTo>
                    <a:pt x="94" y="92"/>
                  </a:lnTo>
                  <a:lnTo>
                    <a:pt x="116" y="72"/>
                  </a:lnTo>
                  <a:lnTo>
                    <a:pt x="140" y="54"/>
                  </a:lnTo>
                  <a:lnTo>
                    <a:pt x="166" y="38"/>
                  </a:lnTo>
                  <a:lnTo>
                    <a:pt x="194" y="26"/>
                  </a:lnTo>
                  <a:lnTo>
                    <a:pt x="224" y="14"/>
                  </a:lnTo>
                  <a:lnTo>
                    <a:pt x="254" y="6"/>
                  </a:lnTo>
                  <a:lnTo>
                    <a:pt x="284" y="2"/>
                  </a:lnTo>
                  <a:lnTo>
                    <a:pt x="316" y="0"/>
                  </a:lnTo>
                  <a:lnTo>
                    <a:pt x="1600" y="0"/>
                  </a:lnTo>
                  <a:lnTo>
                    <a:pt x="1600" y="0"/>
                  </a:lnTo>
                  <a:lnTo>
                    <a:pt x="1632" y="2"/>
                  </a:lnTo>
                  <a:lnTo>
                    <a:pt x="1664" y="6"/>
                  </a:lnTo>
                  <a:lnTo>
                    <a:pt x="1694" y="14"/>
                  </a:lnTo>
                  <a:lnTo>
                    <a:pt x="1724" y="26"/>
                  </a:lnTo>
                  <a:lnTo>
                    <a:pt x="1752" y="38"/>
                  </a:lnTo>
                  <a:lnTo>
                    <a:pt x="1778" y="54"/>
                  </a:lnTo>
                  <a:lnTo>
                    <a:pt x="1804" y="72"/>
                  </a:lnTo>
                  <a:lnTo>
                    <a:pt x="1826" y="92"/>
                  </a:lnTo>
                  <a:lnTo>
                    <a:pt x="1846" y="116"/>
                  </a:lnTo>
                  <a:lnTo>
                    <a:pt x="1866" y="140"/>
                  </a:lnTo>
                  <a:lnTo>
                    <a:pt x="1882" y="166"/>
                  </a:lnTo>
                  <a:lnTo>
                    <a:pt x="1894" y="194"/>
                  </a:lnTo>
                  <a:lnTo>
                    <a:pt x="1906" y="222"/>
                  </a:lnTo>
                  <a:lnTo>
                    <a:pt x="1914" y="254"/>
                  </a:lnTo>
                  <a:lnTo>
                    <a:pt x="1918" y="284"/>
                  </a:lnTo>
                  <a:lnTo>
                    <a:pt x="1920" y="318"/>
                  </a:lnTo>
                  <a:lnTo>
                    <a:pt x="1920" y="318"/>
                  </a:lnTo>
                  <a:close/>
                </a:path>
              </a:pathLst>
            </a:custGeom>
            <a:solidFill>
              <a:srgbClr val="62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09" name="Line 48">
              <a:extLst>
                <a:ext uri="{FF2B5EF4-FFF2-40B4-BE49-F238E27FC236}">
                  <a16:creationId xmlns:a16="http://schemas.microsoft.com/office/drawing/2014/main" id="{D4BA6283-1130-40CA-A766-606946A0A27B}"/>
                </a:ext>
              </a:extLst>
            </p:cNvPr>
            <p:cNvSpPr>
              <a:spLocks noChangeShapeType="1"/>
            </p:cNvSpPr>
            <p:nvPr/>
          </p:nvSpPr>
          <p:spPr bwMode="auto">
            <a:xfrm>
              <a:off x="13357278" y="3583771"/>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10" name="Line 50">
              <a:extLst>
                <a:ext uri="{FF2B5EF4-FFF2-40B4-BE49-F238E27FC236}">
                  <a16:creationId xmlns:a16="http://schemas.microsoft.com/office/drawing/2014/main" id="{9F5DA055-7A20-48E5-A9F5-BF86D02F6BEC}"/>
                </a:ext>
              </a:extLst>
            </p:cNvPr>
            <p:cNvSpPr>
              <a:spLocks noChangeShapeType="1"/>
            </p:cNvSpPr>
            <p:nvPr/>
          </p:nvSpPr>
          <p:spPr bwMode="auto">
            <a:xfrm>
              <a:off x="13358973" y="3699048"/>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11" name="Freeform 52">
              <a:extLst>
                <a:ext uri="{FF2B5EF4-FFF2-40B4-BE49-F238E27FC236}">
                  <a16:creationId xmlns:a16="http://schemas.microsoft.com/office/drawing/2014/main" id="{17AB77D1-6A6C-425C-8EA5-CD0C59CFF034}"/>
                </a:ext>
              </a:extLst>
            </p:cNvPr>
            <p:cNvSpPr>
              <a:spLocks/>
            </p:cNvSpPr>
            <p:nvPr/>
          </p:nvSpPr>
          <p:spPr bwMode="auto">
            <a:xfrm>
              <a:off x="13355582" y="3769401"/>
              <a:ext cx="271240" cy="90131"/>
            </a:xfrm>
            <a:custGeom>
              <a:avLst/>
              <a:gdLst>
                <a:gd name="T0" fmla="*/ 1458 w 1920"/>
                <a:gd name="T1" fmla="*/ 634 h 638"/>
                <a:gd name="T2" fmla="*/ 316 w 1920"/>
                <a:gd name="T3" fmla="*/ 634 h 638"/>
                <a:gd name="T4" fmla="*/ 316 w 1920"/>
                <a:gd name="T5" fmla="*/ 634 h 638"/>
                <a:gd name="T6" fmla="*/ 284 w 1920"/>
                <a:gd name="T7" fmla="*/ 632 h 638"/>
                <a:gd name="T8" fmla="*/ 252 w 1920"/>
                <a:gd name="T9" fmla="*/ 628 h 638"/>
                <a:gd name="T10" fmla="*/ 222 w 1920"/>
                <a:gd name="T11" fmla="*/ 620 h 638"/>
                <a:gd name="T12" fmla="*/ 192 w 1920"/>
                <a:gd name="T13" fmla="*/ 608 h 638"/>
                <a:gd name="T14" fmla="*/ 164 w 1920"/>
                <a:gd name="T15" fmla="*/ 596 h 638"/>
                <a:gd name="T16" fmla="*/ 138 w 1920"/>
                <a:gd name="T17" fmla="*/ 580 h 638"/>
                <a:gd name="T18" fmla="*/ 114 w 1920"/>
                <a:gd name="T19" fmla="*/ 560 h 638"/>
                <a:gd name="T20" fmla="*/ 92 w 1920"/>
                <a:gd name="T21" fmla="*/ 540 h 638"/>
                <a:gd name="T22" fmla="*/ 72 w 1920"/>
                <a:gd name="T23" fmla="*/ 518 h 638"/>
                <a:gd name="T24" fmla="*/ 54 w 1920"/>
                <a:gd name="T25" fmla="*/ 494 h 638"/>
                <a:gd name="T26" fmla="*/ 38 w 1920"/>
                <a:gd name="T27" fmla="*/ 468 h 638"/>
                <a:gd name="T28" fmla="*/ 24 w 1920"/>
                <a:gd name="T29" fmla="*/ 440 h 638"/>
                <a:gd name="T30" fmla="*/ 14 w 1920"/>
                <a:gd name="T31" fmla="*/ 410 h 638"/>
                <a:gd name="T32" fmla="*/ 6 w 1920"/>
                <a:gd name="T33" fmla="*/ 380 h 638"/>
                <a:gd name="T34" fmla="*/ 0 w 1920"/>
                <a:gd name="T35" fmla="*/ 350 h 638"/>
                <a:gd name="T36" fmla="*/ 0 w 1920"/>
                <a:gd name="T37" fmla="*/ 318 h 638"/>
                <a:gd name="T38" fmla="*/ 0 w 1920"/>
                <a:gd name="T39" fmla="*/ 318 h 638"/>
                <a:gd name="T40" fmla="*/ 0 w 1920"/>
                <a:gd name="T41" fmla="*/ 318 h 638"/>
                <a:gd name="T42" fmla="*/ 0 w 1920"/>
                <a:gd name="T43" fmla="*/ 284 h 638"/>
                <a:gd name="T44" fmla="*/ 6 w 1920"/>
                <a:gd name="T45" fmla="*/ 254 h 638"/>
                <a:gd name="T46" fmla="*/ 14 w 1920"/>
                <a:gd name="T47" fmla="*/ 222 h 638"/>
                <a:gd name="T48" fmla="*/ 24 w 1920"/>
                <a:gd name="T49" fmla="*/ 194 h 638"/>
                <a:gd name="T50" fmla="*/ 38 w 1920"/>
                <a:gd name="T51" fmla="*/ 166 h 638"/>
                <a:gd name="T52" fmla="*/ 54 w 1920"/>
                <a:gd name="T53" fmla="*/ 140 h 638"/>
                <a:gd name="T54" fmla="*/ 72 w 1920"/>
                <a:gd name="T55" fmla="*/ 116 h 638"/>
                <a:gd name="T56" fmla="*/ 92 w 1920"/>
                <a:gd name="T57" fmla="*/ 92 h 638"/>
                <a:gd name="T58" fmla="*/ 116 w 1920"/>
                <a:gd name="T59" fmla="*/ 72 h 638"/>
                <a:gd name="T60" fmla="*/ 140 w 1920"/>
                <a:gd name="T61" fmla="*/ 54 h 638"/>
                <a:gd name="T62" fmla="*/ 166 w 1920"/>
                <a:gd name="T63" fmla="*/ 38 h 638"/>
                <a:gd name="T64" fmla="*/ 194 w 1920"/>
                <a:gd name="T65" fmla="*/ 26 h 638"/>
                <a:gd name="T66" fmla="*/ 222 w 1920"/>
                <a:gd name="T67" fmla="*/ 14 h 638"/>
                <a:gd name="T68" fmla="*/ 252 w 1920"/>
                <a:gd name="T69" fmla="*/ 6 h 638"/>
                <a:gd name="T70" fmla="*/ 284 w 1920"/>
                <a:gd name="T71" fmla="*/ 2 h 638"/>
                <a:gd name="T72" fmla="*/ 316 w 1920"/>
                <a:gd name="T73" fmla="*/ 0 h 638"/>
                <a:gd name="T74" fmla="*/ 1600 w 1920"/>
                <a:gd name="T75" fmla="*/ 0 h 638"/>
                <a:gd name="T76" fmla="*/ 1600 w 1920"/>
                <a:gd name="T77" fmla="*/ 0 h 638"/>
                <a:gd name="T78" fmla="*/ 1612 w 1920"/>
                <a:gd name="T79" fmla="*/ 2 h 638"/>
                <a:gd name="T80" fmla="*/ 1650 w 1920"/>
                <a:gd name="T81" fmla="*/ 6 h 638"/>
                <a:gd name="T82" fmla="*/ 1700 w 1920"/>
                <a:gd name="T83" fmla="*/ 14 h 638"/>
                <a:gd name="T84" fmla="*/ 1730 w 1920"/>
                <a:gd name="T85" fmla="*/ 22 h 638"/>
                <a:gd name="T86" fmla="*/ 1760 w 1920"/>
                <a:gd name="T87" fmla="*/ 30 h 638"/>
                <a:gd name="T88" fmla="*/ 1790 w 1920"/>
                <a:gd name="T89" fmla="*/ 42 h 638"/>
                <a:gd name="T90" fmla="*/ 1818 w 1920"/>
                <a:gd name="T91" fmla="*/ 56 h 638"/>
                <a:gd name="T92" fmla="*/ 1844 w 1920"/>
                <a:gd name="T93" fmla="*/ 74 h 638"/>
                <a:gd name="T94" fmla="*/ 1870 w 1920"/>
                <a:gd name="T95" fmla="*/ 94 h 638"/>
                <a:gd name="T96" fmla="*/ 1880 w 1920"/>
                <a:gd name="T97" fmla="*/ 104 h 638"/>
                <a:gd name="T98" fmla="*/ 1890 w 1920"/>
                <a:gd name="T99" fmla="*/ 118 h 638"/>
                <a:gd name="T100" fmla="*/ 1898 w 1920"/>
                <a:gd name="T101" fmla="*/ 130 h 638"/>
                <a:gd name="T102" fmla="*/ 1906 w 1920"/>
                <a:gd name="T103" fmla="*/ 144 h 638"/>
                <a:gd name="T104" fmla="*/ 1912 w 1920"/>
                <a:gd name="T105" fmla="*/ 160 h 638"/>
                <a:gd name="T106" fmla="*/ 1916 w 1920"/>
                <a:gd name="T107" fmla="*/ 176 h 638"/>
                <a:gd name="T108" fmla="*/ 1918 w 1920"/>
                <a:gd name="T109" fmla="*/ 194 h 638"/>
                <a:gd name="T110" fmla="*/ 1920 w 1920"/>
                <a:gd name="T111" fmla="*/ 212 h 638"/>
                <a:gd name="T112" fmla="*/ 1920 w 1920"/>
                <a:gd name="T113" fmla="*/ 212 h 638"/>
                <a:gd name="T114" fmla="*/ 1920 w 1920"/>
                <a:gd name="T115" fmla="*/ 638 h 638"/>
                <a:gd name="T116" fmla="*/ 1458 w 1920"/>
                <a:gd name="T117"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638">
                  <a:moveTo>
                    <a:pt x="1458" y="634"/>
                  </a:moveTo>
                  <a:lnTo>
                    <a:pt x="316" y="634"/>
                  </a:lnTo>
                  <a:lnTo>
                    <a:pt x="316" y="634"/>
                  </a:lnTo>
                  <a:lnTo>
                    <a:pt x="284" y="632"/>
                  </a:lnTo>
                  <a:lnTo>
                    <a:pt x="252" y="628"/>
                  </a:lnTo>
                  <a:lnTo>
                    <a:pt x="222" y="620"/>
                  </a:lnTo>
                  <a:lnTo>
                    <a:pt x="192" y="608"/>
                  </a:lnTo>
                  <a:lnTo>
                    <a:pt x="164" y="596"/>
                  </a:lnTo>
                  <a:lnTo>
                    <a:pt x="138" y="580"/>
                  </a:lnTo>
                  <a:lnTo>
                    <a:pt x="114" y="560"/>
                  </a:lnTo>
                  <a:lnTo>
                    <a:pt x="92" y="540"/>
                  </a:lnTo>
                  <a:lnTo>
                    <a:pt x="72" y="518"/>
                  </a:lnTo>
                  <a:lnTo>
                    <a:pt x="54" y="494"/>
                  </a:lnTo>
                  <a:lnTo>
                    <a:pt x="38" y="468"/>
                  </a:lnTo>
                  <a:lnTo>
                    <a:pt x="24" y="440"/>
                  </a:lnTo>
                  <a:lnTo>
                    <a:pt x="14" y="410"/>
                  </a:lnTo>
                  <a:lnTo>
                    <a:pt x="6" y="380"/>
                  </a:lnTo>
                  <a:lnTo>
                    <a:pt x="0" y="350"/>
                  </a:lnTo>
                  <a:lnTo>
                    <a:pt x="0" y="318"/>
                  </a:lnTo>
                  <a:lnTo>
                    <a:pt x="0" y="318"/>
                  </a:lnTo>
                  <a:lnTo>
                    <a:pt x="0" y="318"/>
                  </a:lnTo>
                  <a:lnTo>
                    <a:pt x="0" y="284"/>
                  </a:lnTo>
                  <a:lnTo>
                    <a:pt x="6" y="254"/>
                  </a:lnTo>
                  <a:lnTo>
                    <a:pt x="14" y="222"/>
                  </a:lnTo>
                  <a:lnTo>
                    <a:pt x="24" y="194"/>
                  </a:lnTo>
                  <a:lnTo>
                    <a:pt x="38" y="166"/>
                  </a:lnTo>
                  <a:lnTo>
                    <a:pt x="54" y="140"/>
                  </a:lnTo>
                  <a:lnTo>
                    <a:pt x="72" y="116"/>
                  </a:lnTo>
                  <a:lnTo>
                    <a:pt x="92" y="92"/>
                  </a:lnTo>
                  <a:lnTo>
                    <a:pt x="116" y="72"/>
                  </a:lnTo>
                  <a:lnTo>
                    <a:pt x="140" y="54"/>
                  </a:lnTo>
                  <a:lnTo>
                    <a:pt x="166" y="38"/>
                  </a:lnTo>
                  <a:lnTo>
                    <a:pt x="194" y="26"/>
                  </a:lnTo>
                  <a:lnTo>
                    <a:pt x="222" y="14"/>
                  </a:lnTo>
                  <a:lnTo>
                    <a:pt x="252" y="6"/>
                  </a:lnTo>
                  <a:lnTo>
                    <a:pt x="284" y="2"/>
                  </a:lnTo>
                  <a:lnTo>
                    <a:pt x="316" y="0"/>
                  </a:lnTo>
                  <a:lnTo>
                    <a:pt x="1600" y="0"/>
                  </a:lnTo>
                  <a:lnTo>
                    <a:pt x="1600" y="0"/>
                  </a:lnTo>
                  <a:lnTo>
                    <a:pt x="1612" y="2"/>
                  </a:lnTo>
                  <a:lnTo>
                    <a:pt x="1650" y="6"/>
                  </a:lnTo>
                  <a:lnTo>
                    <a:pt x="1700" y="14"/>
                  </a:lnTo>
                  <a:lnTo>
                    <a:pt x="1730" y="22"/>
                  </a:lnTo>
                  <a:lnTo>
                    <a:pt x="1760" y="30"/>
                  </a:lnTo>
                  <a:lnTo>
                    <a:pt x="1790" y="42"/>
                  </a:lnTo>
                  <a:lnTo>
                    <a:pt x="1818" y="56"/>
                  </a:lnTo>
                  <a:lnTo>
                    <a:pt x="1844" y="74"/>
                  </a:lnTo>
                  <a:lnTo>
                    <a:pt x="1870" y="94"/>
                  </a:lnTo>
                  <a:lnTo>
                    <a:pt x="1880" y="104"/>
                  </a:lnTo>
                  <a:lnTo>
                    <a:pt x="1890" y="118"/>
                  </a:lnTo>
                  <a:lnTo>
                    <a:pt x="1898" y="130"/>
                  </a:lnTo>
                  <a:lnTo>
                    <a:pt x="1906" y="144"/>
                  </a:lnTo>
                  <a:lnTo>
                    <a:pt x="1912" y="160"/>
                  </a:lnTo>
                  <a:lnTo>
                    <a:pt x="1916" y="176"/>
                  </a:lnTo>
                  <a:lnTo>
                    <a:pt x="1918" y="194"/>
                  </a:lnTo>
                  <a:lnTo>
                    <a:pt x="1920" y="212"/>
                  </a:lnTo>
                  <a:lnTo>
                    <a:pt x="1920" y="212"/>
                  </a:lnTo>
                  <a:lnTo>
                    <a:pt x="1920" y="638"/>
                  </a:lnTo>
                  <a:lnTo>
                    <a:pt x="1458" y="6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12" name="Line 53">
              <a:extLst>
                <a:ext uri="{FF2B5EF4-FFF2-40B4-BE49-F238E27FC236}">
                  <a16:creationId xmlns:a16="http://schemas.microsoft.com/office/drawing/2014/main" id="{3E4E8201-5172-44DE-B0F7-EA16656F7AC9}"/>
                </a:ext>
              </a:extLst>
            </p:cNvPr>
            <p:cNvSpPr>
              <a:spLocks noChangeShapeType="1"/>
            </p:cNvSpPr>
            <p:nvPr/>
          </p:nvSpPr>
          <p:spPr bwMode="auto">
            <a:xfrm>
              <a:off x="13355582" y="3813760"/>
              <a:ext cx="0" cy="0"/>
            </a:xfrm>
            <a:prstGeom prst="line">
              <a:avLst/>
            </a:prstGeom>
            <a:noFill/>
            <a:ln w="41275">
              <a:solidFill>
                <a:srgbClr val="231F20"/>
              </a:solidFill>
              <a:prstDash val="solid"/>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sp>
          <p:nvSpPr>
            <p:cNvPr id="113" name="Freeform 59">
              <a:extLst>
                <a:ext uri="{FF2B5EF4-FFF2-40B4-BE49-F238E27FC236}">
                  <a16:creationId xmlns:a16="http://schemas.microsoft.com/office/drawing/2014/main" id="{71FF6C65-A1B0-4F0E-AA6E-5CA9E31539BC}"/>
                </a:ext>
              </a:extLst>
            </p:cNvPr>
            <p:cNvSpPr>
              <a:spLocks/>
            </p:cNvSpPr>
            <p:nvPr/>
          </p:nvSpPr>
          <p:spPr bwMode="auto">
            <a:xfrm>
              <a:off x="13557882" y="3566818"/>
              <a:ext cx="33622" cy="33623"/>
            </a:xfrm>
            <a:custGeom>
              <a:avLst/>
              <a:gdLst>
                <a:gd name="T0" fmla="*/ 120 w 238"/>
                <a:gd name="T1" fmla="*/ 0 h 238"/>
                <a:gd name="T2" fmla="*/ 120 w 238"/>
                <a:gd name="T3" fmla="*/ 0 h 238"/>
                <a:gd name="T4" fmla="*/ 132 w 238"/>
                <a:gd name="T5" fmla="*/ 2 h 238"/>
                <a:gd name="T6" fmla="*/ 144 w 238"/>
                <a:gd name="T7" fmla="*/ 4 h 238"/>
                <a:gd name="T8" fmla="*/ 166 w 238"/>
                <a:gd name="T9" fmla="*/ 10 h 238"/>
                <a:gd name="T10" fmla="*/ 186 w 238"/>
                <a:gd name="T11" fmla="*/ 22 h 238"/>
                <a:gd name="T12" fmla="*/ 202 w 238"/>
                <a:gd name="T13" fmla="*/ 36 h 238"/>
                <a:gd name="T14" fmla="*/ 218 w 238"/>
                <a:gd name="T15" fmla="*/ 54 h 238"/>
                <a:gd name="T16" fmla="*/ 228 w 238"/>
                <a:gd name="T17" fmla="*/ 74 h 238"/>
                <a:gd name="T18" fmla="*/ 236 w 238"/>
                <a:gd name="T19" fmla="*/ 96 h 238"/>
                <a:gd name="T20" fmla="*/ 236 w 238"/>
                <a:gd name="T21" fmla="*/ 108 h 238"/>
                <a:gd name="T22" fmla="*/ 238 w 238"/>
                <a:gd name="T23" fmla="*/ 120 h 238"/>
                <a:gd name="T24" fmla="*/ 238 w 238"/>
                <a:gd name="T25" fmla="*/ 120 h 238"/>
                <a:gd name="T26" fmla="*/ 236 w 238"/>
                <a:gd name="T27" fmla="*/ 132 h 238"/>
                <a:gd name="T28" fmla="*/ 236 w 238"/>
                <a:gd name="T29" fmla="*/ 144 h 238"/>
                <a:gd name="T30" fmla="*/ 228 w 238"/>
                <a:gd name="T31" fmla="*/ 166 h 238"/>
                <a:gd name="T32" fmla="*/ 218 w 238"/>
                <a:gd name="T33" fmla="*/ 186 h 238"/>
                <a:gd name="T34" fmla="*/ 202 w 238"/>
                <a:gd name="T35" fmla="*/ 202 h 238"/>
                <a:gd name="T36" fmla="*/ 186 w 238"/>
                <a:gd name="T37" fmla="*/ 218 h 238"/>
                <a:gd name="T38" fmla="*/ 166 w 238"/>
                <a:gd name="T39" fmla="*/ 228 h 238"/>
                <a:gd name="T40" fmla="*/ 144 w 238"/>
                <a:gd name="T41" fmla="*/ 236 h 238"/>
                <a:gd name="T42" fmla="*/ 132 w 238"/>
                <a:gd name="T43" fmla="*/ 236 h 238"/>
                <a:gd name="T44" fmla="*/ 120 w 238"/>
                <a:gd name="T45" fmla="*/ 238 h 238"/>
                <a:gd name="T46" fmla="*/ 120 w 238"/>
                <a:gd name="T47" fmla="*/ 238 h 238"/>
                <a:gd name="T48" fmla="*/ 108 w 238"/>
                <a:gd name="T49" fmla="*/ 236 h 238"/>
                <a:gd name="T50" fmla="*/ 96 w 238"/>
                <a:gd name="T51" fmla="*/ 236 h 238"/>
                <a:gd name="T52" fmla="*/ 74 w 238"/>
                <a:gd name="T53" fmla="*/ 228 h 238"/>
                <a:gd name="T54" fmla="*/ 54 w 238"/>
                <a:gd name="T55" fmla="*/ 218 h 238"/>
                <a:gd name="T56" fmla="*/ 36 w 238"/>
                <a:gd name="T57" fmla="*/ 202 h 238"/>
                <a:gd name="T58" fmla="*/ 22 w 238"/>
                <a:gd name="T59" fmla="*/ 186 h 238"/>
                <a:gd name="T60" fmla="*/ 10 w 238"/>
                <a:gd name="T61" fmla="*/ 166 h 238"/>
                <a:gd name="T62" fmla="*/ 4 w 238"/>
                <a:gd name="T63" fmla="*/ 144 h 238"/>
                <a:gd name="T64" fmla="*/ 2 w 238"/>
                <a:gd name="T65" fmla="*/ 132 h 238"/>
                <a:gd name="T66" fmla="*/ 0 w 238"/>
                <a:gd name="T67" fmla="*/ 120 h 238"/>
                <a:gd name="T68" fmla="*/ 0 w 238"/>
                <a:gd name="T69" fmla="*/ 120 h 238"/>
                <a:gd name="T70" fmla="*/ 2 w 238"/>
                <a:gd name="T71" fmla="*/ 108 h 238"/>
                <a:gd name="T72" fmla="*/ 4 w 238"/>
                <a:gd name="T73" fmla="*/ 96 h 238"/>
                <a:gd name="T74" fmla="*/ 10 w 238"/>
                <a:gd name="T75" fmla="*/ 74 h 238"/>
                <a:gd name="T76" fmla="*/ 22 w 238"/>
                <a:gd name="T77" fmla="*/ 54 h 238"/>
                <a:gd name="T78" fmla="*/ 36 w 238"/>
                <a:gd name="T79" fmla="*/ 36 h 238"/>
                <a:gd name="T80" fmla="*/ 54 w 238"/>
                <a:gd name="T81" fmla="*/ 22 h 238"/>
                <a:gd name="T82" fmla="*/ 74 w 238"/>
                <a:gd name="T83" fmla="*/ 10 h 238"/>
                <a:gd name="T84" fmla="*/ 96 w 238"/>
                <a:gd name="T85" fmla="*/ 4 h 238"/>
                <a:gd name="T86" fmla="*/ 108 w 238"/>
                <a:gd name="T87" fmla="*/ 2 h 238"/>
                <a:gd name="T88" fmla="*/ 120 w 238"/>
                <a:gd name="T89" fmla="*/ 0 h 238"/>
                <a:gd name="T90" fmla="*/ 120 w 238"/>
                <a:gd name="T9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8" h="238">
                  <a:moveTo>
                    <a:pt x="120" y="0"/>
                  </a:moveTo>
                  <a:lnTo>
                    <a:pt x="120" y="0"/>
                  </a:lnTo>
                  <a:lnTo>
                    <a:pt x="132" y="2"/>
                  </a:lnTo>
                  <a:lnTo>
                    <a:pt x="144" y="4"/>
                  </a:lnTo>
                  <a:lnTo>
                    <a:pt x="166" y="10"/>
                  </a:lnTo>
                  <a:lnTo>
                    <a:pt x="186" y="22"/>
                  </a:lnTo>
                  <a:lnTo>
                    <a:pt x="202" y="36"/>
                  </a:lnTo>
                  <a:lnTo>
                    <a:pt x="218" y="54"/>
                  </a:lnTo>
                  <a:lnTo>
                    <a:pt x="228" y="74"/>
                  </a:lnTo>
                  <a:lnTo>
                    <a:pt x="236" y="96"/>
                  </a:lnTo>
                  <a:lnTo>
                    <a:pt x="236" y="108"/>
                  </a:lnTo>
                  <a:lnTo>
                    <a:pt x="238" y="120"/>
                  </a:lnTo>
                  <a:lnTo>
                    <a:pt x="238" y="120"/>
                  </a:lnTo>
                  <a:lnTo>
                    <a:pt x="236" y="132"/>
                  </a:lnTo>
                  <a:lnTo>
                    <a:pt x="236" y="144"/>
                  </a:lnTo>
                  <a:lnTo>
                    <a:pt x="228" y="166"/>
                  </a:lnTo>
                  <a:lnTo>
                    <a:pt x="218" y="186"/>
                  </a:lnTo>
                  <a:lnTo>
                    <a:pt x="202" y="202"/>
                  </a:lnTo>
                  <a:lnTo>
                    <a:pt x="186" y="218"/>
                  </a:lnTo>
                  <a:lnTo>
                    <a:pt x="166" y="228"/>
                  </a:lnTo>
                  <a:lnTo>
                    <a:pt x="144" y="236"/>
                  </a:lnTo>
                  <a:lnTo>
                    <a:pt x="132" y="236"/>
                  </a:lnTo>
                  <a:lnTo>
                    <a:pt x="120" y="238"/>
                  </a:lnTo>
                  <a:lnTo>
                    <a:pt x="120" y="238"/>
                  </a:lnTo>
                  <a:lnTo>
                    <a:pt x="108" y="236"/>
                  </a:lnTo>
                  <a:lnTo>
                    <a:pt x="96" y="236"/>
                  </a:lnTo>
                  <a:lnTo>
                    <a:pt x="74" y="228"/>
                  </a:lnTo>
                  <a:lnTo>
                    <a:pt x="54" y="218"/>
                  </a:lnTo>
                  <a:lnTo>
                    <a:pt x="36" y="202"/>
                  </a:lnTo>
                  <a:lnTo>
                    <a:pt x="22" y="186"/>
                  </a:lnTo>
                  <a:lnTo>
                    <a:pt x="10" y="166"/>
                  </a:lnTo>
                  <a:lnTo>
                    <a:pt x="4" y="144"/>
                  </a:lnTo>
                  <a:lnTo>
                    <a:pt x="2" y="132"/>
                  </a:lnTo>
                  <a:lnTo>
                    <a:pt x="0" y="120"/>
                  </a:lnTo>
                  <a:lnTo>
                    <a:pt x="0" y="120"/>
                  </a:lnTo>
                  <a:lnTo>
                    <a:pt x="2" y="108"/>
                  </a:lnTo>
                  <a:lnTo>
                    <a:pt x="4" y="96"/>
                  </a:lnTo>
                  <a:lnTo>
                    <a:pt x="10" y="74"/>
                  </a:lnTo>
                  <a:lnTo>
                    <a:pt x="22" y="54"/>
                  </a:lnTo>
                  <a:lnTo>
                    <a:pt x="36" y="36"/>
                  </a:lnTo>
                  <a:lnTo>
                    <a:pt x="54" y="22"/>
                  </a:lnTo>
                  <a:lnTo>
                    <a:pt x="74" y="10"/>
                  </a:lnTo>
                  <a:lnTo>
                    <a:pt x="96" y="4"/>
                  </a:lnTo>
                  <a:lnTo>
                    <a:pt x="108" y="2"/>
                  </a:lnTo>
                  <a:lnTo>
                    <a:pt x="120" y="0"/>
                  </a:lnTo>
                  <a:lnTo>
                    <a:pt x="12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prstClr val="black"/>
                </a:solidFill>
                <a:effectLst/>
                <a:uLnTx/>
                <a:uFillTx/>
                <a:latin typeface="Verdana"/>
              </a:endParaRPr>
            </a:p>
          </p:txBody>
        </p:sp>
        <p:grpSp>
          <p:nvGrpSpPr>
            <p:cNvPr id="114" name="Group 149">
              <a:extLst>
                <a:ext uri="{FF2B5EF4-FFF2-40B4-BE49-F238E27FC236}">
                  <a16:creationId xmlns:a16="http://schemas.microsoft.com/office/drawing/2014/main" id="{56E7E292-1FAD-4EB8-9D14-0996F387621C}"/>
                </a:ext>
              </a:extLst>
            </p:cNvPr>
            <p:cNvGrpSpPr/>
            <p:nvPr/>
          </p:nvGrpSpPr>
          <p:grpSpPr>
            <a:xfrm>
              <a:off x="13626822" y="3425182"/>
              <a:ext cx="180679" cy="203232"/>
              <a:chOff x="3656776" y="1801314"/>
              <a:chExt cx="375100" cy="421920"/>
            </a:xfrm>
          </p:grpSpPr>
          <p:sp>
            <p:nvSpPr>
              <p:cNvPr id="115" name="Freeform 18">
                <a:extLst>
                  <a:ext uri="{FF2B5EF4-FFF2-40B4-BE49-F238E27FC236}">
                    <a16:creationId xmlns:a16="http://schemas.microsoft.com/office/drawing/2014/main" id="{263C8558-E8C1-4C4B-9511-453DBFE1133B}"/>
                  </a:ext>
                </a:extLst>
              </p:cNvPr>
              <p:cNvSpPr>
                <a:spLocks/>
              </p:cNvSpPr>
              <p:nvPr/>
            </p:nvSpPr>
            <p:spPr bwMode="auto">
              <a:xfrm>
                <a:off x="3656776" y="1801314"/>
                <a:ext cx="375100" cy="176478"/>
              </a:xfrm>
              <a:custGeom>
                <a:avLst/>
                <a:gdLst>
                  <a:gd name="T0" fmla="*/ 1181 w 1188"/>
                  <a:gd name="T1" fmla="*/ 156 h 559"/>
                  <a:gd name="T2" fmla="*/ 1181 w 1188"/>
                  <a:gd name="T3" fmla="*/ 155 h 559"/>
                  <a:gd name="T4" fmla="*/ 1177 w 1188"/>
                  <a:gd name="T5" fmla="*/ 148 h 559"/>
                  <a:gd name="T6" fmla="*/ 1174 w 1188"/>
                  <a:gd name="T7" fmla="*/ 144 h 559"/>
                  <a:gd name="T8" fmla="*/ 1161 w 1188"/>
                  <a:gd name="T9" fmla="*/ 129 h 559"/>
                  <a:gd name="T10" fmla="*/ 1082 w 1188"/>
                  <a:gd name="T11" fmla="*/ 79 h 559"/>
                  <a:gd name="T12" fmla="*/ 1076 w 1188"/>
                  <a:gd name="T13" fmla="*/ 76 h 559"/>
                  <a:gd name="T14" fmla="*/ 594 w 1188"/>
                  <a:gd name="T15" fmla="*/ 0 h 559"/>
                  <a:gd name="T16" fmla="*/ 593 w 1188"/>
                  <a:gd name="T17" fmla="*/ 0 h 559"/>
                  <a:gd name="T18" fmla="*/ 593 w 1188"/>
                  <a:gd name="T19" fmla="*/ 0 h 559"/>
                  <a:gd name="T20" fmla="*/ 0 w 1188"/>
                  <a:gd name="T21" fmla="*/ 183 h 559"/>
                  <a:gd name="T22" fmla="*/ 0 w 1188"/>
                  <a:gd name="T23" fmla="*/ 375 h 559"/>
                  <a:gd name="T24" fmla="*/ 594 w 1188"/>
                  <a:gd name="T25" fmla="*/ 559 h 559"/>
                  <a:gd name="T26" fmla="*/ 1188 w 1188"/>
                  <a:gd name="T27" fmla="*/ 375 h 559"/>
                  <a:gd name="T28" fmla="*/ 1188 w 1188"/>
                  <a:gd name="T29" fmla="*/ 183 h 559"/>
                  <a:gd name="T30" fmla="*/ 1181 w 1188"/>
                  <a:gd name="T31" fmla="*/ 156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8" h="559">
                    <a:moveTo>
                      <a:pt x="1181" y="156"/>
                    </a:moveTo>
                    <a:cubicBezTo>
                      <a:pt x="1181" y="155"/>
                      <a:pt x="1181" y="155"/>
                      <a:pt x="1181" y="155"/>
                    </a:cubicBezTo>
                    <a:cubicBezTo>
                      <a:pt x="1180" y="153"/>
                      <a:pt x="1179" y="150"/>
                      <a:pt x="1177" y="148"/>
                    </a:cubicBezTo>
                    <a:cubicBezTo>
                      <a:pt x="1176" y="147"/>
                      <a:pt x="1175" y="145"/>
                      <a:pt x="1174" y="144"/>
                    </a:cubicBezTo>
                    <a:cubicBezTo>
                      <a:pt x="1171" y="139"/>
                      <a:pt x="1166" y="134"/>
                      <a:pt x="1161" y="129"/>
                    </a:cubicBezTo>
                    <a:cubicBezTo>
                      <a:pt x="1143" y="111"/>
                      <a:pt x="1116" y="94"/>
                      <a:pt x="1082" y="79"/>
                    </a:cubicBezTo>
                    <a:cubicBezTo>
                      <a:pt x="1080" y="78"/>
                      <a:pt x="1078" y="77"/>
                      <a:pt x="1076" y="76"/>
                    </a:cubicBezTo>
                    <a:cubicBezTo>
                      <a:pt x="968" y="30"/>
                      <a:pt x="792" y="0"/>
                      <a:pt x="594" y="0"/>
                    </a:cubicBezTo>
                    <a:cubicBezTo>
                      <a:pt x="594" y="0"/>
                      <a:pt x="593" y="0"/>
                      <a:pt x="593" y="0"/>
                    </a:cubicBezTo>
                    <a:cubicBezTo>
                      <a:pt x="593" y="0"/>
                      <a:pt x="593" y="0"/>
                      <a:pt x="593" y="0"/>
                    </a:cubicBezTo>
                    <a:cubicBezTo>
                      <a:pt x="265" y="0"/>
                      <a:pt x="0" y="82"/>
                      <a:pt x="0" y="183"/>
                    </a:cubicBezTo>
                    <a:cubicBezTo>
                      <a:pt x="0" y="375"/>
                      <a:pt x="0" y="375"/>
                      <a:pt x="0" y="375"/>
                    </a:cubicBezTo>
                    <a:cubicBezTo>
                      <a:pt x="0" y="477"/>
                      <a:pt x="266" y="559"/>
                      <a:pt x="594" y="559"/>
                    </a:cubicBezTo>
                    <a:cubicBezTo>
                      <a:pt x="922" y="559"/>
                      <a:pt x="1188" y="477"/>
                      <a:pt x="1188" y="375"/>
                    </a:cubicBezTo>
                    <a:cubicBezTo>
                      <a:pt x="1188" y="183"/>
                      <a:pt x="1188" y="183"/>
                      <a:pt x="1188" y="183"/>
                    </a:cubicBezTo>
                    <a:cubicBezTo>
                      <a:pt x="1188" y="174"/>
                      <a:pt x="1186" y="165"/>
                      <a:pt x="1181" y="156"/>
                    </a:cubicBezTo>
                    <a:close/>
                  </a:path>
                </a:pathLst>
              </a:custGeom>
              <a:solidFill>
                <a:srgbClr val="12ABDB"/>
              </a:solidFill>
              <a:ln>
                <a:noFill/>
              </a:ln>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a:ln>
                    <a:noFill/>
                  </a:ln>
                  <a:solidFill>
                    <a:prstClr val="black"/>
                  </a:solidFill>
                  <a:effectLst/>
                  <a:uLnTx/>
                  <a:uFillTx/>
                  <a:latin typeface="Verdana"/>
                </a:endParaRPr>
              </a:p>
            </p:txBody>
          </p:sp>
          <p:sp>
            <p:nvSpPr>
              <p:cNvPr id="116" name="Oval 19">
                <a:extLst>
                  <a:ext uri="{FF2B5EF4-FFF2-40B4-BE49-F238E27FC236}">
                    <a16:creationId xmlns:a16="http://schemas.microsoft.com/office/drawing/2014/main" id="{5755E69B-4BF8-45CD-9AD9-63110718FF61}"/>
                  </a:ext>
                </a:extLst>
              </p:cNvPr>
              <p:cNvSpPr>
                <a:spLocks noChangeArrowheads="1"/>
              </p:cNvSpPr>
              <p:nvPr/>
            </p:nvSpPr>
            <p:spPr bwMode="auto">
              <a:xfrm>
                <a:off x="3656776" y="1801314"/>
                <a:ext cx="375100" cy="115784"/>
              </a:xfrm>
              <a:prstGeom prst="ellipse">
                <a:avLst/>
              </a:prstGeom>
              <a:solidFill>
                <a:sysClr val="windowText" lastClr="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a:ln>
                    <a:noFill/>
                  </a:ln>
                  <a:solidFill>
                    <a:prstClr val="black"/>
                  </a:solidFill>
                  <a:effectLst/>
                  <a:uLnTx/>
                  <a:uFillTx/>
                  <a:latin typeface="Verdana"/>
                </a:endParaRPr>
              </a:p>
            </p:txBody>
          </p:sp>
          <p:sp>
            <p:nvSpPr>
              <p:cNvPr id="117" name="Freeform 20">
                <a:extLst>
                  <a:ext uri="{FF2B5EF4-FFF2-40B4-BE49-F238E27FC236}">
                    <a16:creationId xmlns:a16="http://schemas.microsoft.com/office/drawing/2014/main" id="{0DD8EF3A-A3B1-4FAA-8C27-5C4D7D75ED15}"/>
                  </a:ext>
                </a:extLst>
              </p:cNvPr>
              <p:cNvSpPr>
                <a:spLocks/>
              </p:cNvSpPr>
              <p:nvPr/>
            </p:nvSpPr>
            <p:spPr bwMode="auto">
              <a:xfrm>
                <a:off x="3656776" y="1940842"/>
                <a:ext cx="375100" cy="118719"/>
              </a:xfrm>
              <a:custGeom>
                <a:avLst/>
                <a:gdLst>
                  <a:gd name="T0" fmla="*/ 0 w 1188"/>
                  <a:gd name="T1" fmla="*/ 192 h 376"/>
                  <a:gd name="T2" fmla="*/ 594 w 1188"/>
                  <a:gd name="T3" fmla="*/ 376 h 376"/>
                  <a:gd name="T4" fmla="*/ 1188 w 1188"/>
                  <a:gd name="T5" fmla="*/ 192 h 376"/>
                  <a:gd name="T6" fmla="*/ 1188 w 1188"/>
                  <a:gd name="T7" fmla="*/ 0 h 376"/>
                  <a:gd name="T8" fmla="*/ 594 w 1188"/>
                  <a:gd name="T9" fmla="*/ 184 h 376"/>
                  <a:gd name="T10" fmla="*/ 0 w 1188"/>
                  <a:gd name="T11" fmla="*/ 0 h 376"/>
                  <a:gd name="T12" fmla="*/ 0 w 1188"/>
                  <a:gd name="T13" fmla="*/ 192 h 376"/>
                </a:gdLst>
                <a:ahLst/>
                <a:cxnLst>
                  <a:cxn ang="0">
                    <a:pos x="T0" y="T1"/>
                  </a:cxn>
                  <a:cxn ang="0">
                    <a:pos x="T2" y="T3"/>
                  </a:cxn>
                  <a:cxn ang="0">
                    <a:pos x="T4" y="T5"/>
                  </a:cxn>
                  <a:cxn ang="0">
                    <a:pos x="T6" y="T7"/>
                  </a:cxn>
                  <a:cxn ang="0">
                    <a:pos x="T8" y="T9"/>
                  </a:cxn>
                  <a:cxn ang="0">
                    <a:pos x="T10" y="T11"/>
                  </a:cxn>
                  <a:cxn ang="0">
                    <a:pos x="T12" y="T13"/>
                  </a:cxn>
                </a:cxnLst>
                <a:rect l="0" t="0" r="r" b="b"/>
                <a:pathLst>
                  <a:path w="1188" h="376">
                    <a:moveTo>
                      <a:pt x="0" y="192"/>
                    </a:moveTo>
                    <a:cubicBezTo>
                      <a:pt x="0" y="294"/>
                      <a:pt x="266" y="376"/>
                      <a:pt x="594" y="376"/>
                    </a:cubicBezTo>
                    <a:cubicBezTo>
                      <a:pt x="922" y="376"/>
                      <a:pt x="1188" y="294"/>
                      <a:pt x="1188" y="192"/>
                    </a:cubicBezTo>
                    <a:cubicBezTo>
                      <a:pt x="1188" y="0"/>
                      <a:pt x="1188" y="0"/>
                      <a:pt x="1188" y="0"/>
                    </a:cubicBezTo>
                    <a:cubicBezTo>
                      <a:pt x="1188" y="102"/>
                      <a:pt x="922" y="184"/>
                      <a:pt x="594" y="184"/>
                    </a:cubicBezTo>
                    <a:cubicBezTo>
                      <a:pt x="266" y="184"/>
                      <a:pt x="0" y="102"/>
                      <a:pt x="0" y="0"/>
                    </a:cubicBezTo>
                    <a:lnTo>
                      <a:pt x="0" y="192"/>
                    </a:lnTo>
                    <a:close/>
                  </a:path>
                </a:pathLst>
              </a:custGeom>
              <a:solidFill>
                <a:srgbClr val="12ABDB"/>
              </a:solidFill>
              <a:ln>
                <a:noFill/>
              </a:ln>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a:ln>
                    <a:noFill/>
                  </a:ln>
                  <a:solidFill>
                    <a:prstClr val="black"/>
                  </a:solidFill>
                  <a:effectLst/>
                  <a:uLnTx/>
                  <a:uFillTx/>
                  <a:latin typeface="Verdana"/>
                </a:endParaRPr>
              </a:p>
            </p:txBody>
          </p:sp>
          <p:sp>
            <p:nvSpPr>
              <p:cNvPr id="118" name="Freeform 21">
                <a:extLst>
                  <a:ext uri="{FF2B5EF4-FFF2-40B4-BE49-F238E27FC236}">
                    <a16:creationId xmlns:a16="http://schemas.microsoft.com/office/drawing/2014/main" id="{B92C283B-D470-413D-81A8-900C3D7FDF67}"/>
                  </a:ext>
                </a:extLst>
              </p:cNvPr>
              <p:cNvSpPr>
                <a:spLocks/>
              </p:cNvSpPr>
              <p:nvPr/>
            </p:nvSpPr>
            <p:spPr bwMode="auto">
              <a:xfrm>
                <a:off x="3656776" y="2022612"/>
                <a:ext cx="375100" cy="118719"/>
              </a:xfrm>
              <a:custGeom>
                <a:avLst/>
                <a:gdLst>
                  <a:gd name="T0" fmla="*/ 0 w 1188"/>
                  <a:gd name="T1" fmla="*/ 192 h 376"/>
                  <a:gd name="T2" fmla="*/ 594 w 1188"/>
                  <a:gd name="T3" fmla="*/ 376 h 376"/>
                  <a:gd name="T4" fmla="*/ 1188 w 1188"/>
                  <a:gd name="T5" fmla="*/ 192 h 376"/>
                  <a:gd name="T6" fmla="*/ 1188 w 1188"/>
                  <a:gd name="T7" fmla="*/ 0 h 376"/>
                  <a:gd name="T8" fmla="*/ 594 w 1188"/>
                  <a:gd name="T9" fmla="*/ 184 h 376"/>
                  <a:gd name="T10" fmla="*/ 0 w 1188"/>
                  <a:gd name="T11" fmla="*/ 0 h 376"/>
                  <a:gd name="T12" fmla="*/ 0 w 1188"/>
                  <a:gd name="T13" fmla="*/ 192 h 376"/>
                </a:gdLst>
                <a:ahLst/>
                <a:cxnLst>
                  <a:cxn ang="0">
                    <a:pos x="T0" y="T1"/>
                  </a:cxn>
                  <a:cxn ang="0">
                    <a:pos x="T2" y="T3"/>
                  </a:cxn>
                  <a:cxn ang="0">
                    <a:pos x="T4" y="T5"/>
                  </a:cxn>
                  <a:cxn ang="0">
                    <a:pos x="T6" y="T7"/>
                  </a:cxn>
                  <a:cxn ang="0">
                    <a:pos x="T8" y="T9"/>
                  </a:cxn>
                  <a:cxn ang="0">
                    <a:pos x="T10" y="T11"/>
                  </a:cxn>
                  <a:cxn ang="0">
                    <a:pos x="T12" y="T13"/>
                  </a:cxn>
                </a:cxnLst>
                <a:rect l="0" t="0" r="r" b="b"/>
                <a:pathLst>
                  <a:path w="1188" h="376">
                    <a:moveTo>
                      <a:pt x="0" y="192"/>
                    </a:moveTo>
                    <a:cubicBezTo>
                      <a:pt x="0" y="294"/>
                      <a:pt x="266" y="376"/>
                      <a:pt x="594" y="376"/>
                    </a:cubicBezTo>
                    <a:cubicBezTo>
                      <a:pt x="922" y="376"/>
                      <a:pt x="1188" y="294"/>
                      <a:pt x="1188" y="192"/>
                    </a:cubicBezTo>
                    <a:cubicBezTo>
                      <a:pt x="1188" y="0"/>
                      <a:pt x="1188" y="0"/>
                      <a:pt x="1188" y="0"/>
                    </a:cubicBezTo>
                    <a:cubicBezTo>
                      <a:pt x="1188" y="102"/>
                      <a:pt x="922" y="184"/>
                      <a:pt x="594" y="184"/>
                    </a:cubicBezTo>
                    <a:cubicBezTo>
                      <a:pt x="266" y="184"/>
                      <a:pt x="0" y="102"/>
                      <a:pt x="0" y="0"/>
                    </a:cubicBezTo>
                    <a:lnTo>
                      <a:pt x="0" y="192"/>
                    </a:lnTo>
                    <a:close/>
                  </a:path>
                </a:pathLst>
              </a:custGeom>
              <a:solidFill>
                <a:srgbClr val="12ABDB"/>
              </a:solidFill>
              <a:ln>
                <a:noFill/>
              </a:ln>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a:ln>
                    <a:noFill/>
                  </a:ln>
                  <a:solidFill>
                    <a:prstClr val="black"/>
                  </a:solidFill>
                  <a:effectLst/>
                  <a:uLnTx/>
                  <a:uFillTx/>
                  <a:latin typeface="Verdana"/>
                </a:endParaRPr>
              </a:p>
            </p:txBody>
          </p:sp>
          <p:sp>
            <p:nvSpPr>
              <p:cNvPr id="119" name="Freeform 22">
                <a:extLst>
                  <a:ext uri="{FF2B5EF4-FFF2-40B4-BE49-F238E27FC236}">
                    <a16:creationId xmlns:a16="http://schemas.microsoft.com/office/drawing/2014/main" id="{D2CCA9A8-0296-4EE6-8672-67F9C0CA8A71}"/>
                  </a:ext>
                </a:extLst>
              </p:cNvPr>
              <p:cNvSpPr>
                <a:spLocks/>
              </p:cNvSpPr>
              <p:nvPr/>
            </p:nvSpPr>
            <p:spPr bwMode="auto">
              <a:xfrm>
                <a:off x="3656776" y="2104381"/>
                <a:ext cx="375100" cy="118853"/>
              </a:xfrm>
              <a:custGeom>
                <a:avLst/>
                <a:gdLst>
                  <a:gd name="T0" fmla="*/ 0 w 1188"/>
                  <a:gd name="T1" fmla="*/ 192 h 376"/>
                  <a:gd name="T2" fmla="*/ 594 w 1188"/>
                  <a:gd name="T3" fmla="*/ 376 h 376"/>
                  <a:gd name="T4" fmla="*/ 1188 w 1188"/>
                  <a:gd name="T5" fmla="*/ 192 h 376"/>
                  <a:gd name="T6" fmla="*/ 1188 w 1188"/>
                  <a:gd name="T7" fmla="*/ 0 h 376"/>
                  <a:gd name="T8" fmla="*/ 594 w 1188"/>
                  <a:gd name="T9" fmla="*/ 184 h 376"/>
                  <a:gd name="T10" fmla="*/ 0 w 1188"/>
                  <a:gd name="T11" fmla="*/ 0 h 376"/>
                  <a:gd name="T12" fmla="*/ 0 w 1188"/>
                  <a:gd name="T13" fmla="*/ 192 h 376"/>
                </a:gdLst>
                <a:ahLst/>
                <a:cxnLst>
                  <a:cxn ang="0">
                    <a:pos x="T0" y="T1"/>
                  </a:cxn>
                  <a:cxn ang="0">
                    <a:pos x="T2" y="T3"/>
                  </a:cxn>
                  <a:cxn ang="0">
                    <a:pos x="T4" y="T5"/>
                  </a:cxn>
                  <a:cxn ang="0">
                    <a:pos x="T6" y="T7"/>
                  </a:cxn>
                  <a:cxn ang="0">
                    <a:pos x="T8" y="T9"/>
                  </a:cxn>
                  <a:cxn ang="0">
                    <a:pos x="T10" y="T11"/>
                  </a:cxn>
                  <a:cxn ang="0">
                    <a:pos x="T12" y="T13"/>
                  </a:cxn>
                </a:cxnLst>
                <a:rect l="0" t="0" r="r" b="b"/>
                <a:pathLst>
                  <a:path w="1188" h="376">
                    <a:moveTo>
                      <a:pt x="0" y="192"/>
                    </a:moveTo>
                    <a:cubicBezTo>
                      <a:pt x="0" y="293"/>
                      <a:pt x="266" y="376"/>
                      <a:pt x="594" y="376"/>
                    </a:cubicBezTo>
                    <a:cubicBezTo>
                      <a:pt x="922" y="376"/>
                      <a:pt x="1188" y="293"/>
                      <a:pt x="1188" y="192"/>
                    </a:cubicBezTo>
                    <a:cubicBezTo>
                      <a:pt x="1188" y="0"/>
                      <a:pt x="1188" y="0"/>
                      <a:pt x="1188" y="0"/>
                    </a:cubicBezTo>
                    <a:cubicBezTo>
                      <a:pt x="1188" y="102"/>
                      <a:pt x="922" y="184"/>
                      <a:pt x="594" y="184"/>
                    </a:cubicBezTo>
                    <a:cubicBezTo>
                      <a:pt x="266" y="184"/>
                      <a:pt x="0" y="102"/>
                      <a:pt x="0" y="0"/>
                    </a:cubicBezTo>
                    <a:lnTo>
                      <a:pt x="0" y="192"/>
                    </a:lnTo>
                    <a:close/>
                  </a:path>
                </a:pathLst>
              </a:custGeom>
              <a:solidFill>
                <a:srgbClr val="12ABDB"/>
              </a:solidFill>
              <a:ln>
                <a:noFill/>
              </a:ln>
            </p:spPr>
            <p:txBody>
              <a:bodyPr vert="horz" wrap="square" lIns="91440" tIns="45721" rIns="91440" bIns="457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a:ln>
                    <a:noFill/>
                  </a:ln>
                  <a:solidFill>
                    <a:prstClr val="black"/>
                  </a:solidFill>
                  <a:effectLst/>
                  <a:uLnTx/>
                  <a:uFillTx/>
                  <a:latin typeface="Verdana"/>
                </a:endParaRPr>
              </a:p>
            </p:txBody>
          </p:sp>
        </p:grpSp>
      </p:grpSp>
      <p:sp>
        <p:nvSpPr>
          <p:cNvPr id="120" name="Freeform 10">
            <a:extLst>
              <a:ext uri="{FF2B5EF4-FFF2-40B4-BE49-F238E27FC236}">
                <a16:creationId xmlns:a16="http://schemas.microsoft.com/office/drawing/2014/main" id="{09081B35-07B8-47F2-A73F-249BD37B9E6D}"/>
              </a:ext>
            </a:extLst>
          </p:cNvPr>
          <p:cNvSpPr>
            <a:spLocks/>
          </p:cNvSpPr>
          <p:nvPr/>
        </p:nvSpPr>
        <p:spPr bwMode="auto">
          <a:xfrm rot="14400000" flipH="1">
            <a:off x="9401189" y="1160025"/>
            <a:ext cx="579877" cy="774137"/>
          </a:xfrm>
          <a:custGeom>
            <a:avLst/>
            <a:gdLst/>
            <a:ahLst/>
            <a:cxnLst>
              <a:cxn ang="0">
                <a:pos x="85" y="95"/>
              </a:cxn>
              <a:cxn ang="0">
                <a:pos x="56" y="113"/>
              </a:cxn>
              <a:cxn ang="0">
                <a:pos x="59" y="103"/>
              </a:cxn>
              <a:cxn ang="0">
                <a:pos x="17" y="78"/>
              </a:cxn>
              <a:cxn ang="0">
                <a:pos x="31" y="0"/>
              </a:cxn>
              <a:cxn ang="0">
                <a:pos x="24" y="65"/>
              </a:cxn>
              <a:cxn ang="0">
                <a:pos x="60" y="87"/>
              </a:cxn>
              <a:cxn ang="0">
                <a:pos x="57" y="76"/>
              </a:cxn>
              <a:cxn ang="0">
                <a:pos x="85" y="95"/>
              </a:cxn>
            </a:cxnLst>
            <a:rect l="0" t="0" r="r" b="b"/>
            <a:pathLst>
              <a:path w="85" h="113">
                <a:moveTo>
                  <a:pt x="85" y="95"/>
                </a:moveTo>
                <a:cubicBezTo>
                  <a:pt x="56" y="113"/>
                  <a:pt x="56" y="113"/>
                  <a:pt x="56" y="113"/>
                </a:cubicBezTo>
                <a:cubicBezTo>
                  <a:pt x="59" y="103"/>
                  <a:pt x="59" y="103"/>
                  <a:pt x="59" y="103"/>
                </a:cubicBezTo>
                <a:cubicBezTo>
                  <a:pt x="43" y="101"/>
                  <a:pt x="27" y="92"/>
                  <a:pt x="17" y="78"/>
                </a:cubicBezTo>
                <a:cubicBezTo>
                  <a:pt x="0" y="52"/>
                  <a:pt x="7" y="18"/>
                  <a:pt x="31" y="0"/>
                </a:cubicBezTo>
                <a:cubicBezTo>
                  <a:pt x="13" y="17"/>
                  <a:pt x="10" y="44"/>
                  <a:pt x="24" y="65"/>
                </a:cubicBezTo>
                <a:cubicBezTo>
                  <a:pt x="32" y="78"/>
                  <a:pt x="46" y="85"/>
                  <a:pt x="60" y="87"/>
                </a:cubicBezTo>
                <a:cubicBezTo>
                  <a:pt x="57" y="76"/>
                  <a:pt x="57" y="76"/>
                  <a:pt x="57" y="76"/>
                </a:cubicBezTo>
                <a:lnTo>
                  <a:pt x="85" y="95"/>
                </a:ln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121" name="Freeform 10">
            <a:extLst>
              <a:ext uri="{FF2B5EF4-FFF2-40B4-BE49-F238E27FC236}">
                <a16:creationId xmlns:a16="http://schemas.microsoft.com/office/drawing/2014/main" id="{1736D965-871B-4DCF-B262-EA3350EEE856}"/>
              </a:ext>
            </a:extLst>
          </p:cNvPr>
          <p:cNvSpPr>
            <a:spLocks/>
          </p:cNvSpPr>
          <p:nvPr/>
        </p:nvSpPr>
        <p:spPr bwMode="auto">
          <a:xfrm rot="14400000" flipH="1">
            <a:off x="6943124" y="1160026"/>
            <a:ext cx="579877" cy="774137"/>
          </a:xfrm>
          <a:custGeom>
            <a:avLst/>
            <a:gdLst/>
            <a:ahLst/>
            <a:cxnLst>
              <a:cxn ang="0">
                <a:pos x="85" y="95"/>
              </a:cxn>
              <a:cxn ang="0">
                <a:pos x="56" y="113"/>
              </a:cxn>
              <a:cxn ang="0">
                <a:pos x="59" y="103"/>
              </a:cxn>
              <a:cxn ang="0">
                <a:pos x="17" y="78"/>
              </a:cxn>
              <a:cxn ang="0">
                <a:pos x="31" y="0"/>
              </a:cxn>
              <a:cxn ang="0">
                <a:pos x="24" y="65"/>
              </a:cxn>
              <a:cxn ang="0">
                <a:pos x="60" y="87"/>
              </a:cxn>
              <a:cxn ang="0">
                <a:pos x="57" y="76"/>
              </a:cxn>
              <a:cxn ang="0">
                <a:pos x="85" y="95"/>
              </a:cxn>
            </a:cxnLst>
            <a:rect l="0" t="0" r="r" b="b"/>
            <a:pathLst>
              <a:path w="85" h="113">
                <a:moveTo>
                  <a:pt x="85" y="95"/>
                </a:moveTo>
                <a:cubicBezTo>
                  <a:pt x="56" y="113"/>
                  <a:pt x="56" y="113"/>
                  <a:pt x="56" y="113"/>
                </a:cubicBezTo>
                <a:cubicBezTo>
                  <a:pt x="59" y="103"/>
                  <a:pt x="59" y="103"/>
                  <a:pt x="59" y="103"/>
                </a:cubicBezTo>
                <a:cubicBezTo>
                  <a:pt x="43" y="101"/>
                  <a:pt x="27" y="92"/>
                  <a:pt x="17" y="78"/>
                </a:cubicBezTo>
                <a:cubicBezTo>
                  <a:pt x="0" y="52"/>
                  <a:pt x="7" y="18"/>
                  <a:pt x="31" y="0"/>
                </a:cubicBezTo>
                <a:cubicBezTo>
                  <a:pt x="13" y="17"/>
                  <a:pt x="10" y="44"/>
                  <a:pt x="24" y="65"/>
                </a:cubicBezTo>
                <a:cubicBezTo>
                  <a:pt x="32" y="78"/>
                  <a:pt x="46" y="85"/>
                  <a:pt x="60" y="87"/>
                </a:cubicBezTo>
                <a:cubicBezTo>
                  <a:pt x="57" y="76"/>
                  <a:pt x="57" y="76"/>
                  <a:pt x="57" y="76"/>
                </a:cubicBezTo>
                <a:lnTo>
                  <a:pt x="85" y="95"/>
                </a:ln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122" name="Freeform 10">
            <a:extLst>
              <a:ext uri="{FF2B5EF4-FFF2-40B4-BE49-F238E27FC236}">
                <a16:creationId xmlns:a16="http://schemas.microsoft.com/office/drawing/2014/main" id="{5A1CF742-703F-4D2F-8CDE-27A5C6B989E8}"/>
              </a:ext>
            </a:extLst>
          </p:cNvPr>
          <p:cNvSpPr>
            <a:spLocks/>
          </p:cNvSpPr>
          <p:nvPr/>
        </p:nvSpPr>
        <p:spPr bwMode="auto">
          <a:xfrm rot="14400000" flipH="1">
            <a:off x="4592800" y="1160028"/>
            <a:ext cx="579877" cy="774137"/>
          </a:xfrm>
          <a:custGeom>
            <a:avLst/>
            <a:gdLst/>
            <a:ahLst/>
            <a:cxnLst>
              <a:cxn ang="0">
                <a:pos x="85" y="95"/>
              </a:cxn>
              <a:cxn ang="0">
                <a:pos x="56" y="113"/>
              </a:cxn>
              <a:cxn ang="0">
                <a:pos x="59" y="103"/>
              </a:cxn>
              <a:cxn ang="0">
                <a:pos x="17" y="78"/>
              </a:cxn>
              <a:cxn ang="0">
                <a:pos x="31" y="0"/>
              </a:cxn>
              <a:cxn ang="0">
                <a:pos x="24" y="65"/>
              </a:cxn>
              <a:cxn ang="0">
                <a:pos x="60" y="87"/>
              </a:cxn>
              <a:cxn ang="0">
                <a:pos x="57" y="76"/>
              </a:cxn>
              <a:cxn ang="0">
                <a:pos x="85" y="95"/>
              </a:cxn>
            </a:cxnLst>
            <a:rect l="0" t="0" r="r" b="b"/>
            <a:pathLst>
              <a:path w="85" h="113">
                <a:moveTo>
                  <a:pt x="85" y="95"/>
                </a:moveTo>
                <a:cubicBezTo>
                  <a:pt x="56" y="113"/>
                  <a:pt x="56" y="113"/>
                  <a:pt x="56" y="113"/>
                </a:cubicBezTo>
                <a:cubicBezTo>
                  <a:pt x="59" y="103"/>
                  <a:pt x="59" y="103"/>
                  <a:pt x="59" y="103"/>
                </a:cubicBezTo>
                <a:cubicBezTo>
                  <a:pt x="43" y="101"/>
                  <a:pt x="27" y="92"/>
                  <a:pt x="17" y="78"/>
                </a:cubicBezTo>
                <a:cubicBezTo>
                  <a:pt x="0" y="52"/>
                  <a:pt x="7" y="18"/>
                  <a:pt x="31" y="0"/>
                </a:cubicBezTo>
                <a:cubicBezTo>
                  <a:pt x="13" y="17"/>
                  <a:pt x="10" y="44"/>
                  <a:pt x="24" y="65"/>
                </a:cubicBezTo>
                <a:cubicBezTo>
                  <a:pt x="32" y="78"/>
                  <a:pt x="46" y="85"/>
                  <a:pt x="60" y="87"/>
                </a:cubicBezTo>
                <a:cubicBezTo>
                  <a:pt x="57" y="76"/>
                  <a:pt x="57" y="76"/>
                  <a:pt x="57" y="76"/>
                </a:cubicBezTo>
                <a:lnTo>
                  <a:pt x="85" y="95"/>
                </a:ln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123" name="Freeform 10">
            <a:extLst>
              <a:ext uri="{FF2B5EF4-FFF2-40B4-BE49-F238E27FC236}">
                <a16:creationId xmlns:a16="http://schemas.microsoft.com/office/drawing/2014/main" id="{6DE134B6-5AC6-4ADA-87B3-936DF588277D}"/>
              </a:ext>
            </a:extLst>
          </p:cNvPr>
          <p:cNvSpPr>
            <a:spLocks/>
          </p:cNvSpPr>
          <p:nvPr/>
        </p:nvSpPr>
        <p:spPr bwMode="auto">
          <a:xfrm rot="14400000" flipH="1">
            <a:off x="2221559" y="1160029"/>
            <a:ext cx="579877" cy="774137"/>
          </a:xfrm>
          <a:custGeom>
            <a:avLst/>
            <a:gdLst/>
            <a:ahLst/>
            <a:cxnLst>
              <a:cxn ang="0">
                <a:pos x="85" y="95"/>
              </a:cxn>
              <a:cxn ang="0">
                <a:pos x="56" y="113"/>
              </a:cxn>
              <a:cxn ang="0">
                <a:pos x="59" y="103"/>
              </a:cxn>
              <a:cxn ang="0">
                <a:pos x="17" y="78"/>
              </a:cxn>
              <a:cxn ang="0">
                <a:pos x="31" y="0"/>
              </a:cxn>
              <a:cxn ang="0">
                <a:pos x="24" y="65"/>
              </a:cxn>
              <a:cxn ang="0">
                <a:pos x="60" y="87"/>
              </a:cxn>
              <a:cxn ang="0">
                <a:pos x="57" y="76"/>
              </a:cxn>
              <a:cxn ang="0">
                <a:pos x="85" y="95"/>
              </a:cxn>
            </a:cxnLst>
            <a:rect l="0" t="0" r="r" b="b"/>
            <a:pathLst>
              <a:path w="85" h="113">
                <a:moveTo>
                  <a:pt x="85" y="95"/>
                </a:moveTo>
                <a:cubicBezTo>
                  <a:pt x="56" y="113"/>
                  <a:pt x="56" y="113"/>
                  <a:pt x="56" y="113"/>
                </a:cubicBezTo>
                <a:cubicBezTo>
                  <a:pt x="59" y="103"/>
                  <a:pt x="59" y="103"/>
                  <a:pt x="59" y="103"/>
                </a:cubicBezTo>
                <a:cubicBezTo>
                  <a:pt x="43" y="101"/>
                  <a:pt x="27" y="92"/>
                  <a:pt x="17" y="78"/>
                </a:cubicBezTo>
                <a:cubicBezTo>
                  <a:pt x="0" y="52"/>
                  <a:pt x="7" y="18"/>
                  <a:pt x="31" y="0"/>
                </a:cubicBezTo>
                <a:cubicBezTo>
                  <a:pt x="13" y="17"/>
                  <a:pt x="10" y="44"/>
                  <a:pt x="24" y="65"/>
                </a:cubicBezTo>
                <a:cubicBezTo>
                  <a:pt x="32" y="78"/>
                  <a:pt x="46" y="85"/>
                  <a:pt x="60" y="87"/>
                </a:cubicBezTo>
                <a:cubicBezTo>
                  <a:pt x="57" y="76"/>
                  <a:pt x="57" y="76"/>
                  <a:pt x="57" y="76"/>
                </a:cubicBezTo>
                <a:lnTo>
                  <a:pt x="85" y="95"/>
                </a:ln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9477960" cy="412934"/>
          </a:xfrm>
          <a:prstGeom prst="rect">
            <a:avLst/>
          </a:prstGeom>
        </p:spPr>
        <p:txBody>
          <a:bodyPr vert="horz" wrap="square" lIns="0" tIns="12700" rIns="0" bIns="0" rtlCol="0">
            <a:spAutoFit/>
          </a:bodyPr>
          <a:lstStyle/>
          <a:p>
            <a:pPr marL="12700">
              <a:lnSpc>
                <a:spcPct val="100000"/>
              </a:lnSpc>
              <a:spcBef>
                <a:spcPts val="100"/>
              </a:spcBef>
            </a:pPr>
            <a:r>
              <a:rPr sz="2600" spc="-5"/>
              <a:t>Data Migration </a:t>
            </a:r>
            <a:r>
              <a:rPr sz="2600"/>
              <a:t>–</a:t>
            </a:r>
            <a:r>
              <a:rPr sz="2600" spc="-90"/>
              <a:t> </a:t>
            </a:r>
            <a:r>
              <a:rPr sz="2600"/>
              <a:t>Approach</a:t>
            </a:r>
            <a:r>
              <a:rPr lang="it-IT" sz="2600"/>
              <a:t> (illustrative)</a:t>
            </a:r>
            <a:endParaRPr sz="2600"/>
          </a:p>
        </p:txBody>
      </p:sp>
      <p:sp>
        <p:nvSpPr>
          <p:cNvPr id="3" name="object 3"/>
          <p:cNvSpPr/>
          <p:nvPr/>
        </p:nvSpPr>
        <p:spPr>
          <a:xfrm>
            <a:off x="5327903" y="1909572"/>
            <a:ext cx="1290955" cy="403860"/>
          </a:xfrm>
          <a:custGeom>
            <a:avLst/>
            <a:gdLst/>
            <a:ahLst/>
            <a:cxnLst/>
            <a:rect l="l" t="t" r="r" b="b"/>
            <a:pathLst>
              <a:path w="1290954" h="403860">
                <a:moveTo>
                  <a:pt x="1165860" y="0"/>
                </a:moveTo>
                <a:lnTo>
                  <a:pt x="0" y="0"/>
                </a:lnTo>
                <a:lnTo>
                  <a:pt x="0" y="403860"/>
                </a:lnTo>
                <a:lnTo>
                  <a:pt x="1165860" y="403860"/>
                </a:lnTo>
                <a:lnTo>
                  <a:pt x="1290827" y="201929"/>
                </a:lnTo>
                <a:lnTo>
                  <a:pt x="1165860" y="0"/>
                </a:lnTo>
                <a:close/>
              </a:path>
            </a:pathLst>
          </a:custGeom>
          <a:solidFill>
            <a:srgbClr val="CDEFFA"/>
          </a:solidFill>
        </p:spPr>
        <p:txBody>
          <a:bodyPr wrap="square" lIns="0" tIns="0" rIns="0" bIns="0" rtlCol="0"/>
          <a:lstStyle/>
          <a:p>
            <a:endParaRPr/>
          </a:p>
        </p:txBody>
      </p:sp>
      <p:sp>
        <p:nvSpPr>
          <p:cNvPr id="4" name="object 4"/>
          <p:cNvSpPr/>
          <p:nvPr/>
        </p:nvSpPr>
        <p:spPr>
          <a:xfrm>
            <a:off x="5327903" y="1909572"/>
            <a:ext cx="1290955" cy="403860"/>
          </a:xfrm>
          <a:custGeom>
            <a:avLst/>
            <a:gdLst/>
            <a:ahLst/>
            <a:cxnLst/>
            <a:rect l="l" t="t" r="r" b="b"/>
            <a:pathLst>
              <a:path w="1290954" h="403860">
                <a:moveTo>
                  <a:pt x="0" y="0"/>
                </a:moveTo>
                <a:lnTo>
                  <a:pt x="1165860" y="0"/>
                </a:lnTo>
                <a:lnTo>
                  <a:pt x="1290827" y="201929"/>
                </a:lnTo>
                <a:lnTo>
                  <a:pt x="1165860" y="403860"/>
                </a:lnTo>
                <a:lnTo>
                  <a:pt x="0" y="403860"/>
                </a:lnTo>
                <a:lnTo>
                  <a:pt x="0" y="0"/>
                </a:lnTo>
                <a:close/>
              </a:path>
            </a:pathLst>
          </a:custGeom>
          <a:ln w="9143">
            <a:solidFill>
              <a:srgbClr val="68D1F3"/>
            </a:solidFill>
          </a:ln>
        </p:spPr>
        <p:txBody>
          <a:bodyPr wrap="square" lIns="0" tIns="0" rIns="0" bIns="0" rtlCol="0"/>
          <a:lstStyle/>
          <a:p>
            <a:endParaRPr/>
          </a:p>
        </p:txBody>
      </p:sp>
      <p:sp>
        <p:nvSpPr>
          <p:cNvPr id="5" name="object 5"/>
          <p:cNvSpPr txBox="1"/>
          <p:nvPr/>
        </p:nvSpPr>
        <p:spPr>
          <a:xfrm>
            <a:off x="5611495" y="1947417"/>
            <a:ext cx="659765" cy="330200"/>
          </a:xfrm>
          <a:prstGeom prst="rect">
            <a:avLst/>
          </a:prstGeom>
        </p:spPr>
        <p:txBody>
          <a:bodyPr vert="horz" wrap="square" lIns="0" tIns="12065" rIns="0" bIns="0" rtlCol="0">
            <a:spAutoFit/>
          </a:bodyPr>
          <a:lstStyle/>
          <a:p>
            <a:pPr marL="12700" marR="5080" indent="55880">
              <a:lnSpc>
                <a:spcPct val="100000"/>
              </a:lnSpc>
              <a:spcBef>
                <a:spcPts val="95"/>
              </a:spcBef>
            </a:pPr>
            <a:r>
              <a:rPr sz="1000">
                <a:latin typeface="Verdana"/>
                <a:cs typeface="Verdana"/>
              </a:rPr>
              <a:t>Solution  </a:t>
            </a:r>
            <a:r>
              <a:rPr sz="1000" spc="-5">
                <a:latin typeface="Verdana"/>
                <a:cs typeface="Verdana"/>
              </a:rPr>
              <a:t>Va</a:t>
            </a:r>
            <a:r>
              <a:rPr sz="1000" spc="5">
                <a:latin typeface="Verdana"/>
                <a:cs typeface="Verdana"/>
              </a:rPr>
              <a:t>li</a:t>
            </a:r>
            <a:r>
              <a:rPr sz="1000" spc="-5">
                <a:latin typeface="Verdana"/>
                <a:cs typeface="Verdana"/>
              </a:rPr>
              <a:t>dat</a:t>
            </a:r>
            <a:r>
              <a:rPr sz="1000" spc="5">
                <a:latin typeface="Verdana"/>
                <a:cs typeface="Verdana"/>
              </a:rPr>
              <a:t>i</a:t>
            </a:r>
            <a:r>
              <a:rPr sz="1000" spc="-10">
                <a:latin typeface="Verdana"/>
                <a:cs typeface="Verdana"/>
              </a:rPr>
              <a:t>o</a:t>
            </a:r>
            <a:r>
              <a:rPr sz="1000" spc="-5">
                <a:latin typeface="Verdana"/>
                <a:cs typeface="Verdana"/>
              </a:rPr>
              <a:t>n</a:t>
            </a:r>
            <a:endParaRPr sz="1000">
              <a:latin typeface="Verdana"/>
              <a:cs typeface="Verdana"/>
            </a:endParaRPr>
          </a:p>
        </p:txBody>
      </p:sp>
      <p:sp>
        <p:nvSpPr>
          <p:cNvPr id="6" name="object 6"/>
          <p:cNvSpPr/>
          <p:nvPr/>
        </p:nvSpPr>
        <p:spPr>
          <a:xfrm>
            <a:off x="6573011" y="1909572"/>
            <a:ext cx="2484120" cy="403860"/>
          </a:xfrm>
          <a:custGeom>
            <a:avLst/>
            <a:gdLst/>
            <a:ahLst/>
            <a:cxnLst/>
            <a:rect l="l" t="t" r="r" b="b"/>
            <a:pathLst>
              <a:path w="2484120" h="403860">
                <a:moveTo>
                  <a:pt x="2359152" y="0"/>
                </a:moveTo>
                <a:lnTo>
                  <a:pt x="0" y="0"/>
                </a:lnTo>
                <a:lnTo>
                  <a:pt x="124968" y="201929"/>
                </a:lnTo>
                <a:lnTo>
                  <a:pt x="0" y="403860"/>
                </a:lnTo>
                <a:lnTo>
                  <a:pt x="2359152" y="403860"/>
                </a:lnTo>
                <a:lnTo>
                  <a:pt x="2484120" y="201929"/>
                </a:lnTo>
                <a:lnTo>
                  <a:pt x="2359152" y="0"/>
                </a:lnTo>
                <a:close/>
              </a:path>
            </a:pathLst>
          </a:custGeom>
          <a:solidFill>
            <a:srgbClr val="CDEFFA"/>
          </a:solidFill>
        </p:spPr>
        <p:txBody>
          <a:bodyPr wrap="square" lIns="0" tIns="0" rIns="0" bIns="0" rtlCol="0"/>
          <a:lstStyle/>
          <a:p>
            <a:endParaRPr/>
          </a:p>
        </p:txBody>
      </p:sp>
      <p:sp>
        <p:nvSpPr>
          <p:cNvPr id="7" name="object 7"/>
          <p:cNvSpPr/>
          <p:nvPr/>
        </p:nvSpPr>
        <p:spPr>
          <a:xfrm>
            <a:off x="6573011" y="1909572"/>
            <a:ext cx="2484120" cy="403860"/>
          </a:xfrm>
          <a:custGeom>
            <a:avLst/>
            <a:gdLst/>
            <a:ahLst/>
            <a:cxnLst/>
            <a:rect l="l" t="t" r="r" b="b"/>
            <a:pathLst>
              <a:path w="2484120" h="403860">
                <a:moveTo>
                  <a:pt x="0" y="0"/>
                </a:moveTo>
                <a:lnTo>
                  <a:pt x="2359152" y="0"/>
                </a:lnTo>
                <a:lnTo>
                  <a:pt x="2484120" y="201929"/>
                </a:lnTo>
                <a:lnTo>
                  <a:pt x="2359152" y="403860"/>
                </a:lnTo>
                <a:lnTo>
                  <a:pt x="0" y="403860"/>
                </a:lnTo>
                <a:lnTo>
                  <a:pt x="124968" y="201929"/>
                </a:lnTo>
                <a:lnTo>
                  <a:pt x="0" y="0"/>
                </a:lnTo>
                <a:close/>
              </a:path>
            </a:pathLst>
          </a:custGeom>
          <a:ln w="9144">
            <a:solidFill>
              <a:srgbClr val="68D1F3"/>
            </a:solidFill>
          </a:ln>
        </p:spPr>
        <p:txBody>
          <a:bodyPr wrap="square" lIns="0" tIns="0" rIns="0" bIns="0" rtlCol="0"/>
          <a:lstStyle/>
          <a:p>
            <a:endParaRPr/>
          </a:p>
        </p:txBody>
      </p:sp>
      <p:sp>
        <p:nvSpPr>
          <p:cNvPr id="8" name="object 8"/>
          <p:cNvSpPr txBox="1"/>
          <p:nvPr/>
        </p:nvSpPr>
        <p:spPr>
          <a:xfrm>
            <a:off x="6770369" y="2023617"/>
            <a:ext cx="2089150" cy="177800"/>
          </a:xfrm>
          <a:prstGeom prst="rect">
            <a:avLst/>
          </a:prstGeom>
        </p:spPr>
        <p:txBody>
          <a:bodyPr vert="horz" wrap="square" lIns="0" tIns="12065" rIns="0" bIns="0" rtlCol="0">
            <a:spAutoFit/>
          </a:bodyPr>
          <a:lstStyle/>
          <a:p>
            <a:pPr marL="12700">
              <a:lnSpc>
                <a:spcPct val="100000"/>
              </a:lnSpc>
              <a:spcBef>
                <a:spcPts val="95"/>
              </a:spcBef>
            </a:pPr>
            <a:r>
              <a:rPr sz="1000">
                <a:latin typeface="Verdana"/>
                <a:cs typeface="Verdana"/>
              </a:rPr>
              <a:t>Solution </a:t>
            </a:r>
            <a:r>
              <a:rPr sz="1000" spc="-5">
                <a:latin typeface="Verdana"/>
                <a:cs typeface="Verdana"/>
              </a:rPr>
              <a:t>Development &amp;</a:t>
            </a:r>
            <a:r>
              <a:rPr sz="1000" spc="10">
                <a:latin typeface="Verdana"/>
                <a:cs typeface="Verdana"/>
              </a:rPr>
              <a:t> </a:t>
            </a:r>
            <a:r>
              <a:rPr sz="1000" spc="-5">
                <a:latin typeface="Verdana"/>
                <a:cs typeface="Verdana"/>
              </a:rPr>
              <a:t>Testing</a:t>
            </a:r>
            <a:endParaRPr sz="1000">
              <a:latin typeface="Verdana"/>
              <a:cs typeface="Verdana"/>
            </a:endParaRPr>
          </a:p>
        </p:txBody>
      </p:sp>
      <p:sp>
        <p:nvSpPr>
          <p:cNvPr id="9" name="object 9"/>
          <p:cNvSpPr/>
          <p:nvPr/>
        </p:nvSpPr>
        <p:spPr>
          <a:xfrm>
            <a:off x="9017507" y="1909572"/>
            <a:ext cx="2898775" cy="403860"/>
          </a:xfrm>
          <a:custGeom>
            <a:avLst/>
            <a:gdLst/>
            <a:ahLst/>
            <a:cxnLst/>
            <a:rect l="l" t="t" r="r" b="b"/>
            <a:pathLst>
              <a:path w="2898775" h="403860">
                <a:moveTo>
                  <a:pt x="2764028" y="0"/>
                </a:moveTo>
                <a:lnTo>
                  <a:pt x="0" y="0"/>
                </a:lnTo>
                <a:lnTo>
                  <a:pt x="134620" y="201929"/>
                </a:lnTo>
                <a:lnTo>
                  <a:pt x="0" y="403860"/>
                </a:lnTo>
                <a:lnTo>
                  <a:pt x="2764028" y="403860"/>
                </a:lnTo>
                <a:lnTo>
                  <a:pt x="2898648" y="201929"/>
                </a:lnTo>
                <a:lnTo>
                  <a:pt x="2764028" y="0"/>
                </a:lnTo>
                <a:close/>
              </a:path>
            </a:pathLst>
          </a:custGeom>
          <a:solidFill>
            <a:srgbClr val="CDEFFA"/>
          </a:solidFill>
        </p:spPr>
        <p:txBody>
          <a:bodyPr wrap="square" lIns="0" tIns="0" rIns="0" bIns="0" rtlCol="0"/>
          <a:lstStyle/>
          <a:p>
            <a:endParaRPr/>
          </a:p>
        </p:txBody>
      </p:sp>
      <p:sp>
        <p:nvSpPr>
          <p:cNvPr id="10" name="object 10"/>
          <p:cNvSpPr/>
          <p:nvPr/>
        </p:nvSpPr>
        <p:spPr>
          <a:xfrm>
            <a:off x="9017507" y="1909572"/>
            <a:ext cx="2898775" cy="403860"/>
          </a:xfrm>
          <a:custGeom>
            <a:avLst/>
            <a:gdLst/>
            <a:ahLst/>
            <a:cxnLst/>
            <a:rect l="l" t="t" r="r" b="b"/>
            <a:pathLst>
              <a:path w="2898775" h="403860">
                <a:moveTo>
                  <a:pt x="0" y="0"/>
                </a:moveTo>
                <a:lnTo>
                  <a:pt x="2764028" y="0"/>
                </a:lnTo>
                <a:lnTo>
                  <a:pt x="2898648" y="201929"/>
                </a:lnTo>
                <a:lnTo>
                  <a:pt x="2764028" y="403860"/>
                </a:lnTo>
                <a:lnTo>
                  <a:pt x="0" y="403860"/>
                </a:lnTo>
                <a:lnTo>
                  <a:pt x="134620" y="201929"/>
                </a:lnTo>
                <a:lnTo>
                  <a:pt x="0" y="0"/>
                </a:lnTo>
                <a:close/>
              </a:path>
            </a:pathLst>
          </a:custGeom>
          <a:ln w="9144">
            <a:solidFill>
              <a:srgbClr val="68D1F3"/>
            </a:solidFill>
          </a:ln>
        </p:spPr>
        <p:txBody>
          <a:bodyPr wrap="square" lIns="0" tIns="0" rIns="0" bIns="0" rtlCol="0"/>
          <a:lstStyle/>
          <a:p>
            <a:endParaRPr/>
          </a:p>
        </p:txBody>
      </p:sp>
      <p:sp>
        <p:nvSpPr>
          <p:cNvPr id="11" name="object 11"/>
          <p:cNvSpPr txBox="1"/>
          <p:nvPr/>
        </p:nvSpPr>
        <p:spPr>
          <a:xfrm>
            <a:off x="10070972" y="2023617"/>
            <a:ext cx="79311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D</a:t>
            </a:r>
            <a:r>
              <a:rPr sz="1000" spc="-15">
                <a:latin typeface="Verdana"/>
                <a:cs typeface="Verdana"/>
              </a:rPr>
              <a:t>e</a:t>
            </a:r>
            <a:r>
              <a:rPr sz="1000" spc="-5">
                <a:latin typeface="Verdana"/>
                <a:cs typeface="Verdana"/>
              </a:rPr>
              <a:t>p</a:t>
            </a:r>
            <a:r>
              <a:rPr sz="1000" spc="5">
                <a:latin typeface="Verdana"/>
                <a:cs typeface="Verdana"/>
              </a:rPr>
              <a:t>l</a:t>
            </a:r>
            <a:r>
              <a:rPr sz="1000" spc="-10">
                <a:latin typeface="Verdana"/>
                <a:cs typeface="Verdana"/>
              </a:rPr>
              <a:t>o</a:t>
            </a:r>
            <a:r>
              <a:rPr sz="1000" spc="-5">
                <a:latin typeface="Verdana"/>
                <a:cs typeface="Verdana"/>
              </a:rPr>
              <a:t>ym</a:t>
            </a:r>
            <a:r>
              <a:rPr sz="1000" spc="-10">
                <a:latin typeface="Verdana"/>
                <a:cs typeface="Verdana"/>
              </a:rPr>
              <a:t>e</a:t>
            </a:r>
            <a:r>
              <a:rPr sz="1000">
                <a:latin typeface="Verdana"/>
                <a:cs typeface="Verdana"/>
              </a:rPr>
              <a:t>n</a:t>
            </a:r>
            <a:r>
              <a:rPr sz="1000" spc="-5">
                <a:latin typeface="Verdana"/>
                <a:cs typeface="Verdana"/>
              </a:rPr>
              <a:t>t</a:t>
            </a:r>
            <a:endParaRPr sz="1000">
              <a:latin typeface="Verdana"/>
              <a:cs typeface="Verdana"/>
            </a:endParaRPr>
          </a:p>
        </p:txBody>
      </p:sp>
      <p:sp>
        <p:nvSpPr>
          <p:cNvPr id="12" name="object 12"/>
          <p:cNvSpPr/>
          <p:nvPr/>
        </p:nvSpPr>
        <p:spPr>
          <a:xfrm>
            <a:off x="5327903" y="2417064"/>
            <a:ext cx="1290955" cy="403860"/>
          </a:xfrm>
          <a:custGeom>
            <a:avLst/>
            <a:gdLst/>
            <a:ahLst/>
            <a:cxnLst/>
            <a:rect l="l" t="t" r="r" b="b"/>
            <a:pathLst>
              <a:path w="1290954" h="403860">
                <a:moveTo>
                  <a:pt x="1156208" y="0"/>
                </a:moveTo>
                <a:lnTo>
                  <a:pt x="0" y="0"/>
                </a:lnTo>
                <a:lnTo>
                  <a:pt x="134620" y="201930"/>
                </a:lnTo>
                <a:lnTo>
                  <a:pt x="0" y="403860"/>
                </a:lnTo>
                <a:lnTo>
                  <a:pt x="1156208" y="403860"/>
                </a:lnTo>
                <a:lnTo>
                  <a:pt x="1290827" y="201930"/>
                </a:lnTo>
                <a:lnTo>
                  <a:pt x="1156208" y="0"/>
                </a:lnTo>
                <a:close/>
              </a:path>
            </a:pathLst>
          </a:custGeom>
          <a:solidFill>
            <a:srgbClr val="CDEFFA"/>
          </a:solidFill>
        </p:spPr>
        <p:txBody>
          <a:bodyPr wrap="square" lIns="0" tIns="0" rIns="0" bIns="0" rtlCol="0"/>
          <a:lstStyle/>
          <a:p>
            <a:endParaRPr/>
          </a:p>
        </p:txBody>
      </p:sp>
      <p:sp>
        <p:nvSpPr>
          <p:cNvPr id="13" name="object 13"/>
          <p:cNvSpPr/>
          <p:nvPr/>
        </p:nvSpPr>
        <p:spPr>
          <a:xfrm>
            <a:off x="5327903" y="2417064"/>
            <a:ext cx="1290955" cy="403860"/>
          </a:xfrm>
          <a:custGeom>
            <a:avLst/>
            <a:gdLst/>
            <a:ahLst/>
            <a:cxnLst/>
            <a:rect l="l" t="t" r="r" b="b"/>
            <a:pathLst>
              <a:path w="1290954" h="403860">
                <a:moveTo>
                  <a:pt x="0" y="0"/>
                </a:moveTo>
                <a:lnTo>
                  <a:pt x="1156208" y="0"/>
                </a:lnTo>
                <a:lnTo>
                  <a:pt x="1290827" y="201930"/>
                </a:lnTo>
                <a:lnTo>
                  <a:pt x="1156208" y="403860"/>
                </a:lnTo>
                <a:lnTo>
                  <a:pt x="0" y="403860"/>
                </a:lnTo>
                <a:lnTo>
                  <a:pt x="134620" y="201930"/>
                </a:lnTo>
                <a:lnTo>
                  <a:pt x="0" y="0"/>
                </a:lnTo>
                <a:close/>
              </a:path>
            </a:pathLst>
          </a:custGeom>
          <a:ln w="9143">
            <a:solidFill>
              <a:srgbClr val="68D1F3"/>
            </a:solidFill>
          </a:ln>
        </p:spPr>
        <p:txBody>
          <a:bodyPr wrap="square" lIns="0" tIns="0" rIns="0" bIns="0" rtlCol="0"/>
          <a:lstStyle/>
          <a:p>
            <a:endParaRPr/>
          </a:p>
        </p:txBody>
      </p:sp>
      <p:sp>
        <p:nvSpPr>
          <p:cNvPr id="14" name="object 14"/>
          <p:cNvSpPr txBox="1"/>
          <p:nvPr/>
        </p:nvSpPr>
        <p:spPr>
          <a:xfrm>
            <a:off x="5652896" y="2530855"/>
            <a:ext cx="638810"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D</a:t>
            </a:r>
            <a:r>
              <a:rPr sz="1000" spc="-15">
                <a:latin typeface="Verdana"/>
                <a:cs typeface="Verdana"/>
              </a:rPr>
              <a:t>e</a:t>
            </a:r>
            <a:r>
              <a:rPr sz="1000" spc="-5">
                <a:latin typeface="Verdana"/>
                <a:cs typeface="Verdana"/>
              </a:rPr>
              <a:t>f</a:t>
            </a:r>
            <a:r>
              <a:rPr sz="1000" spc="5">
                <a:latin typeface="Verdana"/>
                <a:cs typeface="Verdana"/>
              </a:rPr>
              <a:t>i</a:t>
            </a:r>
            <a:r>
              <a:rPr sz="1000">
                <a:latin typeface="Verdana"/>
                <a:cs typeface="Verdana"/>
              </a:rPr>
              <a:t>n</a:t>
            </a:r>
            <a:r>
              <a:rPr sz="1000" spc="5">
                <a:latin typeface="Verdana"/>
                <a:cs typeface="Verdana"/>
              </a:rPr>
              <a:t>i</a:t>
            </a:r>
            <a:r>
              <a:rPr sz="1000" spc="-5">
                <a:latin typeface="Verdana"/>
                <a:cs typeface="Verdana"/>
              </a:rPr>
              <a:t>t</a:t>
            </a:r>
            <a:r>
              <a:rPr sz="1000" spc="5">
                <a:latin typeface="Verdana"/>
                <a:cs typeface="Verdana"/>
              </a:rPr>
              <a:t>i</a:t>
            </a:r>
            <a:r>
              <a:rPr sz="1000" spc="-10">
                <a:latin typeface="Verdana"/>
                <a:cs typeface="Verdana"/>
              </a:rPr>
              <a:t>o</a:t>
            </a:r>
            <a:r>
              <a:rPr sz="1000" spc="-5">
                <a:latin typeface="Verdana"/>
                <a:cs typeface="Verdana"/>
              </a:rPr>
              <a:t>n</a:t>
            </a:r>
            <a:endParaRPr sz="1000">
              <a:latin typeface="Verdana"/>
              <a:cs typeface="Verdana"/>
            </a:endParaRPr>
          </a:p>
        </p:txBody>
      </p:sp>
      <p:sp>
        <p:nvSpPr>
          <p:cNvPr id="15" name="object 15"/>
          <p:cNvSpPr/>
          <p:nvPr/>
        </p:nvSpPr>
        <p:spPr>
          <a:xfrm>
            <a:off x="6576059" y="2417064"/>
            <a:ext cx="1290955" cy="403860"/>
          </a:xfrm>
          <a:custGeom>
            <a:avLst/>
            <a:gdLst/>
            <a:ahLst/>
            <a:cxnLst/>
            <a:rect l="l" t="t" r="r" b="b"/>
            <a:pathLst>
              <a:path w="1290954" h="403860">
                <a:moveTo>
                  <a:pt x="1146556" y="0"/>
                </a:moveTo>
                <a:lnTo>
                  <a:pt x="0" y="0"/>
                </a:lnTo>
                <a:lnTo>
                  <a:pt x="144272" y="201930"/>
                </a:lnTo>
                <a:lnTo>
                  <a:pt x="0" y="403860"/>
                </a:lnTo>
                <a:lnTo>
                  <a:pt x="1146556" y="403860"/>
                </a:lnTo>
                <a:lnTo>
                  <a:pt x="1290828" y="201930"/>
                </a:lnTo>
                <a:lnTo>
                  <a:pt x="1146556" y="0"/>
                </a:lnTo>
                <a:close/>
              </a:path>
            </a:pathLst>
          </a:custGeom>
          <a:solidFill>
            <a:srgbClr val="CDEFFA"/>
          </a:solidFill>
        </p:spPr>
        <p:txBody>
          <a:bodyPr wrap="square" lIns="0" tIns="0" rIns="0" bIns="0" rtlCol="0"/>
          <a:lstStyle/>
          <a:p>
            <a:endParaRPr/>
          </a:p>
        </p:txBody>
      </p:sp>
      <p:sp>
        <p:nvSpPr>
          <p:cNvPr id="16" name="object 16"/>
          <p:cNvSpPr/>
          <p:nvPr/>
        </p:nvSpPr>
        <p:spPr>
          <a:xfrm>
            <a:off x="6576059" y="2417064"/>
            <a:ext cx="1290955" cy="403860"/>
          </a:xfrm>
          <a:custGeom>
            <a:avLst/>
            <a:gdLst/>
            <a:ahLst/>
            <a:cxnLst/>
            <a:rect l="l" t="t" r="r" b="b"/>
            <a:pathLst>
              <a:path w="1290954" h="403860">
                <a:moveTo>
                  <a:pt x="0" y="0"/>
                </a:moveTo>
                <a:lnTo>
                  <a:pt x="1146556" y="0"/>
                </a:lnTo>
                <a:lnTo>
                  <a:pt x="1290828" y="201930"/>
                </a:lnTo>
                <a:lnTo>
                  <a:pt x="1146556" y="403860"/>
                </a:lnTo>
                <a:lnTo>
                  <a:pt x="0" y="403860"/>
                </a:lnTo>
                <a:lnTo>
                  <a:pt x="144272" y="201930"/>
                </a:lnTo>
                <a:lnTo>
                  <a:pt x="0" y="0"/>
                </a:lnTo>
                <a:close/>
              </a:path>
            </a:pathLst>
          </a:custGeom>
          <a:ln w="9143">
            <a:solidFill>
              <a:srgbClr val="68D1F3"/>
            </a:solidFill>
          </a:ln>
        </p:spPr>
        <p:txBody>
          <a:bodyPr wrap="square" lIns="0" tIns="0" rIns="0" bIns="0" rtlCol="0"/>
          <a:lstStyle/>
          <a:p>
            <a:endParaRPr/>
          </a:p>
        </p:txBody>
      </p:sp>
      <p:sp>
        <p:nvSpPr>
          <p:cNvPr id="17" name="object 17"/>
          <p:cNvSpPr txBox="1"/>
          <p:nvPr/>
        </p:nvSpPr>
        <p:spPr>
          <a:xfrm>
            <a:off x="6848982" y="2530855"/>
            <a:ext cx="745490"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Elaboration</a:t>
            </a:r>
            <a:endParaRPr sz="1000">
              <a:latin typeface="Verdana"/>
              <a:cs typeface="Verdana"/>
            </a:endParaRPr>
          </a:p>
        </p:txBody>
      </p:sp>
      <p:sp>
        <p:nvSpPr>
          <p:cNvPr id="18" name="object 18"/>
          <p:cNvSpPr/>
          <p:nvPr/>
        </p:nvSpPr>
        <p:spPr>
          <a:xfrm>
            <a:off x="7825740" y="2417064"/>
            <a:ext cx="1234440" cy="403860"/>
          </a:xfrm>
          <a:custGeom>
            <a:avLst/>
            <a:gdLst/>
            <a:ahLst/>
            <a:cxnLst/>
            <a:rect l="l" t="t" r="r" b="b"/>
            <a:pathLst>
              <a:path w="1234440" h="403860">
                <a:moveTo>
                  <a:pt x="1090167" y="0"/>
                </a:moveTo>
                <a:lnTo>
                  <a:pt x="0" y="0"/>
                </a:lnTo>
                <a:lnTo>
                  <a:pt x="144271" y="201930"/>
                </a:lnTo>
                <a:lnTo>
                  <a:pt x="0" y="403860"/>
                </a:lnTo>
                <a:lnTo>
                  <a:pt x="1090167" y="403860"/>
                </a:lnTo>
                <a:lnTo>
                  <a:pt x="1234439" y="201930"/>
                </a:lnTo>
                <a:lnTo>
                  <a:pt x="1090167" y="0"/>
                </a:lnTo>
                <a:close/>
              </a:path>
            </a:pathLst>
          </a:custGeom>
          <a:solidFill>
            <a:srgbClr val="CDEFFA"/>
          </a:solidFill>
        </p:spPr>
        <p:txBody>
          <a:bodyPr wrap="square" lIns="0" tIns="0" rIns="0" bIns="0" rtlCol="0"/>
          <a:lstStyle/>
          <a:p>
            <a:endParaRPr/>
          </a:p>
        </p:txBody>
      </p:sp>
      <p:sp>
        <p:nvSpPr>
          <p:cNvPr id="19" name="object 19"/>
          <p:cNvSpPr/>
          <p:nvPr/>
        </p:nvSpPr>
        <p:spPr>
          <a:xfrm>
            <a:off x="7825740" y="2417064"/>
            <a:ext cx="1234440" cy="403860"/>
          </a:xfrm>
          <a:custGeom>
            <a:avLst/>
            <a:gdLst/>
            <a:ahLst/>
            <a:cxnLst/>
            <a:rect l="l" t="t" r="r" b="b"/>
            <a:pathLst>
              <a:path w="1234440" h="403860">
                <a:moveTo>
                  <a:pt x="0" y="0"/>
                </a:moveTo>
                <a:lnTo>
                  <a:pt x="1090167" y="0"/>
                </a:lnTo>
                <a:lnTo>
                  <a:pt x="1234439" y="201930"/>
                </a:lnTo>
                <a:lnTo>
                  <a:pt x="1090167" y="403860"/>
                </a:lnTo>
                <a:lnTo>
                  <a:pt x="0" y="403860"/>
                </a:lnTo>
                <a:lnTo>
                  <a:pt x="144271" y="201930"/>
                </a:lnTo>
                <a:lnTo>
                  <a:pt x="0" y="0"/>
                </a:lnTo>
                <a:close/>
              </a:path>
            </a:pathLst>
          </a:custGeom>
          <a:ln w="9144">
            <a:solidFill>
              <a:srgbClr val="68D1F3"/>
            </a:solidFill>
          </a:ln>
        </p:spPr>
        <p:txBody>
          <a:bodyPr wrap="square" lIns="0" tIns="0" rIns="0" bIns="0" rtlCol="0"/>
          <a:lstStyle/>
          <a:p>
            <a:endParaRPr/>
          </a:p>
        </p:txBody>
      </p:sp>
      <p:sp>
        <p:nvSpPr>
          <p:cNvPr id="20" name="object 20"/>
          <p:cNvSpPr txBox="1"/>
          <p:nvPr/>
        </p:nvSpPr>
        <p:spPr>
          <a:xfrm>
            <a:off x="8069706" y="2530855"/>
            <a:ext cx="745490"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Elaboration</a:t>
            </a:r>
            <a:endParaRPr sz="1000">
              <a:latin typeface="Verdana"/>
              <a:cs typeface="Verdana"/>
            </a:endParaRPr>
          </a:p>
        </p:txBody>
      </p:sp>
      <p:sp>
        <p:nvSpPr>
          <p:cNvPr id="21" name="object 21"/>
          <p:cNvSpPr/>
          <p:nvPr/>
        </p:nvSpPr>
        <p:spPr>
          <a:xfrm>
            <a:off x="9017507" y="2417064"/>
            <a:ext cx="1823085" cy="403860"/>
          </a:xfrm>
          <a:custGeom>
            <a:avLst/>
            <a:gdLst/>
            <a:ahLst/>
            <a:cxnLst/>
            <a:rect l="l" t="t" r="r" b="b"/>
            <a:pathLst>
              <a:path w="1823084" h="403860">
                <a:moveTo>
                  <a:pt x="1678432" y="0"/>
                </a:moveTo>
                <a:lnTo>
                  <a:pt x="0" y="0"/>
                </a:lnTo>
                <a:lnTo>
                  <a:pt x="144272" y="201930"/>
                </a:lnTo>
                <a:lnTo>
                  <a:pt x="0" y="403860"/>
                </a:lnTo>
                <a:lnTo>
                  <a:pt x="1678432" y="403860"/>
                </a:lnTo>
                <a:lnTo>
                  <a:pt x="1822703" y="201930"/>
                </a:lnTo>
                <a:lnTo>
                  <a:pt x="1678432" y="0"/>
                </a:lnTo>
                <a:close/>
              </a:path>
            </a:pathLst>
          </a:custGeom>
          <a:solidFill>
            <a:srgbClr val="CDEFFA"/>
          </a:solidFill>
        </p:spPr>
        <p:txBody>
          <a:bodyPr wrap="square" lIns="0" tIns="0" rIns="0" bIns="0" rtlCol="0"/>
          <a:lstStyle/>
          <a:p>
            <a:endParaRPr/>
          </a:p>
        </p:txBody>
      </p:sp>
      <p:sp>
        <p:nvSpPr>
          <p:cNvPr id="22" name="object 22"/>
          <p:cNvSpPr/>
          <p:nvPr/>
        </p:nvSpPr>
        <p:spPr>
          <a:xfrm>
            <a:off x="9017507" y="2417064"/>
            <a:ext cx="1823085" cy="403860"/>
          </a:xfrm>
          <a:custGeom>
            <a:avLst/>
            <a:gdLst/>
            <a:ahLst/>
            <a:cxnLst/>
            <a:rect l="l" t="t" r="r" b="b"/>
            <a:pathLst>
              <a:path w="1823084" h="403860">
                <a:moveTo>
                  <a:pt x="0" y="0"/>
                </a:moveTo>
                <a:lnTo>
                  <a:pt x="1678432" y="0"/>
                </a:lnTo>
                <a:lnTo>
                  <a:pt x="1822703" y="201930"/>
                </a:lnTo>
                <a:lnTo>
                  <a:pt x="1678432" y="403860"/>
                </a:lnTo>
                <a:lnTo>
                  <a:pt x="0" y="403860"/>
                </a:lnTo>
                <a:lnTo>
                  <a:pt x="144272" y="201930"/>
                </a:lnTo>
                <a:lnTo>
                  <a:pt x="0" y="0"/>
                </a:lnTo>
                <a:close/>
              </a:path>
            </a:pathLst>
          </a:custGeom>
          <a:ln w="9144">
            <a:solidFill>
              <a:srgbClr val="68D1F3"/>
            </a:solidFill>
          </a:ln>
        </p:spPr>
        <p:txBody>
          <a:bodyPr wrap="square" lIns="0" tIns="0" rIns="0" bIns="0" rtlCol="0"/>
          <a:lstStyle/>
          <a:p>
            <a:endParaRPr/>
          </a:p>
        </p:txBody>
      </p:sp>
      <p:sp>
        <p:nvSpPr>
          <p:cNvPr id="23" name="object 23"/>
          <p:cNvSpPr txBox="1"/>
          <p:nvPr/>
        </p:nvSpPr>
        <p:spPr>
          <a:xfrm>
            <a:off x="9212071" y="2530855"/>
            <a:ext cx="143446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Deployment (Go</a:t>
            </a:r>
            <a:r>
              <a:rPr sz="1000" spc="-10">
                <a:latin typeface="Verdana"/>
                <a:cs typeface="Verdana"/>
              </a:rPr>
              <a:t> </a:t>
            </a:r>
            <a:r>
              <a:rPr sz="1000" spc="-5">
                <a:latin typeface="Verdana"/>
                <a:cs typeface="Verdana"/>
              </a:rPr>
              <a:t>Live)</a:t>
            </a:r>
            <a:endParaRPr sz="1000">
              <a:latin typeface="Verdana"/>
              <a:cs typeface="Verdana"/>
            </a:endParaRPr>
          </a:p>
        </p:txBody>
      </p:sp>
      <p:sp>
        <p:nvSpPr>
          <p:cNvPr id="24" name="object 24"/>
          <p:cNvSpPr/>
          <p:nvPr/>
        </p:nvSpPr>
        <p:spPr>
          <a:xfrm>
            <a:off x="10797540" y="2417064"/>
            <a:ext cx="1118870" cy="403860"/>
          </a:xfrm>
          <a:custGeom>
            <a:avLst/>
            <a:gdLst/>
            <a:ahLst/>
            <a:cxnLst/>
            <a:rect l="l" t="t" r="r" b="b"/>
            <a:pathLst>
              <a:path w="1118870" h="403860">
                <a:moveTo>
                  <a:pt x="974343" y="0"/>
                </a:moveTo>
                <a:lnTo>
                  <a:pt x="0" y="0"/>
                </a:lnTo>
                <a:lnTo>
                  <a:pt x="144271" y="201930"/>
                </a:lnTo>
                <a:lnTo>
                  <a:pt x="0" y="403860"/>
                </a:lnTo>
                <a:lnTo>
                  <a:pt x="974343" y="403860"/>
                </a:lnTo>
                <a:lnTo>
                  <a:pt x="1118615" y="201930"/>
                </a:lnTo>
                <a:lnTo>
                  <a:pt x="974343" y="0"/>
                </a:lnTo>
                <a:close/>
              </a:path>
            </a:pathLst>
          </a:custGeom>
          <a:solidFill>
            <a:srgbClr val="CDEFFA"/>
          </a:solidFill>
        </p:spPr>
        <p:txBody>
          <a:bodyPr wrap="square" lIns="0" tIns="0" rIns="0" bIns="0" rtlCol="0"/>
          <a:lstStyle/>
          <a:p>
            <a:endParaRPr/>
          </a:p>
        </p:txBody>
      </p:sp>
      <p:sp>
        <p:nvSpPr>
          <p:cNvPr id="25" name="object 25"/>
          <p:cNvSpPr/>
          <p:nvPr/>
        </p:nvSpPr>
        <p:spPr>
          <a:xfrm>
            <a:off x="10797540" y="2417064"/>
            <a:ext cx="1118870" cy="403860"/>
          </a:xfrm>
          <a:custGeom>
            <a:avLst/>
            <a:gdLst/>
            <a:ahLst/>
            <a:cxnLst/>
            <a:rect l="l" t="t" r="r" b="b"/>
            <a:pathLst>
              <a:path w="1118870" h="403860">
                <a:moveTo>
                  <a:pt x="0" y="0"/>
                </a:moveTo>
                <a:lnTo>
                  <a:pt x="974343" y="0"/>
                </a:lnTo>
                <a:lnTo>
                  <a:pt x="1118615" y="201930"/>
                </a:lnTo>
                <a:lnTo>
                  <a:pt x="974343" y="403860"/>
                </a:lnTo>
                <a:lnTo>
                  <a:pt x="0" y="403860"/>
                </a:lnTo>
                <a:lnTo>
                  <a:pt x="144271" y="201930"/>
                </a:lnTo>
                <a:lnTo>
                  <a:pt x="0" y="0"/>
                </a:lnTo>
                <a:close/>
              </a:path>
            </a:pathLst>
          </a:custGeom>
          <a:ln w="9144">
            <a:solidFill>
              <a:srgbClr val="68D1F3"/>
            </a:solidFill>
          </a:ln>
        </p:spPr>
        <p:txBody>
          <a:bodyPr wrap="square" lIns="0" tIns="0" rIns="0" bIns="0" rtlCol="0"/>
          <a:lstStyle/>
          <a:p>
            <a:endParaRPr/>
          </a:p>
        </p:txBody>
      </p:sp>
      <p:sp>
        <p:nvSpPr>
          <p:cNvPr id="26" name="object 26"/>
          <p:cNvSpPr txBox="1"/>
          <p:nvPr/>
        </p:nvSpPr>
        <p:spPr>
          <a:xfrm>
            <a:off x="11021948" y="2530855"/>
            <a:ext cx="672465" cy="177800"/>
          </a:xfrm>
          <a:prstGeom prst="rect">
            <a:avLst/>
          </a:prstGeom>
        </p:spPr>
        <p:txBody>
          <a:bodyPr vert="horz" wrap="square" lIns="0" tIns="12065" rIns="0" bIns="0" rtlCol="0">
            <a:spAutoFit/>
          </a:bodyPr>
          <a:lstStyle/>
          <a:p>
            <a:pPr marL="12700">
              <a:lnSpc>
                <a:spcPct val="100000"/>
              </a:lnSpc>
              <a:spcBef>
                <a:spcPts val="95"/>
              </a:spcBef>
            </a:pPr>
            <a:r>
              <a:rPr sz="1000" spc="-10">
                <a:latin typeface="Verdana"/>
                <a:cs typeface="Verdana"/>
              </a:rPr>
              <a:t>Hypercare</a:t>
            </a:r>
            <a:endParaRPr sz="1000">
              <a:latin typeface="Verdana"/>
              <a:cs typeface="Verdana"/>
            </a:endParaRPr>
          </a:p>
        </p:txBody>
      </p:sp>
      <p:sp>
        <p:nvSpPr>
          <p:cNvPr id="27" name="object 27"/>
          <p:cNvSpPr txBox="1"/>
          <p:nvPr/>
        </p:nvSpPr>
        <p:spPr>
          <a:xfrm>
            <a:off x="5388864" y="2947416"/>
            <a:ext cx="1169035" cy="500380"/>
          </a:xfrm>
          <a:prstGeom prst="rect">
            <a:avLst/>
          </a:prstGeom>
          <a:solidFill>
            <a:srgbClr val="CDEFFA"/>
          </a:solidFill>
          <a:ln w="9144">
            <a:solidFill>
              <a:srgbClr val="68D1F3"/>
            </a:solidFill>
          </a:ln>
        </p:spPr>
        <p:txBody>
          <a:bodyPr vert="horz" wrap="square" lIns="0" tIns="6350" rIns="0" bIns="0" rtlCol="0">
            <a:spAutoFit/>
          </a:bodyPr>
          <a:lstStyle/>
          <a:p>
            <a:pPr>
              <a:lnSpc>
                <a:spcPct val="100000"/>
              </a:lnSpc>
              <a:spcBef>
                <a:spcPts val="50"/>
              </a:spcBef>
            </a:pPr>
            <a:endParaRPr sz="1150">
              <a:latin typeface="Times New Roman"/>
              <a:cs typeface="Times New Roman"/>
            </a:endParaRPr>
          </a:p>
          <a:p>
            <a:pPr marL="151765">
              <a:lnSpc>
                <a:spcPct val="100000"/>
              </a:lnSpc>
            </a:pPr>
            <a:r>
              <a:rPr sz="1000" spc="-5">
                <a:latin typeface="Verdana"/>
                <a:cs typeface="Verdana"/>
              </a:rPr>
              <a:t>Data Profiling</a:t>
            </a:r>
            <a:endParaRPr sz="1000">
              <a:latin typeface="Verdana"/>
              <a:cs typeface="Verdana"/>
            </a:endParaRPr>
          </a:p>
        </p:txBody>
      </p:sp>
      <p:sp>
        <p:nvSpPr>
          <p:cNvPr id="28" name="object 28"/>
          <p:cNvSpPr txBox="1"/>
          <p:nvPr/>
        </p:nvSpPr>
        <p:spPr>
          <a:xfrm>
            <a:off x="5388864" y="3575303"/>
            <a:ext cx="1169035" cy="500380"/>
          </a:xfrm>
          <a:prstGeom prst="rect">
            <a:avLst/>
          </a:prstGeom>
          <a:solidFill>
            <a:srgbClr val="CDEFFA"/>
          </a:solidFill>
          <a:ln w="9144">
            <a:solidFill>
              <a:srgbClr val="68D1F3"/>
            </a:solidFill>
          </a:ln>
        </p:spPr>
        <p:txBody>
          <a:bodyPr vert="horz" wrap="square" lIns="0" tIns="97790" rIns="0" bIns="0" rtlCol="0">
            <a:spAutoFit/>
          </a:bodyPr>
          <a:lstStyle/>
          <a:p>
            <a:pPr marL="311785" marR="106045" indent="-198755">
              <a:lnSpc>
                <a:spcPct val="100000"/>
              </a:lnSpc>
              <a:spcBef>
                <a:spcPts val="770"/>
              </a:spcBef>
            </a:pPr>
            <a:r>
              <a:rPr sz="1000" spc="-5">
                <a:latin typeface="Verdana"/>
                <a:cs typeface="Verdana"/>
              </a:rPr>
              <a:t>Data</a:t>
            </a:r>
            <a:r>
              <a:rPr sz="1000" spc="-40">
                <a:latin typeface="Verdana"/>
                <a:cs typeface="Verdana"/>
              </a:rPr>
              <a:t> </a:t>
            </a:r>
            <a:r>
              <a:rPr sz="1000" spc="-5">
                <a:latin typeface="Verdana"/>
                <a:cs typeface="Verdana"/>
              </a:rPr>
              <a:t>Migration  Strategy</a:t>
            </a:r>
            <a:endParaRPr sz="1000">
              <a:latin typeface="Verdana"/>
              <a:cs typeface="Verdana"/>
            </a:endParaRPr>
          </a:p>
        </p:txBody>
      </p:sp>
      <p:sp>
        <p:nvSpPr>
          <p:cNvPr id="29" name="object 29"/>
          <p:cNvSpPr txBox="1"/>
          <p:nvPr/>
        </p:nvSpPr>
        <p:spPr>
          <a:xfrm>
            <a:off x="5388864" y="4829555"/>
            <a:ext cx="1169035" cy="500380"/>
          </a:xfrm>
          <a:prstGeom prst="rect">
            <a:avLst/>
          </a:prstGeom>
          <a:solidFill>
            <a:srgbClr val="CDEFFA"/>
          </a:solidFill>
          <a:ln w="9144">
            <a:solidFill>
              <a:srgbClr val="68D1F3"/>
            </a:solidFill>
          </a:ln>
        </p:spPr>
        <p:txBody>
          <a:bodyPr vert="horz" wrap="square" lIns="0" tIns="97790" rIns="0" bIns="0" rtlCol="0">
            <a:spAutoFit/>
          </a:bodyPr>
          <a:lstStyle/>
          <a:p>
            <a:pPr marL="285750" marR="106045" indent="-172720">
              <a:lnSpc>
                <a:spcPct val="100000"/>
              </a:lnSpc>
              <a:spcBef>
                <a:spcPts val="770"/>
              </a:spcBef>
            </a:pPr>
            <a:r>
              <a:rPr sz="1000" spc="-5">
                <a:latin typeface="Verdana"/>
                <a:cs typeface="Verdana"/>
              </a:rPr>
              <a:t>Data</a:t>
            </a:r>
            <a:r>
              <a:rPr sz="1000" spc="-40">
                <a:latin typeface="Verdana"/>
                <a:cs typeface="Verdana"/>
              </a:rPr>
              <a:t> </a:t>
            </a:r>
            <a:r>
              <a:rPr sz="1000" spc="-5">
                <a:latin typeface="Verdana"/>
                <a:cs typeface="Verdana"/>
              </a:rPr>
              <a:t>Migration  Approach</a:t>
            </a:r>
            <a:endParaRPr sz="1000">
              <a:latin typeface="Verdana"/>
              <a:cs typeface="Verdana"/>
            </a:endParaRPr>
          </a:p>
        </p:txBody>
      </p:sp>
      <p:sp>
        <p:nvSpPr>
          <p:cNvPr id="30" name="object 30"/>
          <p:cNvSpPr txBox="1"/>
          <p:nvPr/>
        </p:nvSpPr>
        <p:spPr>
          <a:xfrm>
            <a:off x="6672071" y="2947416"/>
            <a:ext cx="1099185" cy="500380"/>
          </a:xfrm>
          <a:prstGeom prst="rect">
            <a:avLst/>
          </a:prstGeom>
          <a:solidFill>
            <a:srgbClr val="CDEFFA"/>
          </a:solidFill>
          <a:ln w="9144">
            <a:solidFill>
              <a:srgbClr val="68D1F3"/>
            </a:solidFill>
          </a:ln>
        </p:spPr>
        <p:txBody>
          <a:bodyPr vert="horz" wrap="square" lIns="0" tIns="6350" rIns="0" bIns="0" rtlCol="0">
            <a:spAutoFit/>
          </a:bodyPr>
          <a:lstStyle/>
          <a:p>
            <a:pPr>
              <a:lnSpc>
                <a:spcPct val="100000"/>
              </a:lnSpc>
              <a:spcBef>
                <a:spcPts val="50"/>
              </a:spcBef>
            </a:pPr>
            <a:endParaRPr sz="1150">
              <a:latin typeface="Times New Roman"/>
              <a:cs typeface="Times New Roman"/>
            </a:endParaRPr>
          </a:p>
          <a:p>
            <a:pPr marL="66675">
              <a:lnSpc>
                <a:spcPct val="100000"/>
              </a:lnSpc>
            </a:pPr>
            <a:r>
              <a:rPr sz="1000" spc="-5">
                <a:latin typeface="Verdana"/>
                <a:cs typeface="Verdana"/>
              </a:rPr>
              <a:t>Data</a:t>
            </a:r>
            <a:r>
              <a:rPr sz="1000" spc="-30">
                <a:latin typeface="Verdana"/>
                <a:cs typeface="Verdana"/>
              </a:rPr>
              <a:t> </a:t>
            </a:r>
            <a:r>
              <a:rPr sz="1000" spc="-5">
                <a:latin typeface="Verdana"/>
                <a:cs typeface="Verdana"/>
              </a:rPr>
              <a:t>Discovery</a:t>
            </a:r>
            <a:endParaRPr sz="1000">
              <a:latin typeface="Verdana"/>
              <a:cs typeface="Verdana"/>
            </a:endParaRPr>
          </a:p>
        </p:txBody>
      </p:sp>
      <p:sp>
        <p:nvSpPr>
          <p:cNvPr id="31" name="object 31"/>
          <p:cNvSpPr/>
          <p:nvPr/>
        </p:nvSpPr>
        <p:spPr>
          <a:xfrm>
            <a:off x="6672071" y="4255008"/>
            <a:ext cx="1099185" cy="393700"/>
          </a:xfrm>
          <a:custGeom>
            <a:avLst/>
            <a:gdLst/>
            <a:ahLst/>
            <a:cxnLst/>
            <a:rect l="l" t="t" r="r" b="b"/>
            <a:pathLst>
              <a:path w="1099184" h="393700">
                <a:moveTo>
                  <a:pt x="549401" y="0"/>
                </a:moveTo>
                <a:lnTo>
                  <a:pt x="474856" y="598"/>
                </a:lnTo>
                <a:lnTo>
                  <a:pt x="403357" y="2340"/>
                </a:lnTo>
                <a:lnTo>
                  <a:pt x="335559" y="5149"/>
                </a:lnTo>
                <a:lnTo>
                  <a:pt x="272118" y="8946"/>
                </a:lnTo>
                <a:lnTo>
                  <a:pt x="213688" y="13653"/>
                </a:lnTo>
                <a:lnTo>
                  <a:pt x="160924" y="19192"/>
                </a:lnTo>
                <a:lnTo>
                  <a:pt x="114481" y="25486"/>
                </a:lnTo>
                <a:lnTo>
                  <a:pt x="75014" y="32455"/>
                </a:lnTo>
                <a:lnTo>
                  <a:pt x="19626" y="48110"/>
                </a:lnTo>
                <a:lnTo>
                  <a:pt x="0" y="65532"/>
                </a:lnTo>
                <a:lnTo>
                  <a:pt x="0" y="327660"/>
                </a:lnTo>
                <a:lnTo>
                  <a:pt x="43178" y="353169"/>
                </a:lnTo>
                <a:lnTo>
                  <a:pt x="114481" y="367705"/>
                </a:lnTo>
                <a:lnTo>
                  <a:pt x="160924" y="373999"/>
                </a:lnTo>
                <a:lnTo>
                  <a:pt x="213688" y="379538"/>
                </a:lnTo>
                <a:lnTo>
                  <a:pt x="272118" y="384245"/>
                </a:lnTo>
                <a:lnTo>
                  <a:pt x="335559" y="388042"/>
                </a:lnTo>
                <a:lnTo>
                  <a:pt x="403357" y="390851"/>
                </a:lnTo>
                <a:lnTo>
                  <a:pt x="474856" y="392593"/>
                </a:lnTo>
                <a:lnTo>
                  <a:pt x="549401" y="393192"/>
                </a:lnTo>
                <a:lnTo>
                  <a:pt x="623947" y="392593"/>
                </a:lnTo>
                <a:lnTo>
                  <a:pt x="695446" y="390851"/>
                </a:lnTo>
                <a:lnTo>
                  <a:pt x="763244" y="388042"/>
                </a:lnTo>
                <a:lnTo>
                  <a:pt x="826685" y="384245"/>
                </a:lnTo>
                <a:lnTo>
                  <a:pt x="885115" y="379538"/>
                </a:lnTo>
                <a:lnTo>
                  <a:pt x="937879" y="373999"/>
                </a:lnTo>
                <a:lnTo>
                  <a:pt x="984322" y="367705"/>
                </a:lnTo>
                <a:lnTo>
                  <a:pt x="1023789" y="360736"/>
                </a:lnTo>
                <a:lnTo>
                  <a:pt x="1079177" y="345081"/>
                </a:lnTo>
                <a:lnTo>
                  <a:pt x="1098803" y="327660"/>
                </a:lnTo>
                <a:lnTo>
                  <a:pt x="1098803" y="65532"/>
                </a:lnTo>
                <a:lnTo>
                  <a:pt x="1055625" y="40022"/>
                </a:lnTo>
                <a:lnTo>
                  <a:pt x="984322" y="25486"/>
                </a:lnTo>
                <a:lnTo>
                  <a:pt x="937879" y="19192"/>
                </a:lnTo>
                <a:lnTo>
                  <a:pt x="885115" y="13653"/>
                </a:lnTo>
                <a:lnTo>
                  <a:pt x="826685" y="8946"/>
                </a:lnTo>
                <a:lnTo>
                  <a:pt x="763244" y="5149"/>
                </a:lnTo>
                <a:lnTo>
                  <a:pt x="695446" y="2340"/>
                </a:lnTo>
                <a:lnTo>
                  <a:pt x="623947" y="598"/>
                </a:lnTo>
                <a:lnTo>
                  <a:pt x="549401" y="0"/>
                </a:lnTo>
                <a:close/>
              </a:path>
            </a:pathLst>
          </a:custGeom>
          <a:solidFill>
            <a:srgbClr val="CDEFFA"/>
          </a:solidFill>
        </p:spPr>
        <p:txBody>
          <a:bodyPr wrap="square" lIns="0" tIns="0" rIns="0" bIns="0" rtlCol="0"/>
          <a:lstStyle/>
          <a:p>
            <a:endParaRPr/>
          </a:p>
        </p:txBody>
      </p:sp>
      <p:sp>
        <p:nvSpPr>
          <p:cNvPr id="32" name="object 32"/>
          <p:cNvSpPr/>
          <p:nvPr/>
        </p:nvSpPr>
        <p:spPr>
          <a:xfrm>
            <a:off x="6672071" y="4320540"/>
            <a:ext cx="1099185" cy="66040"/>
          </a:xfrm>
          <a:custGeom>
            <a:avLst/>
            <a:gdLst/>
            <a:ahLst/>
            <a:cxnLst/>
            <a:rect l="l" t="t" r="r" b="b"/>
            <a:pathLst>
              <a:path w="1099184" h="66039">
                <a:moveTo>
                  <a:pt x="1098803" y="0"/>
                </a:moveTo>
                <a:lnTo>
                  <a:pt x="1055625" y="25509"/>
                </a:lnTo>
                <a:lnTo>
                  <a:pt x="984322" y="40045"/>
                </a:lnTo>
                <a:lnTo>
                  <a:pt x="937879" y="46339"/>
                </a:lnTo>
                <a:lnTo>
                  <a:pt x="885115" y="51878"/>
                </a:lnTo>
                <a:lnTo>
                  <a:pt x="826685" y="56585"/>
                </a:lnTo>
                <a:lnTo>
                  <a:pt x="763244" y="60382"/>
                </a:lnTo>
                <a:lnTo>
                  <a:pt x="695446" y="63191"/>
                </a:lnTo>
                <a:lnTo>
                  <a:pt x="623947" y="64933"/>
                </a:lnTo>
                <a:lnTo>
                  <a:pt x="549401" y="65532"/>
                </a:lnTo>
                <a:lnTo>
                  <a:pt x="474856" y="64933"/>
                </a:lnTo>
                <a:lnTo>
                  <a:pt x="403357" y="63191"/>
                </a:lnTo>
                <a:lnTo>
                  <a:pt x="335559" y="60382"/>
                </a:lnTo>
                <a:lnTo>
                  <a:pt x="272118" y="56585"/>
                </a:lnTo>
                <a:lnTo>
                  <a:pt x="213688" y="51878"/>
                </a:lnTo>
                <a:lnTo>
                  <a:pt x="160924" y="46339"/>
                </a:lnTo>
                <a:lnTo>
                  <a:pt x="114481" y="40045"/>
                </a:lnTo>
                <a:lnTo>
                  <a:pt x="75014" y="33076"/>
                </a:lnTo>
                <a:lnTo>
                  <a:pt x="19626" y="17421"/>
                </a:lnTo>
                <a:lnTo>
                  <a:pt x="5015" y="8892"/>
                </a:lnTo>
                <a:lnTo>
                  <a:pt x="0" y="0"/>
                </a:lnTo>
              </a:path>
            </a:pathLst>
          </a:custGeom>
          <a:ln w="9144">
            <a:solidFill>
              <a:srgbClr val="68D1F3"/>
            </a:solidFill>
          </a:ln>
        </p:spPr>
        <p:txBody>
          <a:bodyPr wrap="square" lIns="0" tIns="0" rIns="0" bIns="0" rtlCol="0"/>
          <a:lstStyle/>
          <a:p>
            <a:endParaRPr/>
          </a:p>
        </p:txBody>
      </p:sp>
      <p:sp>
        <p:nvSpPr>
          <p:cNvPr id="33" name="object 33"/>
          <p:cNvSpPr/>
          <p:nvPr/>
        </p:nvSpPr>
        <p:spPr>
          <a:xfrm>
            <a:off x="6672071" y="4255008"/>
            <a:ext cx="1099185" cy="393700"/>
          </a:xfrm>
          <a:custGeom>
            <a:avLst/>
            <a:gdLst/>
            <a:ahLst/>
            <a:cxnLst/>
            <a:rect l="l" t="t" r="r" b="b"/>
            <a:pathLst>
              <a:path w="1099184" h="393700">
                <a:moveTo>
                  <a:pt x="0" y="65532"/>
                </a:moveTo>
                <a:lnTo>
                  <a:pt x="43178" y="40022"/>
                </a:lnTo>
                <a:lnTo>
                  <a:pt x="114481" y="25486"/>
                </a:lnTo>
                <a:lnTo>
                  <a:pt x="160924" y="19192"/>
                </a:lnTo>
                <a:lnTo>
                  <a:pt x="213688" y="13653"/>
                </a:lnTo>
                <a:lnTo>
                  <a:pt x="272118" y="8946"/>
                </a:lnTo>
                <a:lnTo>
                  <a:pt x="335559" y="5149"/>
                </a:lnTo>
                <a:lnTo>
                  <a:pt x="403357" y="2340"/>
                </a:lnTo>
                <a:lnTo>
                  <a:pt x="474856" y="598"/>
                </a:lnTo>
                <a:lnTo>
                  <a:pt x="549401" y="0"/>
                </a:lnTo>
                <a:lnTo>
                  <a:pt x="623947" y="598"/>
                </a:lnTo>
                <a:lnTo>
                  <a:pt x="695446" y="2340"/>
                </a:lnTo>
                <a:lnTo>
                  <a:pt x="763244" y="5149"/>
                </a:lnTo>
                <a:lnTo>
                  <a:pt x="826685" y="8946"/>
                </a:lnTo>
                <a:lnTo>
                  <a:pt x="885115" y="13653"/>
                </a:lnTo>
                <a:lnTo>
                  <a:pt x="937879" y="19192"/>
                </a:lnTo>
                <a:lnTo>
                  <a:pt x="984322" y="25486"/>
                </a:lnTo>
                <a:lnTo>
                  <a:pt x="1023789" y="32455"/>
                </a:lnTo>
                <a:lnTo>
                  <a:pt x="1079177" y="48110"/>
                </a:lnTo>
                <a:lnTo>
                  <a:pt x="1098803" y="65532"/>
                </a:lnTo>
                <a:lnTo>
                  <a:pt x="1098803" y="327660"/>
                </a:lnTo>
                <a:lnTo>
                  <a:pt x="1055625" y="353169"/>
                </a:lnTo>
                <a:lnTo>
                  <a:pt x="984322" y="367705"/>
                </a:lnTo>
                <a:lnTo>
                  <a:pt x="937879" y="373999"/>
                </a:lnTo>
                <a:lnTo>
                  <a:pt x="885115" y="379538"/>
                </a:lnTo>
                <a:lnTo>
                  <a:pt x="826685" y="384245"/>
                </a:lnTo>
                <a:lnTo>
                  <a:pt x="763244" y="388042"/>
                </a:lnTo>
                <a:lnTo>
                  <a:pt x="695446" y="390851"/>
                </a:lnTo>
                <a:lnTo>
                  <a:pt x="623947" y="392593"/>
                </a:lnTo>
                <a:lnTo>
                  <a:pt x="549401" y="393192"/>
                </a:lnTo>
                <a:lnTo>
                  <a:pt x="474856" y="392593"/>
                </a:lnTo>
                <a:lnTo>
                  <a:pt x="403357" y="390851"/>
                </a:lnTo>
                <a:lnTo>
                  <a:pt x="335559" y="388042"/>
                </a:lnTo>
                <a:lnTo>
                  <a:pt x="272118" y="384245"/>
                </a:lnTo>
                <a:lnTo>
                  <a:pt x="213688" y="379538"/>
                </a:lnTo>
                <a:lnTo>
                  <a:pt x="160924" y="373999"/>
                </a:lnTo>
                <a:lnTo>
                  <a:pt x="114481" y="367705"/>
                </a:lnTo>
                <a:lnTo>
                  <a:pt x="75014" y="360736"/>
                </a:lnTo>
                <a:lnTo>
                  <a:pt x="19626" y="345081"/>
                </a:lnTo>
                <a:lnTo>
                  <a:pt x="0" y="327660"/>
                </a:lnTo>
                <a:lnTo>
                  <a:pt x="0" y="65532"/>
                </a:lnTo>
                <a:close/>
              </a:path>
            </a:pathLst>
          </a:custGeom>
          <a:ln w="9143">
            <a:solidFill>
              <a:srgbClr val="68D1F3"/>
            </a:solidFill>
          </a:ln>
        </p:spPr>
        <p:txBody>
          <a:bodyPr wrap="square" lIns="0" tIns="0" rIns="0" bIns="0" rtlCol="0"/>
          <a:lstStyle/>
          <a:p>
            <a:endParaRPr/>
          </a:p>
        </p:txBody>
      </p:sp>
      <p:sp>
        <p:nvSpPr>
          <p:cNvPr id="34" name="object 34"/>
          <p:cNvSpPr txBox="1"/>
          <p:nvPr/>
        </p:nvSpPr>
        <p:spPr>
          <a:xfrm>
            <a:off x="6815073" y="4396866"/>
            <a:ext cx="81470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Legacy</a:t>
            </a:r>
            <a:r>
              <a:rPr sz="1000" spc="-40">
                <a:latin typeface="Verdana"/>
                <a:cs typeface="Verdana"/>
              </a:rPr>
              <a:t> </a:t>
            </a:r>
            <a:r>
              <a:rPr sz="1000" spc="-5">
                <a:latin typeface="Verdana"/>
                <a:cs typeface="Verdana"/>
              </a:rPr>
              <a:t>Data</a:t>
            </a:r>
            <a:endParaRPr sz="1000">
              <a:latin typeface="Verdana"/>
              <a:cs typeface="Verdana"/>
            </a:endParaRPr>
          </a:p>
        </p:txBody>
      </p:sp>
      <p:sp>
        <p:nvSpPr>
          <p:cNvPr id="35" name="object 35"/>
          <p:cNvSpPr/>
          <p:nvPr/>
        </p:nvSpPr>
        <p:spPr>
          <a:xfrm>
            <a:off x="7894319" y="4255008"/>
            <a:ext cx="1097280" cy="393700"/>
          </a:xfrm>
          <a:custGeom>
            <a:avLst/>
            <a:gdLst/>
            <a:ahLst/>
            <a:cxnLst/>
            <a:rect l="l" t="t" r="r" b="b"/>
            <a:pathLst>
              <a:path w="1097279" h="393700">
                <a:moveTo>
                  <a:pt x="548639" y="0"/>
                </a:moveTo>
                <a:lnTo>
                  <a:pt x="474189" y="598"/>
                </a:lnTo>
                <a:lnTo>
                  <a:pt x="402784" y="2340"/>
                </a:lnTo>
                <a:lnTo>
                  <a:pt x="335077" y="5149"/>
                </a:lnTo>
                <a:lnTo>
                  <a:pt x="271723" y="8946"/>
                </a:lnTo>
                <a:lnTo>
                  <a:pt x="213375" y="13653"/>
                </a:lnTo>
                <a:lnTo>
                  <a:pt x="160686" y="19192"/>
                </a:lnTo>
                <a:lnTo>
                  <a:pt x="114311" y="25486"/>
                </a:lnTo>
                <a:lnTo>
                  <a:pt x="74901" y="32455"/>
                </a:lnTo>
                <a:lnTo>
                  <a:pt x="19596" y="48110"/>
                </a:lnTo>
                <a:lnTo>
                  <a:pt x="0" y="65532"/>
                </a:lnTo>
                <a:lnTo>
                  <a:pt x="0" y="327660"/>
                </a:lnTo>
                <a:lnTo>
                  <a:pt x="43112" y="353169"/>
                </a:lnTo>
                <a:lnTo>
                  <a:pt x="114311" y="367705"/>
                </a:lnTo>
                <a:lnTo>
                  <a:pt x="160686" y="373999"/>
                </a:lnTo>
                <a:lnTo>
                  <a:pt x="213375" y="379538"/>
                </a:lnTo>
                <a:lnTo>
                  <a:pt x="271723" y="384245"/>
                </a:lnTo>
                <a:lnTo>
                  <a:pt x="335077" y="388042"/>
                </a:lnTo>
                <a:lnTo>
                  <a:pt x="402784" y="390851"/>
                </a:lnTo>
                <a:lnTo>
                  <a:pt x="474189" y="392593"/>
                </a:lnTo>
                <a:lnTo>
                  <a:pt x="548639" y="393192"/>
                </a:lnTo>
                <a:lnTo>
                  <a:pt x="623090" y="392593"/>
                </a:lnTo>
                <a:lnTo>
                  <a:pt x="694495" y="390851"/>
                </a:lnTo>
                <a:lnTo>
                  <a:pt x="762202" y="388042"/>
                </a:lnTo>
                <a:lnTo>
                  <a:pt x="825556" y="384245"/>
                </a:lnTo>
                <a:lnTo>
                  <a:pt x="883904" y="379538"/>
                </a:lnTo>
                <a:lnTo>
                  <a:pt x="936593" y="373999"/>
                </a:lnTo>
                <a:lnTo>
                  <a:pt x="982968" y="367705"/>
                </a:lnTo>
                <a:lnTo>
                  <a:pt x="1022378" y="360736"/>
                </a:lnTo>
                <a:lnTo>
                  <a:pt x="1077683" y="345081"/>
                </a:lnTo>
                <a:lnTo>
                  <a:pt x="1097279" y="327660"/>
                </a:lnTo>
                <a:lnTo>
                  <a:pt x="1097279" y="65532"/>
                </a:lnTo>
                <a:lnTo>
                  <a:pt x="1054167" y="40022"/>
                </a:lnTo>
                <a:lnTo>
                  <a:pt x="982968" y="25486"/>
                </a:lnTo>
                <a:lnTo>
                  <a:pt x="936593" y="19192"/>
                </a:lnTo>
                <a:lnTo>
                  <a:pt x="883904" y="13653"/>
                </a:lnTo>
                <a:lnTo>
                  <a:pt x="825556" y="8946"/>
                </a:lnTo>
                <a:lnTo>
                  <a:pt x="762202" y="5149"/>
                </a:lnTo>
                <a:lnTo>
                  <a:pt x="694495" y="2340"/>
                </a:lnTo>
                <a:lnTo>
                  <a:pt x="623090" y="598"/>
                </a:lnTo>
                <a:lnTo>
                  <a:pt x="548639" y="0"/>
                </a:lnTo>
                <a:close/>
              </a:path>
            </a:pathLst>
          </a:custGeom>
          <a:solidFill>
            <a:srgbClr val="CDEFFA"/>
          </a:solidFill>
        </p:spPr>
        <p:txBody>
          <a:bodyPr wrap="square" lIns="0" tIns="0" rIns="0" bIns="0" rtlCol="0"/>
          <a:lstStyle/>
          <a:p>
            <a:endParaRPr/>
          </a:p>
        </p:txBody>
      </p:sp>
      <p:sp>
        <p:nvSpPr>
          <p:cNvPr id="36" name="object 36"/>
          <p:cNvSpPr/>
          <p:nvPr/>
        </p:nvSpPr>
        <p:spPr>
          <a:xfrm>
            <a:off x="7894319" y="4320540"/>
            <a:ext cx="1097280" cy="66040"/>
          </a:xfrm>
          <a:custGeom>
            <a:avLst/>
            <a:gdLst/>
            <a:ahLst/>
            <a:cxnLst/>
            <a:rect l="l" t="t" r="r" b="b"/>
            <a:pathLst>
              <a:path w="1097279" h="66039">
                <a:moveTo>
                  <a:pt x="1097279" y="0"/>
                </a:moveTo>
                <a:lnTo>
                  <a:pt x="1054167" y="25509"/>
                </a:lnTo>
                <a:lnTo>
                  <a:pt x="982968" y="40045"/>
                </a:lnTo>
                <a:lnTo>
                  <a:pt x="936593" y="46339"/>
                </a:lnTo>
                <a:lnTo>
                  <a:pt x="883904" y="51878"/>
                </a:lnTo>
                <a:lnTo>
                  <a:pt x="825556" y="56585"/>
                </a:lnTo>
                <a:lnTo>
                  <a:pt x="762202" y="60382"/>
                </a:lnTo>
                <a:lnTo>
                  <a:pt x="694495" y="63191"/>
                </a:lnTo>
                <a:lnTo>
                  <a:pt x="623090" y="64933"/>
                </a:lnTo>
                <a:lnTo>
                  <a:pt x="548639" y="65532"/>
                </a:lnTo>
                <a:lnTo>
                  <a:pt x="474189" y="64933"/>
                </a:lnTo>
                <a:lnTo>
                  <a:pt x="402784" y="63191"/>
                </a:lnTo>
                <a:lnTo>
                  <a:pt x="335077" y="60382"/>
                </a:lnTo>
                <a:lnTo>
                  <a:pt x="271723" y="56585"/>
                </a:lnTo>
                <a:lnTo>
                  <a:pt x="213375" y="51878"/>
                </a:lnTo>
                <a:lnTo>
                  <a:pt x="160686" y="46339"/>
                </a:lnTo>
                <a:lnTo>
                  <a:pt x="114311" y="40045"/>
                </a:lnTo>
                <a:lnTo>
                  <a:pt x="74901" y="33076"/>
                </a:lnTo>
                <a:lnTo>
                  <a:pt x="19596" y="17421"/>
                </a:lnTo>
                <a:lnTo>
                  <a:pt x="5008" y="8892"/>
                </a:lnTo>
                <a:lnTo>
                  <a:pt x="0" y="0"/>
                </a:lnTo>
              </a:path>
            </a:pathLst>
          </a:custGeom>
          <a:ln w="9144">
            <a:solidFill>
              <a:srgbClr val="68D1F3"/>
            </a:solidFill>
          </a:ln>
        </p:spPr>
        <p:txBody>
          <a:bodyPr wrap="square" lIns="0" tIns="0" rIns="0" bIns="0" rtlCol="0"/>
          <a:lstStyle/>
          <a:p>
            <a:endParaRPr/>
          </a:p>
        </p:txBody>
      </p:sp>
      <p:sp>
        <p:nvSpPr>
          <p:cNvPr id="37" name="object 37"/>
          <p:cNvSpPr/>
          <p:nvPr/>
        </p:nvSpPr>
        <p:spPr>
          <a:xfrm>
            <a:off x="7894319" y="4255008"/>
            <a:ext cx="1097280" cy="393700"/>
          </a:xfrm>
          <a:custGeom>
            <a:avLst/>
            <a:gdLst/>
            <a:ahLst/>
            <a:cxnLst/>
            <a:rect l="l" t="t" r="r" b="b"/>
            <a:pathLst>
              <a:path w="1097279" h="393700">
                <a:moveTo>
                  <a:pt x="0" y="65532"/>
                </a:moveTo>
                <a:lnTo>
                  <a:pt x="43112" y="40022"/>
                </a:lnTo>
                <a:lnTo>
                  <a:pt x="114311" y="25486"/>
                </a:lnTo>
                <a:lnTo>
                  <a:pt x="160686" y="19192"/>
                </a:lnTo>
                <a:lnTo>
                  <a:pt x="213375" y="13653"/>
                </a:lnTo>
                <a:lnTo>
                  <a:pt x="271723" y="8946"/>
                </a:lnTo>
                <a:lnTo>
                  <a:pt x="335077" y="5149"/>
                </a:lnTo>
                <a:lnTo>
                  <a:pt x="402784" y="2340"/>
                </a:lnTo>
                <a:lnTo>
                  <a:pt x="474189" y="598"/>
                </a:lnTo>
                <a:lnTo>
                  <a:pt x="548639" y="0"/>
                </a:lnTo>
                <a:lnTo>
                  <a:pt x="623090" y="598"/>
                </a:lnTo>
                <a:lnTo>
                  <a:pt x="694495" y="2340"/>
                </a:lnTo>
                <a:lnTo>
                  <a:pt x="762202" y="5149"/>
                </a:lnTo>
                <a:lnTo>
                  <a:pt x="825556" y="8946"/>
                </a:lnTo>
                <a:lnTo>
                  <a:pt x="883904" y="13653"/>
                </a:lnTo>
                <a:lnTo>
                  <a:pt x="936593" y="19192"/>
                </a:lnTo>
                <a:lnTo>
                  <a:pt x="982968" y="25486"/>
                </a:lnTo>
                <a:lnTo>
                  <a:pt x="1022378" y="32455"/>
                </a:lnTo>
                <a:lnTo>
                  <a:pt x="1077683" y="48110"/>
                </a:lnTo>
                <a:lnTo>
                  <a:pt x="1097279" y="65532"/>
                </a:lnTo>
                <a:lnTo>
                  <a:pt x="1097279" y="327660"/>
                </a:lnTo>
                <a:lnTo>
                  <a:pt x="1054167" y="353169"/>
                </a:lnTo>
                <a:lnTo>
                  <a:pt x="982968" y="367705"/>
                </a:lnTo>
                <a:lnTo>
                  <a:pt x="936593" y="373999"/>
                </a:lnTo>
                <a:lnTo>
                  <a:pt x="883904" y="379538"/>
                </a:lnTo>
                <a:lnTo>
                  <a:pt x="825556" y="384245"/>
                </a:lnTo>
                <a:lnTo>
                  <a:pt x="762202" y="388042"/>
                </a:lnTo>
                <a:lnTo>
                  <a:pt x="694495" y="390851"/>
                </a:lnTo>
                <a:lnTo>
                  <a:pt x="623090" y="392593"/>
                </a:lnTo>
                <a:lnTo>
                  <a:pt x="548639" y="393192"/>
                </a:lnTo>
                <a:lnTo>
                  <a:pt x="474189" y="392593"/>
                </a:lnTo>
                <a:lnTo>
                  <a:pt x="402784" y="390851"/>
                </a:lnTo>
                <a:lnTo>
                  <a:pt x="335077" y="388042"/>
                </a:lnTo>
                <a:lnTo>
                  <a:pt x="271723" y="384245"/>
                </a:lnTo>
                <a:lnTo>
                  <a:pt x="213375" y="379538"/>
                </a:lnTo>
                <a:lnTo>
                  <a:pt x="160686" y="373999"/>
                </a:lnTo>
                <a:lnTo>
                  <a:pt x="114311" y="367705"/>
                </a:lnTo>
                <a:lnTo>
                  <a:pt x="74901" y="360736"/>
                </a:lnTo>
                <a:lnTo>
                  <a:pt x="19596" y="345081"/>
                </a:lnTo>
                <a:lnTo>
                  <a:pt x="0" y="327660"/>
                </a:lnTo>
                <a:lnTo>
                  <a:pt x="0" y="65532"/>
                </a:lnTo>
                <a:close/>
              </a:path>
            </a:pathLst>
          </a:custGeom>
          <a:ln w="9143">
            <a:solidFill>
              <a:srgbClr val="68D1F3"/>
            </a:solidFill>
          </a:ln>
        </p:spPr>
        <p:txBody>
          <a:bodyPr wrap="square" lIns="0" tIns="0" rIns="0" bIns="0" rtlCol="0"/>
          <a:lstStyle/>
          <a:p>
            <a:endParaRPr/>
          </a:p>
        </p:txBody>
      </p:sp>
      <p:sp>
        <p:nvSpPr>
          <p:cNvPr id="38" name="object 38"/>
          <p:cNvSpPr txBox="1"/>
          <p:nvPr/>
        </p:nvSpPr>
        <p:spPr>
          <a:xfrm>
            <a:off x="8033131" y="4396866"/>
            <a:ext cx="819150"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Staged</a:t>
            </a:r>
            <a:r>
              <a:rPr sz="1000" spc="-40">
                <a:latin typeface="Verdana"/>
                <a:cs typeface="Verdana"/>
              </a:rPr>
              <a:t> </a:t>
            </a:r>
            <a:r>
              <a:rPr sz="1000" spc="-5">
                <a:latin typeface="Verdana"/>
                <a:cs typeface="Verdana"/>
              </a:rPr>
              <a:t>Data</a:t>
            </a:r>
            <a:endParaRPr sz="1000">
              <a:latin typeface="Verdana"/>
              <a:cs typeface="Verdana"/>
            </a:endParaRPr>
          </a:p>
        </p:txBody>
      </p:sp>
      <p:sp>
        <p:nvSpPr>
          <p:cNvPr id="39" name="object 39"/>
          <p:cNvSpPr txBox="1"/>
          <p:nvPr/>
        </p:nvSpPr>
        <p:spPr>
          <a:xfrm>
            <a:off x="6672071" y="4829555"/>
            <a:ext cx="1099185" cy="500380"/>
          </a:xfrm>
          <a:prstGeom prst="rect">
            <a:avLst/>
          </a:prstGeom>
          <a:solidFill>
            <a:srgbClr val="CDEFFA"/>
          </a:solidFill>
          <a:ln w="9144">
            <a:solidFill>
              <a:srgbClr val="68D1F3"/>
            </a:solidFill>
          </a:ln>
        </p:spPr>
        <p:txBody>
          <a:bodyPr vert="horz" wrap="square" lIns="0" tIns="5715" rIns="0" bIns="0" rtlCol="0">
            <a:spAutoFit/>
          </a:bodyPr>
          <a:lstStyle/>
          <a:p>
            <a:pPr>
              <a:lnSpc>
                <a:spcPct val="100000"/>
              </a:lnSpc>
              <a:spcBef>
                <a:spcPts val="45"/>
              </a:spcBef>
            </a:pPr>
            <a:endParaRPr sz="1150">
              <a:latin typeface="Times New Roman"/>
              <a:cs typeface="Times New Roman"/>
            </a:endParaRPr>
          </a:p>
          <a:p>
            <a:pPr marL="66675">
              <a:lnSpc>
                <a:spcPct val="100000"/>
              </a:lnSpc>
            </a:pPr>
            <a:r>
              <a:rPr sz="1000" spc="-5">
                <a:latin typeface="Verdana"/>
                <a:cs typeface="Verdana"/>
              </a:rPr>
              <a:t>Data Load</a:t>
            </a:r>
            <a:r>
              <a:rPr sz="1000" spc="-20">
                <a:latin typeface="Verdana"/>
                <a:cs typeface="Verdana"/>
              </a:rPr>
              <a:t> </a:t>
            </a:r>
            <a:r>
              <a:rPr sz="1000">
                <a:latin typeface="Verdana"/>
                <a:cs typeface="Verdana"/>
              </a:rPr>
              <a:t>Plan</a:t>
            </a:r>
          </a:p>
        </p:txBody>
      </p:sp>
      <p:sp>
        <p:nvSpPr>
          <p:cNvPr id="40" name="object 40"/>
          <p:cNvSpPr txBox="1"/>
          <p:nvPr/>
        </p:nvSpPr>
        <p:spPr>
          <a:xfrm>
            <a:off x="7894319" y="2947416"/>
            <a:ext cx="1097280" cy="500380"/>
          </a:xfrm>
          <a:prstGeom prst="rect">
            <a:avLst/>
          </a:prstGeom>
          <a:solidFill>
            <a:srgbClr val="CDEFFA"/>
          </a:solidFill>
          <a:ln w="9144">
            <a:solidFill>
              <a:srgbClr val="68D1F3"/>
            </a:solidFill>
          </a:ln>
        </p:spPr>
        <p:txBody>
          <a:bodyPr vert="horz" wrap="square" lIns="0" tIns="98425" rIns="0" bIns="0" rtlCol="0">
            <a:spAutoFit/>
          </a:bodyPr>
          <a:lstStyle/>
          <a:p>
            <a:pPr marL="413384" marR="59055" indent="-347980">
              <a:lnSpc>
                <a:spcPct val="100000"/>
              </a:lnSpc>
              <a:spcBef>
                <a:spcPts val="775"/>
              </a:spcBef>
            </a:pPr>
            <a:r>
              <a:rPr sz="1000" spc="-5">
                <a:latin typeface="Verdana"/>
                <a:cs typeface="Verdana"/>
              </a:rPr>
              <a:t>Data</a:t>
            </a:r>
            <a:r>
              <a:rPr sz="1000" spc="-75">
                <a:latin typeface="Verdana"/>
                <a:cs typeface="Verdana"/>
              </a:rPr>
              <a:t> </a:t>
            </a:r>
            <a:r>
              <a:rPr sz="1000">
                <a:latin typeface="Verdana"/>
                <a:cs typeface="Verdana"/>
              </a:rPr>
              <a:t>Cleansing  Plan</a:t>
            </a:r>
          </a:p>
        </p:txBody>
      </p:sp>
      <p:sp>
        <p:nvSpPr>
          <p:cNvPr id="41" name="object 41"/>
          <p:cNvSpPr txBox="1"/>
          <p:nvPr/>
        </p:nvSpPr>
        <p:spPr>
          <a:xfrm>
            <a:off x="7894319" y="3575303"/>
            <a:ext cx="1097280" cy="500380"/>
          </a:xfrm>
          <a:prstGeom prst="rect">
            <a:avLst/>
          </a:prstGeom>
          <a:solidFill>
            <a:srgbClr val="CDEFFA"/>
          </a:solidFill>
          <a:ln w="9144">
            <a:solidFill>
              <a:srgbClr val="68D1F3"/>
            </a:solidFill>
          </a:ln>
        </p:spPr>
        <p:txBody>
          <a:bodyPr vert="horz" wrap="square" lIns="0" tIns="21590" rIns="0" bIns="0" rtlCol="0">
            <a:spAutoFit/>
          </a:bodyPr>
          <a:lstStyle/>
          <a:p>
            <a:pPr marL="182880" marR="170180" indent="-5080" algn="just">
              <a:lnSpc>
                <a:spcPct val="100000"/>
              </a:lnSpc>
              <a:spcBef>
                <a:spcPts val="170"/>
              </a:spcBef>
            </a:pPr>
            <a:r>
              <a:rPr sz="1000" spc="-5">
                <a:latin typeface="Verdana"/>
                <a:cs typeface="Verdana"/>
              </a:rPr>
              <a:t>Acq</a:t>
            </a:r>
            <a:r>
              <a:rPr sz="1000">
                <a:latin typeface="Verdana"/>
                <a:cs typeface="Verdana"/>
              </a:rPr>
              <a:t>u</a:t>
            </a:r>
            <a:r>
              <a:rPr sz="1000" spc="5">
                <a:latin typeface="Verdana"/>
                <a:cs typeface="Verdana"/>
              </a:rPr>
              <a:t>i</a:t>
            </a:r>
            <a:r>
              <a:rPr sz="1000" spc="-5">
                <a:latin typeface="Verdana"/>
                <a:cs typeface="Verdana"/>
              </a:rPr>
              <a:t>s</a:t>
            </a:r>
            <a:r>
              <a:rPr sz="1000" spc="5">
                <a:latin typeface="Verdana"/>
                <a:cs typeface="Verdana"/>
              </a:rPr>
              <a:t>i</a:t>
            </a:r>
            <a:r>
              <a:rPr sz="1000" spc="-5">
                <a:latin typeface="Verdana"/>
                <a:cs typeface="Verdana"/>
              </a:rPr>
              <a:t>t</a:t>
            </a:r>
            <a:r>
              <a:rPr sz="1000" spc="5">
                <a:latin typeface="Verdana"/>
                <a:cs typeface="Verdana"/>
              </a:rPr>
              <a:t>i</a:t>
            </a:r>
            <a:r>
              <a:rPr sz="1000" spc="-10">
                <a:latin typeface="Verdana"/>
                <a:cs typeface="Verdana"/>
              </a:rPr>
              <a:t>o</a:t>
            </a:r>
            <a:r>
              <a:rPr sz="1000">
                <a:latin typeface="Verdana"/>
                <a:cs typeface="Verdana"/>
              </a:rPr>
              <a:t>n</a:t>
            </a:r>
            <a:r>
              <a:rPr sz="1000" spc="-5">
                <a:latin typeface="Verdana"/>
                <a:cs typeface="Verdana"/>
              </a:rPr>
              <a:t>,  Migration &amp;  </a:t>
            </a:r>
            <a:r>
              <a:rPr sz="1000">
                <a:latin typeface="Verdana"/>
                <a:cs typeface="Verdana"/>
              </a:rPr>
              <a:t>Cleansing</a:t>
            </a:r>
          </a:p>
        </p:txBody>
      </p:sp>
      <p:sp>
        <p:nvSpPr>
          <p:cNvPr id="42" name="object 42"/>
          <p:cNvSpPr txBox="1"/>
          <p:nvPr/>
        </p:nvSpPr>
        <p:spPr>
          <a:xfrm>
            <a:off x="7894319" y="4829555"/>
            <a:ext cx="1097280" cy="500380"/>
          </a:xfrm>
          <a:prstGeom prst="rect">
            <a:avLst/>
          </a:prstGeom>
          <a:solidFill>
            <a:srgbClr val="CDEFFA"/>
          </a:solidFill>
          <a:ln w="9144">
            <a:solidFill>
              <a:srgbClr val="68D1F3"/>
            </a:solidFill>
          </a:ln>
        </p:spPr>
        <p:txBody>
          <a:bodyPr vert="horz" wrap="square" lIns="0" tIns="5715" rIns="0" bIns="0" rtlCol="0">
            <a:spAutoFit/>
          </a:bodyPr>
          <a:lstStyle/>
          <a:p>
            <a:pPr>
              <a:lnSpc>
                <a:spcPct val="100000"/>
              </a:lnSpc>
              <a:spcBef>
                <a:spcPts val="45"/>
              </a:spcBef>
            </a:pPr>
            <a:endParaRPr sz="1150">
              <a:latin typeface="Times New Roman"/>
              <a:cs typeface="Times New Roman"/>
            </a:endParaRPr>
          </a:p>
          <a:p>
            <a:pPr marL="66040">
              <a:lnSpc>
                <a:spcPct val="100000"/>
              </a:lnSpc>
            </a:pPr>
            <a:r>
              <a:rPr sz="1000" spc="-5">
                <a:latin typeface="Verdana"/>
                <a:cs typeface="Verdana"/>
              </a:rPr>
              <a:t>Data Load</a:t>
            </a:r>
            <a:r>
              <a:rPr sz="1000" spc="-20">
                <a:latin typeface="Verdana"/>
                <a:cs typeface="Verdana"/>
              </a:rPr>
              <a:t> </a:t>
            </a:r>
            <a:r>
              <a:rPr sz="1000">
                <a:latin typeface="Verdana"/>
                <a:cs typeface="Verdana"/>
              </a:rPr>
              <a:t>Plan</a:t>
            </a:r>
          </a:p>
        </p:txBody>
      </p:sp>
      <p:sp>
        <p:nvSpPr>
          <p:cNvPr id="43" name="object 43"/>
          <p:cNvSpPr txBox="1"/>
          <p:nvPr/>
        </p:nvSpPr>
        <p:spPr>
          <a:xfrm>
            <a:off x="9968483" y="3575303"/>
            <a:ext cx="763905" cy="500380"/>
          </a:xfrm>
          <a:prstGeom prst="rect">
            <a:avLst/>
          </a:prstGeom>
          <a:solidFill>
            <a:srgbClr val="CDEFFA"/>
          </a:solidFill>
          <a:ln w="9144">
            <a:solidFill>
              <a:srgbClr val="68D1F3"/>
            </a:solidFill>
          </a:ln>
        </p:spPr>
        <p:txBody>
          <a:bodyPr vert="horz" wrap="square" lIns="0" tIns="97790" rIns="0" bIns="0" rtlCol="0">
            <a:spAutoFit/>
          </a:bodyPr>
          <a:lstStyle/>
          <a:p>
            <a:pPr marL="231140" marR="32384" indent="-189230">
              <a:lnSpc>
                <a:spcPct val="100000"/>
              </a:lnSpc>
              <a:spcBef>
                <a:spcPts val="770"/>
              </a:spcBef>
            </a:pPr>
            <a:r>
              <a:rPr sz="1000" spc="-5">
                <a:latin typeface="Verdana"/>
                <a:cs typeface="Verdana"/>
              </a:rPr>
              <a:t>Delta</a:t>
            </a:r>
            <a:r>
              <a:rPr sz="1000" spc="-65">
                <a:latin typeface="Verdana"/>
                <a:cs typeface="Verdana"/>
              </a:rPr>
              <a:t> </a:t>
            </a:r>
            <a:r>
              <a:rPr sz="1000" spc="-5">
                <a:latin typeface="Verdana"/>
                <a:cs typeface="Verdana"/>
              </a:rPr>
              <a:t>Data  Load</a:t>
            </a:r>
            <a:endParaRPr sz="1000">
              <a:latin typeface="Verdana"/>
              <a:cs typeface="Verdana"/>
            </a:endParaRPr>
          </a:p>
        </p:txBody>
      </p:sp>
      <p:sp>
        <p:nvSpPr>
          <p:cNvPr id="44" name="object 44"/>
          <p:cNvSpPr txBox="1"/>
          <p:nvPr/>
        </p:nvSpPr>
        <p:spPr>
          <a:xfrm>
            <a:off x="9057131" y="4829555"/>
            <a:ext cx="763905" cy="500380"/>
          </a:xfrm>
          <a:prstGeom prst="rect">
            <a:avLst/>
          </a:prstGeom>
          <a:solidFill>
            <a:srgbClr val="CDEFFA"/>
          </a:solidFill>
          <a:ln w="9144">
            <a:solidFill>
              <a:srgbClr val="68D1F3"/>
            </a:solidFill>
          </a:ln>
        </p:spPr>
        <p:txBody>
          <a:bodyPr vert="horz" wrap="square" lIns="0" tIns="97790" rIns="0" bIns="0" rtlCol="0">
            <a:spAutoFit/>
          </a:bodyPr>
          <a:lstStyle/>
          <a:p>
            <a:pPr marL="231775" marR="64135" indent="-158750">
              <a:lnSpc>
                <a:spcPct val="100000"/>
              </a:lnSpc>
              <a:spcBef>
                <a:spcPts val="770"/>
              </a:spcBef>
            </a:pPr>
            <a:r>
              <a:rPr sz="1000">
                <a:latin typeface="Verdana"/>
                <a:cs typeface="Verdana"/>
              </a:rPr>
              <a:t>Pilot</a:t>
            </a:r>
            <a:r>
              <a:rPr sz="1000" spc="-90">
                <a:latin typeface="Verdana"/>
                <a:cs typeface="Verdana"/>
              </a:rPr>
              <a:t> </a:t>
            </a:r>
            <a:r>
              <a:rPr sz="1000" spc="-5">
                <a:latin typeface="Verdana"/>
                <a:cs typeface="Verdana"/>
              </a:rPr>
              <a:t>Data  Load</a:t>
            </a:r>
            <a:endParaRPr sz="1000">
              <a:latin typeface="Verdana"/>
              <a:cs typeface="Verdana"/>
            </a:endParaRPr>
          </a:p>
        </p:txBody>
      </p:sp>
      <p:sp>
        <p:nvSpPr>
          <p:cNvPr id="45" name="object 45"/>
          <p:cNvSpPr/>
          <p:nvPr/>
        </p:nvSpPr>
        <p:spPr>
          <a:xfrm>
            <a:off x="9678923" y="4255008"/>
            <a:ext cx="1099185" cy="393700"/>
          </a:xfrm>
          <a:custGeom>
            <a:avLst/>
            <a:gdLst/>
            <a:ahLst/>
            <a:cxnLst/>
            <a:rect l="l" t="t" r="r" b="b"/>
            <a:pathLst>
              <a:path w="1099184" h="393700">
                <a:moveTo>
                  <a:pt x="549401" y="0"/>
                </a:moveTo>
                <a:lnTo>
                  <a:pt x="474856" y="598"/>
                </a:lnTo>
                <a:lnTo>
                  <a:pt x="403357" y="2340"/>
                </a:lnTo>
                <a:lnTo>
                  <a:pt x="335559" y="5149"/>
                </a:lnTo>
                <a:lnTo>
                  <a:pt x="272118" y="8946"/>
                </a:lnTo>
                <a:lnTo>
                  <a:pt x="213688" y="13653"/>
                </a:lnTo>
                <a:lnTo>
                  <a:pt x="160924" y="19192"/>
                </a:lnTo>
                <a:lnTo>
                  <a:pt x="114481" y="25486"/>
                </a:lnTo>
                <a:lnTo>
                  <a:pt x="75014" y="32455"/>
                </a:lnTo>
                <a:lnTo>
                  <a:pt x="19626" y="48110"/>
                </a:lnTo>
                <a:lnTo>
                  <a:pt x="0" y="65532"/>
                </a:lnTo>
                <a:lnTo>
                  <a:pt x="0" y="327660"/>
                </a:lnTo>
                <a:lnTo>
                  <a:pt x="43178" y="353169"/>
                </a:lnTo>
                <a:lnTo>
                  <a:pt x="114481" y="367705"/>
                </a:lnTo>
                <a:lnTo>
                  <a:pt x="160924" y="373999"/>
                </a:lnTo>
                <a:lnTo>
                  <a:pt x="213688" y="379538"/>
                </a:lnTo>
                <a:lnTo>
                  <a:pt x="272118" y="384245"/>
                </a:lnTo>
                <a:lnTo>
                  <a:pt x="335559" y="388042"/>
                </a:lnTo>
                <a:lnTo>
                  <a:pt x="403357" y="390851"/>
                </a:lnTo>
                <a:lnTo>
                  <a:pt x="474856" y="392593"/>
                </a:lnTo>
                <a:lnTo>
                  <a:pt x="549401" y="393192"/>
                </a:lnTo>
                <a:lnTo>
                  <a:pt x="623947" y="392593"/>
                </a:lnTo>
                <a:lnTo>
                  <a:pt x="695446" y="390851"/>
                </a:lnTo>
                <a:lnTo>
                  <a:pt x="763244" y="388042"/>
                </a:lnTo>
                <a:lnTo>
                  <a:pt x="826685" y="384245"/>
                </a:lnTo>
                <a:lnTo>
                  <a:pt x="885115" y="379538"/>
                </a:lnTo>
                <a:lnTo>
                  <a:pt x="937879" y="373999"/>
                </a:lnTo>
                <a:lnTo>
                  <a:pt x="984322" y="367705"/>
                </a:lnTo>
                <a:lnTo>
                  <a:pt x="1023789" y="360736"/>
                </a:lnTo>
                <a:lnTo>
                  <a:pt x="1079177" y="345081"/>
                </a:lnTo>
                <a:lnTo>
                  <a:pt x="1098803" y="327660"/>
                </a:lnTo>
                <a:lnTo>
                  <a:pt x="1098803" y="65532"/>
                </a:lnTo>
                <a:lnTo>
                  <a:pt x="1055625" y="40022"/>
                </a:lnTo>
                <a:lnTo>
                  <a:pt x="984322" y="25486"/>
                </a:lnTo>
                <a:lnTo>
                  <a:pt x="937879" y="19192"/>
                </a:lnTo>
                <a:lnTo>
                  <a:pt x="885115" y="13653"/>
                </a:lnTo>
                <a:lnTo>
                  <a:pt x="826685" y="8946"/>
                </a:lnTo>
                <a:lnTo>
                  <a:pt x="763244" y="5149"/>
                </a:lnTo>
                <a:lnTo>
                  <a:pt x="695446" y="2340"/>
                </a:lnTo>
                <a:lnTo>
                  <a:pt x="623947" y="598"/>
                </a:lnTo>
                <a:lnTo>
                  <a:pt x="549401" y="0"/>
                </a:lnTo>
                <a:close/>
              </a:path>
            </a:pathLst>
          </a:custGeom>
          <a:solidFill>
            <a:srgbClr val="CDEFFA"/>
          </a:solidFill>
        </p:spPr>
        <p:txBody>
          <a:bodyPr wrap="square" lIns="0" tIns="0" rIns="0" bIns="0" rtlCol="0"/>
          <a:lstStyle/>
          <a:p>
            <a:endParaRPr/>
          </a:p>
        </p:txBody>
      </p:sp>
      <p:sp>
        <p:nvSpPr>
          <p:cNvPr id="46" name="object 46"/>
          <p:cNvSpPr/>
          <p:nvPr/>
        </p:nvSpPr>
        <p:spPr>
          <a:xfrm>
            <a:off x="9678923" y="4320540"/>
            <a:ext cx="1099185" cy="66040"/>
          </a:xfrm>
          <a:custGeom>
            <a:avLst/>
            <a:gdLst/>
            <a:ahLst/>
            <a:cxnLst/>
            <a:rect l="l" t="t" r="r" b="b"/>
            <a:pathLst>
              <a:path w="1099184" h="66039">
                <a:moveTo>
                  <a:pt x="1098803" y="0"/>
                </a:moveTo>
                <a:lnTo>
                  <a:pt x="1055625" y="25509"/>
                </a:lnTo>
                <a:lnTo>
                  <a:pt x="984322" y="40045"/>
                </a:lnTo>
                <a:lnTo>
                  <a:pt x="937879" y="46339"/>
                </a:lnTo>
                <a:lnTo>
                  <a:pt x="885115" y="51878"/>
                </a:lnTo>
                <a:lnTo>
                  <a:pt x="826685" y="56585"/>
                </a:lnTo>
                <a:lnTo>
                  <a:pt x="763244" y="60382"/>
                </a:lnTo>
                <a:lnTo>
                  <a:pt x="695446" y="63191"/>
                </a:lnTo>
                <a:lnTo>
                  <a:pt x="623947" y="64933"/>
                </a:lnTo>
                <a:lnTo>
                  <a:pt x="549401" y="65532"/>
                </a:lnTo>
                <a:lnTo>
                  <a:pt x="474856" y="64933"/>
                </a:lnTo>
                <a:lnTo>
                  <a:pt x="403357" y="63191"/>
                </a:lnTo>
                <a:lnTo>
                  <a:pt x="335559" y="60382"/>
                </a:lnTo>
                <a:lnTo>
                  <a:pt x="272118" y="56585"/>
                </a:lnTo>
                <a:lnTo>
                  <a:pt x="213688" y="51878"/>
                </a:lnTo>
                <a:lnTo>
                  <a:pt x="160924" y="46339"/>
                </a:lnTo>
                <a:lnTo>
                  <a:pt x="114481" y="40045"/>
                </a:lnTo>
                <a:lnTo>
                  <a:pt x="75014" y="33076"/>
                </a:lnTo>
                <a:lnTo>
                  <a:pt x="19626" y="17421"/>
                </a:lnTo>
                <a:lnTo>
                  <a:pt x="5015" y="8892"/>
                </a:lnTo>
                <a:lnTo>
                  <a:pt x="0" y="0"/>
                </a:lnTo>
              </a:path>
            </a:pathLst>
          </a:custGeom>
          <a:ln w="9144">
            <a:solidFill>
              <a:srgbClr val="68D1F3"/>
            </a:solidFill>
          </a:ln>
        </p:spPr>
        <p:txBody>
          <a:bodyPr wrap="square" lIns="0" tIns="0" rIns="0" bIns="0" rtlCol="0"/>
          <a:lstStyle/>
          <a:p>
            <a:endParaRPr/>
          </a:p>
        </p:txBody>
      </p:sp>
      <p:sp>
        <p:nvSpPr>
          <p:cNvPr id="47" name="object 47"/>
          <p:cNvSpPr/>
          <p:nvPr/>
        </p:nvSpPr>
        <p:spPr>
          <a:xfrm>
            <a:off x="9678923" y="4255008"/>
            <a:ext cx="1099185" cy="393700"/>
          </a:xfrm>
          <a:custGeom>
            <a:avLst/>
            <a:gdLst/>
            <a:ahLst/>
            <a:cxnLst/>
            <a:rect l="l" t="t" r="r" b="b"/>
            <a:pathLst>
              <a:path w="1099184" h="393700">
                <a:moveTo>
                  <a:pt x="0" y="65532"/>
                </a:moveTo>
                <a:lnTo>
                  <a:pt x="43178" y="40022"/>
                </a:lnTo>
                <a:lnTo>
                  <a:pt x="114481" y="25486"/>
                </a:lnTo>
                <a:lnTo>
                  <a:pt x="160924" y="19192"/>
                </a:lnTo>
                <a:lnTo>
                  <a:pt x="213688" y="13653"/>
                </a:lnTo>
                <a:lnTo>
                  <a:pt x="272118" y="8946"/>
                </a:lnTo>
                <a:lnTo>
                  <a:pt x="335559" y="5149"/>
                </a:lnTo>
                <a:lnTo>
                  <a:pt x="403357" y="2340"/>
                </a:lnTo>
                <a:lnTo>
                  <a:pt x="474856" y="598"/>
                </a:lnTo>
                <a:lnTo>
                  <a:pt x="549401" y="0"/>
                </a:lnTo>
                <a:lnTo>
                  <a:pt x="623947" y="598"/>
                </a:lnTo>
                <a:lnTo>
                  <a:pt x="695446" y="2340"/>
                </a:lnTo>
                <a:lnTo>
                  <a:pt x="763244" y="5149"/>
                </a:lnTo>
                <a:lnTo>
                  <a:pt x="826685" y="8946"/>
                </a:lnTo>
                <a:lnTo>
                  <a:pt x="885115" y="13653"/>
                </a:lnTo>
                <a:lnTo>
                  <a:pt x="937879" y="19192"/>
                </a:lnTo>
                <a:lnTo>
                  <a:pt x="984322" y="25486"/>
                </a:lnTo>
                <a:lnTo>
                  <a:pt x="1023789" y="32455"/>
                </a:lnTo>
                <a:lnTo>
                  <a:pt x="1079177" y="48110"/>
                </a:lnTo>
                <a:lnTo>
                  <a:pt x="1098803" y="65532"/>
                </a:lnTo>
                <a:lnTo>
                  <a:pt x="1098803" y="327660"/>
                </a:lnTo>
                <a:lnTo>
                  <a:pt x="1055625" y="353169"/>
                </a:lnTo>
                <a:lnTo>
                  <a:pt x="984322" y="367705"/>
                </a:lnTo>
                <a:lnTo>
                  <a:pt x="937879" y="373999"/>
                </a:lnTo>
                <a:lnTo>
                  <a:pt x="885115" y="379538"/>
                </a:lnTo>
                <a:lnTo>
                  <a:pt x="826685" y="384245"/>
                </a:lnTo>
                <a:lnTo>
                  <a:pt x="763244" y="388042"/>
                </a:lnTo>
                <a:lnTo>
                  <a:pt x="695446" y="390851"/>
                </a:lnTo>
                <a:lnTo>
                  <a:pt x="623947" y="392593"/>
                </a:lnTo>
                <a:lnTo>
                  <a:pt x="549401" y="393192"/>
                </a:lnTo>
                <a:lnTo>
                  <a:pt x="474856" y="392593"/>
                </a:lnTo>
                <a:lnTo>
                  <a:pt x="403357" y="390851"/>
                </a:lnTo>
                <a:lnTo>
                  <a:pt x="335559" y="388042"/>
                </a:lnTo>
                <a:lnTo>
                  <a:pt x="272118" y="384245"/>
                </a:lnTo>
                <a:lnTo>
                  <a:pt x="213688" y="379538"/>
                </a:lnTo>
                <a:lnTo>
                  <a:pt x="160924" y="373999"/>
                </a:lnTo>
                <a:lnTo>
                  <a:pt x="114481" y="367705"/>
                </a:lnTo>
                <a:lnTo>
                  <a:pt x="75014" y="360736"/>
                </a:lnTo>
                <a:lnTo>
                  <a:pt x="19626" y="345081"/>
                </a:lnTo>
                <a:lnTo>
                  <a:pt x="0" y="327660"/>
                </a:lnTo>
                <a:lnTo>
                  <a:pt x="0" y="65532"/>
                </a:lnTo>
                <a:close/>
              </a:path>
            </a:pathLst>
          </a:custGeom>
          <a:ln w="9143">
            <a:solidFill>
              <a:srgbClr val="68D1F3"/>
            </a:solidFill>
          </a:ln>
        </p:spPr>
        <p:txBody>
          <a:bodyPr wrap="square" lIns="0" tIns="0" rIns="0" bIns="0" rtlCol="0"/>
          <a:lstStyle/>
          <a:p>
            <a:endParaRPr/>
          </a:p>
        </p:txBody>
      </p:sp>
      <p:sp>
        <p:nvSpPr>
          <p:cNvPr id="48" name="object 48"/>
          <p:cNvSpPr txBox="1"/>
          <p:nvPr/>
        </p:nvSpPr>
        <p:spPr>
          <a:xfrm>
            <a:off x="9836911" y="4396866"/>
            <a:ext cx="784225" cy="177800"/>
          </a:xfrm>
          <a:prstGeom prst="rect">
            <a:avLst/>
          </a:prstGeom>
        </p:spPr>
        <p:txBody>
          <a:bodyPr vert="horz" wrap="square" lIns="0" tIns="12065" rIns="0" bIns="0" rtlCol="0">
            <a:spAutoFit/>
          </a:bodyPr>
          <a:lstStyle/>
          <a:p>
            <a:pPr marL="12700">
              <a:lnSpc>
                <a:spcPct val="100000"/>
              </a:lnSpc>
              <a:spcBef>
                <a:spcPts val="95"/>
              </a:spcBef>
            </a:pPr>
            <a:r>
              <a:rPr sz="1000" spc="-10">
                <a:latin typeface="Verdana"/>
                <a:cs typeface="Verdana"/>
              </a:rPr>
              <a:t>Target</a:t>
            </a:r>
            <a:r>
              <a:rPr sz="1000" spc="-35">
                <a:latin typeface="Verdana"/>
                <a:cs typeface="Verdana"/>
              </a:rPr>
              <a:t> </a:t>
            </a:r>
            <a:r>
              <a:rPr sz="1000" spc="-5">
                <a:latin typeface="Verdana"/>
                <a:cs typeface="Verdana"/>
              </a:rPr>
              <a:t>Data</a:t>
            </a:r>
            <a:endParaRPr sz="1000">
              <a:latin typeface="Verdana"/>
              <a:cs typeface="Verdana"/>
            </a:endParaRPr>
          </a:p>
        </p:txBody>
      </p:sp>
      <p:sp>
        <p:nvSpPr>
          <p:cNvPr id="49" name="object 49"/>
          <p:cNvSpPr txBox="1"/>
          <p:nvPr/>
        </p:nvSpPr>
        <p:spPr>
          <a:xfrm>
            <a:off x="9057131" y="3575303"/>
            <a:ext cx="763905" cy="500380"/>
          </a:xfrm>
          <a:prstGeom prst="rect">
            <a:avLst/>
          </a:prstGeom>
          <a:solidFill>
            <a:srgbClr val="CDEFFA"/>
          </a:solidFill>
          <a:ln w="9144">
            <a:solidFill>
              <a:srgbClr val="68D1F3"/>
            </a:solidFill>
          </a:ln>
        </p:spPr>
        <p:txBody>
          <a:bodyPr vert="horz" wrap="square" lIns="0" tIns="97790" rIns="0" bIns="0" rtlCol="0">
            <a:spAutoFit/>
          </a:bodyPr>
          <a:lstStyle/>
          <a:p>
            <a:pPr marL="59055" marR="48895" indent="100330">
              <a:lnSpc>
                <a:spcPct val="100000"/>
              </a:lnSpc>
              <a:spcBef>
                <a:spcPts val="770"/>
              </a:spcBef>
            </a:pPr>
            <a:r>
              <a:rPr sz="1000">
                <a:latin typeface="Verdana"/>
                <a:cs typeface="Verdana"/>
              </a:rPr>
              <a:t>Rollout  </a:t>
            </a:r>
            <a:r>
              <a:rPr sz="1000" spc="-5">
                <a:latin typeface="Verdana"/>
                <a:cs typeface="Verdana"/>
              </a:rPr>
              <a:t>Data</a:t>
            </a:r>
            <a:r>
              <a:rPr sz="1000" spc="-80">
                <a:latin typeface="Verdana"/>
                <a:cs typeface="Verdana"/>
              </a:rPr>
              <a:t> </a:t>
            </a:r>
            <a:r>
              <a:rPr sz="1000" spc="-5">
                <a:latin typeface="Verdana"/>
                <a:cs typeface="Verdana"/>
              </a:rPr>
              <a:t>Load</a:t>
            </a:r>
            <a:endParaRPr sz="1000">
              <a:latin typeface="Verdana"/>
              <a:cs typeface="Verdana"/>
            </a:endParaRPr>
          </a:p>
        </p:txBody>
      </p:sp>
      <p:sp>
        <p:nvSpPr>
          <p:cNvPr id="50" name="object 50"/>
          <p:cNvSpPr txBox="1"/>
          <p:nvPr/>
        </p:nvSpPr>
        <p:spPr>
          <a:xfrm>
            <a:off x="10838688" y="2947416"/>
            <a:ext cx="1036319" cy="504825"/>
          </a:xfrm>
          <a:prstGeom prst="rect">
            <a:avLst/>
          </a:prstGeom>
          <a:solidFill>
            <a:srgbClr val="CDEFFA"/>
          </a:solidFill>
          <a:ln w="9144">
            <a:solidFill>
              <a:srgbClr val="68D1F3"/>
            </a:solidFill>
          </a:ln>
        </p:spPr>
        <p:txBody>
          <a:bodyPr vert="horz" wrap="square" lIns="0" tIns="24130" rIns="0" bIns="0" rtlCol="0">
            <a:spAutoFit/>
          </a:bodyPr>
          <a:lstStyle/>
          <a:p>
            <a:pPr marL="116839" marR="107314" indent="-1270" algn="ctr">
              <a:lnSpc>
                <a:spcPct val="100000"/>
              </a:lnSpc>
              <a:spcBef>
                <a:spcPts val="190"/>
              </a:spcBef>
            </a:pPr>
            <a:r>
              <a:rPr sz="1000" spc="-5">
                <a:latin typeface="Verdana"/>
                <a:cs typeface="Verdana"/>
              </a:rPr>
              <a:t>Data  Ma</a:t>
            </a:r>
            <a:r>
              <a:rPr sz="1000" spc="10">
                <a:latin typeface="Verdana"/>
                <a:cs typeface="Verdana"/>
              </a:rPr>
              <a:t>i</a:t>
            </a:r>
            <a:r>
              <a:rPr sz="1000">
                <a:latin typeface="Verdana"/>
                <a:cs typeface="Verdana"/>
              </a:rPr>
              <a:t>n</a:t>
            </a:r>
            <a:r>
              <a:rPr sz="1000" spc="-5">
                <a:latin typeface="Verdana"/>
                <a:cs typeface="Verdana"/>
              </a:rPr>
              <a:t>t</a:t>
            </a:r>
            <a:r>
              <a:rPr sz="1000" spc="-15">
                <a:latin typeface="Verdana"/>
                <a:cs typeface="Verdana"/>
              </a:rPr>
              <a:t>e</a:t>
            </a:r>
            <a:r>
              <a:rPr sz="1000">
                <a:latin typeface="Verdana"/>
                <a:cs typeface="Verdana"/>
              </a:rPr>
              <a:t>n</a:t>
            </a:r>
            <a:r>
              <a:rPr sz="1000" spc="-5">
                <a:latin typeface="Verdana"/>
                <a:cs typeface="Verdana"/>
              </a:rPr>
              <a:t>a</a:t>
            </a:r>
            <a:r>
              <a:rPr sz="1000">
                <a:latin typeface="Verdana"/>
                <a:cs typeface="Verdana"/>
              </a:rPr>
              <a:t>n</a:t>
            </a:r>
            <a:r>
              <a:rPr sz="1000" spc="-5">
                <a:latin typeface="Verdana"/>
                <a:cs typeface="Verdana"/>
              </a:rPr>
              <a:t>ce  </a:t>
            </a:r>
            <a:r>
              <a:rPr sz="1000">
                <a:latin typeface="Verdana"/>
                <a:cs typeface="Verdana"/>
              </a:rPr>
              <a:t>Plan</a:t>
            </a:r>
          </a:p>
        </p:txBody>
      </p:sp>
      <p:sp>
        <p:nvSpPr>
          <p:cNvPr id="51" name="object 51"/>
          <p:cNvSpPr txBox="1"/>
          <p:nvPr/>
        </p:nvSpPr>
        <p:spPr>
          <a:xfrm>
            <a:off x="10838688" y="4201667"/>
            <a:ext cx="1036319" cy="500380"/>
          </a:xfrm>
          <a:prstGeom prst="rect">
            <a:avLst/>
          </a:prstGeom>
          <a:solidFill>
            <a:srgbClr val="CDEFFA"/>
          </a:solidFill>
          <a:ln w="9144">
            <a:solidFill>
              <a:srgbClr val="68D1F3"/>
            </a:solidFill>
          </a:ln>
        </p:spPr>
        <p:txBody>
          <a:bodyPr vert="horz" wrap="square" lIns="0" tIns="98425" rIns="0" bIns="0" rtlCol="0">
            <a:spAutoFit/>
          </a:bodyPr>
          <a:lstStyle/>
          <a:p>
            <a:pPr marL="116839" marR="107314" indent="251460">
              <a:lnSpc>
                <a:spcPct val="100000"/>
              </a:lnSpc>
              <a:spcBef>
                <a:spcPts val="775"/>
              </a:spcBef>
            </a:pPr>
            <a:r>
              <a:rPr sz="1000" spc="-5">
                <a:latin typeface="Verdana"/>
                <a:cs typeface="Verdana"/>
              </a:rPr>
              <a:t>Data  Ma</a:t>
            </a:r>
            <a:r>
              <a:rPr sz="1000" spc="10">
                <a:latin typeface="Verdana"/>
                <a:cs typeface="Verdana"/>
              </a:rPr>
              <a:t>i</a:t>
            </a:r>
            <a:r>
              <a:rPr sz="1000">
                <a:latin typeface="Verdana"/>
                <a:cs typeface="Verdana"/>
              </a:rPr>
              <a:t>n</a:t>
            </a:r>
            <a:r>
              <a:rPr sz="1000" spc="-5">
                <a:latin typeface="Verdana"/>
                <a:cs typeface="Verdana"/>
              </a:rPr>
              <a:t>t</a:t>
            </a:r>
            <a:r>
              <a:rPr sz="1000" spc="-15">
                <a:latin typeface="Verdana"/>
                <a:cs typeface="Verdana"/>
              </a:rPr>
              <a:t>e</a:t>
            </a:r>
            <a:r>
              <a:rPr sz="1000">
                <a:latin typeface="Verdana"/>
                <a:cs typeface="Verdana"/>
              </a:rPr>
              <a:t>n</a:t>
            </a:r>
            <a:r>
              <a:rPr sz="1000" spc="-5">
                <a:latin typeface="Verdana"/>
                <a:cs typeface="Verdana"/>
              </a:rPr>
              <a:t>a</a:t>
            </a:r>
            <a:r>
              <a:rPr sz="1000">
                <a:latin typeface="Verdana"/>
                <a:cs typeface="Verdana"/>
              </a:rPr>
              <a:t>n</a:t>
            </a:r>
            <a:r>
              <a:rPr sz="1000" spc="-5">
                <a:latin typeface="Verdana"/>
                <a:cs typeface="Verdana"/>
              </a:rPr>
              <a:t>ce</a:t>
            </a:r>
            <a:endParaRPr sz="1000">
              <a:latin typeface="Verdana"/>
              <a:cs typeface="Verdana"/>
            </a:endParaRPr>
          </a:p>
        </p:txBody>
      </p:sp>
      <p:sp>
        <p:nvSpPr>
          <p:cNvPr id="52" name="object 52"/>
          <p:cNvSpPr/>
          <p:nvPr/>
        </p:nvSpPr>
        <p:spPr>
          <a:xfrm>
            <a:off x="6557771" y="3159251"/>
            <a:ext cx="115188" cy="76200"/>
          </a:xfrm>
          <a:prstGeom prst="rect">
            <a:avLst/>
          </a:prstGeom>
          <a:blipFill>
            <a:blip r:embed="rId2" cstate="print"/>
            <a:stretch>
              <a:fillRect/>
            </a:stretch>
          </a:blipFill>
        </p:spPr>
        <p:txBody>
          <a:bodyPr wrap="square" lIns="0" tIns="0" rIns="0" bIns="0" rtlCol="0"/>
          <a:lstStyle/>
          <a:p>
            <a:endParaRPr/>
          </a:p>
        </p:txBody>
      </p:sp>
      <p:sp>
        <p:nvSpPr>
          <p:cNvPr id="53" name="object 53"/>
          <p:cNvSpPr/>
          <p:nvPr/>
        </p:nvSpPr>
        <p:spPr>
          <a:xfrm>
            <a:off x="5934455" y="3447288"/>
            <a:ext cx="76200" cy="127126"/>
          </a:xfrm>
          <a:prstGeom prst="rect">
            <a:avLst/>
          </a:prstGeom>
          <a:blipFill>
            <a:blip r:embed="rId3" cstate="print"/>
            <a:stretch>
              <a:fillRect/>
            </a:stretch>
          </a:blipFill>
        </p:spPr>
        <p:txBody>
          <a:bodyPr wrap="square" lIns="0" tIns="0" rIns="0" bIns="0" rtlCol="0"/>
          <a:lstStyle/>
          <a:p>
            <a:endParaRPr/>
          </a:p>
        </p:txBody>
      </p:sp>
      <p:sp>
        <p:nvSpPr>
          <p:cNvPr id="54" name="object 54"/>
          <p:cNvSpPr/>
          <p:nvPr/>
        </p:nvSpPr>
        <p:spPr>
          <a:xfrm>
            <a:off x="5934455" y="4075176"/>
            <a:ext cx="76200" cy="754380"/>
          </a:xfrm>
          <a:custGeom>
            <a:avLst/>
            <a:gdLst/>
            <a:ahLst/>
            <a:cxnLst/>
            <a:rect l="l" t="t" r="r" b="b"/>
            <a:pathLst>
              <a:path w="76200" h="754379">
                <a:moveTo>
                  <a:pt x="31750" y="677799"/>
                </a:moveTo>
                <a:lnTo>
                  <a:pt x="0" y="677799"/>
                </a:lnTo>
                <a:lnTo>
                  <a:pt x="38100" y="753999"/>
                </a:lnTo>
                <a:lnTo>
                  <a:pt x="69850" y="690499"/>
                </a:lnTo>
                <a:lnTo>
                  <a:pt x="31750" y="690499"/>
                </a:lnTo>
                <a:lnTo>
                  <a:pt x="31750" y="677799"/>
                </a:lnTo>
                <a:close/>
              </a:path>
              <a:path w="76200" h="754379">
                <a:moveTo>
                  <a:pt x="44450" y="0"/>
                </a:moveTo>
                <a:lnTo>
                  <a:pt x="31750" y="0"/>
                </a:lnTo>
                <a:lnTo>
                  <a:pt x="31750" y="690499"/>
                </a:lnTo>
                <a:lnTo>
                  <a:pt x="44450" y="690499"/>
                </a:lnTo>
                <a:lnTo>
                  <a:pt x="44450" y="0"/>
                </a:lnTo>
                <a:close/>
              </a:path>
              <a:path w="76200" h="754379">
                <a:moveTo>
                  <a:pt x="76200" y="677799"/>
                </a:moveTo>
                <a:lnTo>
                  <a:pt x="44450" y="677799"/>
                </a:lnTo>
                <a:lnTo>
                  <a:pt x="44450" y="690499"/>
                </a:lnTo>
                <a:lnTo>
                  <a:pt x="69850" y="690499"/>
                </a:lnTo>
                <a:lnTo>
                  <a:pt x="76200" y="677799"/>
                </a:lnTo>
                <a:close/>
              </a:path>
            </a:pathLst>
          </a:custGeom>
          <a:solidFill>
            <a:srgbClr val="A6A6A6"/>
          </a:solidFill>
        </p:spPr>
        <p:txBody>
          <a:bodyPr wrap="square" lIns="0" tIns="0" rIns="0" bIns="0" rtlCol="0"/>
          <a:lstStyle/>
          <a:p>
            <a:endParaRPr/>
          </a:p>
        </p:txBody>
      </p:sp>
      <p:sp>
        <p:nvSpPr>
          <p:cNvPr id="55" name="object 55"/>
          <p:cNvSpPr/>
          <p:nvPr/>
        </p:nvSpPr>
        <p:spPr>
          <a:xfrm>
            <a:off x="6557771" y="5041391"/>
            <a:ext cx="115188" cy="76200"/>
          </a:xfrm>
          <a:prstGeom prst="rect">
            <a:avLst/>
          </a:prstGeom>
          <a:blipFill>
            <a:blip r:embed="rId2" cstate="print"/>
            <a:stretch>
              <a:fillRect/>
            </a:stretch>
          </a:blipFill>
        </p:spPr>
        <p:txBody>
          <a:bodyPr wrap="square" lIns="0" tIns="0" rIns="0" bIns="0" rtlCol="0"/>
          <a:lstStyle/>
          <a:p>
            <a:endParaRPr/>
          </a:p>
        </p:txBody>
      </p:sp>
      <p:sp>
        <p:nvSpPr>
          <p:cNvPr id="56" name="object 56"/>
          <p:cNvSpPr/>
          <p:nvPr/>
        </p:nvSpPr>
        <p:spPr>
          <a:xfrm>
            <a:off x="7770876" y="5041391"/>
            <a:ext cx="122808" cy="76200"/>
          </a:xfrm>
          <a:prstGeom prst="rect">
            <a:avLst/>
          </a:prstGeom>
          <a:blipFill>
            <a:blip r:embed="rId4" cstate="print"/>
            <a:stretch>
              <a:fillRect/>
            </a:stretch>
          </a:blipFill>
        </p:spPr>
        <p:txBody>
          <a:bodyPr wrap="square" lIns="0" tIns="0" rIns="0" bIns="0" rtlCol="0"/>
          <a:lstStyle/>
          <a:p>
            <a:endParaRPr/>
          </a:p>
        </p:txBody>
      </p:sp>
      <p:sp>
        <p:nvSpPr>
          <p:cNvPr id="57" name="object 57"/>
          <p:cNvSpPr/>
          <p:nvPr/>
        </p:nvSpPr>
        <p:spPr>
          <a:xfrm>
            <a:off x="7184135" y="3447288"/>
            <a:ext cx="76200" cy="807720"/>
          </a:xfrm>
          <a:custGeom>
            <a:avLst/>
            <a:gdLst/>
            <a:ahLst/>
            <a:cxnLst/>
            <a:rect l="l" t="t" r="r" b="b"/>
            <a:pathLst>
              <a:path w="76200" h="807720">
                <a:moveTo>
                  <a:pt x="44450" y="63500"/>
                </a:moveTo>
                <a:lnTo>
                  <a:pt x="31750" y="63500"/>
                </a:lnTo>
                <a:lnTo>
                  <a:pt x="31750" y="807719"/>
                </a:lnTo>
                <a:lnTo>
                  <a:pt x="44450" y="807719"/>
                </a:lnTo>
                <a:lnTo>
                  <a:pt x="44450" y="63500"/>
                </a:lnTo>
                <a:close/>
              </a:path>
              <a:path w="76200" h="807720">
                <a:moveTo>
                  <a:pt x="38100" y="0"/>
                </a:moveTo>
                <a:lnTo>
                  <a:pt x="0" y="76200"/>
                </a:lnTo>
                <a:lnTo>
                  <a:pt x="31750" y="76200"/>
                </a:lnTo>
                <a:lnTo>
                  <a:pt x="31750" y="63500"/>
                </a:lnTo>
                <a:lnTo>
                  <a:pt x="69850" y="63500"/>
                </a:lnTo>
                <a:lnTo>
                  <a:pt x="38100" y="0"/>
                </a:lnTo>
                <a:close/>
              </a:path>
              <a:path w="76200" h="807720">
                <a:moveTo>
                  <a:pt x="69850" y="63500"/>
                </a:moveTo>
                <a:lnTo>
                  <a:pt x="44450" y="63500"/>
                </a:lnTo>
                <a:lnTo>
                  <a:pt x="44450" y="76200"/>
                </a:lnTo>
                <a:lnTo>
                  <a:pt x="76200" y="76200"/>
                </a:lnTo>
                <a:lnTo>
                  <a:pt x="69850" y="63500"/>
                </a:lnTo>
                <a:close/>
              </a:path>
            </a:pathLst>
          </a:custGeom>
          <a:solidFill>
            <a:srgbClr val="A6A6A6"/>
          </a:solidFill>
        </p:spPr>
        <p:txBody>
          <a:bodyPr wrap="square" lIns="0" tIns="0" rIns="0" bIns="0" rtlCol="0"/>
          <a:lstStyle/>
          <a:p>
            <a:endParaRPr/>
          </a:p>
        </p:txBody>
      </p:sp>
      <p:sp>
        <p:nvSpPr>
          <p:cNvPr id="58" name="object 58"/>
          <p:cNvSpPr/>
          <p:nvPr/>
        </p:nvSpPr>
        <p:spPr>
          <a:xfrm>
            <a:off x="7411211" y="3818890"/>
            <a:ext cx="482600" cy="499109"/>
          </a:xfrm>
          <a:custGeom>
            <a:avLst/>
            <a:gdLst/>
            <a:ahLst/>
            <a:cxnLst/>
            <a:rect l="l" t="t" r="r" b="b"/>
            <a:pathLst>
              <a:path w="482600" h="499110">
                <a:moveTo>
                  <a:pt x="31750" y="422529"/>
                </a:moveTo>
                <a:lnTo>
                  <a:pt x="0" y="422529"/>
                </a:lnTo>
                <a:lnTo>
                  <a:pt x="38100" y="498729"/>
                </a:lnTo>
                <a:lnTo>
                  <a:pt x="69850" y="435229"/>
                </a:lnTo>
                <a:lnTo>
                  <a:pt x="31750" y="435229"/>
                </a:lnTo>
                <a:lnTo>
                  <a:pt x="31750" y="422529"/>
                </a:lnTo>
                <a:close/>
              </a:path>
              <a:path w="482600" h="499110">
                <a:moveTo>
                  <a:pt x="482219" y="0"/>
                </a:moveTo>
                <a:lnTo>
                  <a:pt x="34544" y="0"/>
                </a:lnTo>
                <a:lnTo>
                  <a:pt x="31750" y="2793"/>
                </a:lnTo>
                <a:lnTo>
                  <a:pt x="31750" y="435229"/>
                </a:lnTo>
                <a:lnTo>
                  <a:pt x="44450" y="435229"/>
                </a:lnTo>
                <a:lnTo>
                  <a:pt x="44450" y="12700"/>
                </a:lnTo>
                <a:lnTo>
                  <a:pt x="38100" y="12700"/>
                </a:lnTo>
                <a:lnTo>
                  <a:pt x="44450" y="6350"/>
                </a:lnTo>
                <a:lnTo>
                  <a:pt x="482219" y="6350"/>
                </a:lnTo>
                <a:lnTo>
                  <a:pt x="482219" y="0"/>
                </a:lnTo>
                <a:close/>
              </a:path>
              <a:path w="482600" h="499110">
                <a:moveTo>
                  <a:pt x="76200" y="422529"/>
                </a:moveTo>
                <a:lnTo>
                  <a:pt x="44450" y="422529"/>
                </a:lnTo>
                <a:lnTo>
                  <a:pt x="44450" y="435229"/>
                </a:lnTo>
                <a:lnTo>
                  <a:pt x="69850" y="435229"/>
                </a:lnTo>
                <a:lnTo>
                  <a:pt x="76200" y="422529"/>
                </a:lnTo>
                <a:close/>
              </a:path>
              <a:path w="482600" h="499110">
                <a:moveTo>
                  <a:pt x="44450" y="6350"/>
                </a:moveTo>
                <a:lnTo>
                  <a:pt x="38100" y="12700"/>
                </a:lnTo>
                <a:lnTo>
                  <a:pt x="44450" y="12700"/>
                </a:lnTo>
                <a:lnTo>
                  <a:pt x="44450" y="6350"/>
                </a:lnTo>
                <a:close/>
              </a:path>
              <a:path w="482600" h="499110">
                <a:moveTo>
                  <a:pt x="482219" y="6350"/>
                </a:moveTo>
                <a:lnTo>
                  <a:pt x="44450" y="6350"/>
                </a:lnTo>
                <a:lnTo>
                  <a:pt x="44450" y="12700"/>
                </a:lnTo>
                <a:lnTo>
                  <a:pt x="482219" y="12700"/>
                </a:lnTo>
                <a:lnTo>
                  <a:pt x="482219" y="6350"/>
                </a:lnTo>
                <a:close/>
              </a:path>
            </a:pathLst>
          </a:custGeom>
          <a:solidFill>
            <a:srgbClr val="A6A6A6"/>
          </a:solidFill>
        </p:spPr>
        <p:txBody>
          <a:bodyPr wrap="square" lIns="0" tIns="0" rIns="0" bIns="0" rtlCol="0"/>
          <a:lstStyle/>
          <a:p>
            <a:endParaRPr/>
          </a:p>
        </p:txBody>
      </p:sp>
      <p:sp>
        <p:nvSpPr>
          <p:cNvPr id="59" name="object 59"/>
          <p:cNvSpPr/>
          <p:nvPr/>
        </p:nvSpPr>
        <p:spPr>
          <a:xfrm>
            <a:off x="7770876" y="3159251"/>
            <a:ext cx="122808" cy="76200"/>
          </a:xfrm>
          <a:prstGeom prst="rect">
            <a:avLst/>
          </a:prstGeom>
          <a:blipFill>
            <a:blip r:embed="rId4" cstate="print"/>
            <a:stretch>
              <a:fillRect/>
            </a:stretch>
          </a:blipFill>
        </p:spPr>
        <p:txBody>
          <a:bodyPr wrap="square" lIns="0" tIns="0" rIns="0" bIns="0" rtlCol="0"/>
          <a:lstStyle/>
          <a:p>
            <a:endParaRPr/>
          </a:p>
        </p:txBody>
      </p:sp>
      <p:sp>
        <p:nvSpPr>
          <p:cNvPr id="60" name="object 60"/>
          <p:cNvSpPr/>
          <p:nvPr/>
        </p:nvSpPr>
        <p:spPr>
          <a:xfrm>
            <a:off x="8404859" y="3447288"/>
            <a:ext cx="76200" cy="127126"/>
          </a:xfrm>
          <a:prstGeom prst="rect">
            <a:avLst/>
          </a:prstGeom>
          <a:blipFill>
            <a:blip r:embed="rId3" cstate="print"/>
            <a:stretch>
              <a:fillRect/>
            </a:stretch>
          </a:blipFill>
        </p:spPr>
        <p:txBody>
          <a:bodyPr wrap="square" lIns="0" tIns="0" rIns="0" bIns="0" rtlCol="0"/>
          <a:lstStyle/>
          <a:p>
            <a:endParaRPr/>
          </a:p>
        </p:txBody>
      </p:sp>
      <p:sp>
        <p:nvSpPr>
          <p:cNvPr id="61" name="object 61"/>
          <p:cNvSpPr/>
          <p:nvPr/>
        </p:nvSpPr>
        <p:spPr>
          <a:xfrm>
            <a:off x="8404859" y="4075176"/>
            <a:ext cx="76200" cy="180721"/>
          </a:xfrm>
          <a:prstGeom prst="rect">
            <a:avLst/>
          </a:prstGeom>
          <a:blipFill>
            <a:blip r:embed="rId5" cstate="print"/>
            <a:stretch>
              <a:fillRect/>
            </a:stretch>
          </a:blipFill>
        </p:spPr>
        <p:txBody>
          <a:bodyPr wrap="square" lIns="0" tIns="0" rIns="0" bIns="0" rtlCol="0"/>
          <a:lstStyle/>
          <a:p>
            <a:endParaRPr/>
          </a:p>
        </p:txBody>
      </p:sp>
      <p:sp>
        <p:nvSpPr>
          <p:cNvPr id="62" name="object 62"/>
          <p:cNvSpPr/>
          <p:nvPr/>
        </p:nvSpPr>
        <p:spPr>
          <a:xfrm>
            <a:off x="8991600" y="3161157"/>
            <a:ext cx="1846580" cy="76200"/>
          </a:xfrm>
          <a:custGeom>
            <a:avLst/>
            <a:gdLst/>
            <a:ahLst/>
            <a:cxnLst/>
            <a:rect l="l" t="t" r="r" b="b"/>
            <a:pathLst>
              <a:path w="1846579" h="76200">
                <a:moveTo>
                  <a:pt x="1770126" y="44436"/>
                </a:moveTo>
                <a:lnTo>
                  <a:pt x="1770126" y="76200"/>
                </a:lnTo>
                <a:lnTo>
                  <a:pt x="1833838" y="44450"/>
                </a:lnTo>
                <a:lnTo>
                  <a:pt x="1770126" y="44436"/>
                </a:lnTo>
                <a:close/>
              </a:path>
              <a:path w="1846579" h="76200">
                <a:moveTo>
                  <a:pt x="1770126" y="31736"/>
                </a:moveTo>
                <a:lnTo>
                  <a:pt x="1770126" y="44436"/>
                </a:lnTo>
                <a:lnTo>
                  <a:pt x="1782826" y="44450"/>
                </a:lnTo>
                <a:lnTo>
                  <a:pt x="1782826" y="31750"/>
                </a:lnTo>
                <a:lnTo>
                  <a:pt x="1770126" y="31736"/>
                </a:lnTo>
                <a:close/>
              </a:path>
              <a:path w="1846579" h="76200">
                <a:moveTo>
                  <a:pt x="1770126" y="0"/>
                </a:moveTo>
                <a:lnTo>
                  <a:pt x="1770126" y="31736"/>
                </a:lnTo>
                <a:lnTo>
                  <a:pt x="1782826" y="31750"/>
                </a:lnTo>
                <a:lnTo>
                  <a:pt x="1782826" y="44450"/>
                </a:lnTo>
                <a:lnTo>
                  <a:pt x="1833838" y="44450"/>
                </a:lnTo>
                <a:lnTo>
                  <a:pt x="1846326" y="38226"/>
                </a:lnTo>
                <a:lnTo>
                  <a:pt x="1770126" y="0"/>
                </a:lnTo>
                <a:close/>
              </a:path>
              <a:path w="1846579" h="76200">
                <a:moveTo>
                  <a:pt x="0" y="29844"/>
                </a:moveTo>
                <a:lnTo>
                  <a:pt x="0" y="42544"/>
                </a:lnTo>
                <a:lnTo>
                  <a:pt x="1770126" y="44436"/>
                </a:lnTo>
                <a:lnTo>
                  <a:pt x="1770126" y="31736"/>
                </a:lnTo>
                <a:lnTo>
                  <a:pt x="0" y="29844"/>
                </a:lnTo>
                <a:close/>
              </a:path>
            </a:pathLst>
          </a:custGeom>
          <a:solidFill>
            <a:srgbClr val="A6A6A6"/>
          </a:solidFill>
        </p:spPr>
        <p:txBody>
          <a:bodyPr wrap="square" lIns="0" tIns="0" rIns="0" bIns="0" rtlCol="0"/>
          <a:lstStyle/>
          <a:p>
            <a:endParaRPr/>
          </a:p>
        </p:txBody>
      </p:sp>
      <p:sp>
        <p:nvSpPr>
          <p:cNvPr id="63" name="object 63"/>
          <p:cNvSpPr/>
          <p:nvPr/>
        </p:nvSpPr>
        <p:spPr>
          <a:xfrm>
            <a:off x="9401556" y="4075176"/>
            <a:ext cx="76200" cy="754380"/>
          </a:xfrm>
          <a:custGeom>
            <a:avLst/>
            <a:gdLst/>
            <a:ahLst/>
            <a:cxnLst/>
            <a:rect l="l" t="t" r="r" b="b"/>
            <a:pathLst>
              <a:path w="76200" h="754379">
                <a:moveTo>
                  <a:pt x="44450" y="63500"/>
                </a:moveTo>
                <a:lnTo>
                  <a:pt x="31750" y="63500"/>
                </a:lnTo>
                <a:lnTo>
                  <a:pt x="31750" y="753999"/>
                </a:lnTo>
                <a:lnTo>
                  <a:pt x="44450" y="753999"/>
                </a:lnTo>
                <a:lnTo>
                  <a:pt x="44450" y="63500"/>
                </a:lnTo>
                <a:close/>
              </a:path>
              <a:path w="76200" h="754379">
                <a:moveTo>
                  <a:pt x="38100" y="0"/>
                </a:moveTo>
                <a:lnTo>
                  <a:pt x="0" y="76200"/>
                </a:lnTo>
                <a:lnTo>
                  <a:pt x="31750" y="76200"/>
                </a:lnTo>
                <a:lnTo>
                  <a:pt x="31750" y="63500"/>
                </a:lnTo>
                <a:lnTo>
                  <a:pt x="69850" y="63500"/>
                </a:lnTo>
                <a:lnTo>
                  <a:pt x="38100" y="0"/>
                </a:lnTo>
                <a:close/>
              </a:path>
              <a:path w="76200" h="754379">
                <a:moveTo>
                  <a:pt x="69850" y="63500"/>
                </a:moveTo>
                <a:lnTo>
                  <a:pt x="44450" y="63500"/>
                </a:lnTo>
                <a:lnTo>
                  <a:pt x="44450" y="76200"/>
                </a:lnTo>
                <a:lnTo>
                  <a:pt x="76200" y="76200"/>
                </a:lnTo>
                <a:lnTo>
                  <a:pt x="69850" y="63500"/>
                </a:lnTo>
                <a:close/>
              </a:path>
            </a:pathLst>
          </a:custGeom>
          <a:solidFill>
            <a:srgbClr val="A6A6A6"/>
          </a:solidFill>
        </p:spPr>
        <p:txBody>
          <a:bodyPr wrap="square" lIns="0" tIns="0" rIns="0" bIns="0" rtlCol="0"/>
          <a:lstStyle/>
          <a:p>
            <a:endParaRPr/>
          </a:p>
        </p:txBody>
      </p:sp>
      <p:sp>
        <p:nvSpPr>
          <p:cNvPr id="64" name="object 64"/>
          <p:cNvSpPr/>
          <p:nvPr/>
        </p:nvSpPr>
        <p:spPr>
          <a:xfrm>
            <a:off x="9820656" y="3787140"/>
            <a:ext cx="146685" cy="76200"/>
          </a:xfrm>
          <a:prstGeom prst="rect">
            <a:avLst/>
          </a:prstGeom>
          <a:blipFill>
            <a:blip r:embed="rId6" cstate="print"/>
            <a:stretch>
              <a:fillRect/>
            </a:stretch>
          </a:blipFill>
        </p:spPr>
        <p:txBody>
          <a:bodyPr wrap="square" lIns="0" tIns="0" rIns="0" bIns="0" rtlCol="0"/>
          <a:lstStyle/>
          <a:p>
            <a:endParaRPr/>
          </a:p>
        </p:txBody>
      </p:sp>
      <p:sp>
        <p:nvSpPr>
          <p:cNvPr id="65" name="object 65"/>
          <p:cNvSpPr/>
          <p:nvPr/>
        </p:nvSpPr>
        <p:spPr>
          <a:xfrm>
            <a:off x="11318747" y="3451859"/>
            <a:ext cx="76200" cy="750570"/>
          </a:xfrm>
          <a:custGeom>
            <a:avLst/>
            <a:gdLst/>
            <a:ahLst/>
            <a:cxnLst/>
            <a:rect l="l" t="t" r="r" b="b"/>
            <a:pathLst>
              <a:path w="76200" h="750570">
                <a:moveTo>
                  <a:pt x="31750" y="673862"/>
                </a:moveTo>
                <a:lnTo>
                  <a:pt x="0" y="673862"/>
                </a:lnTo>
                <a:lnTo>
                  <a:pt x="38100" y="750062"/>
                </a:lnTo>
                <a:lnTo>
                  <a:pt x="69850" y="686562"/>
                </a:lnTo>
                <a:lnTo>
                  <a:pt x="31750" y="686562"/>
                </a:lnTo>
                <a:lnTo>
                  <a:pt x="31750" y="673862"/>
                </a:lnTo>
                <a:close/>
              </a:path>
              <a:path w="76200" h="750570">
                <a:moveTo>
                  <a:pt x="44450" y="0"/>
                </a:moveTo>
                <a:lnTo>
                  <a:pt x="31750" y="0"/>
                </a:lnTo>
                <a:lnTo>
                  <a:pt x="31750" y="686562"/>
                </a:lnTo>
                <a:lnTo>
                  <a:pt x="44450" y="686562"/>
                </a:lnTo>
                <a:lnTo>
                  <a:pt x="44450" y="0"/>
                </a:lnTo>
                <a:close/>
              </a:path>
              <a:path w="76200" h="750570">
                <a:moveTo>
                  <a:pt x="76200" y="673862"/>
                </a:moveTo>
                <a:lnTo>
                  <a:pt x="44450" y="673862"/>
                </a:lnTo>
                <a:lnTo>
                  <a:pt x="44450" y="686562"/>
                </a:lnTo>
                <a:lnTo>
                  <a:pt x="69850" y="686562"/>
                </a:lnTo>
                <a:lnTo>
                  <a:pt x="76200" y="673862"/>
                </a:lnTo>
                <a:close/>
              </a:path>
            </a:pathLst>
          </a:custGeom>
          <a:solidFill>
            <a:srgbClr val="A6A6A6"/>
          </a:solidFill>
        </p:spPr>
        <p:txBody>
          <a:bodyPr wrap="square" lIns="0" tIns="0" rIns="0" bIns="0" rtlCol="0"/>
          <a:lstStyle/>
          <a:p>
            <a:endParaRPr/>
          </a:p>
        </p:txBody>
      </p:sp>
      <p:sp>
        <p:nvSpPr>
          <p:cNvPr id="66" name="object 66"/>
          <p:cNvSpPr/>
          <p:nvPr/>
        </p:nvSpPr>
        <p:spPr>
          <a:xfrm>
            <a:off x="5474208" y="5903976"/>
            <a:ext cx="1022985" cy="475615"/>
          </a:xfrm>
          <a:custGeom>
            <a:avLst/>
            <a:gdLst/>
            <a:ahLst/>
            <a:cxnLst/>
            <a:rect l="l" t="t" r="r" b="b"/>
            <a:pathLst>
              <a:path w="1022985" h="475614">
                <a:moveTo>
                  <a:pt x="957452" y="0"/>
                </a:moveTo>
                <a:lnTo>
                  <a:pt x="0" y="0"/>
                </a:lnTo>
                <a:lnTo>
                  <a:pt x="65150" y="237744"/>
                </a:lnTo>
                <a:lnTo>
                  <a:pt x="0" y="475488"/>
                </a:lnTo>
                <a:lnTo>
                  <a:pt x="957452" y="475488"/>
                </a:lnTo>
                <a:lnTo>
                  <a:pt x="1022603" y="237744"/>
                </a:lnTo>
                <a:lnTo>
                  <a:pt x="957452" y="0"/>
                </a:lnTo>
                <a:close/>
              </a:path>
            </a:pathLst>
          </a:custGeom>
          <a:solidFill>
            <a:srgbClr val="CDEFFA"/>
          </a:solidFill>
        </p:spPr>
        <p:txBody>
          <a:bodyPr wrap="square" lIns="0" tIns="0" rIns="0" bIns="0" rtlCol="0"/>
          <a:lstStyle/>
          <a:p>
            <a:endParaRPr/>
          </a:p>
        </p:txBody>
      </p:sp>
      <p:sp>
        <p:nvSpPr>
          <p:cNvPr id="67" name="object 67"/>
          <p:cNvSpPr/>
          <p:nvPr/>
        </p:nvSpPr>
        <p:spPr>
          <a:xfrm>
            <a:off x="5474208" y="5903976"/>
            <a:ext cx="1022985" cy="475615"/>
          </a:xfrm>
          <a:custGeom>
            <a:avLst/>
            <a:gdLst/>
            <a:ahLst/>
            <a:cxnLst/>
            <a:rect l="l" t="t" r="r" b="b"/>
            <a:pathLst>
              <a:path w="1022985" h="475614">
                <a:moveTo>
                  <a:pt x="0" y="0"/>
                </a:moveTo>
                <a:lnTo>
                  <a:pt x="957452" y="0"/>
                </a:lnTo>
                <a:lnTo>
                  <a:pt x="1022603" y="237744"/>
                </a:lnTo>
                <a:lnTo>
                  <a:pt x="957452" y="475488"/>
                </a:lnTo>
                <a:lnTo>
                  <a:pt x="0" y="475488"/>
                </a:lnTo>
                <a:lnTo>
                  <a:pt x="65150" y="237744"/>
                </a:lnTo>
                <a:lnTo>
                  <a:pt x="0" y="0"/>
                </a:lnTo>
                <a:close/>
              </a:path>
            </a:pathLst>
          </a:custGeom>
          <a:ln w="9143">
            <a:solidFill>
              <a:srgbClr val="68D1F3"/>
            </a:solidFill>
          </a:ln>
        </p:spPr>
        <p:txBody>
          <a:bodyPr wrap="square" lIns="0" tIns="0" rIns="0" bIns="0" rtlCol="0"/>
          <a:lstStyle/>
          <a:p>
            <a:endParaRPr/>
          </a:p>
        </p:txBody>
      </p:sp>
      <p:sp>
        <p:nvSpPr>
          <p:cNvPr id="68" name="object 68"/>
          <p:cNvSpPr txBox="1"/>
          <p:nvPr/>
        </p:nvSpPr>
        <p:spPr>
          <a:xfrm>
            <a:off x="5629402" y="5978144"/>
            <a:ext cx="715645" cy="330200"/>
          </a:xfrm>
          <a:prstGeom prst="rect">
            <a:avLst/>
          </a:prstGeom>
        </p:spPr>
        <p:txBody>
          <a:bodyPr vert="horz" wrap="square" lIns="0" tIns="12065" rIns="0" bIns="0" rtlCol="0">
            <a:spAutoFit/>
          </a:bodyPr>
          <a:lstStyle/>
          <a:p>
            <a:pPr marL="144780" marR="5080" indent="-132715">
              <a:lnSpc>
                <a:spcPct val="100000"/>
              </a:lnSpc>
              <a:spcBef>
                <a:spcPts val="95"/>
              </a:spcBef>
            </a:pPr>
            <a:r>
              <a:rPr sz="1000" spc="-5">
                <a:latin typeface="Verdana"/>
                <a:cs typeface="Verdana"/>
              </a:rPr>
              <a:t>1 –</a:t>
            </a:r>
            <a:r>
              <a:rPr sz="1000" spc="-75">
                <a:latin typeface="Verdana"/>
                <a:cs typeface="Verdana"/>
              </a:rPr>
              <a:t> </a:t>
            </a:r>
            <a:r>
              <a:rPr sz="1000" spc="-5">
                <a:latin typeface="Verdana"/>
                <a:cs typeface="Verdana"/>
              </a:rPr>
              <a:t>Source  Access</a:t>
            </a:r>
            <a:endParaRPr sz="1000">
              <a:latin typeface="Verdana"/>
              <a:cs typeface="Verdana"/>
            </a:endParaRPr>
          </a:p>
        </p:txBody>
      </p:sp>
      <p:sp>
        <p:nvSpPr>
          <p:cNvPr id="69" name="object 69"/>
          <p:cNvSpPr/>
          <p:nvPr/>
        </p:nvSpPr>
        <p:spPr>
          <a:xfrm>
            <a:off x="6528816" y="5903976"/>
            <a:ext cx="1022985" cy="475615"/>
          </a:xfrm>
          <a:custGeom>
            <a:avLst/>
            <a:gdLst/>
            <a:ahLst/>
            <a:cxnLst/>
            <a:rect l="l" t="t" r="r" b="b"/>
            <a:pathLst>
              <a:path w="1022984" h="475614">
                <a:moveTo>
                  <a:pt x="957452" y="0"/>
                </a:moveTo>
                <a:lnTo>
                  <a:pt x="0" y="0"/>
                </a:lnTo>
                <a:lnTo>
                  <a:pt x="65150" y="237744"/>
                </a:lnTo>
                <a:lnTo>
                  <a:pt x="0" y="475488"/>
                </a:lnTo>
                <a:lnTo>
                  <a:pt x="957452" y="475488"/>
                </a:lnTo>
                <a:lnTo>
                  <a:pt x="1022603" y="237744"/>
                </a:lnTo>
                <a:lnTo>
                  <a:pt x="957452" y="0"/>
                </a:lnTo>
                <a:close/>
              </a:path>
            </a:pathLst>
          </a:custGeom>
          <a:solidFill>
            <a:srgbClr val="CDEFFA"/>
          </a:solidFill>
        </p:spPr>
        <p:txBody>
          <a:bodyPr wrap="square" lIns="0" tIns="0" rIns="0" bIns="0" rtlCol="0"/>
          <a:lstStyle/>
          <a:p>
            <a:endParaRPr/>
          </a:p>
        </p:txBody>
      </p:sp>
      <p:sp>
        <p:nvSpPr>
          <p:cNvPr id="70" name="object 70"/>
          <p:cNvSpPr/>
          <p:nvPr/>
        </p:nvSpPr>
        <p:spPr>
          <a:xfrm>
            <a:off x="6528816" y="5903976"/>
            <a:ext cx="1022985" cy="475615"/>
          </a:xfrm>
          <a:custGeom>
            <a:avLst/>
            <a:gdLst/>
            <a:ahLst/>
            <a:cxnLst/>
            <a:rect l="l" t="t" r="r" b="b"/>
            <a:pathLst>
              <a:path w="1022984" h="475614">
                <a:moveTo>
                  <a:pt x="0" y="0"/>
                </a:moveTo>
                <a:lnTo>
                  <a:pt x="957452" y="0"/>
                </a:lnTo>
                <a:lnTo>
                  <a:pt x="1022603" y="237744"/>
                </a:lnTo>
                <a:lnTo>
                  <a:pt x="957452" y="475488"/>
                </a:lnTo>
                <a:lnTo>
                  <a:pt x="0" y="475488"/>
                </a:lnTo>
                <a:lnTo>
                  <a:pt x="65150" y="237744"/>
                </a:lnTo>
                <a:lnTo>
                  <a:pt x="0" y="0"/>
                </a:lnTo>
                <a:close/>
              </a:path>
            </a:pathLst>
          </a:custGeom>
          <a:ln w="9143">
            <a:solidFill>
              <a:srgbClr val="68D1F3"/>
            </a:solidFill>
          </a:ln>
        </p:spPr>
        <p:txBody>
          <a:bodyPr wrap="square" lIns="0" tIns="0" rIns="0" bIns="0" rtlCol="0"/>
          <a:lstStyle/>
          <a:p>
            <a:endParaRPr/>
          </a:p>
        </p:txBody>
      </p:sp>
      <p:sp>
        <p:nvSpPr>
          <p:cNvPr id="71" name="object 71"/>
          <p:cNvSpPr txBox="1"/>
          <p:nvPr/>
        </p:nvSpPr>
        <p:spPr>
          <a:xfrm>
            <a:off x="6719061" y="5978144"/>
            <a:ext cx="644525" cy="330200"/>
          </a:xfrm>
          <a:prstGeom prst="rect">
            <a:avLst/>
          </a:prstGeom>
        </p:spPr>
        <p:txBody>
          <a:bodyPr vert="horz" wrap="square" lIns="0" tIns="12065" rIns="0" bIns="0" rtlCol="0">
            <a:spAutoFit/>
          </a:bodyPr>
          <a:lstStyle/>
          <a:p>
            <a:pPr algn="ctr">
              <a:lnSpc>
                <a:spcPct val="100000"/>
              </a:lnSpc>
              <a:spcBef>
                <a:spcPts val="95"/>
              </a:spcBef>
            </a:pPr>
            <a:r>
              <a:rPr sz="1000" spc="-5">
                <a:latin typeface="Verdana"/>
                <a:cs typeface="Verdana"/>
              </a:rPr>
              <a:t>2</a:t>
            </a:r>
            <a:r>
              <a:rPr sz="1000" spc="-25">
                <a:latin typeface="Verdana"/>
                <a:cs typeface="Verdana"/>
              </a:rPr>
              <a:t> </a:t>
            </a:r>
            <a:r>
              <a:rPr sz="1000" spc="-5">
                <a:latin typeface="Verdana"/>
                <a:cs typeface="Verdana"/>
              </a:rPr>
              <a:t>-</a:t>
            </a:r>
            <a:endParaRPr sz="1000">
              <a:latin typeface="Verdana"/>
              <a:cs typeface="Verdana"/>
            </a:endParaRPr>
          </a:p>
          <a:p>
            <a:pPr algn="ctr">
              <a:lnSpc>
                <a:spcPct val="100000"/>
              </a:lnSpc>
            </a:pPr>
            <a:r>
              <a:rPr sz="1000" spc="-5">
                <a:latin typeface="Verdana"/>
                <a:cs typeface="Verdana"/>
              </a:rPr>
              <a:t>D</a:t>
            </a:r>
            <a:r>
              <a:rPr sz="1000" spc="10">
                <a:latin typeface="Verdana"/>
                <a:cs typeface="Verdana"/>
              </a:rPr>
              <a:t>i</a:t>
            </a:r>
            <a:r>
              <a:rPr sz="1000" spc="-5">
                <a:latin typeface="Verdana"/>
                <a:cs typeface="Verdana"/>
              </a:rPr>
              <a:t>s</a:t>
            </a:r>
            <a:r>
              <a:rPr sz="1000" spc="-15">
                <a:latin typeface="Verdana"/>
                <a:cs typeface="Verdana"/>
              </a:rPr>
              <a:t>c</a:t>
            </a:r>
            <a:r>
              <a:rPr sz="1000" spc="-10">
                <a:latin typeface="Verdana"/>
                <a:cs typeface="Verdana"/>
              </a:rPr>
              <a:t>o</a:t>
            </a:r>
            <a:r>
              <a:rPr sz="1000" spc="-5">
                <a:latin typeface="Verdana"/>
                <a:cs typeface="Verdana"/>
              </a:rPr>
              <a:t>v</a:t>
            </a:r>
            <a:r>
              <a:rPr sz="1000" spc="-15">
                <a:latin typeface="Verdana"/>
                <a:cs typeface="Verdana"/>
              </a:rPr>
              <a:t>e</a:t>
            </a:r>
            <a:r>
              <a:rPr sz="1000" spc="-10">
                <a:latin typeface="Verdana"/>
                <a:cs typeface="Verdana"/>
              </a:rPr>
              <a:t>r</a:t>
            </a:r>
            <a:r>
              <a:rPr sz="1000" spc="-5">
                <a:latin typeface="Verdana"/>
                <a:cs typeface="Verdana"/>
              </a:rPr>
              <a:t>y</a:t>
            </a:r>
            <a:endParaRPr sz="1000">
              <a:latin typeface="Verdana"/>
              <a:cs typeface="Verdana"/>
            </a:endParaRPr>
          </a:p>
        </p:txBody>
      </p:sp>
      <p:sp>
        <p:nvSpPr>
          <p:cNvPr id="72" name="object 72"/>
          <p:cNvSpPr/>
          <p:nvPr/>
        </p:nvSpPr>
        <p:spPr>
          <a:xfrm>
            <a:off x="7583423" y="5903976"/>
            <a:ext cx="1022985" cy="475615"/>
          </a:xfrm>
          <a:custGeom>
            <a:avLst/>
            <a:gdLst/>
            <a:ahLst/>
            <a:cxnLst/>
            <a:rect l="l" t="t" r="r" b="b"/>
            <a:pathLst>
              <a:path w="1022984" h="475614">
                <a:moveTo>
                  <a:pt x="957452" y="0"/>
                </a:moveTo>
                <a:lnTo>
                  <a:pt x="0" y="0"/>
                </a:lnTo>
                <a:lnTo>
                  <a:pt x="65150" y="237744"/>
                </a:lnTo>
                <a:lnTo>
                  <a:pt x="0" y="475488"/>
                </a:lnTo>
                <a:lnTo>
                  <a:pt x="957452" y="475488"/>
                </a:lnTo>
                <a:lnTo>
                  <a:pt x="1022603" y="237744"/>
                </a:lnTo>
                <a:lnTo>
                  <a:pt x="957452" y="0"/>
                </a:lnTo>
                <a:close/>
              </a:path>
            </a:pathLst>
          </a:custGeom>
          <a:solidFill>
            <a:srgbClr val="CDEFFA"/>
          </a:solidFill>
        </p:spPr>
        <p:txBody>
          <a:bodyPr wrap="square" lIns="0" tIns="0" rIns="0" bIns="0" rtlCol="0"/>
          <a:lstStyle/>
          <a:p>
            <a:endParaRPr/>
          </a:p>
        </p:txBody>
      </p:sp>
      <p:sp>
        <p:nvSpPr>
          <p:cNvPr id="73" name="object 73"/>
          <p:cNvSpPr/>
          <p:nvPr/>
        </p:nvSpPr>
        <p:spPr>
          <a:xfrm>
            <a:off x="7583423" y="5903976"/>
            <a:ext cx="1022985" cy="475615"/>
          </a:xfrm>
          <a:custGeom>
            <a:avLst/>
            <a:gdLst/>
            <a:ahLst/>
            <a:cxnLst/>
            <a:rect l="l" t="t" r="r" b="b"/>
            <a:pathLst>
              <a:path w="1022984" h="475614">
                <a:moveTo>
                  <a:pt x="0" y="0"/>
                </a:moveTo>
                <a:lnTo>
                  <a:pt x="957452" y="0"/>
                </a:lnTo>
                <a:lnTo>
                  <a:pt x="1022603" y="237744"/>
                </a:lnTo>
                <a:lnTo>
                  <a:pt x="957452" y="475488"/>
                </a:lnTo>
                <a:lnTo>
                  <a:pt x="0" y="475488"/>
                </a:lnTo>
                <a:lnTo>
                  <a:pt x="65150" y="237744"/>
                </a:lnTo>
                <a:lnTo>
                  <a:pt x="0" y="0"/>
                </a:lnTo>
                <a:close/>
              </a:path>
            </a:pathLst>
          </a:custGeom>
          <a:ln w="9143">
            <a:solidFill>
              <a:srgbClr val="68D1F3"/>
            </a:solidFill>
          </a:ln>
        </p:spPr>
        <p:txBody>
          <a:bodyPr wrap="square" lIns="0" tIns="0" rIns="0" bIns="0" rtlCol="0"/>
          <a:lstStyle/>
          <a:p>
            <a:endParaRPr/>
          </a:p>
        </p:txBody>
      </p:sp>
      <p:sp>
        <p:nvSpPr>
          <p:cNvPr id="74" name="object 74"/>
          <p:cNvSpPr txBox="1"/>
          <p:nvPr/>
        </p:nvSpPr>
        <p:spPr>
          <a:xfrm>
            <a:off x="7735316" y="5978144"/>
            <a:ext cx="719455" cy="330200"/>
          </a:xfrm>
          <a:prstGeom prst="rect">
            <a:avLst/>
          </a:prstGeom>
        </p:spPr>
        <p:txBody>
          <a:bodyPr vert="horz" wrap="square" lIns="0" tIns="12065" rIns="0" bIns="0" rtlCol="0">
            <a:spAutoFit/>
          </a:bodyPr>
          <a:lstStyle/>
          <a:p>
            <a:pPr marL="635" algn="ctr">
              <a:lnSpc>
                <a:spcPct val="100000"/>
              </a:lnSpc>
              <a:spcBef>
                <a:spcPts val="95"/>
              </a:spcBef>
            </a:pPr>
            <a:r>
              <a:rPr sz="1000" spc="-5">
                <a:latin typeface="Verdana"/>
                <a:cs typeface="Verdana"/>
              </a:rPr>
              <a:t>3</a:t>
            </a:r>
            <a:r>
              <a:rPr sz="1000" spc="-20">
                <a:latin typeface="Verdana"/>
                <a:cs typeface="Verdana"/>
              </a:rPr>
              <a:t> </a:t>
            </a:r>
            <a:r>
              <a:rPr sz="1000" spc="-5">
                <a:latin typeface="Verdana"/>
                <a:cs typeface="Verdana"/>
              </a:rPr>
              <a:t>-</a:t>
            </a:r>
            <a:endParaRPr sz="1000">
              <a:latin typeface="Verdana"/>
              <a:cs typeface="Verdana"/>
            </a:endParaRPr>
          </a:p>
          <a:p>
            <a:pPr algn="ctr">
              <a:lnSpc>
                <a:spcPct val="100000"/>
              </a:lnSpc>
            </a:pPr>
            <a:r>
              <a:rPr sz="1000" spc="-5">
                <a:latin typeface="Verdana"/>
                <a:cs typeface="Verdana"/>
              </a:rPr>
              <a:t>Acq</a:t>
            </a:r>
            <a:r>
              <a:rPr sz="1000">
                <a:latin typeface="Verdana"/>
                <a:cs typeface="Verdana"/>
              </a:rPr>
              <a:t>u</a:t>
            </a:r>
            <a:r>
              <a:rPr sz="1000" spc="5">
                <a:latin typeface="Verdana"/>
                <a:cs typeface="Verdana"/>
              </a:rPr>
              <a:t>i</a:t>
            </a:r>
            <a:r>
              <a:rPr sz="1000" spc="-5">
                <a:latin typeface="Verdana"/>
                <a:cs typeface="Verdana"/>
              </a:rPr>
              <a:t>s</a:t>
            </a:r>
            <a:r>
              <a:rPr sz="1000" spc="5">
                <a:latin typeface="Verdana"/>
                <a:cs typeface="Verdana"/>
              </a:rPr>
              <a:t>i</a:t>
            </a:r>
            <a:r>
              <a:rPr sz="1000" spc="-5">
                <a:latin typeface="Verdana"/>
                <a:cs typeface="Verdana"/>
              </a:rPr>
              <a:t>t</a:t>
            </a:r>
            <a:r>
              <a:rPr sz="1000" spc="5">
                <a:latin typeface="Verdana"/>
                <a:cs typeface="Verdana"/>
              </a:rPr>
              <a:t>i</a:t>
            </a:r>
            <a:r>
              <a:rPr sz="1000" spc="-10">
                <a:latin typeface="Verdana"/>
                <a:cs typeface="Verdana"/>
              </a:rPr>
              <a:t>o</a:t>
            </a:r>
            <a:r>
              <a:rPr sz="1000" spc="-5">
                <a:latin typeface="Verdana"/>
                <a:cs typeface="Verdana"/>
              </a:rPr>
              <a:t>n</a:t>
            </a:r>
            <a:endParaRPr sz="1000">
              <a:latin typeface="Verdana"/>
              <a:cs typeface="Verdana"/>
            </a:endParaRPr>
          </a:p>
        </p:txBody>
      </p:sp>
      <p:sp>
        <p:nvSpPr>
          <p:cNvPr id="75" name="object 75"/>
          <p:cNvSpPr/>
          <p:nvPr/>
        </p:nvSpPr>
        <p:spPr>
          <a:xfrm>
            <a:off x="8638031" y="5903976"/>
            <a:ext cx="1021080" cy="475615"/>
          </a:xfrm>
          <a:custGeom>
            <a:avLst/>
            <a:gdLst/>
            <a:ahLst/>
            <a:cxnLst/>
            <a:rect l="l" t="t" r="r" b="b"/>
            <a:pathLst>
              <a:path w="1021079" h="475614">
                <a:moveTo>
                  <a:pt x="955928" y="0"/>
                </a:moveTo>
                <a:lnTo>
                  <a:pt x="0" y="0"/>
                </a:lnTo>
                <a:lnTo>
                  <a:pt x="65150" y="237744"/>
                </a:lnTo>
                <a:lnTo>
                  <a:pt x="0" y="475488"/>
                </a:lnTo>
                <a:lnTo>
                  <a:pt x="955928" y="475488"/>
                </a:lnTo>
                <a:lnTo>
                  <a:pt x="1021079" y="237744"/>
                </a:lnTo>
                <a:lnTo>
                  <a:pt x="955928" y="0"/>
                </a:lnTo>
                <a:close/>
              </a:path>
            </a:pathLst>
          </a:custGeom>
          <a:solidFill>
            <a:srgbClr val="CDEFFA"/>
          </a:solidFill>
        </p:spPr>
        <p:txBody>
          <a:bodyPr wrap="square" lIns="0" tIns="0" rIns="0" bIns="0" rtlCol="0"/>
          <a:lstStyle/>
          <a:p>
            <a:endParaRPr/>
          </a:p>
        </p:txBody>
      </p:sp>
      <p:sp>
        <p:nvSpPr>
          <p:cNvPr id="76" name="object 76"/>
          <p:cNvSpPr/>
          <p:nvPr/>
        </p:nvSpPr>
        <p:spPr>
          <a:xfrm>
            <a:off x="8638031" y="5903976"/>
            <a:ext cx="1021080" cy="475615"/>
          </a:xfrm>
          <a:custGeom>
            <a:avLst/>
            <a:gdLst/>
            <a:ahLst/>
            <a:cxnLst/>
            <a:rect l="l" t="t" r="r" b="b"/>
            <a:pathLst>
              <a:path w="1021079" h="475614">
                <a:moveTo>
                  <a:pt x="0" y="0"/>
                </a:moveTo>
                <a:lnTo>
                  <a:pt x="955928" y="0"/>
                </a:lnTo>
                <a:lnTo>
                  <a:pt x="1021079" y="237744"/>
                </a:lnTo>
                <a:lnTo>
                  <a:pt x="955928" y="475488"/>
                </a:lnTo>
                <a:lnTo>
                  <a:pt x="0" y="475488"/>
                </a:lnTo>
                <a:lnTo>
                  <a:pt x="65150" y="237744"/>
                </a:lnTo>
                <a:lnTo>
                  <a:pt x="0" y="0"/>
                </a:lnTo>
                <a:close/>
              </a:path>
            </a:pathLst>
          </a:custGeom>
          <a:ln w="9144">
            <a:solidFill>
              <a:srgbClr val="68D1F3"/>
            </a:solidFill>
          </a:ln>
        </p:spPr>
        <p:txBody>
          <a:bodyPr wrap="square" lIns="0" tIns="0" rIns="0" bIns="0" rtlCol="0"/>
          <a:lstStyle/>
          <a:p>
            <a:endParaRPr/>
          </a:p>
        </p:txBody>
      </p:sp>
      <p:sp>
        <p:nvSpPr>
          <p:cNvPr id="77" name="object 77"/>
          <p:cNvSpPr txBox="1"/>
          <p:nvPr/>
        </p:nvSpPr>
        <p:spPr>
          <a:xfrm>
            <a:off x="8725916" y="6054344"/>
            <a:ext cx="84772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4 -</a:t>
            </a:r>
            <a:r>
              <a:rPr sz="1000" spc="-50">
                <a:latin typeface="Verdana"/>
                <a:cs typeface="Verdana"/>
              </a:rPr>
              <a:t> </a:t>
            </a:r>
            <a:r>
              <a:rPr sz="1000" spc="-5">
                <a:latin typeface="Verdana"/>
                <a:cs typeface="Verdana"/>
              </a:rPr>
              <a:t>Migration</a:t>
            </a:r>
            <a:endParaRPr sz="1000">
              <a:latin typeface="Verdana"/>
              <a:cs typeface="Verdana"/>
            </a:endParaRPr>
          </a:p>
        </p:txBody>
      </p:sp>
      <p:sp>
        <p:nvSpPr>
          <p:cNvPr id="78" name="object 78"/>
          <p:cNvSpPr/>
          <p:nvPr/>
        </p:nvSpPr>
        <p:spPr>
          <a:xfrm>
            <a:off x="9692640" y="5903976"/>
            <a:ext cx="1021080" cy="475615"/>
          </a:xfrm>
          <a:custGeom>
            <a:avLst/>
            <a:gdLst/>
            <a:ahLst/>
            <a:cxnLst/>
            <a:rect l="l" t="t" r="r" b="b"/>
            <a:pathLst>
              <a:path w="1021079" h="475614">
                <a:moveTo>
                  <a:pt x="955928" y="0"/>
                </a:moveTo>
                <a:lnTo>
                  <a:pt x="0" y="0"/>
                </a:lnTo>
                <a:lnTo>
                  <a:pt x="65150" y="237744"/>
                </a:lnTo>
                <a:lnTo>
                  <a:pt x="0" y="475488"/>
                </a:lnTo>
                <a:lnTo>
                  <a:pt x="955928" y="475488"/>
                </a:lnTo>
                <a:lnTo>
                  <a:pt x="1021079" y="237744"/>
                </a:lnTo>
                <a:lnTo>
                  <a:pt x="955928" y="0"/>
                </a:lnTo>
                <a:close/>
              </a:path>
            </a:pathLst>
          </a:custGeom>
          <a:solidFill>
            <a:srgbClr val="CDEFFA"/>
          </a:solidFill>
        </p:spPr>
        <p:txBody>
          <a:bodyPr wrap="square" lIns="0" tIns="0" rIns="0" bIns="0" rtlCol="0"/>
          <a:lstStyle/>
          <a:p>
            <a:endParaRPr/>
          </a:p>
        </p:txBody>
      </p:sp>
      <p:sp>
        <p:nvSpPr>
          <p:cNvPr id="79" name="object 79"/>
          <p:cNvSpPr/>
          <p:nvPr/>
        </p:nvSpPr>
        <p:spPr>
          <a:xfrm>
            <a:off x="9692640" y="5903976"/>
            <a:ext cx="1021080" cy="475615"/>
          </a:xfrm>
          <a:custGeom>
            <a:avLst/>
            <a:gdLst/>
            <a:ahLst/>
            <a:cxnLst/>
            <a:rect l="l" t="t" r="r" b="b"/>
            <a:pathLst>
              <a:path w="1021079" h="475614">
                <a:moveTo>
                  <a:pt x="0" y="0"/>
                </a:moveTo>
                <a:lnTo>
                  <a:pt x="955928" y="0"/>
                </a:lnTo>
                <a:lnTo>
                  <a:pt x="1021079" y="237744"/>
                </a:lnTo>
                <a:lnTo>
                  <a:pt x="955928" y="475488"/>
                </a:lnTo>
                <a:lnTo>
                  <a:pt x="0" y="475488"/>
                </a:lnTo>
                <a:lnTo>
                  <a:pt x="65150" y="237744"/>
                </a:lnTo>
                <a:lnTo>
                  <a:pt x="0" y="0"/>
                </a:lnTo>
                <a:close/>
              </a:path>
            </a:pathLst>
          </a:custGeom>
          <a:ln w="9144">
            <a:solidFill>
              <a:srgbClr val="68D1F3"/>
            </a:solidFill>
          </a:ln>
        </p:spPr>
        <p:txBody>
          <a:bodyPr wrap="square" lIns="0" tIns="0" rIns="0" bIns="0" rtlCol="0"/>
          <a:lstStyle/>
          <a:p>
            <a:endParaRPr/>
          </a:p>
        </p:txBody>
      </p:sp>
      <p:sp>
        <p:nvSpPr>
          <p:cNvPr id="80" name="object 80"/>
          <p:cNvSpPr txBox="1"/>
          <p:nvPr/>
        </p:nvSpPr>
        <p:spPr>
          <a:xfrm>
            <a:off x="9926828" y="6054344"/>
            <a:ext cx="55435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5 -</a:t>
            </a:r>
            <a:r>
              <a:rPr sz="1000" spc="-85">
                <a:latin typeface="Verdana"/>
                <a:cs typeface="Verdana"/>
              </a:rPr>
              <a:t> </a:t>
            </a:r>
            <a:r>
              <a:rPr sz="1000" spc="-5">
                <a:latin typeface="Verdana"/>
                <a:cs typeface="Verdana"/>
              </a:rPr>
              <a:t>Load</a:t>
            </a:r>
            <a:endParaRPr sz="1000">
              <a:latin typeface="Verdana"/>
              <a:cs typeface="Verdana"/>
            </a:endParaRPr>
          </a:p>
        </p:txBody>
      </p:sp>
      <p:sp>
        <p:nvSpPr>
          <p:cNvPr id="81" name="object 81"/>
          <p:cNvSpPr/>
          <p:nvPr/>
        </p:nvSpPr>
        <p:spPr>
          <a:xfrm>
            <a:off x="10747247" y="5903976"/>
            <a:ext cx="1021080" cy="475615"/>
          </a:xfrm>
          <a:custGeom>
            <a:avLst/>
            <a:gdLst/>
            <a:ahLst/>
            <a:cxnLst/>
            <a:rect l="l" t="t" r="r" b="b"/>
            <a:pathLst>
              <a:path w="1021079" h="475614">
                <a:moveTo>
                  <a:pt x="955928" y="0"/>
                </a:moveTo>
                <a:lnTo>
                  <a:pt x="0" y="0"/>
                </a:lnTo>
                <a:lnTo>
                  <a:pt x="65150" y="237744"/>
                </a:lnTo>
                <a:lnTo>
                  <a:pt x="0" y="475488"/>
                </a:lnTo>
                <a:lnTo>
                  <a:pt x="955928" y="475488"/>
                </a:lnTo>
                <a:lnTo>
                  <a:pt x="1021079" y="237744"/>
                </a:lnTo>
                <a:lnTo>
                  <a:pt x="955928" y="0"/>
                </a:lnTo>
                <a:close/>
              </a:path>
            </a:pathLst>
          </a:custGeom>
          <a:solidFill>
            <a:srgbClr val="CDEFFA"/>
          </a:solidFill>
        </p:spPr>
        <p:txBody>
          <a:bodyPr wrap="square" lIns="0" tIns="0" rIns="0" bIns="0" rtlCol="0"/>
          <a:lstStyle/>
          <a:p>
            <a:endParaRPr/>
          </a:p>
        </p:txBody>
      </p:sp>
      <p:sp>
        <p:nvSpPr>
          <p:cNvPr id="82" name="object 82"/>
          <p:cNvSpPr/>
          <p:nvPr/>
        </p:nvSpPr>
        <p:spPr>
          <a:xfrm>
            <a:off x="10747247" y="5903976"/>
            <a:ext cx="1021080" cy="475615"/>
          </a:xfrm>
          <a:custGeom>
            <a:avLst/>
            <a:gdLst/>
            <a:ahLst/>
            <a:cxnLst/>
            <a:rect l="l" t="t" r="r" b="b"/>
            <a:pathLst>
              <a:path w="1021079" h="475614">
                <a:moveTo>
                  <a:pt x="0" y="0"/>
                </a:moveTo>
                <a:lnTo>
                  <a:pt x="955928" y="0"/>
                </a:lnTo>
                <a:lnTo>
                  <a:pt x="1021079" y="237744"/>
                </a:lnTo>
                <a:lnTo>
                  <a:pt x="955928" y="475488"/>
                </a:lnTo>
                <a:lnTo>
                  <a:pt x="0" y="475488"/>
                </a:lnTo>
                <a:lnTo>
                  <a:pt x="65150" y="237744"/>
                </a:lnTo>
                <a:lnTo>
                  <a:pt x="0" y="0"/>
                </a:lnTo>
                <a:close/>
              </a:path>
            </a:pathLst>
          </a:custGeom>
          <a:ln w="9144">
            <a:solidFill>
              <a:srgbClr val="68D1F3"/>
            </a:solidFill>
          </a:ln>
        </p:spPr>
        <p:txBody>
          <a:bodyPr wrap="square" lIns="0" tIns="0" rIns="0" bIns="0" rtlCol="0"/>
          <a:lstStyle/>
          <a:p>
            <a:endParaRPr/>
          </a:p>
        </p:txBody>
      </p:sp>
      <p:sp>
        <p:nvSpPr>
          <p:cNvPr id="83" name="object 83"/>
          <p:cNvSpPr txBox="1"/>
          <p:nvPr/>
        </p:nvSpPr>
        <p:spPr>
          <a:xfrm>
            <a:off x="10831830" y="6054344"/>
            <a:ext cx="855344"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6-</a:t>
            </a:r>
            <a:r>
              <a:rPr sz="1000" spc="-40">
                <a:latin typeface="Verdana"/>
                <a:cs typeface="Verdana"/>
              </a:rPr>
              <a:t> </a:t>
            </a:r>
            <a:r>
              <a:rPr sz="1000" spc="-10">
                <a:latin typeface="Verdana"/>
                <a:cs typeface="Verdana"/>
              </a:rPr>
              <a:t>Hypercare</a:t>
            </a:r>
            <a:endParaRPr sz="1000">
              <a:latin typeface="Verdana"/>
              <a:cs typeface="Verdana"/>
            </a:endParaRPr>
          </a:p>
        </p:txBody>
      </p:sp>
      <p:sp>
        <p:nvSpPr>
          <p:cNvPr id="84" name="object 84"/>
          <p:cNvSpPr/>
          <p:nvPr/>
        </p:nvSpPr>
        <p:spPr>
          <a:xfrm>
            <a:off x="5294376" y="5426964"/>
            <a:ext cx="6656832" cy="118872"/>
          </a:xfrm>
          <a:prstGeom prst="rect">
            <a:avLst/>
          </a:prstGeom>
          <a:blipFill>
            <a:blip r:embed="rId7" cstate="print"/>
            <a:stretch>
              <a:fillRect/>
            </a:stretch>
          </a:blipFill>
        </p:spPr>
        <p:txBody>
          <a:bodyPr wrap="square" lIns="0" tIns="0" rIns="0" bIns="0" rtlCol="0"/>
          <a:lstStyle/>
          <a:p>
            <a:endParaRPr/>
          </a:p>
        </p:txBody>
      </p:sp>
      <p:sp>
        <p:nvSpPr>
          <p:cNvPr id="85" name="object 85"/>
          <p:cNvSpPr/>
          <p:nvPr/>
        </p:nvSpPr>
        <p:spPr>
          <a:xfrm>
            <a:off x="5328665" y="5456682"/>
            <a:ext cx="6588759" cy="13970"/>
          </a:xfrm>
          <a:custGeom>
            <a:avLst/>
            <a:gdLst/>
            <a:ahLst/>
            <a:cxnLst/>
            <a:rect l="l" t="t" r="r" b="b"/>
            <a:pathLst>
              <a:path w="6588759" h="13970">
                <a:moveTo>
                  <a:pt x="0" y="13589"/>
                </a:moveTo>
                <a:lnTo>
                  <a:pt x="6588379" y="0"/>
                </a:lnTo>
              </a:path>
            </a:pathLst>
          </a:custGeom>
          <a:ln w="38100">
            <a:solidFill>
              <a:srgbClr val="7E7E7E"/>
            </a:solidFill>
          </a:ln>
        </p:spPr>
        <p:txBody>
          <a:bodyPr wrap="square" lIns="0" tIns="0" rIns="0" bIns="0" rtlCol="0"/>
          <a:lstStyle/>
          <a:p>
            <a:endParaRPr/>
          </a:p>
        </p:txBody>
      </p:sp>
      <p:sp>
        <p:nvSpPr>
          <p:cNvPr id="86" name="object 86"/>
          <p:cNvSpPr txBox="1"/>
          <p:nvPr/>
        </p:nvSpPr>
        <p:spPr>
          <a:xfrm>
            <a:off x="227075" y="1129283"/>
            <a:ext cx="11689080" cy="646430"/>
          </a:xfrm>
          <a:prstGeom prst="rect">
            <a:avLst/>
          </a:prstGeom>
          <a:solidFill>
            <a:srgbClr val="421F5D"/>
          </a:solidFill>
        </p:spPr>
        <p:txBody>
          <a:bodyPr vert="horz" wrap="square" lIns="0" tIns="44450" rIns="0" bIns="0" rtlCol="0">
            <a:spAutoFit/>
          </a:bodyPr>
          <a:lstStyle/>
          <a:p>
            <a:pPr marL="416559" marR="147320" algn="ctr">
              <a:lnSpc>
                <a:spcPct val="100000"/>
              </a:lnSpc>
              <a:spcBef>
                <a:spcPts val="350"/>
              </a:spcBef>
            </a:pPr>
            <a:r>
              <a:rPr sz="1200" spc="-10">
                <a:solidFill>
                  <a:srgbClr val="FFFFFF"/>
                </a:solidFill>
                <a:latin typeface="Verdana"/>
                <a:cs typeface="Verdana"/>
              </a:rPr>
              <a:t>Capgemini’s </a:t>
            </a:r>
            <a:r>
              <a:rPr sz="1200" spc="-5">
                <a:solidFill>
                  <a:srgbClr val="FFFFFF"/>
                </a:solidFill>
                <a:latin typeface="Verdana"/>
                <a:cs typeface="Verdana"/>
              </a:rPr>
              <a:t>approach to </a:t>
            </a:r>
            <a:r>
              <a:rPr sz="1200" spc="-10">
                <a:solidFill>
                  <a:srgbClr val="FFFFFF"/>
                </a:solidFill>
                <a:latin typeface="Verdana"/>
                <a:cs typeface="Verdana"/>
              </a:rPr>
              <a:t>migration </a:t>
            </a:r>
            <a:r>
              <a:rPr sz="1200" spc="-5">
                <a:solidFill>
                  <a:srgbClr val="FFFFFF"/>
                </a:solidFill>
                <a:latin typeface="Verdana"/>
                <a:cs typeface="Verdana"/>
              </a:rPr>
              <a:t>is </a:t>
            </a:r>
            <a:r>
              <a:rPr sz="1200">
                <a:solidFill>
                  <a:srgbClr val="FFFFFF"/>
                </a:solidFill>
                <a:latin typeface="Verdana"/>
                <a:cs typeface="Verdana"/>
              </a:rPr>
              <a:t>a </a:t>
            </a:r>
            <a:r>
              <a:rPr sz="1200" spc="-5">
                <a:solidFill>
                  <a:srgbClr val="FFFFFF"/>
                </a:solidFill>
                <a:latin typeface="Verdana"/>
                <a:cs typeface="Verdana"/>
              </a:rPr>
              <a:t>blend </a:t>
            </a:r>
            <a:r>
              <a:rPr sz="1200">
                <a:solidFill>
                  <a:srgbClr val="FFFFFF"/>
                </a:solidFill>
                <a:latin typeface="Verdana"/>
                <a:cs typeface="Verdana"/>
              </a:rPr>
              <a:t>of </a:t>
            </a:r>
            <a:r>
              <a:rPr sz="1200" spc="-5">
                <a:solidFill>
                  <a:srgbClr val="FFFFFF"/>
                </a:solidFill>
                <a:latin typeface="Verdana"/>
                <a:cs typeface="Verdana"/>
              </a:rPr>
              <a:t>our methodologies, processes and dedicated </a:t>
            </a:r>
            <a:r>
              <a:rPr sz="1200">
                <a:solidFill>
                  <a:srgbClr val="FFFFFF"/>
                </a:solidFill>
                <a:latin typeface="Verdana"/>
                <a:cs typeface="Verdana"/>
              </a:rPr>
              <a:t>resources </a:t>
            </a:r>
            <a:r>
              <a:rPr sz="1200" spc="-5">
                <a:solidFill>
                  <a:srgbClr val="FFFFFF"/>
                </a:solidFill>
                <a:latin typeface="Verdana"/>
                <a:cs typeface="Verdana"/>
              </a:rPr>
              <a:t>supported by </a:t>
            </a:r>
            <a:r>
              <a:rPr sz="1200">
                <a:solidFill>
                  <a:srgbClr val="FFFFFF"/>
                </a:solidFill>
                <a:latin typeface="Verdana"/>
                <a:cs typeface="Verdana"/>
              </a:rPr>
              <a:t>a </a:t>
            </a:r>
            <a:r>
              <a:rPr sz="1200" spc="-5">
                <a:solidFill>
                  <a:srgbClr val="FFFFFF"/>
                </a:solidFill>
                <a:latin typeface="Verdana"/>
                <a:cs typeface="Verdana"/>
              </a:rPr>
              <a:t>suite </a:t>
            </a:r>
            <a:r>
              <a:rPr sz="1200">
                <a:solidFill>
                  <a:srgbClr val="FFFFFF"/>
                </a:solidFill>
                <a:latin typeface="Verdana"/>
                <a:cs typeface="Verdana"/>
              </a:rPr>
              <a:t>of </a:t>
            </a:r>
            <a:r>
              <a:rPr sz="1200" spc="-10">
                <a:solidFill>
                  <a:srgbClr val="FFFFFF"/>
                </a:solidFill>
                <a:latin typeface="Verdana"/>
                <a:cs typeface="Verdana"/>
              </a:rPr>
              <a:t>integration </a:t>
            </a:r>
            <a:r>
              <a:rPr sz="1200" spc="-5">
                <a:solidFill>
                  <a:srgbClr val="FFFFFF"/>
                </a:solidFill>
                <a:latin typeface="Verdana"/>
                <a:cs typeface="Verdana"/>
              </a:rPr>
              <a:t>tools.  The approach significantly reduces manual interventions in </a:t>
            </a:r>
            <a:r>
              <a:rPr sz="1200" spc="-10">
                <a:solidFill>
                  <a:srgbClr val="FFFFFF"/>
                </a:solidFill>
                <a:latin typeface="Verdana"/>
                <a:cs typeface="Verdana"/>
              </a:rPr>
              <a:t>favour </a:t>
            </a:r>
            <a:r>
              <a:rPr sz="1200">
                <a:solidFill>
                  <a:srgbClr val="FFFFFF"/>
                </a:solidFill>
                <a:latin typeface="Verdana"/>
                <a:cs typeface="Verdana"/>
              </a:rPr>
              <a:t>of rule-based </a:t>
            </a:r>
            <a:r>
              <a:rPr sz="1200" spc="-5">
                <a:solidFill>
                  <a:srgbClr val="FFFFFF"/>
                </a:solidFill>
                <a:latin typeface="Verdana"/>
                <a:cs typeface="Verdana"/>
              </a:rPr>
              <a:t>cleansing, matching, merging, consolidation and </a:t>
            </a:r>
            <a:r>
              <a:rPr sz="1200" spc="-10">
                <a:solidFill>
                  <a:srgbClr val="FFFFFF"/>
                </a:solidFill>
                <a:latin typeface="Verdana"/>
                <a:cs typeface="Verdana"/>
              </a:rPr>
              <a:t>transformation  </a:t>
            </a:r>
            <a:r>
              <a:rPr sz="1200">
                <a:solidFill>
                  <a:srgbClr val="FFFFFF"/>
                </a:solidFill>
                <a:latin typeface="Verdana"/>
                <a:cs typeface="Verdana"/>
              </a:rPr>
              <a:t>of </a:t>
            </a:r>
            <a:r>
              <a:rPr sz="1200" spc="-5">
                <a:solidFill>
                  <a:srgbClr val="FFFFFF"/>
                </a:solidFill>
                <a:latin typeface="Verdana"/>
                <a:cs typeface="Verdana"/>
              </a:rPr>
              <a:t>data. </a:t>
            </a:r>
            <a:r>
              <a:rPr sz="1200">
                <a:solidFill>
                  <a:srgbClr val="FFFFFF"/>
                </a:solidFill>
                <a:latin typeface="Verdana"/>
                <a:cs typeface="Verdana"/>
              </a:rPr>
              <a:t>Based on best </a:t>
            </a:r>
            <a:r>
              <a:rPr sz="1200" spc="-10">
                <a:solidFill>
                  <a:srgbClr val="FFFFFF"/>
                </a:solidFill>
                <a:latin typeface="Verdana"/>
                <a:cs typeface="Verdana"/>
              </a:rPr>
              <a:t>practices </a:t>
            </a:r>
            <a:r>
              <a:rPr sz="1200" spc="-5">
                <a:solidFill>
                  <a:srgbClr val="FFFFFF"/>
                </a:solidFill>
                <a:latin typeface="Verdana"/>
                <a:cs typeface="Verdana"/>
              </a:rPr>
              <a:t>in data </a:t>
            </a:r>
            <a:r>
              <a:rPr sz="1200" spc="-10">
                <a:solidFill>
                  <a:srgbClr val="FFFFFF"/>
                </a:solidFill>
                <a:latin typeface="Verdana"/>
                <a:cs typeface="Verdana"/>
              </a:rPr>
              <a:t>migration </a:t>
            </a:r>
            <a:r>
              <a:rPr sz="1200" spc="-5">
                <a:solidFill>
                  <a:srgbClr val="FFFFFF"/>
                </a:solidFill>
                <a:latin typeface="Verdana"/>
                <a:cs typeface="Verdana"/>
              </a:rPr>
              <a:t>projects </a:t>
            </a:r>
            <a:r>
              <a:rPr sz="1200">
                <a:solidFill>
                  <a:srgbClr val="FFFFFF"/>
                </a:solidFill>
                <a:latin typeface="Verdana"/>
                <a:cs typeface="Verdana"/>
              </a:rPr>
              <a:t>a </a:t>
            </a:r>
            <a:r>
              <a:rPr sz="1200" spc="-5">
                <a:solidFill>
                  <a:srgbClr val="FFFFFF"/>
                </a:solidFill>
                <a:latin typeface="Verdana"/>
                <a:cs typeface="Verdana"/>
              </a:rPr>
              <a:t>methodology </a:t>
            </a:r>
            <a:r>
              <a:rPr sz="1200">
                <a:solidFill>
                  <a:srgbClr val="FFFFFF"/>
                </a:solidFill>
                <a:latin typeface="Verdana"/>
                <a:cs typeface="Verdana"/>
              </a:rPr>
              <a:t>for </a:t>
            </a:r>
            <a:r>
              <a:rPr sz="1200" spc="-5">
                <a:solidFill>
                  <a:srgbClr val="FFFFFF"/>
                </a:solidFill>
                <a:latin typeface="Verdana"/>
                <a:cs typeface="Verdana"/>
              </a:rPr>
              <a:t>Data </a:t>
            </a:r>
            <a:r>
              <a:rPr sz="1200" spc="-10">
                <a:solidFill>
                  <a:srgbClr val="FFFFFF"/>
                </a:solidFill>
                <a:latin typeface="Verdana"/>
                <a:cs typeface="Verdana"/>
              </a:rPr>
              <a:t>Migrations </a:t>
            </a:r>
            <a:r>
              <a:rPr sz="1200" spc="-5">
                <a:solidFill>
                  <a:srgbClr val="FFFFFF"/>
                </a:solidFill>
                <a:latin typeface="Verdana"/>
                <a:cs typeface="Verdana"/>
              </a:rPr>
              <a:t>has </a:t>
            </a:r>
            <a:r>
              <a:rPr sz="1200">
                <a:solidFill>
                  <a:srgbClr val="FFFFFF"/>
                </a:solidFill>
                <a:latin typeface="Verdana"/>
                <a:cs typeface="Verdana"/>
              </a:rPr>
              <a:t>been</a:t>
            </a:r>
            <a:r>
              <a:rPr sz="1200" spc="215">
                <a:solidFill>
                  <a:srgbClr val="FFFFFF"/>
                </a:solidFill>
                <a:latin typeface="Verdana"/>
                <a:cs typeface="Verdana"/>
              </a:rPr>
              <a:t> </a:t>
            </a:r>
            <a:r>
              <a:rPr sz="1200">
                <a:solidFill>
                  <a:srgbClr val="FFFFFF"/>
                </a:solidFill>
                <a:latin typeface="Verdana"/>
                <a:cs typeface="Verdana"/>
              </a:rPr>
              <a:t>created.</a:t>
            </a:r>
            <a:endParaRPr sz="1200">
              <a:latin typeface="Verdana"/>
              <a:cs typeface="Verdana"/>
            </a:endParaRPr>
          </a:p>
        </p:txBody>
      </p:sp>
      <p:sp>
        <p:nvSpPr>
          <p:cNvPr id="87" name="object 87"/>
          <p:cNvSpPr/>
          <p:nvPr/>
        </p:nvSpPr>
        <p:spPr>
          <a:xfrm>
            <a:off x="248411" y="1926335"/>
            <a:ext cx="4956048" cy="4594860"/>
          </a:xfrm>
          <a:prstGeom prst="rect">
            <a:avLst/>
          </a:prstGeom>
          <a:blipFill>
            <a:blip r:embed="rId8" cstate="print"/>
            <a:stretch>
              <a:fillRect/>
            </a:stretch>
          </a:blipFill>
        </p:spPr>
        <p:txBody>
          <a:bodyPr wrap="square" lIns="0" tIns="0" rIns="0" bIns="0" rtlCol="0"/>
          <a:lstStyle/>
          <a:p>
            <a:endParaRPr/>
          </a:p>
        </p:txBody>
      </p:sp>
      <p:sp>
        <p:nvSpPr>
          <p:cNvPr id="88" name="object 88"/>
          <p:cNvSpPr/>
          <p:nvPr/>
        </p:nvSpPr>
        <p:spPr>
          <a:xfrm>
            <a:off x="323088" y="1975104"/>
            <a:ext cx="4762500" cy="4536948"/>
          </a:xfrm>
          <a:prstGeom prst="rect">
            <a:avLst/>
          </a:prstGeom>
          <a:blipFill>
            <a:blip r:embed="rId9" cstate="print"/>
            <a:stretch>
              <a:fillRect/>
            </a:stretch>
          </a:blipFill>
        </p:spPr>
        <p:txBody>
          <a:bodyPr wrap="square" lIns="0" tIns="0" rIns="0" bIns="0" rtlCol="0"/>
          <a:lstStyle/>
          <a:p>
            <a:endParaRPr/>
          </a:p>
        </p:txBody>
      </p:sp>
      <p:sp>
        <p:nvSpPr>
          <p:cNvPr id="89" name="object 89"/>
          <p:cNvSpPr/>
          <p:nvPr/>
        </p:nvSpPr>
        <p:spPr>
          <a:xfrm>
            <a:off x="227075" y="1909572"/>
            <a:ext cx="4940935" cy="4579620"/>
          </a:xfrm>
          <a:custGeom>
            <a:avLst/>
            <a:gdLst/>
            <a:ahLst/>
            <a:cxnLst/>
            <a:rect l="l" t="t" r="r" b="b"/>
            <a:pathLst>
              <a:path w="4940935" h="4579620">
                <a:moveTo>
                  <a:pt x="4940808" y="0"/>
                </a:moveTo>
                <a:lnTo>
                  <a:pt x="182994" y="0"/>
                </a:lnTo>
                <a:lnTo>
                  <a:pt x="134346" y="6535"/>
                </a:lnTo>
                <a:lnTo>
                  <a:pt x="90632" y="24981"/>
                </a:lnTo>
                <a:lnTo>
                  <a:pt x="53597" y="53593"/>
                </a:lnTo>
                <a:lnTo>
                  <a:pt x="24983" y="90630"/>
                </a:lnTo>
                <a:lnTo>
                  <a:pt x="6536" y="134349"/>
                </a:lnTo>
                <a:lnTo>
                  <a:pt x="0" y="183006"/>
                </a:lnTo>
                <a:lnTo>
                  <a:pt x="0" y="4579620"/>
                </a:lnTo>
                <a:lnTo>
                  <a:pt x="4757801" y="4579620"/>
                </a:lnTo>
                <a:lnTo>
                  <a:pt x="4806458" y="4573083"/>
                </a:lnTo>
                <a:lnTo>
                  <a:pt x="4850177" y="4554635"/>
                </a:lnTo>
                <a:lnTo>
                  <a:pt x="4887214" y="4526021"/>
                </a:lnTo>
                <a:lnTo>
                  <a:pt x="4915826" y="4488983"/>
                </a:lnTo>
                <a:lnTo>
                  <a:pt x="4934272" y="4445266"/>
                </a:lnTo>
                <a:lnTo>
                  <a:pt x="4940808" y="4396613"/>
                </a:lnTo>
                <a:lnTo>
                  <a:pt x="4940808" y="0"/>
                </a:lnTo>
                <a:close/>
              </a:path>
            </a:pathLst>
          </a:custGeom>
          <a:solidFill>
            <a:srgbClr val="FFFFFF"/>
          </a:solidFill>
        </p:spPr>
        <p:txBody>
          <a:bodyPr wrap="square" lIns="0" tIns="0" rIns="0" bIns="0" rtlCol="0"/>
          <a:lstStyle/>
          <a:p>
            <a:endParaRPr/>
          </a:p>
        </p:txBody>
      </p:sp>
      <p:sp>
        <p:nvSpPr>
          <p:cNvPr id="90" name="object 90"/>
          <p:cNvSpPr/>
          <p:nvPr/>
        </p:nvSpPr>
        <p:spPr>
          <a:xfrm>
            <a:off x="227075" y="1909572"/>
            <a:ext cx="4940935" cy="4579620"/>
          </a:xfrm>
          <a:custGeom>
            <a:avLst/>
            <a:gdLst/>
            <a:ahLst/>
            <a:cxnLst/>
            <a:rect l="l" t="t" r="r" b="b"/>
            <a:pathLst>
              <a:path w="4940935" h="4579620">
                <a:moveTo>
                  <a:pt x="182994" y="0"/>
                </a:moveTo>
                <a:lnTo>
                  <a:pt x="4940808" y="0"/>
                </a:lnTo>
                <a:lnTo>
                  <a:pt x="4940808" y="4396613"/>
                </a:lnTo>
                <a:lnTo>
                  <a:pt x="4934272" y="4445266"/>
                </a:lnTo>
                <a:lnTo>
                  <a:pt x="4915826" y="4488983"/>
                </a:lnTo>
                <a:lnTo>
                  <a:pt x="4887214" y="4526021"/>
                </a:lnTo>
                <a:lnTo>
                  <a:pt x="4850177" y="4554635"/>
                </a:lnTo>
                <a:lnTo>
                  <a:pt x="4806458" y="4573083"/>
                </a:lnTo>
                <a:lnTo>
                  <a:pt x="4757801" y="4579620"/>
                </a:lnTo>
                <a:lnTo>
                  <a:pt x="0" y="4579620"/>
                </a:lnTo>
                <a:lnTo>
                  <a:pt x="0" y="183006"/>
                </a:lnTo>
                <a:lnTo>
                  <a:pt x="6536" y="134349"/>
                </a:lnTo>
                <a:lnTo>
                  <a:pt x="24983" y="90630"/>
                </a:lnTo>
                <a:lnTo>
                  <a:pt x="53597" y="53593"/>
                </a:lnTo>
                <a:lnTo>
                  <a:pt x="90632" y="24981"/>
                </a:lnTo>
                <a:lnTo>
                  <a:pt x="134346" y="6535"/>
                </a:lnTo>
                <a:lnTo>
                  <a:pt x="182994" y="0"/>
                </a:lnTo>
                <a:close/>
              </a:path>
            </a:pathLst>
          </a:custGeom>
          <a:ln w="12192">
            <a:solidFill>
              <a:srgbClr val="421F5D"/>
            </a:solidFill>
          </a:ln>
        </p:spPr>
        <p:txBody>
          <a:bodyPr wrap="square" lIns="0" tIns="0" rIns="0" bIns="0" rtlCol="0"/>
          <a:lstStyle/>
          <a:p>
            <a:endParaRPr/>
          </a:p>
        </p:txBody>
      </p:sp>
      <p:sp>
        <p:nvSpPr>
          <p:cNvPr id="91" name="object 91"/>
          <p:cNvSpPr txBox="1"/>
          <p:nvPr/>
        </p:nvSpPr>
        <p:spPr>
          <a:xfrm>
            <a:off x="359765" y="1939188"/>
            <a:ext cx="4584700" cy="2235835"/>
          </a:xfrm>
          <a:prstGeom prst="rect">
            <a:avLst/>
          </a:prstGeom>
        </p:spPr>
        <p:txBody>
          <a:bodyPr vert="horz" wrap="square" lIns="0" tIns="50800" rIns="0" bIns="0" rtlCol="0">
            <a:spAutoFit/>
          </a:bodyPr>
          <a:lstStyle/>
          <a:p>
            <a:pPr marL="12700">
              <a:lnSpc>
                <a:spcPct val="100000"/>
              </a:lnSpc>
              <a:spcBef>
                <a:spcPts val="400"/>
              </a:spcBef>
            </a:pPr>
            <a:r>
              <a:rPr sz="1000" b="1" spc="-10">
                <a:latin typeface="Verdana"/>
                <a:cs typeface="Verdana"/>
              </a:rPr>
              <a:t>Data Migration Methodology</a:t>
            </a:r>
            <a:r>
              <a:rPr sz="1000" b="1" spc="40">
                <a:latin typeface="Verdana"/>
                <a:cs typeface="Verdana"/>
              </a:rPr>
              <a:t> </a:t>
            </a:r>
            <a:r>
              <a:rPr sz="1000" b="1" spc="-10">
                <a:latin typeface="Verdana"/>
                <a:cs typeface="Verdana"/>
              </a:rPr>
              <a:t>Framework</a:t>
            </a:r>
            <a:endParaRPr sz="1000">
              <a:latin typeface="Verdana"/>
              <a:cs typeface="Verdana"/>
            </a:endParaRPr>
          </a:p>
          <a:p>
            <a:pPr marL="12700" marR="304165">
              <a:lnSpc>
                <a:spcPct val="100000"/>
              </a:lnSpc>
              <a:spcBef>
                <a:spcPts val="300"/>
              </a:spcBef>
            </a:pPr>
            <a:r>
              <a:rPr sz="1000" spc="-5">
                <a:latin typeface="Verdana"/>
                <a:cs typeface="Verdana"/>
              </a:rPr>
              <a:t>The Data Migration Methodology </a:t>
            </a:r>
            <a:r>
              <a:rPr sz="1000">
                <a:latin typeface="Verdana"/>
                <a:cs typeface="Verdana"/>
              </a:rPr>
              <a:t>is </a:t>
            </a:r>
            <a:r>
              <a:rPr sz="1000" spc="-5">
                <a:latin typeface="Verdana"/>
                <a:cs typeface="Verdana"/>
              </a:rPr>
              <a:t>a </a:t>
            </a:r>
            <a:r>
              <a:rPr sz="1000" spc="-10">
                <a:latin typeface="Verdana"/>
                <a:cs typeface="Verdana"/>
              </a:rPr>
              <a:t>framework </a:t>
            </a:r>
            <a:r>
              <a:rPr sz="1000" spc="-5">
                <a:latin typeface="Verdana"/>
                <a:cs typeface="Verdana"/>
              </a:rPr>
              <a:t>which describes  different phases </a:t>
            </a:r>
            <a:r>
              <a:rPr sz="1000">
                <a:latin typeface="Verdana"/>
                <a:cs typeface="Verdana"/>
              </a:rPr>
              <a:t>within </a:t>
            </a:r>
            <a:r>
              <a:rPr sz="1000" spc="-5">
                <a:latin typeface="Verdana"/>
                <a:cs typeface="Verdana"/>
              </a:rPr>
              <a:t>a Data Migration </a:t>
            </a:r>
            <a:r>
              <a:rPr sz="1000" spc="-10">
                <a:latin typeface="Verdana"/>
                <a:cs typeface="Verdana"/>
              </a:rPr>
              <a:t>stream </a:t>
            </a:r>
            <a:r>
              <a:rPr sz="1000" spc="-5">
                <a:latin typeface="Verdana"/>
                <a:cs typeface="Verdana"/>
              </a:rPr>
              <a:t>of a program. The  phases</a:t>
            </a:r>
            <a:r>
              <a:rPr sz="1000" spc="20">
                <a:latin typeface="Verdana"/>
                <a:cs typeface="Verdana"/>
              </a:rPr>
              <a:t> </a:t>
            </a:r>
            <a:r>
              <a:rPr sz="1000" spc="-10">
                <a:latin typeface="Verdana"/>
                <a:cs typeface="Verdana"/>
              </a:rPr>
              <a:t>are:</a:t>
            </a:r>
            <a:endParaRPr sz="1000">
              <a:latin typeface="Verdana"/>
              <a:cs typeface="Verdana"/>
            </a:endParaRPr>
          </a:p>
          <a:p>
            <a:pPr marL="12700">
              <a:lnSpc>
                <a:spcPct val="100000"/>
              </a:lnSpc>
              <a:spcBef>
                <a:spcPts val="300"/>
              </a:spcBef>
            </a:pPr>
            <a:r>
              <a:rPr sz="1000" b="1" spc="-10">
                <a:latin typeface="Verdana"/>
                <a:cs typeface="Verdana"/>
              </a:rPr>
              <a:t>Blue Print</a:t>
            </a:r>
            <a:r>
              <a:rPr sz="1000" b="1" spc="20">
                <a:latin typeface="Verdana"/>
                <a:cs typeface="Verdana"/>
              </a:rPr>
              <a:t> </a:t>
            </a:r>
            <a:r>
              <a:rPr sz="1000" b="1" spc="-10">
                <a:latin typeface="Verdana"/>
                <a:cs typeface="Verdana"/>
              </a:rPr>
              <a:t>Phase</a:t>
            </a:r>
            <a:endParaRPr sz="1000">
              <a:latin typeface="Verdana"/>
              <a:cs typeface="Verdana"/>
            </a:endParaRPr>
          </a:p>
          <a:p>
            <a:pPr marL="184785" marR="259079" indent="-172720">
              <a:lnSpc>
                <a:spcPct val="100000"/>
              </a:lnSpc>
              <a:spcBef>
                <a:spcPts val="300"/>
              </a:spcBef>
              <a:buClr>
                <a:srgbClr val="006FAC"/>
              </a:buClr>
              <a:buFont typeface="Wingdings"/>
              <a:buChar char=""/>
              <a:tabLst>
                <a:tab pos="185420" algn="l"/>
              </a:tabLst>
            </a:pPr>
            <a:r>
              <a:rPr sz="1000" b="1" spc="-10">
                <a:latin typeface="Verdana"/>
                <a:cs typeface="Verdana"/>
              </a:rPr>
              <a:t>Initiation </a:t>
            </a:r>
            <a:r>
              <a:rPr sz="1000" b="1" spc="-5">
                <a:latin typeface="Verdana"/>
                <a:cs typeface="Verdana"/>
              </a:rPr>
              <a:t>&amp; </a:t>
            </a:r>
            <a:r>
              <a:rPr sz="1000" b="1" spc="-10">
                <a:latin typeface="Verdana"/>
                <a:cs typeface="Verdana"/>
              </a:rPr>
              <a:t>Analysis: </a:t>
            </a:r>
            <a:r>
              <a:rPr sz="1000" spc="-5">
                <a:latin typeface="Verdana"/>
                <a:cs typeface="Verdana"/>
              </a:rPr>
              <a:t>Focus </a:t>
            </a:r>
            <a:r>
              <a:rPr sz="1000">
                <a:latin typeface="Verdana"/>
                <a:cs typeface="Verdana"/>
              </a:rPr>
              <a:t>is </a:t>
            </a:r>
            <a:r>
              <a:rPr sz="1000" spc="-5">
                <a:latin typeface="Verdana"/>
                <a:cs typeface="Verdana"/>
              </a:rPr>
              <a:t>on </a:t>
            </a:r>
            <a:r>
              <a:rPr sz="1000">
                <a:latin typeface="Verdana"/>
                <a:cs typeface="Verdana"/>
              </a:rPr>
              <a:t>having </a:t>
            </a:r>
            <a:r>
              <a:rPr sz="1000" spc="-5">
                <a:latin typeface="Verdana"/>
                <a:cs typeface="Verdana"/>
              </a:rPr>
              <a:t>a clear mutual  understanding of the </a:t>
            </a:r>
            <a:r>
              <a:rPr sz="1000" spc="-10">
                <a:latin typeface="Verdana"/>
                <a:cs typeface="Verdana"/>
              </a:rPr>
              <a:t>scope, </a:t>
            </a:r>
            <a:r>
              <a:rPr sz="1000" spc="-5">
                <a:latin typeface="Verdana"/>
                <a:cs typeface="Verdana"/>
              </a:rPr>
              <a:t>business and technology issues and  solutions </a:t>
            </a:r>
            <a:r>
              <a:rPr sz="1000">
                <a:latin typeface="Verdana"/>
                <a:cs typeface="Verdana"/>
              </a:rPr>
              <a:t>within </a:t>
            </a:r>
            <a:r>
              <a:rPr sz="1000" spc="-5">
                <a:latin typeface="Verdana"/>
                <a:cs typeface="Verdana"/>
              </a:rPr>
              <a:t>the data movement </a:t>
            </a:r>
            <a:r>
              <a:rPr sz="1000" spc="-10">
                <a:latin typeface="Verdana"/>
                <a:cs typeface="Verdana"/>
              </a:rPr>
              <a:t>towards </a:t>
            </a:r>
            <a:r>
              <a:rPr sz="1000" spc="-5">
                <a:latin typeface="Verdana"/>
                <a:cs typeface="Verdana"/>
              </a:rPr>
              <a:t>a </a:t>
            </a:r>
            <a:r>
              <a:rPr sz="1000" spc="-10">
                <a:latin typeface="Verdana"/>
                <a:cs typeface="Verdana"/>
              </a:rPr>
              <a:t>new </a:t>
            </a:r>
            <a:r>
              <a:rPr sz="1000">
                <a:latin typeface="Verdana"/>
                <a:cs typeface="Verdana"/>
              </a:rPr>
              <a:t>application  </a:t>
            </a:r>
            <a:r>
              <a:rPr sz="1000" spc="-5">
                <a:latin typeface="Verdana"/>
                <a:cs typeface="Verdana"/>
              </a:rPr>
              <a:t>platform. This phase </a:t>
            </a:r>
            <a:r>
              <a:rPr sz="1000">
                <a:latin typeface="Verdana"/>
                <a:cs typeface="Verdana"/>
              </a:rPr>
              <a:t>also includes </a:t>
            </a:r>
            <a:r>
              <a:rPr sz="1000" spc="-5">
                <a:latin typeface="Verdana"/>
                <a:cs typeface="Verdana"/>
              </a:rPr>
              <a:t>Data </a:t>
            </a:r>
            <a:r>
              <a:rPr sz="1000">
                <a:latin typeface="Verdana"/>
                <a:cs typeface="Verdana"/>
              </a:rPr>
              <a:t>Profiling, </a:t>
            </a:r>
            <a:r>
              <a:rPr sz="1000" spc="-5">
                <a:latin typeface="Verdana"/>
                <a:cs typeface="Verdana"/>
              </a:rPr>
              <a:t>Data</a:t>
            </a:r>
            <a:r>
              <a:rPr sz="1000" spc="30">
                <a:latin typeface="Verdana"/>
                <a:cs typeface="Verdana"/>
              </a:rPr>
              <a:t> </a:t>
            </a:r>
            <a:r>
              <a:rPr sz="1000">
                <a:latin typeface="Verdana"/>
                <a:cs typeface="Verdana"/>
              </a:rPr>
              <a:t>Analysis,</a:t>
            </a:r>
          </a:p>
          <a:p>
            <a:pPr marL="184785" marR="5080" indent="-172720">
              <a:lnSpc>
                <a:spcPct val="100000"/>
              </a:lnSpc>
              <a:spcBef>
                <a:spcPts val="300"/>
              </a:spcBef>
              <a:buClr>
                <a:srgbClr val="006FAC"/>
              </a:buClr>
              <a:buFont typeface="Wingdings"/>
              <a:buChar char=""/>
              <a:tabLst>
                <a:tab pos="185420" algn="l"/>
              </a:tabLst>
            </a:pPr>
            <a:r>
              <a:rPr sz="1000" b="1" spc="-10">
                <a:latin typeface="Verdana"/>
                <a:cs typeface="Verdana"/>
              </a:rPr>
              <a:t>Design: </a:t>
            </a:r>
            <a:r>
              <a:rPr sz="1000" spc="-5">
                <a:latin typeface="Verdana"/>
                <a:cs typeface="Verdana"/>
              </a:rPr>
              <a:t>The design focuses on the </a:t>
            </a:r>
            <a:r>
              <a:rPr sz="1000">
                <a:latin typeface="Verdana"/>
                <a:cs typeface="Verdana"/>
              </a:rPr>
              <a:t>definition </a:t>
            </a:r>
            <a:r>
              <a:rPr sz="1000" spc="-10">
                <a:latin typeface="Verdana"/>
                <a:cs typeface="Verdana"/>
              </a:rPr>
              <a:t>of </a:t>
            </a:r>
            <a:r>
              <a:rPr sz="1000" spc="-5">
                <a:latin typeface="Verdana"/>
                <a:cs typeface="Verdana"/>
              </a:rPr>
              <a:t>the extract,  transformation, merging, </a:t>
            </a:r>
            <a:r>
              <a:rPr sz="1000">
                <a:latin typeface="Verdana"/>
                <a:cs typeface="Verdana"/>
              </a:rPr>
              <a:t>matching </a:t>
            </a:r>
            <a:r>
              <a:rPr sz="1000" spc="-5">
                <a:latin typeface="Verdana"/>
                <a:cs typeface="Verdana"/>
              </a:rPr>
              <a:t>and load processes </a:t>
            </a:r>
            <a:r>
              <a:rPr sz="1000">
                <a:latin typeface="Verdana"/>
                <a:cs typeface="Verdana"/>
              </a:rPr>
              <a:t>including </a:t>
            </a:r>
            <a:r>
              <a:rPr sz="1000" spc="-5">
                <a:latin typeface="Verdana"/>
                <a:cs typeface="Verdana"/>
              </a:rPr>
              <a:t>the  </a:t>
            </a:r>
            <a:r>
              <a:rPr sz="1000">
                <a:latin typeface="Verdana"/>
                <a:cs typeface="Verdana"/>
              </a:rPr>
              <a:t>audit ability </a:t>
            </a:r>
            <a:r>
              <a:rPr sz="1000" spc="-5">
                <a:latin typeface="Verdana"/>
                <a:cs typeface="Verdana"/>
              </a:rPr>
              <a:t>aspects of the data</a:t>
            </a:r>
            <a:r>
              <a:rPr sz="1000" spc="30">
                <a:latin typeface="Verdana"/>
                <a:cs typeface="Verdana"/>
              </a:rPr>
              <a:t> </a:t>
            </a:r>
            <a:r>
              <a:rPr sz="1000" spc="-5">
                <a:latin typeface="Verdana"/>
                <a:cs typeface="Verdana"/>
              </a:rPr>
              <a:t>movement.</a:t>
            </a:r>
            <a:endParaRPr sz="1000">
              <a:latin typeface="Verdana"/>
              <a:cs typeface="Verdana"/>
            </a:endParaRPr>
          </a:p>
          <a:p>
            <a:pPr marL="12700">
              <a:lnSpc>
                <a:spcPct val="100000"/>
              </a:lnSpc>
              <a:spcBef>
                <a:spcPts val="300"/>
              </a:spcBef>
            </a:pPr>
            <a:r>
              <a:rPr sz="1000" b="1" spc="-10">
                <a:latin typeface="Verdana"/>
                <a:cs typeface="Verdana"/>
              </a:rPr>
              <a:t>Implementation</a:t>
            </a:r>
            <a:r>
              <a:rPr sz="1000" b="1" spc="20">
                <a:latin typeface="Verdana"/>
                <a:cs typeface="Verdana"/>
              </a:rPr>
              <a:t> </a:t>
            </a:r>
            <a:r>
              <a:rPr sz="1000" b="1" spc="-10">
                <a:latin typeface="Verdana"/>
                <a:cs typeface="Verdana"/>
              </a:rPr>
              <a:t>Phase</a:t>
            </a:r>
            <a:endParaRPr sz="1000">
              <a:latin typeface="Verdana"/>
              <a:cs typeface="Verdana"/>
            </a:endParaRPr>
          </a:p>
        </p:txBody>
      </p:sp>
      <p:sp>
        <p:nvSpPr>
          <p:cNvPr id="94" name="object 9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95" name="object 9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8</a:t>
            </a:fld>
            <a:endParaRPr sz="800">
              <a:latin typeface="Verdana"/>
              <a:cs typeface="Verdana"/>
            </a:endParaRPr>
          </a:p>
        </p:txBody>
      </p:sp>
      <p:sp>
        <p:nvSpPr>
          <p:cNvPr id="92" name="object 92"/>
          <p:cNvSpPr txBox="1"/>
          <p:nvPr/>
        </p:nvSpPr>
        <p:spPr>
          <a:xfrm>
            <a:off x="5368032" y="5404727"/>
            <a:ext cx="6548120" cy="410845"/>
          </a:xfrm>
          <a:prstGeom prst="rect">
            <a:avLst/>
          </a:prstGeom>
        </p:spPr>
        <p:txBody>
          <a:bodyPr vert="horz" wrap="square" lIns="0" tIns="52705" rIns="0" bIns="0" rtlCol="0">
            <a:spAutoFit/>
          </a:bodyPr>
          <a:lstStyle/>
          <a:p>
            <a:pPr marL="12700">
              <a:lnSpc>
                <a:spcPct val="100000"/>
              </a:lnSpc>
              <a:spcBef>
                <a:spcPts val="415"/>
              </a:spcBef>
              <a:tabLst>
                <a:tab pos="6534784" algn="l"/>
              </a:tabLst>
            </a:pPr>
            <a:r>
              <a:rPr sz="1000" u="sng" spc="-5">
                <a:uFill>
                  <a:solidFill>
                    <a:srgbClr val="68D1F3"/>
                  </a:solidFill>
                </a:uFill>
                <a:latin typeface="Verdana"/>
                <a:cs typeface="Verdana"/>
              </a:rPr>
              <a:t> 	</a:t>
            </a:r>
            <a:endParaRPr sz="1000">
              <a:latin typeface="Verdana"/>
              <a:cs typeface="Verdana"/>
            </a:endParaRPr>
          </a:p>
          <a:p>
            <a:pPr marL="12700">
              <a:lnSpc>
                <a:spcPct val="100000"/>
              </a:lnSpc>
              <a:spcBef>
                <a:spcPts val="315"/>
              </a:spcBef>
            </a:pPr>
            <a:r>
              <a:rPr sz="1000" spc="-5">
                <a:latin typeface="Verdana"/>
                <a:cs typeface="Verdana"/>
              </a:rPr>
              <a:t>Data Migration Development</a:t>
            </a:r>
            <a:r>
              <a:rPr sz="1000" spc="55">
                <a:latin typeface="Verdana"/>
                <a:cs typeface="Verdana"/>
              </a:rPr>
              <a:t> </a:t>
            </a:r>
            <a:r>
              <a:rPr sz="1000" spc="-5">
                <a:latin typeface="Verdana"/>
                <a:cs typeface="Verdana"/>
              </a:rPr>
              <a:t>Lifecycle</a:t>
            </a:r>
            <a:endParaRPr sz="1000">
              <a:latin typeface="Verdana"/>
              <a:cs typeface="Verdana"/>
            </a:endParaRPr>
          </a:p>
        </p:txBody>
      </p:sp>
      <p:sp>
        <p:nvSpPr>
          <p:cNvPr id="93" name="object 93"/>
          <p:cNvSpPr txBox="1"/>
          <p:nvPr/>
        </p:nvSpPr>
        <p:spPr>
          <a:xfrm>
            <a:off x="359765" y="4188333"/>
            <a:ext cx="4523740" cy="2235200"/>
          </a:xfrm>
          <a:prstGeom prst="rect">
            <a:avLst/>
          </a:prstGeom>
        </p:spPr>
        <p:txBody>
          <a:bodyPr vert="horz" wrap="square" lIns="0" tIns="12065" rIns="0" bIns="0" rtlCol="0">
            <a:spAutoFit/>
          </a:bodyPr>
          <a:lstStyle/>
          <a:p>
            <a:pPr marL="184785" marR="49530" indent="-172720">
              <a:lnSpc>
                <a:spcPct val="100000"/>
              </a:lnSpc>
              <a:spcBef>
                <a:spcPts val="95"/>
              </a:spcBef>
              <a:buClr>
                <a:srgbClr val="006FAC"/>
              </a:buClr>
              <a:buFont typeface="Wingdings"/>
              <a:buChar char=""/>
              <a:tabLst>
                <a:tab pos="185420" algn="l"/>
              </a:tabLst>
            </a:pPr>
            <a:r>
              <a:rPr sz="1000" b="1" spc="-10">
                <a:latin typeface="Verdana"/>
                <a:cs typeface="Verdana"/>
              </a:rPr>
              <a:t>Development: </a:t>
            </a:r>
            <a:r>
              <a:rPr sz="1000">
                <a:latin typeface="Verdana"/>
                <a:cs typeface="Verdana"/>
              </a:rPr>
              <a:t>During </a:t>
            </a:r>
            <a:r>
              <a:rPr sz="1000" spc="-5">
                <a:latin typeface="Verdana"/>
                <a:cs typeface="Verdana"/>
              </a:rPr>
              <a:t>development the designed components are  translated </a:t>
            </a:r>
            <a:r>
              <a:rPr sz="1000">
                <a:latin typeface="Verdana"/>
                <a:cs typeface="Verdana"/>
              </a:rPr>
              <a:t>in </a:t>
            </a:r>
            <a:r>
              <a:rPr sz="1000" spc="-5">
                <a:latin typeface="Verdana"/>
                <a:cs typeface="Verdana"/>
              </a:rPr>
              <a:t>actual components, which can be scripts, </a:t>
            </a:r>
            <a:r>
              <a:rPr sz="1000">
                <a:latin typeface="Verdana"/>
                <a:cs typeface="Verdana"/>
              </a:rPr>
              <a:t>matching,  </a:t>
            </a:r>
            <a:r>
              <a:rPr sz="1000" spc="-5">
                <a:latin typeface="Verdana"/>
                <a:cs typeface="Verdana"/>
              </a:rPr>
              <a:t>merging, loaders, replicators, </a:t>
            </a:r>
            <a:r>
              <a:rPr sz="1000">
                <a:latin typeface="Verdana"/>
                <a:cs typeface="Verdana"/>
              </a:rPr>
              <a:t>utilities </a:t>
            </a:r>
            <a:r>
              <a:rPr sz="1000" spc="-5">
                <a:latin typeface="Verdana"/>
                <a:cs typeface="Verdana"/>
              </a:rPr>
              <a:t>etc.</a:t>
            </a:r>
            <a:r>
              <a:rPr sz="1000" spc="95">
                <a:latin typeface="Verdana"/>
                <a:cs typeface="Verdana"/>
              </a:rPr>
              <a:t> </a:t>
            </a:r>
            <a:r>
              <a:rPr sz="1000" b="1" spc="-10">
                <a:latin typeface="Verdana"/>
                <a:cs typeface="Verdana"/>
              </a:rPr>
              <a:t>Acceptance</a:t>
            </a:r>
            <a:endParaRPr sz="1000">
              <a:latin typeface="Verdana"/>
              <a:cs typeface="Verdana"/>
            </a:endParaRPr>
          </a:p>
          <a:p>
            <a:pPr marL="184785" marR="5080">
              <a:lnSpc>
                <a:spcPct val="100000"/>
              </a:lnSpc>
            </a:pPr>
            <a:r>
              <a:rPr sz="1000" spc="-5">
                <a:latin typeface="Verdana"/>
                <a:cs typeface="Verdana"/>
              </a:rPr>
              <a:t>After technical correctness, the user organization </a:t>
            </a:r>
            <a:r>
              <a:rPr sz="1000">
                <a:latin typeface="Verdana"/>
                <a:cs typeface="Verdana"/>
              </a:rPr>
              <a:t>is </a:t>
            </a:r>
            <a:r>
              <a:rPr sz="1000" spc="-10">
                <a:latin typeface="Verdana"/>
                <a:cs typeface="Verdana"/>
              </a:rPr>
              <a:t>asked </a:t>
            </a:r>
            <a:r>
              <a:rPr sz="1000" spc="-5">
                <a:latin typeface="Verdana"/>
                <a:cs typeface="Verdana"/>
              </a:rPr>
              <a:t>to run mock conversions to prove the correctness according to  defined acceptance criteria. After approval there </a:t>
            </a:r>
            <a:r>
              <a:rPr sz="1000">
                <a:latin typeface="Verdana"/>
                <a:cs typeface="Verdana"/>
              </a:rPr>
              <a:t>is </a:t>
            </a:r>
            <a:r>
              <a:rPr sz="1000" spc="-5">
                <a:latin typeface="Verdana"/>
                <a:cs typeface="Verdana"/>
              </a:rPr>
              <a:t>a go </a:t>
            </a:r>
            <a:r>
              <a:rPr sz="1000" spc="-10">
                <a:latin typeface="Verdana"/>
                <a:cs typeface="Verdana"/>
              </a:rPr>
              <a:t>for</a:t>
            </a:r>
            <a:r>
              <a:rPr sz="1000" spc="165">
                <a:latin typeface="Verdana"/>
                <a:cs typeface="Verdana"/>
              </a:rPr>
              <a:t> </a:t>
            </a:r>
            <a:r>
              <a:rPr sz="1000">
                <a:latin typeface="Verdana"/>
                <a:cs typeface="Verdana"/>
              </a:rPr>
              <a:t>go-live.</a:t>
            </a:r>
          </a:p>
          <a:p>
            <a:pPr marL="184785" marR="168275" indent="-172720">
              <a:lnSpc>
                <a:spcPct val="100000"/>
              </a:lnSpc>
              <a:spcBef>
                <a:spcPts val="300"/>
              </a:spcBef>
              <a:buClr>
                <a:srgbClr val="006FAC"/>
              </a:buClr>
              <a:buFont typeface="Wingdings"/>
              <a:buChar char=""/>
              <a:tabLst>
                <a:tab pos="185420" algn="l"/>
              </a:tabLst>
            </a:pPr>
            <a:r>
              <a:rPr sz="1000" b="1" spc="-10">
                <a:latin typeface="Verdana"/>
                <a:cs typeface="Verdana"/>
              </a:rPr>
              <a:t>Execution: </a:t>
            </a:r>
            <a:r>
              <a:rPr sz="1000" spc="-5">
                <a:latin typeface="Verdana"/>
                <a:cs typeface="Verdana"/>
              </a:rPr>
              <a:t>After the acceptance and go </a:t>
            </a:r>
            <a:r>
              <a:rPr sz="1000" spc="-10">
                <a:latin typeface="Verdana"/>
                <a:cs typeface="Verdana"/>
              </a:rPr>
              <a:t>for </a:t>
            </a:r>
            <a:r>
              <a:rPr sz="1000">
                <a:latin typeface="Verdana"/>
                <a:cs typeface="Verdana"/>
              </a:rPr>
              <a:t>go-live </a:t>
            </a:r>
            <a:r>
              <a:rPr sz="1000" spc="-5">
                <a:latin typeface="Verdana"/>
                <a:cs typeface="Verdana"/>
              </a:rPr>
              <a:t>and </a:t>
            </a:r>
            <a:r>
              <a:rPr sz="1000" spc="-10">
                <a:latin typeface="Verdana"/>
                <a:cs typeface="Verdana"/>
              </a:rPr>
              <a:t>selected  </a:t>
            </a:r>
            <a:r>
              <a:rPr sz="1000" spc="-5">
                <a:latin typeface="Verdana"/>
                <a:cs typeface="Verdana"/>
              </a:rPr>
              <a:t>method </a:t>
            </a:r>
            <a:r>
              <a:rPr sz="1000" spc="-10">
                <a:latin typeface="Verdana"/>
                <a:cs typeface="Verdana"/>
              </a:rPr>
              <a:t>for </a:t>
            </a:r>
            <a:r>
              <a:rPr sz="1000">
                <a:latin typeface="Verdana"/>
                <a:cs typeface="Verdana"/>
              </a:rPr>
              <a:t>go-live will </a:t>
            </a:r>
            <a:r>
              <a:rPr sz="1000" spc="-5">
                <a:latin typeface="Verdana"/>
                <a:cs typeface="Verdana"/>
              </a:rPr>
              <a:t>execute the defined </a:t>
            </a:r>
            <a:r>
              <a:rPr sz="1000">
                <a:latin typeface="Verdana"/>
                <a:cs typeface="Verdana"/>
              </a:rPr>
              <a:t>analysis, </a:t>
            </a:r>
            <a:r>
              <a:rPr sz="1000" spc="-5">
                <a:latin typeface="Verdana"/>
                <a:cs typeface="Verdana"/>
              </a:rPr>
              <a:t>data </a:t>
            </a:r>
            <a:r>
              <a:rPr sz="1000">
                <a:latin typeface="Verdana"/>
                <a:cs typeface="Verdana"/>
              </a:rPr>
              <a:t>quality  </a:t>
            </a:r>
            <a:r>
              <a:rPr sz="1000" spc="-5">
                <a:latin typeface="Verdana"/>
                <a:cs typeface="Verdana"/>
              </a:rPr>
              <a:t>improvement and data </a:t>
            </a:r>
            <a:r>
              <a:rPr sz="1000">
                <a:latin typeface="Verdana"/>
                <a:cs typeface="Verdana"/>
              </a:rPr>
              <a:t>migration </a:t>
            </a:r>
            <a:r>
              <a:rPr sz="1000" spc="-5">
                <a:latin typeface="Verdana"/>
                <a:cs typeface="Verdana"/>
              </a:rPr>
              <a:t>routines </a:t>
            </a:r>
            <a:r>
              <a:rPr sz="1000">
                <a:latin typeface="Verdana"/>
                <a:cs typeface="Verdana"/>
              </a:rPr>
              <a:t>in </a:t>
            </a:r>
            <a:r>
              <a:rPr sz="1000" spc="-5">
                <a:latin typeface="Verdana"/>
                <a:cs typeface="Verdana"/>
              </a:rPr>
              <a:t>production system  (defined target</a:t>
            </a:r>
            <a:r>
              <a:rPr sz="1000" spc="25">
                <a:latin typeface="Verdana"/>
                <a:cs typeface="Verdana"/>
              </a:rPr>
              <a:t> </a:t>
            </a:r>
            <a:r>
              <a:rPr sz="1000" spc="-5">
                <a:latin typeface="Verdana"/>
                <a:cs typeface="Verdana"/>
              </a:rPr>
              <a:t>system).</a:t>
            </a:r>
            <a:endParaRPr sz="1000">
              <a:latin typeface="Verdana"/>
              <a:cs typeface="Verdana"/>
            </a:endParaRPr>
          </a:p>
          <a:p>
            <a:pPr marL="184785" marR="178435" indent="-172720">
              <a:lnSpc>
                <a:spcPct val="100000"/>
              </a:lnSpc>
              <a:spcBef>
                <a:spcPts val="300"/>
              </a:spcBef>
              <a:buClr>
                <a:srgbClr val="006FAC"/>
              </a:buClr>
              <a:buFont typeface="Wingdings"/>
              <a:buChar char=""/>
              <a:tabLst>
                <a:tab pos="185420" algn="l"/>
              </a:tabLst>
            </a:pPr>
            <a:r>
              <a:rPr sz="1000" b="1" spc="-10">
                <a:latin typeface="Verdana"/>
                <a:cs typeface="Verdana"/>
              </a:rPr>
              <a:t>Hypercare Support: </a:t>
            </a:r>
            <a:r>
              <a:rPr sz="1000" spc="-5">
                <a:latin typeface="Verdana"/>
                <a:cs typeface="Verdana"/>
              </a:rPr>
              <a:t>After the execution and </a:t>
            </a:r>
            <a:r>
              <a:rPr sz="1000">
                <a:latin typeface="Verdana"/>
                <a:cs typeface="Verdana"/>
              </a:rPr>
              <a:t>go-live will </a:t>
            </a:r>
            <a:r>
              <a:rPr sz="1000" spc="-5">
                <a:latin typeface="Verdana"/>
                <a:cs typeface="Verdana"/>
              </a:rPr>
              <a:t>ensure  deliver a working solution </a:t>
            </a:r>
            <a:r>
              <a:rPr sz="1000">
                <a:latin typeface="Verdana"/>
                <a:cs typeface="Verdana"/>
              </a:rPr>
              <a:t>in </a:t>
            </a:r>
            <a:r>
              <a:rPr sz="1000" spc="-5">
                <a:latin typeface="Verdana"/>
                <a:cs typeface="Verdana"/>
              </a:rPr>
              <a:t>a working environment. </a:t>
            </a:r>
            <a:r>
              <a:rPr sz="1000" spc="-10">
                <a:latin typeface="Verdana"/>
                <a:cs typeface="Verdana"/>
              </a:rPr>
              <a:t>Therefore  </a:t>
            </a:r>
            <a:r>
              <a:rPr sz="1000" spc="-5">
                <a:latin typeface="Verdana"/>
                <a:cs typeface="Verdana"/>
              </a:rPr>
              <a:t>problems, </a:t>
            </a:r>
            <a:r>
              <a:rPr sz="1000" spc="-10">
                <a:latin typeface="Verdana"/>
                <a:cs typeface="Verdana"/>
              </a:rPr>
              <a:t>detected </a:t>
            </a:r>
            <a:r>
              <a:rPr sz="1000">
                <a:latin typeface="Verdana"/>
                <a:cs typeface="Verdana"/>
              </a:rPr>
              <a:t>during </a:t>
            </a:r>
            <a:r>
              <a:rPr sz="1000" spc="-5">
                <a:latin typeface="Verdana"/>
                <a:cs typeface="Verdana"/>
              </a:rPr>
              <a:t>the data migration and data </a:t>
            </a:r>
            <a:r>
              <a:rPr sz="1000">
                <a:latin typeface="Verdana"/>
                <a:cs typeface="Verdana"/>
              </a:rPr>
              <a:t>quality  </a:t>
            </a:r>
            <a:r>
              <a:rPr sz="1000" spc="-5">
                <a:latin typeface="Verdana"/>
                <a:cs typeface="Verdana"/>
              </a:rPr>
              <a:t>improvement execution are</a:t>
            </a:r>
            <a:r>
              <a:rPr sz="1000" spc="95">
                <a:latin typeface="Verdana"/>
                <a:cs typeface="Verdana"/>
              </a:rPr>
              <a:t> </a:t>
            </a:r>
            <a:r>
              <a:rPr sz="1000" spc="-5">
                <a:latin typeface="Verdana"/>
                <a:cs typeface="Verdana"/>
              </a:rPr>
              <a:t>solved.</a:t>
            </a:r>
            <a:endParaRPr sz="1000">
              <a:latin typeface="Verdana"/>
              <a:cs typeface="Verdana"/>
            </a:endParaRP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9310320" cy="412934"/>
          </a:xfrm>
          <a:prstGeom prst="rect">
            <a:avLst/>
          </a:prstGeom>
        </p:spPr>
        <p:txBody>
          <a:bodyPr vert="horz" wrap="square" lIns="0" tIns="12700" rIns="0" bIns="0" rtlCol="0">
            <a:spAutoFit/>
          </a:bodyPr>
          <a:lstStyle/>
          <a:p>
            <a:pPr marL="12700">
              <a:lnSpc>
                <a:spcPct val="100000"/>
              </a:lnSpc>
              <a:spcBef>
                <a:spcPts val="100"/>
              </a:spcBef>
            </a:pPr>
            <a:r>
              <a:rPr sz="2600" spc="-5"/>
              <a:t>Data Migration </a:t>
            </a:r>
            <a:r>
              <a:rPr sz="2600" spc="-10"/>
              <a:t>Run </a:t>
            </a:r>
            <a:r>
              <a:rPr sz="2600"/>
              <a:t>for </a:t>
            </a:r>
            <a:r>
              <a:rPr sz="2600" spc="-5"/>
              <a:t>each</a:t>
            </a:r>
            <a:r>
              <a:rPr sz="2600" spc="-25"/>
              <a:t> </a:t>
            </a:r>
            <a:r>
              <a:rPr lang="it-IT" sz="2600" spc="-25"/>
              <a:t>Marelli </a:t>
            </a:r>
            <a:r>
              <a:rPr sz="2600" spc="-10"/>
              <a:t>Rollout</a:t>
            </a:r>
            <a:endParaRPr sz="2600"/>
          </a:p>
        </p:txBody>
      </p:sp>
      <p:sp>
        <p:nvSpPr>
          <p:cNvPr id="6" name="object 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 name="object 7"/>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29</a:t>
            </a:fld>
            <a:endParaRPr sz="800">
              <a:latin typeface="Verdana"/>
              <a:cs typeface="Verdana"/>
            </a:endParaRPr>
          </a:p>
        </p:txBody>
      </p:sp>
      <p:sp>
        <p:nvSpPr>
          <p:cNvPr id="8" name="Text Placeholder 4">
            <a:extLst>
              <a:ext uri="{FF2B5EF4-FFF2-40B4-BE49-F238E27FC236}">
                <a16:creationId xmlns:a16="http://schemas.microsoft.com/office/drawing/2014/main" id="{5265907E-4371-4583-AC2A-A9C5228CE3A8}"/>
              </a:ext>
            </a:extLst>
          </p:cNvPr>
          <p:cNvSpPr txBox="1">
            <a:spLocks/>
          </p:cNvSpPr>
          <p:nvPr/>
        </p:nvSpPr>
        <p:spPr>
          <a:xfrm>
            <a:off x="4484650" y="2554357"/>
            <a:ext cx="6746567" cy="3313822"/>
          </a:xfrm>
          <a:prstGeom prst="roundRect">
            <a:avLst>
              <a:gd name="adj" fmla="val 0"/>
            </a:avLst>
          </a:prstGeom>
          <a:solidFill>
            <a:srgbClr val="FFFFFF"/>
          </a:solidFill>
        </p:spPr>
        <p:txBody>
          <a:bodyPr vert="horz" lIns="108000" tIns="108000" rIns="108000" bIns="0" rtlCol="0" anchor="ctr" anchorCtr="1">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333333"/>
                </a:solidFill>
                <a:effectLst/>
                <a:uLnTx/>
                <a:uFillTx/>
                <a:latin typeface="Salesforce Sans"/>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333333"/>
              </a:solidFill>
              <a:effectLst/>
              <a:uLnTx/>
              <a:uFillTx/>
              <a:latin typeface="Salesforce Sans"/>
              <a:ea typeface="+mn-ea"/>
              <a:cs typeface="+mn-cs"/>
            </a:endParaRPr>
          </a:p>
        </p:txBody>
      </p:sp>
      <p:sp>
        <p:nvSpPr>
          <p:cNvPr id="9" name="Rounded Rectangle 421">
            <a:extLst>
              <a:ext uri="{FF2B5EF4-FFF2-40B4-BE49-F238E27FC236}">
                <a16:creationId xmlns:a16="http://schemas.microsoft.com/office/drawing/2014/main" id="{C6F5AA66-8EC7-4ACD-98DD-E06BD0EDA7D2}"/>
              </a:ext>
            </a:extLst>
          </p:cNvPr>
          <p:cNvSpPr/>
          <p:nvPr/>
        </p:nvSpPr>
        <p:spPr bwMode="auto">
          <a:xfrm>
            <a:off x="227349" y="781050"/>
            <a:ext cx="6649701" cy="5708651"/>
          </a:xfrm>
          <a:prstGeom prst="roundRect">
            <a:avLst>
              <a:gd name="adj" fmla="val 1302"/>
            </a:avLst>
          </a:prstGeom>
          <a:solidFill>
            <a:srgbClr val="ECECEC"/>
          </a:solidFill>
          <a:ln w="12700" cap="flat" cmpd="sng" algn="ctr">
            <a:noFill/>
            <a:prstDash val="solid"/>
            <a:round/>
            <a:headEnd type="none" w="med" len="med"/>
            <a:tailEnd type="none" w="med" len="med"/>
          </a:ln>
          <a:effectLst/>
        </p:spPr>
        <p:txBody>
          <a:bodyPr vert="horz" wrap="square" lIns="182880" tIns="182880" rIns="182880" bIns="18288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rPr>
              <a:t>Data Loader.io </a:t>
            </a:r>
            <a:r>
              <a:rPr kumimoji="0" lang="en-US" sz="1200" b="0" i="0" u="none" strike="noStrike" kern="0" cap="none" spc="0" normalizeH="0" baseline="0" noProof="0">
                <a:ln>
                  <a:noFill/>
                </a:ln>
                <a:solidFill>
                  <a:prstClr val="black"/>
                </a:solidFill>
                <a:effectLst/>
                <a:uLnTx/>
                <a:uFillTx/>
                <a:latin typeface="Verdana"/>
              </a:rPr>
              <a:t>will be used for data Migration of each BU’s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Dataloader.io, a painless, data loader for Salesforce.com to make data migration to and from on-premises and cloud systems easy.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Dataloader.io is web-based data loading solution and requires no softwar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With Dataloader.io, Salesforce.com migration is no longer a chor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Importing, exporting, cleaning, deleting, warehousing, and backing up data become less complicated, allowing to save time and focus on more strategic project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Verdana"/>
              </a:rPr>
              <a:t>Dataloader.io offers numerous benefits for Salesforce.com migrati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r>
              <a:rPr kumimoji="0" lang="en-US" sz="1200" b="1" i="0" u="none" strike="noStrike" kern="0" cap="none" spc="0" normalizeH="0" baseline="0" noProof="0">
                <a:ln>
                  <a:noFill/>
                </a:ln>
                <a:solidFill>
                  <a:prstClr val="black"/>
                </a:solidFill>
                <a:effectLst/>
                <a:uLnTx/>
                <a:uFillTx/>
                <a:latin typeface="Verdana"/>
              </a:rPr>
              <a:t>Simple UI</a:t>
            </a:r>
            <a:r>
              <a:rPr kumimoji="0" lang="en-US" sz="1200" b="0" i="0" u="none" strike="noStrike" kern="0" cap="none" spc="0" normalizeH="0" baseline="0" noProof="0">
                <a:ln>
                  <a:noFill/>
                </a:ln>
                <a:solidFill>
                  <a:prstClr val="black"/>
                </a:solidFill>
                <a:effectLst/>
                <a:uLnTx/>
                <a:uFillTx/>
                <a:latin typeface="Verdana"/>
              </a:rPr>
              <a:t>: A user-friendly interface makes the process of migrating data less complicate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r>
              <a:rPr kumimoji="0" lang="en-US" sz="1200" b="1" i="0" u="none" strike="noStrike" kern="0" cap="none" spc="0" normalizeH="0" baseline="0" noProof="0">
                <a:ln>
                  <a:noFill/>
                </a:ln>
                <a:solidFill>
                  <a:prstClr val="black"/>
                </a:solidFill>
                <a:effectLst/>
                <a:uLnTx/>
                <a:uFillTx/>
                <a:latin typeface="Verdana"/>
              </a:rPr>
              <a:t>No VLOOKUP</a:t>
            </a:r>
            <a:r>
              <a:rPr kumimoji="0" lang="en-US" sz="1200" b="0" i="0" u="none" strike="noStrike" kern="0" cap="none" spc="0" normalizeH="0" baseline="0" noProof="0">
                <a:ln>
                  <a:noFill/>
                </a:ln>
                <a:solidFill>
                  <a:prstClr val="black"/>
                </a:solidFill>
                <a:effectLst/>
                <a:uLnTx/>
                <a:uFillTx/>
                <a:latin typeface="Verdana"/>
              </a:rPr>
              <a:t>: Access account IDs from within the integration application easil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r>
              <a:rPr kumimoji="0" lang="en-US" sz="1200" b="1" i="0" u="none" strike="noStrike" kern="0" cap="none" spc="0" normalizeH="0" baseline="0" noProof="0">
                <a:ln>
                  <a:noFill/>
                </a:ln>
                <a:solidFill>
                  <a:prstClr val="black"/>
                </a:solidFill>
                <a:effectLst/>
                <a:uLnTx/>
                <a:uFillTx/>
                <a:latin typeface="Verdana"/>
              </a:rPr>
              <a:t>OAuth</a:t>
            </a:r>
            <a:r>
              <a:rPr kumimoji="0" lang="en-US" sz="1200" b="0" i="0" u="none" strike="noStrike" kern="0" cap="none" spc="0" normalizeH="0" baseline="0" noProof="0">
                <a:ln>
                  <a:noFill/>
                </a:ln>
                <a:solidFill>
                  <a:prstClr val="black"/>
                </a:solidFill>
                <a:effectLst/>
                <a:uLnTx/>
                <a:uFillTx/>
                <a:latin typeface="Verdana"/>
              </a:rPr>
              <a:t>: There is no need to create a new account, all that’s needed are your existing Salesforce.com credential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r>
              <a:rPr kumimoji="0" lang="en-US" sz="1200" b="1" i="0" u="none" strike="noStrike" kern="0" cap="none" spc="0" normalizeH="0" baseline="0" noProof="0">
                <a:ln>
                  <a:noFill/>
                </a:ln>
                <a:solidFill>
                  <a:prstClr val="black"/>
                </a:solidFill>
                <a:effectLst/>
                <a:uLnTx/>
                <a:uFillTx/>
                <a:latin typeface="Verdana"/>
              </a:rPr>
              <a:t>Unlimited Usage</a:t>
            </a:r>
            <a:r>
              <a:rPr kumimoji="0" lang="en-US" sz="1200" b="0" i="0" u="none" strike="noStrike" kern="0" cap="none" spc="0" normalizeH="0" baseline="0" noProof="0">
                <a:ln>
                  <a:noFill/>
                </a:ln>
                <a:solidFill>
                  <a:prstClr val="black"/>
                </a:solidFill>
                <a:effectLst/>
                <a:uLnTx/>
                <a:uFillTx/>
                <a:latin typeface="Verdana"/>
              </a:rPr>
              <a:t>: Without any restrictions on the amount of data it is possible to migrate, users are free to connect to as many endpoints as they desir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r>
              <a:rPr kumimoji="0" lang="en-US" sz="1200" b="1" i="0" u="none" strike="noStrike" kern="0" cap="none" spc="0" normalizeH="0" baseline="0" noProof="0">
                <a:ln>
                  <a:noFill/>
                </a:ln>
                <a:solidFill>
                  <a:prstClr val="black"/>
                </a:solidFill>
                <a:effectLst/>
                <a:uLnTx/>
                <a:uFillTx/>
                <a:latin typeface="Verdana"/>
              </a:rPr>
              <a:t>SaaS Offering</a:t>
            </a:r>
            <a:r>
              <a:rPr kumimoji="0" lang="en-US" sz="1200" b="0" i="0" u="none" strike="noStrike" kern="0" cap="none" spc="0" normalizeH="0" baseline="0" noProof="0">
                <a:ln>
                  <a:noFill/>
                </a:ln>
                <a:solidFill>
                  <a:prstClr val="black"/>
                </a:solidFill>
                <a:effectLst/>
                <a:uLnTx/>
                <a:uFillTx/>
                <a:latin typeface="Verdana"/>
              </a:rPr>
              <a:t>: Being a cloud-based software as a service, Dataloader.io is offered without any strings attached - no software, no download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p:txBody>
      </p:sp>
      <p:pic>
        <p:nvPicPr>
          <p:cNvPr id="10" name="Picture 9">
            <a:extLst>
              <a:ext uri="{FF2B5EF4-FFF2-40B4-BE49-F238E27FC236}">
                <a16:creationId xmlns:a16="http://schemas.microsoft.com/office/drawing/2014/main" id="{2F090A8D-460C-4CF5-A4B0-FBF862ABB489}"/>
              </a:ext>
            </a:extLst>
          </p:cNvPr>
          <p:cNvPicPr>
            <a:picLocks noChangeAspect="1"/>
          </p:cNvPicPr>
          <p:nvPr/>
        </p:nvPicPr>
        <p:blipFill>
          <a:blip r:embed="rId2"/>
          <a:stretch>
            <a:fillRect/>
          </a:stretch>
        </p:blipFill>
        <p:spPr>
          <a:xfrm>
            <a:off x="7628059" y="731830"/>
            <a:ext cx="3614288" cy="2486600"/>
          </a:xfrm>
          <a:prstGeom prst="rect">
            <a:avLst/>
          </a:prstGeom>
        </p:spPr>
      </p:pic>
      <p:sp>
        <p:nvSpPr>
          <p:cNvPr id="11" name="TextBox 10">
            <a:extLst>
              <a:ext uri="{FF2B5EF4-FFF2-40B4-BE49-F238E27FC236}">
                <a16:creationId xmlns:a16="http://schemas.microsoft.com/office/drawing/2014/main" id="{1E5B2EEB-6A8B-4CA5-A171-91C33FBD705A}"/>
              </a:ext>
            </a:extLst>
          </p:cNvPr>
          <p:cNvSpPr txBox="1"/>
          <p:nvPr/>
        </p:nvSpPr>
        <p:spPr>
          <a:xfrm>
            <a:off x="7243997" y="3429000"/>
            <a:ext cx="4720654" cy="2893100"/>
          </a:xfrm>
          <a:prstGeom prst="rect">
            <a:avLst/>
          </a:prstGeom>
          <a:noFill/>
        </p:spPr>
        <p:txBody>
          <a:bodyPr wrap="square" rtlCol="0">
            <a:spAutoFit/>
          </a:bodyPr>
          <a:lstStyle/>
          <a:p>
            <a:pPr algn="just"/>
            <a:r>
              <a:rPr lang="en-AU" sz="1400" i="1">
                <a:solidFill>
                  <a:prstClr val="black"/>
                </a:solidFill>
                <a:latin typeface="Verdana"/>
              </a:rPr>
              <a:t>N.B. We can evaluate to use </a:t>
            </a:r>
            <a:r>
              <a:rPr lang="en-AU" sz="1400" i="1" err="1">
                <a:solidFill>
                  <a:prstClr val="black"/>
                </a:solidFill>
                <a:latin typeface="Verdana"/>
              </a:rPr>
              <a:t>Mulesoft</a:t>
            </a:r>
            <a:r>
              <a:rPr lang="en-AU" sz="1400" i="1">
                <a:solidFill>
                  <a:prstClr val="black"/>
                </a:solidFill>
                <a:latin typeface="Verdana"/>
              </a:rPr>
              <a:t> ETL but we need to have a Data Server where import data where to start the data migration procedure </a:t>
            </a:r>
          </a:p>
          <a:p>
            <a:pPr algn="just"/>
            <a:endParaRPr lang="en-AU" sz="1400" i="1">
              <a:solidFill>
                <a:prstClr val="black"/>
              </a:solidFill>
              <a:latin typeface="Verdana"/>
            </a:endParaRPr>
          </a:p>
          <a:p>
            <a:pPr algn="just"/>
            <a:r>
              <a:rPr lang="en-AU" sz="1400" b="1" i="1">
                <a:solidFill>
                  <a:prstClr val="black"/>
                </a:solidFill>
                <a:latin typeface="Verdana"/>
              </a:rPr>
              <a:t>As per feedbacks received from Marelli on November 2</a:t>
            </a:r>
            <a:r>
              <a:rPr lang="en-AU" sz="1400" b="1" i="1" baseline="30000">
                <a:solidFill>
                  <a:prstClr val="black"/>
                </a:solidFill>
                <a:latin typeface="Verdana"/>
              </a:rPr>
              <a:t>nd</a:t>
            </a:r>
            <a:r>
              <a:rPr lang="en-AU" sz="1400" b="1" i="1">
                <a:solidFill>
                  <a:prstClr val="black"/>
                </a:solidFill>
                <a:latin typeface="Verdana"/>
              </a:rPr>
              <a:t>, it is assumed that Marelli will use standard </a:t>
            </a:r>
            <a:r>
              <a:rPr lang="en-AU" sz="1400" b="1" i="1" err="1">
                <a:solidFill>
                  <a:prstClr val="black"/>
                </a:solidFill>
                <a:latin typeface="Verdana"/>
              </a:rPr>
              <a:t>DataLoader</a:t>
            </a:r>
            <a:r>
              <a:rPr lang="en-AU" sz="1400" b="1" i="1">
                <a:solidFill>
                  <a:prstClr val="black"/>
                </a:solidFill>
                <a:latin typeface="Verdana"/>
              </a:rPr>
              <a:t> available in SFDC since DataLoader.io is not available. The solution approach does not change, by keeping the assumption that no transformations/data cleansing activities are needed among the activities in charge to Capgemini.</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487284" cy="422275"/>
          </a:xfrm>
          <a:prstGeom prst="rect">
            <a:avLst/>
          </a:prstGeom>
        </p:spPr>
        <p:txBody>
          <a:bodyPr vert="horz" wrap="square" lIns="0" tIns="12700" rIns="0" bIns="0" rtlCol="0">
            <a:spAutoFit/>
          </a:bodyPr>
          <a:lstStyle/>
          <a:p>
            <a:pPr marL="12700">
              <a:lnSpc>
                <a:spcPct val="100000"/>
              </a:lnSpc>
              <a:spcBef>
                <a:spcPts val="100"/>
              </a:spcBef>
            </a:pPr>
            <a:r>
              <a:rPr sz="2600"/>
              <a:t>Salesforce </a:t>
            </a:r>
            <a:r>
              <a:rPr sz="2600" spc="-10"/>
              <a:t>Rollout </a:t>
            </a:r>
            <a:r>
              <a:rPr sz="2600" spc="-5"/>
              <a:t>Project: </a:t>
            </a:r>
            <a:r>
              <a:rPr sz="2600"/>
              <a:t>Risks &amp;</a:t>
            </a:r>
            <a:r>
              <a:rPr sz="2600" spc="-110"/>
              <a:t> </a:t>
            </a:r>
            <a:r>
              <a:rPr sz="2600"/>
              <a:t>Mitigation</a:t>
            </a:r>
          </a:p>
        </p:txBody>
      </p:sp>
      <p:sp>
        <p:nvSpPr>
          <p:cNvPr id="3" name="object 3"/>
          <p:cNvSpPr/>
          <p:nvPr/>
        </p:nvSpPr>
        <p:spPr>
          <a:xfrm>
            <a:off x="227075" y="1115567"/>
            <a:ext cx="634365" cy="972819"/>
          </a:xfrm>
          <a:custGeom>
            <a:avLst/>
            <a:gdLst/>
            <a:ahLst/>
            <a:cxnLst/>
            <a:rect l="l" t="t" r="r" b="b"/>
            <a:pathLst>
              <a:path w="634365" h="972819">
                <a:moveTo>
                  <a:pt x="581799" y="0"/>
                </a:moveTo>
                <a:lnTo>
                  <a:pt x="52184" y="0"/>
                </a:lnTo>
                <a:lnTo>
                  <a:pt x="31873" y="4101"/>
                </a:lnTo>
                <a:lnTo>
                  <a:pt x="15286" y="15287"/>
                </a:lnTo>
                <a:lnTo>
                  <a:pt x="4101" y="31878"/>
                </a:lnTo>
                <a:lnTo>
                  <a:pt x="0" y="52197"/>
                </a:lnTo>
                <a:lnTo>
                  <a:pt x="0" y="920115"/>
                </a:lnTo>
                <a:lnTo>
                  <a:pt x="4101" y="940433"/>
                </a:lnTo>
                <a:lnTo>
                  <a:pt x="15286" y="957024"/>
                </a:lnTo>
                <a:lnTo>
                  <a:pt x="31873" y="968210"/>
                </a:lnTo>
                <a:lnTo>
                  <a:pt x="52184" y="972312"/>
                </a:lnTo>
                <a:lnTo>
                  <a:pt x="581799" y="972312"/>
                </a:lnTo>
                <a:lnTo>
                  <a:pt x="602110" y="968210"/>
                </a:lnTo>
                <a:lnTo>
                  <a:pt x="618697" y="957024"/>
                </a:lnTo>
                <a:lnTo>
                  <a:pt x="629882" y="940433"/>
                </a:lnTo>
                <a:lnTo>
                  <a:pt x="633984" y="920115"/>
                </a:lnTo>
                <a:lnTo>
                  <a:pt x="633984" y="52197"/>
                </a:lnTo>
                <a:lnTo>
                  <a:pt x="629882" y="31878"/>
                </a:lnTo>
                <a:lnTo>
                  <a:pt x="618697" y="15287"/>
                </a:lnTo>
                <a:lnTo>
                  <a:pt x="602110" y="4101"/>
                </a:lnTo>
                <a:lnTo>
                  <a:pt x="581799" y="0"/>
                </a:lnTo>
                <a:close/>
              </a:path>
            </a:pathLst>
          </a:custGeom>
          <a:solidFill>
            <a:srgbClr val="E2001F"/>
          </a:solidFill>
        </p:spPr>
        <p:txBody>
          <a:bodyPr wrap="square" lIns="0" tIns="0" rIns="0" bIns="0" rtlCol="0"/>
          <a:lstStyle/>
          <a:p>
            <a:endParaRPr/>
          </a:p>
        </p:txBody>
      </p:sp>
      <p:sp>
        <p:nvSpPr>
          <p:cNvPr id="4" name="object 4"/>
          <p:cNvSpPr/>
          <p:nvPr/>
        </p:nvSpPr>
        <p:spPr>
          <a:xfrm>
            <a:off x="839724" y="1136903"/>
            <a:ext cx="3441700" cy="929640"/>
          </a:xfrm>
          <a:custGeom>
            <a:avLst/>
            <a:gdLst/>
            <a:ahLst/>
            <a:cxnLst/>
            <a:rect l="l" t="t" r="r" b="b"/>
            <a:pathLst>
              <a:path w="3441700" h="929639">
                <a:moveTo>
                  <a:pt x="0" y="929639"/>
                </a:moveTo>
                <a:lnTo>
                  <a:pt x="3441191" y="929639"/>
                </a:lnTo>
                <a:lnTo>
                  <a:pt x="3441191" y="0"/>
                </a:lnTo>
                <a:lnTo>
                  <a:pt x="0" y="0"/>
                </a:lnTo>
                <a:lnTo>
                  <a:pt x="0" y="929639"/>
                </a:lnTo>
                <a:close/>
              </a:path>
            </a:pathLst>
          </a:custGeom>
          <a:ln w="9144">
            <a:solidFill>
              <a:srgbClr val="E2001F"/>
            </a:solidFill>
          </a:ln>
        </p:spPr>
        <p:txBody>
          <a:bodyPr wrap="square" lIns="0" tIns="0" rIns="0" bIns="0" rtlCol="0"/>
          <a:lstStyle/>
          <a:p>
            <a:endParaRPr/>
          </a:p>
        </p:txBody>
      </p:sp>
      <p:sp>
        <p:nvSpPr>
          <p:cNvPr id="5" name="object 5"/>
          <p:cNvSpPr txBox="1"/>
          <p:nvPr/>
        </p:nvSpPr>
        <p:spPr>
          <a:xfrm>
            <a:off x="918768" y="1084529"/>
            <a:ext cx="2630805" cy="194310"/>
          </a:xfrm>
          <a:prstGeom prst="rect">
            <a:avLst/>
          </a:prstGeom>
        </p:spPr>
        <p:txBody>
          <a:bodyPr vert="horz" wrap="square" lIns="0" tIns="13335" rIns="0" bIns="0" rtlCol="0">
            <a:spAutoFit/>
          </a:bodyPr>
          <a:lstStyle/>
          <a:p>
            <a:pPr marL="12700">
              <a:lnSpc>
                <a:spcPct val="100000"/>
              </a:lnSpc>
              <a:spcBef>
                <a:spcPts val="105"/>
              </a:spcBef>
            </a:pPr>
            <a:r>
              <a:rPr sz="1100" b="1" spc="-5">
                <a:latin typeface="Verdana"/>
                <a:cs typeface="Verdana"/>
              </a:rPr>
              <a:t>Detailed Requirements</a:t>
            </a:r>
            <a:r>
              <a:rPr sz="1100" b="1" spc="-50">
                <a:latin typeface="Verdana"/>
                <a:cs typeface="Verdana"/>
              </a:rPr>
              <a:t> </a:t>
            </a:r>
            <a:r>
              <a:rPr sz="1100" b="1" spc="-5">
                <a:latin typeface="Verdana"/>
                <a:cs typeface="Verdana"/>
              </a:rPr>
              <a:t>gathering</a:t>
            </a:r>
            <a:endParaRPr sz="1100">
              <a:latin typeface="Verdana"/>
              <a:cs typeface="Verdana"/>
            </a:endParaRPr>
          </a:p>
        </p:txBody>
      </p:sp>
      <p:sp>
        <p:nvSpPr>
          <p:cNvPr id="6" name="object 6"/>
          <p:cNvSpPr txBox="1"/>
          <p:nvPr/>
        </p:nvSpPr>
        <p:spPr>
          <a:xfrm>
            <a:off x="918768" y="1252855"/>
            <a:ext cx="3095625" cy="864235"/>
          </a:xfrm>
          <a:prstGeom prst="rect">
            <a:avLst/>
          </a:prstGeom>
        </p:spPr>
        <p:txBody>
          <a:bodyPr vert="horz" wrap="square" lIns="0" tIns="13335" rIns="0" bIns="0" rtlCol="0">
            <a:spAutoFit/>
          </a:bodyPr>
          <a:lstStyle/>
          <a:p>
            <a:pPr marL="184785" marR="5080" indent="-172720">
              <a:lnSpc>
                <a:spcPct val="100000"/>
              </a:lnSpc>
              <a:spcBef>
                <a:spcPts val="105"/>
              </a:spcBef>
              <a:buClr>
                <a:srgbClr val="006FAC"/>
              </a:buClr>
              <a:buFont typeface="Wingdings"/>
              <a:buChar char=""/>
              <a:tabLst>
                <a:tab pos="185420" algn="l"/>
              </a:tabLst>
            </a:pPr>
            <a:r>
              <a:rPr sz="1100" spc="-5">
                <a:latin typeface="Verdana"/>
                <a:cs typeface="Verdana"/>
              </a:rPr>
              <a:t>During Pre-Game detailed </a:t>
            </a:r>
            <a:r>
              <a:rPr sz="1100">
                <a:latin typeface="Verdana"/>
                <a:cs typeface="Verdana"/>
              </a:rPr>
              <a:t>As-Is </a:t>
            </a:r>
            <a:r>
              <a:rPr sz="1100" spc="-5">
                <a:latin typeface="Verdana"/>
                <a:cs typeface="Verdana"/>
              </a:rPr>
              <a:t>gaps  </a:t>
            </a:r>
            <a:r>
              <a:rPr sz="1100">
                <a:latin typeface="Verdana"/>
                <a:cs typeface="Verdana"/>
              </a:rPr>
              <a:t>between </a:t>
            </a:r>
            <a:r>
              <a:rPr sz="1100" spc="-5">
                <a:latin typeface="Verdana"/>
                <a:cs typeface="Verdana"/>
              </a:rPr>
              <a:t>the current solution </a:t>
            </a:r>
            <a:r>
              <a:rPr sz="1100">
                <a:latin typeface="Verdana"/>
                <a:cs typeface="Verdana"/>
              </a:rPr>
              <a:t>and  </a:t>
            </a:r>
            <a:r>
              <a:rPr sz="1100" spc="-5">
                <a:latin typeface="Verdana"/>
                <a:cs typeface="Verdana"/>
              </a:rPr>
              <a:t>requirements are gathered from </a:t>
            </a:r>
            <a:r>
              <a:rPr sz="1100">
                <a:latin typeface="Verdana"/>
                <a:cs typeface="Verdana"/>
              </a:rPr>
              <a:t>other  </a:t>
            </a:r>
            <a:r>
              <a:rPr sz="1100" spc="-5">
                <a:latin typeface="Verdana"/>
                <a:cs typeface="Verdana"/>
              </a:rPr>
              <a:t>business units, that might slow </a:t>
            </a:r>
            <a:r>
              <a:rPr sz="1100">
                <a:latin typeface="Verdana"/>
                <a:cs typeface="Verdana"/>
              </a:rPr>
              <a:t>down </a:t>
            </a:r>
            <a:r>
              <a:rPr sz="1100" spc="-5">
                <a:latin typeface="Verdana"/>
                <a:cs typeface="Verdana"/>
              </a:rPr>
              <a:t>the  </a:t>
            </a:r>
            <a:r>
              <a:rPr sz="1100">
                <a:latin typeface="Verdana"/>
                <a:cs typeface="Verdana"/>
              </a:rPr>
              <a:t>project</a:t>
            </a:r>
          </a:p>
        </p:txBody>
      </p:sp>
      <p:sp>
        <p:nvSpPr>
          <p:cNvPr id="7" name="object 7"/>
          <p:cNvSpPr/>
          <p:nvPr/>
        </p:nvSpPr>
        <p:spPr>
          <a:xfrm>
            <a:off x="332231" y="1312163"/>
            <a:ext cx="424180" cy="577850"/>
          </a:xfrm>
          <a:custGeom>
            <a:avLst/>
            <a:gdLst/>
            <a:ahLst/>
            <a:cxnLst/>
            <a:rect l="l" t="t" r="r" b="b"/>
            <a:pathLst>
              <a:path w="424180" h="577850">
                <a:moveTo>
                  <a:pt x="274142" y="0"/>
                </a:moveTo>
                <a:lnTo>
                  <a:pt x="269151" y="0"/>
                </a:lnTo>
                <a:lnTo>
                  <a:pt x="264172" y="4952"/>
                </a:lnTo>
                <a:lnTo>
                  <a:pt x="174447" y="109855"/>
                </a:lnTo>
                <a:lnTo>
                  <a:pt x="108336" y="193719"/>
                </a:lnTo>
                <a:lnTo>
                  <a:pt x="74682" y="235667"/>
                </a:lnTo>
                <a:lnTo>
                  <a:pt x="40309" y="277608"/>
                </a:lnTo>
                <a:lnTo>
                  <a:pt x="4978" y="319532"/>
                </a:lnTo>
                <a:lnTo>
                  <a:pt x="4978" y="324485"/>
                </a:lnTo>
                <a:lnTo>
                  <a:pt x="0" y="324485"/>
                </a:lnTo>
                <a:lnTo>
                  <a:pt x="0" y="339471"/>
                </a:lnTo>
                <a:lnTo>
                  <a:pt x="9969" y="344424"/>
                </a:lnTo>
                <a:lnTo>
                  <a:pt x="209346" y="344424"/>
                </a:lnTo>
                <a:lnTo>
                  <a:pt x="139560" y="554101"/>
                </a:lnTo>
                <a:lnTo>
                  <a:pt x="134581" y="564134"/>
                </a:lnTo>
                <a:lnTo>
                  <a:pt x="134581" y="569087"/>
                </a:lnTo>
                <a:lnTo>
                  <a:pt x="139560" y="574166"/>
                </a:lnTo>
                <a:lnTo>
                  <a:pt x="146959" y="576873"/>
                </a:lnTo>
                <a:lnTo>
                  <a:pt x="153892" y="577246"/>
                </a:lnTo>
                <a:lnTo>
                  <a:pt x="159891" y="574809"/>
                </a:lnTo>
                <a:lnTo>
                  <a:pt x="164490" y="569087"/>
                </a:lnTo>
                <a:lnTo>
                  <a:pt x="186136" y="542893"/>
                </a:lnTo>
                <a:lnTo>
                  <a:pt x="227571" y="490505"/>
                </a:lnTo>
                <a:lnTo>
                  <a:pt x="249224" y="464312"/>
                </a:lnTo>
                <a:lnTo>
                  <a:pt x="284549" y="422388"/>
                </a:lnTo>
                <a:lnTo>
                  <a:pt x="318919" y="380447"/>
                </a:lnTo>
                <a:lnTo>
                  <a:pt x="352573" y="338499"/>
                </a:lnTo>
                <a:lnTo>
                  <a:pt x="418693" y="254635"/>
                </a:lnTo>
                <a:lnTo>
                  <a:pt x="423672" y="249682"/>
                </a:lnTo>
                <a:lnTo>
                  <a:pt x="423672" y="239649"/>
                </a:lnTo>
                <a:lnTo>
                  <a:pt x="413702" y="234696"/>
                </a:lnTo>
                <a:lnTo>
                  <a:pt x="408724" y="234696"/>
                </a:lnTo>
                <a:lnTo>
                  <a:pt x="214325" y="229615"/>
                </a:lnTo>
                <a:lnTo>
                  <a:pt x="289090" y="19938"/>
                </a:lnTo>
                <a:lnTo>
                  <a:pt x="289090" y="4952"/>
                </a:lnTo>
                <a:lnTo>
                  <a:pt x="284111" y="4952"/>
                </a:lnTo>
                <a:lnTo>
                  <a:pt x="274142" y="0"/>
                </a:lnTo>
                <a:close/>
              </a:path>
            </a:pathLst>
          </a:custGeom>
          <a:solidFill>
            <a:srgbClr val="FFFFFF"/>
          </a:solidFill>
        </p:spPr>
        <p:txBody>
          <a:bodyPr wrap="square" lIns="0" tIns="0" rIns="0" bIns="0" rtlCol="0"/>
          <a:lstStyle/>
          <a:p>
            <a:endParaRPr/>
          </a:p>
        </p:txBody>
      </p:sp>
      <p:sp>
        <p:nvSpPr>
          <p:cNvPr id="8" name="object 8"/>
          <p:cNvSpPr/>
          <p:nvPr/>
        </p:nvSpPr>
        <p:spPr>
          <a:xfrm>
            <a:off x="4315967" y="1411224"/>
            <a:ext cx="204470" cy="381000"/>
          </a:xfrm>
          <a:custGeom>
            <a:avLst/>
            <a:gdLst/>
            <a:ahLst/>
            <a:cxnLst/>
            <a:rect l="l" t="t" r="r" b="b"/>
            <a:pathLst>
              <a:path w="204470" h="381000">
                <a:moveTo>
                  <a:pt x="84962" y="0"/>
                </a:moveTo>
                <a:lnTo>
                  <a:pt x="0" y="0"/>
                </a:lnTo>
                <a:lnTo>
                  <a:pt x="119253" y="190500"/>
                </a:lnTo>
                <a:lnTo>
                  <a:pt x="0" y="381000"/>
                </a:lnTo>
                <a:lnTo>
                  <a:pt x="84962" y="381000"/>
                </a:lnTo>
                <a:lnTo>
                  <a:pt x="204216" y="190500"/>
                </a:lnTo>
                <a:lnTo>
                  <a:pt x="84962" y="0"/>
                </a:lnTo>
                <a:close/>
              </a:path>
            </a:pathLst>
          </a:custGeom>
          <a:solidFill>
            <a:srgbClr val="421F5D"/>
          </a:solidFill>
        </p:spPr>
        <p:txBody>
          <a:bodyPr wrap="square" lIns="0" tIns="0" rIns="0" bIns="0" rtlCol="0"/>
          <a:lstStyle/>
          <a:p>
            <a:endParaRPr/>
          </a:p>
        </p:txBody>
      </p:sp>
      <p:sp>
        <p:nvSpPr>
          <p:cNvPr id="9" name="object 9"/>
          <p:cNvSpPr/>
          <p:nvPr/>
        </p:nvSpPr>
        <p:spPr>
          <a:xfrm>
            <a:off x="4465320" y="1461516"/>
            <a:ext cx="151130" cy="280670"/>
          </a:xfrm>
          <a:custGeom>
            <a:avLst/>
            <a:gdLst/>
            <a:ahLst/>
            <a:cxnLst/>
            <a:rect l="l" t="t" r="r" b="b"/>
            <a:pathLst>
              <a:path w="151129" h="280669">
                <a:moveTo>
                  <a:pt x="62737" y="0"/>
                </a:moveTo>
                <a:lnTo>
                  <a:pt x="0" y="0"/>
                </a:lnTo>
                <a:lnTo>
                  <a:pt x="88137" y="140208"/>
                </a:lnTo>
                <a:lnTo>
                  <a:pt x="0" y="280416"/>
                </a:lnTo>
                <a:lnTo>
                  <a:pt x="62737" y="280416"/>
                </a:lnTo>
                <a:lnTo>
                  <a:pt x="150875" y="140208"/>
                </a:lnTo>
                <a:lnTo>
                  <a:pt x="62737" y="0"/>
                </a:lnTo>
                <a:close/>
              </a:path>
            </a:pathLst>
          </a:custGeom>
          <a:solidFill>
            <a:srgbClr val="632D8E"/>
          </a:solidFill>
        </p:spPr>
        <p:txBody>
          <a:bodyPr wrap="square" lIns="0" tIns="0" rIns="0" bIns="0" rtlCol="0"/>
          <a:lstStyle/>
          <a:p>
            <a:endParaRPr/>
          </a:p>
        </p:txBody>
      </p:sp>
      <p:sp>
        <p:nvSpPr>
          <p:cNvPr id="10" name="object 10"/>
          <p:cNvSpPr/>
          <p:nvPr/>
        </p:nvSpPr>
        <p:spPr>
          <a:xfrm>
            <a:off x="4573523" y="1490472"/>
            <a:ext cx="118872" cy="224027"/>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4799076" y="1115567"/>
            <a:ext cx="634365" cy="972819"/>
          </a:xfrm>
          <a:custGeom>
            <a:avLst/>
            <a:gdLst/>
            <a:ahLst/>
            <a:cxnLst/>
            <a:rect l="l" t="t" r="r" b="b"/>
            <a:pathLst>
              <a:path w="634364" h="972819">
                <a:moveTo>
                  <a:pt x="581787" y="0"/>
                </a:moveTo>
                <a:lnTo>
                  <a:pt x="52197" y="0"/>
                </a:lnTo>
                <a:lnTo>
                  <a:pt x="31878" y="4101"/>
                </a:lnTo>
                <a:lnTo>
                  <a:pt x="15287" y="15287"/>
                </a:lnTo>
                <a:lnTo>
                  <a:pt x="4101" y="31878"/>
                </a:lnTo>
                <a:lnTo>
                  <a:pt x="0" y="52197"/>
                </a:lnTo>
                <a:lnTo>
                  <a:pt x="0" y="920115"/>
                </a:lnTo>
                <a:lnTo>
                  <a:pt x="4101" y="940433"/>
                </a:lnTo>
                <a:lnTo>
                  <a:pt x="15287" y="957024"/>
                </a:lnTo>
                <a:lnTo>
                  <a:pt x="31878" y="968210"/>
                </a:lnTo>
                <a:lnTo>
                  <a:pt x="52197" y="972312"/>
                </a:lnTo>
                <a:lnTo>
                  <a:pt x="581787" y="972312"/>
                </a:lnTo>
                <a:lnTo>
                  <a:pt x="602105" y="968210"/>
                </a:lnTo>
                <a:lnTo>
                  <a:pt x="618696" y="957024"/>
                </a:lnTo>
                <a:lnTo>
                  <a:pt x="629882" y="940433"/>
                </a:lnTo>
                <a:lnTo>
                  <a:pt x="633984" y="920115"/>
                </a:lnTo>
                <a:lnTo>
                  <a:pt x="633984" y="52197"/>
                </a:lnTo>
                <a:lnTo>
                  <a:pt x="629882" y="31878"/>
                </a:lnTo>
                <a:lnTo>
                  <a:pt x="618696" y="15287"/>
                </a:lnTo>
                <a:lnTo>
                  <a:pt x="602105" y="4101"/>
                </a:lnTo>
                <a:lnTo>
                  <a:pt x="581787" y="0"/>
                </a:lnTo>
                <a:close/>
              </a:path>
            </a:pathLst>
          </a:custGeom>
          <a:solidFill>
            <a:srgbClr val="006FAC"/>
          </a:solidFill>
        </p:spPr>
        <p:txBody>
          <a:bodyPr wrap="square" lIns="0" tIns="0" rIns="0" bIns="0" rtlCol="0"/>
          <a:lstStyle/>
          <a:p>
            <a:endParaRPr/>
          </a:p>
        </p:txBody>
      </p:sp>
      <p:sp>
        <p:nvSpPr>
          <p:cNvPr id="12" name="object 12"/>
          <p:cNvSpPr txBox="1"/>
          <p:nvPr/>
        </p:nvSpPr>
        <p:spPr>
          <a:xfrm>
            <a:off x="5411723" y="1136903"/>
            <a:ext cx="6504940" cy="929640"/>
          </a:xfrm>
          <a:prstGeom prst="rect">
            <a:avLst/>
          </a:prstGeom>
          <a:ln w="9144">
            <a:solidFill>
              <a:srgbClr val="006FAC"/>
            </a:solidFill>
          </a:ln>
        </p:spPr>
        <p:txBody>
          <a:bodyPr vert="horz" wrap="square" lIns="0" tIns="45085" rIns="0" bIns="0" rtlCol="0">
            <a:spAutoFit/>
          </a:bodyPr>
          <a:lstStyle/>
          <a:p>
            <a:pPr marL="264795" marR="658495" indent="-172720">
              <a:lnSpc>
                <a:spcPct val="100000"/>
              </a:lnSpc>
              <a:spcBef>
                <a:spcPts val="355"/>
              </a:spcBef>
              <a:buClr>
                <a:srgbClr val="006FAC"/>
              </a:buClr>
              <a:buFont typeface="Wingdings"/>
              <a:buChar char=""/>
              <a:tabLst>
                <a:tab pos="265430" algn="l"/>
              </a:tabLst>
            </a:pPr>
            <a:r>
              <a:rPr sz="1100" spc="-5">
                <a:latin typeface="Verdana"/>
                <a:cs typeface="Verdana"/>
              </a:rPr>
              <a:t>Agile-Driven Analysis </a:t>
            </a:r>
            <a:r>
              <a:rPr sz="1100">
                <a:latin typeface="Verdana"/>
                <a:cs typeface="Verdana"/>
              </a:rPr>
              <a:t>and User-Story </a:t>
            </a:r>
            <a:r>
              <a:rPr sz="1100" spc="-5">
                <a:latin typeface="Verdana"/>
                <a:cs typeface="Verdana"/>
              </a:rPr>
              <a:t>approach helps to identify </a:t>
            </a:r>
            <a:r>
              <a:rPr sz="1100" spc="-10">
                <a:latin typeface="Verdana"/>
                <a:cs typeface="Verdana"/>
              </a:rPr>
              <a:t>all </a:t>
            </a:r>
            <a:r>
              <a:rPr sz="1100" spc="-5">
                <a:latin typeface="Verdana"/>
                <a:cs typeface="Verdana"/>
              </a:rPr>
              <a:t>the detailed  requirements </a:t>
            </a:r>
            <a:r>
              <a:rPr sz="1100">
                <a:latin typeface="Verdana"/>
                <a:cs typeface="Verdana"/>
              </a:rPr>
              <a:t>and speed up </a:t>
            </a:r>
            <a:r>
              <a:rPr sz="1100" spc="-5">
                <a:latin typeface="Verdana"/>
                <a:cs typeface="Verdana"/>
              </a:rPr>
              <a:t>the Analysis phase, without risking delays </a:t>
            </a:r>
            <a:r>
              <a:rPr sz="1100">
                <a:latin typeface="Verdana"/>
                <a:cs typeface="Verdana"/>
              </a:rPr>
              <a:t>on </a:t>
            </a:r>
            <a:r>
              <a:rPr sz="1100" spc="-5">
                <a:latin typeface="Verdana"/>
                <a:cs typeface="Verdana"/>
              </a:rPr>
              <a:t>the  implementation part, as </a:t>
            </a:r>
            <a:r>
              <a:rPr sz="1100">
                <a:latin typeface="Verdana"/>
                <a:cs typeface="Verdana"/>
              </a:rPr>
              <a:t>product </a:t>
            </a:r>
            <a:r>
              <a:rPr sz="1100" spc="-5">
                <a:latin typeface="Verdana"/>
                <a:cs typeface="Verdana"/>
              </a:rPr>
              <a:t>backlog </a:t>
            </a:r>
            <a:r>
              <a:rPr sz="1100">
                <a:latin typeface="Verdana"/>
                <a:cs typeface="Verdana"/>
              </a:rPr>
              <a:t>can </a:t>
            </a:r>
            <a:r>
              <a:rPr sz="1100" spc="-5">
                <a:latin typeface="Verdana"/>
                <a:cs typeface="Verdana"/>
              </a:rPr>
              <a:t>start to be</a:t>
            </a:r>
            <a:r>
              <a:rPr sz="1100" spc="120">
                <a:latin typeface="Verdana"/>
                <a:cs typeface="Verdana"/>
              </a:rPr>
              <a:t> </a:t>
            </a:r>
            <a:r>
              <a:rPr sz="1100" spc="-5">
                <a:latin typeface="Verdana"/>
                <a:cs typeface="Verdana"/>
              </a:rPr>
              <a:t>addressed</a:t>
            </a:r>
            <a:endParaRPr sz="1100">
              <a:latin typeface="Verdana"/>
              <a:cs typeface="Verdana"/>
            </a:endParaRPr>
          </a:p>
          <a:p>
            <a:pPr marL="264795" marR="326390" indent="-172720">
              <a:lnSpc>
                <a:spcPct val="100000"/>
              </a:lnSpc>
              <a:buClr>
                <a:srgbClr val="006FAC"/>
              </a:buClr>
              <a:buFont typeface="Wingdings"/>
              <a:buChar char=""/>
              <a:tabLst>
                <a:tab pos="265430" algn="l"/>
              </a:tabLst>
            </a:pPr>
            <a:r>
              <a:rPr sz="1100">
                <a:latin typeface="Verdana"/>
                <a:cs typeface="Verdana"/>
              </a:rPr>
              <a:t>Strong </a:t>
            </a:r>
            <a:r>
              <a:rPr sz="1100" spc="-10">
                <a:latin typeface="Verdana"/>
                <a:cs typeface="Verdana"/>
              </a:rPr>
              <a:t>gap-killing </a:t>
            </a:r>
            <a:r>
              <a:rPr sz="1100" spc="-5">
                <a:latin typeface="Verdana"/>
                <a:cs typeface="Verdana"/>
              </a:rPr>
              <a:t>approach should </a:t>
            </a:r>
            <a:r>
              <a:rPr sz="1100">
                <a:latin typeface="Verdana"/>
                <a:cs typeface="Verdana"/>
              </a:rPr>
              <a:t>ensure </a:t>
            </a:r>
            <a:r>
              <a:rPr sz="1100" spc="-5">
                <a:latin typeface="Verdana"/>
                <a:cs typeface="Verdana"/>
              </a:rPr>
              <a:t>that </a:t>
            </a:r>
            <a:r>
              <a:rPr sz="1100">
                <a:latin typeface="Verdana"/>
                <a:cs typeface="Verdana"/>
              </a:rPr>
              <a:t>product </a:t>
            </a:r>
            <a:r>
              <a:rPr sz="1100" spc="-5">
                <a:latin typeface="Verdana"/>
                <a:cs typeface="Verdana"/>
              </a:rPr>
              <a:t>backlog </a:t>
            </a:r>
            <a:r>
              <a:rPr sz="1100" spc="-10">
                <a:latin typeface="Verdana"/>
                <a:cs typeface="Verdana"/>
              </a:rPr>
              <a:t>is </a:t>
            </a:r>
            <a:r>
              <a:rPr sz="1100" spc="-5">
                <a:latin typeface="Verdana"/>
                <a:cs typeface="Verdana"/>
              </a:rPr>
              <a:t>correctly sized to  achieve milestones</a:t>
            </a:r>
            <a:endParaRPr sz="1100">
              <a:latin typeface="Verdana"/>
              <a:cs typeface="Verdana"/>
            </a:endParaRPr>
          </a:p>
        </p:txBody>
      </p:sp>
      <p:sp>
        <p:nvSpPr>
          <p:cNvPr id="13" name="object 13"/>
          <p:cNvSpPr/>
          <p:nvPr/>
        </p:nvSpPr>
        <p:spPr>
          <a:xfrm>
            <a:off x="4901184" y="1385316"/>
            <a:ext cx="431291" cy="432816"/>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227075" y="2423160"/>
            <a:ext cx="634365" cy="1201420"/>
          </a:xfrm>
          <a:custGeom>
            <a:avLst/>
            <a:gdLst/>
            <a:ahLst/>
            <a:cxnLst/>
            <a:rect l="l" t="t" r="r" b="b"/>
            <a:pathLst>
              <a:path w="634365" h="1201420">
                <a:moveTo>
                  <a:pt x="581799" y="0"/>
                </a:moveTo>
                <a:lnTo>
                  <a:pt x="52184" y="0"/>
                </a:lnTo>
                <a:lnTo>
                  <a:pt x="31873" y="4101"/>
                </a:lnTo>
                <a:lnTo>
                  <a:pt x="15286" y="15287"/>
                </a:lnTo>
                <a:lnTo>
                  <a:pt x="4101" y="31878"/>
                </a:lnTo>
                <a:lnTo>
                  <a:pt x="0" y="52197"/>
                </a:lnTo>
                <a:lnTo>
                  <a:pt x="0" y="1148714"/>
                </a:lnTo>
                <a:lnTo>
                  <a:pt x="4101" y="1169033"/>
                </a:lnTo>
                <a:lnTo>
                  <a:pt x="15286" y="1185624"/>
                </a:lnTo>
                <a:lnTo>
                  <a:pt x="31873" y="1196810"/>
                </a:lnTo>
                <a:lnTo>
                  <a:pt x="52184" y="1200912"/>
                </a:lnTo>
                <a:lnTo>
                  <a:pt x="581799" y="1200912"/>
                </a:lnTo>
                <a:lnTo>
                  <a:pt x="602110" y="1196810"/>
                </a:lnTo>
                <a:lnTo>
                  <a:pt x="618697" y="1185624"/>
                </a:lnTo>
                <a:lnTo>
                  <a:pt x="629882" y="1169033"/>
                </a:lnTo>
                <a:lnTo>
                  <a:pt x="633984" y="1148714"/>
                </a:lnTo>
                <a:lnTo>
                  <a:pt x="633984" y="52197"/>
                </a:lnTo>
                <a:lnTo>
                  <a:pt x="629882" y="31878"/>
                </a:lnTo>
                <a:lnTo>
                  <a:pt x="618697" y="15287"/>
                </a:lnTo>
                <a:lnTo>
                  <a:pt x="602110" y="4101"/>
                </a:lnTo>
                <a:lnTo>
                  <a:pt x="581799" y="0"/>
                </a:lnTo>
                <a:close/>
              </a:path>
            </a:pathLst>
          </a:custGeom>
          <a:solidFill>
            <a:srgbClr val="E2001F"/>
          </a:solidFill>
        </p:spPr>
        <p:txBody>
          <a:bodyPr wrap="square" lIns="0" tIns="0" rIns="0" bIns="0" rtlCol="0"/>
          <a:lstStyle/>
          <a:p>
            <a:endParaRPr/>
          </a:p>
        </p:txBody>
      </p:sp>
      <p:sp>
        <p:nvSpPr>
          <p:cNvPr id="15" name="object 15"/>
          <p:cNvSpPr txBox="1"/>
          <p:nvPr/>
        </p:nvSpPr>
        <p:spPr>
          <a:xfrm>
            <a:off x="839724" y="2449067"/>
            <a:ext cx="3415665" cy="1148080"/>
          </a:xfrm>
          <a:prstGeom prst="rect">
            <a:avLst/>
          </a:prstGeom>
          <a:ln w="9144">
            <a:solidFill>
              <a:srgbClr val="E2001F"/>
            </a:solidFill>
          </a:ln>
        </p:spPr>
        <p:txBody>
          <a:bodyPr vert="horz" wrap="square" lIns="0" tIns="4445" rIns="0" bIns="0" rtlCol="0">
            <a:spAutoFit/>
          </a:bodyPr>
          <a:lstStyle/>
          <a:p>
            <a:pPr>
              <a:lnSpc>
                <a:spcPct val="100000"/>
              </a:lnSpc>
              <a:spcBef>
                <a:spcPts val="35"/>
              </a:spcBef>
            </a:pPr>
            <a:endParaRPr sz="1600">
              <a:latin typeface="Times New Roman"/>
              <a:cs typeface="Times New Roman"/>
            </a:endParaRPr>
          </a:p>
          <a:p>
            <a:pPr marL="91440" marR="203835">
              <a:lnSpc>
                <a:spcPct val="100000"/>
              </a:lnSpc>
            </a:pPr>
            <a:r>
              <a:rPr sz="1100" b="1">
                <a:latin typeface="Verdana"/>
                <a:cs typeface="Verdana"/>
              </a:rPr>
              <a:t>Business Units </a:t>
            </a:r>
            <a:r>
              <a:rPr sz="1100" b="1" spc="-5">
                <a:latin typeface="Verdana"/>
                <a:cs typeface="Verdana"/>
              </a:rPr>
              <a:t>identification for Rollout  sequence</a:t>
            </a:r>
            <a:endParaRPr sz="1100">
              <a:latin typeface="Verdana"/>
              <a:cs typeface="Verdana"/>
            </a:endParaRPr>
          </a:p>
          <a:p>
            <a:pPr marL="263525" marR="137795" indent="-172720">
              <a:lnSpc>
                <a:spcPct val="100000"/>
              </a:lnSpc>
              <a:buClr>
                <a:srgbClr val="006FAC"/>
              </a:buClr>
              <a:buFont typeface="Wingdings"/>
              <a:buChar char=""/>
              <a:tabLst>
                <a:tab pos="264160" algn="l"/>
              </a:tabLst>
            </a:pPr>
            <a:r>
              <a:rPr sz="1100" spc="-10">
                <a:latin typeface="Verdana"/>
                <a:cs typeface="Verdana"/>
              </a:rPr>
              <a:t>Significative </a:t>
            </a:r>
            <a:r>
              <a:rPr sz="1100" spc="-5">
                <a:latin typeface="Verdana"/>
                <a:cs typeface="Verdana"/>
              </a:rPr>
              <a:t>Change Agents identifications  </a:t>
            </a:r>
            <a:r>
              <a:rPr sz="1100">
                <a:latin typeface="Verdana"/>
                <a:cs typeface="Verdana"/>
              </a:rPr>
              <a:t>and correct </a:t>
            </a:r>
            <a:r>
              <a:rPr sz="1100" spc="-5">
                <a:latin typeface="Verdana"/>
                <a:cs typeface="Verdana"/>
              </a:rPr>
              <a:t>complexity </a:t>
            </a:r>
            <a:r>
              <a:rPr sz="1100" spc="-10">
                <a:latin typeface="Verdana"/>
                <a:cs typeface="Verdana"/>
              </a:rPr>
              <a:t>mix is</a:t>
            </a:r>
            <a:r>
              <a:rPr sz="1100" spc="40">
                <a:latin typeface="Verdana"/>
                <a:cs typeface="Verdana"/>
              </a:rPr>
              <a:t> </a:t>
            </a:r>
            <a:r>
              <a:rPr sz="1100" spc="-5">
                <a:latin typeface="Verdana"/>
                <a:cs typeface="Verdana"/>
              </a:rPr>
              <a:t>fundamental</a:t>
            </a:r>
            <a:endParaRPr sz="1100">
              <a:latin typeface="Verdana"/>
              <a:cs typeface="Verdana"/>
            </a:endParaRPr>
          </a:p>
        </p:txBody>
      </p:sp>
      <p:sp>
        <p:nvSpPr>
          <p:cNvPr id="16" name="object 16"/>
          <p:cNvSpPr/>
          <p:nvPr/>
        </p:nvSpPr>
        <p:spPr>
          <a:xfrm>
            <a:off x="332231" y="2732532"/>
            <a:ext cx="424180" cy="579120"/>
          </a:xfrm>
          <a:custGeom>
            <a:avLst/>
            <a:gdLst/>
            <a:ahLst/>
            <a:cxnLst/>
            <a:rect l="l" t="t" r="r" b="b"/>
            <a:pathLst>
              <a:path w="424180" h="579120">
                <a:moveTo>
                  <a:pt x="274142" y="0"/>
                </a:moveTo>
                <a:lnTo>
                  <a:pt x="269151" y="0"/>
                </a:lnTo>
                <a:lnTo>
                  <a:pt x="264172" y="4952"/>
                </a:lnTo>
                <a:lnTo>
                  <a:pt x="174447" y="110108"/>
                </a:lnTo>
                <a:lnTo>
                  <a:pt x="108336" y="194225"/>
                </a:lnTo>
                <a:lnTo>
                  <a:pt x="74682" y="236268"/>
                </a:lnTo>
                <a:lnTo>
                  <a:pt x="40309" y="278293"/>
                </a:lnTo>
                <a:lnTo>
                  <a:pt x="4978" y="320293"/>
                </a:lnTo>
                <a:lnTo>
                  <a:pt x="4978" y="325373"/>
                </a:lnTo>
                <a:lnTo>
                  <a:pt x="0" y="325373"/>
                </a:lnTo>
                <a:lnTo>
                  <a:pt x="0" y="340359"/>
                </a:lnTo>
                <a:lnTo>
                  <a:pt x="9969" y="345439"/>
                </a:lnTo>
                <a:lnTo>
                  <a:pt x="209346" y="345439"/>
                </a:lnTo>
                <a:lnTo>
                  <a:pt x="139560" y="555625"/>
                </a:lnTo>
                <a:lnTo>
                  <a:pt x="134581" y="565657"/>
                </a:lnTo>
                <a:lnTo>
                  <a:pt x="134581" y="570610"/>
                </a:lnTo>
                <a:lnTo>
                  <a:pt x="139560" y="575690"/>
                </a:lnTo>
                <a:lnTo>
                  <a:pt x="146959" y="578397"/>
                </a:lnTo>
                <a:lnTo>
                  <a:pt x="153892" y="578770"/>
                </a:lnTo>
                <a:lnTo>
                  <a:pt x="159891" y="576333"/>
                </a:lnTo>
                <a:lnTo>
                  <a:pt x="164490" y="570610"/>
                </a:lnTo>
                <a:lnTo>
                  <a:pt x="186136" y="544321"/>
                </a:lnTo>
                <a:lnTo>
                  <a:pt x="227571" y="491743"/>
                </a:lnTo>
                <a:lnTo>
                  <a:pt x="249224" y="465454"/>
                </a:lnTo>
                <a:lnTo>
                  <a:pt x="284549" y="423454"/>
                </a:lnTo>
                <a:lnTo>
                  <a:pt x="318919" y="381429"/>
                </a:lnTo>
                <a:lnTo>
                  <a:pt x="352573" y="339386"/>
                </a:lnTo>
                <a:lnTo>
                  <a:pt x="418693" y="255269"/>
                </a:lnTo>
                <a:lnTo>
                  <a:pt x="423672" y="250316"/>
                </a:lnTo>
                <a:lnTo>
                  <a:pt x="423672" y="240283"/>
                </a:lnTo>
                <a:lnTo>
                  <a:pt x="413702" y="235203"/>
                </a:lnTo>
                <a:lnTo>
                  <a:pt x="408724" y="235203"/>
                </a:lnTo>
                <a:lnTo>
                  <a:pt x="214325" y="230250"/>
                </a:lnTo>
                <a:lnTo>
                  <a:pt x="289090" y="20065"/>
                </a:lnTo>
                <a:lnTo>
                  <a:pt x="289090" y="4952"/>
                </a:lnTo>
                <a:lnTo>
                  <a:pt x="284111" y="4952"/>
                </a:lnTo>
                <a:lnTo>
                  <a:pt x="274142" y="0"/>
                </a:lnTo>
                <a:close/>
              </a:path>
            </a:pathLst>
          </a:custGeom>
          <a:solidFill>
            <a:srgbClr val="FFFFFF"/>
          </a:solidFill>
        </p:spPr>
        <p:txBody>
          <a:bodyPr wrap="square" lIns="0" tIns="0" rIns="0" bIns="0" rtlCol="0"/>
          <a:lstStyle/>
          <a:p>
            <a:endParaRPr/>
          </a:p>
        </p:txBody>
      </p:sp>
      <p:sp>
        <p:nvSpPr>
          <p:cNvPr id="17" name="object 17"/>
          <p:cNvSpPr/>
          <p:nvPr/>
        </p:nvSpPr>
        <p:spPr>
          <a:xfrm>
            <a:off x="4315967" y="2833116"/>
            <a:ext cx="204470" cy="379730"/>
          </a:xfrm>
          <a:custGeom>
            <a:avLst/>
            <a:gdLst/>
            <a:ahLst/>
            <a:cxnLst/>
            <a:rect l="l" t="t" r="r" b="b"/>
            <a:pathLst>
              <a:path w="204470" h="379730">
                <a:moveTo>
                  <a:pt x="84962" y="0"/>
                </a:moveTo>
                <a:lnTo>
                  <a:pt x="0" y="0"/>
                </a:lnTo>
                <a:lnTo>
                  <a:pt x="119253" y="189737"/>
                </a:lnTo>
                <a:lnTo>
                  <a:pt x="0" y="379475"/>
                </a:lnTo>
                <a:lnTo>
                  <a:pt x="84962" y="379475"/>
                </a:lnTo>
                <a:lnTo>
                  <a:pt x="204216" y="189737"/>
                </a:lnTo>
                <a:lnTo>
                  <a:pt x="84962" y="0"/>
                </a:lnTo>
                <a:close/>
              </a:path>
            </a:pathLst>
          </a:custGeom>
          <a:solidFill>
            <a:srgbClr val="421F5D"/>
          </a:solidFill>
        </p:spPr>
        <p:txBody>
          <a:bodyPr wrap="square" lIns="0" tIns="0" rIns="0" bIns="0" rtlCol="0"/>
          <a:lstStyle/>
          <a:p>
            <a:endParaRPr/>
          </a:p>
        </p:txBody>
      </p:sp>
      <p:sp>
        <p:nvSpPr>
          <p:cNvPr id="18" name="object 18"/>
          <p:cNvSpPr/>
          <p:nvPr/>
        </p:nvSpPr>
        <p:spPr>
          <a:xfrm>
            <a:off x="4465320" y="2881883"/>
            <a:ext cx="151130" cy="280670"/>
          </a:xfrm>
          <a:custGeom>
            <a:avLst/>
            <a:gdLst/>
            <a:ahLst/>
            <a:cxnLst/>
            <a:rect l="l" t="t" r="r" b="b"/>
            <a:pathLst>
              <a:path w="151129" h="280669">
                <a:moveTo>
                  <a:pt x="62737" y="0"/>
                </a:moveTo>
                <a:lnTo>
                  <a:pt x="0" y="0"/>
                </a:lnTo>
                <a:lnTo>
                  <a:pt x="88137" y="140207"/>
                </a:lnTo>
                <a:lnTo>
                  <a:pt x="0" y="280415"/>
                </a:lnTo>
                <a:lnTo>
                  <a:pt x="62737" y="280415"/>
                </a:lnTo>
                <a:lnTo>
                  <a:pt x="150875" y="140207"/>
                </a:lnTo>
                <a:lnTo>
                  <a:pt x="62737" y="0"/>
                </a:lnTo>
                <a:close/>
              </a:path>
            </a:pathLst>
          </a:custGeom>
          <a:solidFill>
            <a:srgbClr val="632D8E"/>
          </a:solidFill>
        </p:spPr>
        <p:txBody>
          <a:bodyPr wrap="square" lIns="0" tIns="0" rIns="0" bIns="0" rtlCol="0"/>
          <a:lstStyle/>
          <a:p>
            <a:endParaRPr/>
          </a:p>
        </p:txBody>
      </p:sp>
      <p:sp>
        <p:nvSpPr>
          <p:cNvPr id="19" name="object 19"/>
          <p:cNvSpPr/>
          <p:nvPr/>
        </p:nvSpPr>
        <p:spPr>
          <a:xfrm>
            <a:off x="4573523" y="2910839"/>
            <a:ext cx="118872" cy="224027"/>
          </a:xfrm>
          <a:prstGeom prst="rect">
            <a:avLst/>
          </a:prstGeom>
          <a:blipFill>
            <a:blip r:embed="rId2" cstate="print"/>
            <a:stretch>
              <a:fillRect/>
            </a:stretch>
          </a:blipFill>
        </p:spPr>
        <p:txBody>
          <a:bodyPr wrap="square" lIns="0" tIns="0" rIns="0" bIns="0" rtlCol="0"/>
          <a:lstStyle/>
          <a:p>
            <a:endParaRPr/>
          </a:p>
        </p:txBody>
      </p:sp>
      <p:sp>
        <p:nvSpPr>
          <p:cNvPr id="20" name="object 20"/>
          <p:cNvSpPr/>
          <p:nvPr/>
        </p:nvSpPr>
        <p:spPr>
          <a:xfrm>
            <a:off x="4799076" y="2423160"/>
            <a:ext cx="634365" cy="1201420"/>
          </a:xfrm>
          <a:custGeom>
            <a:avLst/>
            <a:gdLst/>
            <a:ahLst/>
            <a:cxnLst/>
            <a:rect l="l" t="t" r="r" b="b"/>
            <a:pathLst>
              <a:path w="634364" h="1201420">
                <a:moveTo>
                  <a:pt x="581787" y="0"/>
                </a:moveTo>
                <a:lnTo>
                  <a:pt x="52197" y="0"/>
                </a:lnTo>
                <a:lnTo>
                  <a:pt x="31878" y="4101"/>
                </a:lnTo>
                <a:lnTo>
                  <a:pt x="15287" y="15287"/>
                </a:lnTo>
                <a:lnTo>
                  <a:pt x="4101" y="31878"/>
                </a:lnTo>
                <a:lnTo>
                  <a:pt x="0" y="52197"/>
                </a:lnTo>
                <a:lnTo>
                  <a:pt x="0" y="1148714"/>
                </a:lnTo>
                <a:lnTo>
                  <a:pt x="4101" y="1169033"/>
                </a:lnTo>
                <a:lnTo>
                  <a:pt x="15287" y="1185624"/>
                </a:lnTo>
                <a:lnTo>
                  <a:pt x="31878" y="1196810"/>
                </a:lnTo>
                <a:lnTo>
                  <a:pt x="52197" y="1200912"/>
                </a:lnTo>
                <a:lnTo>
                  <a:pt x="581787" y="1200912"/>
                </a:lnTo>
                <a:lnTo>
                  <a:pt x="602105" y="1196810"/>
                </a:lnTo>
                <a:lnTo>
                  <a:pt x="618696" y="1185624"/>
                </a:lnTo>
                <a:lnTo>
                  <a:pt x="629882" y="1169033"/>
                </a:lnTo>
                <a:lnTo>
                  <a:pt x="633984" y="1148714"/>
                </a:lnTo>
                <a:lnTo>
                  <a:pt x="633984" y="52197"/>
                </a:lnTo>
                <a:lnTo>
                  <a:pt x="629882" y="31878"/>
                </a:lnTo>
                <a:lnTo>
                  <a:pt x="618696" y="15287"/>
                </a:lnTo>
                <a:lnTo>
                  <a:pt x="602105" y="4101"/>
                </a:lnTo>
                <a:lnTo>
                  <a:pt x="581787" y="0"/>
                </a:lnTo>
                <a:close/>
              </a:path>
            </a:pathLst>
          </a:custGeom>
          <a:solidFill>
            <a:srgbClr val="006FAC"/>
          </a:solidFill>
        </p:spPr>
        <p:txBody>
          <a:bodyPr wrap="square" lIns="0" tIns="0" rIns="0" bIns="0" rtlCol="0"/>
          <a:lstStyle/>
          <a:p>
            <a:endParaRPr/>
          </a:p>
        </p:txBody>
      </p:sp>
      <p:sp>
        <p:nvSpPr>
          <p:cNvPr id="21" name="object 21"/>
          <p:cNvSpPr txBox="1"/>
          <p:nvPr/>
        </p:nvSpPr>
        <p:spPr>
          <a:xfrm>
            <a:off x="5411723" y="2449067"/>
            <a:ext cx="6504940" cy="1148080"/>
          </a:xfrm>
          <a:prstGeom prst="rect">
            <a:avLst/>
          </a:prstGeom>
          <a:ln w="9144">
            <a:solidFill>
              <a:srgbClr val="006FAC"/>
            </a:solidFill>
          </a:ln>
        </p:spPr>
        <p:txBody>
          <a:bodyPr vert="horz" wrap="square" lIns="0" tIns="0" rIns="0" bIns="0" rtlCol="0">
            <a:spAutoFit/>
          </a:bodyPr>
          <a:lstStyle/>
          <a:p>
            <a:pPr>
              <a:lnSpc>
                <a:spcPct val="100000"/>
              </a:lnSpc>
            </a:pPr>
            <a:endParaRPr sz="1300">
              <a:latin typeface="Times New Roman"/>
              <a:cs typeface="Times New Roman"/>
            </a:endParaRPr>
          </a:p>
          <a:p>
            <a:pPr marL="264795" marR="268605" indent="-172720">
              <a:lnSpc>
                <a:spcPct val="100000"/>
              </a:lnSpc>
              <a:spcBef>
                <a:spcPts val="1040"/>
              </a:spcBef>
              <a:buClr>
                <a:srgbClr val="006FAC"/>
              </a:buClr>
              <a:buFont typeface="Wingdings"/>
              <a:buChar char=""/>
              <a:tabLst>
                <a:tab pos="265430" algn="l"/>
              </a:tabLst>
            </a:pPr>
            <a:r>
              <a:rPr sz="1100" spc="-5">
                <a:latin typeface="Verdana"/>
                <a:cs typeface="Verdana"/>
              </a:rPr>
              <a:t>Different approaches identified could be to business units by functionalities  </a:t>
            </a:r>
            <a:r>
              <a:rPr sz="1100">
                <a:latin typeface="Verdana"/>
                <a:cs typeface="Verdana"/>
              </a:rPr>
              <a:t>(subsequent subsets of </a:t>
            </a:r>
            <a:r>
              <a:rPr sz="1100" spc="-5">
                <a:latin typeface="Verdana"/>
                <a:cs typeface="Verdana"/>
              </a:rPr>
              <a:t>features, to </a:t>
            </a:r>
            <a:r>
              <a:rPr sz="1100" spc="-10">
                <a:latin typeface="Verdana"/>
                <a:cs typeface="Verdana"/>
              </a:rPr>
              <a:t>simplify </a:t>
            </a:r>
            <a:r>
              <a:rPr sz="1100" spc="-5">
                <a:latin typeface="Verdana"/>
                <a:cs typeface="Verdana"/>
              </a:rPr>
              <a:t>stabilization) </a:t>
            </a:r>
            <a:r>
              <a:rPr sz="1100">
                <a:latin typeface="Verdana"/>
                <a:cs typeface="Verdana"/>
              </a:rPr>
              <a:t>or </a:t>
            </a:r>
            <a:r>
              <a:rPr sz="1100" spc="-5">
                <a:latin typeface="Verdana"/>
                <a:cs typeface="Verdana"/>
              </a:rPr>
              <a:t>cluster by geography to  </a:t>
            </a:r>
            <a:r>
              <a:rPr sz="1100" spc="-10">
                <a:latin typeface="Verdana"/>
                <a:cs typeface="Verdana"/>
              </a:rPr>
              <a:t>simplify </a:t>
            </a:r>
            <a:r>
              <a:rPr sz="1100" spc="-5">
                <a:latin typeface="Verdana"/>
                <a:cs typeface="Verdana"/>
              </a:rPr>
              <a:t>change management </a:t>
            </a:r>
            <a:r>
              <a:rPr sz="1100">
                <a:latin typeface="Verdana"/>
                <a:cs typeface="Verdana"/>
              </a:rPr>
              <a:t>and</a:t>
            </a:r>
            <a:r>
              <a:rPr sz="1100" spc="85">
                <a:latin typeface="Verdana"/>
                <a:cs typeface="Verdana"/>
              </a:rPr>
              <a:t> </a:t>
            </a:r>
            <a:r>
              <a:rPr sz="1100" spc="-5">
                <a:latin typeface="Verdana"/>
                <a:cs typeface="Verdana"/>
              </a:rPr>
              <a:t>hypercare</a:t>
            </a:r>
            <a:endParaRPr sz="1100">
              <a:latin typeface="Verdana"/>
              <a:cs typeface="Verdana"/>
            </a:endParaRPr>
          </a:p>
        </p:txBody>
      </p:sp>
      <p:sp>
        <p:nvSpPr>
          <p:cNvPr id="22" name="object 22"/>
          <p:cNvSpPr/>
          <p:nvPr/>
        </p:nvSpPr>
        <p:spPr>
          <a:xfrm>
            <a:off x="4901184" y="2807207"/>
            <a:ext cx="431291" cy="432815"/>
          </a:xfrm>
          <a:prstGeom prst="rect">
            <a:avLst/>
          </a:prstGeom>
          <a:blipFill>
            <a:blip r:embed="rId4" cstate="print"/>
            <a:stretch>
              <a:fillRect/>
            </a:stretch>
          </a:blipFill>
        </p:spPr>
        <p:txBody>
          <a:bodyPr wrap="square" lIns="0" tIns="0" rIns="0" bIns="0" rtlCol="0"/>
          <a:lstStyle/>
          <a:p>
            <a:endParaRPr/>
          </a:p>
        </p:txBody>
      </p:sp>
      <p:sp>
        <p:nvSpPr>
          <p:cNvPr id="23" name="object 23"/>
          <p:cNvSpPr/>
          <p:nvPr/>
        </p:nvSpPr>
        <p:spPr>
          <a:xfrm>
            <a:off x="227075" y="3957828"/>
            <a:ext cx="634365" cy="972819"/>
          </a:xfrm>
          <a:custGeom>
            <a:avLst/>
            <a:gdLst/>
            <a:ahLst/>
            <a:cxnLst/>
            <a:rect l="l" t="t" r="r" b="b"/>
            <a:pathLst>
              <a:path w="634365" h="972820">
                <a:moveTo>
                  <a:pt x="581799" y="0"/>
                </a:moveTo>
                <a:lnTo>
                  <a:pt x="52184" y="0"/>
                </a:lnTo>
                <a:lnTo>
                  <a:pt x="31873" y="4101"/>
                </a:lnTo>
                <a:lnTo>
                  <a:pt x="15286" y="15287"/>
                </a:lnTo>
                <a:lnTo>
                  <a:pt x="4101" y="31878"/>
                </a:lnTo>
                <a:lnTo>
                  <a:pt x="0" y="52197"/>
                </a:lnTo>
                <a:lnTo>
                  <a:pt x="0" y="920115"/>
                </a:lnTo>
                <a:lnTo>
                  <a:pt x="4101" y="940433"/>
                </a:lnTo>
                <a:lnTo>
                  <a:pt x="15286" y="957024"/>
                </a:lnTo>
                <a:lnTo>
                  <a:pt x="31873" y="968210"/>
                </a:lnTo>
                <a:lnTo>
                  <a:pt x="52184" y="972312"/>
                </a:lnTo>
                <a:lnTo>
                  <a:pt x="581799" y="972312"/>
                </a:lnTo>
                <a:lnTo>
                  <a:pt x="602110" y="968210"/>
                </a:lnTo>
                <a:lnTo>
                  <a:pt x="618697" y="957024"/>
                </a:lnTo>
                <a:lnTo>
                  <a:pt x="629882" y="940433"/>
                </a:lnTo>
                <a:lnTo>
                  <a:pt x="633984" y="920115"/>
                </a:lnTo>
                <a:lnTo>
                  <a:pt x="633984" y="52197"/>
                </a:lnTo>
                <a:lnTo>
                  <a:pt x="629882" y="31878"/>
                </a:lnTo>
                <a:lnTo>
                  <a:pt x="618697" y="15287"/>
                </a:lnTo>
                <a:lnTo>
                  <a:pt x="602110" y="4101"/>
                </a:lnTo>
                <a:lnTo>
                  <a:pt x="581799" y="0"/>
                </a:lnTo>
                <a:close/>
              </a:path>
            </a:pathLst>
          </a:custGeom>
          <a:solidFill>
            <a:srgbClr val="E2001F"/>
          </a:solidFill>
        </p:spPr>
        <p:txBody>
          <a:bodyPr wrap="square" lIns="0" tIns="0" rIns="0" bIns="0" rtlCol="0"/>
          <a:lstStyle/>
          <a:p>
            <a:endParaRPr/>
          </a:p>
        </p:txBody>
      </p:sp>
      <p:sp>
        <p:nvSpPr>
          <p:cNvPr id="24" name="object 24"/>
          <p:cNvSpPr txBox="1"/>
          <p:nvPr/>
        </p:nvSpPr>
        <p:spPr>
          <a:xfrm>
            <a:off x="839724" y="3980688"/>
            <a:ext cx="3415665" cy="928369"/>
          </a:xfrm>
          <a:prstGeom prst="rect">
            <a:avLst/>
          </a:prstGeom>
          <a:ln w="9144">
            <a:solidFill>
              <a:srgbClr val="E2001F"/>
            </a:solidFill>
          </a:ln>
        </p:spPr>
        <p:txBody>
          <a:bodyPr vert="horz" wrap="square" lIns="0" tIns="128270" rIns="0" bIns="0" rtlCol="0">
            <a:spAutoFit/>
          </a:bodyPr>
          <a:lstStyle/>
          <a:p>
            <a:pPr marL="91440">
              <a:lnSpc>
                <a:spcPct val="100000"/>
              </a:lnSpc>
              <a:spcBef>
                <a:spcPts val="1010"/>
              </a:spcBef>
            </a:pPr>
            <a:r>
              <a:rPr sz="1100" b="1">
                <a:latin typeface="Verdana"/>
                <a:cs typeface="Verdana"/>
              </a:rPr>
              <a:t>Concurrent</a:t>
            </a:r>
            <a:r>
              <a:rPr sz="1100" b="1" spc="-45">
                <a:latin typeface="Verdana"/>
                <a:cs typeface="Verdana"/>
              </a:rPr>
              <a:t> </a:t>
            </a:r>
            <a:r>
              <a:rPr sz="1100" b="1" spc="-5">
                <a:latin typeface="Verdana"/>
                <a:cs typeface="Verdana"/>
              </a:rPr>
              <a:t>projects</a:t>
            </a:r>
            <a:endParaRPr sz="1100">
              <a:latin typeface="Verdana"/>
              <a:cs typeface="Verdana"/>
            </a:endParaRPr>
          </a:p>
          <a:p>
            <a:pPr marL="263525" marR="231140" indent="-172720">
              <a:lnSpc>
                <a:spcPct val="100000"/>
              </a:lnSpc>
              <a:buClr>
                <a:srgbClr val="006FAC"/>
              </a:buClr>
              <a:buFont typeface="Wingdings"/>
              <a:buChar char=""/>
              <a:tabLst>
                <a:tab pos="264160" algn="l"/>
              </a:tabLst>
            </a:pPr>
            <a:r>
              <a:rPr sz="1100" spc="-5">
                <a:latin typeface="Verdana"/>
                <a:cs typeface="Verdana"/>
              </a:rPr>
              <a:t>Ensure alignments with </a:t>
            </a:r>
            <a:r>
              <a:rPr sz="1100">
                <a:latin typeface="Verdana"/>
                <a:cs typeface="Verdana"/>
              </a:rPr>
              <a:t>concurrent  projects, and ensure </a:t>
            </a:r>
            <a:r>
              <a:rPr sz="1100" spc="-10">
                <a:latin typeface="Verdana"/>
                <a:cs typeface="Verdana"/>
              </a:rPr>
              <a:t>availability </a:t>
            </a:r>
            <a:r>
              <a:rPr sz="1100">
                <a:latin typeface="Verdana"/>
                <a:cs typeface="Verdana"/>
              </a:rPr>
              <a:t>of </a:t>
            </a:r>
            <a:r>
              <a:rPr sz="1100" spc="-5">
                <a:latin typeface="Verdana"/>
                <a:cs typeface="Verdana"/>
              </a:rPr>
              <a:t>timely  developments</a:t>
            </a:r>
            <a:endParaRPr sz="1100">
              <a:latin typeface="Verdana"/>
              <a:cs typeface="Verdana"/>
            </a:endParaRPr>
          </a:p>
        </p:txBody>
      </p:sp>
      <p:sp>
        <p:nvSpPr>
          <p:cNvPr id="25" name="object 25"/>
          <p:cNvSpPr/>
          <p:nvPr/>
        </p:nvSpPr>
        <p:spPr>
          <a:xfrm>
            <a:off x="332231" y="4154423"/>
            <a:ext cx="424180" cy="579120"/>
          </a:xfrm>
          <a:custGeom>
            <a:avLst/>
            <a:gdLst/>
            <a:ahLst/>
            <a:cxnLst/>
            <a:rect l="l" t="t" r="r" b="b"/>
            <a:pathLst>
              <a:path w="424180" h="579120">
                <a:moveTo>
                  <a:pt x="274142" y="0"/>
                </a:moveTo>
                <a:lnTo>
                  <a:pt x="269151" y="0"/>
                </a:lnTo>
                <a:lnTo>
                  <a:pt x="264172" y="4952"/>
                </a:lnTo>
                <a:lnTo>
                  <a:pt x="174447" y="110108"/>
                </a:lnTo>
                <a:lnTo>
                  <a:pt x="108336" y="194225"/>
                </a:lnTo>
                <a:lnTo>
                  <a:pt x="74682" y="236268"/>
                </a:lnTo>
                <a:lnTo>
                  <a:pt x="40309" y="278293"/>
                </a:lnTo>
                <a:lnTo>
                  <a:pt x="4978" y="320294"/>
                </a:lnTo>
                <a:lnTo>
                  <a:pt x="4978" y="325374"/>
                </a:lnTo>
                <a:lnTo>
                  <a:pt x="0" y="325374"/>
                </a:lnTo>
                <a:lnTo>
                  <a:pt x="0" y="340359"/>
                </a:lnTo>
                <a:lnTo>
                  <a:pt x="9969" y="345439"/>
                </a:lnTo>
                <a:lnTo>
                  <a:pt x="209346" y="345439"/>
                </a:lnTo>
                <a:lnTo>
                  <a:pt x="139560" y="555625"/>
                </a:lnTo>
                <a:lnTo>
                  <a:pt x="134581" y="565657"/>
                </a:lnTo>
                <a:lnTo>
                  <a:pt x="134581" y="570611"/>
                </a:lnTo>
                <a:lnTo>
                  <a:pt x="139560" y="575690"/>
                </a:lnTo>
                <a:lnTo>
                  <a:pt x="146959" y="578397"/>
                </a:lnTo>
                <a:lnTo>
                  <a:pt x="153892" y="578770"/>
                </a:lnTo>
                <a:lnTo>
                  <a:pt x="159891" y="576333"/>
                </a:lnTo>
                <a:lnTo>
                  <a:pt x="164490" y="570611"/>
                </a:lnTo>
                <a:lnTo>
                  <a:pt x="186136" y="544321"/>
                </a:lnTo>
                <a:lnTo>
                  <a:pt x="227571" y="491744"/>
                </a:lnTo>
                <a:lnTo>
                  <a:pt x="249224" y="465455"/>
                </a:lnTo>
                <a:lnTo>
                  <a:pt x="284549" y="423454"/>
                </a:lnTo>
                <a:lnTo>
                  <a:pt x="318919" y="381429"/>
                </a:lnTo>
                <a:lnTo>
                  <a:pt x="352573" y="339386"/>
                </a:lnTo>
                <a:lnTo>
                  <a:pt x="418693" y="255269"/>
                </a:lnTo>
                <a:lnTo>
                  <a:pt x="423672" y="250317"/>
                </a:lnTo>
                <a:lnTo>
                  <a:pt x="423672" y="240283"/>
                </a:lnTo>
                <a:lnTo>
                  <a:pt x="413702" y="235203"/>
                </a:lnTo>
                <a:lnTo>
                  <a:pt x="408724" y="235203"/>
                </a:lnTo>
                <a:lnTo>
                  <a:pt x="214325" y="230250"/>
                </a:lnTo>
                <a:lnTo>
                  <a:pt x="289090" y="20065"/>
                </a:lnTo>
                <a:lnTo>
                  <a:pt x="289090" y="4952"/>
                </a:lnTo>
                <a:lnTo>
                  <a:pt x="284111" y="4952"/>
                </a:lnTo>
                <a:lnTo>
                  <a:pt x="274142" y="0"/>
                </a:lnTo>
                <a:close/>
              </a:path>
            </a:pathLst>
          </a:custGeom>
          <a:solidFill>
            <a:srgbClr val="FFFFFF"/>
          </a:solidFill>
        </p:spPr>
        <p:txBody>
          <a:bodyPr wrap="square" lIns="0" tIns="0" rIns="0" bIns="0" rtlCol="0"/>
          <a:lstStyle/>
          <a:p>
            <a:endParaRPr/>
          </a:p>
        </p:txBody>
      </p:sp>
      <p:sp>
        <p:nvSpPr>
          <p:cNvPr id="26" name="object 26"/>
          <p:cNvSpPr/>
          <p:nvPr/>
        </p:nvSpPr>
        <p:spPr>
          <a:xfrm>
            <a:off x="4315967" y="4255008"/>
            <a:ext cx="204470" cy="379730"/>
          </a:xfrm>
          <a:custGeom>
            <a:avLst/>
            <a:gdLst/>
            <a:ahLst/>
            <a:cxnLst/>
            <a:rect l="l" t="t" r="r" b="b"/>
            <a:pathLst>
              <a:path w="204470" h="379729">
                <a:moveTo>
                  <a:pt x="84962" y="0"/>
                </a:moveTo>
                <a:lnTo>
                  <a:pt x="0" y="0"/>
                </a:lnTo>
                <a:lnTo>
                  <a:pt x="119253" y="189738"/>
                </a:lnTo>
                <a:lnTo>
                  <a:pt x="0" y="379476"/>
                </a:lnTo>
                <a:lnTo>
                  <a:pt x="84962" y="379476"/>
                </a:lnTo>
                <a:lnTo>
                  <a:pt x="204216" y="189738"/>
                </a:lnTo>
                <a:lnTo>
                  <a:pt x="84962" y="0"/>
                </a:lnTo>
                <a:close/>
              </a:path>
            </a:pathLst>
          </a:custGeom>
          <a:solidFill>
            <a:srgbClr val="421F5D"/>
          </a:solidFill>
        </p:spPr>
        <p:txBody>
          <a:bodyPr wrap="square" lIns="0" tIns="0" rIns="0" bIns="0" rtlCol="0"/>
          <a:lstStyle/>
          <a:p>
            <a:endParaRPr/>
          </a:p>
        </p:txBody>
      </p:sp>
      <p:sp>
        <p:nvSpPr>
          <p:cNvPr id="27" name="object 27"/>
          <p:cNvSpPr/>
          <p:nvPr/>
        </p:nvSpPr>
        <p:spPr>
          <a:xfrm>
            <a:off x="4465320" y="4303776"/>
            <a:ext cx="151130" cy="280670"/>
          </a:xfrm>
          <a:custGeom>
            <a:avLst/>
            <a:gdLst/>
            <a:ahLst/>
            <a:cxnLst/>
            <a:rect l="l" t="t" r="r" b="b"/>
            <a:pathLst>
              <a:path w="151129" h="280670">
                <a:moveTo>
                  <a:pt x="62737" y="0"/>
                </a:moveTo>
                <a:lnTo>
                  <a:pt x="0" y="0"/>
                </a:lnTo>
                <a:lnTo>
                  <a:pt x="88137" y="140207"/>
                </a:lnTo>
                <a:lnTo>
                  <a:pt x="0" y="280416"/>
                </a:lnTo>
                <a:lnTo>
                  <a:pt x="62737" y="280416"/>
                </a:lnTo>
                <a:lnTo>
                  <a:pt x="150875" y="140207"/>
                </a:lnTo>
                <a:lnTo>
                  <a:pt x="62737" y="0"/>
                </a:lnTo>
                <a:close/>
              </a:path>
            </a:pathLst>
          </a:custGeom>
          <a:solidFill>
            <a:srgbClr val="632D8E"/>
          </a:solidFill>
        </p:spPr>
        <p:txBody>
          <a:bodyPr wrap="square" lIns="0" tIns="0" rIns="0" bIns="0" rtlCol="0"/>
          <a:lstStyle/>
          <a:p>
            <a:endParaRPr/>
          </a:p>
        </p:txBody>
      </p:sp>
      <p:sp>
        <p:nvSpPr>
          <p:cNvPr id="28" name="object 28"/>
          <p:cNvSpPr/>
          <p:nvPr/>
        </p:nvSpPr>
        <p:spPr>
          <a:xfrm>
            <a:off x="4573523" y="4332732"/>
            <a:ext cx="118872" cy="224028"/>
          </a:xfrm>
          <a:prstGeom prst="rect">
            <a:avLst/>
          </a:prstGeom>
          <a:blipFill>
            <a:blip r:embed="rId2" cstate="print"/>
            <a:stretch>
              <a:fillRect/>
            </a:stretch>
          </a:blipFill>
        </p:spPr>
        <p:txBody>
          <a:bodyPr wrap="square" lIns="0" tIns="0" rIns="0" bIns="0" rtlCol="0"/>
          <a:lstStyle/>
          <a:p>
            <a:endParaRPr/>
          </a:p>
        </p:txBody>
      </p:sp>
      <p:sp>
        <p:nvSpPr>
          <p:cNvPr id="29" name="object 29"/>
          <p:cNvSpPr/>
          <p:nvPr/>
        </p:nvSpPr>
        <p:spPr>
          <a:xfrm>
            <a:off x="4799076" y="3957828"/>
            <a:ext cx="634365" cy="972819"/>
          </a:xfrm>
          <a:custGeom>
            <a:avLst/>
            <a:gdLst/>
            <a:ahLst/>
            <a:cxnLst/>
            <a:rect l="l" t="t" r="r" b="b"/>
            <a:pathLst>
              <a:path w="634364" h="972820">
                <a:moveTo>
                  <a:pt x="581787" y="0"/>
                </a:moveTo>
                <a:lnTo>
                  <a:pt x="52197" y="0"/>
                </a:lnTo>
                <a:lnTo>
                  <a:pt x="31878" y="4101"/>
                </a:lnTo>
                <a:lnTo>
                  <a:pt x="15287" y="15287"/>
                </a:lnTo>
                <a:lnTo>
                  <a:pt x="4101" y="31878"/>
                </a:lnTo>
                <a:lnTo>
                  <a:pt x="0" y="52197"/>
                </a:lnTo>
                <a:lnTo>
                  <a:pt x="0" y="920115"/>
                </a:lnTo>
                <a:lnTo>
                  <a:pt x="4101" y="940433"/>
                </a:lnTo>
                <a:lnTo>
                  <a:pt x="15287" y="957024"/>
                </a:lnTo>
                <a:lnTo>
                  <a:pt x="31878" y="968210"/>
                </a:lnTo>
                <a:lnTo>
                  <a:pt x="52197" y="972312"/>
                </a:lnTo>
                <a:lnTo>
                  <a:pt x="581787" y="972312"/>
                </a:lnTo>
                <a:lnTo>
                  <a:pt x="602105" y="968210"/>
                </a:lnTo>
                <a:lnTo>
                  <a:pt x="618696" y="957024"/>
                </a:lnTo>
                <a:lnTo>
                  <a:pt x="629882" y="940433"/>
                </a:lnTo>
                <a:lnTo>
                  <a:pt x="633984" y="920115"/>
                </a:lnTo>
                <a:lnTo>
                  <a:pt x="633984" y="52197"/>
                </a:lnTo>
                <a:lnTo>
                  <a:pt x="629882" y="31878"/>
                </a:lnTo>
                <a:lnTo>
                  <a:pt x="618696" y="15287"/>
                </a:lnTo>
                <a:lnTo>
                  <a:pt x="602105" y="4101"/>
                </a:lnTo>
                <a:lnTo>
                  <a:pt x="581787" y="0"/>
                </a:lnTo>
                <a:close/>
              </a:path>
            </a:pathLst>
          </a:custGeom>
          <a:solidFill>
            <a:srgbClr val="006FAC"/>
          </a:solidFill>
        </p:spPr>
        <p:txBody>
          <a:bodyPr wrap="square" lIns="0" tIns="0" rIns="0" bIns="0" rtlCol="0"/>
          <a:lstStyle/>
          <a:p>
            <a:endParaRPr/>
          </a:p>
        </p:txBody>
      </p:sp>
      <p:sp>
        <p:nvSpPr>
          <p:cNvPr id="30" name="object 30"/>
          <p:cNvSpPr txBox="1"/>
          <p:nvPr/>
        </p:nvSpPr>
        <p:spPr>
          <a:xfrm>
            <a:off x="5411723" y="3980688"/>
            <a:ext cx="6504940" cy="928369"/>
          </a:xfrm>
          <a:prstGeom prst="rect">
            <a:avLst/>
          </a:prstGeom>
          <a:ln w="9144">
            <a:solidFill>
              <a:srgbClr val="006FAC"/>
            </a:solidFill>
          </a:ln>
        </p:spPr>
        <p:txBody>
          <a:bodyPr vert="horz" wrap="square" lIns="0" tIns="0" rIns="0" bIns="0" rtlCol="0">
            <a:spAutoFit/>
          </a:bodyPr>
          <a:lstStyle/>
          <a:p>
            <a:pPr>
              <a:lnSpc>
                <a:spcPct val="100000"/>
              </a:lnSpc>
            </a:pPr>
            <a:endParaRPr sz="1450">
              <a:latin typeface="Times New Roman"/>
              <a:cs typeface="Times New Roman"/>
            </a:endParaRPr>
          </a:p>
          <a:p>
            <a:pPr marL="264795" indent="-172720">
              <a:lnSpc>
                <a:spcPct val="100000"/>
              </a:lnSpc>
              <a:spcBef>
                <a:spcPts val="5"/>
              </a:spcBef>
              <a:buClr>
                <a:srgbClr val="006FAC"/>
              </a:buClr>
              <a:buFont typeface="Wingdings"/>
              <a:buChar char=""/>
              <a:tabLst>
                <a:tab pos="265430" algn="l"/>
              </a:tabLst>
            </a:pPr>
            <a:r>
              <a:rPr sz="1100" spc="-5">
                <a:latin typeface="Verdana"/>
                <a:cs typeface="Verdana"/>
              </a:rPr>
              <a:t>Ensure overall </a:t>
            </a:r>
            <a:r>
              <a:rPr sz="1100">
                <a:latin typeface="Verdana"/>
                <a:cs typeface="Verdana"/>
              </a:rPr>
              <a:t>governance and </a:t>
            </a:r>
            <a:r>
              <a:rPr sz="1100" spc="-5">
                <a:latin typeface="Verdana"/>
                <a:cs typeface="Verdana"/>
              </a:rPr>
              <a:t>masterplan alignment </a:t>
            </a:r>
            <a:r>
              <a:rPr sz="1100">
                <a:latin typeface="Verdana"/>
                <a:cs typeface="Verdana"/>
              </a:rPr>
              <a:t>between </a:t>
            </a:r>
            <a:r>
              <a:rPr sz="1100" spc="-10">
                <a:latin typeface="Verdana"/>
                <a:cs typeface="Verdana"/>
              </a:rPr>
              <a:t>all </a:t>
            </a:r>
            <a:r>
              <a:rPr sz="1100" spc="-5">
                <a:latin typeface="Verdana"/>
                <a:cs typeface="Verdana"/>
              </a:rPr>
              <a:t>the</a:t>
            </a:r>
            <a:r>
              <a:rPr sz="1100" spc="110">
                <a:latin typeface="Verdana"/>
                <a:cs typeface="Verdana"/>
              </a:rPr>
              <a:t> </a:t>
            </a:r>
            <a:r>
              <a:rPr sz="1100" spc="-5">
                <a:latin typeface="Verdana"/>
                <a:cs typeface="Verdana"/>
              </a:rPr>
              <a:t>streams</a:t>
            </a:r>
            <a:endParaRPr sz="1100">
              <a:latin typeface="Verdana"/>
              <a:cs typeface="Verdana"/>
            </a:endParaRPr>
          </a:p>
          <a:p>
            <a:pPr marL="264795" marR="948055" indent="-172720">
              <a:lnSpc>
                <a:spcPct val="100000"/>
              </a:lnSpc>
              <a:buClr>
                <a:srgbClr val="006FAC"/>
              </a:buClr>
              <a:buFont typeface="Wingdings"/>
              <a:buChar char=""/>
              <a:tabLst>
                <a:tab pos="265430" algn="l"/>
              </a:tabLst>
            </a:pPr>
            <a:r>
              <a:rPr sz="1100" spc="-5">
                <a:latin typeface="Verdana"/>
                <a:cs typeface="Verdana"/>
              </a:rPr>
              <a:t>Organize </a:t>
            </a:r>
            <a:r>
              <a:rPr sz="1100">
                <a:latin typeface="Verdana"/>
                <a:cs typeface="Verdana"/>
              </a:rPr>
              <a:t>focused stream of project </a:t>
            </a:r>
            <a:r>
              <a:rPr sz="1100" spc="-5">
                <a:latin typeface="Verdana"/>
                <a:cs typeface="Verdana"/>
              </a:rPr>
              <a:t>management to monitor interfaces </a:t>
            </a:r>
            <a:r>
              <a:rPr sz="1100">
                <a:latin typeface="Verdana"/>
                <a:cs typeface="Verdana"/>
              </a:rPr>
              <a:t>and  </a:t>
            </a:r>
            <a:r>
              <a:rPr sz="1100" spc="-5">
                <a:latin typeface="Verdana"/>
                <a:cs typeface="Verdana"/>
              </a:rPr>
              <a:t>dependencies</a:t>
            </a:r>
            <a:endParaRPr sz="1100">
              <a:latin typeface="Verdana"/>
              <a:cs typeface="Verdana"/>
            </a:endParaRPr>
          </a:p>
        </p:txBody>
      </p:sp>
      <p:sp>
        <p:nvSpPr>
          <p:cNvPr id="31" name="object 31"/>
          <p:cNvSpPr/>
          <p:nvPr/>
        </p:nvSpPr>
        <p:spPr>
          <a:xfrm>
            <a:off x="4901184" y="4227576"/>
            <a:ext cx="431291" cy="432816"/>
          </a:xfrm>
          <a:prstGeom prst="rect">
            <a:avLst/>
          </a:prstGeom>
          <a:blipFill>
            <a:blip r:embed="rId3" cstate="print"/>
            <a:stretch>
              <a:fillRect/>
            </a:stretch>
          </a:blipFill>
        </p:spPr>
        <p:txBody>
          <a:bodyPr wrap="square" lIns="0" tIns="0" rIns="0" bIns="0" rtlCol="0"/>
          <a:lstStyle/>
          <a:p>
            <a:endParaRPr/>
          </a:p>
        </p:txBody>
      </p:sp>
      <p:sp>
        <p:nvSpPr>
          <p:cNvPr id="32" name="object 32"/>
          <p:cNvSpPr/>
          <p:nvPr/>
        </p:nvSpPr>
        <p:spPr>
          <a:xfrm>
            <a:off x="227075" y="5265420"/>
            <a:ext cx="634365" cy="972819"/>
          </a:xfrm>
          <a:custGeom>
            <a:avLst/>
            <a:gdLst/>
            <a:ahLst/>
            <a:cxnLst/>
            <a:rect l="l" t="t" r="r" b="b"/>
            <a:pathLst>
              <a:path w="634365" h="972820">
                <a:moveTo>
                  <a:pt x="581799" y="0"/>
                </a:moveTo>
                <a:lnTo>
                  <a:pt x="52184" y="0"/>
                </a:lnTo>
                <a:lnTo>
                  <a:pt x="31873" y="4101"/>
                </a:lnTo>
                <a:lnTo>
                  <a:pt x="15286" y="15287"/>
                </a:lnTo>
                <a:lnTo>
                  <a:pt x="4101" y="31878"/>
                </a:lnTo>
                <a:lnTo>
                  <a:pt x="0" y="52196"/>
                </a:lnTo>
                <a:lnTo>
                  <a:pt x="0" y="920127"/>
                </a:lnTo>
                <a:lnTo>
                  <a:pt x="4101" y="940438"/>
                </a:lnTo>
                <a:lnTo>
                  <a:pt x="15286" y="957025"/>
                </a:lnTo>
                <a:lnTo>
                  <a:pt x="31873" y="968210"/>
                </a:lnTo>
                <a:lnTo>
                  <a:pt x="52184" y="972311"/>
                </a:lnTo>
                <a:lnTo>
                  <a:pt x="581799" y="972311"/>
                </a:lnTo>
                <a:lnTo>
                  <a:pt x="602110" y="968210"/>
                </a:lnTo>
                <a:lnTo>
                  <a:pt x="618697" y="957025"/>
                </a:lnTo>
                <a:lnTo>
                  <a:pt x="629882" y="940438"/>
                </a:lnTo>
                <a:lnTo>
                  <a:pt x="633984" y="920127"/>
                </a:lnTo>
                <a:lnTo>
                  <a:pt x="633984" y="52196"/>
                </a:lnTo>
                <a:lnTo>
                  <a:pt x="629882" y="31878"/>
                </a:lnTo>
                <a:lnTo>
                  <a:pt x="618697" y="15287"/>
                </a:lnTo>
                <a:lnTo>
                  <a:pt x="602110" y="4101"/>
                </a:lnTo>
                <a:lnTo>
                  <a:pt x="581799" y="0"/>
                </a:lnTo>
                <a:close/>
              </a:path>
            </a:pathLst>
          </a:custGeom>
          <a:solidFill>
            <a:srgbClr val="E2001F"/>
          </a:solidFill>
        </p:spPr>
        <p:txBody>
          <a:bodyPr wrap="square" lIns="0" tIns="0" rIns="0" bIns="0" rtlCol="0"/>
          <a:lstStyle/>
          <a:p>
            <a:endParaRPr/>
          </a:p>
        </p:txBody>
      </p:sp>
      <p:sp>
        <p:nvSpPr>
          <p:cNvPr id="33" name="object 33"/>
          <p:cNvSpPr txBox="1"/>
          <p:nvPr/>
        </p:nvSpPr>
        <p:spPr>
          <a:xfrm>
            <a:off x="839724" y="5286755"/>
            <a:ext cx="3415665" cy="807913"/>
          </a:xfrm>
          <a:prstGeom prst="rect">
            <a:avLst/>
          </a:prstGeom>
          <a:ln w="9144">
            <a:solidFill>
              <a:srgbClr val="E2001F"/>
            </a:solidFill>
          </a:ln>
        </p:spPr>
        <p:txBody>
          <a:bodyPr vert="horz" wrap="square" lIns="0" tIns="129540" rIns="0" bIns="0" rtlCol="0">
            <a:spAutoFit/>
          </a:bodyPr>
          <a:lstStyle/>
          <a:p>
            <a:pPr marL="91440">
              <a:lnSpc>
                <a:spcPct val="100000"/>
              </a:lnSpc>
              <a:spcBef>
                <a:spcPts val="1020"/>
              </a:spcBef>
            </a:pPr>
            <a:r>
              <a:rPr sz="1100" b="1">
                <a:latin typeface="Verdana"/>
                <a:cs typeface="Verdana"/>
              </a:rPr>
              <a:t>Change</a:t>
            </a:r>
            <a:r>
              <a:rPr sz="1100" b="1" spc="-15">
                <a:latin typeface="Verdana"/>
                <a:cs typeface="Verdana"/>
              </a:rPr>
              <a:t> </a:t>
            </a:r>
            <a:r>
              <a:rPr sz="1100" b="1" spc="-5">
                <a:latin typeface="Verdana"/>
                <a:cs typeface="Verdana"/>
              </a:rPr>
              <a:t>Management</a:t>
            </a:r>
            <a:r>
              <a:rPr lang="it-IT" sz="1100" b="1" spc="-5">
                <a:latin typeface="Verdana"/>
                <a:cs typeface="Verdana"/>
              </a:rPr>
              <a:t> Support</a:t>
            </a:r>
            <a:endParaRPr sz="1100">
              <a:latin typeface="Verdana"/>
              <a:cs typeface="Verdana"/>
            </a:endParaRPr>
          </a:p>
          <a:p>
            <a:pPr marL="263525" marR="273050" indent="-172720">
              <a:lnSpc>
                <a:spcPct val="100000"/>
              </a:lnSpc>
              <a:buClr>
                <a:srgbClr val="006FAC"/>
              </a:buClr>
              <a:buFont typeface="Wingdings"/>
              <a:buChar char=""/>
              <a:tabLst>
                <a:tab pos="264160" algn="l"/>
              </a:tabLst>
            </a:pPr>
            <a:r>
              <a:rPr sz="1100" spc="-5">
                <a:latin typeface="Verdana"/>
                <a:cs typeface="Verdana"/>
              </a:rPr>
              <a:t>Ensure </a:t>
            </a:r>
            <a:r>
              <a:rPr sz="1100">
                <a:latin typeface="Verdana"/>
                <a:cs typeface="Verdana"/>
              </a:rPr>
              <a:t>correct </a:t>
            </a:r>
            <a:r>
              <a:rPr sz="1100" spc="-5">
                <a:latin typeface="Verdana"/>
                <a:cs typeface="Verdana"/>
              </a:rPr>
              <a:t>reception </a:t>
            </a:r>
            <a:r>
              <a:rPr sz="1100">
                <a:latin typeface="Verdana"/>
                <a:cs typeface="Verdana"/>
              </a:rPr>
              <a:t>from End-Users  and </a:t>
            </a:r>
            <a:r>
              <a:rPr sz="1100" spc="-5">
                <a:latin typeface="Verdana"/>
                <a:cs typeface="Verdana"/>
              </a:rPr>
              <a:t>provide </a:t>
            </a:r>
            <a:r>
              <a:rPr sz="1100">
                <a:latin typeface="Verdana"/>
                <a:cs typeface="Verdana"/>
              </a:rPr>
              <a:t>enough support </a:t>
            </a:r>
            <a:r>
              <a:rPr sz="1100" spc="-5">
                <a:latin typeface="Verdana"/>
                <a:cs typeface="Verdana"/>
              </a:rPr>
              <a:t>to </a:t>
            </a:r>
            <a:r>
              <a:rPr sz="1100">
                <a:latin typeface="Verdana"/>
                <a:cs typeface="Verdana"/>
              </a:rPr>
              <a:t>support  </a:t>
            </a:r>
            <a:r>
              <a:rPr lang="it-IT" sz="1100">
                <a:latin typeface="Verdana"/>
                <a:cs typeface="Verdana"/>
              </a:rPr>
              <a:t>Marelli </a:t>
            </a:r>
            <a:r>
              <a:rPr sz="1100" spc="-5">
                <a:latin typeface="Verdana"/>
                <a:cs typeface="Verdana"/>
              </a:rPr>
              <a:t>Change</a:t>
            </a:r>
            <a:r>
              <a:rPr lang="it-IT" sz="1100" spc="-5">
                <a:latin typeface="Verdana"/>
                <a:cs typeface="Verdana"/>
              </a:rPr>
              <a:t> Management</a:t>
            </a:r>
            <a:endParaRPr sz="1100">
              <a:latin typeface="Verdana"/>
              <a:cs typeface="Verdana"/>
            </a:endParaRPr>
          </a:p>
        </p:txBody>
      </p:sp>
      <p:sp>
        <p:nvSpPr>
          <p:cNvPr id="34" name="object 34"/>
          <p:cNvSpPr/>
          <p:nvPr/>
        </p:nvSpPr>
        <p:spPr>
          <a:xfrm>
            <a:off x="332231" y="5462015"/>
            <a:ext cx="424180" cy="577850"/>
          </a:xfrm>
          <a:custGeom>
            <a:avLst/>
            <a:gdLst/>
            <a:ahLst/>
            <a:cxnLst/>
            <a:rect l="l" t="t" r="r" b="b"/>
            <a:pathLst>
              <a:path w="424180" h="577850">
                <a:moveTo>
                  <a:pt x="274142" y="0"/>
                </a:moveTo>
                <a:lnTo>
                  <a:pt x="269151" y="0"/>
                </a:lnTo>
                <a:lnTo>
                  <a:pt x="264172" y="4953"/>
                </a:lnTo>
                <a:lnTo>
                  <a:pt x="174447" y="109855"/>
                </a:lnTo>
                <a:lnTo>
                  <a:pt x="108336" y="193711"/>
                </a:lnTo>
                <a:lnTo>
                  <a:pt x="74682" y="235644"/>
                </a:lnTo>
                <a:lnTo>
                  <a:pt x="40309" y="277580"/>
                </a:lnTo>
                <a:lnTo>
                  <a:pt x="4978" y="319519"/>
                </a:lnTo>
                <a:lnTo>
                  <a:pt x="4978" y="324510"/>
                </a:lnTo>
                <a:lnTo>
                  <a:pt x="0" y="324510"/>
                </a:lnTo>
                <a:lnTo>
                  <a:pt x="0" y="339483"/>
                </a:lnTo>
                <a:lnTo>
                  <a:pt x="9969" y="344474"/>
                </a:lnTo>
                <a:lnTo>
                  <a:pt x="209346" y="344474"/>
                </a:lnTo>
                <a:lnTo>
                  <a:pt x="139560" y="554151"/>
                </a:lnTo>
                <a:lnTo>
                  <a:pt x="134581" y="564146"/>
                </a:lnTo>
                <a:lnTo>
                  <a:pt x="134581" y="569137"/>
                </a:lnTo>
                <a:lnTo>
                  <a:pt x="139560" y="574128"/>
                </a:lnTo>
                <a:lnTo>
                  <a:pt x="146959" y="576858"/>
                </a:lnTo>
                <a:lnTo>
                  <a:pt x="153892" y="577248"/>
                </a:lnTo>
                <a:lnTo>
                  <a:pt x="159891" y="574830"/>
                </a:lnTo>
                <a:lnTo>
                  <a:pt x="164490" y="569137"/>
                </a:lnTo>
                <a:lnTo>
                  <a:pt x="186136" y="542925"/>
                </a:lnTo>
                <a:lnTo>
                  <a:pt x="227571" y="490504"/>
                </a:lnTo>
                <a:lnTo>
                  <a:pt x="249224" y="464299"/>
                </a:lnTo>
                <a:lnTo>
                  <a:pt x="284549" y="422360"/>
                </a:lnTo>
                <a:lnTo>
                  <a:pt x="318919" y="380422"/>
                </a:lnTo>
                <a:lnTo>
                  <a:pt x="352573" y="338486"/>
                </a:lnTo>
                <a:lnTo>
                  <a:pt x="418693" y="254609"/>
                </a:lnTo>
                <a:lnTo>
                  <a:pt x="423672" y="249618"/>
                </a:lnTo>
                <a:lnTo>
                  <a:pt x="423672" y="239636"/>
                </a:lnTo>
                <a:lnTo>
                  <a:pt x="413702" y="234645"/>
                </a:lnTo>
                <a:lnTo>
                  <a:pt x="408724" y="234645"/>
                </a:lnTo>
                <a:lnTo>
                  <a:pt x="214325" y="229654"/>
                </a:lnTo>
                <a:lnTo>
                  <a:pt x="289090" y="19939"/>
                </a:lnTo>
                <a:lnTo>
                  <a:pt x="289090" y="4953"/>
                </a:lnTo>
                <a:lnTo>
                  <a:pt x="284111" y="4953"/>
                </a:lnTo>
                <a:lnTo>
                  <a:pt x="274142" y="0"/>
                </a:lnTo>
                <a:close/>
              </a:path>
            </a:pathLst>
          </a:custGeom>
          <a:solidFill>
            <a:srgbClr val="FFFFFF"/>
          </a:solidFill>
        </p:spPr>
        <p:txBody>
          <a:bodyPr wrap="square" lIns="0" tIns="0" rIns="0" bIns="0" rtlCol="0"/>
          <a:lstStyle/>
          <a:p>
            <a:endParaRPr/>
          </a:p>
        </p:txBody>
      </p:sp>
      <p:sp>
        <p:nvSpPr>
          <p:cNvPr id="35" name="object 35"/>
          <p:cNvSpPr/>
          <p:nvPr/>
        </p:nvSpPr>
        <p:spPr>
          <a:xfrm>
            <a:off x="4315967" y="5561076"/>
            <a:ext cx="204470" cy="381000"/>
          </a:xfrm>
          <a:custGeom>
            <a:avLst/>
            <a:gdLst/>
            <a:ahLst/>
            <a:cxnLst/>
            <a:rect l="l" t="t" r="r" b="b"/>
            <a:pathLst>
              <a:path w="204470" h="381000">
                <a:moveTo>
                  <a:pt x="84962" y="0"/>
                </a:moveTo>
                <a:lnTo>
                  <a:pt x="0" y="0"/>
                </a:lnTo>
                <a:lnTo>
                  <a:pt x="119253" y="190500"/>
                </a:lnTo>
                <a:lnTo>
                  <a:pt x="0" y="381000"/>
                </a:lnTo>
                <a:lnTo>
                  <a:pt x="84962" y="381000"/>
                </a:lnTo>
                <a:lnTo>
                  <a:pt x="204216" y="190500"/>
                </a:lnTo>
                <a:lnTo>
                  <a:pt x="84962" y="0"/>
                </a:lnTo>
                <a:close/>
              </a:path>
            </a:pathLst>
          </a:custGeom>
          <a:solidFill>
            <a:srgbClr val="421F5D"/>
          </a:solidFill>
        </p:spPr>
        <p:txBody>
          <a:bodyPr wrap="square" lIns="0" tIns="0" rIns="0" bIns="0" rtlCol="0"/>
          <a:lstStyle/>
          <a:p>
            <a:endParaRPr/>
          </a:p>
        </p:txBody>
      </p:sp>
      <p:sp>
        <p:nvSpPr>
          <p:cNvPr id="36" name="object 36"/>
          <p:cNvSpPr/>
          <p:nvPr/>
        </p:nvSpPr>
        <p:spPr>
          <a:xfrm>
            <a:off x="4465320" y="5609844"/>
            <a:ext cx="151130" cy="281940"/>
          </a:xfrm>
          <a:custGeom>
            <a:avLst/>
            <a:gdLst/>
            <a:ahLst/>
            <a:cxnLst/>
            <a:rect l="l" t="t" r="r" b="b"/>
            <a:pathLst>
              <a:path w="151129" h="281939">
                <a:moveTo>
                  <a:pt x="62737" y="0"/>
                </a:moveTo>
                <a:lnTo>
                  <a:pt x="0" y="0"/>
                </a:lnTo>
                <a:lnTo>
                  <a:pt x="88137" y="140969"/>
                </a:lnTo>
                <a:lnTo>
                  <a:pt x="0" y="281939"/>
                </a:lnTo>
                <a:lnTo>
                  <a:pt x="62737" y="281939"/>
                </a:lnTo>
                <a:lnTo>
                  <a:pt x="150875" y="140969"/>
                </a:lnTo>
                <a:lnTo>
                  <a:pt x="62737" y="0"/>
                </a:lnTo>
                <a:close/>
              </a:path>
            </a:pathLst>
          </a:custGeom>
          <a:solidFill>
            <a:srgbClr val="632D8E"/>
          </a:solidFill>
        </p:spPr>
        <p:txBody>
          <a:bodyPr wrap="square" lIns="0" tIns="0" rIns="0" bIns="0" rtlCol="0"/>
          <a:lstStyle/>
          <a:p>
            <a:endParaRPr/>
          </a:p>
        </p:txBody>
      </p:sp>
      <p:sp>
        <p:nvSpPr>
          <p:cNvPr id="37" name="object 37"/>
          <p:cNvSpPr/>
          <p:nvPr/>
        </p:nvSpPr>
        <p:spPr>
          <a:xfrm>
            <a:off x="4573523" y="5638800"/>
            <a:ext cx="118872" cy="224028"/>
          </a:xfrm>
          <a:prstGeom prst="rect">
            <a:avLst/>
          </a:prstGeom>
          <a:blipFill>
            <a:blip r:embed="rId2" cstate="print"/>
            <a:stretch>
              <a:fillRect/>
            </a:stretch>
          </a:blipFill>
        </p:spPr>
        <p:txBody>
          <a:bodyPr wrap="square" lIns="0" tIns="0" rIns="0" bIns="0" rtlCol="0"/>
          <a:lstStyle/>
          <a:p>
            <a:endParaRPr/>
          </a:p>
        </p:txBody>
      </p:sp>
      <p:sp>
        <p:nvSpPr>
          <p:cNvPr id="38" name="object 38"/>
          <p:cNvSpPr/>
          <p:nvPr/>
        </p:nvSpPr>
        <p:spPr>
          <a:xfrm>
            <a:off x="4799076" y="5265420"/>
            <a:ext cx="634365" cy="972819"/>
          </a:xfrm>
          <a:custGeom>
            <a:avLst/>
            <a:gdLst/>
            <a:ahLst/>
            <a:cxnLst/>
            <a:rect l="l" t="t" r="r" b="b"/>
            <a:pathLst>
              <a:path w="634364" h="972820">
                <a:moveTo>
                  <a:pt x="581787" y="0"/>
                </a:moveTo>
                <a:lnTo>
                  <a:pt x="52197" y="0"/>
                </a:lnTo>
                <a:lnTo>
                  <a:pt x="31878" y="4101"/>
                </a:lnTo>
                <a:lnTo>
                  <a:pt x="15287" y="15287"/>
                </a:lnTo>
                <a:lnTo>
                  <a:pt x="4101" y="31878"/>
                </a:lnTo>
                <a:lnTo>
                  <a:pt x="0" y="52196"/>
                </a:lnTo>
                <a:lnTo>
                  <a:pt x="0" y="920127"/>
                </a:lnTo>
                <a:lnTo>
                  <a:pt x="4101" y="940438"/>
                </a:lnTo>
                <a:lnTo>
                  <a:pt x="15287" y="957025"/>
                </a:lnTo>
                <a:lnTo>
                  <a:pt x="31878" y="968210"/>
                </a:lnTo>
                <a:lnTo>
                  <a:pt x="52197" y="972311"/>
                </a:lnTo>
                <a:lnTo>
                  <a:pt x="581787" y="972311"/>
                </a:lnTo>
                <a:lnTo>
                  <a:pt x="602105" y="968210"/>
                </a:lnTo>
                <a:lnTo>
                  <a:pt x="618696" y="957025"/>
                </a:lnTo>
                <a:lnTo>
                  <a:pt x="629882" y="940438"/>
                </a:lnTo>
                <a:lnTo>
                  <a:pt x="633984" y="920127"/>
                </a:lnTo>
                <a:lnTo>
                  <a:pt x="633984" y="52196"/>
                </a:lnTo>
                <a:lnTo>
                  <a:pt x="629882" y="31878"/>
                </a:lnTo>
                <a:lnTo>
                  <a:pt x="618696" y="15287"/>
                </a:lnTo>
                <a:lnTo>
                  <a:pt x="602105" y="4101"/>
                </a:lnTo>
                <a:lnTo>
                  <a:pt x="581787" y="0"/>
                </a:lnTo>
                <a:close/>
              </a:path>
            </a:pathLst>
          </a:custGeom>
          <a:solidFill>
            <a:srgbClr val="006FAC"/>
          </a:solidFill>
        </p:spPr>
        <p:txBody>
          <a:bodyPr wrap="square" lIns="0" tIns="0" rIns="0" bIns="0" rtlCol="0"/>
          <a:lstStyle/>
          <a:p>
            <a:endParaRPr/>
          </a:p>
        </p:txBody>
      </p:sp>
      <p:sp>
        <p:nvSpPr>
          <p:cNvPr id="39" name="object 39"/>
          <p:cNvSpPr txBox="1"/>
          <p:nvPr/>
        </p:nvSpPr>
        <p:spPr>
          <a:xfrm>
            <a:off x="5411723" y="5286755"/>
            <a:ext cx="6504940" cy="913070"/>
          </a:xfrm>
          <a:prstGeom prst="rect">
            <a:avLst/>
          </a:prstGeom>
          <a:ln w="9144">
            <a:solidFill>
              <a:srgbClr val="006FAC"/>
            </a:solidFill>
          </a:ln>
        </p:spPr>
        <p:txBody>
          <a:bodyPr vert="horz" wrap="square" lIns="0" tIns="0" rIns="0" bIns="0" rtlCol="0">
            <a:spAutoFit/>
          </a:bodyPr>
          <a:lstStyle/>
          <a:p>
            <a:pPr>
              <a:lnSpc>
                <a:spcPct val="100000"/>
              </a:lnSpc>
            </a:pPr>
            <a:endParaRPr sz="1300">
              <a:latin typeface="Times New Roman"/>
              <a:cs typeface="Times New Roman"/>
            </a:endParaRPr>
          </a:p>
          <a:p>
            <a:pPr marL="264795" indent="-172720">
              <a:lnSpc>
                <a:spcPct val="100000"/>
              </a:lnSpc>
              <a:spcBef>
                <a:spcPts val="845"/>
              </a:spcBef>
              <a:buClr>
                <a:srgbClr val="006FAC"/>
              </a:buClr>
              <a:buFont typeface="Wingdings"/>
              <a:buChar char=""/>
              <a:tabLst>
                <a:tab pos="265430" algn="l"/>
              </a:tabLst>
            </a:pPr>
            <a:r>
              <a:rPr lang="it-IT" sz="1100" spc="-5">
                <a:latin typeface="Verdana"/>
                <a:cs typeface="Verdana"/>
              </a:rPr>
              <a:t>Support </a:t>
            </a:r>
            <a:r>
              <a:rPr lang="it-IT" sz="1100" spc="-5" err="1">
                <a:latin typeface="Verdana"/>
                <a:cs typeface="Verdana"/>
              </a:rPr>
              <a:t>customer</a:t>
            </a:r>
            <a:r>
              <a:rPr lang="it-IT" sz="1100" spc="-5">
                <a:latin typeface="Verdana"/>
                <a:cs typeface="Verdana"/>
              </a:rPr>
              <a:t> </a:t>
            </a:r>
            <a:r>
              <a:rPr lang="it-IT" sz="1100" spc="-5" err="1">
                <a:latin typeface="Verdana"/>
                <a:cs typeface="Verdana"/>
              </a:rPr>
              <a:t>change</a:t>
            </a:r>
            <a:r>
              <a:rPr lang="it-IT" sz="1100" spc="-5">
                <a:latin typeface="Verdana"/>
                <a:cs typeface="Verdana"/>
              </a:rPr>
              <a:t> management team for </a:t>
            </a:r>
            <a:r>
              <a:rPr lang="it-IT" sz="1100" spc="-5" err="1">
                <a:latin typeface="Verdana"/>
                <a:cs typeface="Verdana"/>
              </a:rPr>
              <a:t>organizing</a:t>
            </a:r>
            <a:r>
              <a:rPr lang="it-IT" sz="1100" spc="-5">
                <a:latin typeface="Verdana"/>
                <a:cs typeface="Verdana"/>
              </a:rPr>
              <a:t> training </a:t>
            </a:r>
            <a:r>
              <a:rPr lang="it-IT" sz="1100" spc="-5" err="1">
                <a:latin typeface="Verdana"/>
                <a:cs typeface="Verdana"/>
              </a:rPr>
              <a:t>activities</a:t>
            </a:r>
            <a:r>
              <a:rPr lang="it-IT" sz="1100" spc="-5">
                <a:latin typeface="Verdana"/>
                <a:cs typeface="Verdana"/>
              </a:rPr>
              <a:t> and </a:t>
            </a:r>
            <a:r>
              <a:rPr lang="it-IT" sz="1100" spc="-5" err="1">
                <a:latin typeface="Verdana"/>
                <a:cs typeface="Verdana"/>
              </a:rPr>
              <a:t>ensuring</a:t>
            </a:r>
            <a:r>
              <a:rPr lang="it-IT" sz="1100" spc="-5">
                <a:latin typeface="Verdana"/>
                <a:cs typeface="Verdana"/>
              </a:rPr>
              <a:t> </a:t>
            </a:r>
            <a:r>
              <a:rPr lang="it-IT" sz="1100" spc="-5" err="1">
                <a:latin typeface="Verdana"/>
                <a:cs typeface="Verdana"/>
              </a:rPr>
              <a:t>that</a:t>
            </a:r>
            <a:r>
              <a:rPr lang="it-IT" sz="1100" spc="-5">
                <a:latin typeface="Verdana"/>
                <a:cs typeface="Verdana"/>
              </a:rPr>
              <a:t> </a:t>
            </a:r>
            <a:r>
              <a:rPr lang="it-IT" sz="1100" spc="-5" err="1">
                <a:latin typeface="Verdana"/>
                <a:cs typeface="Verdana"/>
              </a:rPr>
              <a:t>solution</a:t>
            </a:r>
            <a:r>
              <a:rPr lang="it-IT" sz="1100" spc="-5">
                <a:latin typeface="Verdana"/>
                <a:cs typeface="Verdana"/>
              </a:rPr>
              <a:t> </a:t>
            </a:r>
            <a:r>
              <a:rPr lang="it-IT" sz="1100" spc="-5" err="1">
                <a:latin typeface="Verdana"/>
                <a:cs typeface="Verdana"/>
              </a:rPr>
              <a:t>adoption</a:t>
            </a:r>
            <a:r>
              <a:rPr lang="it-IT" sz="1100" spc="-5">
                <a:latin typeface="Verdana"/>
                <a:cs typeface="Verdana"/>
              </a:rPr>
              <a:t> </a:t>
            </a:r>
            <a:r>
              <a:rPr lang="it-IT" sz="1100" spc="-5" err="1">
                <a:latin typeface="Verdana"/>
                <a:cs typeface="Verdana"/>
              </a:rPr>
              <a:t>is</a:t>
            </a:r>
            <a:r>
              <a:rPr lang="it-IT" sz="1100" spc="-5">
                <a:latin typeface="Verdana"/>
                <a:cs typeface="Verdana"/>
              </a:rPr>
              <a:t> </a:t>
            </a:r>
            <a:r>
              <a:rPr lang="it-IT" sz="1100" spc="-5" err="1">
                <a:latin typeface="Verdana"/>
                <a:cs typeface="Verdana"/>
              </a:rPr>
              <a:t>increased</a:t>
            </a:r>
            <a:endParaRPr lang="it-IT" sz="1100" spc="-5">
              <a:latin typeface="Verdana"/>
              <a:cs typeface="Verdana"/>
            </a:endParaRPr>
          </a:p>
          <a:p>
            <a:pPr marL="264795" indent="-172720">
              <a:lnSpc>
                <a:spcPct val="100000"/>
              </a:lnSpc>
              <a:spcBef>
                <a:spcPts val="845"/>
              </a:spcBef>
              <a:buClr>
                <a:srgbClr val="006FAC"/>
              </a:buClr>
              <a:buFont typeface="Wingdings"/>
              <a:buChar char=""/>
              <a:tabLst>
                <a:tab pos="265430" algn="l"/>
              </a:tabLst>
            </a:pPr>
            <a:endParaRPr sz="1100">
              <a:latin typeface="Verdana"/>
              <a:cs typeface="Verdana"/>
            </a:endParaRPr>
          </a:p>
        </p:txBody>
      </p:sp>
      <p:sp>
        <p:nvSpPr>
          <p:cNvPr id="40" name="object 40"/>
          <p:cNvSpPr/>
          <p:nvPr/>
        </p:nvSpPr>
        <p:spPr>
          <a:xfrm>
            <a:off x="4901184" y="5535167"/>
            <a:ext cx="431291" cy="432816"/>
          </a:xfrm>
          <a:prstGeom prst="rect">
            <a:avLst/>
          </a:prstGeom>
          <a:blipFill>
            <a:blip r:embed="rId5" cstate="print"/>
            <a:stretch>
              <a:fillRect/>
            </a:stretch>
          </a:blipFill>
        </p:spPr>
        <p:txBody>
          <a:bodyPr wrap="square" lIns="0" tIns="0" rIns="0" bIns="0" rtlCol="0"/>
          <a:lstStyle/>
          <a:p>
            <a:endParaRPr/>
          </a:p>
        </p:txBody>
      </p:sp>
      <p:sp>
        <p:nvSpPr>
          <p:cNvPr id="41" name="object 4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2" name="object 4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3</a:t>
            </a:fld>
            <a:endParaRPr/>
          </a:p>
        </p:txBody>
      </p:sp>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 name="object 7"/>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0</a:t>
            </a:fld>
            <a:endParaRPr sz="800">
              <a:latin typeface="Verdana"/>
              <a:cs typeface="Verdana"/>
            </a:endParaRPr>
          </a:p>
        </p:txBody>
      </p:sp>
      <p:sp>
        <p:nvSpPr>
          <p:cNvPr id="12" name="Title 3">
            <a:extLst>
              <a:ext uri="{FF2B5EF4-FFF2-40B4-BE49-F238E27FC236}">
                <a16:creationId xmlns:a16="http://schemas.microsoft.com/office/drawing/2014/main" id="{3FAD7053-5CCD-4E7B-B9F8-FBA14E6CC2AF}"/>
              </a:ext>
            </a:extLst>
          </p:cNvPr>
          <p:cNvSpPr txBox="1">
            <a:spLocks/>
          </p:cNvSpPr>
          <p:nvPr/>
        </p:nvSpPr>
        <p:spPr>
          <a:xfrm>
            <a:off x="227349" y="0"/>
            <a:ext cx="10833175"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0070AD"/>
                </a:solidFill>
                <a:effectLst/>
                <a:uLnTx/>
                <a:uFillTx/>
                <a:latin typeface="Verdana"/>
                <a:ea typeface="+mj-ea"/>
                <a:cs typeface="+mj-cs"/>
              </a:rPr>
              <a:t>Alternative industrialized migration approach (not included)</a:t>
            </a:r>
          </a:p>
        </p:txBody>
      </p:sp>
      <p:sp>
        <p:nvSpPr>
          <p:cNvPr id="13" name="Rectangle: Rounded Corners 12">
            <a:extLst>
              <a:ext uri="{FF2B5EF4-FFF2-40B4-BE49-F238E27FC236}">
                <a16:creationId xmlns:a16="http://schemas.microsoft.com/office/drawing/2014/main" id="{9ECB95B3-674D-44C8-868B-273EBC8612FF}"/>
              </a:ext>
            </a:extLst>
          </p:cNvPr>
          <p:cNvSpPr/>
          <p:nvPr/>
        </p:nvSpPr>
        <p:spPr>
          <a:xfrm>
            <a:off x="2165118" y="2655155"/>
            <a:ext cx="398153" cy="1544714"/>
          </a:xfrm>
          <a:prstGeom prst="roundRect">
            <a:avLst/>
          </a:prstGeom>
          <a:solidFill>
            <a:srgbClr val="FFFFFF">
              <a:lumMod val="85000"/>
            </a:srgbClr>
          </a:solidFill>
          <a:ln w="635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0" i="0" u="none" strike="noStrike" kern="0" cap="none" spc="0" normalizeH="0" baseline="0" noProof="0">
                <a:ln>
                  <a:noFill/>
                </a:ln>
                <a:solidFill>
                  <a:prstClr val="black"/>
                </a:solidFill>
                <a:effectLst/>
                <a:uLnTx/>
                <a:uFillTx/>
                <a:latin typeface="Verdana"/>
                <a:ea typeface="+mn-ea"/>
                <a:cs typeface="+mn-cs"/>
              </a:rPr>
              <a:t>Source System</a:t>
            </a:r>
          </a:p>
        </p:txBody>
      </p:sp>
      <p:sp>
        <p:nvSpPr>
          <p:cNvPr id="14" name="Rectangle: Rounded Corners 13">
            <a:extLst>
              <a:ext uri="{FF2B5EF4-FFF2-40B4-BE49-F238E27FC236}">
                <a16:creationId xmlns:a16="http://schemas.microsoft.com/office/drawing/2014/main" id="{44F78574-DF15-4941-9DBC-697147FCF2EA}"/>
              </a:ext>
            </a:extLst>
          </p:cNvPr>
          <p:cNvSpPr/>
          <p:nvPr/>
        </p:nvSpPr>
        <p:spPr>
          <a:xfrm>
            <a:off x="340693" y="2450967"/>
            <a:ext cx="1732776" cy="1748901"/>
          </a:xfrm>
          <a:prstGeom prst="roundRect">
            <a:avLst>
              <a:gd name="adj" fmla="val 9542"/>
            </a:avLst>
          </a:prstGeom>
          <a:solidFill>
            <a:srgbClr val="FFFFFF">
              <a:lumMod val="85000"/>
            </a:srgbClr>
          </a:solidFill>
          <a:ln>
            <a:noFill/>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prstClr val="black"/>
                </a:solidFill>
                <a:effectLst/>
                <a:uLnTx/>
                <a:uFillTx/>
                <a:latin typeface="Verdana"/>
                <a:ea typeface="+mn-ea"/>
                <a:cs typeface="+mn-cs"/>
              </a:rPr>
              <a:t>Legacy System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Verdana"/>
              <a:ea typeface="+mn-ea"/>
              <a:cs typeface="+mn-cs"/>
            </a:endParaRPr>
          </a:p>
        </p:txBody>
      </p:sp>
      <p:sp>
        <p:nvSpPr>
          <p:cNvPr id="15" name="Rectangle: Rounded Corners 14">
            <a:extLst>
              <a:ext uri="{FF2B5EF4-FFF2-40B4-BE49-F238E27FC236}">
                <a16:creationId xmlns:a16="http://schemas.microsoft.com/office/drawing/2014/main" id="{D4059035-79A3-4EF7-9B95-8B186FA3247B}"/>
              </a:ext>
            </a:extLst>
          </p:cNvPr>
          <p:cNvSpPr/>
          <p:nvPr/>
        </p:nvSpPr>
        <p:spPr>
          <a:xfrm>
            <a:off x="3475378" y="2450966"/>
            <a:ext cx="5099802" cy="2559184"/>
          </a:xfrm>
          <a:prstGeom prst="roundRect">
            <a:avLst/>
          </a:prstGeom>
          <a:solidFill>
            <a:srgbClr val="FFFFFF">
              <a:lumMod val="95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Verdana"/>
              <a:ea typeface="+mn-ea"/>
              <a:cs typeface="+mn-cs"/>
            </a:endParaRPr>
          </a:p>
        </p:txBody>
      </p:sp>
      <p:sp>
        <p:nvSpPr>
          <p:cNvPr id="16" name="Rectangle: Rounded Corners 15">
            <a:extLst>
              <a:ext uri="{FF2B5EF4-FFF2-40B4-BE49-F238E27FC236}">
                <a16:creationId xmlns:a16="http://schemas.microsoft.com/office/drawing/2014/main" id="{9E4C15F7-8EB1-496C-9BBA-96A8329025DD}"/>
              </a:ext>
            </a:extLst>
          </p:cNvPr>
          <p:cNvSpPr/>
          <p:nvPr/>
        </p:nvSpPr>
        <p:spPr>
          <a:xfrm>
            <a:off x="9125669" y="2655155"/>
            <a:ext cx="398153" cy="1544713"/>
          </a:xfrm>
          <a:prstGeom prst="roundRect">
            <a:avLst/>
          </a:prstGeom>
          <a:solidFill>
            <a:srgbClr val="12ABDB">
              <a:lumMod val="75000"/>
            </a:srgbClr>
          </a:solidFill>
          <a:ln>
            <a:noFill/>
          </a:ln>
          <a:effectLst/>
        </p:spPr>
        <p:txBody>
          <a:bodyPr vert="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0" i="0" u="none" strike="noStrike" kern="0" cap="none" spc="0" normalizeH="0" baseline="0" noProof="0">
                <a:ln>
                  <a:noFill/>
                </a:ln>
                <a:solidFill>
                  <a:srgbClr val="FFFFFF"/>
                </a:solidFill>
                <a:effectLst/>
                <a:uLnTx/>
                <a:uFillTx/>
                <a:latin typeface="Verdana"/>
                <a:ea typeface="+mn-ea"/>
                <a:cs typeface="+mn-cs"/>
              </a:rPr>
              <a:t>Target System</a:t>
            </a:r>
          </a:p>
        </p:txBody>
      </p:sp>
      <p:sp>
        <p:nvSpPr>
          <p:cNvPr id="17" name="Rectangle: Rounded Corners 16">
            <a:extLst>
              <a:ext uri="{FF2B5EF4-FFF2-40B4-BE49-F238E27FC236}">
                <a16:creationId xmlns:a16="http://schemas.microsoft.com/office/drawing/2014/main" id="{4B4E1A4A-B668-4240-9088-258B4EDA3F77}"/>
              </a:ext>
            </a:extLst>
          </p:cNvPr>
          <p:cNvSpPr/>
          <p:nvPr/>
        </p:nvSpPr>
        <p:spPr>
          <a:xfrm>
            <a:off x="9612994" y="2450967"/>
            <a:ext cx="2104963" cy="1748901"/>
          </a:xfrm>
          <a:prstGeom prst="roundRect">
            <a:avLst>
              <a:gd name="adj" fmla="val 4792"/>
            </a:avLst>
          </a:prstGeom>
          <a:solidFill>
            <a:srgbClr val="12ABDB">
              <a:lumMod val="20000"/>
              <a:lumOff val="80000"/>
            </a:srgbClr>
          </a:solidFill>
          <a:ln>
            <a:noFill/>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a:ln>
                  <a:noFill/>
                </a:ln>
                <a:solidFill>
                  <a:srgbClr val="109AD7"/>
                </a:solidFill>
                <a:effectLst/>
                <a:uLnTx/>
                <a:uFillTx/>
                <a:latin typeface="Verdana"/>
                <a:ea typeface="+mn-ea"/>
                <a:cs typeface="+mn-cs"/>
              </a:rPr>
              <a:t>Salesforce</a:t>
            </a:r>
            <a:endParaRPr kumimoji="0" lang="en-AU" sz="1400" b="0" i="0" u="none" strike="noStrike" kern="0" cap="none" spc="0" normalizeH="0" baseline="0" noProof="0">
              <a:ln>
                <a:noFill/>
              </a:ln>
              <a:solidFill>
                <a:srgbClr val="109AD7"/>
              </a:solidFill>
              <a:effectLst/>
              <a:uLnTx/>
              <a:uFillTx/>
              <a:latin typeface="Verdana"/>
              <a:ea typeface="+mn-ea"/>
              <a:cs typeface="+mn-cs"/>
            </a:endParaRPr>
          </a:p>
        </p:txBody>
      </p:sp>
      <p:sp>
        <p:nvSpPr>
          <p:cNvPr id="18" name="Arrow: Up 17">
            <a:extLst>
              <a:ext uri="{FF2B5EF4-FFF2-40B4-BE49-F238E27FC236}">
                <a16:creationId xmlns:a16="http://schemas.microsoft.com/office/drawing/2014/main" id="{C72FC000-C09F-4BBC-A310-777020807914}"/>
              </a:ext>
            </a:extLst>
          </p:cNvPr>
          <p:cNvSpPr/>
          <p:nvPr/>
        </p:nvSpPr>
        <p:spPr>
          <a:xfrm rot="5400000">
            <a:off x="5615419" y="145819"/>
            <a:ext cx="513934" cy="6506570"/>
          </a:xfrm>
          <a:prstGeom prst="upArrow">
            <a:avLst/>
          </a:prstGeom>
          <a:solidFill>
            <a:srgbClr val="FF304C"/>
          </a:solidFill>
          <a:ln w="12700" cap="flat" cmpd="sng" algn="ctr">
            <a:noFill/>
            <a:prstDash val="solid"/>
            <a:miter lim="800000"/>
          </a:ln>
          <a:effectLst/>
        </p:spPr>
        <p:txBody>
          <a:bodyPr vert="vert27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100" b="1" i="0" u="none" strike="noStrike" kern="0" cap="none" spc="0" normalizeH="0" baseline="0" noProof="0">
                <a:ln>
                  <a:noFill/>
                </a:ln>
                <a:solidFill>
                  <a:srgbClr val="FFFFFF"/>
                </a:solidFill>
                <a:effectLst/>
                <a:uLnTx/>
                <a:uFillTx/>
                <a:latin typeface="Verdana"/>
                <a:ea typeface="+mn-ea"/>
                <a:cs typeface="+mn-cs"/>
              </a:rPr>
              <a:t>         ETL Full</a:t>
            </a:r>
          </a:p>
        </p:txBody>
      </p:sp>
      <p:sp>
        <p:nvSpPr>
          <p:cNvPr id="19" name="Rectangle: Rounded Corners 18">
            <a:extLst>
              <a:ext uri="{FF2B5EF4-FFF2-40B4-BE49-F238E27FC236}">
                <a16:creationId xmlns:a16="http://schemas.microsoft.com/office/drawing/2014/main" id="{ABF25BD9-262D-47FD-B973-A8E0BC0AD435}"/>
              </a:ext>
            </a:extLst>
          </p:cNvPr>
          <p:cNvSpPr/>
          <p:nvPr/>
        </p:nvSpPr>
        <p:spPr>
          <a:xfrm>
            <a:off x="3951547" y="2655468"/>
            <a:ext cx="496475" cy="1544400"/>
          </a:xfrm>
          <a:prstGeom prst="roundRect">
            <a:avLst/>
          </a:prstGeom>
          <a:solidFill>
            <a:srgbClr val="2B143D">
              <a:lumMod val="10000"/>
              <a:lumOff val="90000"/>
            </a:srgbClr>
          </a:solidFill>
          <a:ln w="635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a:ln>
                  <a:noFill/>
                </a:ln>
                <a:solidFill>
                  <a:prstClr val="black"/>
                </a:solidFill>
                <a:effectLst/>
                <a:uLnTx/>
                <a:uFillTx/>
                <a:latin typeface="Verdana"/>
                <a:ea typeface="+mn-ea"/>
                <a:cs typeface="+mn-cs"/>
              </a:rPr>
              <a:t>Transform</a:t>
            </a:r>
          </a:p>
        </p:txBody>
      </p:sp>
      <p:sp>
        <p:nvSpPr>
          <p:cNvPr id="20" name="Rectangle: Rounded Corners 19">
            <a:extLst>
              <a:ext uri="{FF2B5EF4-FFF2-40B4-BE49-F238E27FC236}">
                <a16:creationId xmlns:a16="http://schemas.microsoft.com/office/drawing/2014/main" id="{08070993-53C1-4B38-A64D-A1A79BE03581}"/>
              </a:ext>
            </a:extLst>
          </p:cNvPr>
          <p:cNvSpPr/>
          <p:nvPr/>
        </p:nvSpPr>
        <p:spPr>
          <a:xfrm>
            <a:off x="5221866" y="2587461"/>
            <a:ext cx="1467187" cy="1680099"/>
          </a:xfrm>
          <a:prstGeom prst="roundRect">
            <a:avLst>
              <a:gd name="adj" fmla="val 9567"/>
            </a:avLst>
          </a:prstGeom>
          <a:solidFill>
            <a:srgbClr val="FF304C">
              <a:lumMod val="20000"/>
              <a:lumOff val="80000"/>
            </a:srgbClr>
          </a:solidFill>
          <a:ln w="6350" cap="flat" cmpd="sng" algn="ctr">
            <a:noFill/>
            <a:prstDash val="solid"/>
            <a:miter lim="800000"/>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a:ln>
                  <a:noFill/>
                </a:ln>
                <a:solidFill>
                  <a:prstClr val="black"/>
                </a:solidFill>
                <a:effectLst/>
                <a:uLnTx/>
                <a:uFillTx/>
                <a:latin typeface="Verdana"/>
                <a:ea typeface="+mn-ea"/>
                <a:cs typeface="+mn-cs"/>
              </a:rPr>
              <a:t>Staging Area</a:t>
            </a:r>
          </a:p>
        </p:txBody>
      </p:sp>
      <p:sp>
        <p:nvSpPr>
          <p:cNvPr id="21" name="Arrow: Up 20">
            <a:extLst>
              <a:ext uri="{FF2B5EF4-FFF2-40B4-BE49-F238E27FC236}">
                <a16:creationId xmlns:a16="http://schemas.microsoft.com/office/drawing/2014/main" id="{84B43013-2BA0-495A-BA54-3F7B1671D4FE}"/>
              </a:ext>
            </a:extLst>
          </p:cNvPr>
          <p:cNvSpPr/>
          <p:nvPr/>
        </p:nvSpPr>
        <p:spPr>
          <a:xfrm rot="5400000">
            <a:off x="1050794" y="4984321"/>
            <a:ext cx="396000" cy="1600191"/>
          </a:xfrm>
          <a:prstGeom prst="upArrow">
            <a:avLst/>
          </a:prstGeom>
          <a:solidFill>
            <a:srgbClr val="FF304C"/>
          </a:solidFill>
          <a:ln w="12700" cap="flat" cmpd="sng" algn="ctr">
            <a:noFill/>
            <a:prstDash val="solid"/>
            <a:miter lim="800000"/>
          </a:ln>
          <a:effectLst/>
        </p:spPr>
        <p:txBody>
          <a:bodyPr vert="vert27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Verdana"/>
                <a:ea typeface="+mn-ea"/>
                <a:cs typeface="+mn-cs"/>
              </a:rPr>
              <a:t> ETL Full</a:t>
            </a:r>
          </a:p>
        </p:txBody>
      </p:sp>
      <p:sp>
        <p:nvSpPr>
          <p:cNvPr id="22" name="Rectangle: Rounded Corners 21">
            <a:extLst>
              <a:ext uri="{FF2B5EF4-FFF2-40B4-BE49-F238E27FC236}">
                <a16:creationId xmlns:a16="http://schemas.microsoft.com/office/drawing/2014/main" id="{B0C561E4-AB6A-4743-BDC8-35E4AD2AEB75}"/>
              </a:ext>
            </a:extLst>
          </p:cNvPr>
          <p:cNvSpPr/>
          <p:nvPr/>
        </p:nvSpPr>
        <p:spPr>
          <a:xfrm>
            <a:off x="2140144" y="5510460"/>
            <a:ext cx="9642867" cy="547914"/>
          </a:xfrm>
          <a:prstGeom prst="roundRect">
            <a:avLst>
              <a:gd name="adj" fmla="val 0"/>
            </a:avLst>
          </a:prstGeom>
          <a:solidFill>
            <a:srgbClr val="ECECEC"/>
          </a:solidFill>
          <a:ln>
            <a:noFill/>
          </a:ln>
          <a:effectLst/>
        </p:spPr>
        <p:txBody>
          <a:bodyPr vert="horz"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Verdana"/>
                <a:ea typeface="+mn-ea"/>
                <a:cs typeface="+mn-cs"/>
              </a:rPr>
              <a:t>ETL Data F</a:t>
            </a:r>
            <a:r>
              <a:rPr kumimoji="0" lang="en-US" sz="1100" b="0" i="0" u="none" strike="noStrike" kern="0" cap="none" spc="0" normalizeH="0" baseline="0" noProof="0">
                <a:ln>
                  <a:noFill/>
                </a:ln>
                <a:solidFill>
                  <a:prstClr val="black"/>
                </a:solidFill>
                <a:effectLst/>
                <a:uLnTx/>
                <a:uFillTx/>
                <a:latin typeface="Verdana"/>
                <a:ea typeface="+mn-ea"/>
                <a:cs typeface="+mn-cs"/>
              </a:rPr>
              <a:t>lows relating to those entities that will be subject to One Shot migration. It is assumed that there are no needs to perform delta ETL loads (otherwise the solution is also capable to manage these needs anyway)</a:t>
            </a:r>
            <a:endParaRPr kumimoji="0" lang="en-GB" sz="1100" b="0" i="0" u="none" strike="noStrike" kern="0" cap="none" spc="0" normalizeH="0" baseline="0" noProof="0">
              <a:ln>
                <a:noFill/>
              </a:ln>
              <a:solidFill>
                <a:prstClr val="black"/>
              </a:solidFill>
              <a:effectLst/>
              <a:uLnTx/>
              <a:uFillTx/>
              <a:latin typeface="Verdana"/>
              <a:ea typeface="+mn-ea"/>
              <a:cs typeface="+mn-cs"/>
            </a:endParaRPr>
          </a:p>
        </p:txBody>
      </p:sp>
      <p:pic>
        <p:nvPicPr>
          <p:cNvPr id="23" name="Picture 22">
            <a:extLst>
              <a:ext uri="{FF2B5EF4-FFF2-40B4-BE49-F238E27FC236}">
                <a16:creationId xmlns:a16="http://schemas.microsoft.com/office/drawing/2014/main" id="{62F713C2-4D16-4DBD-A531-07153A8335FD}"/>
              </a:ext>
            </a:extLst>
          </p:cNvPr>
          <p:cNvPicPr>
            <a:picLocks noChangeAspect="1"/>
          </p:cNvPicPr>
          <p:nvPr/>
        </p:nvPicPr>
        <p:blipFill>
          <a:blip r:embed="rId2"/>
          <a:stretch>
            <a:fillRect/>
          </a:stretch>
        </p:blipFill>
        <p:spPr>
          <a:xfrm>
            <a:off x="3831854" y="4249779"/>
            <a:ext cx="735860" cy="513934"/>
          </a:xfrm>
          <a:prstGeom prst="rect">
            <a:avLst/>
          </a:prstGeom>
        </p:spPr>
      </p:pic>
      <p:sp>
        <p:nvSpPr>
          <p:cNvPr id="24" name="Rectangle: Rounded Corners 23">
            <a:extLst>
              <a:ext uri="{FF2B5EF4-FFF2-40B4-BE49-F238E27FC236}">
                <a16:creationId xmlns:a16="http://schemas.microsoft.com/office/drawing/2014/main" id="{8B887B43-5CCB-4B61-AED1-5EEAEED243A2}"/>
              </a:ext>
            </a:extLst>
          </p:cNvPr>
          <p:cNvSpPr/>
          <p:nvPr/>
        </p:nvSpPr>
        <p:spPr>
          <a:xfrm>
            <a:off x="7383879" y="2655468"/>
            <a:ext cx="496475" cy="1544400"/>
          </a:xfrm>
          <a:prstGeom prst="roundRect">
            <a:avLst/>
          </a:prstGeom>
          <a:solidFill>
            <a:srgbClr val="2B143D">
              <a:lumMod val="10000"/>
              <a:lumOff val="90000"/>
            </a:srgbClr>
          </a:solidFill>
          <a:ln w="635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a:ln>
                  <a:noFill/>
                </a:ln>
                <a:solidFill>
                  <a:prstClr val="black"/>
                </a:solidFill>
                <a:effectLst/>
                <a:uLnTx/>
                <a:uFillTx/>
                <a:latin typeface="Verdana"/>
                <a:ea typeface="+mn-ea"/>
                <a:cs typeface="+mn-cs"/>
              </a:rPr>
              <a:t>Load</a:t>
            </a:r>
          </a:p>
        </p:txBody>
      </p:sp>
      <p:pic>
        <p:nvPicPr>
          <p:cNvPr id="25" name="Picture 24">
            <a:extLst>
              <a:ext uri="{FF2B5EF4-FFF2-40B4-BE49-F238E27FC236}">
                <a16:creationId xmlns:a16="http://schemas.microsoft.com/office/drawing/2014/main" id="{152D7C96-244F-4452-A907-604985707C7E}"/>
              </a:ext>
            </a:extLst>
          </p:cNvPr>
          <p:cNvPicPr>
            <a:picLocks noChangeAspect="1"/>
          </p:cNvPicPr>
          <p:nvPr/>
        </p:nvPicPr>
        <p:blipFill>
          <a:blip r:embed="rId2"/>
          <a:stretch>
            <a:fillRect/>
          </a:stretch>
        </p:blipFill>
        <p:spPr>
          <a:xfrm>
            <a:off x="7272372" y="4307824"/>
            <a:ext cx="735860" cy="513934"/>
          </a:xfrm>
          <a:prstGeom prst="rect">
            <a:avLst/>
          </a:prstGeom>
        </p:spPr>
      </p:pic>
      <p:sp>
        <p:nvSpPr>
          <p:cNvPr id="26" name="Flowchart: Magnetic Disk 25">
            <a:extLst>
              <a:ext uri="{FF2B5EF4-FFF2-40B4-BE49-F238E27FC236}">
                <a16:creationId xmlns:a16="http://schemas.microsoft.com/office/drawing/2014/main" id="{C8FADD58-90B1-41E9-A372-2C1FADE2680C}"/>
              </a:ext>
            </a:extLst>
          </p:cNvPr>
          <p:cNvSpPr/>
          <p:nvPr/>
        </p:nvSpPr>
        <p:spPr bwMode="auto">
          <a:xfrm>
            <a:off x="1897018" y="4258984"/>
            <a:ext cx="877405" cy="818281"/>
          </a:xfrm>
          <a:prstGeom prst="flowChartMagneticDisk">
            <a:avLst/>
          </a:prstGeom>
          <a:solidFill>
            <a:srgbClr val="FFFFFF">
              <a:lumMod val="75000"/>
            </a:srgbClr>
          </a:solidFill>
          <a:ln w="9525" cap="flat" cmpd="sng" algn="ctr">
            <a:solidFill>
              <a:sysClr val="window" lastClr="FFFFFF">
                <a:lumMod val="85000"/>
              </a:sysClr>
            </a:solidFill>
            <a:prstDash val="solid"/>
            <a:headEnd type="none" w="med" len="med"/>
            <a:tailEnd type="none" w="med" len="med"/>
          </a:ln>
          <a:effectLst/>
        </p:spPr>
        <p:txBody>
          <a:bodyPr wrap="none" anchor="ctr"/>
          <a:lstStyle/>
          <a:p>
            <a:pPr marL="0" marR="0" lvl="0" indent="0" algn="ctr" defTabSz="914103" eaLnBrk="0" fontAlgn="auto" latinLnBrk="0" hangingPunct="0">
              <a:lnSpc>
                <a:spcPct val="100000"/>
              </a:lnSpc>
              <a:spcBef>
                <a:spcPts val="0"/>
              </a:spcBef>
              <a:spcAft>
                <a:spcPts val="0"/>
              </a:spcAft>
              <a:buClrTx/>
              <a:buSzTx/>
              <a:buFontTx/>
              <a:buNone/>
              <a:tabLst/>
              <a:defRPr/>
            </a:pPr>
            <a:r>
              <a:rPr kumimoji="0" lang="en-AU" sz="1000" b="0" i="1" u="none" strike="noStrike" kern="0" cap="none" spc="0" normalizeH="0" baseline="0" noProof="0">
                <a:ln>
                  <a:noFill/>
                </a:ln>
                <a:solidFill>
                  <a:prstClr val="white"/>
                </a:solidFill>
                <a:effectLst/>
                <a:uLnTx/>
                <a:uFillTx/>
                <a:latin typeface="Verdana"/>
                <a:cs typeface="Arial" pitchFamily="34" charset="0"/>
              </a:rPr>
              <a:t>Different </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AU" sz="1000" b="0" i="1" u="none" strike="noStrike" kern="0" cap="none" spc="0" normalizeH="0" baseline="0" noProof="0">
                <a:ln>
                  <a:noFill/>
                </a:ln>
                <a:solidFill>
                  <a:prstClr val="white"/>
                </a:solidFill>
                <a:effectLst/>
                <a:uLnTx/>
                <a:uFillTx/>
                <a:latin typeface="Verdana"/>
                <a:cs typeface="Arial" pitchFamily="34" charset="0"/>
              </a:rPr>
              <a:t>data</a:t>
            </a:r>
          </a:p>
          <a:p>
            <a:pPr marL="0" marR="0" lvl="0" indent="0" algn="ctr" defTabSz="914103" eaLnBrk="0" fontAlgn="auto" latinLnBrk="0" hangingPunct="0">
              <a:lnSpc>
                <a:spcPct val="100000"/>
              </a:lnSpc>
              <a:spcBef>
                <a:spcPts val="0"/>
              </a:spcBef>
              <a:spcAft>
                <a:spcPts val="0"/>
              </a:spcAft>
              <a:buClrTx/>
              <a:buSzTx/>
              <a:buFontTx/>
              <a:buNone/>
              <a:tabLst/>
              <a:defRPr/>
            </a:pPr>
            <a:r>
              <a:rPr kumimoji="0" lang="en-AU" sz="1000" b="0" i="1" u="none" strike="noStrike" kern="0" cap="none" spc="0" normalizeH="0" baseline="0" noProof="0">
                <a:ln>
                  <a:noFill/>
                </a:ln>
                <a:solidFill>
                  <a:prstClr val="white"/>
                </a:solidFill>
                <a:effectLst/>
                <a:uLnTx/>
                <a:uFillTx/>
                <a:latin typeface="Verdana"/>
                <a:cs typeface="Arial" pitchFamily="34" charset="0"/>
              </a:rPr>
              <a:t>sources</a:t>
            </a:r>
          </a:p>
        </p:txBody>
      </p:sp>
      <p:sp>
        <p:nvSpPr>
          <p:cNvPr id="27" name="TextBox 26">
            <a:extLst>
              <a:ext uri="{FF2B5EF4-FFF2-40B4-BE49-F238E27FC236}">
                <a16:creationId xmlns:a16="http://schemas.microsoft.com/office/drawing/2014/main" id="{6B55638C-5374-43F6-93FF-11D9A3192377}"/>
              </a:ext>
            </a:extLst>
          </p:cNvPr>
          <p:cNvSpPr txBox="1"/>
          <p:nvPr/>
        </p:nvSpPr>
        <p:spPr>
          <a:xfrm>
            <a:off x="5095875" y="4307824"/>
            <a:ext cx="1924050" cy="769441"/>
          </a:xfrm>
          <a:prstGeom prst="rect">
            <a:avLst/>
          </a:prstGeom>
          <a:noFill/>
        </p:spPr>
        <p:txBody>
          <a:bodyPr wrap="square" rtlCol="0">
            <a:spAutoFit/>
          </a:bodyPr>
          <a:lstStyle/>
          <a:p>
            <a:r>
              <a:rPr lang="en-AU" sz="1100" i="1">
                <a:solidFill>
                  <a:prstClr val="black"/>
                </a:solidFill>
                <a:latin typeface="Verdana"/>
              </a:rPr>
              <a:t>Different data servers supported, based on customer preference</a:t>
            </a:r>
          </a:p>
          <a:p>
            <a:r>
              <a:rPr lang="en-AU" sz="1100" i="1">
                <a:solidFill>
                  <a:prstClr val="black"/>
                </a:solidFill>
                <a:latin typeface="Verdana"/>
              </a:rPr>
              <a:t>(e.g. SQL, Oracle, etc.)</a:t>
            </a:r>
          </a:p>
        </p:txBody>
      </p:sp>
      <p:sp>
        <p:nvSpPr>
          <p:cNvPr id="28" name="TextBox 27">
            <a:extLst>
              <a:ext uri="{FF2B5EF4-FFF2-40B4-BE49-F238E27FC236}">
                <a16:creationId xmlns:a16="http://schemas.microsoft.com/office/drawing/2014/main" id="{C5073DEA-838F-43BC-8965-60A893966AC2}"/>
              </a:ext>
            </a:extLst>
          </p:cNvPr>
          <p:cNvSpPr txBox="1"/>
          <p:nvPr/>
        </p:nvSpPr>
        <p:spPr>
          <a:xfrm>
            <a:off x="424797" y="1085147"/>
            <a:ext cx="11334313" cy="830997"/>
          </a:xfrm>
          <a:prstGeom prst="rect">
            <a:avLst/>
          </a:prstGeom>
          <a:noFill/>
        </p:spPr>
        <p:txBody>
          <a:bodyPr wrap="square" rtlCol="0">
            <a:spAutoFit/>
          </a:bodyPr>
          <a:lstStyle/>
          <a:p>
            <a:r>
              <a:rPr lang="en-AU" sz="1600">
                <a:solidFill>
                  <a:prstClr val="black"/>
                </a:solidFill>
                <a:latin typeface="Verdana"/>
              </a:rPr>
              <a:t>A structured industrialized migration approach can also be proposed to Marelli, leveraging </a:t>
            </a:r>
            <a:r>
              <a:rPr lang="en-AU" sz="1600" err="1">
                <a:solidFill>
                  <a:prstClr val="black"/>
                </a:solidFill>
                <a:latin typeface="Verdana"/>
              </a:rPr>
              <a:t>Mulesoft</a:t>
            </a:r>
            <a:r>
              <a:rPr lang="en-AU" sz="1600">
                <a:solidFill>
                  <a:prstClr val="black"/>
                </a:solidFill>
                <a:latin typeface="Verdana"/>
              </a:rPr>
              <a:t> ETL solution. This approach is suitable in those cases where there are requirements for complex transformations, need to manage relationships between entities during migration, etc.</a:t>
            </a:r>
          </a:p>
        </p:txBody>
      </p:sp>
    </p:spTree>
    <p:extLst>
      <p:ext uri="{BB962C8B-B14F-4D97-AF65-F5344CB8AC3E}">
        <p14:creationId xmlns:p14="http://schemas.microsoft.com/office/powerpoint/2010/main" val="344557078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6328" y="318896"/>
            <a:ext cx="5953125" cy="422275"/>
          </a:xfrm>
          <a:prstGeom prst="rect">
            <a:avLst/>
          </a:prstGeom>
        </p:spPr>
        <p:txBody>
          <a:bodyPr vert="horz" wrap="square" lIns="0" tIns="12700" rIns="0" bIns="0" rtlCol="0">
            <a:spAutoFit/>
          </a:bodyPr>
          <a:lstStyle/>
          <a:p>
            <a:pPr marL="12700">
              <a:lnSpc>
                <a:spcPct val="100000"/>
              </a:lnSpc>
              <a:spcBef>
                <a:spcPts val="100"/>
              </a:spcBef>
            </a:pPr>
            <a:r>
              <a:rPr sz="2600" spc="-5"/>
              <a:t>Data Migration </a:t>
            </a:r>
            <a:r>
              <a:rPr sz="2600" spc="-10"/>
              <a:t>Run </a:t>
            </a:r>
            <a:r>
              <a:rPr sz="2600"/>
              <a:t>for </a:t>
            </a:r>
            <a:r>
              <a:rPr sz="2600" spc="-5"/>
              <a:t>each</a:t>
            </a:r>
            <a:r>
              <a:rPr sz="2600" spc="-25"/>
              <a:t> </a:t>
            </a:r>
            <a:r>
              <a:rPr sz="2600" spc="-10"/>
              <a:t>Rollout</a:t>
            </a:r>
            <a:endParaRPr sz="2600"/>
          </a:p>
        </p:txBody>
      </p:sp>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1</a:t>
            </a:fld>
            <a:endParaRPr sz="800">
              <a:latin typeface="Verdana"/>
              <a:cs typeface="Verdana"/>
            </a:endParaRPr>
          </a:p>
        </p:txBody>
      </p:sp>
      <p:sp>
        <p:nvSpPr>
          <p:cNvPr id="3" name="object 3"/>
          <p:cNvSpPr txBox="1"/>
          <p:nvPr/>
        </p:nvSpPr>
        <p:spPr>
          <a:xfrm>
            <a:off x="419506" y="847725"/>
            <a:ext cx="11320145" cy="2326278"/>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Verdana"/>
                <a:cs typeface="Verdana"/>
              </a:rPr>
              <a:t>Data </a:t>
            </a:r>
            <a:r>
              <a:rPr sz="1200" spc="-10">
                <a:latin typeface="Verdana"/>
                <a:cs typeface="Verdana"/>
              </a:rPr>
              <a:t>Migration </a:t>
            </a:r>
            <a:r>
              <a:rPr sz="1200" spc="-5">
                <a:latin typeface="Verdana"/>
                <a:cs typeface="Verdana"/>
              </a:rPr>
              <a:t>will be performed in </a:t>
            </a:r>
            <a:r>
              <a:rPr sz="1200">
                <a:latin typeface="Verdana"/>
                <a:cs typeface="Verdana"/>
              </a:rPr>
              <a:t>order </a:t>
            </a:r>
            <a:r>
              <a:rPr sz="1200" spc="-5">
                <a:latin typeface="Verdana"/>
                <a:cs typeface="Verdana"/>
              </a:rPr>
              <a:t>to populate the system </a:t>
            </a:r>
            <a:r>
              <a:rPr sz="1200">
                <a:latin typeface="Verdana"/>
                <a:cs typeface="Verdana"/>
              </a:rPr>
              <a:t>at </a:t>
            </a:r>
            <a:r>
              <a:rPr sz="1200" spc="-5">
                <a:latin typeface="Verdana"/>
                <a:cs typeface="Verdana"/>
              </a:rPr>
              <a:t>start with all data </a:t>
            </a:r>
            <a:r>
              <a:rPr sz="1200">
                <a:latin typeface="Verdana"/>
                <a:cs typeface="Verdana"/>
              </a:rPr>
              <a:t>of </a:t>
            </a:r>
            <a:r>
              <a:rPr sz="1200" spc="-5">
                <a:latin typeface="Verdana"/>
                <a:cs typeface="Verdana"/>
              </a:rPr>
              <a:t>interest related to opportunities coming </a:t>
            </a:r>
            <a:r>
              <a:rPr sz="1200">
                <a:latin typeface="Verdana"/>
                <a:cs typeface="Verdana"/>
              </a:rPr>
              <a:t>from </a:t>
            </a:r>
            <a:r>
              <a:rPr sz="1200" spc="-5">
                <a:latin typeface="Verdana"/>
                <a:cs typeface="Verdana"/>
              </a:rPr>
              <a:t>External </a:t>
            </a:r>
            <a:r>
              <a:rPr sz="1200">
                <a:latin typeface="Verdana"/>
                <a:cs typeface="Verdana"/>
              </a:rPr>
              <a:t>DB  for </a:t>
            </a:r>
            <a:r>
              <a:rPr sz="1200" spc="-5">
                <a:latin typeface="Verdana"/>
                <a:cs typeface="Verdana"/>
              </a:rPr>
              <a:t>Electric </a:t>
            </a:r>
            <a:r>
              <a:rPr sz="1200" spc="-10">
                <a:latin typeface="Verdana"/>
                <a:cs typeface="Verdana"/>
              </a:rPr>
              <a:t>Powertrain </a:t>
            </a:r>
            <a:r>
              <a:rPr sz="1200" spc="-5">
                <a:latin typeface="Verdana"/>
                <a:cs typeface="Verdana"/>
              </a:rPr>
              <a:t>(ePW) </a:t>
            </a:r>
            <a:r>
              <a:rPr sz="1200">
                <a:latin typeface="Verdana"/>
                <a:cs typeface="Verdana"/>
              </a:rPr>
              <a:t>, </a:t>
            </a:r>
            <a:r>
              <a:rPr sz="1200" spc="-10">
                <a:latin typeface="Verdana"/>
                <a:cs typeface="Verdana"/>
              </a:rPr>
              <a:t>Powertrain </a:t>
            </a:r>
            <a:r>
              <a:rPr sz="1200" spc="-5">
                <a:latin typeface="Verdana"/>
                <a:cs typeface="Verdana"/>
              </a:rPr>
              <a:t>(PW), </a:t>
            </a:r>
            <a:r>
              <a:rPr sz="1200">
                <a:latin typeface="Verdana"/>
                <a:cs typeface="Verdana"/>
              </a:rPr>
              <a:t>Green </a:t>
            </a:r>
            <a:r>
              <a:rPr sz="1200" spc="-20">
                <a:latin typeface="Verdana"/>
                <a:cs typeface="Verdana"/>
              </a:rPr>
              <a:t>Technology </a:t>
            </a:r>
            <a:r>
              <a:rPr sz="1200" spc="-5">
                <a:latin typeface="Verdana"/>
                <a:cs typeface="Verdana"/>
              </a:rPr>
              <a:t>Solutions</a:t>
            </a:r>
            <a:r>
              <a:rPr sz="1200" spc="85">
                <a:latin typeface="Verdana"/>
                <a:cs typeface="Verdana"/>
              </a:rPr>
              <a:t> </a:t>
            </a:r>
            <a:r>
              <a:rPr sz="1200" spc="-5">
                <a:latin typeface="Verdana"/>
                <a:cs typeface="Verdana"/>
              </a:rPr>
              <a:t>(GTS)</a:t>
            </a:r>
            <a:endParaRPr sz="1200">
              <a:latin typeface="Verdana"/>
              <a:cs typeface="Verdana"/>
            </a:endParaRPr>
          </a:p>
          <a:p>
            <a:pPr>
              <a:lnSpc>
                <a:spcPct val="100000"/>
              </a:lnSpc>
            </a:pPr>
            <a:endParaRPr sz="1250">
              <a:latin typeface="Times New Roman"/>
              <a:cs typeface="Times New Roman"/>
            </a:endParaRPr>
          </a:p>
          <a:p>
            <a:pPr marL="12700" marR="414020">
              <a:lnSpc>
                <a:spcPct val="100000"/>
              </a:lnSpc>
            </a:pPr>
            <a:r>
              <a:rPr sz="1200" spc="-5">
                <a:latin typeface="Verdana"/>
                <a:cs typeface="Verdana"/>
              </a:rPr>
              <a:t>The input data </a:t>
            </a:r>
            <a:r>
              <a:rPr sz="1200">
                <a:latin typeface="Verdana"/>
                <a:cs typeface="Verdana"/>
              </a:rPr>
              <a:t>of </a:t>
            </a:r>
            <a:r>
              <a:rPr sz="1200" spc="-5">
                <a:latin typeface="Verdana"/>
                <a:cs typeface="Verdana"/>
              </a:rPr>
              <a:t>the </a:t>
            </a:r>
            <a:r>
              <a:rPr sz="1200" spc="-10">
                <a:latin typeface="Verdana"/>
                <a:cs typeface="Verdana"/>
              </a:rPr>
              <a:t>migration </a:t>
            </a:r>
            <a:r>
              <a:rPr sz="1200">
                <a:latin typeface="Verdana"/>
                <a:cs typeface="Verdana"/>
              </a:rPr>
              <a:t>procedures </a:t>
            </a:r>
            <a:r>
              <a:rPr sz="1200" spc="-5">
                <a:latin typeface="Verdana"/>
                <a:cs typeface="Verdana"/>
              </a:rPr>
              <a:t>will be csv files; the format </a:t>
            </a:r>
            <a:r>
              <a:rPr sz="1200">
                <a:latin typeface="Verdana"/>
                <a:cs typeface="Verdana"/>
              </a:rPr>
              <a:t>of </a:t>
            </a:r>
            <a:r>
              <a:rPr sz="1200" spc="-5">
                <a:latin typeface="Verdana"/>
                <a:cs typeface="Verdana"/>
              </a:rPr>
              <a:t>the files (column names, </a:t>
            </a:r>
            <a:r>
              <a:rPr sz="1200">
                <a:latin typeface="Verdana"/>
                <a:cs typeface="Verdana"/>
              </a:rPr>
              <a:t>order of </a:t>
            </a:r>
            <a:r>
              <a:rPr sz="1200" spc="-5">
                <a:latin typeface="Verdana"/>
                <a:cs typeface="Verdana"/>
              </a:rPr>
              <a:t>columns, data </a:t>
            </a:r>
            <a:r>
              <a:rPr sz="1200" spc="5">
                <a:latin typeface="Verdana"/>
                <a:cs typeface="Verdana"/>
              </a:rPr>
              <a:t>format) </a:t>
            </a:r>
            <a:r>
              <a:rPr sz="1200" spc="-5">
                <a:latin typeface="Verdana"/>
                <a:cs typeface="Verdana"/>
              </a:rPr>
              <a:t>will be the  same for </a:t>
            </a:r>
            <a:r>
              <a:rPr sz="1200">
                <a:latin typeface="Verdana"/>
                <a:cs typeface="Verdana"/>
              </a:rPr>
              <a:t>all </a:t>
            </a:r>
            <a:r>
              <a:rPr sz="1200" spc="-5">
                <a:latin typeface="Verdana"/>
                <a:cs typeface="Verdana"/>
              </a:rPr>
              <a:t>the</a:t>
            </a:r>
            <a:r>
              <a:rPr sz="1200" spc="15">
                <a:latin typeface="Verdana"/>
                <a:cs typeface="Verdana"/>
              </a:rPr>
              <a:t> </a:t>
            </a:r>
            <a:r>
              <a:rPr sz="1200">
                <a:latin typeface="Verdana"/>
                <a:cs typeface="Verdana"/>
              </a:rPr>
              <a:t>BLs.</a:t>
            </a:r>
          </a:p>
          <a:p>
            <a:pPr>
              <a:lnSpc>
                <a:spcPct val="100000"/>
              </a:lnSpc>
              <a:spcBef>
                <a:spcPts val="5"/>
              </a:spcBef>
            </a:pPr>
            <a:endParaRPr sz="1250">
              <a:latin typeface="Times New Roman"/>
              <a:cs typeface="Times New Roman"/>
            </a:endParaRPr>
          </a:p>
          <a:p>
            <a:pPr marL="12700">
              <a:lnSpc>
                <a:spcPct val="100000"/>
              </a:lnSpc>
            </a:pPr>
            <a:r>
              <a:rPr sz="1200" spc="-5">
                <a:latin typeface="Verdana"/>
                <a:cs typeface="Verdana"/>
              </a:rPr>
              <a:t>The Business Lines will be asked to perform data cleaning</a:t>
            </a:r>
            <a:r>
              <a:rPr lang="it-IT" sz="1200" spc="-5">
                <a:latin typeface="Verdana"/>
                <a:cs typeface="Verdana"/>
              </a:rPr>
              <a:t> (</a:t>
            </a:r>
            <a:r>
              <a:rPr lang="it-IT" sz="1200" spc="-5" err="1">
                <a:latin typeface="Verdana"/>
                <a:cs typeface="Verdana"/>
              </a:rPr>
              <a:t>if</a:t>
            </a:r>
            <a:r>
              <a:rPr lang="it-IT" sz="1200" spc="-5">
                <a:latin typeface="Verdana"/>
                <a:cs typeface="Verdana"/>
              </a:rPr>
              <a:t> </a:t>
            </a:r>
            <a:r>
              <a:rPr lang="it-IT" sz="1200" spc="-5" err="1">
                <a:latin typeface="Verdana"/>
                <a:cs typeface="Verdana"/>
              </a:rPr>
              <a:t>needed</a:t>
            </a:r>
            <a:r>
              <a:rPr lang="it-IT" sz="1200" spc="-5">
                <a:latin typeface="Verdana"/>
                <a:cs typeface="Verdana"/>
              </a:rPr>
              <a:t>)</a:t>
            </a:r>
            <a:r>
              <a:rPr sz="1200" spc="-5">
                <a:latin typeface="Verdana"/>
                <a:cs typeface="Verdana"/>
              </a:rPr>
              <a:t> in </a:t>
            </a:r>
            <a:r>
              <a:rPr sz="1200">
                <a:latin typeface="Verdana"/>
                <a:cs typeface="Verdana"/>
              </a:rPr>
              <a:t>order </a:t>
            </a:r>
            <a:r>
              <a:rPr sz="1200" spc="-5">
                <a:latin typeface="Verdana"/>
                <a:cs typeface="Verdana"/>
              </a:rPr>
              <a:t>to uniform data to the requested</a:t>
            </a:r>
            <a:r>
              <a:rPr sz="1200" spc="175">
                <a:latin typeface="Verdana"/>
                <a:cs typeface="Verdana"/>
              </a:rPr>
              <a:t> </a:t>
            </a:r>
            <a:r>
              <a:rPr sz="1200" spc="-5">
                <a:latin typeface="Verdana"/>
                <a:cs typeface="Verdana"/>
              </a:rPr>
              <a:t>format.</a:t>
            </a:r>
            <a:endParaRPr sz="1200">
              <a:latin typeface="Verdana"/>
              <a:cs typeface="Verdana"/>
            </a:endParaRPr>
          </a:p>
          <a:p>
            <a:pPr>
              <a:lnSpc>
                <a:spcPct val="100000"/>
              </a:lnSpc>
              <a:spcBef>
                <a:spcPts val="5"/>
              </a:spcBef>
            </a:pPr>
            <a:endParaRPr sz="1250">
              <a:latin typeface="Times New Roman"/>
              <a:cs typeface="Times New Roman"/>
            </a:endParaRPr>
          </a:p>
          <a:p>
            <a:pPr marL="12700" marR="31750">
              <a:lnSpc>
                <a:spcPct val="100000"/>
              </a:lnSpc>
            </a:pPr>
            <a:r>
              <a:rPr sz="1200" spc="-5">
                <a:latin typeface="Verdana"/>
                <a:cs typeface="Verdana"/>
              </a:rPr>
              <a:t>Central Data will be sent to the </a:t>
            </a:r>
            <a:r>
              <a:rPr sz="1200" spc="-45">
                <a:latin typeface="Verdana"/>
                <a:cs typeface="Verdana"/>
              </a:rPr>
              <a:t>ePW, </a:t>
            </a:r>
            <a:r>
              <a:rPr sz="1200" spc="-60">
                <a:latin typeface="Verdana"/>
                <a:cs typeface="Verdana"/>
              </a:rPr>
              <a:t>PW, </a:t>
            </a:r>
            <a:r>
              <a:rPr sz="1200" spc="-5">
                <a:latin typeface="Verdana"/>
                <a:cs typeface="Verdana"/>
              </a:rPr>
              <a:t>GTS in </a:t>
            </a:r>
            <a:r>
              <a:rPr sz="1200">
                <a:latin typeface="Verdana"/>
                <a:cs typeface="Verdana"/>
              </a:rPr>
              <a:t>order </a:t>
            </a:r>
            <a:r>
              <a:rPr sz="1200" spc="-5">
                <a:latin typeface="Verdana"/>
                <a:cs typeface="Verdana"/>
              </a:rPr>
              <a:t>to allow them to input data referencing the harmonized </a:t>
            </a:r>
            <a:r>
              <a:rPr sz="1200" spc="-10">
                <a:latin typeface="Verdana"/>
                <a:cs typeface="Verdana"/>
              </a:rPr>
              <a:t>central </a:t>
            </a:r>
            <a:r>
              <a:rPr sz="1200">
                <a:latin typeface="Verdana"/>
                <a:cs typeface="Verdana"/>
              </a:rPr>
              <a:t>structure; </a:t>
            </a:r>
            <a:r>
              <a:rPr sz="1200" spc="-5">
                <a:latin typeface="Verdana"/>
                <a:cs typeface="Verdana"/>
              </a:rPr>
              <a:t>in this </a:t>
            </a:r>
            <a:r>
              <a:rPr sz="1200" spc="-35">
                <a:latin typeface="Verdana"/>
                <a:cs typeface="Verdana"/>
              </a:rPr>
              <a:t>way, </a:t>
            </a:r>
            <a:r>
              <a:rPr sz="1200" spc="-5">
                <a:latin typeface="Verdana"/>
                <a:cs typeface="Verdana"/>
              </a:rPr>
              <a:t>it will  be possible to set </a:t>
            </a:r>
            <a:r>
              <a:rPr sz="1200">
                <a:latin typeface="Verdana"/>
                <a:cs typeface="Verdana"/>
              </a:rPr>
              <a:t>references </a:t>
            </a:r>
            <a:r>
              <a:rPr sz="1200" spc="-5">
                <a:latin typeface="Verdana"/>
                <a:cs typeface="Verdana"/>
              </a:rPr>
              <a:t>in the target database (on</a:t>
            </a:r>
            <a:r>
              <a:rPr sz="1200" spc="80">
                <a:latin typeface="Verdana"/>
                <a:cs typeface="Verdana"/>
              </a:rPr>
              <a:t> </a:t>
            </a:r>
            <a:r>
              <a:rPr sz="1200" spc="-5">
                <a:latin typeface="Verdana"/>
                <a:cs typeface="Verdana"/>
              </a:rPr>
              <a:t>Salesforce).</a:t>
            </a:r>
            <a:endParaRPr sz="1200">
              <a:latin typeface="Verdana"/>
              <a:cs typeface="Verdana"/>
            </a:endParaRPr>
          </a:p>
          <a:p>
            <a:pPr>
              <a:lnSpc>
                <a:spcPct val="100000"/>
              </a:lnSpc>
              <a:spcBef>
                <a:spcPts val="55"/>
              </a:spcBef>
            </a:pPr>
            <a:endParaRPr sz="1200">
              <a:latin typeface="Times New Roman"/>
              <a:cs typeface="Times New Roman"/>
            </a:endParaRPr>
          </a:p>
          <a:p>
            <a:pPr marL="12700">
              <a:lnSpc>
                <a:spcPct val="100000"/>
              </a:lnSpc>
            </a:pPr>
            <a:r>
              <a:rPr sz="1600" b="1" u="heavy" spc="-10">
                <a:uFill>
                  <a:solidFill>
                    <a:srgbClr val="000000"/>
                  </a:solidFill>
                </a:uFill>
                <a:latin typeface="Verdana"/>
                <a:cs typeface="Verdana"/>
              </a:rPr>
              <a:t>Migration Activities </a:t>
            </a:r>
            <a:r>
              <a:rPr sz="1600" b="1" u="heavy" spc="-5">
                <a:uFill>
                  <a:solidFill>
                    <a:srgbClr val="000000"/>
                  </a:solidFill>
                </a:uFill>
                <a:latin typeface="Verdana"/>
                <a:cs typeface="Verdana"/>
              </a:rPr>
              <a:t>For Each </a:t>
            </a:r>
            <a:r>
              <a:rPr sz="1600" b="1" u="heavy" spc="-10">
                <a:uFill>
                  <a:solidFill>
                    <a:srgbClr val="000000"/>
                  </a:solidFill>
                </a:uFill>
                <a:latin typeface="Verdana"/>
                <a:cs typeface="Verdana"/>
              </a:rPr>
              <a:t>Migration</a:t>
            </a:r>
            <a:r>
              <a:rPr sz="1600" b="1" u="heavy" spc="150">
                <a:uFill>
                  <a:solidFill>
                    <a:srgbClr val="000000"/>
                  </a:solidFill>
                </a:uFill>
                <a:latin typeface="Verdana"/>
                <a:cs typeface="Verdana"/>
              </a:rPr>
              <a:t> </a:t>
            </a:r>
            <a:r>
              <a:rPr sz="1600" b="1" u="heavy" spc="-10">
                <a:uFill>
                  <a:solidFill>
                    <a:srgbClr val="000000"/>
                  </a:solidFill>
                </a:uFill>
                <a:latin typeface="Verdana"/>
                <a:cs typeface="Verdana"/>
              </a:rPr>
              <a:t>Run</a:t>
            </a:r>
            <a:endParaRPr sz="1600">
              <a:latin typeface="Verdana"/>
              <a:cs typeface="Verdana"/>
            </a:endParaRPr>
          </a:p>
        </p:txBody>
      </p:sp>
      <p:graphicFrame>
        <p:nvGraphicFramePr>
          <p:cNvPr id="4" name="object 4"/>
          <p:cNvGraphicFramePr>
            <a:graphicFrameLocks noGrp="1"/>
          </p:cNvGraphicFramePr>
          <p:nvPr>
            <p:extLst>
              <p:ext uri="{D42A27DB-BD31-4B8C-83A1-F6EECF244321}">
                <p14:modId xmlns:p14="http://schemas.microsoft.com/office/powerpoint/2010/main" val="2479912335"/>
              </p:ext>
            </p:extLst>
          </p:nvPr>
        </p:nvGraphicFramePr>
        <p:xfrm>
          <a:off x="369570" y="3199129"/>
          <a:ext cx="11440795" cy="2560319"/>
        </p:xfrm>
        <a:graphic>
          <a:graphicData uri="http://schemas.openxmlformats.org/drawingml/2006/table">
            <a:tbl>
              <a:tblPr firstRow="1" bandRow="1">
                <a:tableStyleId>{2D5ABB26-0587-4C30-8999-92F81FD0307C}</a:tableStyleId>
              </a:tblPr>
              <a:tblGrid>
                <a:gridCol w="1588135">
                  <a:extLst>
                    <a:ext uri="{9D8B030D-6E8A-4147-A177-3AD203B41FA5}">
                      <a16:colId xmlns:a16="http://schemas.microsoft.com/office/drawing/2014/main" val="20000"/>
                    </a:ext>
                  </a:extLst>
                </a:gridCol>
                <a:gridCol w="1604010">
                  <a:extLst>
                    <a:ext uri="{9D8B030D-6E8A-4147-A177-3AD203B41FA5}">
                      <a16:colId xmlns:a16="http://schemas.microsoft.com/office/drawing/2014/main" val="20001"/>
                    </a:ext>
                  </a:extLst>
                </a:gridCol>
                <a:gridCol w="8248650">
                  <a:extLst>
                    <a:ext uri="{9D8B030D-6E8A-4147-A177-3AD203B41FA5}">
                      <a16:colId xmlns:a16="http://schemas.microsoft.com/office/drawing/2014/main" val="20002"/>
                    </a:ext>
                  </a:extLst>
                </a:gridCol>
              </a:tblGrid>
              <a:tr h="365760">
                <a:tc>
                  <a:txBody>
                    <a:bodyPr/>
                    <a:lstStyle/>
                    <a:p>
                      <a:pPr marL="91440">
                        <a:lnSpc>
                          <a:spcPct val="100000"/>
                        </a:lnSpc>
                        <a:spcBef>
                          <a:spcPts val="355"/>
                        </a:spcBef>
                      </a:pPr>
                      <a:r>
                        <a:rPr sz="1800" spc="-5">
                          <a:solidFill>
                            <a:srgbClr val="FFFFFF"/>
                          </a:solidFill>
                          <a:latin typeface="Verdana"/>
                          <a:cs typeface="Verdana"/>
                        </a:rPr>
                        <a:t>Number</a:t>
                      </a:r>
                      <a:endParaRPr sz="18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FAC"/>
                    </a:solidFill>
                  </a:tcPr>
                </a:tc>
                <a:tc>
                  <a:txBody>
                    <a:bodyPr/>
                    <a:lstStyle/>
                    <a:p>
                      <a:pPr marL="91440">
                        <a:lnSpc>
                          <a:spcPct val="100000"/>
                        </a:lnSpc>
                        <a:spcBef>
                          <a:spcPts val="355"/>
                        </a:spcBef>
                      </a:pPr>
                      <a:r>
                        <a:rPr sz="1800">
                          <a:solidFill>
                            <a:srgbClr val="FFFFFF"/>
                          </a:solidFill>
                          <a:latin typeface="Verdana"/>
                          <a:cs typeface="Verdana"/>
                        </a:rPr>
                        <a:t>Activity</a:t>
                      </a:r>
                      <a:endParaRPr sz="18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FAC"/>
                    </a:solidFill>
                  </a:tcPr>
                </a:tc>
                <a:tc>
                  <a:txBody>
                    <a:bodyPr/>
                    <a:lstStyle/>
                    <a:p>
                      <a:pPr marL="91440">
                        <a:lnSpc>
                          <a:spcPct val="100000"/>
                        </a:lnSpc>
                        <a:spcBef>
                          <a:spcPts val="355"/>
                        </a:spcBef>
                      </a:pPr>
                      <a:r>
                        <a:rPr sz="1800">
                          <a:solidFill>
                            <a:srgbClr val="FFFFFF"/>
                          </a:solidFill>
                          <a:latin typeface="Verdana"/>
                          <a:cs typeface="Verdana"/>
                        </a:rPr>
                        <a:t>Description</a:t>
                      </a:r>
                      <a:endParaRPr sz="18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FAC"/>
                    </a:solidFill>
                  </a:tcPr>
                </a:tc>
                <a:extLst>
                  <a:ext uri="{0D108BD9-81ED-4DB2-BD59-A6C34878D82A}">
                    <a16:rowId xmlns:a16="http://schemas.microsoft.com/office/drawing/2014/main" val="10000"/>
                  </a:ext>
                </a:extLst>
              </a:tr>
              <a:tr h="731520">
                <a:tc>
                  <a:txBody>
                    <a:bodyPr/>
                    <a:lstStyle/>
                    <a:p>
                      <a:pPr marL="91440">
                        <a:lnSpc>
                          <a:spcPct val="100000"/>
                        </a:lnSpc>
                        <a:spcBef>
                          <a:spcPts val="355"/>
                        </a:spcBef>
                      </a:pPr>
                      <a:r>
                        <a:rPr sz="1200">
                          <a:latin typeface="Verdana"/>
                          <a:cs typeface="Verdana"/>
                        </a:rPr>
                        <a:t>1</a:t>
                      </a:r>
                    </a:p>
                  </a:txBody>
                  <a:tcPr marL="0" marR="0" marT="4508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355"/>
                        </a:spcBef>
                      </a:pPr>
                      <a:r>
                        <a:rPr sz="1200" spc="-5">
                          <a:latin typeface="Verdana"/>
                          <a:cs typeface="Verdana"/>
                        </a:rPr>
                        <a:t>Data</a:t>
                      </a:r>
                      <a:r>
                        <a:rPr sz="1200">
                          <a:latin typeface="Verdana"/>
                          <a:cs typeface="Verdana"/>
                        </a:rPr>
                        <a:t> </a:t>
                      </a:r>
                      <a:r>
                        <a:rPr sz="1200" spc="-5">
                          <a:latin typeface="Verdana"/>
                          <a:cs typeface="Verdana"/>
                        </a:rPr>
                        <a:t>Cleaning</a:t>
                      </a:r>
                      <a:endParaRPr sz="1200">
                        <a:latin typeface="Verdana"/>
                        <a:cs typeface="Verdana"/>
                      </a:endParaRPr>
                    </a:p>
                  </a:txBody>
                  <a:tcPr marL="0" marR="0" marT="4508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355"/>
                        </a:spcBef>
                      </a:pPr>
                      <a:r>
                        <a:rPr sz="1200" spc="-5">
                          <a:latin typeface="Verdana"/>
                          <a:cs typeface="Verdana"/>
                        </a:rPr>
                        <a:t>Data </a:t>
                      </a:r>
                      <a:r>
                        <a:rPr sz="1200">
                          <a:latin typeface="Verdana"/>
                          <a:cs typeface="Verdana"/>
                        </a:rPr>
                        <a:t>needs </a:t>
                      </a:r>
                      <a:r>
                        <a:rPr sz="1200" spc="-5">
                          <a:latin typeface="Verdana"/>
                          <a:cs typeface="Verdana"/>
                        </a:rPr>
                        <a:t>to be </a:t>
                      </a:r>
                      <a:r>
                        <a:rPr sz="1200">
                          <a:latin typeface="Verdana"/>
                          <a:cs typeface="Verdana"/>
                        </a:rPr>
                        <a:t>clean </a:t>
                      </a:r>
                      <a:r>
                        <a:rPr sz="1200" spc="-5">
                          <a:latin typeface="Verdana"/>
                          <a:cs typeface="Verdana"/>
                        </a:rPr>
                        <a:t>up </a:t>
                      </a:r>
                      <a:r>
                        <a:rPr lang="it-IT" sz="1200" spc="-5">
                          <a:latin typeface="Verdana"/>
                          <a:cs typeface="Verdana"/>
                        </a:rPr>
                        <a:t>by Marelli</a:t>
                      </a:r>
                      <a:r>
                        <a:rPr sz="1200" spc="-5">
                          <a:latin typeface="Verdana"/>
                          <a:cs typeface="Verdana"/>
                        </a:rPr>
                        <a:t> </a:t>
                      </a:r>
                      <a:r>
                        <a:rPr sz="1200">
                          <a:latin typeface="Verdana"/>
                          <a:cs typeface="Verdana"/>
                        </a:rPr>
                        <a:t>before </a:t>
                      </a:r>
                      <a:r>
                        <a:rPr sz="1200" spc="-5">
                          <a:latin typeface="Verdana"/>
                          <a:cs typeface="Verdana"/>
                        </a:rPr>
                        <a:t>import</a:t>
                      </a:r>
                      <a:r>
                        <a:rPr lang="it-IT" sz="1200" spc="-5" err="1">
                          <a:latin typeface="Verdana"/>
                          <a:cs typeface="Verdana"/>
                        </a:rPr>
                        <a:t>ing</a:t>
                      </a:r>
                      <a:r>
                        <a:rPr sz="1200" spc="-5">
                          <a:latin typeface="Verdana"/>
                          <a:cs typeface="Verdana"/>
                        </a:rPr>
                        <a:t> </a:t>
                      </a:r>
                      <a:r>
                        <a:rPr sz="1200" spc="-10">
                          <a:latin typeface="Verdana"/>
                          <a:cs typeface="Verdana"/>
                        </a:rPr>
                        <a:t>into </a:t>
                      </a:r>
                      <a:r>
                        <a:rPr sz="1200" spc="-5">
                          <a:latin typeface="Verdana"/>
                          <a:cs typeface="Verdana"/>
                        </a:rPr>
                        <a:t>Salesforce, to </a:t>
                      </a:r>
                      <a:r>
                        <a:rPr sz="1200">
                          <a:latin typeface="Verdana"/>
                          <a:cs typeface="Verdana"/>
                        </a:rPr>
                        <a:t>correct </a:t>
                      </a:r>
                      <a:r>
                        <a:rPr sz="1200" spc="-5">
                          <a:latin typeface="Verdana"/>
                          <a:cs typeface="Verdana"/>
                        </a:rPr>
                        <a:t>incongruences and </a:t>
                      </a:r>
                      <a:r>
                        <a:rPr sz="1200">
                          <a:latin typeface="Verdana"/>
                          <a:cs typeface="Verdana"/>
                        </a:rPr>
                        <a:t>set</a:t>
                      </a:r>
                      <a:r>
                        <a:rPr sz="1200" spc="210">
                          <a:latin typeface="Verdana"/>
                          <a:cs typeface="Verdana"/>
                        </a:rPr>
                        <a:t> </a:t>
                      </a:r>
                      <a:r>
                        <a:rPr sz="1200" spc="-5">
                          <a:latin typeface="Verdana"/>
                          <a:cs typeface="Verdana"/>
                        </a:rPr>
                        <a:t>right</a:t>
                      </a:r>
                      <a:r>
                        <a:rPr lang="it-IT" sz="1200" spc="0">
                          <a:latin typeface="Verdana"/>
                          <a:cs typeface="Verdana"/>
                        </a:rPr>
                        <a:t> </a:t>
                      </a:r>
                      <a:r>
                        <a:rPr sz="1200" spc="-5">
                          <a:latin typeface="Verdana"/>
                          <a:cs typeface="Verdana"/>
                        </a:rPr>
                        <a:t>data formats</a:t>
                      </a:r>
                      <a:r>
                        <a:rPr lang="it-IT" sz="1200" spc="-5">
                          <a:latin typeface="Verdana"/>
                          <a:cs typeface="Verdana"/>
                        </a:rPr>
                        <a:t> (</a:t>
                      </a:r>
                      <a:r>
                        <a:rPr lang="it-IT" sz="1200" spc="-5" err="1">
                          <a:latin typeface="Verdana"/>
                          <a:cs typeface="Verdana"/>
                        </a:rPr>
                        <a:t>if</a:t>
                      </a:r>
                      <a:r>
                        <a:rPr lang="it-IT" sz="1200" spc="-5">
                          <a:latin typeface="Verdana"/>
                          <a:cs typeface="Verdana"/>
                        </a:rPr>
                        <a:t> </a:t>
                      </a:r>
                      <a:r>
                        <a:rPr lang="it-IT" sz="1200" spc="-5" err="1">
                          <a:latin typeface="Verdana"/>
                          <a:cs typeface="Verdana"/>
                        </a:rPr>
                        <a:t>necessary</a:t>
                      </a:r>
                      <a:r>
                        <a:rPr lang="it-IT" sz="1200" spc="-5">
                          <a:latin typeface="Verdana"/>
                          <a:cs typeface="Verdana"/>
                        </a:rPr>
                        <a:t>)</a:t>
                      </a:r>
                      <a:r>
                        <a:rPr sz="1200" spc="-5">
                          <a:latin typeface="Verdana"/>
                          <a:cs typeface="Verdana"/>
                        </a:rPr>
                        <a:t>. Data must be aligned to central data, </a:t>
                      </a:r>
                      <a:r>
                        <a:rPr sz="1200">
                          <a:latin typeface="Verdana"/>
                          <a:cs typeface="Verdana"/>
                        </a:rPr>
                        <a:t>shared </a:t>
                      </a:r>
                      <a:r>
                        <a:rPr sz="1200" spc="-5">
                          <a:latin typeface="Verdana"/>
                          <a:cs typeface="Verdana"/>
                        </a:rPr>
                        <a:t>with the </a:t>
                      </a:r>
                      <a:r>
                        <a:rPr sz="1200">
                          <a:latin typeface="Verdana"/>
                          <a:cs typeface="Verdana"/>
                        </a:rPr>
                        <a:t>BLs </a:t>
                      </a:r>
                      <a:r>
                        <a:rPr sz="1200" spc="-5">
                          <a:latin typeface="Verdana"/>
                          <a:cs typeface="Verdana"/>
                        </a:rPr>
                        <a:t>after the upload </a:t>
                      </a:r>
                      <a:r>
                        <a:rPr sz="1200">
                          <a:latin typeface="Verdana"/>
                          <a:cs typeface="Verdana"/>
                        </a:rPr>
                        <a:t>on</a:t>
                      </a:r>
                      <a:r>
                        <a:rPr sz="1200" spc="260">
                          <a:latin typeface="Verdana"/>
                          <a:cs typeface="Verdana"/>
                        </a:rPr>
                        <a:t> </a:t>
                      </a:r>
                      <a:r>
                        <a:rPr sz="1200" spc="-5">
                          <a:latin typeface="Verdana"/>
                          <a:cs typeface="Verdana"/>
                        </a:rPr>
                        <a:t>Salesforce.</a:t>
                      </a:r>
                      <a:endParaRPr sz="1200">
                        <a:latin typeface="Verdana"/>
                        <a:cs typeface="Verdana"/>
                      </a:endParaRPr>
                    </a:p>
                  </a:txBody>
                  <a:tcPr marL="0" marR="0" marT="4508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4E2"/>
                    </a:solidFill>
                  </a:tcPr>
                </a:tc>
                <a:extLst>
                  <a:ext uri="{0D108BD9-81ED-4DB2-BD59-A6C34878D82A}">
                    <a16:rowId xmlns:a16="http://schemas.microsoft.com/office/drawing/2014/main" val="10001"/>
                  </a:ext>
                </a:extLst>
              </a:tr>
              <a:tr h="640079">
                <a:tc>
                  <a:txBody>
                    <a:bodyPr/>
                    <a:lstStyle/>
                    <a:p>
                      <a:pPr marL="91440">
                        <a:lnSpc>
                          <a:spcPct val="100000"/>
                        </a:lnSpc>
                        <a:spcBef>
                          <a:spcPts val="355"/>
                        </a:spcBef>
                      </a:pPr>
                      <a:r>
                        <a:rPr sz="1200">
                          <a:latin typeface="Verdana"/>
                          <a:cs typeface="Verdana"/>
                        </a:rPr>
                        <a:t>2</a:t>
                      </a: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0"/>
                    </a:solidFill>
                  </a:tcPr>
                </a:tc>
                <a:tc>
                  <a:txBody>
                    <a:bodyPr/>
                    <a:lstStyle/>
                    <a:p>
                      <a:pPr marL="91440">
                        <a:lnSpc>
                          <a:spcPct val="100000"/>
                        </a:lnSpc>
                        <a:spcBef>
                          <a:spcPts val="355"/>
                        </a:spcBef>
                      </a:pPr>
                      <a:r>
                        <a:rPr sz="1200" spc="-5">
                          <a:latin typeface="Verdana"/>
                          <a:cs typeface="Verdana"/>
                        </a:rPr>
                        <a:t>Data</a:t>
                      </a:r>
                      <a:r>
                        <a:rPr sz="1200" spc="10">
                          <a:latin typeface="Verdana"/>
                          <a:cs typeface="Verdana"/>
                        </a:rPr>
                        <a:t> </a:t>
                      </a:r>
                      <a:r>
                        <a:rPr sz="1200" spc="-5">
                          <a:latin typeface="Verdana"/>
                          <a:cs typeface="Verdana"/>
                        </a:rPr>
                        <a:t>Export</a:t>
                      </a:r>
                      <a:endParaRPr sz="12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0"/>
                    </a:solidFill>
                  </a:tcPr>
                </a:tc>
                <a:tc>
                  <a:txBody>
                    <a:bodyPr/>
                    <a:lstStyle/>
                    <a:p>
                      <a:pPr marL="91440" marR="154305">
                        <a:lnSpc>
                          <a:spcPct val="100000"/>
                        </a:lnSpc>
                        <a:spcBef>
                          <a:spcPts val="355"/>
                        </a:spcBef>
                      </a:pPr>
                      <a:r>
                        <a:rPr sz="1200" spc="-5">
                          <a:latin typeface="Verdana"/>
                          <a:cs typeface="Verdana"/>
                        </a:rPr>
                        <a:t>Export </a:t>
                      </a:r>
                      <a:r>
                        <a:rPr sz="1200">
                          <a:latin typeface="Verdana"/>
                          <a:cs typeface="Verdana"/>
                        </a:rPr>
                        <a:t>of </a:t>
                      </a:r>
                      <a:r>
                        <a:rPr sz="1200" spc="-5">
                          <a:latin typeface="Verdana"/>
                          <a:cs typeface="Verdana"/>
                        </a:rPr>
                        <a:t>all relevant data that needs to be </a:t>
                      </a:r>
                      <a:r>
                        <a:rPr sz="1200" spc="-10">
                          <a:latin typeface="Verdana"/>
                          <a:cs typeface="Verdana"/>
                        </a:rPr>
                        <a:t>migrated. </a:t>
                      </a:r>
                      <a:r>
                        <a:rPr sz="1200" spc="-5">
                          <a:latin typeface="Verdana"/>
                          <a:cs typeface="Verdana"/>
                        </a:rPr>
                        <a:t>Data will be input in the templates </a:t>
                      </a:r>
                      <a:r>
                        <a:rPr sz="1200">
                          <a:latin typeface="Verdana"/>
                          <a:cs typeface="Verdana"/>
                        </a:rPr>
                        <a:t>shared </a:t>
                      </a:r>
                      <a:r>
                        <a:rPr sz="1200" spc="-5">
                          <a:latin typeface="Verdana"/>
                          <a:cs typeface="Verdana"/>
                        </a:rPr>
                        <a:t>with all  the Business</a:t>
                      </a:r>
                      <a:r>
                        <a:rPr sz="1200" spc="15">
                          <a:latin typeface="Verdana"/>
                          <a:cs typeface="Verdana"/>
                        </a:rPr>
                        <a:t> </a:t>
                      </a:r>
                      <a:r>
                        <a:rPr sz="1200" spc="-5">
                          <a:latin typeface="Verdana"/>
                          <a:cs typeface="Verdana"/>
                        </a:rPr>
                        <a:t>Lines</a:t>
                      </a:r>
                      <a:r>
                        <a:rPr lang="it-IT" sz="1200" spc="-5">
                          <a:latin typeface="Verdana"/>
                          <a:cs typeface="Verdana"/>
                        </a:rPr>
                        <a:t>, data export </a:t>
                      </a:r>
                      <a:r>
                        <a:rPr lang="it-IT" sz="1200" spc="-5" err="1">
                          <a:latin typeface="Verdana"/>
                          <a:cs typeface="Verdana"/>
                        </a:rPr>
                        <a:t>is</a:t>
                      </a:r>
                      <a:r>
                        <a:rPr lang="it-IT" sz="1200" spc="-5">
                          <a:latin typeface="Verdana"/>
                          <a:cs typeface="Verdana"/>
                        </a:rPr>
                        <a:t> in </a:t>
                      </a:r>
                      <a:r>
                        <a:rPr lang="it-IT" sz="1200" spc="-5" err="1">
                          <a:latin typeface="Verdana"/>
                          <a:cs typeface="Verdana"/>
                        </a:rPr>
                        <a:t>charge</a:t>
                      </a:r>
                      <a:r>
                        <a:rPr lang="it-IT" sz="1200" spc="-5">
                          <a:latin typeface="Verdana"/>
                          <a:cs typeface="Verdana"/>
                        </a:rPr>
                        <a:t> to the Marelli </a:t>
                      </a:r>
                      <a:r>
                        <a:rPr lang="it-IT" sz="1200" spc="-5" err="1">
                          <a:latin typeface="Verdana"/>
                          <a:cs typeface="Verdana"/>
                        </a:rPr>
                        <a:t>external</a:t>
                      </a:r>
                      <a:r>
                        <a:rPr lang="it-IT" sz="1200" spc="-5">
                          <a:latin typeface="Verdana"/>
                          <a:cs typeface="Verdana"/>
                        </a:rPr>
                        <a:t> </a:t>
                      </a:r>
                      <a:r>
                        <a:rPr lang="it-IT" sz="1200" spc="-5" err="1">
                          <a:latin typeface="Verdana"/>
                          <a:cs typeface="Verdana"/>
                        </a:rPr>
                        <a:t>systems</a:t>
                      </a:r>
                      <a:r>
                        <a:rPr lang="it-IT" sz="1200" spc="-5">
                          <a:latin typeface="Verdana"/>
                          <a:cs typeface="Verdana"/>
                        </a:rPr>
                        <a:t> </a:t>
                      </a:r>
                      <a:r>
                        <a:rPr lang="it-IT" sz="1200" spc="-5" err="1">
                          <a:latin typeface="Verdana"/>
                          <a:cs typeface="Verdana"/>
                        </a:rPr>
                        <a:t>owners</a:t>
                      </a:r>
                      <a:endParaRPr sz="12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0"/>
                    </a:solidFill>
                  </a:tcPr>
                </a:tc>
                <a:extLst>
                  <a:ext uri="{0D108BD9-81ED-4DB2-BD59-A6C34878D82A}">
                    <a16:rowId xmlns:a16="http://schemas.microsoft.com/office/drawing/2014/main" val="10002"/>
                  </a:ext>
                </a:extLst>
              </a:tr>
              <a:tr h="822960">
                <a:tc>
                  <a:txBody>
                    <a:bodyPr/>
                    <a:lstStyle/>
                    <a:p>
                      <a:pPr marL="91440">
                        <a:lnSpc>
                          <a:spcPct val="100000"/>
                        </a:lnSpc>
                        <a:spcBef>
                          <a:spcPts val="355"/>
                        </a:spcBef>
                      </a:pPr>
                      <a:r>
                        <a:rPr sz="1200">
                          <a:latin typeface="Verdana"/>
                          <a:cs typeface="Verdana"/>
                        </a:rPr>
                        <a:t>3</a:t>
                      </a: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955"/>
                        </a:spcBef>
                      </a:pPr>
                      <a:r>
                        <a:rPr sz="1200" spc="-5">
                          <a:latin typeface="Verdana"/>
                          <a:cs typeface="Verdana"/>
                        </a:rPr>
                        <a:t>Mapping</a:t>
                      </a:r>
                      <a:endParaRPr sz="1200">
                        <a:latin typeface="Verdana"/>
                        <a:cs typeface="Verdana"/>
                      </a:endParaRPr>
                    </a:p>
                  </a:txBody>
                  <a:tcPr marL="0" marR="0" marT="1212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355"/>
                        </a:spcBef>
                      </a:pPr>
                      <a:r>
                        <a:rPr sz="1200" spc="-5">
                          <a:latin typeface="Verdana"/>
                          <a:cs typeface="Verdana"/>
                        </a:rPr>
                        <a:t>Input data (e.g. columns </a:t>
                      </a:r>
                      <a:r>
                        <a:rPr sz="1200">
                          <a:latin typeface="Verdana"/>
                          <a:cs typeface="Verdana"/>
                        </a:rPr>
                        <a:t>of </a:t>
                      </a:r>
                      <a:r>
                        <a:rPr sz="1200" spc="-5">
                          <a:latin typeface="Verdana"/>
                          <a:cs typeface="Verdana"/>
                        </a:rPr>
                        <a:t>template files) </a:t>
                      </a:r>
                      <a:r>
                        <a:rPr sz="1200">
                          <a:latin typeface="Verdana"/>
                          <a:cs typeface="Verdana"/>
                        </a:rPr>
                        <a:t>are </a:t>
                      </a:r>
                      <a:r>
                        <a:rPr sz="1200" spc="-5">
                          <a:latin typeface="Verdana"/>
                          <a:cs typeface="Verdana"/>
                        </a:rPr>
                        <a:t>mapped to Salesforce data model objects. Will</a:t>
                      </a:r>
                      <a:r>
                        <a:rPr sz="1200" spc="180">
                          <a:latin typeface="Verdana"/>
                          <a:cs typeface="Verdana"/>
                        </a:rPr>
                        <a:t> </a:t>
                      </a:r>
                      <a:r>
                        <a:rPr sz="1200" spc="-5">
                          <a:latin typeface="Verdana"/>
                          <a:cs typeface="Verdana"/>
                        </a:rPr>
                        <a:t>be</a:t>
                      </a:r>
                      <a:endParaRPr sz="1200">
                        <a:latin typeface="Verdana"/>
                        <a:cs typeface="Verdana"/>
                      </a:endParaRPr>
                    </a:p>
                    <a:p>
                      <a:pPr marL="91440">
                        <a:lnSpc>
                          <a:spcPct val="100000"/>
                        </a:lnSpc>
                        <a:spcBef>
                          <a:spcPts val="600"/>
                        </a:spcBef>
                      </a:pPr>
                      <a:r>
                        <a:rPr sz="1200" spc="-5">
                          <a:latin typeface="Verdana"/>
                          <a:cs typeface="Verdana"/>
                        </a:rPr>
                        <a:t>implemented by the </a:t>
                      </a:r>
                      <a:r>
                        <a:rPr sz="1200" spc="-10">
                          <a:latin typeface="Verdana"/>
                          <a:cs typeface="Verdana"/>
                        </a:rPr>
                        <a:t>migration</a:t>
                      </a:r>
                      <a:r>
                        <a:rPr sz="1200" spc="30">
                          <a:latin typeface="Verdana"/>
                          <a:cs typeface="Verdana"/>
                        </a:rPr>
                        <a:t> </a:t>
                      </a:r>
                      <a:r>
                        <a:rPr sz="1200">
                          <a:latin typeface="Verdana"/>
                          <a:cs typeface="Verdana"/>
                        </a:rPr>
                        <a:t>procedures.</a:t>
                      </a: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4E2"/>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6328" y="260984"/>
            <a:ext cx="5953125" cy="422275"/>
          </a:xfrm>
          <a:prstGeom prst="rect">
            <a:avLst/>
          </a:prstGeom>
        </p:spPr>
        <p:txBody>
          <a:bodyPr vert="horz" wrap="square" lIns="0" tIns="12700" rIns="0" bIns="0" rtlCol="0">
            <a:spAutoFit/>
          </a:bodyPr>
          <a:lstStyle/>
          <a:p>
            <a:pPr marL="12700">
              <a:lnSpc>
                <a:spcPct val="100000"/>
              </a:lnSpc>
              <a:spcBef>
                <a:spcPts val="100"/>
              </a:spcBef>
            </a:pPr>
            <a:r>
              <a:rPr sz="2600" spc="-5"/>
              <a:t>Data Migration </a:t>
            </a:r>
            <a:r>
              <a:rPr sz="2600" spc="-10"/>
              <a:t>Run </a:t>
            </a:r>
            <a:r>
              <a:rPr sz="2600"/>
              <a:t>for </a:t>
            </a:r>
            <a:r>
              <a:rPr sz="2600" spc="-5"/>
              <a:t>each</a:t>
            </a:r>
            <a:r>
              <a:rPr sz="2600" spc="-25"/>
              <a:t> </a:t>
            </a:r>
            <a:r>
              <a:rPr sz="2600" spc="-10"/>
              <a:t>Rollout</a:t>
            </a:r>
            <a:endParaRPr sz="2600"/>
          </a:p>
        </p:txBody>
      </p:sp>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2</a:t>
            </a:fld>
            <a:endParaRPr sz="800">
              <a:latin typeface="Verdana"/>
              <a:cs typeface="Verdana"/>
            </a:endParaRPr>
          </a:p>
        </p:txBody>
      </p:sp>
      <p:sp>
        <p:nvSpPr>
          <p:cNvPr id="3" name="object 3"/>
          <p:cNvSpPr txBox="1"/>
          <p:nvPr/>
        </p:nvSpPr>
        <p:spPr>
          <a:xfrm>
            <a:off x="422859" y="762127"/>
            <a:ext cx="4967605" cy="269240"/>
          </a:xfrm>
          <a:prstGeom prst="rect">
            <a:avLst/>
          </a:prstGeom>
        </p:spPr>
        <p:txBody>
          <a:bodyPr vert="horz" wrap="square" lIns="0" tIns="12065" rIns="0" bIns="0" rtlCol="0">
            <a:spAutoFit/>
          </a:bodyPr>
          <a:lstStyle/>
          <a:p>
            <a:pPr marL="12700">
              <a:lnSpc>
                <a:spcPct val="100000"/>
              </a:lnSpc>
              <a:spcBef>
                <a:spcPts val="95"/>
              </a:spcBef>
            </a:pPr>
            <a:r>
              <a:rPr sz="1600" b="1" u="heavy" spc="-10">
                <a:uFill>
                  <a:solidFill>
                    <a:srgbClr val="000000"/>
                  </a:solidFill>
                </a:uFill>
                <a:latin typeface="Verdana"/>
                <a:cs typeface="Verdana"/>
              </a:rPr>
              <a:t>Migration Activities </a:t>
            </a:r>
            <a:r>
              <a:rPr sz="1600" b="1" u="heavy" spc="-5">
                <a:uFill>
                  <a:solidFill>
                    <a:srgbClr val="000000"/>
                  </a:solidFill>
                </a:uFill>
                <a:latin typeface="Verdana"/>
                <a:cs typeface="Verdana"/>
              </a:rPr>
              <a:t>For </a:t>
            </a:r>
            <a:r>
              <a:rPr sz="1600" b="1" u="heavy" spc="-10">
                <a:uFill>
                  <a:solidFill>
                    <a:srgbClr val="000000"/>
                  </a:solidFill>
                </a:uFill>
                <a:latin typeface="Verdana"/>
                <a:cs typeface="Verdana"/>
              </a:rPr>
              <a:t>Each Migration</a:t>
            </a:r>
            <a:r>
              <a:rPr sz="1600" b="1" u="heavy" spc="190">
                <a:uFill>
                  <a:solidFill>
                    <a:srgbClr val="000000"/>
                  </a:solidFill>
                </a:uFill>
                <a:latin typeface="Verdana"/>
                <a:cs typeface="Verdana"/>
              </a:rPr>
              <a:t> </a:t>
            </a:r>
            <a:r>
              <a:rPr sz="1600" b="1" u="heavy" spc="-10">
                <a:uFill>
                  <a:solidFill>
                    <a:srgbClr val="000000"/>
                  </a:solidFill>
                </a:uFill>
                <a:latin typeface="Verdana"/>
                <a:cs typeface="Verdana"/>
              </a:rPr>
              <a:t>Run</a:t>
            </a:r>
            <a:endParaRPr sz="1600">
              <a:latin typeface="Verdana"/>
              <a:cs typeface="Verdana"/>
            </a:endParaRPr>
          </a:p>
        </p:txBody>
      </p:sp>
      <p:graphicFrame>
        <p:nvGraphicFramePr>
          <p:cNvPr id="4" name="object 4"/>
          <p:cNvGraphicFramePr>
            <a:graphicFrameLocks noGrp="1"/>
          </p:cNvGraphicFramePr>
          <p:nvPr>
            <p:extLst>
              <p:ext uri="{D42A27DB-BD31-4B8C-83A1-F6EECF244321}">
                <p14:modId xmlns:p14="http://schemas.microsoft.com/office/powerpoint/2010/main" val="4006221317"/>
              </p:ext>
            </p:extLst>
          </p:nvPr>
        </p:nvGraphicFramePr>
        <p:xfrm>
          <a:off x="369570" y="1104391"/>
          <a:ext cx="11440795" cy="3423665"/>
        </p:xfrm>
        <a:graphic>
          <a:graphicData uri="http://schemas.openxmlformats.org/drawingml/2006/table">
            <a:tbl>
              <a:tblPr firstRow="1" bandRow="1">
                <a:tableStyleId>{2D5ABB26-0587-4C30-8999-92F81FD0307C}</a:tableStyleId>
              </a:tblPr>
              <a:tblGrid>
                <a:gridCol w="1588135">
                  <a:extLst>
                    <a:ext uri="{9D8B030D-6E8A-4147-A177-3AD203B41FA5}">
                      <a16:colId xmlns:a16="http://schemas.microsoft.com/office/drawing/2014/main" val="20000"/>
                    </a:ext>
                  </a:extLst>
                </a:gridCol>
                <a:gridCol w="1604010">
                  <a:extLst>
                    <a:ext uri="{9D8B030D-6E8A-4147-A177-3AD203B41FA5}">
                      <a16:colId xmlns:a16="http://schemas.microsoft.com/office/drawing/2014/main" val="20001"/>
                    </a:ext>
                  </a:extLst>
                </a:gridCol>
                <a:gridCol w="8248650">
                  <a:extLst>
                    <a:ext uri="{9D8B030D-6E8A-4147-A177-3AD203B41FA5}">
                      <a16:colId xmlns:a16="http://schemas.microsoft.com/office/drawing/2014/main" val="20002"/>
                    </a:ext>
                  </a:extLst>
                </a:gridCol>
              </a:tblGrid>
              <a:tr h="365760">
                <a:tc>
                  <a:txBody>
                    <a:bodyPr/>
                    <a:lstStyle/>
                    <a:p>
                      <a:pPr marL="91440">
                        <a:lnSpc>
                          <a:spcPct val="100000"/>
                        </a:lnSpc>
                        <a:spcBef>
                          <a:spcPts val="350"/>
                        </a:spcBef>
                      </a:pPr>
                      <a:r>
                        <a:rPr sz="1800" spc="-5">
                          <a:solidFill>
                            <a:srgbClr val="FFFFFF"/>
                          </a:solidFill>
                          <a:latin typeface="Verdana"/>
                          <a:cs typeface="Verdana"/>
                        </a:rPr>
                        <a:t>Number</a:t>
                      </a:r>
                      <a:endParaRPr sz="1800">
                        <a:latin typeface="Verdana"/>
                        <a:cs typeface="Verdana"/>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FAC"/>
                    </a:solidFill>
                  </a:tcPr>
                </a:tc>
                <a:tc>
                  <a:txBody>
                    <a:bodyPr/>
                    <a:lstStyle/>
                    <a:p>
                      <a:pPr marL="91440">
                        <a:lnSpc>
                          <a:spcPct val="100000"/>
                        </a:lnSpc>
                        <a:spcBef>
                          <a:spcPts val="350"/>
                        </a:spcBef>
                      </a:pPr>
                      <a:r>
                        <a:rPr sz="1800">
                          <a:solidFill>
                            <a:srgbClr val="FFFFFF"/>
                          </a:solidFill>
                          <a:latin typeface="Verdana"/>
                          <a:cs typeface="Verdana"/>
                        </a:rPr>
                        <a:t>Activity</a:t>
                      </a:r>
                      <a:endParaRPr sz="1800">
                        <a:latin typeface="Verdana"/>
                        <a:cs typeface="Verdana"/>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FAC"/>
                    </a:solidFill>
                  </a:tcPr>
                </a:tc>
                <a:tc>
                  <a:txBody>
                    <a:bodyPr/>
                    <a:lstStyle/>
                    <a:p>
                      <a:pPr marL="91440">
                        <a:lnSpc>
                          <a:spcPct val="100000"/>
                        </a:lnSpc>
                        <a:spcBef>
                          <a:spcPts val="350"/>
                        </a:spcBef>
                      </a:pPr>
                      <a:r>
                        <a:rPr sz="1800">
                          <a:solidFill>
                            <a:srgbClr val="FFFFFF"/>
                          </a:solidFill>
                          <a:latin typeface="Verdana"/>
                          <a:cs typeface="Verdana"/>
                        </a:rPr>
                        <a:t>Description</a:t>
                      </a:r>
                      <a:endParaRPr sz="1800">
                        <a:latin typeface="Verdana"/>
                        <a:cs typeface="Verdana"/>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FAC"/>
                    </a:solidFill>
                  </a:tcPr>
                </a:tc>
                <a:extLst>
                  <a:ext uri="{0D108BD9-81ED-4DB2-BD59-A6C34878D82A}">
                    <a16:rowId xmlns:a16="http://schemas.microsoft.com/office/drawing/2014/main" val="10000"/>
                  </a:ext>
                </a:extLst>
              </a:tr>
              <a:tr h="1554480">
                <a:tc>
                  <a:txBody>
                    <a:bodyPr/>
                    <a:lstStyle/>
                    <a:p>
                      <a:pPr marL="91440">
                        <a:lnSpc>
                          <a:spcPct val="100000"/>
                        </a:lnSpc>
                        <a:spcBef>
                          <a:spcPts val="350"/>
                        </a:spcBef>
                      </a:pPr>
                      <a:r>
                        <a:rPr lang="it-IT" sz="1200">
                          <a:latin typeface="Verdana"/>
                          <a:cs typeface="Verdana"/>
                        </a:rPr>
                        <a:t>4</a:t>
                      </a:r>
                      <a:endParaRPr sz="1200">
                        <a:latin typeface="Verdana"/>
                        <a:cs typeface="Verdana"/>
                      </a:endParaRPr>
                    </a:p>
                  </a:txBody>
                  <a:tcPr marL="0" marR="0" marT="444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350"/>
                        </a:spcBef>
                      </a:pPr>
                      <a:r>
                        <a:rPr sz="1200" spc="-10">
                          <a:latin typeface="Verdana"/>
                          <a:cs typeface="Verdana"/>
                        </a:rPr>
                        <a:t>Migration</a:t>
                      </a:r>
                      <a:r>
                        <a:rPr sz="1200">
                          <a:latin typeface="Verdana"/>
                          <a:cs typeface="Verdana"/>
                        </a:rPr>
                        <a:t> </a:t>
                      </a:r>
                      <a:r>
                        <a:rPr sz="1200" spc="-30">
                          <a:latin typeface="Verdana"/>
                          <a:cs typeface="Verdana"/>
                        </a:rPr>
                        <a:t>Tests</a:t>
                      </a:r>
                      <a:endParaRPr sz="1200">
                        <a:latin typeface="Verdana"/>
                        <a:cs typeface="Verdana"/>
                      </a:endParaRPr>
                    </a:p>
                  </a:txBody>
                  <a:tcPr marL="0" marR="0" marT="444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350"/>
                        </a:spcBef>
                      </a:pPr>
                      <a:r>
                        <a:rPr sz="1200" spc="-10">
                          <a:latin typeface="Verdana"/>
                          <a:cs typeface="Verdana"/>
                        </a:rPr>
                        <a:t>Migration </a:t>
                      </a:r>
                      <a:r>
                        <a:rPr sz="1200">
                          <a:latin typeface="Verdana"/>
                          <a:cs typeface="Verdana"/>
                        </a:rPr>
                        <a:t>procedures run from </a:t>
                      </a:r>
                      <a:r>
                        <a:rPr sz="1200" spc="-5">
                          <a:latin typeface="Verdana"/>
                          <a:cs typeface="Verdana"/>
                        </a:rPr>
                        <a:t>input data (e.g. fully compiled templates) using </a:t>
                      </a:r>
                      <a:r>
                        <a:rPr sz="1200">
                          <a:latin typeface="Verdana"/>
                          <a:cs typeface="Verdana"/>
                        </a:rPr>
                        <a:t>a </a:t>
                      </a:r>
                      <a:r>
                        <a:rPr sz="1200" spc="-5">
                          <a:latin typeface="Verdana"/>
                          <a:cs typeface="Verdana"/>
                        </a:rPr>
                        <a:t>test environment</a:t>
                      </a:r>
                      <a:r>
                        <a:rPr sz="1200" spc="180">
                          <a:latin typeface="Verdana"/>
                          <a:cs typeface="Verdana"/>
                        </a:rPr>
                        <a:t> </a:t>
                      </a:r>
                      <a:r>
                        <a:rPr sz="1200" spc="-5">
                          <a:latin typeface="Verdana"/>
                          <a:cs typeface="Verdana"/>
                        </a:rPr>
                        <a:t>as</a:t>
                      </a:r>
                      <a:endParaRPr sz="1200">
                        <a:latin typeface="Verdana"/>
                        <a:cs typeface="Verdana"/>
                      </a:endParaRPr>
                    </a:p>
                    <a:p>
                      <a:pPr marL="91440">
                        <a:lnSpc>
                          <a:spcPct val="100000"/>
                        </a:lnSpc>
                      </a:pPr>
                      <a:r>
                        <a:rPr lang="it-IT" sz="1200" spc="-5">
                          <a:latin typeface="Verdana"/>
                          <a:cs typeface="Verdana"/>
                        </a:rPr>
                        <a:t>T</a:t>
                      </a:r>
                      <a:r>
                        <a:rPr sz="1200" spc="-5" err="1">
                          <a:latin typeface="Verdana"/>
                          <a:cs typeface="Verdana"/>
                        </a:rPr>
                        <a:t>arget</a:t>
                      </a:r>
                      <a:r>
                        <a:rPr lang="it-IT" sz="1200" spc="-5">
                          <a:latin typeface="Verdana"/>
                          <a:cs typeface="Verdana"/>
                        </a:rPr>
                        <a:t>, </a:t>
                      </a:r>
                      <a:r>
                        <a:rPr lang="it-IT" sz="1200" spc="-5" err="1">
                          <a:latin typeface="Verdana"/>
                          <a:cs typeface="Verdana"/>
                        </a:rPr>
                        <a:t>validation</a:t>
                      </a:r>
                      <a:r>
                        <a:rPr lang="it-IT" sz="1200" spc="-5">
                          <a:latin typeface="Verdana"/>
                          <a:cs typeface="Verdana"/>
                        </a:rPr>
                        <a:t> </a:t>
                      </a:r>
                      <a:r>
                        <a:rPr lang="it-IT" sz="1200" spc="-5" err="1">
                          <a:latin typeface="Verdana"/>
                          <a:cs typeface="Verdana"/>
                        </a:rPr>
                        <a:t>done</a:t>
                      </a:r>
                      <a:r>
                        <a:rPr lang="it-IT" sz="1200" spc="-5">
                          <a:latin typeface="Verdana"/>
                          <a:cs typeface="Verdana"/>
                        </a:rPr>
                        <a:t> by Marelli</a:t>
                      </a:r>
                      <a:endParaRPr sz="1200">
                        <a:latin typeface="Verdana"/>
                        <a:cs typeface="Verdana"/>
                      </a:endParaRPr>
                    </a:p>
                    <a:p>
                      <a:pPr>
                        <a:lnSpc>
                          <a:spcPct val="100000"/>
                        </a:lnSpc>
                      </a:pPr>
                      <a:endParaRPr sz="1250">
                        <a:latin typeface="Times New Roman"/>
                        <a:cs typeface="Times New Roman"/>
                      </a:endParaRPr>
                    </a:p>
                    <a:p>
                      <a:pPr marL="91440">
                        <a:lnSpc>
                          <a:spcPct val="100000"/>
                        </a:lnSpc>
                        <a:spcBef>
                          <a:spcPts val="5"/>
                        </a:spcBef>
                      </a:pPr>
                      <a:r>
                        <a:rPr sz="1200" spc="-5">
                          <a:latin typeface="Verdana"/>
                          <a:cs typeface="Verdana"/>
                        </a:rPr>
                        <a:t>This will allow</a:t>
                      </a:r>
                      <a:r>
                        <a:rPr sz="1200" spc="5">
                          <a:latin typeface="Verdana"/>
                          <a:cs typeface="Verdana"/>
                        </a:rPr>
                        <a:t> </a:t>
                      </a:r>
                      <a:r>
                        <a:rPr sz="1200" spc="-5">
                          <a:latin typeface="Verdana"/>
                          <a:cs typeface="Verdana"/>
                        </a:rPr>
                        <a:t>to:</a:t>
                      </a:r>
                      <a:endParaRPr sz="1200">
                        <a:latin typeface="Verdana"/>
                        <a:cs typeface="Verdana"/>
                      </a:endParaRPr>
                    </a:p>
                    <a:p>
                      <a:pPr marL="320040" indent="-229235">
                        <a:lnSpc>
                          <a:spcPct val="100000"/>
                        </a:lnSpc>
                        <a:buAutoNum type="arabicPeriod"/>
                        <a:tabLst>
                          <a:tab pos="320675" algn="l"/>
                        </a:tabLst>
                      </a:pPr>
                      <a:r>
                        <a:rPr sz="1200">
                          <a:latin typeface="Verdana"/>
                          <a:cs typeface="Verdana"/>
                        </a:rPr>
                        <a:t>Detect </a:t>
                      </a:r>
                      <a:r>
                        <a:rPr sz="1200" spc="-5">
                          <a:latin typeface="Verdana"/>
                          <a:cs typeface="Verdana"/>
                        </a:rPr>
                        <a:t>and fix </a:t>
                      </a:r>
                      <a:r>
                        <a:rPr sz="1200">
                          <a:latin typeface="Verdana"/>
                          <a:cs typeface="Verdana"/>
                        </a:rPr>
                        <a:t>errors on </a:t>
                      </a:r>
                      <a:r>
                        <a:rPr sz="1200" spc="-5">
                          <a:latin typeface="Verdana"/>
                          <a:cs typeface="Verdana"/>
                        </a:rPr>
                        <a:t>the </a:t>
                      </a:r>
                      <a:r>
                        <a:rPr sz="1200" spc="-10">
                          <a:latin typeface="Verdana"/>
                          <a:cs typeface="Verdana"/>
                        </a:rPr>
                        <a:t>migration </a:t>
                      </a:r>
                      <a:r>
                        <a:rPr sz="1200">
                          <a:latin typeface="Verdana"/>
                          <a:cs typeface="Verdana"/>
                        </a:rPr>
                        <a:t>procedures </a:t>
                      </a:r>
                      <a:r>
                        <a:rPr sz="1200" spc="-5">
                          <a:latin typeface="Verdana"/>
                          <a:cs typeface="Verdana"/>
                        </a:rPr>
                        <a:t>(i.e. incorrect mapping).</a:t>
                      </a:r>
                      <a:endParaRPr sz="1200">
                        <a:latin typeface="Verdana"/>
                        <a:cs typeface="Verdana"/>
                      </a:endParaRPr>
                    </a:p>
                    <a:p>
                      <a:pPr>
                        <a:lnSpc>
                          <a:spcPct val="100000"/>
                        </a:lnSpc>
                        <a:buFont typeface="Verdana"/>
                        <a:buAutoNum type="arabicPeriod"/>
                      </a:pPr>
                      <a:endParaRPr sz="1250">
                        <a:latin typeface="Times New Roman"/>
                        <a:cs typeface="Times New Roman"/>
                      </a:endParaRPr>
                    </a:p>
                    <a:p>
                      <a:pPr marL="297180" indent="-206375">
                        <a:lnSpc>
                          <a:spcPct val="100000"/>
                        </a:lnSpc>
                        <a:buAutoNum type="arabicPeriod"/>
                        <a:tabLst>
                          <a:tab pos="297815" algn="l"/>
                        </a:tabLst>
                      </a:pPr>
                      <a:r>
                        <a:rPr sz="1200" spc="-5">
                          <a:latin typeface="Verdana"/>
                          <a:cs typeface="Verdana"/>
                        </a:rPr>
                        <a:t>Detect and notify </a:t>
                      </a:r>
                      <a:r>
                        <a:rPr sz="1200">
                          <a:latin typeface="Verdana"/>
                          <a:cs typeface="Verdana"/>
                        </a:rPr>
                        <a:t>errors on </a:t>
                      </a:r>
                      <a:r>
                        <a:rPr sz="1200" spc="-5">
                          <a:latin typeface="Verdana"/>
                          <a:cs typeface="Verdana"/>
                        </a:rPr>
                        <a:t>input data (i.e. too large </a:t>
                      </a:r>
                      <a:r>
                        <a:rPr sz="1200" spc="-10">
                          <a:latin typeface="Verdana"/>
                          <a:cs typeface="Verdana"/>
                        </a:rPr>
                        <a:t>values, </a:t>
                      </a:r>
                      <a:r>
                        <a:rPr sz="1200" spc="-5">
                          <a:latin typeface="Verdana"/>
                          <a:cs typeface="Verdana"/>
                        </a:rPr>
                        <a:t>mandatory fields left </a:t>
                      </a:r>
                      <a:r>
                        <a:rPr sz="1200" spc="-25">
                          <a:latin typeface="Verdana"/>
                          <a:cs typeface="Verdana"/>
                        </a:rPr>
                        <a:t>empty,</a:t>
                      </a:r>
                      <a:r>
                        <a:rPr sz="1200" spc="210">
                          <a:latin typeface="Verdana"/>
                          <a:cs typeface="Verdana"/>
                        </a:rPr>
                        <a:t> </a:t>
                      </a:r>
                      <a:r>
                        <a:rPr sz="1200" spc="-5">
                          <a:latin typeface="Verdana"/>
                          <a:cs typeface="Verdana"/>
                        </a:rPr>
                        <a:t>incorrect</a:t>
                      </a:r>
                      <a:endParaRPr sz="1200">
                        <a:latin typeface="Verdana"/>
                        <a:cs typeface="Verdana"/>
                      </a:endParaRPr>
                    </a:p>
                    <a:p>
                      <a:pPr marL="91440">
                        <a:lnSpc>
                          <a:spcPct val="100000"/>
                        </a:lnSpc>
                      </a:pPr>
                      <a:r>
                        <a:rPr sz="1200">
                          <a:latin typeface="Verdana"/>
                          <a:cs typeface="Verdana"/>
                        </a:rPr>
                        <a:t>references </a:t>
                      </a:r>
                      <a:r>
                        <a:rPr sz="1200" spc="-5">
                          <a:latin typeface="Verdana"/>
                          <a:cs typeface="Verdana"/>
                        </a:rPr>
                        <a:t>to other</a:t>
                      </a:r>
                      <a:r>
                        <a:rPr sz="1200" spc="-15">
                          <a:latin typeface="Verdana"/>
                          <a:cs typeface="Verdana"/>
                        </a:rPr>
                        <a:t> </a:t>
                      </a:r>
                      <a:r>
                        <a:rPr sz="1200" spc="-10">
                          <a:latin typeface="Verdana"/>
                          <a:cs typeface="Verdana"/>
                        </a:rPr>
                        <a:t>entities).</a:t>
                      </a:r>
                      <a:endParaRPr sz="1200">
                        <a:latin typeface="Verdana"/>
                        <a:cs typeface="Verdana"/>
                      </a:endParaRPr>
                    </a:p>
                  </a:txBody>
                  <a:tcPr marL="0" marR="0" marT="444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4E2"/>
                    </a:solidFill>
                  </a:tcPr>
                </a:tc>
                <a:extLst>
                  <a:ext uri="{0D108BD9-81ED-4DB2-BD59-A6C34878D82A}">
                    <a16:rowId xmlns:a16="http://schemas.microsoft.com/office/drawing/2014/main" val="10001"/>
                  </a:ext>
                </a:extLst>
              </a:tr>
              <a:tr h="731519">
                <a:tc>
                  <a:txBody>
                    <a:bodyPr/>
                    <a:lstStyle/>
                    <a:p>
                      <a:pPr marL="91440">
                        <a:lnSpc>
                          <a:spcPct val="100000"/>
                        </a:lnSpc>
                        <a:spcBef>
                          <a:spcPts val="355"/>
                        </a:spcBef>
                      </a:pPr>
                      <a:r>
                        <a:rPr lang="it-IT" sz="1200">
                          <a:latin typeface="Verdana"/>
                          <a:cs typeface="Verdana"/>
                        </a:rPr>
                        <a:t>5</a:t>
                      </a:r>
                      <a:endParaRPr sz="12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0"/>
                    </a:solidFill>
                  </a:tcPr>
                </a:tc>
                <a:tc>
                  <a:txBody>
                    <a:bodyPr/>
                    <a:lstStyle/>
                    <a:p>
                      <a:pPr marL="91440">
                        <a:lnSpc>
                          <a:spcPct val="100000"/>
                        </a:lnSpc>
                        <a:spcBef>
                          <a:spcPts val="955"/>
                        </a:spcBef>
                      </a:pPr>
                      <a:r>
                        <a:rPr sz="1200" spc="-10">
                          <a:latin typeface="Verdana"/>
                          <a:cs typeface="Verdana"/>
                        </a:rPr>
                        <a:t>Execution</a:t>
                      </a:r>
                      <a:endParaRPr sz="1200">
                        <a:latin typeface="Verdana"/>
                        <a:cs typeface="Verdana"/>
                      </a:endParaRPr>
                    </a:p>
                  </a:txBody>
                  <a:tcPr marL="0" marR="0" marT="1212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0"/>
                    </a:solidFill>
                  </a:tcPr>
                </a:tc>
                <a:tc>
                  <a:txBody>
                    <a:bodyPr/>
                    <a:lstStyle/>
                    <a:p>
                      <a:pPr marL="91440">
                        <a:lnSpc>
                          <a:spcPct val="100000"/>
                        </a:lnSpc>
                        <a:spcBef>
                          <a:spcPts val="955"/>
                        </a:spcBef>
                      </a:pPr>
                      <a:r>
                        <a:rPr sz="1200" spc="-10">
                          <a:latin typeface="Verdana"/>
                          <a:cs typeface="Verdana"/>
                        </a:rPr>
                        <a:t>Migration </a:t>
                      </a:r>
                      <a:r>
                        <a:rPr sz="1200">
                          <a:latin typeface="Verdana"/>
                          <a:cs typeface="Verdana"/>
                        </a:rPr>
                        <a:t>procedures run from </a:t>
                      </a:r>
                      <a:r>
                        <a:rPr sz="1200" spc="-5">
                          <a:latin typeface="Verdana"/>
                          <a:cs typeface="Verdana"/>
                        </a:rPr>
                        <a:t>input data to upload data into the production</a:t>
                      </a:r>
                      <a:r>
                        <a:rPr sz="1200" spc="150">
                          <a:latin typeface="Verdana"/>
                          <a:cs typeface="Verdana"/>
                        </a:rPr>
                        <a:t> </a:t>
                      </a:r>
                      <a:r>
                        <a:rPr sz="1200" spc="-5">
                          <a:latin typeface="Verdana"/>
                          <a:cs typeface="Verdana"/>
                        </a:rPr>
                        <a:t>environment</a:t>
                      </a:r>
                      <a:endParaRPr sz="1200">
                        <a:latin typeface="Verdana"/>
                        <a:cs typeface="Verdana"/>
                      </a:endParaRPr>
                    </a:p>
                  </a:txBody>
                  <a:tcPr marL="0" marR="0" marT="1212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0"/>
                    </a:solidFill>
                  </a:tcPr>
                </a:tc>
                <a:extLst>
                  <a:ext uri="{0D108BD9-81ED-4DB2-BD59-A6C34878D82A}">
                    <a16:rowId xmlns:a16="http://schemas.microsoft.com/office/drawing/2014/main" val="10002"/>
                  </a:ext>
                </a:extLst>
              </a:tr>
              <a:tr h="771906">
                <a:tc>
                  <a:txBody>
                    <a:bodyPr/>
                    <a:lstStyle/>
                    <a:p>
                      <a:pPr marL="91440">
                        <a:lnSpc>
                          <a:spcPct val="100000"/>
                        </a:lnSpc>
                        <a:spcBef>
                          <a:spcPts val="355"/>
                        </a:spcBef>
                      </a:pPr>
                      <a:r>
                        <a:rPr lang="it-IT" sz="1200">
                          <a:latin typeface="Verdana"/>
                          <a:cs typeface="Verdana"/>
                        </a:rPr>
                        <a:t>6</a:t>
                      </a:r>
                      <a:endParaRPr sz="12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955"/>
                        </a:spcBef>
                      </a:pPr>
                      <a:r>
                        <a:rPr sz="1200" spc="-15">
                          <a:latin typeface="Verdana"/>
                          <a:cs typeface="Verdana"/>
                        </a:rPr>
                        <a:t>Validation</a:t>
                      </a:r>
                      <a:endParaRPr sz="1200">
                        <a:latin typeface="Verdana"/>
                        <a:cs typeface="Verdana"/>
                      </a:endParaRPr>
                    </a:p>
                  </a:txBody>
                  <a:tcPr marL="0" marR="0" marT="1212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4E2"/>
                    </a:solidFill>
                  </a:tcPr>
                </a:tc>
                <a:tc>
                  <a:txBody>
                    <a:bodyPr/>
                    <a:lstStyle/>
                    <a:p>
                      <a:pPr marL="91440">
                        <a:lnSpc>
                          <a:spcPct val="100000"/>
                        </a:lnSpc>
                        <a:spcBef>
                          <a:spcPts val="955"/>
                        </a:spcBef>
                      </a:pPr>
                      <a:r>
                        <a:rPr sz="1200" spc="-5">
                          <a:latin typeface="Verdana"/>
                          <a:cs typeface="Verdana"/>
                        </a:rPr>
                        <a:t>Uploaded data </a:t>
                      </a:r>
                      <a:r>
                        <a:rPr sz="1200">
                          <a:latin typeface="Verdana"/>
                          <a:cs typeface="Verdana"/>
                        </a:rPr>
                        <a:t>are </a:t>
                      </a:r>
                      <a:r>
                        <a:rPr sz="1200" spc="-10">
                          <a:latin typeface="Verdana"/>
                          <a:cs typeface="Verdana"/>
                        </a:rPr>
                        <a:t>validated</a:t>
                      </a:r>
                      <a:r>
                        <a:rPr lang="it-IT" sz="1200" spc="-10">
                          <a:latin typeface="Verdana"/>
                          <a:cs typeface="Verdana"/>
                        </a:rPr>
                        <a:t> by Marelli</a:t>
                      </a:r>
                      <a:r>
                        <a:rPr sz="1200" spc="-10">
                          <a:latin typeface="Verdana"/>
                          <a:cs typeface="Verdana"/>
                        </a:rPr>
                        <a:t> </a:t>
                      </a:r>
                      <a:r>
                        <a:rPr sz="1200" spc="-5">
                          <a:latin typeface="Verdana"/>
                          <a:cs typeface="Verdana"/>
                        </a:rPr>
                        <a:t>in the production</a:t>
                      </a:r>
                      <a:r>
                        <a:rPr sz="1200" spc="100">
                          <a:latin typeface="Verdana"/>
                          <a:cs typeface="Verdana"/>
                        </a:rPr>
                        <a:t> </a:t>
                      </a:r>
                      <a:r>
                        <a:rPr sz="1200" spc="-5">
                          <a:latin typeface="Verdana"/>
                          <a:cs typeface="Verdana"/>
                        </a:rPr>
                        <a:t>environment.</a:t>
                      </a:r>
                      <a:endParaRPr sz="1200">
                        <a:latin typeface="Verdana"/>
                        <a:cs typeface="Verdana"/>
                      </a:endParaRPr>
                    </a:p>
                  </a:txBody>
                  <a:tcPr marL="0" marR="0" marT="1212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4E2"/>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260984"/>
            <a:ext cx="8475980" cy="422275"/>
          </a:xfrm>
          <a:prstGeom prst="rect">
            <a:avLst/>
          </a:prstGeom>
        </p:spPr>
        <p:txBody>
          <a:bodyPr vert="horz" wrap="square" lIns="0" tIns="12700" rIns="0" bIns="0" rtlCol="0">
            <a:spAutoFit/>
          </a:bodyPr>
          <a:lstStyle/>
          <a:p>
            <a:pPr marL="12700">
              <a:lnSpc>
                <a:spcPct val="100000"/>
              </a:lnSpc>
              <a:spcBef>
                <a:spcPts val="100"/>
              </a:spcBef>
            </a:pPr>
            <a:r>
              <a:rPr sz="2600"/>
              <a:t>Assumptions </a:t>
            </a:r>
            <a:r>
              <a:rPr sz="2600" spc="-5"/>
              <a:t>(Data Migration </a:t>
            </a:r>
            <a:r>
              <a:rPr sz="2600" spc="-10"/>
              <a:t>Run </a:t>
            </a:r>
            <a:r>
              <a:rPr sz="2600"/>
              <a:t>for </a:t>
            </a:r>
            <a:r>
              <a:rPr sz="2600" spc="-5"/>
              <a:t>each</a:t>
            </a:r>
            <a:r>
              <a:rPr sz="2600" spc="-80"/>
              <a:t> </a:t>
            </a:r>
            <a:r>
              <a:rPr sz="2600" spc="-5"/>
              <a:t>Rollout)</a:t>
            </a:r>
            <a:endParaRPr sz="2600"/>
          </a:p>
        </p:txBody>
      </p:sp>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3</a:t>
            </a:fld>
            <a:endParaRPr sz="800">
              <a:latin typeface="Verdana"/>
              <a:cs typeface="Verdana"/>
            </a:endParaRPr>
          </a:p>
        </p:txBody>
      </p:sp>
      <p:sp>
        <p:nvSpPr>
          <p:cNvPr id="7" name="Rounded Rectangle 421">
            <a:extLst>
              <a:ext uri="{FF2B5EF4-FFF2-40B4-BE49-F238E27FC236}">
                <a16:creationId xmlns:a16="http://schemas.microsoft.com/office/drawing/2014/main" id="{BCBCE40E-F82B-43F8-906A-4004060AE1E9}"/>
              </a:ext>
            </a:extLst>
          </p:cNvPr>
          <p:cNvSpPr/>
          <p:nvPr/>
        </p:nvSpPr>
        <p:spPr bwMode="auto">
          <a:xfrm>
            <a:off x="113674" y="817142"/>
            <a:ext cx="11964651" cy="5708651"/>
          </a:xfrm>
          <a:prstGeom prst="roundRect">
            <a:avLst>
              <a:gd name="adj" fmla="val 1302"/>
            </a:avLst>
          </a:prstGeom>
          <a:solidFill>
            <a:srgbClr val="ECECEC"/>
          </a:solidFill>
          <a:ln w="12700" cap="flat" cmpd="sng" algn="ctr">
            <a:noFill/>
            <a:prstDash val="solid"/>
            <a:round/>
            <a:headEnd type="none" w="med" len="med"/>
            <a:tailEnd type="none" w="med" len="med"/>
          </a:ln>
          <a:effectLst/>
        </p:spPr>
        <p:txBody>
          <a:bodyPr vert="horz" wrap="square" lIns="182880" tIns="182880" rIns="182880" bIns="18288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Verdana"/>
              </a:rPr>
              <a:t>Capgemini will provide data input templates for all BLs/countries. It is assumed that common templates will be used by all BLs/countri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Verdana"/>
              </a:rPr>
              <a:t>Magneti Marelli will perform:</a:t>
            </a:r>
          </a:p>
          <a:p>
            <a:pPr marL="285750" marR="0" lvl="0" indent="-2857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prstClr val="black"/>
                </a:solidFill>
                <a:effectLst/>
                <a:uLnTx/>
                <a:uFillTx/>
                <a:latin typeface="Verdana"/>
              </a:rPr>
              <a:t>Data cleansing (if needed) in order to uniform data to the requested format (CSV)</a:t>
            </a:r>
          </a:p>
          <a:p>
            <a:pPr marL="285750" marR="0" lvl="0" indent="-2857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prstClr val="black"/>
                </a:solidFill>
                <a:effectLst/>
                <a:uLnTx/>
                <a:uFillTx/>
                <a:latin typeface="Verdana"/>
              </a:rPr>
              <a:t>Export of all relevant data that needs to be migrated from source syste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Verdana"/>
              </a:rPr>
              <a:t>The following migration runs will be performe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Verdana"/>
              </a:rPr>
              <a:t>-  One first migration test run in test Environment (with partial data, up to 20% of actual data taken from production environment)</a:t>
            </a:r>
            <a:endParaRPr kumimoji="0" lang="en-US" sz="1400" b="1" i="0" u="none" strike="noStrike" kern="0" cap="none" spc="0" normalizeH="0" baseline="0" noProof="0">
              <a:ln>
                <a:noFill/>
              </a:ln>
              <a:solidFill>
                <a:prstClr val="black"/>
              </a:solidFill>
              <a:effectLst/>
              <a:uLnTx/>
              <a:uFillTx/>
              <a:latin typeface="Verdana"/>
            </a:endParaRPr>
          </a:p>
          <a:p>
            <a:pPr marL="285750" marR="0" lvl="0" indent="-2857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prstClr val="black"/>
                </a:solidFill>
                <a:effectLst/>
                <a:uLnTx/>
                <a:uFillTx/>
                <a:latin typeface="Verdana"/>
              </a:rPr>
              <a:t>One full migration test run in test Environment (with a full copy of actual data taken from production environment, in order to have a reliable test similar to production)</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prstClr val="black"/>
                </a:solidFill>
                <a:effectLst/>
                <a:uLnTx/>
                <a:uFillTx/>
                <a:latin typeface="Verdana"/>
              </a:rPr>
              <a:t>  Final migration run in produc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Verdana"/>
              </a:rPr>
              <a:t>It is assumed that Marelli will provide a full copy of data available in production in order to perform test migration runs in test environmen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rPr>
              <a:t> </a:t>
            </a: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7" name="object 7"/>
          <p:cNvSpPr txBox="1"/>
          <p:nvPr/>
        </p:nvSpPr>
        <p:spPr>
          <a:xfrm>
            <a:off x="214680" y="6638645"/>
            <a:ext cx="194754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2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8" name="object 8"/>
          <p:cNvSpPr txBox="1"/>
          <p:nvPr/>
        </p:nvSpPr>
        <p:spPr>
          <a:xfrm>
            <a:off x="9604629" y="6638645"/>
            <a:ext cx="234886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0">
                <a:solidFill>
                  <a:srgbClr val="12ABDB"/>
                </a:solidFill>
                <a:latin typeface="Verdana"/>
                <a:cs typeface="Verdana"/>
              </a:rPr>
              <a:t> </a:t>
            </a:r>
            <a:r>
              <a:rPr sz="800">
                <a:solidFill>
                  <a:srgbClr val="A6A6A6"/>
                </a:solidFill>
                <a:latin typeface="Verdana"/>
                <a:cs typeface="Verdana"/>
              </a:rPr>
              <a:t>126</a:t>
            </a:r>
            <a:endParaRPr sz="800">
              <a:latin typeface="Verdana"/>
              <a:cs typeface="Verdana"/>
            </a:endParaRPr>
          </a:p>
        </p:txBody>
      </p:sp>
      <p:sp>
        <p:nvSpPr>
          <p:cNvPr id="10" name="object 10"/>
          <p:cNvSpPr txBox="1"/>
          <p:nvPr/>
        </p:nvSpPr>
        <p:spPr>
          <a:xfrm>
            <a:off x="540207" y="2902153"/>
            <a:ext cx="3726179" cy="6362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Hypercare support </a:t>
            </a:r>
            <a:r>
              <a:rPr sz="2000" b="1" spc="5">
                <a:solidFill>
                  <a:srgbClr val="FFFFFF"/>
                </a:solidFill>
                <a:latin typeface="Verdana"/>
                <a:cs typeface="Verdana"/>
              </a:rPr>
              <a:t>+</a:t>
            </a:r>
            <a:r>
              <a:rPr sz="2000" b="1" spc="-60">
                <a:solidFill>
                  <a:srgbClr val="FFFFFF"/>
                </a:solidFill>
                <a:latin typeface="Verdana"/>
                <a:cs typeface="Verdana"/>
              </a:rPr>
              <a:t> </a:t>
            </a:r>
            <a:r>
              <a:rPr sz="2000" b="1">
                <a:solidFill>
                  <a:srgbClr val="FFFFFF"/>
                </a:solidFill>
                <a:latin typeface="Verdana"/>
                <a:cs typeface="Verdana"/>
              </a:rPr>
              <a:t>ADM</a:t>
            </a:r>
            <a:endParaRPr sz="2000">
              <a:latin typeface="Verdana"/>
              <a:cs typeface="Verdana"/>
            </a:endParaRPr>
          </a:p>
          <a:p>
            <a:pPr marL="12700">
              <a:lnSpc>
                <a:spcPct val="100000"/>
              </a:lnSpc>
            </a:pPr>
            <a:r>
              <a:rPr sz="2000" b="1">
                <a:solidFill>
                  <a:srgbClr val="FFFFFF"/>
                </a:solidFill>
                <a:latin typeface="Verdana"/>
                <a:cs typeface="Verdana"/>
              </a:rPr>
              <a:t>(Optional)</a:t>
            </a:r>
            <a:endParaRPr sz="2000">
              <a:latin typeface="Verdana"/>
              <a:cs typeface="Verdana"/>
            </a:endParaRPr>
          </a:p>
        </p:txBody>
      </p:sp>
      <p:sp>
        <p:nvSpPr>
          <p:cNvPr id="11" name="object 11"/>
          <p:cNvSpPr txBox="1">
            <a:spLocks noGrp="1"/>
          </p:cNvSpPr>
          <p:nvPr>
            <p:ph type="title"/>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rPr>
              <a:t>10</a:t>
            </a:r>
            <a:endParaRPr sz="4400"/>
          </a:p>
        </p:txBody>
      </p:sp>
      <p:sp>
        <p:nvSpPr>
          <p:cNvPr id="12" name="object 12"/>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sp>
        <p:nvSpPr>
          <p:cNvPr id="13" name="object 13"/>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4" name="object 14"/>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pic>
        <p:nvPicPr>
          <p:cNvPr id="15" name="Picture 14">
            <a:extLst>
              <a:ext uri="{FF2B5EF4-FFF2-40B4-BE49-F238E27FC236}">
                <a16:creationId xmlns:a16="http://schemas.microsoft.com/office/drawing/2014/main" id="{7ADE1AFE-154C-41B2-A126-D1EB6B679A48}"/>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608955" cy="422275"/>
          </a:xfrm>
          <a:prstGeom prst="rect">
            <a:avLst/>
          </a:prstGeom>
        </p:spPr>
        <p:txBody>
          <a:bodyPr vert="horz" wrap="square" lIns="0" tIns="12700" rIns="0" bIns="0" rtlCol="0">
            <a:spAutoFit/>
          </a:bodyPr>
          <a:lstStyle/>
          <a:p>
            <a:pPr marL="12700">
              <a:lnSpc>
                <a:spcPct val="100000"/>
              </a:lnSpc>
              <a:spcBef>
                <a:spcPts val="100"/>
              </a:spcBef>
            </a:pPr>
            <a:r>
              <a:rPr sz="2600"/>
              <a:t>Service Description for</a:t>
            </a:r>
            <a:r>
              <a:rPr sz="2600" spc="-100"/>
              <a:t> </a:t>
            </a:r>
            <a:r>
              <a:rPr sz="2600" spc="-5"/>
              <a:t>Hypercare</a:t>
            </a:r>
            <a:endParaRPr sz="2600"/>
          </a:p>
        </p:txBody>
      </p:sp>
      <p:sp>
        <p:nvSpPr>
          <p:cNvPr id="3" name="object 3"/>
          <p:cNvSpPr/>
          <p:nvPr/>
        </p:nvSpPr>
        <p:spPr>
          <a:xfrm>
            <a:off x="243840" y="1319783"/>
            <a:ext cx="2286000" cy="878205"/>
          </a:xfrm>
          <a:custGeom>
            <a:avLst/>
            <a:gdLst/>
            <a:ahLst/>
            <a:cxnLst/>
            <a:rect l="l" t="t" r="r" b="b"/>
            <a:pathLst>
              <a:path w="2286000" h="878205">
                <a:moveTo>
                  <a:pt x="2139696" y="0"/>
                </a:moveTo>
                <a:lnTo>
                  <a:pt x="146304" y="0"/>
                </a:lnTo>
                <a:lnTo>
                  <a:pt x="100062" y="7461"/>
                </a:lnTo>
                <a:lnTo>
                  <a:pt x="59900" y="28236"/>
                </a:lnTo>
                <a:lnTo>
                  <a:pt x="28229" y="59911"/>
                </a:lnTo>
                <a:lnTo>
                  <a:pt x="7459" y="100071"/>
                </a:lnTo>
                <a:lnTo>
                  <a:pt x="0" y="146303"/>
                </a:lnTo>
                <a:lnTo>
                  <a:pt x="0" y="877824"/>
                </a:lnTo>
                <a:lnTo>
                  <a:pt x="2286000" y="877824"/>
                </a:lnTo>
                <a:lnTo>
                  <a:pt x="2286000" y="146303"/>
                </a:lnTo>
                <a:lnTo>
                  <a:pt x="2278538" y="100071"/>
                </a:lnTo>
                <a:lnTo>
                  <a:pt x="2257763" y="59911"/>
                </a:lnTo>
                <a:lnTo>
                  <a:pt x="2226088" y="28236"/>
                </a:lnTo>
                <a:lnTo>
                  <a:pt x="2185928" y="7461"/>
                </a:lnTo>
                <a:lnTo>
                  <a:pt x="2139696" y="0"/>
                </a:lnTo>
                <a:close/>
              </a:path>
            </a:pathLst>
          </a:custGeom>
          <a:solidFill>
            <a:srgbClr val="12ABDB"/>
          </a:solidFill>
        </p:spPr>
        <p:txBody>
          <a:bodyPr wrap="square" lIns="0" tIns="0" rIns="0" bIns="0" rtlCol="0"/>
          <a:lstStyle/>
          <a:p>
            <a:endParaRPr/>
          </a:p>
        </p:txBody>
      </p:sp>
      <p:sp>
        <p:nvSpPr>
          <p:cNvPr id="4" name="object 4"/>
          <p:cNvSpPr txBox="1"/>
          <p:nvPr/>
        </p:nvSpPr>
        <p:spPr>
          <a:xfrm>
            <a:off x="319836" y="1726184"/>
            <a:ext cx="1682114" cy="391160"/>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Level</a:t>
            </a:r>
            <a:r>
              <a:rPr sz="1200" b="1">
                <a:solidFill>
                  <a:srgbClr val="FFFFFF"/>
                </a:solidFill>
                <a:latin typeface="Verdana"/>
                <a:cs typeface="Verdana"/>
              </a:rPr>
              <a:t> 1</a:t>
            </a:r>
            <a:endParaRPr sz="1200">
              <a:latin typeface="Verdana"/>
              <a:cs typeface="Verdana"/>
            </a:endParaRPr>
          </a:p>
          <a:p>
            <a:pPr marL="12700">
              <a:lnSpc>
                <a:spcPct val="100000"/>
              </a:lnSpc>
            </a:pPr>
            <a:r>
              <a:rPr sz="1200" b="1" spc="-5">
                <a:solidFill>
                  <a:srgbClr val="FFFFFF"/>
                </a:solidFill>
                <a:latin typeface="Verdana"/>
                <a:cs typeface="Verdana"/>
              </a:rPr>
              <a:t>(Marelli Help</a:t>
            </a:r>
            <a:r>
              <a:rPr sz="1200" b="1" spc="-60">
                <a:solidFill>
                  <a:srgbClr val="FFFFFF"/>
                </a:solidFill>
                <a:latin typeface="Verdana"/>
                <a:cs typeface="Verdana"/>
              </a:rPr>
              <a:t> </a:t>
            </a:r>
            <a:r>
              <a:rPr sz="1200" b="1" spc="-5">
                <a:solidFill>
                  <a:srgbClr val="FFFFFF"/>
                </a:solidFill>
                <a:latin typeface="Verdana"/>
                <a:cs typeface="Verdana"/>
              </a:rPr>
              <a:t>Desk)</a:t>
            </a:r>
            <a:endParaRPr sz="1200">
              <a:latin typeface="Verdana"/>
              <a:cs typeface="Verdana"/>
            </a:endParaRPr>
          </a:p>
        </p:txBody>
      </p:sp>
      <p:sp>
        <p:nvSpPr>
          <p:cNvPr id="5" name="object 5"/>
          <p:cNvSpPr/>
          <p:nvPr/>
        </p:nvSpPr>
        <p:spPr>
          <a:xfrm>
            <a:off x="2596895" y="1319783"/>
            <a:ext cx="4643755" cy="878205"/>
          </a:xfrm>
          <a:custGeom>
            <a:avLst/>
            <a:gdLst/>
            <a:ahLst/>
            <a:cxnLst/>
            <a:rect l="l" t="t" r="r" b="b"/>
            <a:pathLst>
              <a:path w="4643755" h="878205">
                <a:moveTo>
                  <a:pt x="4497324" y="0"/>
                </a:moveTo>
                <a:lnTo>
                  <a:pt x="146304" y="0"/>
                </a:lnTo>
                <a:lnTo>
                  <a:pt x="100071" y="7461"/>
                </a:lnTo>
                <a:lnTo>
                  <a:pt x="59911" y="28236"/>
                </a:lnTo>
                <a:lnTo>
                  <a:pt x="28236" y="59911"/>
                </a:lnTo>
                <a:lnTo>
                  <a:pt x="7461" y="100071"/>
                </a:lnTo>
                <a:lnTo>
                  <a:pt x="0" y="146303"/>
                </a:lnTo>
                <a:lnTo>
                  <a:pt x="0" y="877824"/>
                </a:lnTo>
                <a:lnTo>
                  <a:pt x="4643628" y="877824"/>
                </a:lnTo>
                <a:lnTo>
                  <a:pt x="4643628" y="146303"/>
                </a:lnTo>
                <a:lnTo>
                  <a:pt x="4636166" y="100071"/>
                </a:lnTo>
                <a:lnTo>
                  <a:pt x="4615391" y="59911"/>
                </a:lnTo>
                <a:lnTo>
                  <a:pt x="4583716" y="28236"/>
                </a:lnTo>
                <a:lnTo>
                  <a:pt x="4543556" y="7461"/>
                </a:lnTo>
                <a:lnTo>
                  <a:pt x="4497324" y="0"/>
                </a:lnTo>
                <a:close/>
              </a:path>
            </a:pathLst>
          </a:custGeom>
          <a:solidFill>
            <a:srgbClr val="006FAC"/>
          </a:solidFill>
        </p:spPr>
        <p:txBody>
          <a:bodyPr wrap="square" lIns="0" tIns="0" rIns="0" bIns="0" rtlCol="0"/>
          <a:lstStyle/>
          <a:p>
            <a:endParaRPr/>
          </a:p>
        </p:txBody>
      </p:sp>
      <p:sp>
        <p:nvSpPr>
          <p:cNvPr id="6" name="object 6"/>
          <p:cNvSpPr txBox="1"/>
          <p:nvPr/>
        </p:nvSpPr>
        <p:spPr>
          <a:xfrm>
            <a:off x="2673857" y="1543303"/>
            <a:ext cx="4119245" cy="574040"/>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Level</a:t>
            </a:r>
            <a:r>
              <a:rPr sz="1200" b="1">
                <a:solidFill>
                  <a:srgbClr val="FFFFFF"/>
                </a:solidFill>
                <a:latin typeface="Verdana"/>
                <a:cs typeface="Verdana"/>
              </a:rPr>
              <a:t> 2</a:t>
            </a:r>
            <a:endParaRPr sz="1200">
              <a:latin typeface="Verdana"/>
              <a:cs typeface="Verdana"/>
            </a:endParaRPr>
          </a:p>
          <a:p>
            <a:pPr marL="12700" marR="5080">
              <a:lnSpc>
                <a:spcPct val="100000"/>
              </a:lnSpc>
            </a:pPr>
            <a:r>
              <a:rPr sz="1200" b="1" spc="-5">
                <a:solidFill>
                  <a:srgbClr val="FFFFFF"/>
                </a:solidFill>
                <a:latin typeface="Verdana"/>
                <a:cs typeface="Verdana"/>
              </a:rPr>
              <a:t>support, Application Monitoring </a:t>
            </a:r>
            <a:r>
              <a:rPr sz="1200" b="1">
                <a:solidFill>
                  <a:srgbClr val="FFFFFF"/>
                </a:solidFill>
                <a:latin typeface="Verdana"/>
                <a:cs typeface="Verdana"/>
              </a:rPr>
              <a:t>and </a:t>
            </a:r>
            <a:r>
              <a:rPr sz="1200" b="1" spc="-5">
                <a:solidFill>
                  <a:srgbClr val="FFFFFF"/>
                </a:solidFill>
                <a:latin typeface="Verdana"/>
                <a:cs typeface="Verdana"/>
              </a:rPr>
              <a:t>Application  Operations Service Integrator</a:t>
            </a:r>
            <a:r>
              <a:rPr sz="1200" b="1" spc="-15">
                <a:solidFill>
                  <a:srgbClr val="FFFFFF"/>
                </a:solidFill>
                <a:latin typeface="Verdana"/>
                <a:cs typeface="Verdana"/>
              </a:rPr>
              <a:t> </a:t>
            </a:r>
            <a:r>
              <a:rPr sz="1200" b="1" spc="-5">
                <a:solidFill>
                  <a:srgbClr val="FFFFFF"/>
                </a:solidFill>
                <a:latin typeface="Verdana"/>
                <a:cs typeface="Verdana"/>
              </a:rPr>
              <a:t>(Capgemini)</a:t>
            </a:r>
            <a:endParaRPr sz="1200">
              <a:latin typeface="Verdana"/>
              <a:cs typeface="Verdana"/>
            </a:endParaRPr>
          </a:p>
        </p:txBody>
      </p:sp>
      <p:sp>
        <p:nvSpPr>
          <p:cNvPr id="7" name="object 7"/>
          <p:cNvSpPr/>
          <p:nvPr/>
        </p:nvSpPr>
        <p:spPr>
          <a:xfrm>
            <a:off x="7304531" y="1319783"/>
            <a:ext cx="2286000" cy="878205"/>
          </a:xfrm>
          <a:custGeom>
            <a:avLst/>
            <a:gdLst/>
            <a:ahLst/>
            <a:cxnLst/>
            <a:rect l="l" t="t" r="r" b="b"/>
            <a:pathLst>
              <a:path w="2286000" h="878205">
                <a:moveTo>
                  <a:pt x="2139696" y="0"/>
                </a:moveTo>
                <a:lnTo>
                  <a:pt x="146303" y="0"/>
                </a:lnTo>
                <a:lnTo>
                  <a:pt x="100071" y="7461"/>
                </a:lnTo>
                <a:lnTo>
                  <a:pt x="59911" y="28236"/>
                </a:lnTo>
                <a:lnTo>
                  <a:pt x="28236" y="59911"/>
                </a:lnTo>
                <a:lnTo>
                  <a:pt x="7461" y="100071"/>
                </a:lnTo>
                <a:lnTo>
                  <a:pt x="0" y="146303"/>
                </a:lnTo>
                <a:lnTo>
                  <a:pt x="0" y="877824"/>
                </a:lnTo>
                <a:lnTo>
                  <a:pt x="2286000" y="877824"/>
                </a:lnTo>
                <a:lnTo>
                  <a:pt x="2286000" y="146303"/>
                </a:lnTo>
                <a:lnTo>
                  <a:pt x="2278538" y="100071"/>
                </a:lnTo>
                <a:lnTo>
                  <a:pt x="2257763" y="59911"/>
                </a:lnTo>
                <a:lnTo>
                  <a:pt x="2226088" y="28236"/>
                </a:lnTo>
                <a:lnTo>
                  <a:pt x="2185928" y="7461"/>
                </a:lnTo>
                <a:lnTo>
                  <a:pt x="2139696" y="0"/>
                </a:lnTo>
                <a:close/>
              </a:path>
            </a:pathLst>
          </a:custGeom>
          <a:solidFill>
            <a:srgbClr val="421F5D"/>
          </a:solidFill>
        </p:spPr>
        <p:txBody>
          <a:bodyPr wrap="square" lIns="0" tIns="0" rIns="0" bIns="0" rtlCol="0"/>
          <a:lstStyle/>
          <a:p>
            <a:endParaRPr/>
          </a:p>
        </p:txBody>
      </p:sp>
      <p:sp>
        <p:nvSpPr>
          <p:cNvPr id="8" name="object 8"/>
          <p:cNvSpPr txBox="1"/>
          <p:nvPr/>
        </p:nvSpPr>
        <p:spPr>
          <a:xfrm>
            <a:off x="7382002" y="1543303"/>
            <a:ext cx="2038350" cy="574040"/>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Level</a:t>
            </a:r>
            <a:r>
              <a:rPr sz="1200" b="1">
                <a:solidFill>
                  <a:srgbClr val="FFFFFF"/>
                </a:solidFill>
                <a:latin typeface="Verdana"/>
                <a:cs typeface="Verdana"/>
              </a:rPr>
              <a:t> 3</a:t>
            </a:r>
            <a:endParaRPr sz="1200">
              <a:latin typeface="Verdana"/>
              <a:cs typeface="Verdana"/>
            </a:endParaRPr>
          </a:p>
          <a:p>
            <a:pPr marL="12700" marR="5080">
              <a:lnSpc>
                <a:spcPct val="100000"/>
              </a:lnSpc>
            </a:pPr>
            <a:r>
              <a:rPr sz="1200" b="1" spc="-5">
                <a:solidFill>
                  <a:srgbClr val="FFFFFF"/>
                </a:solidFill>
                <a:latin typeface="Verdana"/>
                <a:cs typeface="Verdana"/>
              </a:rPr>
              <a:t>support Service  Integrator</a:t>
            </a:r>
            <a:r>
              <a:rPr sz="1200" b="1" spc="-75">
                <a:solidFill>
                  <a:srgbClr val="FFFFFF"/>
                </a:solidFill>
                <a:latin typeface="Verdana"/>
                <a:cs typeface="Verdana"/>
              </a:rPr>
              <a:t> </a:t>
            </a:r>
            <a:r>
              <a:rPr sz="1200" b="1" spc="-5">
                <a:solidFill>
                  <a:srgbClr val="FFFFFF"/>
                </a:solidFill>
                <a:latin typeface="Verdana"/>
                <a:cs typeface="Verdana"/>
              </a:rPr>
              <a:t>(Capgemini)</a:t>
            </a:r>
            <a:endParaRPr sz="1200">
              <a:latin typeface="Verdana"/>
              <a:cs typeface="Verdana"/>
            </a:endParaRPr>
          </a:p>
        </p:txBody>
      </p:sp>
      <p:sp>
        <p:nvSpPr>
          <p:cNvPr id="9" name="object 9"/>
          <p:cNvSpPr/>
          <p:nvPr/>
        </p:nvSpPr>
        <p:spPr>
          <a:xfrm>
            <a:off x="9659111" y="1319783"/>
            <a:ext cx="2286000" cy="878205"/>
          </a:xfrm>
          <a:custGeom>
            <a:avLst/>
            <a:gdLst/>
            <a:ahLst/>
            <a:cxnLst/>
            <a:rect l="l" t="t" r="r" b="b"/>
            <a:pathLst>
              <a:path w="2286000" h="878205">
                <a:moveTo>
                  <a:pt x="2139696" y="0"/>
                </a:moveTo>
                <a:lnTo>
                  <a:pt x="146304" y="0"/>
                </a:lnTo>
                <a:lnTo>
                  <a:pt x="100071" y="7461"/>
                </a:lnTo>
                <a:lnTo>
                  <a:pt x="59911" y="28236"/>
                </a:lnTo>
                <a:lnTo>
                  <a:pt x="28236" y="59911"/>
                </a:lnTo>
                <a:lnTo>
                  <a:pt x="7461" y="100071"/>
                </a:lnTo>
                <a:lnTo>
                  <a:pt x="0" y="146303"/>
                </a:lnTo>
                <a:lnTo>
                  <a:pt x="0" y="877824"/>
                </a:lnTo>
                <a:lnTo>
                  <a:pt x="2286000" y="877824"/>
                </a:lnTo>
                <a:lnTo>
                  <a:pt x="2286000" y="146303"/>
                </a:lnTo>
                <a:lnTo>
                  <a:pt x="2278538" y="100071"/>
                </a:lnTo>
                <a:lnTo>
                  <a:pt x="2257763" y="59911"/>
                </a:lnTo>
                <a:lnTo>
                  <a:pt x="2226088" y="28236"/>
                </a:lnTo>
                <a:lnTo>
                  <a:pt x="2185928" y="7461"/>
                </a:lnTo>
                <a:lnTo>
                  <a:pt x="2139696" y="0"/>
                </a:lnTo>
                <a:close/>
              </a:path>
            </a:pathLst>
          </a:custGeom>
          <a:solidFill>
            <a:srgbClr val="D22138"/>
          </a:solidFill>
        </p:spPr>
        <p:txBody>
          <a:bodyPr wrap="square" lIns="0" tIns="0" rIns="0" bIns="0" rtlCol="0"/>
          <a:lstStyle/>
          <a:p>
            <a:endParaRPr/>
          </a:p>
        </p:txBody>
      </p:sp>
      <p:sp>
        <p:nvSpPr>
          <p:cNvPr id="10" name="object 10"/>
          <p:cNvSpPr txBox="1"/>
          <p:nvPr/>
        </p:nvSpPr>
        <p:spPr>
          <a:xfrm>
            <a:off x="9736073" y="1726184"/>
            <a:ext cx="1610995" cy="391160"/>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Level</a:t>
            </a:r>
            <a:r>
              <a:rPr sz="1200" b="1">
                <a:solidFill>
                  <a:srgbClr val="FFFFFF"/>
                </a:solidFill>
                <a:latin typeface="Verdana"/>
                <a:cs typeface="Verdana"/>
              </a:rPr>
              <a:t> 4</a:t>
            </a:r>
            <a:endParaRPr sz="1200">
              <a:latin typeface="Verdana"/>
              <a:cs typeface="Verdana"/>
            </a:endParaRPr>
          </a:p>
          <a:p>
            <a:pPr marL="12700">
              <a:lnSpc>
                <a:spcPct val="100000"/>
              </a:lnSpc>
            </a:pPr>
            <a:r>
              <a:rPr sz="1200" b="1" spc="-5">
                <a:solidFill>
                  <a:srgbClr val="FFFFFF"/>
                </a:solidFill>
                <a:latin typeface="Verdana"/>
                <a:cs typeface="Verdana"/>
              </a:rPr>
              <a:t>(Product</a:t>
            </a:r>
            <a:r>
              <a:rPr sz="1200" b="1" spc="-75">
                <a:solidFill>
                  <a:srgbClr val="FFFFFF"/>
                </a:solidFill>
                <a:latin typeface="Verdana"/>
                <a:cs typeface="Verdana"/>
              </a:rPr>
              <a:t> </a:t>
            </a:r>
            <a:r>
              <a:rPr sz="1200" b="1" spc="-5">
                <a:solidFill>
                  <a:srgbClr val="FFFFFF"/>
                </a:solidFill>
                <a:latin typeface="Verdana"/>
                <a:cs typeface="Verdana"/>
              </a:rPr>
              <a:t>Vendors)</a:t>
            </a:r>
            <a:endParaRPr sz="1200">
              <a:latin typeface="Verdana"/>
              <a:cs typeface="Verdana"/>
            </a:endParaRPr>
          </a:p>
        </p:txBody>
      </p:sp>
      <p:sp>
        <p:nvSpPr>
          <p:cNvPr id="11" name="object 11"/>
          <p:cNvSpPr/>
          <p:nvPr/>
        </p:nvSpPr>
        <p:spPr>
          <a:xfrm>
            <a:off x="243840" y="2209800"/>
            <a:ext cx="2289175" cy="4276725"/>
          </a:xfrm>
          <a:custGeom>
            <a:avLst/>
            <a:gdLst/>
            <a:ahLst/>
            <a:cxnLst/>
            <a:rect l="l" t="t" r="r" b="b"/>
            <a:pathLst>
              <a:path w="2289175" h="4276725">
                <a:moveTo>
                  <a:pt x="0" y="4276344"/>
                </a:moveTo>
                <a:lnTo>
                  <a:pt x="2289048" y="4276344"/>
                </a:lnTo>
                <a:lnTo>
                  <a:pt x="2289048" y="0"/>
                </a:lnTo>
                <a:lnTo>
                  <a:pt x="0" y="0"/>
                </a:lnTo>
                <a:lnTo>
                  <a:pt x="0" y="4276344"/>
                </a:lnTo>
                <a:close/>
              </a:path>
            </a:pathLst>
          </a:custGeom>
          <a:solidFill>
            <a:srgbClr val="F1F1F1"/>
          </a:solidFill>
        </p:spPr>
        <p:txBody>
          <a:bodyPr wrap="square" lIns="0" tIns="0" rIns="0" bIns="0" rtlCol="0"/>
          <a:lstStyle/>
          <a:p>
            <a:endParaRPr/>
          </a:p>
        </p:txBody>
      </p:sp>
      <p:sp>
        <p:nvSpPr>
          <p:cNvPr id="12" name="object 12"/>
          <p:cNvSpPr txBox="1"/>
          <p:nvPr/>
        </p:nvSpPr>
        <p:spPr>
          <a:xfrm>
            <a:off x="322579" y="2241931"/>
            <a:ext cx="1955164" cy="2630170"/>
          </a:xfrm>
          <a:prstGeom prst="rect">
            <a:avLst/>
          </a:prstGeom>
        </p:spPr>
        <p:txBody>
          <a:bodyPr vert="horz" wrap="square" lIns="0" tIns="13335" rIns="0" bIns="0" rtlCol="0">
            <a:spAutoFit/>
          </a:bodyPr>
          <a:lstStyle/>
          <a:p>
            <a:pPr marL="12700" marR="39370">
              <a:lnSpc>
                <a:spcPct val="100000"/>
              </a:lnSpc>
              <a:spcBef>
                <a:spcPts val="105"/>
              </a:spcBef>
            </a:pPr>
            <a:r>
              <a:rPr sz="1100" spc="-5">
                <a:latin typeface="Verdana"/>
                <a:cs typeface="Verdana"/>
              </a:rPr>
              <a:t>Filters Help </a:t>
            </a:r>
            <a:r>
              <a:rPr sz="1100">
                <a:latin typeface="Verdana"/>
                <a:cs typeface="Verdana"/>
              </a:rPr>
              <a:t>Desk </a:t>
            </a:r>
            <a:r>
              <a:rPr sz="1100" spc="-10">
                <a:latin typeface="Verdana"/>
                <a:cs typeface="Verdana"/>
              </a:rPr>
              <a:t>calls </a:t>
            </a:r>
            <a:r>
              <a:rPr sz="1100">
                <a:latin typeface="Verdana"/>
                <a:cs typeface="Verdana"/>
              </a:rPr>
              <a:t>and  </a:t>
            </a:r>
            <a:r>
              <a:rPr sz="1100" spc="-5">
                <a:latin typeface="Verdana"/>
                <a:cs typeface="Verdana"/>
              </a:rPr>
              <a:t>provides basic </a:t>
            </a:r>
            <a:r>
              <a:rPr sz="1100">
                <a:latin typeface="Verdana"/>
                <a:cs typeface="Verdana"/>
              </a:rPr>
              <a:t>support and  </a:t>
            </a:r>
            <a:r>
              <a:rPr sz="1100" spc="-5">
                <a:latin typeface="Verdana"/>
                <a:cs typeface="Verdana"/>
              </a:rPr>
              <a:t>troubleshooting, </a:t>
            </a:r>
            <a:r>
              <a:rPr sz="1100">
                <a:latin typeface="Verdana"/>
                <a:cs typeface="Verdana"/>
              </a:rPr>
              <a:t>such</a:t>
            </a:r>
            <a:r>
              <a:rPr sz="1100" spc="5">
                <a:latin typeface="Verdana"/>
                <a:cs typeface="Verdana"/>
              </a:rPr>
              <a:t> </a:t>
            </a:r>
            <a:r>
              <a:rPr sz="1100" spc="-5">
                <a:latin typeface="Verdana"/>
                <a:cs typeface="Verdana"/>
              </a:rPr>
              <a:t>as</a:t>
            </a:r>
            <a:endParaRPr sz="1100">
              <a:latin typeface="Verdana"/>
              <a:cs typeface="Verdana"/>
            </a:endParaRPr>
          </a:p>
          <a:p>
            <a:pPr marL="184785" indent="-172720">
              <a:lnSpc>
                <a:spcPct val="100000"/>
              </a:lnSpc>
              <a:spcBef>
                <a:spcPts val="95"/>
              </a:spcBef>
              <a:buClr>
                <a:srgbClr val="006FAC"/>
              </a:buClr>
              <a:buFont typeface="Wingdings"/>
              <a:buChar char=""/>
              <a:tabLst>
                <a:tab pos="185420" algn="l"/>
              </a:tabLst>
            </a:pPr>
            <a:r>
              <a:rPr sz="1100">
                <a:latin typeface="Verdana"/>
                <a:cs typeface="Verdana"/>
              </a:rPr>
              <a:t>Password</a:t>
            </a:r>
            <a:r>
              <a:rPr sz="1100" spc="-10">
                <a:latin typeface="Verdana"/>
                <a:cs typeface="Verdana"/>
              </a:rPr>
              <a:t> </a:t>
            </a:r>
            <a:r>
              <a:rPr sz="1100">
                <a:latin typeface="Verdana"/>
                <a:cs typeface="Verdana"/>
              </a:rPr>
              <a:t>resets</a:t>
            </a:r>
          </a:p>
          <a:p>
            <a:pPr marL="184785" indent="-172720">
              <a:lnSpc>
                <a:spcPct val="100000"/>
              </a:lnSpc>
              <a:spcBef>
                <a:spcPts val="105"/>
              </a:spcBef>
              <a:buClr>
                <a:srgbClr val="006FAC"/>
              </a:buClr>
              <a:buFont typeface="Wingdings"/>
              <a:buChar char=""/>
              <a:tabLst>
                <a:tab pos="185420" algn="l"/>
              </a:tabLst>
            </a:pPr>
            <a:r>
              <a:rPr sz="1100">
                <a:latin typeface="Verdana"/>
                <a:cs typeface="Verdana"/>
              </a:rPr>
              <a:t>Break / </a:t>
            </a:r>
            <a:r>
              <a:rPr sz="1100" spc="-10">
                <a:latin typeface="Verdana"/>
                <a:cs typeface="Verdana"/>
              </a:rPr>
              <a:t>fix</a:t>
            </a:r>
            <a:r>
              <a:rPr sz="1100" spc="-20">
                <a:latin typeface="Verdana"/>
                <a:cs typeface="Verdana"/>
              </a:rPr>
              <a:t> </a:t>
            </a:r>
            <a:r>
              <a:rPr sz="1100" spc="-5">
                <a:latin typeface="Verdana"/>
                <a:cs typeface="Verdana"/>
              </a:rPr>
              <a:t>instructions</a:t>
            </a:r>
            <a:endParaRPr sz="1100">
              <a:latin typeface="Verdana"/>
              <a:cs typeface="Verdana"/>
            </a:endParaRPr>
          </a:p>
          <a:p>
            <a:pPr marL="184785" indent="-172720">
              <a:lnSpc>
                <a:spcPct val="100000"/>
              </a:lnSpc>
              <a:spcBef>
                <a:spcPts val="100"/>
              </a:spcBef>
              <a:buClr>
                <a:srgbClr val="006FAC"/>
              </a:buClr>
              <a:buFont typeface="Wingdings"/>
              <a:buChar char=""/>
              <a:tabLst>
                <a:tab pos="185420" algn="l"/>
              </a:tabLst>
            </a:pPr>
            <a:r>
              <a:rPr sz="1100" spc="-5">
                <a:latin typeface="Verdana"/>
                <a:cs typeface="Verdana"/>
              </a:rPr>
              <a:t>Ticket</a:t>
            </a:r>
            <a:r>
              <a:rPr sz="1100" spc="-10">
                <a:latin typeface="Verdana"/>
                <a:cs typeface="Verdana"/>
              </a:rPr>
              <a:t> </a:t>
            </a:r>
            <a:r>
              <a:rPr sz="1100" spc="-5">
                <a:latin typeface="Verdana"/>
                <a:cs typeface="Verdana"/>
              </a:rPr>
              <a:t>routing</a:t>
            </a:r>
            <a:endParaRPr sz="1100">
              <a:latin typeface="Verdana"/>
              <a:cs typeface="Verdana"/>
            </a:endParaRPr>
          </a:p>
          <a:p>
            <a:pPr marL="184785" marR="5080" indent="-172720">
              <a:lnSpc>
                <a:spcPct val="100000"/>
              </a:lnSpc>
              <a:spcBef>
                <a:spcPts val="95"/>
              </a:spcBef>
              <a:buClr>
                <a:srgbClr val="006FAC"/>
              </a:buClr>
              <a:buFont typeface="Wingdings"/>
              <a:buChar char=""/>
              <a:tabLst>
                <a:tab pos="185420" algn="l"/>
              </a:tabLst>
            </a:pPr>
            <a:r>
              <a:rPr sz="1100" spc="-5">
                <a:latin typeface="Verdana"/>
                <a:cs typeface="Verdana"/>
              </a:rPr>
              <a:t>Escalation to </a:t>
            </a:r>
            <a:r>
              <a:rPr sz="1100">
                <a:latin typeface="Verdana"/>
                <a:cs typeface="Verdana"/>
              </a:rPr>
              <a:t>Level 2</a:t>
            </a:r>
            <a:r>
              <a:rPr sz="1100" spc="-65">
                <a:latin typeface="Verdana"/>
                <a:cs typeface="Verdana"/>
              </a:rPr>
              <a:t> </a:t>
            </a:r>
            <a:r>
              <a:rPr sz="1100">
                <a:latin typeface="Verdana"/>
                <a:cs typeface="Verdana"/>
              </a:rPr>
              <a:t>and  Level 3</a:t>
            </a:r>
            <a:r>
              <a:rPr sz="1100" spc="-40">
                <a:latin typeface="Verdana"/>
                <a:cs typeface="Verdana"/>
              </a:rPr>
              <a:t> </a:t>
            </a:r>
            <a:r>
              <a:rPr sz="1100">
                <a:latin typeface="Verdana"/>
                <a:cs typeface="Verdana"/>
              </a:rPr>
              <a:t>support</a:t>
            </a:r>
          </a:p>
          <a:p>
            <a:pPr marL="184785" marR="68580" indent="-172720">
              <a:lnSpc>
                <a:spcPct val="100000"/>
              </a:lnSpc>
              <a:spcBef>
                <a:spcPts val="110"/>
              </a:spcBef>
              <a:buClr>
                <a:srgbClr val="006FAC"/>
              </a:buClr>
              <a:buFont typeface="Wingdings"/>
              <a:buChar char=""/>
              <a:tabLst>
                <a:tab pos="185420" algn="l"/>
              </a:tabLst>
            </a:pPr>
            <a:r>
              <a:rPr sz="1100" spc="-5">
                <a:latin typeface="Verdana"/>
                <a:cs typeface="Verdana"/>
              </a:rPr>
              <a:t>Regular Check </a:t>
            </a:r>
            <a:r>
              <a:rPr sz="1100">
                <a:latin typeface="Verdana"/>
                <a:cs typeface="Verdana"/>
              </a:rPr>
              <a:t>system  </a:t>
            </a:r>
            <a:r>
              <a:rPr sz="1100" spc="-10">
                <a:latin typeface="Verdana"/>
                <a:cs typeface="Verdana"/>
              </a:rPr>
              <a:t>availability </a:t>
            </a:r>
            <a:r>
              <a:rPr sz="1100">
                <a:latin typeface="Verdana"/>
                <a:cs typeface="Verdana"/>
              </a:rPr>
              <a:t>and perform  </a:t>
            </a:r>
            <a:r>
              <a:rPr sz="1100" spc="-5">
                <a:latin typeface="Verdana"/>
                <a:cs typeface="Verdana"/>
              </a:rPr>
              <a:t>preventive</a:t>
            </a:r>
            <a:r>
              <a:rPr sz="1100" spc="-25">
                <a:latin typeface="Verdana"/>
                <a:cs typeface="Verdana"/>
              </a:rPr>
              <a:t> </a:t>
            </a:r>
            <a:r>
              <a:rPr sz="1100" spc="-5">
                <a:latin typeface="Verdana"/>
                <a:cs typeface="Verdana"/>
              </a:rPr>
              <a:t>maintenance</a:t>
            </a:r>
            <a:endParaRPr sz="1100">
              <a:latin typeface="Verdana"/>
              <a:cs typeface="Verdana"/>
            </a:endParaRPr>
          </a:p>
          <a:p>
            <a:pPr marL="12700" marR="83185">
              <a:lnSpc>
                <a:spcPct val="100000"/>
              </a:lnSpc>
              <a:spcBef>
                <a:spcPts val="95"/>
              </a:spcBef>
            </a:pPr>
            <a:r>
              <a:rPr sz="1100" spc="-5">
                <a:latin typeface="Verdana"/>
                <a:cs typeface="Verdana"/>
              </a:rPr>
              <a:t>Escalate </a:t>
            </a:r>
            <a:r>
              <a:rPr sz="1100">
                <a:latin typeface="Verdana"/>
                <a:cs typeface="Verdana"/>
              </a:rPr>
              <a:t>Level 4 support</a:t>
            </a:r>
            <a:r>
              <a:rPr sz="1100" spc="-80">
                <a:latin typeface="Verdana"/>
                <a:cs typeface="Verdana"/>
              </a:rPr>
              <a:t> </a:t>
            </a:r>
            <a:r>
              <a:rPr sz="1100" spc="-10">
                <a:latin typeface="Verdana"/>
                <a:cs typeface="Verdana"/>
              </a:rPr>
              <a:t>if  </a:t>
            </a:r>
            <a:r>
              <a:rPr sz="1100">
                <a:latin typeface="Verdana"/>
                <a:cs typeface="Verdana"/>
              </a:rPr>
              <a:t>needed</a:t>
            </a:r>
          </a:p>
          <a:p>
            <a:pPr marL="12700">
              <a:lnSpc>
                <a:spcPct val="100000"/>
              </a:lnSpc>
              <a:spcBef>
                <a:spcPts val="95"/>
              </a:spcBef>
            </a:pPr>
            <a:r>
              <a:rPr sz="1100" spc="-5">
                <a:latin typeface="Verdana"/>
                <a:cs typeface="Verdana"/>
              </a:rPr>
              <a:t>Change </a:t>
            </a:r>
            <a:r>
              <a:rPr sz="1100">
                <a:latin typeface="Verdana"/>
                <a:cs typeface="Verdana"/>
              </a:rPr>
              <a:t>Request</a:t>
            </a:r>
            <a:r>
              <a:rPr sz="1100" spc="-75">
                <a:latin typeface="Verdana"/>
                <a:cs typeface="Verdana"/>
              </a:rPr>
              <a:t> </a:t>
            </a:r>
            <a:r>
              <a:rPr sz="1100" spc="-5">
                <a:latin typeface="Verdana"/>
                <a:cs typeface="Verdana"/>
              </a:rPr>
              <a:t>arbitration</a:t>
            </a:r>
            <a:endParaRPr sz="1100">
              <a:latin typeface="Verdana"/>
              <a:cs typeface="Verdana"/>
            </a:endParaRPr>
          </a:p>
          <a:p>
            <a:pPr marL="12700">
              <a:lnSpc>
                <a:spcPct val="100000"/>
              </a:lnSpc>
              <a:spcBef>
                <a:spcPts val="5"/>
              </a:spcBef>
            </a:pPr>
            <a:r>
              <a:rPr sz="1100" spc="-5">
                <a:latin typeface="Verdana"/>
                <a:cs typeface="Verdana"/>
              </a:rPr>
              <a:t>activities</a:t>
            </a:r>
            <a:endParaRPr sz="1100">
              <a:latin typeface="Verdana"/>
              <a:cs typeface="Verdana"/>
            </a:endParaRPr>
          </a:p>
        </p:txBody>
      </p:sp>
      <p:sp>
        <p:nvSpPr>
          <p:cNvPr id="13" name="object 13"/>
          <p:cNvSpPr/>
          <p:nvPr/>
        </p:nvSpPr>
        <p:spPr>
          <a:xfrm>
            <a:off x="2596895" y="2209800"/>
            <a:ext cx="4643755" cy="4276725"/>
          </a:xfrm>
          <a:custGeom>
            <a:avLst/>
            <a:gdLst/>
            <a:ahLst/>
            <a:cxnLst/>
            <a:rect l="l" t="t" r="r" b="b"/>
            <a:pathLst>
              <a:path w="4643755" h="4276725">
                <a:moveTo>
                  <a:pt x="0" y="4276344"/>
                </a:moveTo>
                <a:lnTo>
                  <a:pt x="4643628" y="4276344"/>
                </a:lnTo>
                <a:lnTo>
                  <a:pt x="4643628" y="0"/>
                </a:lnTo>
                <a:lnTo>
                  <a:pt x="0" y="0"/>
                </a:lnTo>
                <a:lnTo>
                  <a:pt x="0" y="4276344"/>
                </a:lnTo>
                <a:close/>
              </a:path>
            </a:pathLst>
          </a:custGeom>
          <a:solidFill>
            <a:srgbClr val="F1F1F1"/>
          </a:solidFill>
        </p:spPr>
        <p:txBody>
          <a:bodyPr wrap="square" lIns="0" tIns="0" rIns="0" bIns="0" rtlCol="0"/>
          <a:lstStyle/>
          <a:p>
            <a:endParaRPr/>
          </a:p>
        </p:txBody>
      </p:sp>
      <p:sp>
        <p:nvSpPr>
          <p:cNvPr id="14" name="object 14"/>
          <p:cNvSpPr txBox="1"/>
          <p:nvPr/>
        </p:nvSpPr>
        <p:spPr>
          <a:xfrm>
            <a:off x="2600325" y="2230348"/>
            <a:ext cx="4577715" cy="2305685"/>
          </a:xfrm>
          <a:prstGeom prst="rect">
            <a:avLst/>
          </a:prstGeom>
        </p:spPr>
        <p:txBody>
          <a:bodyPr vert="horz" wrap="square" lIns="0" tIns="24765" rIns="0" bIns="0" rtlCol="0">
            <a:spAutoFit/>
          </a:bodyPr>
          <a:lstStyle/>
          <a:p>
            <a:pPr marL="260985" indent="-172720">
              <a:lnSpc>
                <a:spcPct val="100000"/>
              </a:lnSpc>
              <a:spcBef>
                <a:spcPts val="195"/>
              </a:spcBef>
              <a:buClr>
                <a:srgbClr val="006FAC"/>
              </a:buClr>
              <a:buFont typeface="Wingdings"/>
              <a:buChar char=""/>
              <a:tabLst>
                <a:tab pos="261620" algn="l"/>
              </a:tabLst>
            </a:pPr>
            <a:r>
              <a:rPr sz="1100" spc="-5">
                <a:latin typeface="Verdana"/>
                <a:cs typeface="Verdana"/>
              </a:rPr>
              <a:t>Analyzing </a:t>
            </a:r>
            <a:r>
              <a:rPr sz="1100">
                <a:latin typeface="Verdana"/>
                <a:cs typeface="Verdana"/>
              </a:rPr>
              <a:t>and </a:t>
            </a:r>
            <a:r>
              <a:rPr sz="1100" spc="-5">
                <a:latin typeface="Verdana"/>
                <a:cs typeface="Verdana"/>
              </a:rPr>
              <a:t>solving Trouble Ticket</a:t>
            </a:r>
            <a:r>
              <a:rPr sz="1100" spc="50">
                <a:latin typeface="Verdana"/>
                <a:cs typeface="Verdana"/>
              </a:rPr>
              <a:t> </a:t>
            </a:r>
            <a:r>
              <a:rPr sz="1100">
                <a:latin typeface="Verdana"/>
                <a:cs typeface="Verdana"/>
              </a:rPr>
              <a:t>(TT)</a:t>
            </a:r>
          </a:p>
          <a:p>
            <a:pPr marL="260985" marR="93980" indent="-172720">
              <a:lnSpc>
                <a:spcPct val="100000"/>
              </a:lnSpc>
              <a:spcBef>
                <a:spcPts val="95"/>
              </a:spcBef>
              <a:buClr>
                <a:srgbClr val="006FAC"/>
              </a:buClr>
              <a:buFont typeface="Wingdings"/>
              <a:buChar char=""/>
              <a:tabLst>
                <a:tab pos="261620" algn="l"/>
              </a:tabLst>
            </a:pPr>
            <a:r>
              <a:rPr sz="1100">
                <a:latin typeface="Verdana"/>
                <a:cs typeface="Verdana"/>
              </a:rPr>
              <a:t>TT </a:t>
            </a:r>
            <a:r>
              <a:rPr sz="1100" spc="-5">
                <a:latin typeface="Verdana"/>
                <a:cs typeface="Verdana"/>
              </a:rPr>
              <a:t>diagnosis, categorize the incident, data fix </a:t>
            </a:r>
            <a:r>
              <a:rPr sz="1100">
                <a:latin typeface="Verdana"/>
                <a:cs typeface="Verdana"/>
              </a:rPr>
              <a:t>and </a:t>
            </a:r>
            <a:r>
              <a:rPr sz="1100" spc="-5">
                <a:latin typeface="Verdana"/>
                <a:cs typeface="Verdana"/>
              </a:rPr>
              <a:t>providing  workarounds</a:t>
            </a:r>
            <a:endParaRPr sz="1100">
              <a:latin typeface="Verdana"/>
              <a:cs typeface="Verdana"/>
            </a:endParaRPr>
          </a:p>
          <a:p>
            <a:pPr marL="260985" marR="598805" indent="-172720">
              <a:lnSpc>
                <a:spcPct val="100000"/>
              </a:lnSpc>
              <a:spcBef>
                <a:spcPts val="110"/>
              </a:spcBef>
              <a:buClr>
                <a:srgbClr val="006FAC"/>
              </a:buClr>
              <a:buFont typeface="Wingdings"/>
              <a:buChar char=""/>
              <a:tabLst>
                <a:tab pos="261620" algn="l"/>
              </a:tabLst>
            </a:pPr>
            <a:r>
              <a:rPr sz="1100" spc="-5">
                <a:latin typeface="Verdana"/>
                <a:cs typeface="Verdana"/>
              </a:rPr>
              <a:t>Resolve incidents </a:t>
            </a:r>
            <a:r>
              <a:rPr sz="1100">
                <a:latin typeface="Verdana"/>
                <a:cs typeface="Verdana"/>
              </a:rPr>
              <a:t>not </a:t>
            </a:r>
            <a:r>
              <a:rPr sz="1100" spc="-5">
                <a:latin typeface="Verdana"/>
                <a:cs typeface="Verdana"/>
              </a:rPr>
              <a:t>requiring </a:t>
            </a:r>
            <a:r>
              <a:rPr sz="1100">
                <a:latin typeface="Verdana"/>
                <a:cs typeface="Verdana"/>
              </a:rPr>
              <a:t>code or </a:t>
            </a:r>
            <a:r>
              <a:rPr sz="1100" spc="-5">
                <a:latin typeface="Verdana"/>
                <a:cs typeface="Verdana"/>
              </a:rPr>
              <a:t>configuration  modifications</a:t>
            </a:r>
            <a:endParaRPr sz="1100">
              <a:latin typeface="Verdana"/>
              <a:cs typeface="Verdana"/>
            </a:endParaRPr>
          </a:p>
          <a:p>
            <a:pPr marL="260985" marR="216535" indent="-172720">
              <a:lnSpc>
                <a:spcPct val="100000"/>
              </a:lnSpc>
              <a:spcBef>
                <a:spcPts val="95"/>
              </a:spcBef>
              <a:buClr>
                <a:srgbClr val="006FAC"/>
              </a:buClr>
              <a:buFont typeface="Wingdings"/>
              <a:buChar char=""/>
              <a:tabLst>
                <a:tab pos="261620" algn="l"/>
              </a:tabLst>
            </a:pPr>
            <a:r>
              <a:rPr sz="1100">
                <a:latin typeface="Verdana"/>
                <a:cs typeface="Verdana"/>
              </a:rPr>
              <a:t>Support </a:t>
            </a:r>
            <a:r>
              <a:rPr sz="1100" spc="-5">
                <a:latin typeface="Verdana"/>
                <a:cs typeface="Verdana"/>
              </a:rPr>
              <a:t>Marelli </a:t>
            </a:r>
            <a:r>
              <a:rPr sz="1100" spc="5">
                <a:latin typeface="Verdana"/>
                <a:cs typeface="Verdana"/>
              </a:rPr>
              <a:t>1</a:t>
            </a:r>
            <a:r>
              <a:rPr sz="1050" spc="7" baseline="27777">
                <a:latin typeface="Verdana"/>
                <a:cs typeface="Verdana"/>
              </a:rPr>
              <a:t>st </a:t>
            </a:r>
            <a:r>
              <a:rPr sz="1100" spc="-5">
                <a:latin typeface="Verdana"/>
                <a:cs typeface="Verdana"/>
              </a:rPr>
              <a:t>level </a:t>
            </a:r>
            <a:r>
              <a:rPr sz="1100">
                <a:latin typeface="Verdana"/>
                <a:cs typeface="Verdana"/>
              </a:rPr>
              <a:t>support </a:t>
            </a:r>
            <a:r>
              <a:rPr sz="1100" spc="-10">
                <a:latin typeface="Verdana"/>
                <a:cs typeface="Verdana"/>
              </a:rPr>
              <a:t>in driving </a:t>
            </a:r>
            <a:r>
              <a:rPr sz="1100" spc="-5">
                <a:latin typeface="Verdana"/>
                <a:cs typeface="Verdana"/>
              </a:rPr>
              <a:t>major incidents  resolution</a:t>
            </a:r>
            <a:endParaRPr sz="1100">
              <a:latin typeface="Verdana"/>
              <a:cs typeface="Verdana"/>
            </a:endParaRPr>
          </a:p>
          <a:p>
            <a:pPr marL="260985" indent="-172720">
              <a:lnSpc>
                <a:spcPct val="100000"/>
              </a:lnSpc>
              <a:spcBef>
                <a:spcPts val="95"/>
              </a:spcBef>
              <a:buClr>
                <a:srgbClr val="006FAC"/>
              </a:buClr>
              <a:buFont typeface="Wingdings"/>
              <a:buChar char=""/>
              <a:tabLst>
                <a:tab pos="261620" algn="l"/>
              </a:tabLst>
            </a:pPr>
            <a:r>
              <a:rPr sz="1100">
                <a:latin typeface="Verdana"/>
                <a:cs typeface="Verdana"/>
              </a:rPr>
              <a:t>TT </a:t>
            </a:r>
            <a:r>
              <a:rPr sz="1100" spc="-5">
                <a:latin typeface="Verdana"/>
                <a:cs typeface="Verdana"/>
              </a:rPr>
              <a:t>routing to </a:t>
            </a:r>
            <a:r>
              <a:rPr sz="1100" spc="5">
                <a:latin typeface="Verdana"/>
                <a:cs typeface="Verdana"/>
              </a:rPr>
              <a:t>3</a:t>
            </a:r>
            <a:r>
              <a:rPr sz="1050" spc="7" baseline="27777">
                <a:latin typeface="Verdana"/>
                <a:cs typeface="Verdana"/>
              </a:rPr>
              <a:t>rd </a:t>
            </a:r>
            <a:r>
              <a:rPr sz="1100" spc="-5">
                <a:latin typeface="Verdana"/>
                <a:cs typeface="Verdana"/>
              </a:rPr>
              <a:t>level </a:t>
            </a:r>
            <a:r>
              <a:rPr sz="1100">
                <a:latin typeface="Verdana"/>
                <a:cs typeface="Verdana"/>
              </a:rPr>
              <a:t>support </a:t>
            </a:r>
            <a:r>
              <a:rPr sz="1100" spc="-5">
                <a:latin typeface="Verdana"/>
                <a:cs typeface="Verdana"/>
              </a:rPr>
              <a:t>as</a:t>
            </a:r>
            <a:r>
              <a:rPr sz="1100" spc="-100">
                <a:latin typeface="Verdana"/>
                <a:cs typeface="Verdana"/>
              </a:rPr>
              <a:t> </a:t>
            </a:r>
            <a:r>
              <a:rPr sz="1100" spc="-5">
                <a:latin typeface="Verdana"/>
                <a:cs typeface="Verdana"/>
              </a:rPr>
              <a:t>required</a:t>
            </a:r>
            <a:endParaRPr sz="1100">
              <a:latin typeface="Verdana"/>
              <a:cs typeface="Verdana"/>
            </a:endParaRPr>
          </a:p>
          <a:p>
            <a:pPr marL="260985" marR="222885" indent="-172720">
              <a:lnSpc>
                <a:spcPct val="100000"/>
              </a:lnSpc>
              <a:spcBef>
                <a:spcPts val="110"/>
              </a:spcBef>
              <a:buClr>
                <a:srgbClr val="006FAC"/>
              </a:buClr>
              <a:buFont typeface="Wingdings"/>
              <a:buChar char=""/>
              <a:tabLst>
                <a:tab pos="261620" algn="l"/>
              </a:tabLst>
            </a:pPr>
            <a:r>
              <a:rPr sz="1100">
                <a:latin typeface="Verdana"/>
                <a:cs typeface="Verdana"/>
              </a:rPr>
              <a:t>Document </a:t>
            </a:r>
            <a:r>
              <a:rPr sz="1100" spc="-5">
                <a:latin typeface="Verdana"/>
                <a:cs typeface="Verdana"/>
              </a:rPr>
              <a:t>the prioritized change </a:t>
            </a:r>
            <a:r>
              <a:rPr sz="1100">
                <a:latin typeface="Verdana"/>
                <a:cs typeface="Verdana"/>
              </a:rPr>
              <a:t>requests </a:t>
            </a:r>
            <a:r>
              <a:rPr sz="1100" spc="-5">
                <a:latin typeface="Verdana"/>
                <a:cs typeface="Verdana"/>
              </a:rPr>
              <a:t>from Marelli </a:t>
            </a:r>
            <a:r>
              <a:rPr sz="1100">
                <a:latin typeface="Verdana"/>
                <a:cs typeface="Verdana"/>
              </a:rPr>
              <a:t>for  </a:t>
            </a:r>
            <a:r>
              <a:rPr sz="1100" spc="-5">
                <a:latin typeface="Verdana"/>
                <a:cs typeface="Verdana"/>
              </a:rPr>
              <a:t>additional functions </a:t>
            </a:r>
            <a:r>
              <a:rPr sz="1100">
                <a:latin typeface="Verdana"/>
                <a:cs typeface="Verdana"/>
              </a:rPr>
              <a:t>and </a:t>
            </a:r>
            <a:r>
              <a:rPr sz="1100" spc="-5">
                <a:latin typeface="Verdana"/>
                <a:cs typeface="Verdana"/>
              </a:rPr>
              <a:t>features during</a:t>
            </a:r>
            <a:r>
              <a:rPr sz="1100" spc="100">
                <a:latin typeface="Verdana"/>
                <a:cs typeface="Verdana"/>
              </a:rPr>
              <a:t> </a:t>
            </a:r>
            <a:r>
              <a:rPr sz="1100" spc="-5">
                <a:latin typeface="Verdana"/>
                <a:cs typeface="Verdana"/>
              </a:rPr>
              <a:t>Hypercare</a:t>
            </a:r>
            <a:endParaRPr sz="1100">
              <a:latin typeface="Verdana"/>
              <a:cs typeface="Verdana"/>
            </a:endParaRPr>
          </a:p>
          <a:p>
            <a:pPr marL="260985" indent="-172720">
              <a:lnSpc>
                <a:spcPct val="100000"/>
              </a:lnSpc>
              <a:spcBef>
                <a:spcPts val="95"/>
              </a:spcBef>
              <a:buClr>
                <a:srgbClr val="006FAC"/>
              </a:buClr>
              <a:buFont typeface="Wingdings"/>
              <a:buChar char=""/>
              <a:tabLst>
                <a:tab pos="261620" algn="l"/>
              </a:tabLst>
            </a:pPr>
            <a:r>
              <a:rPr sz="1100" spc="-5">
                <a:latin typeface="Verdana"/>
                <a:cs typeface="Verdana"/>
              </a:rPr>
              <a:t>7x24 Application</a:t>
            </a:r>
            <a:r>
              <a:rPr sz="1100" spc="40">
                <a:latin typeface="Verdana"/>
                <a:cs typeface="Verdana"/>
              </a:rPr>
              <a:t> </a:t>
            </a:r>
            <a:r>
              <a:rPr sz="1100" spc="-5">
                <a:latin typeface="Verdana"/>
                <a:cs typeface="Verdana"/>
              </a:rPr>
              <a:t>Monitoring</a:t>
            </a:r>
            <a:endParaRPr sz="1100">
              <a:latin typeface="Verdana"/>
              <a:cs typeface="Verdana"/>
            </a:endParaRPr>
          </a:p>
          <a:p>
            <a:pPr marL="260985" marR="404495" indent="-172720">
              <a:lnSpc>
                <a:spcPct val="100000"/>
              </a:lnSpc>
              <a:spcBef>
                <a:spcPts val="95"/>
              </a:spcBef>
              <a:buClr>
                <a:srgbClr val="006FAC"/>
              </a:buClr>
              <a:buFont typeface="Wingdings"/>
              <a:buChar char=""/>
              <a:tabLst>
                <a:tab pos="261620" algn="l"/>
              </a:tabLst>
            </a:pPr>
            <a:r>
              <a:rPr sz="1100" spc="-5">
                <a:latin typeface="Verdana"/>
                <a:cs typeface="Verdana"/>
              </a:rPr>
              <a:t>Execution </a:t>
            </a:r>
            <a:r>
              <a:rPr sz="1100">
                <a:latin typeface="Verdana"/>
                <a:cs typeface="Verdana"/>
              </a:rPr>
              <a:t>of </a:t>
            </a:r>
            <a:r>
              <a:rPr sz="1100" spc="-5">
                <a:latin typeface="Verdana"/>
                <a:cs typeface="Verdana"/>
              </a:rPr>
              <a:t>batch, </a:t>
            </a:r>
            <a:r>
              <a:rPr sz="1100" spc="10">
                <a:latin typeface="Verdana"/>
                <a:cs typeface="Verdana"/>
              </a:rPr>
              <a:t>2</a:t>
            </a:r>
            <a:r>
              <a:rPr sz="1050" spc="15" baseline="27777">
                <a:latin typeface="Verdana"/>
                <a:cs typeface="Verdana"/>
              </a:rPr>
              <a:t>nd </a:t>
            </a:r>
            <a:r>
              <a:rPr sz="1100" spc="-5">
                <a:latin typeface="Verdana"/>
                <a:cs typeface="Verdana"/>
              </a:rPr>
              <a:t>level troubleshooting </a:t>
            </a:r>
            <a:r>
              <a:rPr sz="1100">
                <a:latin typeface="Verdana"/>
                <a:cs typeface="Verdana"/>
              </a:rPr>
              <a:t>of </a:t>
            </a:r>
            <a:r>
              <a:rPr sz="1100" spc="-5">
                <a:latin typeface="Verdana"/>
                <a:cs typeface="Verdana"/>
              </a:rPr>
              <a:t>issues </a:t>
            </a:r>
            <a:r>
              <a:rPr sz="1100">
                <a:latin typeface="Verdana"/>
                <a:cs typeface="Verdana"/>
              </a:rPr>
              <a:t>/  </a:t>
            </a:r>
            <a:r>
              <a:rPr sz="1100" spc="-5">
                <a:latin typeface="Verdana"/>
                <a:cs typeface="Verdana"/>
              </a:rPr>
              <a:t>alerts from Application</a:t>
            </a:r>
            <a:r>
              <a:rPr sz="1100" spc="55">
                <a:latin typeface="Verdana"/>
                <a:cs typeface="Verdana"/>
              </a:rPr>
              <a:t> </a:t>
            </a:r>
            <a:r>
              <a:rPr sz="1100" spc="-5">
                <a:latin typeface="Verdana"/>
                <a:cs typeface="Verdana"/>
              </a:rPr>
              <a:t>Monitoring</a:t>
            </a:r>
            <a:endParaRPr sz="1100">
              <a:latin typeface="Verdana"/>
              <a:cs typeface="Verdana"/>
            </a:endParaRPr>
          </a:p>
        </p:txBody>
      </p:sp>
      <p:sp>
        <p:nvSpPr>
          <p:cNvPr id="15" name="object 15"/>
          <p:cNvSpPr txBox="1"/>
          <p:nvPr/>
        </p:nvSpPr>
        <p:spPr>
          <a:xfrm>
            <a:off x="2676525" y="4523308"/>
            <a:ext cx="1489710" cy="194310"/>
          </a:xfrm>
          <a:prstGeom prst="rect">
            <a:avLst/>
          </a:prstGeom>
        </p:spPr>
        <p:txBody>
          <a:bodyPr vert="horz" wrap="square" lIns="0" tIns="13335" rIns="0" bIns="0" rtlCol="0">
            <a:spAutoFit/>
          </a:bodyPr>
          <a:lstStyle/>
          <a:p>
            <a:pPr marL="12700">
              <a:lnSpc>
                <a:spcPct val="100000"/>
              </a:lnSpc>
              <a:spcBef>
                <a:spcPts val="105"/>
              </a:spcBef>
            </a:pPr>
            <a:r>
              <a:rPr sz="1100" b="1" spc="-5">
                <a:latin typeface="Verdana"/>
                <a:cs typeface="Verdana"/>
              </a:rPr>
              <a:t>Typical </a:t>
            </a:r>
            <a:r>
              <a:rPr sz="1100" b="1">
                <a:latin typeface="Verdana"/>
                <a:cs typeface="Verdana"/>
              </a:rPr>
              <a:t>L2</a:t>
            </a:r>
            <a:r>
              <a:rPr sz="1100" b="1" spc="-50">
                <a:latin typeface="Verdana"/>
                <a:cs typeface="Verdana"/>
              </a:rPr>
              <a:t> </a:t>
            </a:r>
            <a:r>
              <a:rPr sz="1100" b="1" spc="-5">
                <a:latin typeface="Verdana"/>
                <a:cs typeface="Verdana"/>
              </a:rPr>
              <a:t>Support</a:t>
            </a:r>
            <a:endParaRPr sz="1100">
              <a:latin typeface="Verdana"/>
              <a:cs typeface="Verdana"/>
            </a:endParaRPr>
          </a:p>
        </p:txBody>
      </p:sp>
      <p:sp>
        <p:nvSpPr>
          <p:cNvPr id="16" name="object 16"/>
          <p:cNvSpPr txBox="1"/>
          <p:nvPr/>
        </p:nvSpPr>
        <p:spPr>
          <a:xfrm>
            <a:off x="2676525" y="4692243"/>
            <a:ext cx="4364355" cy="901700"/>
          </a:xfrm>
          <a:prstGeom prst="rect">
            <a:avLst/>
          </a:prstGeom>
        </p:spPr>
        <p:txBody>
          <a:bodyPr vert="horz" wrap="square" lIns="0" tIns="24765" rIns="0" bIns="0" rtlCol="0">
            <a:spAutoFit/>
          </a:bodyPr>
          <a:lstStyle/>
          <a:p>
            <a:pPr marL="184785" indent="-172720">
              <a:lnSpc>
                <a:spcPct val="100000"/>
              </a:lnSpc>
              <a:spcBef>
                <a:spcPts val="195"/>
              </a:spcBef>
              <a:buClr>
                <a:srgbClr val="006FAC"/>
              </a:buClr>
              <a:buFont typeface="Wingdings"/>
              <a:buChar char=""/>
              <a:tabLst>
                <a:tab pos="185420" algn="l"/>
              </a:tabLst>
            </a:pPr>
            <a:r>
              <a:rPr sz="1100">
                <a:latin typeface="Verdana"/>
                <a:cs typeface="Verdana"/>
              </a:rPr>
              <a:t>User </a:t>
            </a:r>
            <a:r>
              <a:rPr sz="1100" spc="-5">
                <a:latin typeface="Verdana"/>
                <a:cs typeface="Verdana"/>
              </a:rPr>
              <a:t>queries, configuration </a:t>
            </a:r>
            <a:r>
              <a:rPr sz="1100">
                <a:latin typeface="Verdana"/>
                <a:cs typeface="Verdana"/>
              </a:rPr>
              <a:t>and </a:t>
            </a:r>
            <a:r>
              <a:rPr sz="1100" spc="-5">
                <a:latin typeface="Verdana"/>
                <a:cs typeface="Verdana"/>
              </a:rPr>
              <a:t>integration</a:t>
            </a:r>
            <a:r>
              <a:rPr sz="1100" spc="80">
                <a:latin typeface="Verdana"/>
                <a:cs typeface="Verdana"/>
              </a:rPr>
              <a:t> </a:t>
            </a:r>
            <a:r>
              <a:rPr sz="1100" spc="-5">
                <a:latin typeface="Verdana"/>
                <a:cs typeface="Verdana"/>
              </a:rPr>
              <a:t>issues</a:t>
            </a:r>
            <a:endParaRPr sz="1100">
              <a:latin typeface="Verdana"/>
              <a:cs typeface="Verdana"/>
            </a:endParaRPr>
          </a:p>
          <a:p>
            <a:pPr marL="184785" marR="5080" indent="-172720">
              <a:lnSpc>
                <a:spcPct val="100000"/>
              </a:lnSpc>
              <a:spcBef>
                <a:spcPts val="95"/>
              </a:spcBef>
              <a:buClr>
                <a:srgbClr val="006FAC"/>
              </a:buClr>
              <a:buFont typeface="Wingdings"/>
              <a:buChar char=""/>
              <a:tabLst>
                <a:tab pos="185420" algn="l"/>
              </a:tabLst>
            </a:pPr>
            <a:r>
              <a:rPr sz="1100" spc="-5">
                <a:latin typeface="Verdana"/>
                <a:cs typeface="Verdana"/>
              </a:rPr>
              <a:t>Service </a:t>
            </a:r>
            <a:r>
              <a:rPr sz="1100">
                <a:latin typeface="Verdana"/>
                <a:cs typeface="Verdana"/>
              </a:rPr>
              <a:t>requests </a:t>
            </a:r>
            <a:r>
              <a:rPr sz="1100" spc="-5">
                <a:latin typeface="Verdana"/>
                <a:cs typeface="Verdana"/>
              </a:rPr>
              <a:t>(i.e. activities guided by standard </a:t>
            </a:r>
            <a:r>
              <a:rPr sz="1100">
                <a:latin typeface="Verdana"/>
                <a:cs typeface="Verdana"/>
              </a:rPr>
              <a:t>process  such </a:t>
            </a:r>
            <a:r>
              <a:rPr sz="1100" spc="-5">
                <a:latin typeface="Verdana"/>
                <a:cs typeface="Verdana"/>
              </a:rPr>
              <a:t>as data update, data </a:t>
            </a:r>
            <a:r>
              <a:rPr sz="1100">
                <a:latin typeface="Verdana"/>
                <a:cs typeface="Verdana"/>
              </a:rPr>
              <a:t>check, </a:t>
            </a:r>
            <a:r>
              <a:rPr sz="1100" spc="-5">
                <a:latin typeface="Verdana"/>
                <a:cs typeface="Verdana"/>
              </a:rPr>
              <a:t>log analysis,</a:t>
            </a:r>
            <a:r>
              <a:rPr sz="1100" spc="70">
                <a:latin typeface="Verdana"/>
                <a:cs typeface="Verdana"/>
              </a:rPr>
              <a:t> </a:t>
            </a:r>
            <a:r>
              <a:rPr sz="1100" spc="-5">
                <a:latin typeface="Verdana"/>
                <a:cs typeface="Verdana"/>
              </a:rPr>
              <a:t>etc.)</a:t>
            </a:r>
            <a:endParaRPr sz="1100">
              <a:latin typeface="Verdana"/>
              <a:cs typeface="Verdana"/>
            </a:endParaRPr>
          </a:p>
          <a:p>
            <a:pPr marL="184785" marR="142875" indent="-172720">
              <a:lnSpc>
                <a:spcPct val="100000"/>
              </a:lnSpc>
              <a:spcBef>
                <a:spcPts val="110"/>
              </a:spcBef>
              <a:buClr>
                <a:srgbClr val="006FAC"/>
              </a:buClr>
              <a:buFont typeface="Wingdings"/>
              <a:buChar char=""/>
              <a:tabLst>
                <a:tab pos="185420" algn="l"/>
              </a:tabLst>
            </a:pPr>
            <a:r>
              <a:rPr sz="1100" spc="-5">
                <a:latin typeface="Verdana"/>
                <a:cs typeface="Verdana"/>
              </a:rPr>
              <a:t>Workflows, business logic, triggers, </a:t>
            </a:r>
            <a:r>
              <a:rPr sz="1100" spc="-10">
                <a:latin typeface="Verdana"/>
                <a:cs typeface="Verdana"/>
              </a:rPr>
              <a:t>validation </a:t>
            </a:r>
            <a:r>
              <a:rPr sz="1100">
                <a:latin typeface="Verdana"/>
                <a:cs typeface="Verdana"/>
              </a:rPr>
              <a:t>- </a:t>
            </a:r>
            <a:r>
              <a:rPr sz="1100" spc="-5">
                <a:latin typeface="Verdana"/>
                <a:cs typeface="Verdana"/>
              </a:rPr>
              <a:t>Minimum  Coding</a:t>
            </a:r>
            <a:endParaRPr sz="1100">
              <a:latin typeface="Verdana"/>
              <a:cs typeface="Verdana"/>
            </a:endParaRPr>
          </a:p>
        </p:txBody>
      </p:sp>
      <p:sp>
        <p:nvSpPr>
          <p:cNvPr id="17" name="object 17"/>
          <p:cNvSpPr/>
          <p:nvPr/>
        </p:nvSpPr>
        <p:spPr>
          <a:xfrm>
            <a:off x="7304531" y="2209800"/>
            <a:ext cx="2291080" cy="4276725"/>
          </a:xfrm>
          <a:custGeom>
            <a:avLst/>
            <a:gdLst/>
            <a:ahLst/>
            <a:cxnLst/>
            <a:rect l="l" t="t" r="r" b="b"/>
            <a:pathLst>
              <a:path w="2291079" h="4276725">
                <a:moveTo>
                  <a:pt x="0" y="4276344"/>
                </a:moveTo>
                <a:lnTo>
                  <a:pt x="2290572" y="4276344"/>
                </a:lnTo>
                <a:lnTo>
                  <a:pt x="2290572" y="0"/>
                </a:lnTo>
                <a:lnTo>
                  <a:pt x="0" y="0"/>
                </a:lnTo>
                <a:lnTo>
                  <a:pt x="0" y="4276344"/>
                </a:lnTo>
                <a:close/>
              </a:path>
            </a:pathLst>
          </a:custGeom>
          <a:solidFill>
            <a:srgbClr val="F1F1F1"/>
          </a:solidFill>
        </p:spPr>
        <p:txBody>
          <a:bodyPr wrap="square" lIns="0" tIns="0" rIns="0" bIns="0" rtlCol="0"/>
          <a:lstStyle/>
          <a:p>
            <a:endParaRPr/>
          </a:p>
        </p:txBody>
      </p:sp>
      <p:sp>
        <p:nvSpPr>
          <p:cNvPr id="18" name="object 18"/>
          <p:cNvSpPr txBox="1"/>
          <p:nvPr/>
        </p:nvSpPr>
        <p:spPr>
          <a:xfrm>
            <a:off x="7295895" y="2241931"/>
            <a:ext cx="2280920" cy="3443604"/>
          </a:xfrm>
          <a:prstGeom prst="rect">
            <a:avLst/>
          </a:prstGeom>
        </p:spPr>
        <p:txBody>
          <a:bodyPr vert="horz" wrap="square" lIns="0" tIns="13335" rIns="0" bIns="0" rtlCol="0">
            <a:spAutoFit/>
          </a:bodyPr>
          <a:lstStyle/>
          <a:p>
            <a:pPr marL="273685" marR="302895" indent="-172720">
              <a:lnSpc>
                <a:spcPct val="100000"/>
              </a:lnSpc>
              <a:spcBef>
                <a:spcPts val="105"/>
              </a:spcBef>
              <a:buClr>
                <a:srgbClr val="006FAC"/>
              </a:buClr>
              <a:buFont typeface="Wingdings"/>
              <a:buChar char=""/>
              <a:tabLst>
                <a:tab pos="274320" algn="l"/>
              </a:tabLst>
            </a:pPr>
            <a:r>
              <a:rPr sz="1100" spc="-5">
                <a:latin typeface="Verdana"/>
                <a:cs typeface="Verdana"/>
              </a:rPr>
              <a:t>Investigate, bug-fix </a:t>
            </a:r>
            <a:r>
              <a:rPr sz="1100">
                <a:latin typeface="Verdana"/>
                <a:cs typeface="Verdana"/>
              </a:rPr>
              <a:t>and  </a:t>
            </a:r>
            <a:r>
              <a:rPr sz="1100" spc="-5">
                <a:latin typeface="Verdana"/>
                <a:cs typeface="Verdana"/>
              </a:rPr>
              <a:t>resolve the</a:t>
            </a:r>
            <a:r>
              <a:rPr sz="1100" spc="-15">
                <a:latin typeface="Verdana"/>
                <a:cs typeface="Verdana"/>
              </a:rPr>
              <a:t> </a:t>
            </a:r>
            <a:r>
              <a:rPr sz="1100" spc="-5">
                <a:latin typeface="Verdana"/>
                <a:cs typeface="Verdana"/>
              </a:rPr>
              <a:t>incident</a:t>
            </a:r>
            <a:endParaRPr sz="1100">
              <a:latin typeface="Verdana"/>
              <a:cs typeface="Verdana"/>
            </a:endParaRPr>
          </a:p>
          <a:p>
            <a:pPr marL="273685" marR="337820" indent="-172720">
              <a:lnSpc>
                <a:spcPct val="100000"/>
              </a:lnSpc>
              <a:spcBef>
                <a:spcPts val="95"/>
              </a:spcBef>
              <a:buClr>
                <a:srgbClr val="006FAC"/>
              </a:buClr>
              <a:buFont typeface="Wingdings"/>
              <a:buChar char=""/>
              <a:tabLst>
                <a:tab pos="274320" algn="l"/>
              </a:tabLst>
            </a:pPr>
            <a:r>
              <a:rPr sz="1100" spc="-5">
                <a:latin typeface="Verdana"/>
                <a:cs typeface="Verdana"/>
              </a:rPr>
              <a:t>Problem analysis, </a:t>
            </a:r>
            <a:r>
              <a:rPr sz="1100">
                <a:latin typeface="Verdana"/>
                <a:cs typeface="Verdana"/>
              </a:rPr>
              <a:t>root  cause </a:t>
            </a:r>
            <a:r>
              <a:rPr sz="1100" spc="-5">
                <a:latin typeface="Verdana"/>
                <a:cs typeface="Verdana"/>
              </a:rPr>
              <a:t>identification,  workaround, design </a:t>
            </a:r>
            <a:r>
              <a:rPr sz="1100" spc="-10">
                <a:latin typeface="Verdana"/>
                <a:cs typeface="Verdana"/>
              </a:rPr>
              <a:t>fix,  </a:t>
            </a:r>
            <a:r>
              <a:rPr sz="1100" spc="-5">
                <a:latin typeface="Verdana"/>
                <a:cs typeface="Verdana"/>
              </a:rPr>
              <a:t>implementation </a:t>
            </a:r>
            <a:r>
              <a:rPr sz="1100">
                <a:latin typeface="Verdana"/>
                <a:cs typeface="Verdana"/>
              </a:rPr>
              <a:t>&amp;</a:t>
            </a:r>
            <a:r>
              <a:rPr sz="1100" spc="15">
                <a:latin typeface="Verdana"/>
                <a:cs typeface="Verdana"/>
              </a:rPr>
              <a:t> </a:t>
            </a:r>
            <a:r>
              <a:rPr sz="1100" spc="-5">
                <a:latin typeface="Verdana"/>
                <a:cs typeface="Verdana"/>
              </a:rPr>
              <a:t>test</a:t>
            </a:r>
            <a:endParaRPr sz="1100">
              <a:latin typeface="Verdana"/>
              <a:cs typeface="Verdana"/>
            </a:endParaRPr>
          </a:p>
          <a:p>
            <a:pPr marL="273685" marR="106680" indent="-172720">
              <a:lnSpc>
                <a:spcPct val="100000"/>
              </a:lnSpc>
              <a:spcBef>
                <a:spcPts val="110"/>
              </a:spcBef>
              <a:buClr>
                <a:srgbClr val="006FAC"/>
              </a:buClr>
              <a:buFont typeface="Wingdings"/>
              <a:buChar char=""/>
              <a:tabLst>
                <a:tab pos="274320" algn="l"/>
              </a:tabLst>
            </a:pPr>
            <a:r>
              <a:rPr sz="1100">
                <a:latin typeface="Verdana"/>
                <a:cs typeface="Verdana"/>
              </a:rPr>
              <a:t>Support UAT,  </a:t>
            </a:r>
            <a:r>
              <a:rPr sz="1100" spc="-5">
                <a:latin typeface="Verdana"/>
                <a:cs typeface="Verdana"/>
              </a:rPr>
              <a:t>documentation update </a:t>
            </a:r>
            <a:r>
              <a:rPr sz="1100">
                <a:latin typeface="Verdana"/>
                <a:cs typeface="Verdana"/>
              </a:rPr>
              <a:t>and  </a:t>
            </a:r>
            <a:r>
              <a:rPr sz="1100" spc="-5">
                <a:latin typeface="Verdana"/>
                <a:cs typeface="Verdana"/>
              </a:rPr>
              <a:t>update knowledge base</a:t>
            </a:r>
            <a:endParaRPr sz="1100">
              <a:latin typeface="Verdana"/>
              <a:cs typeface="Verdana"/>
            </a:endParaRPr>
          </a:p>
          <a:p>
            <a:pPr marL="273685" marR="335280" indent="-172720">
              <a:lnSpc>
                <a:spcPct val="100000"/>
              </a:lnSpc>
              <a:spcBef>
                <a:spcPts val="95"/>
              </a:spcBef>
              <a:buClr>
                <a:srgbClr val="006FAC"/>
              </a:buClr>
              <a:buFont typeface="Wingdings"/>
              <a:buChar char=""/>
              <a:tabLst>
                <a:tab pos="274320" algn="l"/>
              </a:tabLst>
            </a:pPr>
            <a:r>
              <a:rPr sz="1100" spc="-5">
                <a:latin typeface="Verdana"/>
                <a:cs typeface="Verdana"/>
              </a:rPr>
              <a:t>Transport to production  environment</a:t>
            </a:r>
            <a:endParaRPr sz="1100">
              <a:latin typeface="Verdana"/>
              <a:cs typeface="Verdana"/>
            </a:endParaRPr>
          </a:p>
          <a:p>
            <a:pPr marL="273685" marR="485140" indent="-172720">
              <a:lnSpc>
                <a:spcPct val="100000"/>
              </a:lnSpc>
              <a:spcBef>
                <a:spcPts val="95"/>
              </a:spcBef>
              <a:buClr>
                <a:srgbClr val="006FAC"/>
              </a:buClr>
              <a:buFont typeface="Wingdings"/>
              <a:buChar char=""/>
              <a:tabLst>
                <a:tab pos="274320" algn="l"/>
              </a:tabLst>
            </a:pPr>
            <a:r>
              <a:rPr sz="1100" spc="-5">
                <a:latin typeface="Verdana"/>
                <a:cs typeface="Verdana"/>
              </a:rPr>
              <a:t>Preventive </a:t>
            </a:r>
            <a:r>
              <a:rPr sz="1100">
                <a:latin typeface="Verdana"/>
                <a:cs typeface="Verdana"/>
              </a:rPr>
              <a:t>/</a:t>
            </a:r>
            <a:r>
              <a:rPr sz="1100" spc="-50">
                <a:latin typeface="Verdana"/>
                <a:cs typeface="Verdana"/>
              </a:rPr>
              <a:t> </a:t>
            </a:r>
            <a:r>
              <a:rPr sz="1100" spc="-5">
                <a:latin typeface="Verdana"/>
                <a:cs typeface="Verdana"/>
              </a:rPr>
              <a:t>Adaptive  maintenance</a:t>
            </a:r>
            <a:endParaRPr sz="1100">
              <a:latin typeface="Verdana"/>
              <a:cs typeface="Verdana"/>
            </a:endParaRPr>
          </a:p>
          <a:p>
            <a:pPr marL="273685" marR="166370" indent="-172720">
              <a:lnSpc>
                <a:spcPct val="100000"/>
              </a:lnSpc>
              <a:spcBef>
                <a:spcPts val="110"/>
              </a:spcBef>
              <a:buClr>
                <a:srgbClr val="006FAC"/>
              </a:buClr>
              <a:buFont typeface="Wingdings"/>
              <a:buChar char=""/>
              <a:tabLst>
                <a:tab pos="274320" algn="l"/>
              </a:tabLst>
            </a:pPr>
            <a:r>
              <a:rPr sz="1100">
                <a:latin typeface="Verdana"/>
                <a:cs typeface="Verdana"/>
              </a:rPr>
              <a:t>Open </a:t>
            </a:r>
            <a:r>
              <a:rPr sz="1100" spc="-5">
                <a:latin typeface="Verdana"/>
                <a:cs typeface="Verdana"/>
              </a:rPr>
              <a:t>tickets with </a:t>
            </a:r>
            <a:r>
              <a:rPr sz="1100" spc="5">
                <a:latin typeface="Verdana"/>
                <a:cs typeface="Verdana"/>
              </a:rPr>
              <a:t>4</a:t>
            </a:r>
            <a:r>
              <a:rPr sz="1050" spc="7" baseline="27777">
                <a:latin typeface="Verdana"/>
                <a:cs typeface="Verdana"/>
              </a:rPr>
              <a:t>th </a:t>
            </a:r>
            <a:r>
              <a:rPr sz="1100" spc="-5">
                <a:latin typeface="Verdana"/>
                <a:cs typeface="Verdana"/>
              </a:rPr>
              <a:t>level  </a:t>
            </a:r>
            <a:r>
              <a:rPr sz="1100">
                <a:latin typeface="Verdana"/>
                <a:cs typeface="Verdana"/>
              </a:rPr>
              <a:t>support </a:t>
            </a:r>
            <a:r>
              <a:rPr sz="1100" spc="-5">
                <a:latin typeface="Verdana"/>
                <a:cs typeface="Verdana"/>
              </a:rPr>
              <a:t>(i.e. </a:t>
            </a:r>
            <a:r>
              <a:rPr sz="1100">
                <a:latin typeface="Verdana"/>
                <a:cs typeface="Verdana"/>
              </a:rPr>
              <a:t>SFDC</a:t>
            </a:r>
            <a:r>
              <a:rPr sz="1100" spc="-5">
                <a:latin typeface="Verdana"/>
                <a:cs typeface="Verdana"/>
              </a:rPr>
              <a:t>),Cooperate </a:t>
            </a:r>
            <a:r>
              <a:rPr sz="1100">
                <a:latin typeface="Verdana"/>
                <a:cs typeface="Verdana"/>
              </a:rPr>
              <a:t>on  </a:t>
            </a:r>
            <a:r>
              <a:rPr sz="1100" spc="-5">
                <a:latin typeface="Verdana"/>
                <a:cs typeface="Verdana"/>
              </a:rPr>
              <a:t>resolution provide  additional information as  required, </a:t>
            </a:r>
            <a:r>
              <a:rPr sz="1100">
                <a:latin typeface="Verdana"/>
                <a:cs typeface="Verdana"/>
              </a:rPr>
              <a:t>accept /  comment</a:t>
            </a:r>
            <a:r>
              <a:rPr sz="1100" spc="-5">
                <a:latin typeface="Verdana"/>
                <a:cs typeface="Verdana"/>
              </a:rPr>
              <a:t> solutions)</a:t>
            </a:r>
            <a:endParaRPr sz="1100">
              <a:latin typeface="Verdana"/>
              <a:cs typeface="Verdana"/>
            </a:endParaRPr>
          </a:p>
        </p:txBody>
      </p:sp>
      <p:sp>
        <p:nvSpPr>
          <p:cNvPr id="19" name="object 19"/>
          <p:cNvSpPr txBox="1"/>
          <p:nvPr/>
        </p:nvSpPr>
        <p:spPr>
          <a:xfrm>
            <a:off x="7384795" y="5659932"/>
            <a:ext cx="1978660" cy="720725"/>
          </a:xfrm>
          <a:prstGeom prst="rect">
            <a:avLst/>
          </a:prstGeom>
        </p:spPr>
        <p:txBody>
          <a:bodyPr vert="horz" wrap="square" lIns="0" tIns="24765" rIns="0" bIns="0" rtlCol="0">
            <a:spAutoFit/>
          </a:bodyPr>
          <a:lstStyle/>
          <a:p>
            <a:pPr marL="12700">
              <a:lnSpc>
                <a:spcPct val="100000"/>
              </a:lnSpc>
              <a:spcBef>
                <a:spcPts val="195"/>
              </a:spcBef>
            </a:pPr>
            <a:r>
              <a:rPr sz="1100" b="1" spc="-5">
                <a:latin typeface="Verdana"/>
                <a:cs typeface="Verdana"/>
              </a:rPr>
              <a:t>Typical </a:t>
            </a:r>
            <a:r>
              <a:rPr sz="1100" b="1">
                <a:latin typeface="Verdana"/>
                <a:cs typeface="Verdana"/>
              </a:rPr>
              <a:t>L3</a:t>
            </a:r>
            <a:r>
              <a:rPr sz="1100" b="1" spc="-20">
                <a:latin typeface="Verdana"/>
                <a:cs typeface="Verdana"/>
              </a:rPr>
              <a:t> </a:t>
            </a:r>
            <a:r>
              <a:rPr sz="1100" b="1">
                <a:latin typeface="Verdana"/>
                <a:cs typeface="Verdana"/>
              </a:rPr>
              <a:t>Incidents</a:t>
            </a:r>
            <a:endParaRPr sz="1100">
              <a:latin typeface="Verdana"/>
              <a:cs typeface="Verdana"/>
            </a:endParaRPr>
          </a:p>
          <a:p>
            <a:pPr marL="184785" marR="5080" indent="-172720">
              <a:lnSpc>
                <a:spcPct val="100000"/>
              </a:lnSpc>
              <a:spcBef>
                <a:spcPts val="95"/>
              </a:spcBef>
              <a:buClr>
                <a:srgbClr val="006FAC"/>
              </a:buClr>
              <a:buFont typeface="Wingdings"/>
              <a:buChar char=""/>
              <a:tabLst>
                <a:tab pos="185420" algn="l"/>
              </a:tabLst>
            </a:pPr>
            <a:r>
              <a:rPr sz="1100" spc="-5">
                <a:latin typeface="Verdana"/>
                <a:cs typeface="Verdana"/>
              </a:rPr>
              <a:t>Complex- business logic  </a:t>
            </a:r>
            <a:r>
              <a:rPr sz="1100">
                <a:latin typeface="Verdana"/>
                <a:cs typeface="Verdana"/>
              </a:rPr>
              <a:t>and </a:t>
            </a:r>
            <a:r>
              <a:rPr sz="1100" spc="-5">
                <a:latin typeface="Verdana"/>
                <a:cs typeface="Verdana"/>
              </a:rPr>
              <a:t>triggers </a:t>
            </a:r>
            <a:r>
              <a:rPr sz="1100">
                <a:latin typeface="Verdana"/>
                <a:cs typeface="Verdana"/>
              </a:rPr>
              <a:t>and  </a:t>
            </a:r>
            <a:r>
              <a:rPr sz="1100" spc="-5">
                <a:latin typeface="Verdana"/>
                <a:cs typeface="Verdana"/>
              </a:rPr>
              <a:t>integration related</a:t>
            </a:r>
            <a:r>
              <a:rPr sz="1100" spc="5">
                <a:latin typeface="Verdana"/>
                <a:cs typeface="Verdana"/>
              </a:rPr>
              <a:t> </a:t>
            </a:r>
            <a:r>
              <a:rPr sz="1100" spc="-5">
                <a:latin typeface="Verdana"/>
                <a:cs typeface="Verdana"/>
              </a:rPr>
              <a:t>issues</a:t>
            </a:r>
            <a:endParaRPr sz="1100">
              <a:latin typeface="Verdana"/>
              <a:cs typeface="Verdana"/>
            </a:endParaRPr>
          </a:p>
        </p:txBody>
      </p:sp>
      <p:sp>
        <p:nvSpPr>
          <p:cNvPr id="20" name="object 20"/>
          <p:cNvSpPr/>
          <p:nvPr/>
        </p:nvSpPr>
        <p:spPr>
          <a:xfrm>
            <a:off x="9659111" y="2209800"/>
            <a:ext cx="2289175" cy="4276725"/>
          </a:xfrm>
          <a:custGeom>
            <a:avLst/>
            <a:gdLst/>
            <a:ahLst/>
            <a:cxnLst/>
            <a:rect l="l" t="t" r="r" b="b"/>
            <a:pathLst>
              <a:path w="2289175" h="4276725">
                <a:moveTo>
                  <a:pt x="0" y="4276344"/>
                </a:moveTo>
                <a:lnTo>
                  <a:pt x="2289048" y="4276344"/>
                </a:lnTo>
                <a:lnTo>
                  <a:pt x="2289048" y="0"/>
                </a:lnTo>
                <a:lnTo>
                  <a:pt x="0" y="0"/>
                </a:lnTo>
                <a:lnTo>
                  <a:pt x="0" y="4276344"/>
                </a:lnTo>
                <a:close/>
              </a:path>
            </a:pathLst>
          </a:custGeom>
          <a:solidFill>
            <a:srgbClr val="F1F1F1"/>
          </a:solidFill>
        </p:spPr>
        <p:txBody>
          <a:bodyPr wrap="square" lIns="0" tIns="0" rIns="0" bIns="0" rtlCol="0"/>
          <a:lstStyle/>
          <a:p>
            <a:endParaRPr/>
          </a:p>
        </p:txBody>
      </p:sp>
      <p:sp>
        <p:nvSpPr>
          <p:cNvPr id="21" name="object 21"/>
          <p:cNvSpPr txBox="1"/>
          <p:nvPr/>
        </p:nvSpPr>
        <p:spPr>
          <a:xfrm>
            <a:off x="9738741" y="2241931"/>
            <a:ext cx="1865630" cy="696595"/>
          </a:xfrm>
          <a:prstGeom prst="rect">
            <a:avLst/>
          </a:prstGeom>
        </p:spPr>
        <p:txBody>
          <a:bodyPr vert="horz" wrap="square" lIns="0" tIns="13335" rIns="0" bIns="0" rtlCol="0">
            <a:spAutoFit/>
          </a:bodyPr>
          <a:lstStyle/>
          <a:p>
            <a:pPr marL="184785" marR="5080" indent="-172720">
              <a:lnSpc>
                <a:spcPct val="100000"/>
              </a:lnSpc>
              <a:spcBef>
                <a:spcPts val="105"/>
              </a:spcBef>
              <a:buClr>
                <a:srgbClr val="006FAC"/>
              </a:buClr>
              <a:buFont typeface="Wingdings"/>
              <a:buChar char=""/>
              <a:tabLst>
                <a:tab pos="185420" algn="l"/>
              </a:tabLst>
            </a:pPr>
            <a:r>
              <a:rPr sz="1100" spc="-5">
                <a:latin typeface="Verdana"/>
                <a:cs typeface="Verdana"/>
              </a:rPr>
              <a:t>Product </a:t>
            </a:r>
            <a:r>
              <a:rPr sz="1100">
                <a:latin typeface="Verdana"/>
                <a:cs typeface="Verdana"/>
              </a:rPr>
              <a:t>and </a:t>
            </a:r>
            <a:r>
              <a:rPr sz="1100" spc="-5">
                <a:latin typeface="Verdana"/>
                <a:cs typeface="Verdana"/>
              </a:rPr>
              <a:t>Platform  related issues to be  resolved by the Product  vendor</a:t>
            </a:r>
            <a:endParaRPr sz="1100">
              <a:latin typeface="Verdana"/>
              <a:cs typeface="Verdana"/>
            </a:endParaRPr>
          </a:p>
        </p:txBody>
      </p:sp>
      <p:sp>
        <p:nvSpPr>
          <p:cNvPr id="22" name="object 22"/>
          <p:cNvSpPr/>
          <p:nvPr/>
        </p:nvSpPr>
        <p:spPr>
          <a:xfrm>
            <a:off x="1648142" y="973836"/>
            <a:ext cx="786765" cy="708660"/>
          </a:xfrm>
          <a:custGeom>
            <a:avLst/>
            <a:gdLst/>
            <a:ahLst/>
            <a:cxnLst/>
            <a:rect l="l" t="t" r="r" b="b"/>
            <a:pathLst>
              <a:path w="786764" h="708660">
                <a:moveTo>
                  <a:pt x="541337" y="0"/>
                </a:moveTo>
                <a:lnTo>
                  <a:pt x="242633" y="0"/>
                </a:lnTo>
                <a:lnTo>
                  <a:pt x="219313" y="3881"/>
                </a:lnTo>
                <a:lnTo>
                  <a:pt x="175482" y="29360"/>
                </a:lnTo>
                <a:lnTo>
                  <a:pt x="11239" y="305815"/>
                </a:lnTo>
                <a:lnTo>
                  <a:pt x="0" y="354012"/>
                </a:lnTo>
                <a:lnTo>
                  <a:pt x="2809" y="378896"/>
                </a:lnTo>
                <a:lnTo>
                  <a:pt x="160591" y="658876"/>
                </a:lnTo>
                <a:lnTo>
                  <a:pt x="195992" y="694055"/>
                </a:lnTo>
                <a:lnTo>
                  <a:pt x="242633" y="708660"/>
                </a:lnTo>
                <a:lnTo>
                  <a:pt x="541337" y="708660"/>
                </a:lnTo>
                <a:lnTo>
                  <a:pt x="590200" y="694055"/>
                </a:lnTo>
                <a:lnTo>
                  <a:pt x="625919" y="658876"/>
                </a:lnTo>
                <a:lnTo>
                  <a:pt x="775271" y="400303"/>
                </a:lnTo>
                <a:lnTo>
                  <a:pt x="786510" y="354012"/>
                </a:lnTo>
                <a:lnTo>
                  <a:pt x="783701" y="328652"/>
                </a:lnTo>
                <a:lnTo>
                  <a:pt x="625919" y="47243"/>
                </a:lnTo>
                <a:lnTo>
                  <a:pt x="590200" y="14287"/>
                </a:lnTo>
                <a:lnTo>
                  <a:pt x="541337" y="0"/>
                </a:lnTo>
                <a:close/>
              </a:path>
            </a:pathLst>
          </a:custGeom>
          <a:solidFill>
            <a:srgbClr val="09556C"/>
          </a:solidFill>
        </p:spPr>
        <p:txBody>
          <a:bodyPr wrap="square" lIns="0" tIns="0" rIns="0" bIns="0" rtlCol="0"/>
          <a:lstStyle/>
          <a:p>
            <a:endParaRPr/>
          </a:p>
        </p:txBody>
      </p:sp>
      <p:sp>
        <p:nvSpPr>
          <p:cNvPr id="23" name="object 23"/>
          <p:cNvSpPr/>
          <p:nvPr/>
        </p:nvSpPr>
        <p:spPr>
          <a:xfrm>
            <a:off x="6366446" y="973836"/>
            <a:ext cx="786765" cy="708660"/>
          </a:xfrm>
          <a:custGeom>
            <a:avLst/>
            <a:gdLst/>
            <a:ahLst/>
            <a:cxnLst/>
            <a:rect l="l" t="t" r="r" b="b"/>
            <a:pathLst>
              <a:path w="786765" h="708660">
                <a:moveTo>
                  <a:pt x="541337" y="0"/>
                </a:moveTo>
                <a:lnTo>
                  <a:pt x="242633" y="0"/>
                </a:lnTo>
                <a:lnTo>
                  <a:pt x="219313" y="3881"/>
                </a:lnTo>
                <a:lnTo>
                  <a:pt x="175482" y="29360"/>
                </a:lnTo>
                <a:lnTo>
                  <a:pt x="11239" y="305815"/>
                </a:lnTo>
                <a:lnTo>
                  <a:pt x="0" y="354012"/>
                </a:lnTo>
                <a:lnTo>
                  <a:pt x="2809" y="378896"/>
                </a:lnTo>
                <a:lnTo>
                  <a:pt x="160591" y="658876"/>
                </a:lnTo>
                <a:lnTo>
                  <a:pt x="195992" y="694055"/>
                </a:lnTo>
                <a:lnTo>
                  <a:pt x="242633" y="708660"/>
                </a:lnTo>
                <a:lnTo>
                  <a:pt x="541337" y="708660"/>
                </a:lnTo>
                <a:lnTo>
                  <a:pt x="590200" y="694055"/>
                </a:lnTo>
                <a:lnTo>
                  <a:pt x="625919" y="658876"/>
                </a:lnTo>
                <a:lnTo>
                  <a:pt x="775271" y="400303"/>
                </a:lnTo>
                <a:lnTo>
                  <a:pt x="786510" y="354012"/>
                </a:lnTo>
                <a:lnTo>
                  <a:pt x="783701" y="328652"/>
                </a:lnTo>
                <a:lnTo>
                  <a:pt x="625919" y="47243"/>
                </a:lnTo>
                <a:lnTo>
                  <a:pt x="590200" y="14287"/>
                </a:lnTo>
                <a:lnTo>
                  <a:pt x="541337" y="0"/>
                </a:lnTo>
                <a:close/>
              </a:path>
            </a:pathLst>
          </a:custGeom>
          <a:solidFill>
            <a:srgbClr val="003856"/>
          </a:solidFill>
        </p:spPr>
        <p:txBody>
          <a:bodyPr wrap="square" lIns="0" tIns="0" rIns="0" bIns="0" rtlCol="0"/>
          <a:lstStyle/>
          <a:p>
            <a:endParaRPr/>
          </a:p>
        </p:txBody>
      </p:sp>
      <p:sp>
        <p:nvSpPr>
          <p:cNvPr id="24" name="object 24"/>
          <p:cNvSpPr/>
          <p:nvPr/>
        </p:nvSpPr>
        <p:spPr>
          <a:xfrm>
            <a:off x="8721026" y="973836"/>
            <a:ext cx="786765" cy="708660"/>
          </a:xfrm>
          <a:custGeom>
            <a:avLst/>
            <a:gdLst/>
            <a:ahLst/>
            <a:cxnLst/>
            <a:rect l="l" t="t" r="r" b="b"/>
            <a:pathLst>
              <a:path w="786765" h="708660">
                <a:moveTo>
                  <a:pt x="541337" y="0"/>
                </a:moveTo>
                <a:lnTo>
                  <a:pt x="242633" y="0"/>
                </a:lnTo>
                <a:lnTo>
                  <a:pt x="219313" y="3881"/>
                </a:lnTo>
                <a:lnTo>
                  <a:pt x="175482" y="29360"/>
                </a:lnTo>
                <a:lnTo>
                  <a:pt x="11239" y="305815"/>
                </a:lnTo>
                <a:lnTo>
                  <a:pt x="0" y="354012"/>
                </a:lnTo>
                <a:lnTo>
                  <a:pt x="2809" y="378896"/>
                </a:lnTo>
                <a:lnTo>
                  <a:pt x="160591" y="658876"/>
                </a:lnTo>
                <a:lnTo>
                  <a:pt x="195992" y="694055"/>
                </a:lnTo>
                <a:lnTo>
                  <a:pt x="242633" y="708660"/>
                </a:lnTo>
                <a:lnTo>
                  <a:pt x="541337" y="708660"/>
                </a:lnTo>
                <a:lnTo>
                  <a:pt x="590200" y="694055"/>
                </a:lnTo>
                <a:lnTo>
                  <a:pt x="625919" y="658876"/>
                </a:lnTo>
                <a:lnTo>
                  <a:pt x="775271" y="400303"/>
                </a:lnTo>
                <a:lnTo>
                  <a:pt x="786510" y="354012"/>
                </a:lnTo>
                <a:lnTo>
                  <a:pt x="783701" y="328652"/>
                </a:lnTo>
                <a:lnTo>
                  <a:pt x="625919" y="47243"/>
                </a:lnTo>
                <a:lnTo>
                  <a:pt x="590200" y="14287"/>
                </a:lnTo>
                <a:lnTo>
                  <a:pt x="541337" y="0"/>
                </a:lnTo>
                <a:close/>
              </a:path>
            </a:pathLst>
          </a:custGeom>
          <a:solidFill>
            <a:srgbClr val="2B133C"/>
          </a:solidFill>
        </p:spPr>
        <p:txBody>
          <a:bodyPr wrap="square" lIns="0" tIns="0" rIns="0" bIns="0" rtlCol="0"/>
          <a:lstStyle/>
          <a:p>
            <a:endParaRPr/>
          </a:p>
        </p:txBody>
      </p:sp>
      <p:sp>
        <p:nvSpPr>
          <p:cNvPr id="25" name="object 25"/>
          <p:cNvSpPr/>
          <p:nvPr/>
        </p:nvSpPr>
        <p:spPr>
          <a:xfrm>
            <a:off x="11075606" y="973836"/>
            <a:ext cx="786765" cy="708660"/>
          </a:xfrm>
          <a:custGeom>
            <a:avLst/>
            <a:gdLst/>
            <a:ahLst/>
            <a:cxnLst/>
            <a:rect l="l" t="t" r="r" b="b"/>
            <a:pathLst>
              <a:path w="786765" h="708660">
                <a:moveTo>
                  <a:pt x="541337" y="0"/>
                </a:moveTo>
                <a:lnTo>
                  <a:pt x="242633" y="0"/>
                </a:lnTo>
                <a:lnTo>
                  <a:pt x="219313" y="3881"/>
                </a:lnTo>
                <a:lnTo>
                  <a:pt x="175482" y="29360"/>
                </a:lnTo>
                <a:lnTo>
                  <a:pt x="11239" y="305815"/>
                </a:lnTo>
                <a:lnTo>
                  <a:pt x="0" y="354012"/>
                </a:lnTo>
                <a:lnTo>
                  <a:pt x="2809" y="378896"/>
                </a:lnTo>
                <a:lnTo>
                  <a:pt x="160591" y="658876"/>
                </a:lnTo>
                <a:lnTo>
                  <a:pt x="195992" y="694055"/>
                </a:lnTo>
                <a:lnTo>
                  <a:pt x="242633" y="708660"/>
                </a:lnTo>
                <a:lnTo>
                  <a:pt x="541337" y="708660"/>
                </a:lnTo>
                <a:lnTo>
                  <a:pt x="590200" y="694055"/>
                </a:lnTo>
                <a:lnTo>
                  <a:pt x="625919" y="658876"/>
                </a:lnTo>
                <a:lnTo>
                  <a:pt x="775271" y="400303"/>
                </a:lnTo>
                <a:lnTo>
                  <a:pt x="786511" y="354012"/>
                </a:lnTo>
                <a:lnTo>
                  <a:pt x="783701" y="328652"/>
                </a:lnTo>
                <a:lnTo>
                  <a:pt x="625919" y="47243"/>
                </a:lnTo>
                <a:lnTo>
                  <a:pt x="590200" y="14287"/>
                </a:lnTo>
                <a:lnTo>
                  <a:pt x="541337" y="0"/>
                </a:lnTo>
                <a:close/>
              </a:path>
            </a:pathLst>
          </a:custGeom>
          <a:solidFill>
            <a:srgbClr val="970013"/>
          </a:solidFill>
        </p:spPr>
        <p:txBody>
          <a:bodyPr wrap="square" lIns="0" tIns="0" rIns="0" bIns="0" rtlCol="0"/>
          <a:lstStyle/>
          <a:p>
            <a:endParaRPr/>
          </a:p>
        </p:txBody>
      </p:sp>
      <p:sp>
        <p:nvSpPr>
          <p:cNvPr id="26" name="object 26"/>
          <p:cNvSpPr/>
          <p:nvPr/>
        </p:nvSpPr>
        <p:spPr>
          <a:xfrm>
            <a:off x="1648142" y="920496"/>
            <a:ext cx="786765" cy="708660"/>
          </a:xfrm>
          <a:custGeom>
            <a:avLst/>
            <a:gdLst/>
            <a:ahLst/>
            <a:cxnLst/>
            <a:rect l="l" t="t" r="r" b="b"/>
            <a:pathLst>
              <a:path w="786764" h="708660">
                <a:moveTo>
                  <a:pt x="541337" y="0"/>
                </a:moveTo>
                <a:lnTo>
                  <a:pt x="242633" y="0"/>
                </a:lnTo>
                <a:lnTo>
                  <a:pt x="219313" y="3881"/>
                </a:lnTo>
                <a:lnTo>
                  <a:pt x="175482" y="29360"/>
                </a:lnTo>
                <a:lnTo>
                  <a:pt x="11239" y="305815"/>
                </a:lnTo>
                <a:lnTo>
                  <a:pt x="0" y="354012"/>
                </a:lnTo>
                <a:lnTo>
                  <a:pt x="2809" y="378896"/>
                </a:lnTo>
                <a:lnTo>
                  <a:pt x="160591" y="658876"/>
                </a:lnTo>
                <a:lnTo>
                  <a:pt x="195992" y="694054"/>
                </a:lnTo>
                <a:lnTo>
                  <a:pt x="242633" y="708659"/>
                </a:lnTo>
                <a:lnTo>
                  <a:pt x="541337" y="708659"/>
                </a:lnTo>
                <a:lnTo>
                  <a:pt x="590200" y="694054"/>
                </a:lnTo>
                <a:lnTo>
                  <a:pt x="625919" y="658876"/>
                </a:lnTo>
                <a:lnTo>
                  <a:pt x="775271" y="400303"/>
                </a:lnTo>
                <a:lnTo>
                  <a:pt x="786510" y="354012"/>
                </a:lnTo>
                <a:lnTo>
                  <a:pt x="783701" y="328652"/>
                </a:lnTo>
                <a:lnTo>
                  <a:pt x="625919" y="47243"/>
                </a:lnTo>
                <a:lnTo>
                  <a:pt x="590200" y="14287"/>
                </a:lnTo>
                <a:lnTo>
                  <a:pt x="541337" y="0"/>
                </a:lnTo>
                <a:close/>
              </a:path>
            </a:pathLst>
          </a:custGeom>
          <a:solidFill>
            <a:srgbClr val="FFFFFF"/>
          </a:solidFill>
        </p:spPr>
        <p:txBody>
          <a:bodyPr wrap="square" lIns="0" tIns="0" rIns="0" bIns="0" rtlCol="0"/>
          <a:lstStyle/>
          <a:p>
            <a:endParaRPr/>
          </a:p>
        </p:txBody>
      </p:sp>
      <p:sp>
        <p:nvSpPr>
          <p:cNvPr id="27" name="object 27"/>
          <p:cNvSpPr/>
          <p:nvPr/>
        </p:nvSpPr>
        <p:spPr>
          <a:xfrm>
            <a:off x="1648142" y="920496"/>
            <a:ext cx="786765" cy="708660"/>
          </a:xfrm>
          <a:custGeom>
            <a:avLst/>
            <a:gdLst/>
            <a:ahLst/>
            <a:cxnLst/>
            <a:rect l="l" t="t" r="r" b="b"/>
            <a:pathLst>
              <a:path w="786764" h="708660">
                <a:moveTo>
                  <a:pt x="625919" y="47243"/>
                </a:moveTo>
                <a:lnTo>
                  <a:pt x="610989" y="29360"/>
                </a:lnTo>
                <a:lnTo>
                  <a:pt x="590200" y="14287"/>
                </a:lnTo>
                <a:lnTo>
                  <a:pt x="566126" y="3881"/>
                </a:lnTo>
                <a:lnTo>
                  <a:pt x="541337" y="0"/>
                </a:lnTo>
                <a:lnTo>
                  <a:pt x="368649" y="0"/>
                </a:lnTo>
                <a:lnTo>
                  <a:pt x="279971" y="0"/>
                </a:lnTo>
                <a:lnTo>
                  <a:pt x="247300" y="0"/>
                </a:lnTo>
                <a:lnTo>
                  <a:pt x="242633" y="0"/>
                </a:lnTo>
                <a:lnTo>
                  <a:pt x="219313" y="3881"/>
                </a:lnTo>
                <a:lnTo>
                  <a:pt x="195992" y="14287"/>
                </a:lnTo>
                <a:lnTo>
                  <a:pt x="175482" y="29360"/>
                </a:lnTo>
                <a:lnTo>
                  <a:pt x="160591" y="47243"/>
                </a:lnTo>
                <a:lnTo>
                  <a:pt x="74247" y="196730"/>
                </a:lnTo>
                <a:lnTo>
                  <a:pt x="29908" y="273494"/>
                </a:lnTo>
                <a:lnTo>
                  <a:pt x="13573" y="301775"/>
                </a:lnTo>
                <a:lnTo>
                  <a:pt x="11239" y="305815"/>
                </a:lnTo>
                <a:lnTo>
                  <a:pt x="2809" y="328652"/>
                </a:lnTo>
                <a:lnTo>
                  <a:pt x="0" y="354012"/>
                </a:lnTo>
                <a:lnTo>
                  <a:pt x="2809" y="378896"/>
                </a:lnTo>
                <a:lnTo>
                  <a:pt x="11239" y="400303"/>
                </a:lnTo>
                <a:lnTo>
                  <a:pt x="97583" y="549790"/>
                </a:lnTo>
                <a:lnTo>
                  <a:pt x="141922" y="626554"/>
                </a:lnTo>
                <a:lnTo>
                  <a:pt x="158257" y="654835"/>
                </a:lnTo>
                <a:lnTo>
                  <a:pt x="195992" y="694054"/>
                </a:lnTo>
                <a:lnTo>
                  <a:pt x="242633" y="708659"/>
                </a:lnTo>
                <a:lnTo>
                  <a:pt x="415321" y="708659"/>
                </a:lnTo>
                <a:lnTo>
                  <a:pt x="503999" y="708659"/>
                </a:lnTo>
                <a:lnTo>
                  <a:pt x="536670" y="708659"/>
                </a:lnTo>
                <a:lnTo>
                  <a:pt x="541337" y="708659"/>
                </a:lnTo>
                <a:lnTo>
                  <a:pt x="566126" y="704738"/>
                </a:lnTo>
                <a:lnTo>
                  <a:pt x="590200" y="694054"/>
                </a:lnTo>
                <a:lnTo>
                  <a:pt x="610989" y="678227"/>
                </a:lnTo>
                <a:lnTo>
                  <a:pt x="625919" y="658876"/>
                </a:lnTo>
                <a:lnTo>
                  <a:pt x="712263" y="509389"/>
                </a:lnTo>
                <a:lnTo>
                  <a:pt x="756602" y="432625"/>
                </a:lnTo>
                <a:lnTo>
                  <a:pt x="772937" y="404344"/>
                </a:lnTo>
                <a:lnTo>
                  <a:pt x="775271" y="400303"/>
                </a:lnTo>
                <a:lnTo>
                  <a:pt x="783701" y="378896"/>
                </a:lnTo>
                <a:lnTo>
                  <a:pt x="786510" y="354012"/>
                </a:lnTo>
                <a:lnTo>
                  <a:pt x="783701" y="328652"/>
                </a:lnTo>
                <a:lnTo>
                  <a:pt x="775271" y="305815"/>
                </a:lnTo>
                <a:lnTo>
                  <a:pt x="625919" y="47243"/>
                </a:lnTo>
                <a:close/>
              </a:path>
            </a:pathLst>
          </a:custGeom>
          <a:ln w="9144">
            <a:solidFill>
              <a:srgbClr val="12ABDB"/>
            </a:solidFill>
          </a:ln>
        </p:spPr>
        <p:txBody>
          <a:bodyPr wrap="square" lIns="0" tIns="0" rIns="0" bIns="0" rtlCol="0"/>
          <a:lstStyle/>
          <a:p>
            <a:endParaRPr/>
          </a:p>
        </p:txBody>
      </p:sp>
      <p:sp>
        <p:nvSpPr>
          <p:cNvPr id="28" name="object 28"/>
          <p:cNvSpPr/>
          <p:nvPr/>
        </p:nvSpPr>
        <p:spPr>
          <a:xfrm>
            <a:off x="6366446" y="920496"/>
            <a:ext cx="786765" cy="708660"/>
          </a:xfrm>
          <a:custGeom>
            <a:avLst/>
            <a:gdLst/>
            <a:ahLst/>
            <a:cxnLst/>
            <a:rect l="l" t="t" r="r" b="b"/>
            <a:pathLst>
              <a:path w="786765" h="708660">
                <a:moveTo>
                  <a:pt x="541337" y="0"/>
                </a:moveTo>
                <a:lnTo>
                  <a:pt x="242633" y="0"/>
                </a:lnTo>
                <a:lnTo>
                  <a:pt x="219313" y="3881"/>
                </a:lnTo>
                <a:lnTo>
                  <a:pt x="175482" y="29360"/>
                </a:lnTo>
                <a:lnTo>
                  <a:pt x="11239" y="305815"/>
                </a:lnTo>
                <a:lnTo>
                  <a:pt x="0" y="354012"/>
                </a:lnTo>
                <a:lnTo>
                  <a:pt x="2809" y="378896"/>
                </a:lnTo>
                <a:lnTo>
                  <a:pt x="160591" y="658876"/>
                </a:lnTo>
                <a:lnTo>
                  <a:pt x="195992" y="694054"/>
                </a:lnTo>
                <a:lnTo>
                  <a:pt x="242633" y="708659"/>
                </a:lnTo>
                <a:lnTo>
                  <a:pt x="541337" y="708659"/>
                </a:lnTo>
                <a:lnTo>
                  <a:pt x="590200" y="694054"/>
                </a:lnTo>
                <a:lnTo>
                  <a:pt x="625919" y="658876"/>
                </a:lnTo>
                <a:lnTo>
                  <a:pt x="775271" y="400303"/>
                </a:lnTo>
                <a:lnTo>
                  <a:pt x="786510" y="354012"/>
                </a:lnTo>
                <a:lnTo>
                  <a:pt x="783701" y="328652"/>
                </a:lnTo>
                <a:lnTo>
                  <a:pt x="625919" y="47243"/>
                </a:lnTo>
                <a:lnTo>
                  <a:pt x="590200" y="14287"/>
                </a:lnTo>
                <a:lnTo>
                  <a:pt x="541337" y="0"/>
                </a:lnTo>
                <a:close/>
              </a:path>
            </a:pathLst>
          </a:custGeom>
          <a:solidFill>
            <a:srgbClr val="FFFFFF"/>
          </a:solidFill>
        </p:spPr>
        <p:txBody>
          <a:bodyPr wrap="square" lIns="0" tIns="0" rIns="0" bIns="0" rtlCol="0"/>
          <a:lstStyle/>
          <a:p>
            <a:endParaRPr/>
          </a:p>
        </p:txBody>
      </p:sp>
      <p:sp>
        <p:nvSpPr>
          <p:cNvPr id="29" name="object 29"/>
          <p:cNvSpPr/>
          <p:nvPr/>
        </p:nvSpPr>
        <p:spPr>
          <a:xfrm>
            <a:off x="6366446" y="920496"/>
            <a:ext cx="786765" cy="708660"/>
          </a:xfrm>
          <a:custGeom>
            <a:avLst/>
            <a:gdLst/>
            <a:ahLst/>
            <a:cxnLst/>
            <a:rect l="l" t="t" r="r" b="b"/>
            <a:pathLst>
              <a:path w="786765" h="708660">
                <a:moveTo>
                  <a:pt x="625919" y="47243"/>
                </a:moveTo>
                <a:lnTo>
                  <a:pt x="610989" y="29360"/>
                </a:lnTo>
                <a:lnTo>
                  <a:pt x="590200" y="14287"/>
                </a:lnTo>
                <a:lnTo>
                  <a:pt x="566126" y="3881"/>
                </a:lnTo>
                <a:lnTo>
                  <a:pt x="541337" y="0"/>
                </a:lnTo>
                <a:lnTo>
                  <a:pt x="368649" y="0"/>
                </a:lnTo>
                <a:lnTo>
                  <a:pt x="279971" y="0"/>
                </a:lnTo>
                <a:lnTo>
                  <a:pt x="247300" y="0"/>
                </a:lnTo>
                <a:lnTo>
                  <a:pt x="242633" y="0"/>
                </a:lnTo>
                <a:lnTo>
                  <a:pt x="219313" y="3881"/>
                </a:lnTo>
                <a:lnTo>
                  <a:pt x="195992" y="14287"/>
                </a:lnTo>
                <a:lnTo>
                  <a:pt x="175482" y="29360"/>
                </a:lnTo>
                <a:lnTo>
                  <a:pt x="160591" y="47243"/>
                </a:lnTo>
                <a:lnTo>
                  <a:pt x="74247" y="196730"/>
                </a:lnTo>
                <a:lnTo>
                  <a:pt x="29908" y="273494"/>
                </a:lnTo>
                <a:lnTo>
                  <a:pt x="13573" y="301775"/>
                </a:lnTo>
                <a:lnTo>
                  <a:pt x="11239" y="305815"/>
                </a:lnTo>
                <a:lnTo>
                  <a:pt x="2809" y="328652"/>
                </a:lnTo>
                <a:lnTo>
                  <a:pt x="0" y="354012"/>
                </a:lnTo>
                <a:lnTo>
                  <a:pt x="2809" y="378896"/>
                </a:lnTo>
                <a:lnTo>
                  <a:pt x="11239" y="400303"/>
                </a:lnTo>
                <a:lnTo>
                  <a:pt x="97583" y="549790"/>
                </a:lnTo>
                <a:lnTo>
                  <a:pt x="141922" y="626554"/>
                </a:lnTo>
                <a:lnTo>
                  <a:pt x="158257" y="654835"/>
                </a:lnTo>
                <a:lnTo>
                  <a:pt x="160591" y="658876"/>
                </a:lnTo>
                <a:lnTo>
                  <a:pt x="175482" y="678227"/>
                </a:lnTo>
                <a:lnTo>
                  <a:pt x="195992" y="694054"/>
                </a:lnTo>
                <a:lnTo>
                  <a:pt x="219313" y="704738"/>
                </a:lnTo>
                <a:lnTo>
                  <a:pt x="242633" y="708659"/>
                </a:lnTo>
                <a:lnTo>
                  <a:pt x="415321" y="708659"/>
                </a:lnTo>
                <a:lnTo>
                  <a:pt x="503999" y="708659"/>
                </a:lnTo>
                <a:lnTo>
                  <a:pt x="536670" y="708659"/>
                </a:lnTo>
                <a:lnTo>
                  <a:pt x="541337" y="708659"/>
                </a:lnTo>
                <a:lnTo>
                  <a:pt x="566126" y="704738"/>
                </a:lnTo>
                <a:lnTo>
                  <a:pt x="590200" y="694054"/>
                </a:lnTo>
                <a:lnTo>
                  <a:pt x="610989" y="678227"/>
                </a:lnTo>
                <a:lnTo>
                  <a:pt x="625919" y="658876"/>
                </a:lnTo>
                <a:lnTo>
                  <a:pt x="712263" y="509389"/>
                </a:lnTo>
                <a:lnTo>
                  <a:pt x="756602" y="432625"/>
                </a:lnTo>
                <a:lnTo>
                  <a:pt x="772937" y="404344"/>
                </a:lnTo>
                <a:lnTo>
                  <a:pt x="775271" y="400303"/>
                </a:lnTo>
                <a:lnTo>
                  <a:pt x="783701" y="378896"/>
                </a:lnTo>
                <a:lnTo>
                  <a:pt x="786510" y="354012"/>
                </a:lnTo>
                <a:lnTo>
                  <a:pt x="783701" y="328652"/>
                </a:lnTo>
                <a:lnTo>
                  <a:pt x="775271" y="305815"/>
                </a:lnTo>
                <a:lnTo>
                  <a:pt x="625919" y="47243"/>
                </a:lnTo>
                <a:close/>
              </a:path>
            </a:pathLst>
          </a:custGeom>
          <a:ln w="9144">
            <a:solidFill>
              <a:srgbClr val="006FAC"/>
            </a:solidFill>
          </a:ln>
        </p:spPr>
        <p:txBody>
          <a:bodyPr wrap="square" lIns="0" tIns="0" rIns="0" bIns="0" rtlCol="0"/>
          <a:lstStyle/>
          <a:p>
            <a:endParaRPr/>
          </a:p>
        </p:txBody>
      </p:sp>
      <p:sp>
        <p:nvSpPr>
          <p:cNvPr id="30" name="object 30"/>
          <p:cNvSpPr/>
          <p:nvPr/>
        </p:nvSpPr>
        <p:spPr>
          <a:xfrm>
            <a:off x="8721026" y="920496"/>
            <a:ext cx="786765" cy="708660"/>
          </a:xfrm>
          <a:custGeom>
            <a:avLst/>
            <a:gdLst/>
            <a:ahLst/>
            <a:cxnLst/>
            <a:rect l="l" t="t" r="r" b="b"/>
            <a:pathLst>
              <a:path w="786765" h="708660">
                <a:moveTo>
                  <a:pt x="541337" y="0"/>
                </a:moveTo>
                <a:lnTo>
                  <a:pt x="242633" y="0"/>
                </a:lnTo>
                <a:lnTo>
                  <a:pt x="219313" y="3881"/>
                </a:lnTo>
                <a:lnTo>
                  <a:pt x="175482" y="29360"/>
                </a:lnTo>
                <a:lnTo>
                  <a:pt x="11239" y="305815"/>
                </a:lnTo>
                <a:lnTo>
                  <a:pt x="0" y="354012"/>
                </a:lnTo>
                <a:lnTo>
                  <a:pt x="2809" y="378896"/>
                </a:lnTo>
                <a:lnTo>
                  <a:pt x="160591" y="658876"/>
                </a:lnTo>
                <a:lnTo>
                  <a:pt x="195992" y="694054"/>
                </a:lnTo>
                <a:lnTo>
                  <a:pt x="242633" y="708659"/>
                </a:lnTo>
                <a:lnTo>
                  <a:pt x="541337" y="708659"/>
                </a:lnTo>
                <a:lnTo>
                  <a:pt x="590200" y="694054"/>
                </a:lnTo>
                <a:lnTo>
                  <a:pt x="625919" y="658876"/>
                </a:lnTo>
                <a:lnTo>
                  <a:pt x="775271" y="400303"/>
                </a:lnTo>
                <a:lnTo>
                  <a:pt x="786510" y="354012"/>
                </a:lnTo>
                <a:lnTo>
                  <a:pt x="783701" y="328652"/>
                </a:lnTo>
                <a:lnTo>
                  <a:pt x="625919" y="47243"/>
                </a:lnTo>
                <a:lnTo>
                  <a:pt x="590200" y="14287"/>
                </a:lnTo>
                <a:lnTo>
                  <a:pt x="541337" y="0"/>
                </a:lnTo>
                <a:close/>
              </a:path>
            </a:pathLst>
          </a:custGeom>
          <a:solidFill>
            <a:srgbClr val="FFFFFF"/>
          </a:solidFill>
        </p:spPr>
        <p:txBody>
          <a:bodyPr wrap="square" lIns="0" tIns="0" rIns="0" bIns="0" rtlCol="0"/>
          <a:lstStyle/>
          <a:p>
            <a:endParaRPr/>
          </a:p>
        </p:txBody>
      </p:sp>
      <p:sp>
        <p:nvSpPr>
          <p:cNvPr id="31" name="object 31"/>
          <p:cNvSpPr/>
          <p:nvPr/>
        </p:nvSpPr>
        <p:spPr>
          <a:xfrm>
            <a:off x="8721026" y="920496"/>
            <a:ext cx="786765" cy="708660"/>
          </a:xfrm>
          <a:custGeom>
            <a:avLst/>
            <a:gdLst/>
            <a:ahLst/>
            <a:cxnLst/>
            <a:rect l="l" t="t" r="r" b="b"/>
            <a:pathLst>
              <a:path w="786765" h="708660">
                <a:moveTo>
                  <a:pt x="625919" y="47243"/>
                </a:moveTo>
                <a:lnTo>
                  <a:pt x="610989" y="29360"/>
                </a:lnTo>
                <a:lnTo>
                  <a:pt x="590200" y="14287"/>
                </a:lnTo>
                <a:lnTo>
                  <a:pt x="566126" y="3881"/>
                </a:lnTo>
                <a:lnTo>
                  <a:pt x="541337" y="0"/>
                </a:lnTo>
                <a:lnTo>
                  <a:pt x="368649" y="0"/>
                </a:lnTo>
                <a:lnTo>
                  <a:pt x="279971" y="0"/>
                </a:lnTo>
                <a:lnTo>
                  <a:pt x="247300" y="0"/>
                </a:lnTo>
                <a:lnTo>
                  <a:pt x="242633" y="0"/>
                </a:lnTo>
                <a:lnTo>
                  <a:pt x="219313" y="3881"/>
                </a:lnTo>
                <a:lnTo>
                  <a:pt x="195992" y="14287"/>
                </a:lnTo>
                <a:lnTo>
                  <a:pt x="175482" y="29360"/>
                </a:lnTo>
                <a:lnTo>
                  <a:pt x="160591" y="47243"/>
                </a:lnTo>
                <a:lnTo>
                  <a:pt x="74247" y="196730"/>
                </a:lnTo>
                <a:lnTo>
                  <a:pt x="29908" y="273494"/>
                </a:lnTo>
                <a:lnTo>
                  <a:pt x="13573" y="301775"/>
                </a:lnTo>
                <a:lnTo>
                  <a:pt x="11239" y="305815"/>
                </a:lnTo>
                <a:lnTo>
                  <a:pt x="2809" y="328652"/>
                </a:lnTo>
                <a:lnTo>
                  <a:pt x="0" y="354012"/>
                </a:lnTo>
                <a:lnTo>
                  <a:pt x="2809" y="378896"/>
                </a:lnTo>
                <a:lnTo>
                  <a:pt x="11239" y="400303"/>
                </a:lnTo>
                <a:lnTo>
                  <a:pt x="97583" y="549790"/>
                </a:lnTo>
                <a:lnTo>
                  <a:pt x="141922" y="626554"/>
                </a:lnTo>
                <a:lnTo>
                  <a:pt x="158257" y="654835"/>
                </a:lnTo>
                <a:lnTo>
                  <a:pt x="195992" y="694054"/>
                </a:lnTo>
                <a:lnTo>
                  <a:pt x="242633" y="708659"/>
                </a:lnTo>
                <a:lnTo>
                  <a:pt x="415321" y="708659"/>
                </a:lnTo>
                <a:lnTo>
                  <a:pt x="503999" y="708659"/>
                </a:lnTo>
                <a:lnTo>
                  <a:pt x="536670" y="708659"/>
                </a:lnTo>
                <a:lnTo>
                  <a:pt x="541337" y="708659"/>
                </a:lnTo>
                <a:lnTo>
                  <a:pt x="566126" y="704738"/>
                </a:lnTo>
                <a:lnTo>
                  <a:pt x="590200" y="694054"/>
                </a:lnTo>
                <a:lnTo>
                  <a:pt x="610989" y="678227"/>
                </a:lnTo>
                <a:lnTo>
                  <a:pt x="625919" y="658876"/>
                </a:lnTo>
                <a:lnTo>
                  <a:pt x="712263" y="509389"/>
                </a:lnTo>
                <a:lnTo>
                  <a:pt x="756602" y="432625"/>
                </a:lnTo>
                <a:lnTo>
                  <a:pt x="772937" y="404344"/>
                </a:lnTo>
                <a:lnTo>
                  <a:pt x="775271" y="400303"/>
                </a:lnTo>
                <a:lnTo>
                  <a:pt x="783701" y="378896"/>
                </a:lnTo>
                <a:lnTo>
                  <a:pt x="786510" y="354012"/>
                </a:lnTo>
                <a:lnTo>
                  <a:pt x="783701" y="328652"/>
                </a:lnTo>
                <a:lnTo>
                  <a:pt x="775271" y="305815"/>
                </a:lnTo>
                <a:lnTo>
                  <a:pt x="625919" y="47243"/>
                </a:lnTo>
                <a:close/>
              </a:path>
            </a:pathLst>
          </a:custGeom>
          <a:ln w="9144">
            <a:solidFill>
              <a:srgbClr val="421F5D"/>
            </a:solidFill>
          </a:ln>
        </p:spPr>
        <p:txBody>
          <a:bodyPr wrap="square" lIns="0" tIns="0" rIns="0" bIns="0" rtlCol="0"/>
          <a:lstStyle/>
          <a:p>
            <a:endParaRPr/>
          </a:p>
        </p:txBody>
      </p:sp>
      <p:sp>
        <p:nvSpPr>
          <p:cNvPr id="32" name="object 32"/>
          <p:cNvSpPr/>
          <p:nvPr/>
        </p:nvSpPr>
        <p:spPr>
          <a:xfrm>
            <a:off x="11075606" y="920496"/>
            <a:ext cx="786765" cy="708660"/>
          </a:xfrm>
          <a:custGeom>
            <a:avLst/>
            <a:gdLst/>
            <a:ahLst/>
            <a:cxnLst/>
            <a:rect l="l" t="t" r="r" b="b"/>
            <a:pathLst>
              <a:path w="786765" h="708660">
                <a:moveTo>
                  <a:pt x="541337" y="0"/>
                </a:moveTo>
                <a:lnTo>
                  <a:pt x="242633" y="0"/>
                </a:lnTo>
                <a:lnTo>
                  <a:pt x="219313" y="3881"/>
                </a:lnTo>
                <a:lnTo>
                  <a:pt x="175482" y="29360"/>
                </a:lnTo>
                <a:lnTo>
                  <a:pt x="11239" y="305815"/>
                </a:lnTo>
                <a:lnTo>
                  <a:pt x="0" y="354012"/>
                </a:lnTo>
                <a:lnTo>
                  <a:pt x="2809" y="378896"/>
                </a:lnTo>
                <a:lnTo>
                  <a:pt x="160591" y="658876"/>
                </a:lnTo>
                <a:lnTo>
                  <a:pt x="195992" y="694054"/>
                </a:lnTo>
                <a:lnTo>
                  <a:pt x="242633" y="708659"/>
                </a:lnTo>
                <a:lnTo>
                  <a:pt x="541337" y="708659"/>
                </a:lnTo>
                <a:lnTo>
                  <a:pt x="590200" y="694054"/>
                </a:lnTo>
                <a:lnTo>
                  <a:pt x="625919" y="658876"/>
                </a:lnTo>
                <a:lnTo>
                  <a:pt x="775271" y="400303"/>
                </a:lnTo>
                <a:lnTo>
                  <a:pt x="786511" y="354012"/>
                </a:lnTo>
                <a:lnTo>
                  <a:pt x="783701" y="328652"/>
                </a:lnTo>
                <a:lnTo>
                  <a:pt x="625919" y="47243"/>
                </a:lnTo>
                <a:lnTo>
                  <a:pt x="590200" y="14287"/>
                </a:lnTo>
                <a:lnTo>
                  <a:pt x="541337" y="0"/>
                </a:lnTo>
                <a:close/>
              </a:path>
            </a:pathLst>
          </a:custGeom>
          <a:solidFill>
            <a:srgbClr val="FFFFFF"/>
          </a:solidFill>
        </p:spPr>
        <p:txBody>
          <a:bodyPr wrap="square" lIns="0" tIns="0" rIns="0" bIns="0" rtlCol="0"/>
          <a:lstStyle/>
          <a:p>
            <a:endParaRPr/>
          </a:p>
        </p:txBody>
      </p:sp>
      <p:sp>
        <p:nvSpPr>
          <p:cNvPr id="33" name="object 33"/>
          <p:cNvSpPr/>
          <p:nvPr/>
        </p:nvSpPr>
        <p:spPr>
          <a:xfrm>
            <a:off x="11075606" y="920496"/>
            <a:ext cx="786765" cy="708660"/>
          </a:xfrm>
          <a:custGeom>
            <a:avLst/>
            <a:gdLst/>
            <a:ahLst/>
            <a:cxnLst/>
            <a:rect l="l" t="t" r="r" b="b"/>
            <a:pathLst>
              <a:path w="786765" h="708660">
                <a:moveTo>
                  <a:pt x="625919" y="47243"/>
                </a:moveTo>
                <a:lnTo>
                  <a:pt x="610989" y="29360"/>
                </a:lnTo>
                <a:lnTo>
                  <a:pt x="590200" y="14287"/>
                </a:lnTo>
                <a:lnTo>
                  <a:pt x="566126" y="3881"/>
                </a:lnTo>
                <a:lnTo>
                  <a:pt x="541337" y="0"/>
                </a:lnTo>
                <a:lnTo>
                  <a:pt x="368649" y="0"/>
                </a:lnTo>
                <a:lnTo>
                  <a:pt x="279971" y="0"/>
                </a:lnTo>
                <a:lnTo>
                  <a:pt x="247300" y="0"/>
                </a:lnTo>
                <a:lnTo>
                  <a:pt x="242633" y="0"/>
                </a:lnTo>
                <a:lnTo>
                  <a:pt x="219313" y="3881"/>
                </a:lnTo>
                <a:lnTo>
                  <a:pt x="195992" y="14287"/>
                </a:lnTo>
                <a:lnTo>
                  <a:pt x="175482" y="29360"/>
                </a:lnTo>
                <a:lnTo>
                  <a:pt x="160591" y="47243"/>
                </a:lnTo>
                <a:lnTo>
                  <a:pt x="74247" y="196730"/>
                </a:lnTo>
                <a:lnTo>
                  <a:pt x="29908" y="273494"/>
                </a:lnTo>
                <a:lnTo>
                  <a:pt x="13573" y="301775"/>
                </a:lnTo>
                <a:lnTo>
                  <a:pt x="11239" y="305815"/>
                </a:lnTo>
                <a:lnTo>
                  <a:pt x="2809" y="328652"/>
                </a:lnTo>
                <a:lnTo>
                  <a:pt x="0" y="354012"/>
                </a:lnTo>
                <a:lnTo>
                  <a:pt x="2809" y="378896"/>
                </a:lnTo>
                <a:lnTo>
                  <a:pt x="11239" y="400303"/>
                </a:lnTo>
                <a:lnTo>
                  <a:pt x="97583" y="549790"/>
                </a:lnTo>
                <a:lnTo>
                  <a:pt x="141922" y="626554"/>
                </a:lnTo>
                <a:lnTo>
                  <a:pt x="158257" y="654835"/>
                </a:lnTo>
                <a:lnTo>
                  <a:pt x="195992" y="694054"/>
                </a:lnTo>
                <a:lnTo>
                  <a:pt x="242633" y="708659"/>
                </a:lnTo>
                <a:lnTo>
                  <a:pt x="415321" y="708659"/>
                </a:lnTo>
                <a:lnTo>
                  <a:pt x="503999" y="708659"/>
                </a:lnTo>
                <a:lnTo>
                  <a:pt x="536670" y="708659"/>
                </a:lnTo>
                <a:lnTo>
                  <a:pt x="541337" y="708659"/>
                </a:lnTo>
                <a:lnTo>
                  <a:pt x="566126" y="704738"/>
                </a:lnTo>
                <a:lnTo>
                  <a:pt x="590200" y="694054"/>
                </a:lnTo>
                <a:lnTo>
                  <a:pt x="610989" y="678227"/>
                </a:lnTo>
                <a:lnTo>
                  <a:pt x="625919" y="658876"/>
                </a:lnTo>
                <a:lnTo>
                  <a:pt x="712263" y="509389"/>
                </a:lnTo>
                <a:lnTo>
                  <a:pt x="756602" y="432625"/>
                </a:lnTo>
                <a:lnTo>
                  <a:pt x="772937" y="404344"/>
                </a:lnTo>
                <a:lnTo>
                  <a:pt x="775271" y="400303"/>
                </a:lnTo>
                <a:lnTo>
                  <a:pt x="783701" y="378896"/>
                </a:lnTo>
                <a:lnTo>
                  <a:pt x="786511" y="354012"/>
                </a:lnTo>
                <a:lnTo>
                  <a:pt x="783701" y="328652"/>
                </a:lnTo>
                <a:lnTo>
                  <a:pt x="775271" y="305815"/>
                </a:lnTo>
                <a:lnTo>
                  <a:pt x="625919" y="47243"/>
                </a:lnTo>
                <a:close/>
              </a:path>
            </a:pathLst>
          </a:custGeom>
          <a:ln w="9143">
            <a:solidFill>
              <a:srgbClr val="D22138"/>
            </a:solidFill>
          </a:ln>
        </p:spPr>
        <p:txBody>
          <a:bodyPr wrap="square" lIns="0" tIns="0" rIns="0" bIns="0" rtlCol="0"/>
          <a:lstStyle/>
          <a:p>
            <a:endParaRPr/>
          </a:p>
        </p:txBody>
      </p:sp>
      <p:sp>
        <p:nvSpPr>
          <p:cNvPr id="34" name="object 34"/>
          <p:cNvSpPr/>
          <p:nvPr/>
        </p:nvSpPr>
        <p:spPr>
          <a:xfrm>
            <a:off x="8398872" y="999434"/>
            <a:ext cx="293914" cy="284083"/>
          </a:xfrm>
          <a:prstGeom prst="rect">
            <a:avLst/>
          </a:prstGeom>
          <a:blipFill>
            <a:blip r:embed="rId2" cstate="print"/>
            <a:stretch>
              <a:fillRect/>
            </a:stretch>
          </a:blipFill>
        </p:spPr>
        <p:txBody>
          <a:bodyPr wrap="square" lIns="0" tIns="0" rIns="0" bIns="0" rtlCol="0"/>
          <a:lstStyle/>
          <a:p>
            <a:endParaRPr/>
          </a:p>
        </p:txBody>
      </p:sp>
      <p:sp>
        <p:nvSpPr>
          <p:cNvPr id="35" name="object 35"/>
          <p:cNvSpPr/>
          <p:nvPr/>
        </p:nvSpPr>
        <p:spPr>
          <a:xfrm>
            <a:off x="6044292" y="999434"/>
            <a:ext cx="293914" cy="284083"/>
          </a:xfrm>
          <a:prstGeom prst="rect">
            <a:avLst/>
          </a:prstGeom>
          <a:blipFill>
            <a:blip r:embed="rId2" cstate="print"/>
            <a:stretch>
              <a:fillRect/>
            </a:stretch>
          </a:blipFill>
        </p:spPr>
        <p:txBody>
          <a:bodyPr wrap="square" lIns="0" tIns="0" rIns="0" bIns="0" rtlCol="0"/>
          <a:lstStyle/>
          <a:p>
            <a:endParaRPr/>
          </a:p>
        </p:txBody>
      </p:sp>
      <p:sp>
        <p:nvSpPr>
          <p:cNvPr id="36" name="object 36"/>
          <p:cNvSpPr/>
          <p:nvPr/>
        </p:nvSpPr>
        <p:spPr>
          <a:xfrm>
            <a:off x="1847088" y="1060958"/>
            <a:ext cx="390525" cy="427990"/>
          </a:xfrm>
          <a:custGeom>
            <a:avLst/>
            <a:gdLst/>
            <a:ahLst/>
            <a:cxnLst/>
            <a:rect l="l" t="t" r="r" b="b"/>
            <a:pathLst>
              <a:path w="390525" h="427990">
                <a:moveTo>
                  <a:pt x="114935" y="267969"/>
                </a:moveTo>
                <a:lnTo>
                  <a:pt x="46481" y="300989"/>
                </a:lnTo>
                <a:lnTo>
                  <a:pt x="41401" y="304800"/>
                </a:lnTo>
                <a:lnTo>
                  <a:pt x="36194" y="307339"/>
                </a:lnTo>
                <a:lnTo>
                  <a:pt x="9017" y="340360"/>
                </a:lnTo>
                <a:lnTo>
                  <a:pt x="0" y="367029"/>
                </a:lnTo>
                <a:lnTo>
                  <a:pt x="0" y="427989"/>
                </a:lnTo>
                <a:lnTo>
                  <a:pt x="390144" y="427989"/>
                </a:lnTo>
                <a:lnTo>
                  <a:pt x="390144" y="367029"/>
                </a:lnTo>
                <a:lnTo>
                  <a:pt x="388874" y="361950"/>
                </a:lnTo>
                <a:lnTo>
                  <a:pt x="388366" y="359410"/>
                </a:lnTo>
                <a:lnTo>
                  <a:pt x="158876" y="359410"/>
                </a:lnTo>
                <a:lnTo>
                  <a:pt x="114935" y="267969"/>
                </a:lnTo>
                <a:close/>
              </a:path>
              <a:path w="390525" h="427990">
                <a:moveTo>
                  <a:pt x="181482" y="298450"/>
                </a:moveTo>
                <a:lnTo>
                  <a:pt x="158876" y="359410"/>
                </a:lnTo>
                <a:lnTo>
                  <a:pt x="388366" y="359410"/>
                </a:lnTo>
                <a:lnTo>
                  <a:pt x="387857" y="356869"/>
                </a:lnTo>
                <a:lnTo>
                  <a:pt x="229997" y="356869"/>
                </a:lnTo>
                <a:lnTo>
                  <a:pt x="209588" y="300989"/>
                </a:lnTo>
                <a:lnTo>
                  <a:pt x="195072" y="300989"/>
                </a:lnTo>
                <a:lnTo>
                  <a:pt x="187960" y="299719"/>
                </a:lnTo>
                <a:lnTo>
                  <a:pt x="181482" y="298450"/>
                </a:lnTo>
                <a:close/>
              </a:path>
              <a:path w="390525" h="427990">
                <a:moveTo>
                  <a:pt x="273176" y="266700"/>
                </a:moveTo>
                <a:lnTo>
                  <a:pt x="229997" y="356869"/>
                </a:lnTo>
                <a:lnTo>
                  <a:pt x="387857" y="356869"/>
                </a:lnTo>
                <a:lnTo>
                  <a:pt x="367538" y="320039"/>
                </a:lnTo>
                <a:lnTo>
                  <a:pt x="348742" y="304800"/>
                </a:lnTo>
                <a:lnTo>
                  <a:pt x="343662" y="300989"/>
                </a:lnTo>
                <a:lnTo>
                  <a:pt x="273176" y="266700"/>
                </a:lnTo>
                <a:close/>
              </a:path>
              <a:path w="390525" h="427990">
                <a:moveTo>
                  <a:pt x="208661" y="298450"/>
                </a:moveTo>
                <a:lnTo>
                  <a:pt x="202184" y="299719"/>
                </a:lnTo>
                <a:lnTo>
                  <a:pt x="195072" y="300989"/>
                </a:lnTo>
                <a:lnTo>
                  <a:pt x="209588" y="300989"/>
                </a:lnTo>
                <a:lnTo>
                  <a:pt x="208661" y="298450"/>
                </a:lnTo>
                <a:close/>
              </a:path>
              <a:path w="390525" h="427990">
                <a:moveTo>
                  <a:pt x="195072" y="0"/>
                </a:moveTo>
                <a:lnTo>
                  <a:pt x="147955" y="8889"/>
                </a:lnTo>
                <a:lnTo>
                  <a:pt x="108457" y="33019"/>
                </a:lnTo>
                <a:lnTo>
                  <a:pt x="86613" y="59689"/>
                </a:lnTo>
                <a:lnTo>
                  <a:pt x="80772" y="68579"/>
                </a:lnTo>
                <a:lnTo>
                  <a:pt x="75564" y="80010"/>
                </a:lnTo>
                <a:lnTo>
                  <a:pt x="71755" y="91439"/>
                </a:lnTo>
                <a:lnTo>
                  <a:pt x="68453" y="102869"/>
                </a:lnTo>
                <a:lnTo>
                  <a:pt x="66548" y="114300"/>
                </a:lnTo>
                <a:lnTo>
                  <a:pt x="62611" y="116839"/>
                </a:lnTo>
                <a:lnTo>
                  <a:pt x="58166" y="125729"/>
                </a:lnTo>
                <a:lnTo>
                  <a:pt x="57531" y="130810"/>
                </a:lnTo>
                <a:lnTo>
                  <a:pt x="57531" y="175260"/>
                </a:lnTo>
                <a:lnTo>
                  <a:pt x="58800" y="177800"/>
                </a:lnTo>
                <a:lnTo>
                  <a:pt x="59436" y="181610"/>
                </a:lnTo>
                <a:lnTo>
                  <a:pt x="61341" y="182879"/>
                </a:lnTo>
                <a:lnTo>
                  <a:pt x="62611" y="185419"/>
                </a:lnTo>
                <a:lnTo>
                  <a:pt x="65278" y="187960"/>
                </a:lnTo>
                <a:lnTo>
                  <a:pt x="67182" y="189229"/>
                </a:lnTo>
                <a:lnTo>
                  <a:pt x="69723" y="190500"/>
                </a:lnTo>
                <a:lnTo>
                  <a:pt x="73660" y="201929"/>
                </a:lnTo>
                <a:lnTo>
                  <a:pt x="98170" y="242569"/>
                </a:lnTo>
                <a:lnTo>
                  <a:pt x="125349" y="266700"/>
                </a:lnTo>
                <a:lnTo>
                  <a:pt x="126618" y="270510"/>
                </a:lnTo>
                <a:lnTo>
                  <a:pt x="128524" y="274319"/>
                </a:lnTo>
                <a:lnTo>
                  <a:pt x="132461" y="276860"/>
                </a:lnTo>
                <a:lnTo>
                  <a:pt x="136270" y="280669"/>
                </a:lnTo>
                <a:lnTo>
                  <a:pt x="140207" y="281939"/>
                </a:lnTo>
                <a:lnTo>
                  <a:pt x="146685" y="283210"/>
                </a:lnTo>
                <a:lnTo>
                  <a:pt x="152400" y="283210"/>
                </a:lnTo>
                <a:lnTo>
                  <a:pt x="155067" y="281939"/>
                </a:lnTo>
                <a:lnTo>
                  <a:pt x="156972" y="279400"/>
                </a:lnTo>
                <a:lnTo>
                  <a:pt x="159512" y="274319"/>
                </a:lnTo>
                <a:lnTo>
                  <a:pt x="159512" y="271779"/>
                </a:lnTo>
                <a:lnTo>
                  <a:pt x="144653" y="256539"/>
                </a:lnTo>
                <a:lnTo>
                  <a:pt x="133095" y="256539"/>
                </a:lnTo>
                <a:lnTo>
                  <a:pt x="124079" y="250189"/>
                </a:lnTo>
                <a:lnTo>
                  <a:pt x="96266" y="218439"/>
                </a:lnTo>
                <a:lnTo>
                  <a:pt x="83312" y="190500"/>
                </a:lnTo>
                <a:lnTo>
                  <a:pt x="85851" y="190500"/>
                </a:lnTo>
                <a:lnTo>
                  <a:pt x="89154" y="187960"/>
                </a:lnTo>
                <a:lnTo>
                  <a:pt x="91059" y="186689"/>
                </a:lnTo>
                <a:lnTo>
                  <a:pt x="92963" y="184150"/>
                </a:lnTo>
                <a:lnTo>
                  <a:pt x="94995" y="181610"/>
                </a:lnTo>
                <a:lnTo>
                  <a:pt x="96266" y="179069"/>
                </a:lnTo>
                <a:lnTo>
                  <a:pt x="97536" y="172719"/>
                </a:lnTo>
                <a:lnTo>
                  <a:pt x="97536" y="163829"/>
                </a:lnTo>
                <a:lnTo>
                  <a:pt x="332613" y="163829"/>
                </a:lnTo>
                <a:lnTo>
                  <a:pt x="332613" y="130810"/>
                </a:lnTo>
                <a:lnTo>
                  <a:pt x="331978" y="125729"/>
                </a:lnTo>
                <a:lnTo>
                  <a:pt x="330073" y="121919"/>
                </a:lnTo>
                <a:lnTo>
                  <a:pt x="94995" y="121919"/>
                </a:lnTo>
                <a:lnTo>
                  <a:pt x="92963" y="119379"/>
                </a:lnTo>
                <a:lnTo>
                  <a:pt x="91059" y="116839"/>
                </a:lnTo>
                <a:lnTo>
                  <a:pt x="88518" y="114300"/>
                </a:lnTo>
                <a:lnTo>
                  <a:pt x="85217" y="113029"/>
                </a:lnTo>
                <a:lnTo>
                  <a:pt x="83947" y="110489"/>
                </a:lnTo>
                <a:lnTo>
                  <a:pt x="82042" y="109219"/>
                </a:lnTo>
                <a:lnTo>
                  <a:pt x="80137" y="109219"/>
                </a:lnTo>
                <a:lnTo>
                  <a:pt x="82676" y="99060"/>
                </a:lnTo>
                <a:lnTo>
                  <a:pt x="85217" y="90169"/>
                </a:lnTo>
                <a:lnTo>
                  <a:pt x="89154" y="80010"/>
                </a:lnTo>
                <a:lnTo>
                  <a:pt x="94361" y="71119"/>
                </a:lnTo>
                <a:lnTo>
                  <a:pt x="99441" y="62229"/>
                </a:lnTo>
                <a:lnTo>
                  <a:pt x="127254" y="34289"/>
                </a:lnTo>
                <a:lnTo>
                  <a:pt x="164084" y="16510"/>
                </a:lnTo>
                <a:lnTo>
                  <a:pt x="173736" y="15239"/>
                </a:lnTo>
                <a:lnTo>
                  <a:pt x="184150" y="12700"/>
                </a:lnTo>
                <a:lnTo>
                  <a:pt x="249999" y="12700"/>
                </a:lnTo>
                <a:lnTo>
                  <a:pt x="242188" y="8889"/>
                </a:lnTo>
                <a:lnTo>
                  <a:pt x="230631" y="5079"/>
                </a:lnTo>
                <a:lnTo>
                  <a:pt x="219582" y="2539"/>
                </a:lnTo>
                <a:lnTo>
                  <a:pt x="195072" y="0"/>
                </a:lnTo>
                <a:close/>
              </a:path>
              <a:path w="390525" h="427990">
                <a:moveTo>
                  <a:pt x="292607" y="163829"/>
                </a:moveTo>
                <a:lnTo>
                  <a:pt x="97536" y="163829"/>
                </a:lnTo>
                <a:lnTo>
                  <a:pt x="99441" y="172719"/>
                </a:lnTo>
                <a:lnTo>
                  <a:pt x="114935" y="210819"/>
                </a:lnTo>
                <a:lnTo>
                  <a:pt x="138937" y="242569"/>
                </a:lnTo>
                <a:lnTo>
                  <a:pt x="169291" y="261619"/>
                </a:lnTo>
                <a:lnTo>
                  <a:pt x="177673" y="265429"/>
                </a:lnTo>
                <a:lnTo>
                  <a:pt x="186055" y="266700"/>
                </a:lnTo>
                <a:lnTo>
                  <a:pt x="204088" y="266700"/>
                </a:lnTo>
                <a:lnTo>
                  <a:pt x="212470" y="265429"/>
                </a:lnTo>
                <a:lnTo>
                  <a:pt x="220853" y="261619"/>
                </a:lnTo>
                <a:lnTo>
                  <a:pt x="228600" y="259079"/>
                </a:lnTo>
                <a:lnTo>
                  <a:pt x="264160" y="227329"/>
                </a:lnTo>
                <a:lnTo>
                  <a:pt x="270001" y="219710"/>
                </a:lnTo>
                <a:lnTo>
                  <a:pt x="275209" y="210819"/>
                </a:lnTo>
                <a:lnTo>
                  <a:pt x="279654" y="201929"/>
                </a:lnTo>
                <a:lnTo>
                  <a:pt x="284225" y="193039"/>
                </a:lnTo>
                <a:lnTo>
                  <a:pt x="287400" y="184150"/>
                </a:lnTo>
                <a:lnTo>
                  <a:pt x="290703" y="172719"/>
                </a:lnTo>
                <a:lnTo>
                  <a:pt x="292607" y="163829"/>
                </a:lnTo>
                <a:close/>
              </a:path>
              <a:path w="390525" h="427990">
                <a:moveTo>
                  <a:pt x="140207" y="255269"/>
                </a:moveTo>
                <a:lnTo>
                  <a:pt x="136270" y="255269"/>
                </a:lnTo>
                <a:lnTo>
                  <a:pt x="133095" y="256539"/>
                </a:lnTo>
                <a:lnTo>
                  <a:pt x="144653" y="256539"/>
                </a:lnTo>
                <a:lnTo>
                  <a:pt x="140207" y="255269"/>
                </a:lnTo>
                <a:close/>
              </a:path>
              <a:path w="390525" h="427990">
                <a:moveTo>
                  <a:pt x="332613" y="163829"/>
                </a:moveTo>
                <a:lnTo>
                  <a:pt x="292607" y="163829"/>
                </a:lnTo>
                <a:lnTo>
                  <a:pt x="292607" y="172719"/>
                </a:lnTo>
                <a:lnTo>
                  <a:pt x="294513" y="180339"/>
                </a:lnTo>
                <a:lnTo>
                  <a:pt x="296544" y="182879"/>
                </a:lnTo>
                <a:lnTo>
                  <a:pt x="298450" y="186689"/>
                </a:lnTo>
                <a:lnTo>
                  <a:pt x="301625" y="189229"/>
                </a:lnTo>
                <a:lnTo>
                  <a:pt x="304926" y="190500"/>
                </a:lnTo>
                <a:lnTo>
                  <a:pt x="308737" y="191769"/>
                </a:lnTo>
                <a:lnTo>
                  <a:pt x="316484" y="191769"/>
                </a:lnTo>
                <a:lnTo>
                  <a:pt x="320420" y="190500"/>
                </a:lnTo>
                <a:lnTo>
                  <a:pt x="323595" y="189229"/>
                </a:lnTo>
                <a:lnTo>
                  <a:pt x="326898" y="186689"/>
                </a:lnTo>
                <a:lnTo>
                  <a:pt x="329438" y="182879"/>
                </a:lnTo>
                <a:lnTo>
                  <a:pt x="331343" y="180339"/>
                </a:lnTo>
                <a:lnTo>
                  <a:pt x="332613" y="172719"/>
                </a:lnTo>
                <a:lnTo>
                  <a:pt x="332613" y="163829"/>
                </a:lnTo>
                <a:close/>
              </a:path>
              <a:path w="390525" h="427990">
                <a:moveTo>
                  <a:pt x="213741" y="39369"/>
                </a:moveTo>
                <a:lnTo>
                  <a:pt x="176403" y="39369"/>
                </a:lnTo>
                <a:lnTo>
                  <a:pt x="167259" y="41910"/>
                </a:lnTo>
                <a:lnTo>
                  <a:pt x="158242" y="43179"/>
                </a:lnTo>
                <a:lnTo>
                  <a:pt x="121412" y="64769"/>
                </a:lnTo>
                <a:lnTo>
                  <a:pt x="98806" y="102869"/>
                </a:lnTo>
                <a:lnTo>
                  <a:pt x="94995" y="121919"/>
                </a:lnTo>
                <a:lnTo>
                  <a:pt x="295148" y="121919"/>
                </a:lnTo>
                <a:lnTo>
                  <a:pt x="279654" y="78739"/>
                </a:lnTo>
                <a:lnTo>
                  <a:pt x="248031" y="50800"/>
                </a:lnTo>
                <a:lnTo>
                  <a:pt x="222885" y="41910"/>
                </a:lnTo>
                <a:lnTo>
                  <a:pt x="213741" y="39369"/>
                </a:lnTo>
                <a:close/>
              </a:path>
              <a:path w="390525" h="427990">
                <a:moveTo>
                  <a:pt x="249999" y="12700"/>
                </a:moveTo>
                <a:lnTo>
                  <a:pt x="205994" y="12700"/>
                </a:lnTo>
                <a:lnTo>
                  <a:pt x="216407" y="15239"/>
                </a:lnTo>
                <a:lnTo>
                  <a:pt x="226694" y="16510"/>
                </a:lnTo>
                <a:lnTo>
                  <a:pt x="246125" y="24129"/>
                </a:lnTo>
                <a:lnTo>
                  <a:pt x="278384" y="48260"/>
                </a:lnTo>
                <a:lnTo>
                  <a:pt x="300989" y="81279"/>
                </a:lnTo>
                <a:lnTo>
                  <a:pt x="310006" y="111760"/>
                </a:lnTo>
                <a:lnTo>
                  <a:pt x="300989" y="114300"/>
                </a:lnTo>
                <a:lnTo>
                  <a:pt x="297814" y="118110"/>
                </a:lnTo>
                <a:lnTo>
                  <a:pt x="295148" y="121919"/>
                </a:lnTo>
                <a:lnTo>
                  <a:pt x="330073" y="121919"/>
                </a:lnTo>
                <a:lnTo>
                  <a:pt x="327532" y="116839"/>
                </a:lnTo>
                <a:lnTo>
                  <a:pt x="323595" y="114300"/>
                </a:lnTo>
                <a:lnTo>
                  <a:pt x="321691" y="102869"/>
                </a:lnTo>
                <a:lnTo>
                  <a:pt x="318388" y="91439"/>
                </a:lnTo>
                <a:lnTo>
                  <a:pt x="314579" y="80010"/>
                </a:lnTo>
                <a:lnTo>
                  <a:pt x="309372" y="68579"/>
                </a:lnTo>
                <a:lnTo>
                  <a:pt x="303530" y="59689"/>
                </a:lnTo>
                <a:lnTo>
                  <a:pt x="297180" y="49529"/>
                </a:lnTo>
                <a:lnTo>
                  <a:pt x="281686" y="33019"/>
                </a:lnTo>
                <a:lnTo>
                  <a:pt x="272542" y="26669"/>
                </a:lnTo>
                <a:lnTo>
                  <a:pt x="262889" y="20319"/>
                </a:lnTo>
                <a:lnTo>
                  <a:pt x="252603" y="13969"/>
                </a:lnTo>
                <a:lnTo>
                  <a:pt x="249999" y="12700"/>
                </a:lnTo>
                <a:close/>
              </a:path>
              <a:path w="390525" h="427990">
                <a:moveTo>
                  <a:pt x="195072" y="38100"/>
                </a:moveTo>
                <a:lnTo>
                  <a:pt x="185419" y="39369"/>
                </a:lnTo>
                <a:lnTo>
                  <a:pt x="204724" y="39369"/>
                </a:lnTo>
                <a:lnTo>
                  <a:pt x="195072" y="38100"/>
                </a:lnTo>
                <a:close/>
              </a:path>
            </a:pathLst>
          </a:custGeom>
          <a:solidFill>
            <a:srgbClr val="12ABDB"/>
          </a:solidFill>
        </p:spPr>
        <p:txBody>
          <a:bodyPr wrap="square" lIns="0" tIns="0" rIns="0" bIns="0" rtlCol="0"/>
          <a:lstStyle/>
          <a:p>
            <a:endParaRPr/>
          </a:p>
        </p:txBody>
      </p:sp>
      <p:sp>
        <p:nvSpPr>
          <p:cNvPr id="37" name="object 37"/>
          <p:cNvSpPr/>
          <p:nvPr/>
        </p:nvSpPr>
        <p:spPr>
          <a:xfrm>
            <a:off x="6562343" y="1083563"/>
            <a:ext cx="394715" cy="382524"/>
          </a:xfrm>
          <a:prstGeom prst="rect">
            <a:avLst/>
          </a:prstGeom>
          <a:blipFill>
            <a:blip r:embed="rId3" cstate="print"/>
            <a:stretch>
              <a:fillRect/>
            </a:stretch>
          </a:blipFill>
        </p:spPr>
        <p:txBody>
          <a:bodyPr wrap="square" lIns="0" tIns="0" rIns="0" bIns="0" rtlCol="0"/>
          <a:lstStyle/>
          <a:p>
            <a:endParaRPr/>
          </a:p>
        </p:txBody>
      </p:sp>
      <p:sp>
        <p:nvSpPr>
          <p:cNvPr id="38" name="object 38"/>
          <p:cNvSpPr/>
          <p:nvPr/>
        </p:nvSpPr>
        <p:spPr>
          <a:xfrm>
            <a:off x="8897111" y="1037589"/>
            <a:ext cx="434340" cy="474218"/>
          </a:xfrm>
          <a:prstGeom prst="rect">
            <a:avLst/>
          </a:prstGeom>
          <a:blipFill>
            <a:blip r:embed="rId4" cstate="print"/>
            <a:stretch>
              <a:fillRect/>
            </a:stretch>
          </a:blipFill>
        </p:spPr>
        <p:txBody>
          <a:bodyPr wrap="square" lIns="0" tIns="0" rIns="0" bIns="0" rtlCol="0"/>
          <a:lstStyle/>
          <a:p>
            <a:endParaRPr/>
          </a:p>
        </p:txBody>
      </p:sp>
      <p:sp>
        <p:nvSpPr>
          <p:cNvPr id="39" name="object 39"/>
          <p:cNvSpPr/>
          <p:nvPr/>
        </p:nvSpPr>
        <p:spPr>
          <a:xfrm>
            <a:off x="11274043" y="1267967"/>
            <a:ext cx="395605" cy="230504"/>
          </a:xfrm>
          <a:custGeom>
            <a:avLst/>
            <a:gdLst/>
            <a:ahLst/>
            <a:cxnLst/>
            <a:rect l="l" t="t" r="r" b="b"/>
            <a:pathLst>
              <a:path w="395604" h="230505">
                <a:moveTo>
                  <a:pt x="136905" y="0"/>
                </a:moveTo>
                <a:lnTo>
                  <a:pt x="87177" y="22427"/>
                </a:lnTo>
                <a:lnTo>
                  <a:pt x="49149" y="53816"/>
                </a:lnTo>
                <a:lnTo>
                  <a:pt x="19692" y="93348"/>
                </a:lnTo>
                <a:lnTo>
                  <a:pt x="2666" y="138049"/>
                </a:lnTo>
                <a:lnTo>
                  <a:pt x="0" y="185547"/>
                </a:lnTo>
                <a:lnTo>
                  <a:pt x="2030" y="196961"/>
                </a:lnTo>
                <a:lnTo>
                  <a:pt x="21574" y="218281"/>
                </a:lnTo>
                <a:lnTo>
                  <a:pt x="78813" y="230124"/>
                </a:lnTo>
                <a:lnTo>
                  <a:pt x="193928" y="213106"/>
                </a:lnTo>
                <a:lnTo>
                  <a:pt x="309004" y="191770"/>
                </a:lnTo>
                <a:lnTo>
                  <a:pt x="169163" y="191770"/>
                </a:lnTo>
                <a:lnTo>
                  <a:pt x="121411" y="28829"/>
                </a:lnTo>
                <a:lnTo>
                  <a:pt x="146176" y="19939"/>
                </a:lnTo>
                <a:lnTo>
                  <a:pt x="136905" y="0"/>
                </a:lnTo>
                <a:close/>
              </a:path>
              <a:path w="395604" h="230505">
                <a:moveTo>
                  <a:pt x="394900" y="191567"/>
                </a:moveTo>
                <a:lnTo>
                  <a:pt x="310096" y="191567"/>
                </a:lnTo>
                <a:lnTo>
                  <a:pt x="369649" y="193960"/>
                </a:lnTo>
                <a:lnTo>
                  <a:pt x="391507" y="205926"/>
                </a:lnTo>
                <a:lnTo>
                  <a:pt x="394588" y="213106"/>
                </a:lnTo>
                <a:lnTo>
                  <a:pt x="394900" y="191567"/>
                </a:lnTo>
                <a:close/>
              </a:path>
              <a:path w="395604" h="230505">
                <a:moveTo>
                  <a:pt x="208533" y="62611"/>
                </a:moveTo>
                <a:lnTo>
                  <a:pt x="186435" y="62611"/>
                </a:lnTo>
                <a:lnTo>
                  <a:pt x="186435" y="62992"/>
                </a:lnTo>
                <a:lnTo>
                  <a:pt x="169163" y="191770"/>
                </a:lnTo>
                <a:lnTo>
                  <a:pt x="225805" y="191770"/>
                </a:lnTo>
                <a:lnTo>
                  <a:pt x="208533" y="62992"/>
                </a:lnTo>
                <a:lnTo>
                  <a:pt x="208533" y="62611"/>
                </a:lnTo>
                <a:close/>
              </a:path>
              <a:path w="395604" h="230505">
                <a:moveTo>
                  <a:pt x="258063" y="0"/>
                </a:moveTo>
                <a:lnTo>
                  <a:pt x="248665" y="19939"/>
                </a:lnTo>
                <a:lnTo>
                  <a:pt x="273938" y="28829"/>
                </a:lnTo>
                <a:lnTo>
                  <a:pt x="225805" y="191770"/>
                </a:lnTo>
                <a:lnTo>
                  <a:pt x="309004" y="191770"/>
                </a:lnTo>
                <a:lnTo>
                  <a:pt x="310096" y="191567"/>
                </a:lnTo>
                <a:lnTo>
                  <a:pt x="394900" y="191567"/>
                </a:lnTo>
                <a:lnTo>
                  <a:pt x="394977" y="185547"/>
                </a:lnTo>
                <a:lnTo>
                  <a:pt x="395055" y="173089"/>
                </a:lnTo>
                <a:lnTo>
                  <a:pt x="394535" y="155438"/>
                </a:lnTo>
                <a:lnTo>
                  <a:pt x="375427" y="93348"/>
                </a:lnTo>
                <a:lnTo>
                  <a:pt x="345979" y="53816"/>
                </a:lnTo>
                <a:lnTo>
                  <a:pt x="308006" y="22427"/>
                </a:lnTo>
                <a:lnTo>
                  <a:pt x="265556" y="2159"/>
                </a:lnTo>
                <a:lnTo>
                  <a:pt x="258063" y="0"/>
                </a:lnTo>
                <a:close/>
              </a:path>
            </a:pathLst>
          </a:custGeom>
          <a:solidFill>
            <a:srgbClr val="D22138"/>
          </a:solidFill>
        </p:spPr>
        <p:txBody>
          <a:bodyPr wrap="square" lIns="0" tIns="0" rIns="0" bIns="0" rtlCol="0"/>
          <a:lstStyle/>
          <a:p>
            <a:endParaRPr/>
          </a:p>
        </p:txBody>
      </p:sp>
      <p:sp>
        <p:nvSpPr>
          <p:cNvPr id="40" name="object 40"/>
          <p:cNvSpPr/>
          <p:nvPr/>
        </p:nvSpPr>
        <p:spPr>
          <a:xfrm>
            <a:off x="11545823" y="1417319"/>
            <a:ext cx="74930" cy="13970"/>
          </a:xfrm>
          <a:custGeom>
            <a:avLst/>
            <a:gdLst/>
            <a:ahLst/>
            <a:cxnLst/>
            <a:rect l="l" t="t" r="r" b="b"/>
            <a:pathLst>
              <a:path w="74929" h="13969">
                <a:moveTo>
                  <a:pt x="889" y="12826"/>
                </a:moveTo>
                <a:lnTo>
                  <a:pt x="0" y="12826"/>
                </a:lnTo>
                <a:lnTo>
                  <a:pt x="889" y="13715"/>
                </a:lnTo>
                <a:lnTo>
                  <a:pt x="889" y="12826"/>
                </a:lnTo>
                <a:close/>
              </a:path>
              <a:path w="74929" h="13969">
                <a:moveTo>
                  <a:pt x="74675" y="12826"/>
                </a:moveTo>
                <a:lnTo>
                  <a:pt x="74295" y="12826"/>
                </a:lnTo>
                <a:lnTo>
                  <a:pt x="74295" y="13715"/>
                </a:lnTo>
                <a:lnTo>
                  <a:pt x="74675" y="12826"/>
                </a:lnTo>
                <a:close/>
              </a:path>
              <a:path w="74929" h="13969">
                <a:moveTo>
                  <a:pt x="74295" y="507"/>
                </a:moveTo>
                <a:lnTo>
                  <a:pt x="889" y="507"/>
                </a:lnTo>
                <a:lnTo>
                  <a:pt x="889" y="12826"/>
                </a:lnTo>
                <a:lnTo>
                  <a:pt x="74295" y="12826"/>
                </a:lnTo>
                <a:lnTo>
                  <a:pt x="74295" y="507"/>
                </a:lnTo>
                <a:close/>
              </a:path>
              <a:path w="74929" h="13969">
                <a:moveTo>
                  <a:pt x="889" y="0"/>
                </a:moveTo>
                <a:lnTo>
                  <a:pt x="0" y="507"/>
                </a:lnTo>
                <a:lnTo>
                  <a:pt x="889" y="507"/>
                </a:lnTo>
                <a:lnTo>
                  <a:pt x="889" y="0"/>
                </a:lnTo>
                <a:close/>
              </a:path>
              <a:path w="74929" h="13969">
                <a:moveTo>
                  <a:pt x="74295" y="0"/>
                </a:moveTo>
                <a:lnTo>
                  <a:pt x="74295" y="507"/>
                </a:lnTo>
                <a:lnTo>
                  <a:pt x="74675" y="507"/>
                </a:lnTo>
                <a:lnTo>
                  <a:pt x="74295" y="0"/>
                </a:lnTo>
                <a:close/>
              </a:path>
            </a:pathLst>
          </a:custGeom>
          <a:solidFill>
            <a:srgbClr val="A6A6A6"/>
          </a:solidFill>
        </p:spPr>
        <p:txBody>
          <a:bodyPr wrap="square" lIns="0" tIns="0" rIns="0" bIns="0" rtlCol="0"/>
          <a:lstStyle/>
          <a:p>
            <a:endParaRPr/>
          </a:p>
        </p:txBody>
      </p:sp>
      <p:sp>
        <p:nvSpPr>
          <p:cNvPr id="41" name="object 41"/>
          <p:cNvSpPr/>
          <p:nvPr/>
        </p:nvSpPr>
        <p:spPr>
          <a:xfrm>
            <a:off x="11378183" y="1029221"/>
            <a:ext cx="179832" cy="237636"/>
          </a:xfrm>
          <a:prstGeom prst="rect">
            <a:avLst/>
          </a:prstGeom>
          <a:blipFill>
            <a:blip r:embed="rId5" cstate="print"/>
            <a:stretch>
              <a:fillRect/>
            </a:stretch>
          </a:blipFill>
        </p:spPr>
        <p:txBody>
          <a:bodyPr wrap="square" lIns="0" tIns="0" rIns="0" bIns="0" rtlCol="0"/>
          <a:lstStyle/>
          <a:p>
            <a:endParaRPr/>
          </a:p>
        </p:txBody>
      </p:sp>
      <p:sp>
        <p:nvSpPr>
          <p:cNvPr id="42" name="object 42"/>
          <p:cNvSpPr/>
          <p:nvPr/>
        </p:nvSpPr>
        <p:spPr>
          <a:xfrm>
            <a:off x="11446764" y="1292352"/>
            <a:ext cx="50800" cy="26034"/>
          </a:xfrm>
          <a:custGeom>
            <a:avLst/>
            <a:gdLst/>
            <a:ahLst/>
            <a:cxnLst/>
            <a:rect l="l" t="t" r="r" b="b"/>
            <a:pathLst>
              <a:path w="50800" h="26034">
                <a:moveTo>
                  <a:pt x="37337" y="0"/>
                </a:moveTo>
                <a:lnTo>
                  <a:pt x="12445" y="0"/>
                </a:lnTo>
                <a:lnTo>
                  <a:pt x="0" y="9144"/>
                </a:lnTo>
                <a:lnTo>
                  <a:pt x="0" y="9525"/>
                </a:lnTo>
                <a:lnTo>
                  <a:pt x="13334" y="25400"/>
                </a:lnTo>
                <a:lnTo>
                  <a:pt x="13842" y="25908"/>
                </a:lnTo>
                <a:lnTo>
                  <a:pt x="36449" y="25908"/>
                </a:lnTo>
                <a:lnTo>
                  <a:pt x="36449" y="25400"/>
                </a:lnTo>
                <a:lnTo>
                  <a:pt x="49783" y="9525"/>
                </a:lnTo>
                <a:lnTo>
                  <a:pt x="50291" y="9525"/>
                </a:lnTo>
                <a:lnTo>
                  <a:pt x="50291" y="9144"/>
                </a:lnTo>
                <a:lnTo>
                  <a:pt x="49783" y="9144"/>
                </a:lnTo>
                <a:lnTo>
                  <a:pt x="37337" y="0"/>
                </a:lnTo>
                <a:close/>
              </a:path>
            </a:pathLst>
          </a:custGeom>
          <a:solidFill>
            <a:srgbClr val="A6A6A6"/>
          </a:solidFill>
        </p:spPr>
        <p:txBody>
          <a:bodyPr wrap="square" lIns="0" tIns="0" rIns="0" bIns="0" rtlCol="0"/>
          <a:lstStyle/>
          <a:p>
            <a:endParaRPr/>
          </a:p>
        </p:txBody>
      </p:sp>
      <p:sp>
        <p:nvSpPr>
          <p:cNvPr id="43" name="object 4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4" name="object 44"/>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5</a:t>
            </a:fld>
            <a:endParaRPr sz="800">
              <a:latin typeface="Verdana"/>
              <a:cs typeface="Verdana"/>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6</a:t>
            </a:fld>
            <a:endParaRPr sz="800">
              <a:latin typeface="Verdana"/>
              <a:cs typeface="Verdana"/>
            </a:endParaRPr>
          </a:p>
        </p:txBody>
      </p:sp>
      <p:sp>
        <p:nvSpPr>
          <p:cNvPr id="4" name="object 4"/>
          <p:cNvSpPr txBox="1">
            <a:spLocks noGrp="1"/>
          </p:cNvSpPr>
          <p:nvPr>
            <p:ph type="title"/>
          </p:nvPr>
        </p:nvSpPr>
        <p:spPr>
          <a:xfrm>
            <a:off x="517651" y="228981"/>
            <a:ext cx="7499350" cy="422275"/>
          </a:xfrm>
          <a:prstGeom prst="rect">
            <a:avLst/>
          </a:prstGeom>
        </p:spPr>
        <p:txBody>
          <a:bodyPr vert="horz" wrap="square" lIns="0" tIns="12700" rIns="0" bIns="0" rtlCol="0">
            <a:spAutoFit/>
          </a:bodyPr>
          <a:lstStyle/>
          <a:p>
            <a:pPr marL="12700">
              <a:lnSpc>
                <a:spcPct val="100000"/>
              </a:lnSpc>
              <a:spcBef>
                <a:spcPts val="100"/>
              </a:spcBef>
            </a:pPr>
            <a:r>
              <a:rPr sz="2600"/>
              <a:t>AMS </a:t>
            </a:r>
            <a:r>
              <a:rPr sz="2600" spc="-5"/>
              <a:t>Proposal </a:t>
            </a:r>
            <a:r>
              <a:rPr sz="2600"/>
              <a:t>for Marelli – Main</a:t>
            </a:r>
            <a:r>
              <a:rPr sz="2600" spc="-114"/>
              <a:t> </a:t>
            </a:r>
            <a:r>
              <a:rPr sz="2600"/>
              <a:t>Assumptions</a:t>
            </a:r>
          </a:p>
        </p:txBody>
      </p:sp>
      <p:sp>
        <p:nvSpPr>
          <p:cNvPr id="7" name="Rectangle 6">
            <a:extLst>
              <a:ext uri="{FF2B5EF4-FFF2-40B4-BE49-F238E27FC236}">
                <a16:creationId xmlns:a16="http://schemas.microsoft.com/office/drawing/2014/main" id="{9CEA7746-EE71-43CC-BE92-5C9AFFEDA112}"/>
              </a:ext>
            </a:extLst>
          </p:cNvPr>
          <p:cNvSpPr/>
          <p:nvPr/>
        </p:nvSpPr>
        <p:spPr>
          <a:xfrm>
            <a:off x="530225" y="981664"/>
            <a:ext cx="11125200" cy="5234190"/>
          </a:xfrm>
          <a:prstGeom prst="rect">
            <a:avLst/>
          </a:prstGeom>
          <a:noFill/>
          <a:ln w="12700" cap="flat" cmpd="sng" algn="ctr">
            <a:noFill/>
            <a:prstDash val="solid"/>
            <a:miter lim="800000"/>
          </a:ln>
          <a:effectLst/>
        </p:spPr>
        <p:txBody>
          <a:bodyPr wrap="square" lIns="0" tIns="0" rIns="0" bIns="0" rtlCol="0" anchor="t">
            <a:spAutoFit/>
          </a:bodyPr>
          <a:lstStyle/>
          <a:p>
            <a:pPr marL="0" marR="0" lvl="1" indent="0" defTabSz="914400" eaLnBrk="1" fontAlgn="auto" latinLnBrk="0" hangingPunct="1">
              <a:lnSpc>
                <a:spcPts val="2300"/>
              </a:lnSpc>
              <a:spcBef>
                <a:spcPts val="0"/>
              </a:spcBef>
              <a:spcAft>
                <a:spcPts val="600"/>
              </a:spcAft>
              <a:buClr>
                <a:srgbClr val="0070AD"/>
              </a:buClr>
              <a:buSzTx/>
              <a:buFontTx/>
              <a:buNone/>
              <a:tabLst/>
              <a:defRPr/>
            </a:pPr>
            <a:r>
              <a:rPr kumimoji="0" lang="en-US" sz="1400" b="0" i="0" u="none" strike="noStrike" kern="0" cap="none" spc="0" normalizeH="0" baseline="0" noProof="0">
                <a:ln>
                  <a:noFill/>
                </a:ln>
                <a:solidFill>
                  <a:prstClr val="black"/>
                </a:solidFill>
                <a:effectLst/>
                <a:uLnTx/>
                <a:uFillTx/>
                <a:latin typeface="Verdana"/>
                <a:ea typeface="+mn-ea"/>
                <a:cs typeface="+mn-cs"/>
              </a:rPr>
              <a:t>Application Maintenance Service proposed to Marelli is based on the following </a:t>
            </a:r>
            <a:r>
              <a:rPr kumimoji="0" lang="en-US" sz="1400" b="1" i="0" u="none" strike="noStrike" kern="0" cap="none" spc="0" normalizeH="0" baseline="0" noProof="0">
                <a:ln>
                  <a:noFill/>
                </a:ln>
                <a:solidFill>
                  <a:srgbClr val="0070AD"/>
                </a:solidFill>
                <a:effectLst/>
                <a:uLnTx/>
                <a:uFillTx/>
                <a:latin typeface="Verdana"/>
                <a:ea typeface="+mn-ea"/>
                <a:cs typeface="+mn-cs"/>
              </a:rPr>
              <a:t>assumptions</a:t>
            </a:r>
            <a:r>
              <a:rPr kumimoji="0" lang="en-US" sz="1400" b="0" i="0" u="none" strike="noStrike" kern="0" cap="none" spc="0" normalizeH="0" baseline="0" noProof="0">
                <a:ln>
                  <a:noFill/>
                </a:ln>
                <a:solidFill>
                  <a:prstClr val="black"/>
                </a:solidFill>
                <a:effectLst/>
                <a:uLnTx/>
                <a:uFillTx/>
                <a:latin typeface="Verdana"/>
                <a:ea typeface="+mn-ea"/>
                <a:cs typeface="+mn-cs"/>
              </a:rPr>
              <a:t>:</a:t>
            </a:r>
          </a:p>
          <a:p>
            <a:pPr marL="342900" marR="0" lvl="1" indent="-342900" defTabSz="914400" eaLnBrk="1" fontAlgn="auto" latinLnBrk="0" hangingPunct="1">
              <a:lnSpc>
                <a:spcPts val="2300"/>
              </a:lnSpc>
              <a:spcBef>
                <a:spcPts val="0"/>
              </a:spcBef>
              <a:spcAft>
                <a:spcPts val="600"/>
              </a:spcAft>
              <a:buClr>
                <a:srgbClr val="0070AD"/>
              </a:buClr>
              <a:buSzTx/>
              <a:buFont typeface="+mj-lt"/>
              <a:buAutoNum type="arabicPeriod"/>
              <a:tabLst/>
              <a:defRPr/>
            </a:pPr>
            <a:r>
              <a:rPr kumimoji="0" lang="en-US" sz="1400" b="1" i="0" u="none" strike="noStrike" kern="0" cap="none" spc="0" normalizeH="0" baseline="0" noProof="0">
                <a:ln>
                  <a:noFill/>
                </a:ln>
                <a:solidFill>
                  <a:srgbClr val="0070AD"/>
                </a:solidFill>
                <a:effectLst/>
                <a:uLnTx/>
                <a:uFillTx/>
                <a:latin typeface="Verdana"/>
                <a:ea typeface="+mn-ea"/>
                <a:cs typeface="+mn-cs"/>
              </a:rPr>
              <a:t>Applications</a:t>
            </a:r>
            <a:r>
              <a:rPr kumimoji="0" lang="en-US" sz="1400" b="0" i="0" u="none" strike="noStrike" kern="0" cap="none" spc="0" normalizeH="0" baseline="0" noProof="0">
                <a:ln>
                  <a:noFill/>
                </a:ln>
                <a:solidFill>
                  <a:prstClr val="black"/>
                </a:solidFill>
                <a:effectLst/>
                <a:uLnTx/>
                <a:uFillTx/>
                <a:latin typeface="Verdana"/>
                <a:ea typeface="+mn-ea"/>
                <a:cs typeface="+mn-cs"/>
              </a:rPr>
              <a:t> in scope </a:t>
            </a:r>
            <a:r>
              <a:rPr kumimoji="0" lang="en-US" sz="14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 </a:t>
            </a:r>
            <a:r>
              <a:rPr kumimoji="0" lang="en-US" sz="1400" b="1" i="0" u="none" strike="noStrike" kern="0" cap="none" spc="0" normalizeH="0" baseline="0" noProof="0">
                <a:ln>
                  <a:noFill/>
                </a:ln>
                <a:solidFill>
                  <a:srgbClr val="0070AD"/>
                </a:solidFill>
                <a:effectLst/>
                <a:uLnTx/>
                <a:uFillTx/>
                <a:latin typeface="Verdana"/>
                <a:ea typeface="+mn-ea"/>
                <a:cs typeface="+mn-cs"/>
              </a:rPr>
              <a:t>SFDC</a:t>
            </a:r>
            <a:r>
              <a:rPr kumimoji="0" lang="en-US" sz="1400" b="0" i="0" u="none" strike="noStrike" kern="0" cap="none" spc="0" normalizeH="0" baseline="0" noProof="0">
                <a:ln>
                  <a:noFill/>
                </a:ln>
                <a:solidFill>
                  <a:prstClr val="black"/>
                </a:solidFill>
                <a:effectLst/>
                <a:uLnTx/>
                <a:uFillTx/>
                <a:latin typeface="Verdana"/>
                <a:ea typeface="+mn-ea"/>
                <a:cs typeface="+mn-cs"/>
              </a:rPr>
              <a:t> for the components Sales Cloud, Einstein and Mulesoft;</a:t>
            </a:r>
          </a:p>
          <a:p>
            <a:pPr marL="342900" marR="0" lvl="1" indent="-342900" defTabSz="914400" eaLnBrk="1" fontAlgn="auto" latinLnBrk="0" hangingPunct="1">
              <a:lnSpc>
                <a:spcPts val="2300"/>
              </a:lnSpc>
              <a:spcBef>
                <a:spcPts val="0"/>
              </a:spcBef>
              <a:spcAft>
                <a:spcPts val="600"/>
              </a:spcAft>
              <a:buClr>
                <a:srgbClr val="0070AD"/>
              </a:buClr>
              <a:buSzTx/>
              <a:buFont typeface="+mj-lt"/>
              <a:buAutoNum type="arabicPeriod"/>
              <a:tabLst/>
              <a:defRPr/>
            </a:pPr>
            <a:r>
              <a:rPr kumimoji="0" lang="en-US" sz="1400" b="0" i="0" u="none" strike="noStrike" kern="0" cap="none" spc="0" normalizeH="0" baseline="0" noProof="0">
                <a:ln>
                  <a:noFill/>
                </a:ln>
                <a:solidFill>
                  <a:prstClr val="black"/>
                </a:solidFill>
                <a:effectLst/>
                <a:uLnTx/>
                <a:uFillTx/>
                <a:latin typeface="Verdana"/>
                <a:ea typeface="+mn-ea"/>
                <a:cs typeface="+mn-cs"/>
              </a:rPr>
              <a:t>Effort estimation based on </a:t>
            </a:r>
            <a:r>
              <a:rPr kumimoji="0" lang="en-US" sz="1400" b="1" i="0" u="none" strike="noStrike" kern="0" cap="none" spc="0" normalizeH="0" baseline="0" noProof="0">
                <a:ln>
                  <a:noFill/>
                </a:ln>
                <a:solidFill>
                  <a:srgbClr val="0070AD"/>
                </a:solidFill>
                <a:effectLst/>
                <a:uLnTx/>
                <a:uFillTx/>
                <a:latin typeface="Verdana"/>
                <a:ea typeface="+mn-ea"/>
                <a:cs typeface="+mn-cs"/>
              </a:rPr>
              <a:t>Service Level 2 and 3</a:t>
            </a:r>
            <a:r>
              <a:rPr kumimoji="0" lang="en-US" sz="1400" b="0" i="0" u="none" strike="noStrike" kern="0" cap="none" spc="0" normalizeH="0" baseline="0" noProof="0">
                <a:ln>
                  <a:noFill/>
                </a:ln>
                <a:solidFill>
                  <a:srgbClr val="0070AD"/>
                </a:solidFill>
                <a:effectLst/>
                <a:uLnTx/>
                <a:uFillTx/>
                <a:latin typeface="Verdana"/>
                <a:ea typeface="+mn-ea"/>
                <a:cs typeface="+mn-cs"/>
              </a:rPr>
              <a:t> </a:t>
            </a:r>
            <a:r>
              <a:rPr kumimoji="0" lang="en-US" sz="1400" b="0" i="0" u="none" strike="noStrike" kern="0" cap="none" spc="0" normalizeH="0" baseline="0" noProof="0">
                <a:ln>
                  <a:noFill/>
                </a:ln>
                <a:solidFill>
                  <a:prstClr val="black"/>
                </a:solidFill>
                <a:effectLst/>
                <a:uLnTx/>
                <a:uFillTx/>
                <a:latin typeface="Verdana"/>
                <a:ea typeface="+mn-ea"/>
                <a:cs typeface="+mn-cs"/>
              </a:rPr>
              <a:t>(</a:t>
            </a:r>
            <a:r>
              <a:rPr kumimoji="0" lang="en-US" sz="1400" b="1" i="0" u="none" strike="noStrike" kern="0" cap="none" spc="0" normalizeH="0" baseline="0" noProof="0">
                <a:ln>
                  <a:noFill/>
                </a:ln>
                <a:solidFill>
                  <a:prstClr val="black"/>
                </a:solidFill>
                <a:effectLst/>
                <a:uLnTx/>
                <a:uFillTx/>
                <a:latin typeface="Verdana"/>
                <a:ea typeface="+mn-ea"/>
                <a:cs typeface="+mn-cs"/>
              </a:rPr>
              <a:t>HD level 1 not included</a:t>
            </a:r>
            <a:r>
              <a:rPr kumimoji="0" lang="en-US" sz="1400" b="0" i="0" u="none" strike="noStrike" kern="0" cap="none" spc="0" normalizeH="0" baseline="0" noProof="0">
                <a:ln>
                  <a:noFill/>
                </a:ln>
                <a:solidFill>
                  <a:prstClr val="black"/>
                </a:solidFill>
                <a:effectLst/>
                <a:uLnTx/>
                <a:uFillTx/>
                <a:latin typeface="Verdana"/>
                <a:ea typeface="+mn-ea"/>
                <a:cs typeface="+mn-cs"/>
              </a:rPr>
              <a:t>);</a:t>
            </a:r>
          </a:p>
          <a:p>
            <a:pPr marL="342900" marR="0" lvl="1" indent="-342900" defTabSz="914400" eaLnBrk="1" fontAlgn="auto" latinLnBrk="0" hangingPunct="1">
              <a:lnSpc>
                <a:spcPts val="2300"/>
              </a:lnSpc>
              <a:spcBef>
                <a:spcPts val="0"/>
              </a:spcBef>
              <a:spcAft>
                <a:spcPts val="600"/>
              </a:spcAft>
              <a:buClr>
                <a:srgbClr val="0070AD"/>
              </a:buClr>
              <a:buSzTx/>
              <a:buFont typeface="+mj-lt"/>
              <a:buAutoNum type="arabicPeriod"/>
              <a:tabLst/>
              <a:defRPr/>
            </a:pPr>
            <a:r>
              <a:rPr kumimoji="0" lang="en-US" sz="1400" b="1" i="0" u="none" strike="noStrike" kern="0" cap="none" spc="0" normalizeH="0" baseline="0" noProof="0">
                <a:ln>
                  <a:noFill/>
                </a:ln>
                <a:solidFill>
                  <a:srgbClr val="0070AD"/>
                </a:solidFill>
                <a:effectLst/>
                <a:uLnTx/>
                <a:uFillTx/>
                <a:latin typeface="Verdana"/>
                <a:ea typeface="+mn-ea"/>
                <a:cs typeface="+mn-cs"/>
              </a:rPr>
              <a:t>Number of tickets</a:t>
            </a:r>
            <a:r>
              <a:rPr kumimoji="0" lang="en-US" sz="1400" b="0" i="0" u="none" strike="noStrike" kern="0" cap="none" spc="0" normalizeH="0" baseline="0" noProof="0">
                <a:ln>
                  <a:noFill/>
                </a:ln>
                <a:solidFill>
                  <a:srgbClr val="0070AD"/>
                </a:solidFill>
                <a:effectLst/>
                <a:uLnTx/>
                <a:uFillTx/>
                <a:latin typeface="Verdana"/>
                <a:ea typeface="+mn-ea"/>
                <a:cs typeface="+mn-cs"/>
              </a:rPr>
              <a:t>       </a:t>
            </a:r>
            <a:r>
              <a:rPr kumimoji="0" lang="en-US" sz="1400" b="1" i="0" u="none" strike="noStrike" kern="0" cap="none" spc="0" normalizeH="0" baseline="0" noProof="0">
                <a:ln>
                  <a:noFill/>
                </a:ln>
                <a:solidFill>
                  <a:srgbClr val="0070AD"/>
                </a:solidFill>
                <a:effectLst/>
                <a:uLnTx/>
                <a:uFillTx/>
                <a:latin typeface="Verdana"/>
                <a:ea typeface="+mn-ea"/>
                <a:cs typeface="+mn-cs"/>
                <a:sym typeface="Wingdings" panose="05000000000000000000" pitchFamily="2" charset="2"/>
              </a:rPr>
              <a:t>330 tickets L2 + 110 tickets L3</a:t>
            </a:r>
            <a:r>
              <a:rPr kumimoji="0" lang="en-US" sz="1400" b="0" i="0" u="none" strike="noStrike" kern="0" cap="none" spc="0" normalizeH="0" baseline="0" noProof="0">
                <a:ln>
                  <a:noFill/>
                </a:ln>
                <a:solidFill>
                  <a:srgbClr val="FFFFFF"/>
                </a:solidFill>
                <a:effectLst/>
                <a:uLnTx/>
                <a:uFillTx/>
                <a:latin typeface="Verdana"/>
                <a:ea typeface="+mn-ea"/>
                <a:cs typeface="+mn-cs"/>
                <a:sym typeface="Wingdings" panose="05000000000000000000" pitchFamily="2" charset="2"/>
              </a:rPr>
              <a:t>e redefined accordingly</a:t>
            </a:r>
            <a:endParaRPr kumimoji="0" lang="en-US" sz="1400" b="0" i="0" u="none" strike="noStrike" kern="0" cap="none" spc="0" normalizeH="0" baseline="0" noProof="0">
              <a:ln>
                <a:noFill/>
              </a:ln>
              <a:solidFill>
                <a:srgbClr val="FFFFFF"/>
              </a:solidFill>
              <a:effectLst/>
              <a:uLnTx/>
              <a:uFillTx/>
              <a:latin typeface="Verdana"/>
              <a:ea typeface="+mn-ea"/>
              <a:cs typeface="+mn-cs"/>
            </a:endParaRPr>
          </a:p>
          <a:p>
            <a:pPr marL="342900" marR="0" lvl="1" indent="-342900" defTabSz="914400" eaLnBrk="1" fontAlgn="auto" latinLnBrk="0" hangingPunct="1">
              <a:lnSpc>
                <a:spcPts val="2300"/>
              </a:lnSpc>
              <a:spcBef>
                <a:spcPts val="0"/>
              </a:spcBef>
              <a:spcAft>
                <a:spcPts val="600"/>
              </a:spcAft>
              <a:buClr>
                <a:srgbClr val="0070AD"/>
              </a:buClr>
              <a:buSzTx/>
              <a:buFont typeface="+mj-lt"/>
              <a:buAutoNum type="arabicPeriod"/>
              <a:tabLst/>
              <a:defRPr/>
            </a:pPr>
            <a:r>
              <a:rPr kumimoji="0" lang="en-US" sz="1400" b="0" i="0" u="none" strike="noStrike" kern="0" cap="none" spc="0" normalizeH="0" baseline="0" noProof="0">
                <a:ln>
                  <a:noFill/>
                </a:ln>
                <a:solidFill>
                  <a:prstClr val="black"/>
                </a:solidFill>
                <a:effectLst/>
                <a:uLnTx/>
                <a:uFillTx/>
                <a:latin typeface="Verdana"/>
                <a:ea typeface="+mn-ea"/>
                <a:cs typeface="+mn-cs"/>
              </a:rPr>
              <a:t>Service coverage </a:t>
            </a:r>
            <a:r>
              <a:rPr kumimoji="0" lang="en-US" sz="14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 </a:t>
            </a:r>
            <a:r>
              <a:rPr kumimoji="0" lang="en-US" sz="1400" b="1" i="0" u="none" strike="noStrike" kern="0" cap="none" spc="0" normalizeH="0" baseline="0" noProof="0">
                <a:ln>
                  <a:noFill/>
                </a:ln>
                <a:solidFill>
                  <a:srgbClr val="0070AD"/>
                </a:solidFill>
                <a:effectLst/>
                <a:uLnTx/>
                <a:uFillTx/>
                <a:latin typeface="Verdana"/>
                <a:ea typeface="+mn-ea"/>
                <a:cs typeface="+mn-cs"/>
              </a:rPr>
              <a:t>09 – 18 from Monday to Friday </a:t>
            </a:r>
            <a:r>
              <a:rPr kumimoji="0" lang="en-US" sz="1400" b="0" i="0" u="none" strike="noStrike" kern="0" cap="none" spc="0" normalizeH="0" baseline="0" noProof="0">
                <a:ln>
                  <a:noFill/>
                </a:ln>
                <a:solidFill>
                  <a:prstClr val="black"/>
                </a:solidFill>
                <a:effectLst/>
                <a:uLnTx/>
                <a:uFillTx/>
                <a:latin typeface="Verdana"/>
                <a:ea typeface="+mn-ea"/>
                <a:cs typeface="+mn-cs"/>
              </a:rPr>
              <a:t>(on call support has been not included). Support will be mainly performed remotely; a small number of days are foreseen on-site for managing exceptional / critical situations;</a:t>
            </a:r>
          </a:p>
          <a:p>
            <a:pPr marL="342900" marR="0" lvl="1" indent="-342900" defTabSz="914400" eaLnBrk="1" fontAlgn="auto" latinLnBrk="0" hangingPunct="1">
              <a:lnSpc>
                <a:spcPts val="2300"/>
              </a:lnSpc>
              <a:spcBef>
                <a:spcPts val="0"/>
              </a:spcBef>
              <a:spcAft>
                <a:spcPts val="600"/>
              </a:spcAft>
              <a:buClr>
                <a:srgbClr val="0070AD"/>
              </a:buClr>
              <a:buSzTx/>
              <a:buFont typeface="+mj-lt"/>
              <a:buAutoNum type="arabicPeriod"/>
              <a:tabLst/>
              <a:defRPr/>
            </a:pPr>
            <a:r>
              <a:rPr kumimoji="0" lang="en-US" sz="1400" b="1" i="0" u="none" strike="noStrike" kern="0" cap="none" spc="0" normalizeH="0" baseline="0" noProof="0">
                <a:ln>
                  <a:noFill/>
                </a:ln>
                <a:solidFill>
                  <a:srgbClr val="0070AD"/>
                </a:solidFill>
                <a:effectLst/>
                <a:uLnTx/>
                <a:uFillTx/>
                <a:latin typeface="Verdana"/>
                <a:ea typeface="+mn-ea"/>
                <a:cs typeface="+mn-cs"/>
              </a:rPr>
              <a:t>Services</a:t>
            </a:r>
            <a:r>
              <a:rPr kumimoji="0" lang="en-US" sz="1400" b="0" i="0" u="none" strike="noStrike" kern="0" cap="none" spc="0" normalizeH="0" baseline="0" noProof="0">
                <a:ln>
                  <a:noFill/>
                </a:ln>
                <a:solidFill>
                  <a:prstClr val="black"/>
                </a:solidFill>
                <a:effectLst/>
                <a:uLnTx/>
                <a:uFillTx/>
                <a:latin typeface="Verdana"/>
                <a:ea typeface="+mn-ea"/>
                <a:cs typeface="+mn-cs"/>
              </a:rPr>
              <a:t> in and out of scope</a:t>
            </a:r>
          </a:p>
          <a:p>
            <a:pPr marL="342900" marR="0" lvl="1" indent="-342900" defTabSz="914400" eaLnBrk="1" fontAlgn="auto" latinLnBrk="0" hangingPunct="1">
              <a:lnSpc>
                <a:spcPts val="2300"/>
              </a:lnSpc>
              <a:spcBef>
                <a:spcPts val="0"/>
              </a:spcBef>
              <a:spcAft>
                <a:spcPts val="600"/>
              </a:spcAft>
              <a:buClr>
                <a:srgbClr val="0070AD"/>
              </a:buClr>
              <a:buSzTx/>
              <a:buFont typeface="Wingdings" panose="05000000000000000000" pitchFamily="2" charset="2"/>
              <a:buChar char="§"/>
              <a:tabLst/>
              <a:defRPr/>
            </a:pPr>
            <a:r>
              <a:rPr kumimoji="0" lang="en-US" sz="14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 </a:t>
            </a:r>
            <a:r>
              <a:rPr kumimoji="0" lang="en-US" sz="1400" b="1" i="0" u="none" strike="noStrike" kern="0" cap="none" spc="0" normalizeH="0" baseline="0" noProof="0">
                <a:ln>
                  <a:noFill/>
                </a:ln>
                <a:solidFill>
                  <a:srgbClr val="0070AD"/>
                </a:solidFill>
                <a:effectLst/>
                <a:uLnTx/>
                <a:uFillTx/>
                <a:latin typeface="Verdana"/>
                <a:ea typeface="+mn-ea"/>
                <a:cs typeface="+mn-cs"/>
              </a:rPr>
              <a:t>In Scope</a:t>
            </a:r>
            <a:r>
              <a:rPr kumimoji="0" lang="en-US" sz="1400" b="0" i="0" u="none" strike="noStrike" kern="0" cap="none" spc="0" normalizeH="0" baseline="0" noProof="0">
                <a:ln>
                  <a:noFill/>
                </a:ln>
                <a:solidFill>
                  <a:prstClr val="black"/>
                </a:solidFill>
                <a:effectLst/>
                <a:uLnTx/>
                <a:uFillTx/>
                <a:latin typeface="Verdana"/>
                <a:ea typeface="+mn-ea"/>
                <a:cs typeface="+mn-cs"/>
              </a:rPr>
              <a:t>: Incident Management, Problem Management, Request Management; </a:t>
            </a:r>
          </a:p>
          <a:p>
            <a:pPr marL="342900" marR="0" lvl="1" indent="-342900" defTabSz="914400" eaLnBrk="1" fontAlgn="auto" latinLnBrk="0" hangingPunct="1">
              <a:lnSpc>
                <a:spcPts val="2300"/>
              </a:lnSpc>
              <a:spcBef>
                <a:spcPts val="0"/>
              </a:spcBef>
              <a:spcAft>
                <a:spcPts val="600"/>
              </a:spcAft>
              <a:buClr>
                <a:srgbClr val="0070AD"/>
              </a:buClr>
              <a:buSzTx/>
              <a:buFont typeface="Wingdings" panose="05000000000000000000" pitchFamily="2" charset="2"/>
              <a:buChar char="§"/>
              <a:tabLst/>
              <a:defRPr/>
            </a:pPr>
            <a:r>
              <a:rPr kumimoji="0" lang="en-US" sz="1400" b="1" i="0" u="none" strike="noStrike" kern="0" cap="none" spc="0" normalizeH="0" baseline="0" noProof="0">
                <a:ln>
                  <a:noFill/>
                </a:ln>
                <a:solidFill>
                  <a:srgbClr val="0070AD"/>
                </a:solidFill>
                <a:effectLst/>
                <a:uLnTx/>
                <a:uFillTx/>
                <a:latin typeface="Verdana"/>
                <a:ea typeface="+mn-ea"/>
                <a:cs typeface="+mn-cs"/>
              </a:rPr>
              <a:t>Out of Scope</a:t>
            </a:r>
            <a:r>
              <a:rPr kumimoji="0" lang="en-US" sz="1400" b="0" i="0" u="none" strike="noStrike" kern="0" cap="none" spc="0" normalizeH="0" baseline="0" noProof="0">
                <a:ln>
                  <a:noFill/>
                </a:ln>
                <a:solidFill>
                  <a:prstClr val="black"/>
                </a:solidFill>
                <a:effectLst/>
                <a:uLnTx/>
                <a:uFillTx/>
                <a:latin typeface="Verdana"/>
                <a:ea typeface="+mn-ea"/>
                <a:cs typeface="+mn-cs"/>
              </a:rPr>
              <a:t>: Change management (minor enhancements); Application Monitoring activities; Capacity &amp; Performance Management; Preventive / Adaptive Maintenance;</a:t>
            </a:r>
          </a:p>
          <a:p>
            <a:pPr marL="0" marR="0" lvl="1" indent="0" defTabSz="914400" eaLnBrk="1" fontAlgn="auto" latinLnBrk="0" hangingPunct="1">
              <a:lnSpc>
                <a:spcPts val="2300"/>
              </a:lnSpc>
              <a:spcBef>
                <a:spcPts val="0"/>
              </a:spcBef>
              <a:spcAft>
                <a:spcPts val="600"/>
              </a:spcAft>
              <a:buClr>
                <a:srgbClr val="0070AD"/>
              </a:buClr>
              <a:buSzTx/>
              <a:buFontTx/>
              <a:buNone/>
              <a:tabLst/>
              <a:defRPr/>
            </a:pPr>
            <a:r>
              <a:rPr kumimoji="0" lang="en-US" sz="1400" b="1" i="0" u="none" strike="noStrike" kern="0" cap="none" spc="0" normalizeH="0" baseline="0" noProof="0">
                <a:ln>
                  <a:noFill/>
                </a:ln>
                <a:solidFill>
                  <a:srgbClr val="0070AD"/>
                </a:solidFill>
                <a:effectLst/>
                <a:uLnTx/>
                <a:uFillTx/>
                <a:latin typeface="Verdana"/>
                <a:ea typeface="+mn-ea"/>
                <a:cs typeface="+mn-cs"/>
              </a:rPr>
              <a:t>6.   Delivery Model </a:t>
            </a:r>
            <a:r>
              <a:rPr kumimoji="0" lang="en-US" sz="1400" b="0" i="0" u="none" strike="noStrike" kern="0" cap="none" spc="0" normalizeH="0" baseline="0" noProof="0">
                <a:ln>
                  <a:noFill/>
                </a:ln>
                <a:solidFill>
                  <a:prstClr val="black"/>
                </a:solidFill>
                <a:effectLst/>
                <a:uLnTx/>
                <a:uFillTx/>
                <a:latin typeface="Verdana"/>
                <a:ea typeface="+mn-ea"/>
                <a:cs typeface="+mn-cs"/>
              </a:rPr>
              <a:t>will reflect the same approach used for the project in terms of offshore and onshore percentage;</a:t>
            </a:r>
          </a:p>
          <a:p>
            <a:pPr marL="342900" marR="0" lvl="1" indent="-342900" defTabSz="914400" eaLnBrk="1" fontAlgn="auto" latinLnBrk="0" hangingPunct="1">
              <a:lnSpc>
                <a:spcPts val="2300"/>
              </a:lnSpc>
              <a:spcBef>
                <a:spcPts val="0"/>
              </a:spcBef>
              <a:spcAft>
                <a:spcPts val="600"/>
              </a:spcAft>
              <a:buClr>
                <a:srgbClr val="0070AD"/>
              </a:buClr>
              <a:buSzTx/>
              <a:buFontTx/>
              <a:buAutoNum type="arabicPeriod" startAt="7"/>
              <a:tabLst/>
              <a:defRPr/>
            </a:pPr>
            <a:r>
              <a:rPr kumimoji="0" lang="en-US" sz="1400" b="1" i="0" u="none" strike="noStrike" kern="0" cap="none" spc="0" normalizeH="0" baseline="0" noProof="0">
                <a:ln>
                  <a:noFill/>
                </a:ln>
                <a:solidFill>
                  <a:srgbClr val="0070AD"/>
                </a:solidFill>
                <a:effectLst/>
                <a:uLnTx/>
                <a:uFillTx/>
                <a:latin typeface="Verdana"/>
                <a:ea typeface="+mn-ea"/>
                <a:cs typeface="+mn-cs"/>
                <a:sym typeface="Wingdings" panose="05000000000000000000" pitchFamily="2" charset="2"/>
              </a:rPr>
              <a:t>SLA not applicable </a:t>
            </a:r>
            <a:r>
              <a:rPr kumimoji="0" lang="en-US" sz="14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since no back up can be arranged due to the low number of resources involved;</a:t>
            </a:r>
          </a:p>
          <a:p>
            <a:pPr marL="342900" marR="0" lvl="1" indent="-342900" defTabSz="914400" eaLnBrk="1" fontAlgn="auto" latinLnBrk="0" hangingPunct="1">
              <a:lnSpc>
                <a:spcPts val="2300"/>
              </a:lnSpc>
              <a:spcBef>
                <a:spcPts val="0"/>
              </a:spcBef>
              <a:spcAft>
                <a:spcPts val="600"/>
              </a:spcAft>
              <a:buClr>
                <a:srgbClr val="0070AD"/>
              </a:buClr>
              <a:buSzTx/>
              <a:buFontTx/>
              <a:buAutoNum type="arabicPeriod" startAt="7"/>
              <a:tabLst/>
              <a:defRPr/>
            </a:pPr>
            <a:r>
              <a:rPr kumimoji="0" lang="en-US" sz="1400" b="1" i="0" u="none" strike="noStrike" kern="0" cap="none" spc="0" normalizeH="0" baseline="0" noProof="0">
                <a:ln>
                  <a:noFill/>
                </a:ln>
                <a:solidFill>
                  <a:srgbClr val="0070AD"/>
                </a:solidFill>
                <a:effectLst/>
                <a:uLnTx/>
                <a:uFillTx/>
                <a:latin typeface="Verdana"/>
                <a:ea typeface="+mn-ea"/>
                <a:cs typeface="+mn-cs"/>
              </a:rPr>
              <a:t>English</a:t>
            </a:r>
            <a:r>
              <a:rPr kumimoji="0" lang="en-US" sz="1400" b="0" i="0" u="none" strike="noStrike" kern="0" cap="none" spc="0" normalizeH="0" baseline="0" noProof="0">
                <a:ln>
                  <a:noFill/>
                </a:ln>
                <a:solidFill>
                  <a:prstClr val="black"/>
                </a:solidFill>
                <a:effectLst/>
                <a:uLnTx/>
                <a:uFillTx/>
                <a:latin typeface="Verdana"/>
                <a:ea typeface="+mn-ea"/>
                <a:cs typeface="+mn-cs"/>
              </a:rPr>
              <a:t> as main language for communication, documentation and service</a:t>
            </a:r>
          </a:p>
          <a:p>
            <a:pPr marL="342900" marR="0" lvl="1" indent="-342900" defTabSz="914400" eaLnBrk="1" fontAlgn="auto" latinLnBrk="0" hangingPunct="1">
              <a:lnSpc>
                <a:spcPts val="2300"/>
              </a:lnSpc>
              <a:spcBef>
                <a:spcPts val="0"/>
              </a:spcBef>
              <a:spcAft>
                <a:spcPts val="600"/>
              </a:spcAft>
              <a:buClr>
                <a:srgbClr val="0070AD"/>
              </a:buClr>
              <a:buSzTx/>
              <a:buFontTx/>
              <a:buAutoNum type="arabicPeriod" startAt="7"/>
              <a:tabLst/>
              <a:defRPr/>
            </a:pPr>
            <a:r>
              <a:rPr kumimoji="0" lang="en-US" sz="1400" b="0" i="0" u="none" strike="noStrike" kern="0" cap="none" spc="0" normalizeH="0" baseline="0" noProof="0">
                <a:ln>
                  <a:noFill/>
                </a:ln>
                <a:solidFill>
                  <a:prstClr val="black"/>
                </a:solidFill>
                <a:effectLst/>
                <a:uLnTx/>
                <a:uFillTx/>
                <a:latin typeface="Verdana"/>
                <a:ea typeface="+mn-ea"/>
                <a:cs typeface="+mn-cs"/>
              </a:rPr>
              <a:t>During service startup, Marelli/existing AMS supplier will be available to perform a </a:t>
            </a:r>
            <a:r>
              <a:rPr kumimoji="0" lang="en-US" sz="1400" b="1" i="0" u="none" strike="noStrike" kern="0" cap="none" spc="0" normalizeH="0" baseline="0" noProof="0">
                <a:ln>
                  <a:noFill/>
                </a:ln>
                <a:solidFill>
                  <a:srgbClr val="0070AD"/>
                </a:solidFill>
                <a:effectLst/>
                <a:uLnTx/>
                <a:uFillTx/>
                <a:latin typeface="Verdana"/>
                <a:ea typeface="+mn-ea"/>
                <a:cs typeface="+mn-cs"/>
              </a:rPr>
              <a:t>knowledge transfer </a:t>
            </a:r>
            <a:r>
              <a:rPr kumimoji="0" lang="en-US" sz="1400" b="0" i="0" u="none" strike="noStrike" kern="0" cap="none" spc="0" normalizeH="0" baseline="0" noProof="0">
                <a:ln>
                  <a:noFill/>
                </a:ln>
                <a:solidFill>
                  <a:prstClr val="black"/>
                </a:solidFill>
                <a:effectLst/>
                <a:uLnTx/>
                <a:uFillTx/>
                <a:latin typeface="Verdana"/>
                <a:ea typeface="+mn-ea"/>
                <a:cs typeface="+mn-cs"/>
              </a:rPr>
              <a:t>to Capgemini AMS team</a:t>
            </a: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214680" y="6638645"/>
            <a:ext cx="1945639"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5" name="object 5"/>
          <p:cNvSpPr txBox="1"/>
          <p:nvPr/>
        </p:nvSpPr>
        <p:spPr>
          <a:xfrm>
            <a:off x="9604629" y="6638645"/>
            <a:ext cx="234886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0">
                <a:solidFill>
                  <a:srgbClr val="12ABDB"/>
                </a:solidFill>
                <a:latin typeface="Verdana"/>
                <a:cs typeface="Verdana"/>
              </a:rPr>
              <a:t> </a:t>
            </a:r>
            <a:r>
              <a:rPr sz="800">
                <a:solidFill>
                  <a:srgbClr val="A6A6A6"/>
                </a:solidFill>
                <a:latin typeface="Verdana"/>
                <a:cs typeface="Verdana"/>
              </a:rPr>
              <a:t>129</a:t>
            </a:r>
            <a:endParaRPr sz="800">
              <a:latin typeface="Verdana"/>
              <a:cs typeface="Verdana"/>
            </a:endParaRPr>
          </a:p>
        </p:txBody>
      </p:sp>
      <p:sp>
        <p:nvSpPr>
          <p:cNvPr id="7" name="object 7"/>
          <p:cNvSpPr txBox="1"/>
          <p:nvPr/>
        </p:nvSpPr>
        <p:spPr>
          <a:xfrm>
            <a:off x="540207" y="2902153"/>
            <a:ext cx="1212215" cy="331470"/>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Training</a:t>
            </a:r>
            <a:endParaRPr sz="2000">
              <a:latin typeface="Verdana"/>
              <a:cs typeface="Verdana"/>
            </a:endParaRPr>
          </a:p>
        </p:txBody>
      </p:sp>
      <p:sp>
        <p:nvSpPr>
          <p:cNvPr id="8" name="object 8"/>
          <p:cNvSpPr txBox="1"/>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latin typeface="Verdana"/>
                <a:cs typeface="Verdana"/>
              </a:rPr>
              <a:t>11</a:t>
            </a:r>
            <a:endParaRPr sz="4400">
              <a:latin typeface="Verdana"/>
              <a:cs typeface="Verdana"/>
            </a:endParaRPr>
          </a:p>
        </p:txBody>
      </p:sp>
      <p:sp>
        <p:nvSpPr>
          <p:cNvPr id="9" name="object 9"/>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pic>
        <p:nvPicPr>
          <p:cNvPr id="12" name="Picture 11">
            <a:extLst>
              <a:ext uri="{FF2B5EF4-FFF2-40B4-BE49-F238E27FC236}">
                <a16:creationId xmlns:a16="http://schemas.microsoft.com/office/drawing/2014/main" id="{B1376F8A-1CB8-43B0-B5B5-4F7A0AE77763}"/>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7075" y="1341119"/>
            <a:ext cx="11689080" cy="5173980"/>
          </a:xfrm>
          <a:custGeom>
            <a:avLst/>
            <a:gdLst/>
            <a:ahLst/>
            <a:cxnLst/>
            <a:rect l="l" t="t" r="r" b="b"/>
            <a:pathLst>
              <a:path w="11689080" h="5173980">
                <a:moveTo>
                  <a:pt x="0" y="5173980"/>
                </a:moveTo>
                <a:lnTo>
                  <a:pt x="11689080" y="5173980"/>
                </a:lnTo>
                <a:lnTo>
                  <a:pt x="11689080" y="0"/>
                </a:lnTo>
                <a:lnTo>
                  <a:pt x="0" y="0"/>
                </a:lnTo>
                <a:lnTo>
                  <a:pt x="0" y="5173980"/>
                </a:lnTo>
                <a:close/>
              </a:path>
            </a:pathLst>
          </a:custGeom>
          <a:solidFill>
            <a:srgbClr val="EBEBEB"/>
          </a:solidFill>
        </p:spPr>
        <p:txBody>
          <a:bodyPr wrap="square" lIns="0" tIns="0" rIns="0" bIns="0" rtlCol="0"/>
          <a:lstStyle/>
          <a:p>
            <a:endParaRPr/>
          </a:p>
        </p:txBody>
      </p:sp>
      <p:sp>
        <p:nvSpPr>
          <p:cNvPr id="3" name="object 3"/>
          <p:cNvSpPr/>
          <p:nvPr/>
        </p:nvSpPr>
        <p:spPr>
          <a:xfrm>
            <a:off x="335279" y="2028444"/>
            <a:ext cx="5428615" cy="1710055"/>
          </a:xfrm>
          <a:custGeom>
            <a:avLst/>
            <a:gdLst/>
            <a:ahLst/>
            <a:cxnLst/>
            <a:rect l="l" t="t" r="r" b="b"/>
            <a:pathLst>
              <a:path w="5428615" h="1710054">
                <a:moveTo>
                  <a:pt x="5243830" y="0"/>
                </a:moveTo>
                <a:lnTo>
                  <a:pt x="184658" y="0"/>
                </a:lnTo>
                <a:lnTo>
                  <a:pt x="135569" y="6596"/>
                </a:lnTo>
                <a:lnTo>
                  <a:pt x="91458" y="25211"/>
                </a:lnTo>
                <a:lnTo>
                  <a:pt x="54086" y="54086"/>
                </a:lnTo>
                <a:lnTo>
                  <a:pt x="25211" y="91458"/>
                </a:lnTo>
                <a:lnTo>
                  <a:pt x="6596" y="135569"/>
                </a:lnTo>
                <a:lnTo>
                  <a:pt x="0" y="184657"/>
                </a:lnTo>
                <a:lnTo>
                  <a:pt x="0" y="1525269"/>
                </a:lnTo>
                <a:lnTo>
                  <a:pt x="6596" y="1574358"/>
                </a:lnTo>
                <a:lnTo>
                  <a:pt x="25211" y="1618469"/>
                </a:lnTo>
                <a:lnTo>
                  <a:pt x="54086" y="1655841"/>
                </a:lnTo>
                <a:lnTo>
                  <a:pt x="91458" y="1684716"/>
                </a:lnTo>
                <a:lnTo>
                  <a:pt x="135569" y="1703331"/>
                </a:lnTo>
                <a:lnTo>
                  <a:pt x="184658" y="1709927"/>
                </a:lnTo>
                <a:lnTo>
                  <a:pt x="5243830" y="1709927"/>
                </a:lnTo>
                <a:lnTo>
                  <a:pt x="5292918" y="1703331"/>
                </a:lnTo>
                <a:lnTo>
                  <a:pt x="5337029" y="1684716"/>
                </a:lnTo>
                <a:lnTo>
                  <a:pt x="5374401" y="1655841"/>
                </a:lnTo>
                <a:lnTo>
                  <a:pt x="5403276" y="1618469"/>
                </a:lnTo>
                <a:lnTo>
                  <a:pt x="5421891" y="1574358"/>
                </a:lnTo>
                <a:lnTo>
                  <a:pt x="5428488" y="1525269"/>
                </a:lnTo>
                <a:lnTo>
                  <a:pt x="5428488" y="184657"/>
                </a:lnTo>
                <a:lnTo>
                  <a:pt x="5421891" y="135569"/>
                </a:lnTo>
                <a:lnTo>
                  <a:pt x="5403276" y="91458"/>
                </a:lnTo>
                <a:lnTo>
                  <a:pt x="5374401" y="54086"/>
                </a:lnTo>
                <a:lnTo>
                  <a:pt x="5337029" y="25211"/>
                </a:lnTo>
                <a:lnTo>
                  <a:pt x="5292918" y="6596"/>
                </a:lnTo>
                <a:lnTo>
                  <a:pt x="5243830" y="0"/>
                </a:lnTo>
                <a:close/>
              </a:path>
            </a:pathLst>
          </a:custGeom>
          <a:solidFill>
            <a:srgbClr val="FFFFFF"/>
          </a:solidFill>
        </p:spPr>
        <p:txBody>
          <a:bodyPr wrap="square" lIns="0" tIns="0" rIns="0" bIns="0" rtlCol="0"/>
          <a:lstStyle/>
          <a:p>
            <a:endParaRPr/>
          </a:p>
        </p:txBody>
      </p:sp>
      <p:sp>
        <p:nvSpPr>
          <p:cNvPr id="4" name="object 4"/>
          <p:cNvSpPr txBox="1"/>
          <p:nvPr/>
        </p:nvSpPr>
        <p:spPr>
          <a:xfrm>
            <a:off x="449376" y="2321432"/>
            <a:ext cx="5143500" cy="1108075"/>
          </a:xfrm>
          <a:prstGeom prst="rect">
            <a:avLst/>
          </a:prstGeom>
        </p:spPr>
        <p:txBody>
          <a:bodyPr vert="horz" wrap="square" lIns="0" tIns="13335" rIns="0" bIns="0" rtlCol="0">
            <a:spAutoFit/>
          </a:bodyPr>
          <a:lstStyle/>
          <a:p>
            <a:pPr marL="189230" marR="92710" indent="-177165">
              <a:lnSpc>
                <a:spcPct val="100000"/>
              </a:lnSpc>
              <a:spcBef>
                <a:spcPts val="105"/>
              </a:spcBef>
              <a:buClr>
                <a:srgbClr val="006FAC"/>
              </a:buClr>
              <a:buFont typeface="Wingdings"/>
              <a:buChar char=""/>
              <a:tabLst>
                <a:tab pos="189865" algn="l"/>
              </a:tabLst>
            </a:pPr>
            <a:r>
              <a:rPr sz="1100" spc="-5">
                <a:latin typeface="Verdana"/>
                <a:cs typeface="Verdana"/>
              </a:rPr>
              <a:t>Enable </a:t>
            </a:r>
            <a:r>
              <a:rPr sz="1100">
                <a:latin typeface="Verdana"/>
                <a:cs typeface="Verdana"/>
              </a:rPr>
              <a:t>Key Users </a:t>
            </a:r>
            <a:r>
              <a:rPr sz="1100" spc="-5">
                <a:latin typeface="Verdana"/>
                <a:cs typeface="Verdana"/>
              </a:rPr>
              <a:t>(KU) to </a:t>
            </a:r>
            <a:r>
              <a:rPr sz="1100">
                <a:latin typeface="Verdana"/>
                <a:cs typeface="Verdana"/>
              </a:rPr>
              <a:t>use Salesforce </a:t>
            </a:r>
            <a:r>
              <a:rPr sz="1100" spc="-5">
                <a:latin typeface="Verdana"/>
                <a:cs typeface="Verdana"/>
              </a:rPr>
              <a:t>Modules </a:t>
            </a:r>
            <a:r>
              <a:rPr sz="1100">
                <a:latin typeface="Verdana"/>
                <a:cs typeface="Verdana"/>
              </a:rPr>
              <a:t>and </a:t>
            </a:r>
            <a:r>
              <a:rPr sz="1100" spc="-5">
                <a:latin typeface="Verdana"/>
                <a:cs typeface="Verdana"/>
              </a:rPr>
              <a:t>to provide End  </a:t>
            </a:r>
            <a:r>
              <a:rPr sz="1100">
                <a:latin typeface="Verdana"/>
                <a:cs typeface="Verdana"/>
              </a:rPr>
              <a:t>Users </a:t>
            </a:r>
            <a:r>
              <a:rPr sz="1100" spc="-5">
                <a:latin typeface="Verdana"/>
                <a:cs typeface="Verdana"/>
              </a:rPr>
              <a:t>(EU)</a:t>
            </a:r>
            <a:r>
              <a:rPr sz="1100" spc="-25">
                <a:latin typeface="Verdana"/>
                <a:cs typeface="Verdana"/>
              </a:rPr>
              <a:t> </a:t>
            </a:r>
            <a:r>
              <a:rPr sz="1100" spc="-5">
                <a:latin typeface="Verdana"/>
                <a:cs typeface="Verdana"/>
              </a:rPr>
              <a:t>trainings</a:t>
            </a:r>
            <a:endParaRPr sz="1100">
              <a:latin typeface="Verdana"/>
              <a:cs typeface="Verdana"/>
            </a:endParaRPr>
          </a:p>
          <a:p>
            <a:pPr marL="189230" marR="275590" indent="-177165">
              <a:lnSpc>
                <a:spcPct val="100000"/>
              </a:lnSpc>
              <a:spcBef>
                <a:spcPts val="300"/>
              </a:spcBef>
              <a:buClr>
                <a:srgbClr val="006FAC"/>
              </a:buClr>
              <a:buFont typeface="Wingdings"/>
              <a:buChar char=""/>
              <a:tabLst>
                <a:tab pos="189865" algn="l"/>
              </a:tabLst>
            </a:pPr>
            <a:r>
              <a:rPr sz="1100" spc="-5">
                <a:latin typeface="Verdana"/>
                <a:cs typeface="Verdana"/>
              </a:rPr>
              <a:t>Achieve </a:t>
            </a:r>
            <a:r>
              <a:rPr sz="1100">
                <a:latin typeface="Verdana"/>
                <a:cs typeface="Verdana"/>
              </a:rPr>
              <a:t>KU </a:t>
            </a:r>
            <a:r>
              <a:rPr sz="1100" spc="-5">
                <a:latin typeface="Verdana"/>
                <a:cs typeface="Verdana"/>
              </a:rPr>
              <a:t>enablement through comprehensive training program,  suitable training materials </a:t>
            </a:r>
            <a:r>
              <a:rPr sz="1100">
                <a:latin typeface="Verdana"/>
                <a:cs typeface="Verdana"/>
              </a:rPr>
              <a:t>and use case</a:t>
            </a:r>
            <a:r>
              <a:rPr sz="1100" spc="95">
                <a:latin typeface="Verdana"/>
                <a:cs typeface="Verdana"/>
              </a:rPr>
              <a:t> </a:t>
            </a:r>
            <a:r>
              <a:rPr sz="1100" spc="-5">
                <a:latin typeface="Verdana"/>
                <a:cs typeface="Verdana"/>
              </a:rPr>
              <a:t>format</a:t>
            </a:r>
            <a:endParaRPr sz="1100">
              <a:latin typeface="Verdana"/>
              <a:cs typeface="Verdana"/>
            </a:endParaRPr>
          </a:p>
          <a:p>
            <a:pPr marL="189230" marR="5080" indent="-177165">
              <a:lnSpc>
                <a:spcPct val="100000"/>
              </a:lnSpc>
              <a:spcBef>
                <a:spcPts val="300"/>
              </a:spcBef>
              <a:buClr>
                <a:srgbClr val="006FAC"/>
              </a:buClr>
              <a:buFont typeface="Wingdings"/>
              <a:buChar char=""/>
              <a:tabLst>
                <a:tab pos="189865" algn="l"/>
              </a:tabLst>
            </a:pPr>
            <a:r>
              <a:rPr sz="1100" spc="-5">
                <a:latin typeface="Verdana"/>
                <a:cs typeface="Verdana"/>
              </a:rPr>
              <a:t>Training management including approach, </a:t>
            </a:r>
            <a:r>
              <a:rPr sz="1100">
                <a:latin typeface="Verdana"/>
                <a:cs typeface="Verdana"/>
              </a:rPr>
              <a:t>needs </a:t>
            </a:r>
            <a:r>
              <a:rPr sz="1100" spc="-5">
                <a:latin typeface="Verdana"/>
                <a:cs typeface="Verdana"/>
              </a:rPr>
              <a:t>analysis, curriculum,  materials, trainings </a:t>
            </a:r>
            <a:r>
              <a:rPr sz="1100">
                <a:latin typeface="Verdana"/>
                <a:cs typeface="Verdana"/>
              </a:rPr>
              <a:t>and </a:t>
            </a:r>
            <a:r>
              <a:rPr sz="1100" spc="-5">
                <a:latin typeface="Verdana"/>
                <a:cs typeface="Verdana"/>
              </a:rPr>
              <a:t>feedback</a:t>
            </a:r>
            <a:r>
              <a:rPr sz="1100" spc="75">
                <a:latin typeface="Verdana"/>
                <a:cs typeface="Verdana"/>
              </a:rPr>
              <a:t> </a:t>
            </a:r>
            <a:r>
              <a:rPr sz="1100" spc="-5">
                <a:latin typeface="Verdana"/>
                <a:cs typeface="Verdana"/>
              </a:rPr>
              <a:t>analysis</a:t>
            </a:r>
            <a:endParaRPr sz="1100">
              <a:latin typeface="Verdana"/>
              <a:cs typeface="Verdana"/>
            </a:endParaRPr>
          </a:p>
        </p:txBody>
      </p:sp>
      <p:sp>
        <p:nvSpPr>
          <p:cNvPr id="5" name="object 5"/>
          <p:cNvSpPr/>
          <p:nvPr/>
        </p:nvSpPr>
        <p:spPr>
          <a:xfrm>
            <a:off x="335279" y="4154423"/>
            <a:ext cx="5428615" cy="2208530"/>
          </a:xfrm>
          <a:custGeom>
            <a:avLst/>
            <a:gdLst/>
            <a:ahLst/>
            <a:cxnLst/>
            <a:rect l="l" t="t" r="r" b="b"/>
            <a:pathLst>
              <a:path w="5428615" h="2208529">
                <a:moveTo>
                  <a:pt x="5190744" y="0"/>
                </a:moveTo>
                <a:lnTo>
                  <a:pt x="237744" y="0"/>
                </a:lnTo>
                <a:lnTo>
                  <a:pt x="189829" y="4829"/>
                </a:lnTo>
                <a:lnTo>
                  <a:pt x="145202" y="18680"/>
                </a:lnTo>
                <a:lnTo>
                  <a:pt x="104817" y="40598"/>
                </a:lnTo>
                <a:lnTo>
                  <a:pt x="69632" y="69627"/>
                </a:lnTo>
                <a:lnTo>
                  <a:pt x="40602" y="104812"/>
                </a:lnTo>
                <a:lnTo>
                  <a:pt x="18682" y="145196"/>
                </a:lnTo>
                <a:lnTo>
                  <a:pt x="4829" y="189825"/>
                </a:lnTo>
                <a:lnTo>
                  <a:pt x="0" y="237744"/>
                </a:lnTo>
                <a:lnTo>
                  <a:pt x="0" y="1970532"/>
                </a:lnTo>
                <a:lnTo>
                  <a:pt x="4829" y="2018446"/>
                </a:lnTo>
                <a:lnTo>
                  <a:pt x="18682" y="2063073"/>
                </a:lnTo>
                <a:lnTo>
                  <a:pt x="40602" y="2103458"/>
                </a:lnTo>
                <a:lnTo>
                  <a:pt x="69632" y="2138643"/>
                </a:lnTo>
                <a:lnTo>
                  <a:pt x="104817" y="2167673"/>
                </a:lnTo>
                <a:lnTo>
                  <a:pt x="145202" y="2189593"/>
                </a:lnTo>
                <a:lnTo>
                  <a:pt x="189829" y="2203446"/>
                </a:lnTo>
                <a:lnTo>
                  <a:pt x="237744" y="2208276"/>
                </a:lnTo>
                <a:lnTo>
                  <a:pt x="5190744" y="2208276"/>
                </a:lnTo>
                <a:lnTo>
                  <a:pt x="5238662" y="2203446"/>
                </a:lnTo>
                <a:lnTo>
                  <a:pt x="5283291" y="2189593"/>
                </a:lnTo>
                <a:lnTo>
                  <a:pt x="5323675" y="2167673"/>
                </a:lnTo>
                <a:lnTo>
                  <a:pt x="5358860" y="2138643"/>
                </a:lnTo>
                <a:lnTo>
                  <a:pt x="5387889" y="2103458"/>
                </a:lnTo>
                <a:lnTo>
                  <a:pt x="5409807" y="2063073"/>
                </a:lnTo>
                <a:lnTo>
                  <a:pt x="5423658" y="2018446"/>
                </a:lnTo>
                <a:lnTo>
                  <a:pt x="5428488" y="1970532"/>
                </a:lnTo>
                <a:lnTo>
                  <a:pt x="5428488" y="237744"/>
                </a:lnTo>
                <a:lnTo>
                  <a:pt x="5423658" y="189825"/>
                </a:lnTo>
                <a:lnTo>
                  <a:pt x="5409807" y="145196"/>
                </a:lnTo>
                <a:lnTo>
                  <a:pt x="5387889" y="104812"/>
                </a:lnTo>
                <a:lnTo>
                  <a:pt x="5358860" y="69627"/>
                </a:lnTo>
                <a:lnTo>
                  <a:pt x="5323675" y="40598"/>
                </a:lnTo>
                <a:lnTo>
                  <a:pt x="5283291" y="18680"/>
                </a:lnTo>
                <a:lnTo>
                  <a:pt x="5238662" y="4829"/>
                </a:lnTo>
                <a:lnTo>
                  <a:pt x="5190744" y="0"/>
                </a:lnTo>
                <a:close/>
              </a:path>
            </a:pathLst>
          </a:custGeom>
          <a:solidFill>
            <a:srgbClr val="FFFFFF"/>
          </a:solidFill>
        </p:spPr>
        <p:txBody>
          <a:bodyPr wrap="square" lIns="0" tIns="0" rIns="0" bIns="0" rtlCol="0"/>
          <a:lstStyle/>
          <a:p>
            <a:endParaRPr/>
          </a:p>
        </p:txBody>
      </p:sp>
      <p:sp>
        <p:nvSpPr>
          <p:cNvPr id="6" name="object 6"/>
          <p:cNvSpPr txBox="1">
            <a:spLocks noGrp="1"/>
          </p:cNvSpPr>
          <p:nvPr>
            <p:ph type="title"/>
          </p:nvPr>
        </p:nvSpPr>
        <p:spPr>
          <a:xfrm>
            <a:off x="214680" y="0"/>
            <a:ext cx="10140315" cy="1136015"/>
          </a:xfrm>
          <a:prstGeom prst="rect">
            <a:avLst/>
          </a:prstGeom>
        </p:spPr>
        <p:txBody>
          <a:bodyPr vert="horz" wrap="square" lIns="0" tIns="57785" rIns="0" bIns="0" rtlCol="0">
            <a:spAutoFit/>
          </a:bodyPr>
          <a:lstStyle/>
          <a:p>
            <a:pPr marL="12700" marR="5080">
              <a:lnSpc>
                <a:spcPts val="2810"/>
              </a:lnSpc>
              <a:spcBef>
                <a:spcPts val="455"/>
              </a:spcBef>
            </a:pPr>
            <a:r>
              <a:rPr sz="2600" u="heavy" spc="-35">
                <a:uFill>
                  <a:solidFill>
                    <a:srgbClr val="006FAC"/>
                  </a:solidFill>
                </a:uFill>
              </a:rPr>
              <a:t>Training</a:t>
            </a:r>
            <a:r>
              <a:rPr sz="2600" spc="-35"/>
              <a:t> </a:t>
            </a:r>
            <a:r>
              <a:rPr sz="2600"/>
              <a:t>is </a:t>
            </a:r>
            <a:r>
              <a:rPr sz="2600" spc="-5"/>
              <a:t>Organized Through Five Phases that </a:t>
            </a:r>
            <a:r>
              <a:rPr sz="2600"/>
              <a:t>will Compose  a Flow Aimed </a:t>
            </a:r>
            <a:r>
              <a:rPr sz="2600" spc="-5"/>
              <a:t>to Deliver </a:t>
            </a:r>
            <a:r>
              <a:rPr sz="2600" spc="-35"/>
              <a:t>Trainers </a:t>
            </a:r>
            <a:r>
              <a:rPr sz="2600"/>
              <a:t>for </a:t>
            </a:r>
            <a:r>
              <a:rPr sz="2600" spc="-5"/>
              <a:t>the </a:t>
            </a:r>
            <a:r>
              <a:rPr sz="2600"/>
              <a:t>Salesforce </a:t>
            </a:r>
            <a:r>
              <a:rPr sz="2600" spc="-10"/>
              <a:t>Rollout  </a:t>
            </a:r>
            <a:r>
              <a:rPr sz="2600" spc="-5"/>
              <a:t>Project</a:t>
            </a:r>
            <a:endParaRPr sz="2600"/>
          </a:p>
        </p:txBody>
      </p:sp>
      <p:sp>
        <p:nvSpPr>
          <p:cNvPr id="7" name="object 7"/>
          <p:cNvSpPr/>
          <p:nvPr/>
        </p:nvSpPr>
        <p:spPr>
          <a:xfrm>
            <a:off x="335279" y="1772411"/>
            <a:ext cx="5428615" cy="433070"/>
          </a:xfrm>
          <a:custGeom>
            <a:avLst/>
            <a:gdLst/>
            <a:ahLst/>
            <a:cxnLst/>
            <a:rect l="l" t="t" r="r" b="b"/>
            <a:pathLst>
              <a:path w="5428615" h="433069">
                <a:moveTo>
                  <a:pt x="5212080" y="0"/>
                </a:moveTo>
                <a:lnTo>
                  <a:pt x="216408" y="0"/>
                </a:lnTo>
                <a:lnTo>
                  <a:pt x="166787" y="5716"/>
                </a:lnTo>
                <a:lnTo>
                  <a:pt x="121236" y="21998"/>
                </a:lnTo>
                <a:lnTo>
                  <a:pt x="81055" y="47546"/>
                </a:lnTo>
                <a:lnTo>
                  <a:pt x="47542" y="81060"/>
                </a:lnTo>
                <a:lnTo>
                  <a:pt x="21995" y="121242"/>
                </a:lnTo>
                <a:lnTo>
                  <a:pt x="5715" y="166791"/>
                </a:lnTo>
                <a:lnTo>
                  <a:pt x="0" y="216408"/>
                </a:lnTo>
                <a:lnTo>
                  <a:pt x="0" y="432815"/>
                </a:lnTo>
                <a:lnTo>
                  <a:pt x="5428488" y="432815"/>
                </a:lnTo>
                <a:lnTo>
                  <a:pt x="5428488" y="216408"/>
                </a:lnTo>
                <a:lnTo>
                  <a:pt x="5422771" y="166791"/>
                </a:lnTo>
                <a:lnTo>
                  <a:pt x="5406489" y="121242"/>
                </a:lnTo>
                <a:lnTo>
                  <a:pt x="5380941" y="81060"/>
                </a:lnTo>
                <a:lnTo>
                  <a:pt x="5347427" y="47546"/>
                </a:lnTo>
                <a:lnTo>
                  <a:pt x="5307245" y="21998"/>
                </a:lnTo>
                <a:lnTo>
                  <a:pt x="5261696" y="5716"/>
                </a:lnTo>
                <a:lnTo>
                  <a:pt x="5212080" y="0"/>
                </a:lnTo>
                <a:close/>
              </a:path>
            </a:pathLst>
          </a:custGeom>
          <a:solidFill>
            <a:srgbClr val="006FAC"/>
          </a:solidFill>
        </p:spPr>
        <p:txBody>
          <a:bodyPr wrap="square" lIns="0" tIns="0" rIns="0" bIns="0" rtlCol="0"/>
          <a:lstStyle/>
          <a:p>
            <a:endParaRPr/>
          </a:p>
        </p:txBody>
      </p:sp>
      <p:sp>
        <p:nvSpPr>
          <p:cNvPr id="8" name="object 8"/>
          <p:cNvSpPr txBox="1"/>
          <p:nvPr/>
        </p:nvSpPr>
        <p:spPr>
          <a:xfrm>
            <a:off x="2511679" y="1889506"/>
            <a:ext cx="1078230" cy="239395"/>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Objectives</a:t>
            </a:r>
            <a:endParaRPr sz="1400">
              <a:latin typeface="Verdana"/>
              <a:cs typeface="Verdana"/>
            </a:endParaRPr>
          </a:p>
        </p:txBody>
      </p:sp>
      <p:sp>
        <p:nvSpPr>
          <p:cNvPr id="9" name="object 9"/>
          <p:cNvSpPr/>
          <p:nvPr/>
        </p:nvSpPr>
        <p:spPr>
          <a:xfrm>
            <a:off x="335279" y="3898391"/>
            <a:ext cx="5428615" cy="431800"/>
          </a:xfrm>
          <a:custGeom>
            <a:avLst/>
            <a:gdLst/>
            <a:ahLst/>
            <a:cxnLst/>
            <a:rect l="l" t="t" r="r" b="b"/>
            <a:pathLst>
              <a:path w="5428615" h="431800">
                <a:moveTo>
                  <a:pt x="5212842" y="0"/>
                </a:moveTo>
                <a:lnTo>
                  <a:pt x="215646" y="0"/>
                </a:lnTo>
                <a:lnTo>
                  <a:pt x="166199" y="5693"/>
                </a:lnTo>
                <a:lnTo>
                  <a:pt x="120809" y="21913"/>
                </a:lnTo>
                <a:lnTo>
                  <a:pt x="80769" y="47366"/>
                </a:lnTo>
                <a:lnTo>
                  <a:pt x="47374" y="80758"/>
                </a:lnTo>
                <a:lnTo>
                  <a:pt x="21918" y="120798"/>
                </a:lnTo>
                <a:lnTo>
                  <a:pt x="5695" y="166191"/>
                </a:lnTo>
                <a:lnTo>
                  <a:pt x="0" y="215645"/>
                </a:lnTo>
                <a:lnTo>
                  <a:pt x="0" y="431291"/>
                </a:lnTo>
                <a:lnTo>
                  <a:pt x="5428488" y="431291"/>
                </a:lnTo>
                <a:lnTo>
                  <a:pt x="5428488" y="215645"/>
                </a:lnTo>
                <a:lnTo>
                  <a:pt x="5422794" y="166191"/>
                </a:lnTo>
                <a:lnTo>
                  <a:pt x="5406574" y="120798"/>
                </a:lnTo>
                <a:lnTo>
                  <a:pt x="5381121" y="80758"/>
                </a:lnTo>
                <a:lnTo>
                  <a:pt x="5347729" y="47366"/>
                </a:lnTo>
                <a:lnTo>
                  <a:pt x="5307689" y="21913"/>
                </a:lnTo>
                <a:lnTo>
                  <a:pt x="5262296" y="5693"/>
                </a:lnTo>
                <a:lnTo>
                  <a:pt x="5212842" y="0"/>
                </a:lnTo>
                <a:close/>
              </a:path>
            </a:pathLst>
          </a:custGeom>
          <a:solidFill>
            <a:srgbClr val="E2001F"/>
          </a:solidFill>
        </p:spPr>
        <p:txBody>
          <a:bodyPr wrap="square" lIns="0" tIns="0" rIns="0" bIns="0" rtlCol="0"/>
          <a:lstStyle/>
          <a:p>
            <a:endParaRPr/>
          </a:p>
        </p:txBody>
      </p:sp>
      <p:sp>
        <p:nvSpPr>
          <p:cNvPr id="10" name="object 10"/>
          <p:cNvSpPr txBox="1"/>
          <p:nvPr/>
        </p:nvSpPr>
        <p:spPr>
          <a:xfrm>
            <a:off x="1749679" y="4025646"/>
            <a:ext cx="2600960" cy="239395"/>
          </a:xfrm>
          <a:prstGeom prst="rect">
            <a:avLst/>
          </a:prstGeom>
        </p:spPr>
        <p:txBody>
          <a:bodyPr vert="horz" wrap="square" lIns="0" tIns="12700" rIns="0" bIns="0" rtlCol="0">
            <a:spAutoFit/>
          </a:bodyPr>
          <a:lstStyle/>
          <a:p>
            <a:pPr marL="12700">
              <a:lnSpc>
                <a:spcPct val="100000"/>
              </a:lnSpc>
              <a:spcBef>
                <a:spcPts val="100"/>
              </a:spcBef>
            </a:pPr>
            <a:r>
              <a:rPr sz="1400" b="1" spc="-5">
                <a:solidFill>
                  <a:srgbClr val="FFFFFF"/>
                </a:solidFill>
                <a:latin typeface="Verdana"/>
                <a:cs typeface="Verdana"/>
              </a:rPr>
              <a:t>Development </a:t>
            </a:r>
            <a:r>
              <a:rPr sz="1400" b="1">
                <a:solidFill>
                  <a:srgbClr val="FFFFFF"/>
                </a:solidFill>
                <a:latin typeface="Verdana"/>
                <a:cs typeface="Verdana"/>
              </a:rPr>
              <a:t>&amp;</a:t>
            </a:r>
            <a:r>
              <a:rPr sz="1400" b="1" spc="-60">
                <a:solidFill>
                  <a:srgbClr val="FFFFFF"/>
                </a:solidFill>
                <a:latin typeface="Verdana"/>
                <a:cs typeface="Verdana"/>
              </a:rPr>
              <a:t> </a:t>
            </a:r>
            <a:r>
              <a:rPr sz="1400" b="1" spc="-5">
                <a:solidFill>
                  <a:srgbClr val="FFFFFF"/>
                </a:solidFill>
                <a:latin typeface="Verdana"/>
                <a:cs typeface="Verdana"/>
              </a:rPr>
              <a:t>Execution</a:t>
            </a:r>
            <a:endParaRPr sz="1400">
              <a:latin typeface="Verdana"/>
              <a:cs typeface="Verdana"/>
            </a:endParaRPr>
          </a:p>
        </p:txBody>
      </p:sp>
      <p:sp>
        <p:nvSpPr>
          <p:cNvPr id="11" name="object 11"/>
          <p:cNvSpPr/>
          <p:nvPr/>
        </p:nvSpPr>
        <p:spPr>
          <a:xfrm>
            <a:off x="335279" y="1146047"/>
            <a:ext cx="11521440" cy="504825"/>
          </a:xfrm>
          <a:custGeom>
            <a:avLst/>
            <a:gdLst/>
            <a:ahLst/>
            <a:cxnLst/>
            <a:rect l="l" t="t" r="r" b="b"/>
            <a:pathLst>
              <a:path w="11521440" h="504825">
                <a:moveTo>
                  <a:pt x="11269218" y="0"/>
                </a:moveTo>
                <a:lnTo>
                  <a:pt x="252222" y="0"/>
                </a:lnTo>
                <a:lnTo>
                  <a:pt x="206886" y="4062"/>
                </a:lnTo>
                <a:lnTo>
                  <a:pt x="164215" y="15777"/>
                </a:lnTo>
                <a:lnTo>
                  <a:pt x="124922" y="34431"/>
                </a:lnTo>
                <a:lnTo>
                  <a:pt x="89720" y="59312"/>
                </a:lnTo>
                <a:lnTo>
                  <a:pt x="59321" y="89710"/>
                </a:lnTo>
                <a:lnTo>
                  <a:pt x="34436" y="124911"/>
                </a:lnTo>
                <a:lnTo>
                  <a:pt x="15780" y="164205"/>
                </a:lnTo>
                <a:lnTo>
                  <a:pt x="4063" y="206879"/>
                </a:lnTo>
                <a:lnTo>
                  <a:pt x="0" y="252222"/>
                </a:lnTo>
                <a:lnTo>
                  <a:pt x="4063" y="297564"/>
                </a:lnTo>
                <a:lnTo>
                  <a:pt x="15780" y="340238"/>
                </a:lnTo>
                <a:lnTo>
                  <a:pt x="34436" y="379532"/>
                </a:lnTo>
                <a:lnTo>
                  <a:pt x="59321" y="414733"/>
                </a:lnTo>
                <a:lnTo>
                  <a:pt x="89720" y="445131"/>
                </a:lnTo>
                <a:lnTo>
                  <a:pt x="124922" y="470012"/>
                </a:lnTo>
                <a:lnTo>
                  <a:pt x="164215" y="488666"/>
                </a:lnTo>
                <a:lnTo>
                  <a:pt x="206886" y="500381"/>
                </a:lnTo>
                <a:lnTo>
                  <a:pt x="252222" y="504443"/>
                </a:lnTo>
                <a:lnTo>
                  <a:pt x="11269218" y="504443"/>
                </a:lnTo>
                <a:lnTo>
                  <a:pt x="11314560" y="500381"/>
                </a:lnTo>
                <a:lnTo>
                  <a:pt x="11357234" y="488666"/>
                </a:lnTo>
                <a:lnTo>
                  <a:pt x="11396528" y="470012"/>
                </a:lnTo>
                <a:lnTo>
                  <a:pt x="11431729" y="445131"/>
                </a:lnTo>
                <a:lnTo>
                  <a:pt x="11462127" y="414733"/>
                </a:lnTo>
                <a:lnTo>
                  <a:pt x="11487008" y="379532"/>
                </a:lnTo>
                <a:lnTo>
                  <a:pt x="11505662" y="340238"/>
                </a:lnTo>
                <a:lnTo>
                  <a:pt x="11517377" y="297564"/>
                </a:lnTo>
                <a:lnTo>
                  <a:pt x="11521440" y="252222"/>
                </a:lnTo>
                <a:lnTo>
                  <a:pt x="11517377" y="206879"/>
                </a:lnTo>
                <a:lnTo>
                  <a:pt x="11505662" y="164205"/>
                </a:lnTo>
                <a:lnTo>
                  <a:pt x="11487008" y="124911"/>
                </a:lnTo>
                <a:lnTo>
                  <a:pt x="11462127" y="89710"/>
                </a:lnTo>
                <a:lnTo>
                  <a:pt x="11431729" y="59312"/>
                </a:lnTo>
                <a:lnTo>
                  <a:pt x="11396528" y="34431"/>
                </a:lnTo>
                <a:lnTo>
                  <a:pt x="11357234" y="15777"/>
                </a:lnTo>
                <a:lnTo>
                  <a:pt x="11314560" y="4062"/>
                </a:lnTo>
                <a:lnTo>
                  <a:pt x="11269218" y="0"/>
                </a:lnTo>
                <a:close/>
              </a:path>
            </a:pathLst>
          </a:custGeom>
          <a:solidFill>
            <a:srgbClr val="421F5D"/>
          </a:solidFill>
        </p:spPr>
        <p:txBody>
          <a:bodyPr wrap="square" lIns="0" tIns="0" rIns="0" bIns="0" rtlCol="0"/>
          <a:lstStyle/>
          <a:p>
            <a:endParaRPr/>
          </a:p>
        </p:txBody>
      </p:sp>
      <p:sp>
        <p:nvSpPr>
          <p:cNvPr id="12" name="object 12"/>
          <p:cNvSpPr txBox="1"/>
          <p:nvPr/>
        </p:nvSpPr>
        <p:spPr>
          <a:xfrm>
            <a:off x="4301997" y="1250696"/>
            <a:ext cx="3587115" cy="269240"/>
          </a:xfrm>
          <a:prstGeom prst="rect">
            <a:avLst/>
          </a:prstGeom>
        </p:spPr>
        <p:txBody>
          <a:bodyPr vert="horz" wrap="square" lIns="0" tIns="12065" rIns="0" bIns="0" rtlCol="0">
            <a:spAutoFit/>
          </a:bodyPr>
          <a:lstStyle/>
          <a:p>
            <a:pPr marL="12700">
              <a:lnSpc>
                <a:spcPct val="100000"/>
              </a:lnSpc>
              <a:spcBef>
                <a:spcPts val="95"/>
              </a:spcBef>
            </a:pPr>
            <a:r>
              <a:rPr sz="1600" spc="-10">
                <a:solidFill>
                  <a:srgbClr val="FFFFFF"/>
                </a:solidFill>
                <a:latin typeface="Verdana"/>
                <a:cs typeface="Verdana"/>
              </a:rPr>
              <a:t>Introduction </a:t>
            </a:r>
            <a:r>
              <a:rPr sz="1600" spc="-5">
                <a:solidFill>
                  <a:srgbClr val="FFFFFF"/>
                </a:solidFill>
                <a:latin typeface="Verdana"/>
                <a:cs typeface="Verdana"/>
              </a:rPr>
              <a:t>to the </a:t>
            </a:r>
            <a:r>
              <a:rPr sz="1600" spc="-10">
                <a:solidFill>
                  <a:srgbClr val="FFFFFF"/>
                </a:solidFill>
                <a:latin typeface="Verdana"/>
                <a:cs typeface="Verdana"/>
              </a:rPr>
              <a:t>training</a:t>
            </a:r>
            <a:r>
              <a:rPr sz="1600" spc="60">
                <a:solidFill>
                  <a:srgbClr val="FFFFFF"/>
                </a:solidFill>
                <a:latin typeface="Verdana"/>
                <a:cs typeface="Verdana"/>
              </a:rPr>
              <a:t> </a:t>
            </a:r>
            <a:r>
              <a:rPr sz="1600" spc="-5">
                <a:solidFill>
                  <a:srgbClr val="FFFFFF"/>
                </a:solidFill>
                <a:latin typeface="Verdana"/>
                <a:cs typeface="Verdana"/>
              </a:rPr>
              <a:t>stream</a:t>
            </a:r>
            <a:endParaRPr sz="1600">
              <a:latin typeface="Verdana"/>
              <a:cs typeface="Verdana"/>
            </a:endParaRPr>
          </a:p>
        </p:txBody>
      </p:sp>
      <p:sp>
        <p:nvSpPr>
          <p:cNvPr id="13" name="object 13"/>
          <p:cNvSpPr/>
          <p:nvPr/>
        </p:nvSpPr>
        <p:spPr>
          <a:xfrm>
            <a:off x="408431" y="1827276"/>
            <a:ext cx="502920" cy="475615"/>
          </a:xfrm>
          <a:custGeom>
            <a:avLst/>
            <a:gdLst/>
            <a:ahLst/>
            <a:cxnLst/>
            <a:rect l="l" t="t" r="r" b="b"/>
            <a:pathLst>
              <a:path w="502919" h="475614">
                <a:moveTo>
                  <a:pt x="251460" y="0"/>
                </a:moveTo>
                <a:lnTo>
                  <a:pt x="202234" y="5662"/>
                </a:lnTo>
                <a:lnTo>
                  <a:pt x="155714" y="19891"/>
                </a:lnTo>
                <a:lnTo>
                  <a:pt x="113088" y="41835"/>
                </a:lnTo>
                <a:lnTo>
                  <a:pt x="75547" y="70643"/>
                </a:lnTo>
                <a:lnTo>
                  <a:pt x="44278" y="105464"/>
                </a:lnTo>
                <a:lnTo>
                  <a:pt x="20472" y="145446"/>
                </a:lnTo>
                <a:lnTo>
                  <a:pt x="5316" y="189738"/>
                </a:lnTo>
                <a:lnTo>
                  <a:pt x="0" y="237489"/>
                </a:lnTo>
                <a:lnTo>
                  <a:pt x="3670" y="280454"/>
                </a:lnTo>
                <a:lnTo>
                  <a:pt x="14399" y="321307"/>
                </a:lnTo>
                <a:lnTo>
                  <a:pt x="31761" y="359179"/>
                </a:lnTo>
                <a:lnTo>
                  <a:pt x="55332" y="393200"/>
                </a:lnTo>
                <a:lnTo>
                  <a:pt x="84687" y="422501"/>
                </a:lnTo>
                <a:lnTo>
                  <a:pt x="119402" y="446212"/>
                </a:lnTo>
                <a:lnTo>
                  <a:pt x="159052" y="463463"/>
                </a:lnTo>
                <a:lnTo>
                  <a:pt x="203213" y="473384"/>
                </a:lnTo>
                <a:lnTo>
                  <a:pt x="251460" y="475107"/>
                </a:lnTo>
                <a:lnTo>
                  <a:pt x="293214" y="467798"/>
                </a:lnTo>
                <a:lnTo>
                  <a:pt x="336227" y="452784"/>
                </a:lnTo>
                <a:lnTo>
                  <a:pt x="378395" y="430719"/>
                </a:lnTo>
                <a:lnTo>
                  <a:pt x="417614" y="402256"/>
                </a:lnTo>
                <a:lnTo>
                  <a:pt x="451779" y="368048"/>
                </a:lnTo>
                <a:lnTo>
                  <a:pt x="478788" y="328749"/>
                </a:lnTo>
                <a:lnTo>
                  <a:pt x="496536" y="285012"/>
                </a:lnTo>
                <a:lnTo>
                  <a:pt x="502920" y="237489"/>
                </a:lnTo>
                <a:lnTo>
                  <a:pt x="498226" y="189587"/>
                </a:lnTo>
                <a:lnTo>
                  <a:pt x="484581" y="144928"/>
                </a:lnTo>
                <a:lnTo>
                  <a:pt x="462642" y="104493"/>
                </a:lnTo>
                <a:lnTo>
                  <a:pt x="433063" y="69262"/>
                </a:lnTo>
                <a:lnTo>
                  <a:pt x="396500" y="40217"/>
                </a:lnTo>
                <a:lnTo>
                  <a:pt x="353608" y="18337"/>
                </a:lnTo>
                <a:lnTo>
                  <a:pt x="305043" y="4604"/>
                </a:lnTo>
                <a:lnTo>
                  <a:pt x="251460" y="0"/>
                </a:lnTo>
                <a:close/>
              </a:path>
            </a:pathLst>
          </a:custGeom>
          <a:solidFill>
            <a:srgbClr val="FFFFFF"/>
          </a:solidFill>
        </p:spPr>
        <p:txBody>
          <a:bodyPr wrap="square" lIns="0" tIns="0" rIns="0" bIns="0" rtlCol="0"/>
          <a:lstStyle/>
          <a:p>
            <a:endParaRPr/>
          </a:p>
        </p:txBody>
      </p:sp>
      <p:sp>
        <p:nvSpPr>
          <p:cNvPr id="14" name="object 14"/>
          <p:cNvSpPr/>
          <p:nvPr/>
        </p:nvSpPr>
        <p:spPr>
          <a:xfrm>
            <a:off x="408431" y="1827276"/>
            <a:ext cx="502920" cy="475615"/>
          </a:xfrm>
          <a:custGeom>
            <a:avLst/>
            <a:gdLst/>
            <a:ahLst/>
            <a:cxnLst/>
            <a:rect l="l" t="t" r="r" b="b"/>
            <a:pathLst>
              <a:path w="502919" h="475614">
                <a:moveTo>
                  <a:pt x="0" y="237489"/>
                </a:moveTo>
                <a:lnTo>
                  <a:pt x="5316" y="189738"/>
                </a:lnTo>
                <a:lnTo>
                  <a:pt x="20472" y="145446"/>
                </a:lnTo>
                <a:lnTo>
                  <a:pt x="44278" y="105464"/>
                </a:lnTo>
                <a:lnTo>
                  <a:pt x="75547" y="70643"/>
                </a:lnTo>
                <a:lnTo>
                  <a:pt x="113088" y="41835"/>
                </a:lnTo>
                <a:lnTo>
                  <a:pt x="155714" y="19891"/>
                </a:lnTo>
                <a:lnTo>
                  <a:pt x="202234" y="5662"/>
                </a:lnTo>
                <a:lnTo>
                  <a:pt x="251460" y="0"/>
                </a:lnTo>
                <a:lnTo>
                  <a:pt x="305043" y="4604"/>
                </a:lnTo>
                <a:lnTo>
                  <a:pt x="353608" y="18337"/>
                </a:lnTo>
                <a:lnTo>
                  <a:pt x="396500" y="40217"/>
                </a:lnTo>
                <a:lnTo>
                  <a:pt x="433063" y="69262"/>
                </a:lnTo>
                <a:lnTo>
                  <a:pt x="462642" y="104493"/>
                </a:lnTo>
                <a:lnTo>
                  <a:pt x="484581" y="144928"/>
                </a:lnTo>
                <a:lnTo>
                  <a:pt x="498226" y="189587"/>
                </a:lnTo>
                <a:lnTo>
                  <a:pt x="502920" y="237489"/>
                </a:lnTo>
                <a:lnTo>
                  <a:pt x="496536" y="285012"/>
                </a:lnTo>
                <a:lnTo>
                  <a:pt x="478788" y="328749"/>
                </a:lnTo>
                <a:lnTo>
                  <a:pt x="451779" y="368048"/>
                </a:lnTo>
                <a:lnTo>
                  <a:pt x="417614" y="402256"/>
                </a:lnTo>
                <a:lnTo>
                  <a:pt x="378395" y="430719"/>
                </a:lnTo>
                <a:lnTo>
                  <a:pt x="336227" y="452784"/>
                </a:lnTo>
                <a:lnTo>
                  <a:pt x="293214" y="467798"/>
                </a:lnTo>
                <a:lnTo>
                  <a:pt x="251460" y="475107"/>
                </a:lnTo>
                <a:lnTo>
                  <a:pt x="203213" y="473384"/>
                </a:lnTo>
                <a:lnTo>
                  <a:pt x="159052" y="463463"/>
                </a:lnTo>
                <a:lnTo>
                  <a:pt x="119402" y="446212"/>
                </a:lnTo>
                <a:lnTo>
                  <a:pt x="84687" y="422501"/>
                </a:lnTo>
                <a:lnTo>
                  <a:pt x="55332" y="393200"/>
                </a:lnTo>
                <a:lnTo>
                  <a:pt x="31761" y="359179"/>
                </a:lnTo>
                <a:lnTo>
                  <a:pt x="14399" y="321307"/>
                </a:lnTo>
                <a:lnTo>
                  <a:pt x="3670" y="280454"/>
                </a:lnTo>
                <a:lnTo>
                  <a:pt x="0" y="237489"/>
                </a:lnTo>
                <a:close/>
              </a:path>
            </a:pathLst>
          </a:custGeom>
          <a:ln w="12192">
            <a:solidFill>
              <a:srgbClr val="006FAC"/>
            </a:solidFill>
          </a:ln>
        </p:spPr>
        <p:txBody>
          <a:bodyPr wrap="square" lIns="0" tIns="0" rIns="0" bIns="0" rtlCol="0"/>
          <a:lstStyle/>
          <a:p>
            <a:endParaRPr/>
          </a:p>
        </p:txBody>
      </p:sp>
      <p:sp>
        <p:nvSpPr>
          <p:cNvPr id="15" name="object 15"/>
          <p:cNvSpPr/>
          <p:nvPr/>
        </p:nvSpPr>
        <p:spPr>
          <a:xfrm>
            <a:off x="408431" y="4015740"/>
            <a:ext cx="502920" cy="476884"/>
          </a:xfrm>
          <a:custGeom>
            <a:avLst/>
            <a:gdLst/>
            <a:ahLst/>
            <a:cxnLst/>
            <a:rect l="l" t="t" r="r" b="b"/>
            <a:pathLst>
              <a:path w="502919" h="476885">
                <a:moveTo>
                  <a:pt x="251460" y="0"/>
                </a:moveTo>
                <a:lnTo>
                  <a:pt x="202234" y="5679"/>
                </a:lnTo>
                <a:lnTo>
                  <a:pt x="155714" y="19956"/>
                </a:lnTo>
                <a:lnTo>
                  <a:pt x="113088" y="41976"/>
                </a:lnTo>
                <a:lnTo>
                  <a:pt x="75547" y="70881"/>
                </a:lnTo>
                <a:lnTo>
                  <a:pt x="44278" y="105818"/>
                </a:lnTo>
                <a:lnTo>
                  <a:pt x="20472" y="145928"/>
                </a:lnTo>
                <a:lnTo>
                  <a:pt x="5316" y="190358"/>
                </a:lnTo>
                <a:lnTo>
                  <a:pt x="0" y="238252"/>
                </a:lnTo>
                <a:lnTo>
                  <a:pt x="3670" y="281376"/>
                </a:lnTo>
                <a:lnTo>
                  <a:pt x="14399" y="322370"/>
                </a:lnTo>
                <a:lnTo>
                  <a:pt x="31761" y="360364"/>
                </a:lnTo>
                <a:lnTo>
                  <a:pt x="55332" y="394489"/>
                </a:lnTo>
                <a:lnTo>
                  <a:pt x="84687" y="423874"/>
                </a:lnTo>
                <a:lnTo>
                  <a:pt x="119402" y="447651"/>
                </a:lnTo>
                <a:lnTo>
                  <a:pt x="159052" y="464949"/>
                </a:lnTo>
                <a:lnTo>
                  <a:pt x="203213" y="474899"/>
                </a:lnTo>
                <a:lnTo>
                  <a:pt x="251460" y="476631"/>
                </a:lnTo>
                <a:lnTo>
                  <a:pt x="293214" y="469273"/>
                </a:lnTo>
                <a:lnTo>
                  <a:pt x="336227" y="454207"/>
                </a:lnTo>
                <a:lnTo>
                  <a:pt x="378395" y="432080"/>
                </a:lnTo>
                <a:lnTo>
                  <a:pt x="417614" y="403542"/>
                </a:lnTo>
                <a:lnTo>
                  <a:pt x="451779" y="369241"/>
                </a:lnTo>
                <a:lnTo>
                  <a:pt x="478788" y="329826"/>
                </a:lnTo>
                <a:lnTo>
                  <a:pt x="496536" y="285947"/>
                </a:lnTo>
                <a:lnTo>
                  <a:pt x="502920" y="238252"/>
                </a:lnTo>
                <a:lnTo>
                  <a:pt x="498226" y="190207"/>
                </a:lnTo>
                <a:lnTo>
                  <a:pt x="484581" y="145411"/>
                </a:lnTo>
                <a:lnTo>
                  <a:pt x="462642" y="104846"/>
                </a:lnTo>
                <a:lnTo>
                  <a:pt x="433063" y="69500"/>
                </a:lnTo>
                <a:lnTo>
                  <a:pt x="396500" y="40357"/>
                </a:lnTo>
                <a:lnTo>
                  <a:pt x="353608" y="18403"/>
                </a:lnTo>
                <a:lnTo>
                  <a:pt x="305043" y="4622"/>
                </a:lnTo>
                <a:lnTo>
                  <a:pt x="251460" y="0"/>
                </a:lnTo>
                <a:close/>
              </a:path>
            </a:pathLst>
          </a:custGeom>
          <a:solidFill>
            <a:srgbClr val="FFFFFF"/>
          </a:solidFill>
        </p:spPr>
        <p:txBody>
          <a:bodyPr wrap="square" lIns="0" tIns="0" rIns="0" bIns="0" rtlCol="0"/>
          <a:lstStyle/>
          <a:p>
            <a:endParaRPr/>
          </a:p>
        </p:txBody>
      </p:sp>
      <p:sp>
        <p:nvSpPr>
          <p:cNvPr id="16" name="object 16"/>
          <p:cNvSpPr/>
          <p:nvPr/>
        </p:nvSpPr>
        <p:spPr>
          <a:xfrm>
            <a:off x="408431" y="4015740"/>
            <a:ext cx="502920" cy="476884"/>
          </a:xfrm>
          <a:custGeom>
            <a:avLst/>
            <a:gdLst/>
            <a:ahLst/>
            <a:cxnLst/>
            <a:rect l="l" t="t" r="r" b="b"/>
            <a:pathLst>
              <a:path w="502919" h="476885">
                <a:moveTo>
                  <a:pt x="0" y="238252"/>
                </a:moveTo>
                <a:lnTo>
                  <a:pt x="5316" y="190358"/>
                </a:lnTo>
                <a:lnTo>
                  <a:pt x="20472" y="145928"/>
                </a:lnTo>
                <a:lnTo>
                  <a:pt x="44278" y="105818"/>
                </a:lnTo>
                <a:lnTo>
                  <a:pt x="75547" y="70881"/>
                </a:lnTo>
                <a:lnTo>
                  <a:pt x="113088" y="41976"/>
                </a:lnTo>
                <a:lnTo>
                  <a:pt x="155714" y="19956"/>
                </a:lnTo>
                <a:lnTo>
                  <a:pt x="202234" y="5679"/>
                </a:lnTo>
                <a:lnTo>
                  <a:pt x="251460" y="0"/>
                </a:lnTo>
                <a:lnTo>
                  <a:pt x="305043" y="4622"/>
                </a:lnTo>
                <a:lnTo>
                  <a:pt x="353608" y="18403"/>
                </a:lnTo>
                <a:lnTo>
                  <a:pt x="396500" y="40357"/>
                </a:lnTo>
                <a:lnTo>
                  <a:pt x="433063" y="69500"/>
                </a:lnTo>
                <a:lnTo>
                  <a:pt x="462642" y="104846"/>
                </a:lnTo>
                <a:lnTo>
                  <a:pt x="484581" y="145411"/>
                </a:lnTo>
                <a:lnTo>
                  <a:pt x="498226" y="190207"/>
                </a:lnTo>
                <a:lnTo>
                  <a:pt x="502920" y="238252"/>
                </a:lnTo>
                <a:lnTo>
                  <a:pt x="496536" y="285947"/>
                </a:lnTo>
                <a:lnTo>
                  <a:pt x="478788" y="329826"/>
                </a:lnTo>
                <a:lnTo>
                  <a:pt x="451779" y="369241"/>
                </a:lnTo>
                <a:lnTo>
                  <a:pt x="417614" y="403542"/>
                </a:lnTo>
                <a:lnTo>
                  <a:pt x="378395" y="432080"/>
                </a:lnTo>
                <a:lnTo>
                  <a:pt x="336227" y="454207"/>
                </a:lnTo>
                <a:lnTo>
                  <a:pt x="293214" y="469273"/>
                </a:lnTo>
                <a:lnTo>
                  <a:pt x="251460" y="476631"/>
                </a:lnTo>
                <a:lnTo>
                  <a:pt x="203213" y="474899"/>
                </a:lnTo>
                <a:lnTo>
                  <a:pt x="159052" y="464949"/>
                </a:lnTo>
                <a:lnTo>
                  <a:pt x="119402" y="447651"/>
                </a:lnTo>
                <a:lnTo>
                  <a:pt x="84687" y="423874"/>
                </a:lnTo>
                <a:lnTo>
                  <a:pt x="55332" y="394489"/>
                </a:lnTo>
                <a:lnTo>
                  <a:pt x="31761" y="360364"/>
                </a:lnTo>
                <a:lnTo>
                  <a:pt x="14399" y="322370"/>
                </a:lnTo>
                <a:lnTo>
                  <a:pt x="3670" y="281376"/>
                </a:lnTo>
                <a:lnTo>
                  <a:pt x="0" y="238252"/>
                </a:lnTo>
                <a:close/>
              </a:path>
            </a:pathLst>
          </a:custGeom>
          <a:ln w="12192">
            <a:solidFill>
              <a:srgbClr val="E2001F"/>
            </a:solidFill>
          </a:ln>
        </p:spPr>
        <p:txBody>
          <a:bodyPr wrap="square" lIns="0" tIns="0" rIns="0" bIns="0" rtlCol="0"/>
          <a:lstStyle/>
          <a:p>
            <a:endParaRPr/>
          </a:p>
        </p:txBody>
      </p:sp>
      <p:sp>
        <p:nvSpPr>
          <p:cNvPr id="17" name="object 17"/>
          <p:cNvSpPr/>
          <p:nvPr/>
        </p:nvSpPr>
        <p:spPr>
          <a:xfrm>
            <a:off x="5807964" y="1886711"/>
            <a:ext cx="5975985" cy="4514215"/>
          </a:xfrm>
          <a:custGeom>
            <a:avLst/>
            <a:gdLst/>
            <a:ahLst/>
            <a:cxnLst/>
            <a:rect l="l" t="t" r="r" b="b"/>
            <a:pathLst>
              <a:path w="5975984" h="4514215">
                <a:moveTo>
                  <a:pt x="5439918" y="0"/>
                </a:moveTo>
                <a:lnTo>
                  <a:pt x="535686" y="0"/>
                </a:lnTo>
                <a:lnTo>
                  <a:pt x="486937" y="2189"/>
                </a:lnTo>
                <a:lnTo>
                  <a:pt x="439413" y="8632"/>
                </a:lnTo>
                <a:lnTo>
                  <a:pt x="393303" y="19139"/>
                </a:lnTo>
                <a:lnTo>
                  <a:pt x="348795" y="33521"/>
                </a:lnTo>
                <a:lnTo>
                  <a:pt x="306079" y="51588"/>
                </a:lnTo>
                <a:lnTo>
                  <a:pt x="265345" y="73151"/>
                </a:lnTo>
                <a:lnTo>
                  <a:pt x="226781" y="98021"/>
                </a:lnTo>
                <a:lnTo>
                  <a:pt x="190578" y="126009"/>
                </a:lnTo>
                <a:lnTo>
                  <a:pt x="156924" y="156924"/>
                </a:lnTo>
                <a:lnTo>
                  <a:pt x="126009" y="190578"/>
                </a:lnTo>
                <a:lnTo>
                  <a:pt x="98021" y="226781"/>
                </a:lnTo>
                <a:lnTo>
                  <a:pt x="73151" y="265345"/>
                </a:lnTo>
                <a:lnTo>
                  <a:pt x="51588" y="306079"/>
                </a:lnTo>
                <a:lnTo>
                  <a:pt x="33521" y="348795"/>
                </a:lnTo>
                <a:lnTo>
                  <a:pt x="19139" y="393303"/>
                </a:lnTo>
                <a:lnTo>
                  <a:pt x="8632" y="439413"/>
                </a:lnTo>
                <a:lnTo>
                  <a:pt x="2189" y="486937"/>
                </a:lnTo>
                <a:lnTo>
                  <a:pt x="0" y="535686"/>
                </a:lnTo>
                <a:lnTo>
                  <a:pt x="0" y="3978351"/>
                </a:lnTo>
                <a:lnTo>
                  <a:pt x="2189" y="4027114"/>
                </a:lnTo>
                <a:lnTo>
                  <a:pt x="8632" y="4074651"/>
                </a:lnTo>
                <a:lnTo>
                  <a:pt x="19139" y="4120773"/>
                </a:lnTo>
                <a:lnTo>
                  <a:pt x="33521" y="4165289"/>
                </a:lnTo>
                <a:lnTo>
                  <a:pt x="51588" y="4208011"/>
                </a:lnTo>
                <a:lnTo>
                  <a:pt x="73151" y="4248750"/>
                </a:lnTo>
                <a:lnTo>
                  <a:pt x="98021" y="4287316"/>
                </a:lnTo>
                <a:lnTo>
                  <a:pt x="126009" y="4323521"/>
                </a:lnTo>
                <a:lnTo>
                  <a:pt x="156924" y="4357176"/>
                </a:lnTo>
                <a:lnTo>
                  <a:pt x="190578" y="4388091"/>
                </a:lnTo>
                <a:lnTo>
                  <a:pt x="226781" y="4416077"/>
                </a:lnTo>
                <a:lnTo>
                  <a:pt x="265345" y="4440945"/>
                </a:lnTo>
                <a:lnTo>
                  <a:pt x="306079" y="4462506"/>
                </a:lnTo>
                <a:lnTo>
                  <a:pt x="348795" y="4480571"/>
                </a:lnTo>
                <a:lnTo>
                  <a:pt x="393303" y="4494951"/>
                </a:lnTo>
                <a:lnTo>
                  <a:pt x="439413" y="4505456"/>
                </a:lnTo>
                <a:lnTo>
                  <a:pt x="486937" y="4511898"/>
                </a:lnTo>
                <a:lnTo>
                  <a:pt x="535686" y="4514088"/>
                </a:lnTo>
                <a:lnTo>
                  <a:pt x="5439918" y="4514088"/>
                </a:lnTo>
                <a:lnTo>
                  <a:pt x="5488666" y="4511898"/>
                </a:lnTo>
                <a:lnTo>
                  <a:pt x="5536190" y="4505456"/>
                </a:lnTo>
                <a:lnTo>
                  <a:pt x="5582300" y="4494951"/>
                </a:lnTo>
                <a:lnTo>
                  <a:pt x="5626808" y="4480571"/>
                </a:lnTo>
                <a:lnTo>
                  <a:pt x="5669524" y="4462506"/>
                </a:lnTo>
                <a:lnTo>
                  <a:pt x="5710258" y="4440945"/>
                </a:lnTo>
                <a:lnTo>
                  <a:pt x="5748822" y="4416077"/>
                </a:lnTo>
                <a:lnTo>
                  <a:pt x="5785025" y="4388091"/>
                </a:lnTo>
                <a:lnTo>
                  <a:pt x="5818679" y="4357176"/>
                </a:lnTo>
                <a:lnTo>
                  <a:pt x="5849594" y="4323521"/>
                </a:lnTo>
                <a:lnTo>
                  <a:pt x="5877582" y="4287316"/>
                </a:lnTo>
                <a:lnTo>
                  <a:pt x="5902451" y="4248750"/>
                </a:lnTo>
                <a:lnTo>
                  <a:pt x="5924015" y="4208011"/>
                </a:lnTo>
                <a:lnTo>
                  <a:pt x="5942082" y="4165289"/>
                </a:lnTo>
                <a:lnTo>
                  <a:pt x="5956464" y="4120773"/>
                </a:lnTo>
                <a:lnTo>
                  <a:pt x="5966971" y="4074651"/>
                </a:lnTo>
                <a:lnTo>
                  <a:pt x="5973414" y="4027114"/>
                </a:lnTo>
                <a:lnTo>
                  <a:pt x="5975604" y="3978351"/>
                </a:lnTo>
                <a:lnTo>
                  <a:pt x="5975604" y="535686"/>
                </a:lnTo>
                <a:lnTo>
                  <a:pt x="5973414" y="486937"/>
                </a:lnTo>
                <a:lnTo>
                  <a:pt x="5966971" y="439413"/>
                </a:lnTo>
                <a:lnTo>
                  <a:pt x="5956464" y="393303"/>
                </a:lnTo>
                <a:lnTo>
                  <a:pt x="5942082" y="348795"/>
                </a:lnTo>
                <a:lnTo>
                  <a:pt x="5924015" y="306079"/>
                </a:lnTo>
                <a:lnTo>
                  <a:pt x="5902451" y="265345"/>
                </a:lnTo>
                <a:lnTo>
                  <a:pt x="5877582" y="226781"/>
                </a:lnTo>
                <a:lnTo>
                  <a:pt x="5849594" y="190578"/>
                </a:lnTo>
                <a:lnTo>
                  <a:pt x="5818679" y="156924"/>
                </a:lnTo>
                <a:lnTo>
                  <a:pt x="5785025" y="126009"/>
                </a:lnTo>
                <a:lnTo>
                  <a:pt x="5748822" y="98021"/>
                </a:lnTo>
                <a:lnTo>
                  <a:pt x="5710258" y="73151"/>
                </a:lnTo>
                <a:lnTo>
                  <a:pt x="5669524" y="51588"/>
                </a:lnTo>
                <a:lnTo>
                  <a:pt x="5626808" y="33521"/>
                </a:lnTo>
                <a:lnTo>
                  <a:pt x="5582300" y="19139"/>
                </a:lnTo>
                <a:lnTo>
                  <a:pt x="5536190" y="8632"/>
                </a:lnTo>
                <a:lnTo>
                  <a:pt x="5488666" y="2189"/>
                </a:lnTo>
                <a:lnTo>
                  <a:pt x="5439918" y="0"/>
                </a:lnTo>
                <a:close/>
              </a:path>
            </a:pathLst>
          </a:custGeom>
          <a:solidFill>
            <a:srgbClr val="FFFFFF"/>
          </a:solidFill>
        </p:spPr>
        <p:txBody>
          <a:bodyPr wrap="square" lIns="0" tIns="0" rIns="0" bIns="0" rtlCol="0"/>
          <a:lstStyle/>
          <a:p>
            <a:endParaRPr/>
          </a:p>
        </p:txBody>
      </p:sp>
      <p:sp>
        <p:nvSpPr>
          <p:cNvPr id="18" name="object 18"/>
          <p:cNvSpPr/>
          <p:nvPr/>
        </p:nvSpPr>
        <p:spPr>
          <a:xfrm>
            <a:off x="5815584" y="1766316"/>
            <a:ext cx="5975985" cy="433070"/>
          </a:xfrm>
          <a:custGeom>
            <a:avLst/>
            <a:gdLst/>
            <a:ahLst/>
            <a:cxnLst/>
            <a:rect l="l" t="t" r="r" b="b"/>
            <a:pathLst>
              <a:path w="5975984" h="433069">
                <a:moveTo>
                  <a:pt x="5759195" y="0"/>
                </a:moveTo>
                <a:lnTo>
                  <a:pt x="216407" y="0"/>
                </a:lnTo>
                <a:lnTo>
                  <a:pt x="166791" y="5716"/>
                </a:lnTo>
                <a:lnTo>
                  <a:pt x="121242" y="21998"/>
                </a:lnTo>
                <a:lnTo>
                  <a:pt x="81060" y="47546"/>
                </a:lnTo>
                <a:lnTo>
                  <a:pt x="47546" y="81060"/>
                </a:lnTo>
                <a:lnTo>
                  <a:pt x="21998" y="121242"/>
                </a:lnTo>
                <a:lnTo>
                  <a:pt x="5716" y="166791"/>
                </a:lnTo>
                <a:lnTo>
                  <a:pt x="0" y="216408"/>
                </a:lnTo>
                <a:lnTo>
                  <a:pt x="0" y="432816"/>
                </a:lnTo>
                <a:lnTo>
                  <a:pt x="5975604" y="432816"/>
                </a:lnTo>
                <a:lnTo>
                  <a:pt x="5975604" y="216408"/>
                </a:lnTo>
                <a:lnTo>
                  <a:pt x="5969887" y="166791"/>
                </a:lnTo>
                <a:lnTo>
                  <a:pt x="5953605" y="121242"/>
                </a:lnTo>
                <a:lnTo>
                  <a:pt x="5928057" y="81060"/>
                </a:lnTo>
                <a:lnTo>
                  <a:pt x="5894543" y="47546"/>
                </a:lnTo>
                <a:lnTo>
                  <a:pt x="5854361" y="21998"/>
                </a:lnTo>
                <a:lnTo>
                  <a:pt x="5808812" y="5716"/>
                </a:lnTo>
                <a:lnTo>
                  <a:pt x="5759195" y="0"/>
                </a:lnTo>
                <a:close/>
              </a:path>
            </a:pathLst>
          </a:custGeom>
          <a:solidFill>
            <a:srgbClr val="005382"/>
          </a:solidFill>
        </p:spPr>
        <p:txBody>
          <a:bodyPr wrap="square" lIns="0" tIns="0" rIns="0" bIns="0" rtlCol="0"/>
          <a:lstStyle/>
          <a:p>
            <a:endParaRPr/>
          </a:p>
        </p:txBody>
      </p:sp>
      <p:sp>
        <p:nvSpPr>
          <p:cNvPr id="19" name="object 19"/>
          <p:cNvSpPr txBox="1"/>
          <p:nvPr/>
        </p:nvSpPr>
        <p:spPr>
          <a:xfrm>
            <a:off x="7943215" y="1893824"/>
            <a:ext cx="1721485" cy="239395"/>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Train-the-trainer</a:t>
            </a:r>
            <a:endParaRPr sz="1400">
              <a:latin typeface="Verdana"/>
              <a:cs typeface="Verdana"/>
            </a:endParaRPr>
          </a:p>
        </p:txBody>
      </p:sp>
      <p:sp>
        <p:nvSpPr>
          <p:cNvPr id="20" name="object 20"/>
          <p:cNvSpPr/>
          <p:nvPr/>
        </p:nvSpPr>
        <p:spPr>
          <a:xfrm>
            <a:off x="870966" y="4586478"/>
            <a:ext cx="2159635" cy="1369060"/>
          </a:xfrm>
          <a:custGeom>
            <a:avLst/>
            <a:gdLst/>
            <a:ahLst/>
            <a:cxnLst/>
            <a:rect l="l" t="t" r="r" b="b"/>
            <a:pathLst>
              <a:path w="2159635" h="1369060">
                <a:moveTo>
                  <a:pt x="0" y="169164"/>
                </a:moveTo>
                <a:lnTo>
                  <a:pt x="6042" y="124177"/>
                </a:lnTo>
                <a:lnTo>
                  <a:pt x="23093" y="83763"/>
                </a:lnTo>
                <a:lnTo>
                  <a:pt x="49541" y="49530"/>
                </a:lnTo>
                <a:lnTo>
                  <a:pt x="83772" y="23085"/>
                </a:lnTo>
                <a:lnTo>
                  <a:pt x="124176" y="6039"/>
                </a:lnTo>
                <a:lnTo>
                  <a:pt x="169138" y="0"/>
                </a:lnTo>
                <a:lnTo>
                  <a:pt x="1990344" y="0"/>
                </a:lnTo>
                <a:lnTo>
                  <a:pt x="2035330" y="6039"/>
                </a:lnTo>
                <a:lnTo>
                  <a:pt x="2075744" y="23085"/>
                </a:lnTo>
                <a:lnTo>
                  <a:pt x="2109978" y="49530"/>
                </a:lnTo>
                <a:lnTo>
                  <a:pt x="2136422" y="83763"/>
                </a:lnTo>
                <a:lnTo>
                  <a:pt x="2153468" y="124177"/>
                </a:lnTo>
                <a:lnTo>
                  <a:pt x="2159508" y="169164"/>
                </a:lnTo>
                <a:lnTo>
                  <a:pt x="2159508" y="1199413"/>
                </a:lnTo>
                <a:lnTo>
                  <a:pt x="2153468" y="1244375"/>
                </a:lnTo>
                <a:lnTo>
                  <a:pt x="2136422" y="1284779"/>
                </a:lnTo>
                <a:lnTo>
                  <a:pt x="2109978" y="1319010"/>
                </a:lnTo>
                <a:lnTo>
                  <a:pt x="2075744" y="1345458"/>
                </a:lnTo>
                <a:lnTo>
                  <a:pt x="2035330" y="1362509"/>
                </a:lnTo>
                <a:lnTo>
                  <a:pt x="1990344" y="1368552"/>
                </a:lnTo>
                <a:lnTo>
                  <a:pt x="169138" y="1368552"/>
                </a:lnTo>
                <a:lnTo>
                  <a:pt x="124176" y="1362509"/>
                </a:lnTo>
                <a:lnTo>
                  <a:pt x="83772" y="1345458"/>
                </a:lnTo>
                <a:lnTo>
                  <a:pt x="49541" y="1319010"/>
                </a:lnTo>
                <a:lnTo>
                  <a:pt x="23093" y="1284779"/>
                </a:lnTo>
                <a:lnTo>
                  <a:pt x="6042" y="1244375"/>
                </a:lnTo>
                <a:lnTo>
                  <a:pt x="0" y="1199413"/>
                </a:lnTo>
                <a:lnTo>
                  <a:pt x="0" y="169164"/>
                </a:lnTo>
                <a:close/>
              </a:path>
            </a:pathLst>
          </a:custGeom>
          <a:ln w="19812">
            <a:solidFill>
              <a:srgbClr val="BEBEBE"/>
            </a:solidFill>
          </a:ln>
        </p:spPr>
        <p:txBody>
          <a:bodyPr wrap="square" lIns="0" tIns="0" rIns="0" bIns="0" rtlCol="0"/>
          <a:lstStyle/>
          <a:p>
            <a:endParaRPr/>
          </a:p>
        </p:txBody>
      </p:sp>
      <p:sp>
        <p:nvSpPr>
          <p:cNvPr id="21" name="object 21"/>
          <p:cNvSpPr txBox="1"/>
          <p:nvPr/>
        </p:nvSpPr>
        <p:spPr>
          <a:xfrm>
            <a:off x="979119" y="5234685"/>
            <a:ext cx="1936750" cy="661670"/>
          </a:xfrm>
          <a:prstGeom prst="rect">
            <a:avLst/>
          </a:prstGeom>
        </p:spPr>
        <p:txBody>
          <a:bodyPr vert="horz" wrap="square" lIns="0" tIns="12700" rIns="0" bIns="0" rtlCol="0">
            <a:spAutoFit/>
          </a:bodyPr>
          <a:lstStyle/>
          <a:p>
            <a:pPr marL="184785" marR="5080" indent="-172720">
              <a:lnSpc>
                <a:spcPct val="100000"/>
              </a:lnSpc>
              <a:spcBef>
                <a:spcPts val="100"/>
              </a:spcBef>
              <a:buClr>
                <a:srgbClr val="006FAC"/>
              </a:buClr>
              <a:buFont typeface="Wingdings"/>
              <a:buChar char=""/>
              <a:tabLst>
                <a:tab pos="185420" algn="l"/>
              </a:tabLst>
            </a:pPr>
            <a:r>
              <a:rPr sz="800">
                <a:latin typeface="Verdana"/>
                <a:cs typeface="Verdana"/>
              </a:rPr>
              <a:t>Combination of </a:t>
            </a:r>
            <a:r>
              <a:rPr sz="800" spc="-5">
                <a:latin typeface="Verdana"/>
                <a:cs typeface="Verdana"/>
              </a:rPr>
              <a:t>interactive as well  as </a:t>
            </a:r>
            <a:r>
              <a:rPr sz="800">
                <a:latin typeface="Verdana"/>
                <a:cs typeface="Verdana"/>
              </a:rPr>
              <a:t>classroom</a:t>
            </a:r>
            <a:r>
              <a:rPr sz="800" spc="-50">
                <a:latin typeface="Verdana"/>
                <a:cs typeface="Verdana"/>
              </a:rPr>
              <a:t> </a:t>
            </a:r>
            <a:r>
              <a:rPr sz="800" spc="-5">
                <a:latin typeface="Verdana"/>
                <a:cs typeface="Verdana"/>
              </a:rPr>
              <a:t>learning</a:t>
            </a:r>
            <a:endParaRPr sz="800">
              <a:latin typeface="Verdana"/>
              <a:cs typeface="Verdana"/>
            </a:endParaRPr>
          </a:p>
          <a:p>
            <a:pPr marL="184785" marR="177800" indent="-172720">
              <a:lnSpc>
                <a:spcPct val="100000"/>
              </a:lnSpc>
              <a:spcBef>
                <a:spcPts val="204"/>
              </a:spcBef>
              <a:buClr>
                <a:srgbClr val="006FAC"/>
              </a:buClr>
              <a:buFont typeface="Wingdings"/>
              <a:buChar char=""/>
              <a:tabLst>
                <a:tab pos="185420" algn="l"/>
              </a:tabLst>
            </a:pPr>
            <a:r>
              <a:rPr sz="800">
                <a:latin typeface="Verdana"/>
                <a:cs typeface="Verdana"/>
              </a:rPr>
              <a:t>Re-usable </a:t>
            </a:r>
            <a:r>
              <a:rPr sz="800" spc="-5">
                <a:latin typeface="Verdana"/>
                <a:cs typeface="Verdana"/>
              </a:rPr>
              <a:t>printable </a:t>
            </a:r>
            <a:r>
              <a:rPr sz="800">
                <a:latin typeface="Verdana"/>
                <a:cs typeface="Verdana"/>
              </a:rPr>
              <a:t>&amp; </a:t>
            </a:r>
            <a:r>
              <a:rPr sz="800" spc="-5">
                <a:latin typeface="Verdana"/>
                <a:cs typeface="Verdana"/>
              </a:rPr>
              <a:t>digital  </a:t>
            </a:r>
            <a:r>
              <a:rPr sz="800">
                <a:latin typeface="Verdana"/>
                <a:cs typeface="Verdana"/>
              </a:rPr>
              <a:t>content e.g. user </a:t>
            </a:r>
            <a:r>
              <a:rPr sz="800" spc="-5">
                <a:latin typeface="Verdana"/>
                <a:cs typeface="Verdana"/>
              </a:rPr>
              <a:t>manuals</a:t>
            </a:r>
            <a:r>
              <a:rPr sz="800" spc="-70">
                <a:latin typeface="Verdana"/>
                <a:cs typeface="Verdana"/>
              </a:rPr>
              <a:t> </a:t>
            </a:r>
            <a:r>
              <a:rPr sz="800" spc="-5">
                <a:latin typeface="Verdana"/>
                <a:cs typeface="Verdana"/>
              </a:rPr>
              <a:t>and  training</a:t>
            </a:r>
            <a:r>
              <a:rPr sz="800" spc="10">
                <a:latin typeface="Verdana"/>
                <a:cs typeface="Verdana"/>
              </a:rPr>
              <a:t> </a:t>
            </a:r>
            <a:r>
              <a:rPr sz="800" spc="-5">
                <a:latin typeface="Verdana"/>
                <a:cs typeface="Verdana"/>
              </a:rPr>
              <a:t>presentations</a:t>
            </a:r>
            <a:endParaRPr sz="800">
              <a:latin typeface="Verdana"/>
              <a:cs typeface="Verdana"/>
            </a:endParaRPr>
          </a:p>
        </p:txBody>
      </p:sp>
      <p:sp>
        <p:nvSpPr>
          <p:cNvPr id="22" name="object 22"/>
          <p:cNvSpPr/>
          <p:nvPr/>
        </p:nvSpPr>
        <p:spPr>
          <a:xfrm>
            <a:off x="3088385" y="4586478"/>
            <a:ext cx="2159635" cy="1369060"/>
          </a:xfrm>
          <a:custGeom>
            <a:avLst/>
            <a:gdLst/>
            <a:ahLst/>
            <a:cxnLst/>
            <a:rect l="l" t="t" r="r" b="b"/>
            <a:pathLst>
              <a:path w="2159635" h="1369060">
                <a:moveTo>
                  <a:pt x="0" y="169164"/>
                </a:moveTo>
                <a:lnTo>
                  <a:pt x="6039" y="124177"/>
                </a:lnTo>
                <a:lnTo>
                  <a:pt x="23085" y="83763"/>
                </a:lnTo>
                <a:lnTo>
                  <a:pt x="49530" y="49530"/>
                </a:lnTo>
                <a:lnTo>
                  <a:pt x="83763" y="23085"/>
                </a:lnTo>
                <a:lnTo>
                  <a:pt x="124177" y="6039"/>
                </a:lnTo>
                <a:lnTo>
                  <a:pt x="169163" y="0"/>
                </a:lnTo>
                <a:lnTo>
                  <a:pt x="1990343" y="0"/>
                </a:lnTo>
                <a:lnTo>
                  <a:pt x="2035330" y="6039"/>
                </a:lnTo>
                <a:lnTo>
                  <a:pt x="2075744" y="23085"/>
                </a:lnTo>
                <a:lnTo>
                  <a:pt x="2109978" y="49530"/>
                </a:lnTo>
                <a:lnTo>
                  <a:pt x="2136422" y="83763"/>
                </a:lnTo>
                <a:lnTo>
                  <a:pt x="2153468" y="124177"/>
                </a:lnTo>
                <a:lnTo>
                  <a:pt x="2159508" y="169164"/>
                </a:lnTo>
                <a:lnTo>
                  <a:pt x="2159508" y="1199413"/>
                </a:lnTo>
                <a:lnTo>
                  <a:pt x="2153468" y="1244375"/>
                </a:lnTo>
                <a:lnTo>
                  <a:pt x="2136422" y="1284779"/>
                </a:lnTo>
                <a:lnTo>
                  <a:pt x="2109978" y="1319010"/>
                </a:lnTo>
                <a:lnTo>
                  <a:pt x="2075744" y="1345458"/>
                </a:lnTo>
                <a:lnTo>
                  <a:pt x="2035330" y="1362509"/>
                </a:lnTo>
                <a:lnTo>
                  <a:pt x="1990343" y="1368552"/>
                </a:lnTo>
                <a:lnTo>
                  <a:pt x="169163" y="1368552"/>
                </a:lnTo>
                <a:lnTo>
                  <a:pt x="124177" y="1362509"/>
                </a:lnTo>
                <a:lnTo>
                  <a:pt x="83763" y="1345458"/>
                </a:lnTo>
                <a:lnTo>
                  <a:pt x="49530" y="1319010"/>
                </a:lnTo>
                <a:lnTo>
                  <a:pt x="23085" y="1284779"/>
                </a:lnTo>
                <a:lnTo>
                  <a:pt x="6039" y="1244375"/>
                </a:lnTo>
                <a:lnTo>
                  <a:pt x="0" y="1199413"/>
                </a:lnTo>
                <a:lnTo>
                  <a:pt x="0" y="169164"/>
                </a:lnTo>
                <a:close/>
              </a:path>
            </a:pathLst>
          </a:custGeom>
          <a:ln w="19812">
            <a:solidFill>
              <a:srgbClr val="BEBEBE"/>
            </a:solidFill>
          </a:ln>
        </p:spPr>
        <p:txBody>
          <a:bodyPr wrap="square" lIns="0" tIns="0" rIns="0" bIns="0" rtlCol="0"/>
          <a:lstStyle/>
          <a:p>
            <a:endParaRPr/>
          </a:p>
        </p:txBody>
      </p:sp>
      <p:sp>
        <p:nvSpPr>
          <p:cNvPr id="23" name="object 23"/>
          <p:cNvSpPr txBox="1"/>
          <p:nvPr/>
        </p:nvSpPr>
        <p:spPr>
          <a:xfrm>
            <a:off x="3196589" y="5234685"/>
            <a:ext cx="1862455" cy="661670"/>
          </a:xfrm>
          <a:prstGeom prst="rect">
            <a:avLst/>
          </a:prstGeom>
        </p:spPr>
        <p:txBody>
          <a:bodyPr vert="horz" wrap="square" lIns="0" tIns="12700" rIns="0" bIns="0" rtlCol="0">
            <a:spAutoFit/>
          </a:bodyPr>
          <a:lstStyle/>
          <a:p>
            <a:pPr marL="184785" marR="5080" indent="-172720">
              <a:lnSpc>
                <a:spcPct val="100000"/>
              </a:lnSpc>
              <a:spcBef>
                <a:spcPts val="100"/>
              </a:spcBef>
              <a:buClr>
                <a:srgbClr val="006FAC"/>
              </a:buClr>
              <a:buFont typeface="Wingdings"/>
              <a:buChar char=""/>
              <a:tabLst>
                <a:tab pos="185420" algn="l"/>
              </a:tabLst>
            </a:pPr>
            <a:r>
              <a:rPr sz="800" spc="-5">
                <a:latin typeface="Verdana"/>
                <a:cs typeface="Verdana"/>
              </a:rPr>
              <a:t>E-Learning curriculum </a:t>
            </a:r>
            <a:r>
              <a:rPr sz="800">
                <a:latin typeface="Verdana"/>
                <a:cs typeface="Verdana"/>
              </a:rPr>
              <a:t>on </a:t>
            </a:r>
            <a:r>
              <a:rPr sz="800" spc="-5">
                <a:latin typeface="Verdana"/>
                <a:cs typeface="Verdana"/>
              </a:rPr>
              <a:t>Marelli  platform/Repository</a:t>
            </a:r>
            <a:endParaRPr sz="800">
              <a:latin typeface="Verdana"/>
              <a:cs typeface="Verdana"/>
            </a:endParaRPr>
          </a:p>
          <a:p>
            <a:pPr marL="184785" marR="59055" indent="-172720">
              <a:lnSpc>
                <a:spcPct val="100000"/>
              </a:lnSpc>
              <a:spcBef>
                <a:spcPts val="204"/>
              </a:spcBef>
              <a:buClr>
                <a:srgbClr val="006FAC"/>
              </a:buClr>
              <a:buFont typeface="Wingdings"/>
              <a:buChar char=""/>
              <a:tabLst>
                <a:tab pos="185420" algn="l"/>
              </a:tabLst>
            </a:pPr>
            <a:r>
              <a:rPr sz="800" spc="-5">
                <a:latin typeface="Verdana"/>
                <a:cs typeface="Verdana"/>
              </a:rPr>
              <a:t>Process-specific and </a:t>
            </a:r>
            <a:r>
              <a:rPr sz="800">
                <a:latin typeface="Verdana"/>
                <a:cs typeface="Verdana"/>
              </a:rPr>
              <a:t>role-based  </a:t>
            </a:r>
            <a:r>
              <a:rPr sz="800" spc="-5">
                <a:latin typeface="Verdana"/>
                <a:cs typeface="Verdana"/>
              </a:rPr>
              <a:t>learning in Omnichannel </a:t>
            </a:r>
            <a:r>
              <a:rPr sz="800">
                <a:latin typeface="Verdana"/>
                <a:cs typeface="Verdana"/>
              </a:rPr>
              <a:t>UAT  </a:t>
            </a:r>
            <a:r>
              <a:rPr sz="800" spc="-5">
                <a:latin typeface="Verdana"/>
                <a:cs typeface="Verdana"/>
              </a:rPr>
              <a:t>environment</a:t>
            </a:r>
            <a:endParaRPr sz="800">
              <a:latin typeface="Verdana"/>
              <a:cs typeface="Verdana"/>
            </a:endParaRPr>
          </a:p>
        </p:txBody>
      </p:sp>
      <p:sp>
        <p:nvSpPr>
          <p:cNvPr id="24" name="object 24"/>
          <p:cNvSpPr/>
          <p:nvPr/>
        </p:nvSpPr>
        <p:spPr>
          <a:xfrm>
            <a:off x="1203960" y="4440935"/>
            <a:ext cx="1492250" cy="259079"/>
          </a:xfrm>
          <a:custGeom>
            <a:avLst/>
            <a:gdLst/>
            <a:ahLst/>
            <a:cxnLst/>
            <a:rect l="l" t="t" r="r" b="b"/>
            <a:pathLst>
              <a:path w="1492250" h="259079">
                <a:moveTo>
                  <a:pt x="1362456" y="0"/>
                </a:moveTo>
                <a:lnTo>
                  <a:pt x="129540" y="0"/>
                </a:lnTo>
                <a:lnTo>
                  <a:pt x="79118" y="10185"/>
                </a:lnTo>
                <a:lnTo>
                  <a:pt x="37942" y="37957"/>
                </a:lnTo>
                <a:lnTo>
                  <a:pt x="10180" y="79134"/>
                </a:lnTo>
                <a:lnTo>
                  <a:pt x="0" y="129539"/>
                </a:lnTo>
                <a:lnTo>
                  <a:pt x="10180" y="179945"/>
                </a:lnTo>
                <a:lnTo>
                  <a:pt x="37942" y="221122"/>
                </a:lnTo>
                <a:lnTo>
                  <a:pt x="79118" y="248894"/>
                </a:lnTo>
                <a:lnTo>
                  <a:pt x="129540" y="259080"/>
                </a:lnTo>
                <a:lnTo>
                  <a:pt x="1362456" y="259080"/>
                </a:lnTo>
                <a:lnTo>
                  <a:pt x="1412861" y="248894"/>
                </a:lnTo>
                <a:lnTo>
                  <a:pt x="1454038" y="221122"/>
                </a:lnTo>
                <a:lnTo>
                  <a:pt x="1481810" y="179945"/>
                </a:lnTo>
                <a:lnTo>
                  <a:pt x="1491996" y="129539"/>
                </a:lnTo>
                <a:lnTo>
                  <a:pt x="1481810" y="79134"/>
                </a:lnTo>
                <a:lnTo>
                  <a:pt x="1454038" y="37957"/>
                </a:lnTo>
                <a:lnTo>
                  <a:pt x="1412861" y="10185"/>
                </a:lnTo>
                <a:lnTo>
                  <a:pt x="1362456" y="0"/>
                </a:lnTo>
                <a:close/>
              </a:path>
            </a:pathLst>
          </a:custGeom>
          <a:solidFill>
            <a:srgbClr val="421F5D"/>
          </a:solidFill>
        </p:spPr>
        <p:txBody>
          <a:bodyPr wrap="square" lIns="0" tIns="0" rIns="0" bIns="0" rtlCol="0"/>
          <a:lstStyle/>
          <a:p>
            <a:endParaRPr/>
          </a:p>
        </p:txBody>
      </p:sp>
      <p:sp>
        <p:nvSpPr>
          <p:cNvPr id="25" name="object 25"/>
          <p:cNvSpPr txBox="1"/>
          <p:nvPr/>
        </p:nvSpPr>
        <p:spPr>
          <a:xfrm>
            <a:off x="1464055" y="4496180"/>
            <a:ext cx="1006475"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Training</a:t>
            </a:r>
            <a:r>
              <a:rPr sz="800" b="1" spc="-50">
                <a:solidFill>
                  <a:srgbClr val="FFFFFF"/>
                </a:solidFill>
                <a:latin typeface="Verdana"/>
                <a:cs typeface="Verdana"/>
              </a:rPr>
              <a:t> </a:t>
            </a:r>
            <a:r>
              <a:rPr sz="800" b="1">
                <a:solidFill>
                  <a:srgbClr val="FFFFFF"/>
                </a:solidFill>
                <a:latin typeface="Verdana"/>
                <a:cs typeface="Verdana"/>
              </a:rPr>
              <a:t>Material</a:t>
            </a:r>
            <a:endParaRPr sz="800">
              <a:latin typeface="Verdana"/>
              <a:cs typeface="Verdana"/>
            </a:endParaRPr>
          </a:p>
        </p:txBody>
      </p:sp>
      <p:sp>
        <p:nvSpPr>
          <p:cNvPr id="26" name="object 26"/>
          <p:cNvSpPr/>
          <p:nvPr/>
        </p:nvSpPr>
        <p:spPr>
          <a:xfrm>
            <a:off x="3421379" y="4442459"/>
            <a:ext cx="1492250" cy="256540"/>
          </a:xfrm>
          <a:custGeom>
            <a:avLst/>
            <a:gdLst/>
            <a:ahLst/>
            <a:cxnLst/>
            <a:rect l="l" t="t" r="r" b="b"/>
            <a:pathLst>
              <a:path w="1492250" h="256539">
                <a:moveTo>
                  <a:pt x="1363980" y="0"/>
                </a:moveTo>
                <a:lnTo>
                  <a:pt x="128016" y="0"/>
                </a:lnTo>
                <a:lnTo>
                  <a:pt x="78170" y="10054"/>
                </a:lnTo>
                <a:lnTo>
                  <a:pt x="37480" y="37480"/>
                </a:lnTo>
                <a:lnTo>
                  <a:pt x="10054" y="78170"/>
                </a:lnTo>
                <a:lnTo>
                  <a:pt x="0" y="128015"/>
                </a:lnTo>
                <a:lnTo>
                  <a:pt x="10054" y="177861"/>
                </a:lnTo>
                <a:lnTo>
                  <a:pt x="37480" y="218551"/>
                </a:lnTo>
                <a:lnTo>
                  <a:pt x="78170" y="245977"/>
                </a:lnTo>
                <a:lnTo>
                  <a:pt x="128016" y="256031"/>
                </a:lnTo>
                <a:lnTo>
                  <a:pt x="1363980" y="256031"/>
                </a:lnTo>
                <a:lnTo>
                  <a:pt x="1413825" y="245977"/>
                </a:lnTo>
                <a:lnTo>
                  <a:pt x="1454515" y="218551"/>
                </a:lnTo>
                <a:lnTo>
                  <a:pt x="1481941" y="177861"/>
                </a:lnTo>
                <a:lnTo>
                  <a:pt x="1491996" y="128015"/>
                </a:lnTo>
                <a:lnTo>
                  <a:pt x="1481941" y="78170"/>
                </a:lnTo>
                <a:lnTo>
                  <a:pt x="1454515" y="37480"/>
                </a:lnTo>
                <a:lnTo>
                  <a:pt x="1413825" y="10054"/>
                </a:lnTo>
                <a:lnTo>
                  <a:pt x="1363980" y="0"/>
                </a:lnTo>
                <a:close/>
              </a:path>
            </a:pathLst>
          </a:custGeom>
          <a:solidFill>
            <a:srgbClr val="421F5D"/>
          </a:solidFill>
        </p:spPr>
        <p:txBody>
          <a:bodyPr wrap="square" lIns="0" tIns="0" rIns="0" bIns="0" rtlCol="0"/>
          <a:lstStyle/>
          <a:p>
            <a:endParaRPr/>
          </a:p>
        </p:txBody>
      </p:sp>
      <p:sp>
        <p:nvSpPr>
          <p:cNvPr id="27" name="object 27"/>
          <p:cNvSpPr txBox="1"/>
          <p:nvPr/>
        </p:nvSpPr>
        <p:spPr>
          <a:xfrm>
            <a:off x="3786632" y="4435221"/>
            <a:ext cx="760730" cy="269875"/>
          </a:xfrm>
          <a:prstGeom prst="rect">
            <a:avLst/>
          </a:prstGeom>
        </p:spPr>
        <p:txBody>
          <a:bodyPr vert="horz" wrap="square" lIns="0" tIns="12700" rIns="0" bIns="0" rtlCol="0">
            <a:spAutoFit/>
          </a:bodyPr>
          <a:lstStyle/>
          <a:p>
            <a:pPr marL="12700" marR="5080" indent="146050">
              <a:lnSpc>
                <a:spcPct val="100000"/>
              </a:lnSpc>
              <a:spcBef>
                <a:spcPts val="100"/>
              </a:spcBef>
            </a:pPr>
            <a:r>
              <a:rPr sz="800" b="1">
                <a:solidFill>
                  <a:srgbClr val="FFFFFF"/>
                </a:solidFill>
                <a:latin typeface="Verdana"/>
                <a:cs typeface="Verdana"/>
              </a:rPr>
              <a:t>Training  Envi</a:t>
            </a:r>
            <a:r>
              <a:rPr sz="800" b="1" spc="-5">
                <a:solidFill>
                  <a:srgbClr val="FFFFFF"/>
                </a:solidFill>
                <a:latin typeface="Verdana"/>
                <a:cs typeface="Verdana"/>
              </a:rPr>
              <a:t>r</a:t>
            </a:r>
            <a:r>
              <a:rPr sz="800" b="1">
                <a:solidFill>
                  <a:srgbClr val="FFFFFF"/>
                </a:solidFill>
                <a:latin typeface="Verdana"/>
                <a:cs typeface="Verdana"/>
              </a:rPr>
              <a:t>on</a:t>
            </a:r>
            <a:r>
              <a:rPr sz="800" b="1" spc="-5">
                <a:solidFill>
                  <a:srgbClr val="FFFFFF"/>
                </a:solidFill>
                <a:latin typeface="Verdana"/>
                <a:cs typeface="Verdana"/>
              </a:rPr>
              <a:t>m</a:t>
            </a:r>
            <a:r>
              <a:rPr sz="800" b="1" spc="5">
                <a:solidFill>
                  <a:srgbClr val="FFFFFF"/>
                </a:solidFill>
                <a:latin typeface="Verdana"/>
                <a:cs typeface="Verdana"/>
              </a:rPr>
              <a:t>e</a:t>
            </a:r>
            <a:r>
              <a:rPr sz="800" b="1">
                <a:solidFill>
                  <a:srgbClr val="FFFFFF"/>
                </a:solidFill>
                <a:latin typeface="Verdana"/>
                <a:cs typeface="Verdana"/>
              </a:rPr>
              <a:t>nt</a:t>
            </a:r>
            <a:endParaRPr sz="800">
              <a:latin typeface="Verdana"/>
              <a:cs typeface="Verdana"/>
            </a:endParaRPr>
          </a:p>
        </p:txBody>
      </p:sp>
      <p:sp>
        <p:nvSpPr>
          <p:cNvPr id="28" name="object 28"/>
          <p:cNvSpPr/>
          <p:nvPr/>
        </p:nvSpPr>
        <p:spPr>
          <a:xfrm>
            <a:off x="2220096" y="4833583"/>
            <a:ext cx="391795" cy="371475"/>
          </a:xfrm>
          <a:custGeom>
            <a:avLst/>
            <a:gdLst/>
            <a:ahLst/>
            <a:cxnLst/>
            <a:rect l="l" t="t" r="r" b="b"/>
            <a:pathLst>
              <a:path w="391794" h="371475">
                <a:moveTo>
                  <a:pt x="187642" y="0"/>
                </a:moveTo>
                <a:lnTo>
                  <a:pt x="144104" y="6375"/>
                </a:lnTo>
                <a:lnTo>
                  <a:pt x="101844" y="22515"/>
                </a:lnTo>
                <a:lnTo>
                  <a:pt x="64942" y="47839"/>
                </a:lnTo>
                <a:lnTo>
                  <a:pt x="35789" y="79560"/>
                </a:lnTo>
                <a:lnTo>
                  <a:pt x="14903" y="116131"/>
                </a:lnTo>
                <a:lnTo>
                  <a:pt x="2800" y="156004"/>
                </a:lnTo>
                <a:lnTo>
                  <a:pt x="0" y="197629"/>
                </a:lnTo>
                <a:lnTo>
                  <a:pt x="7018" y="239459"/>
                </a:lnTo>
                <a:lnTo>
                  <a:pt x="24399" y="279977"/>
                </a:lnTo>
                <a:lnTo>
                  <a:pt x="55131" y="320448"/>
                </a:lnTo>
                <a:lnTo>
                  <a:pt x="93862" y="349216"/>
                </a:lnTo>
                <a:lnTo>
                  <a:pt x="138356" y="366193"/>
                </a:lnTo>
                <a:lnTo>
                  <a:pt x="186407" y="371328"/>
                </a:lnTo>
                <a:lnTo>
                  <a:pt x="235805" y="364567"/>
                </a:lnTo>
                <a:lnTo>
                  <a:pt x="284343" y="345857"/>
                </a:lnTo>
                <a:lnTo>
                  <a:pt x="327518" y="316482"/>
                </a:lnTo>
                <a:lnTo>
                  <a:pt x="360480" y="279944"/>
                </a:lnTo>
                <a:lnTo>
                  <a:pt x="382133" y="238145"/>
                </a:lnTo>
                <a:lnTo>
                  <a:pt x="391484" y="192789"/>
                </a:lnTo>
                <a:lnTo>
                  <a:pt x="387472" y="145712"/>
                </a:lnTo>
                <a:lnTo>
                  <a:pt x="369052" y="98715"/>
                </a:lnTo>
                <a:lnTo>
                  <a:pt x="342887" y="63070"/>
                </a:lnTo>
                <a:lnTo>
                  <a:pt x="310079" y="34923"/>
                </a:lnTo>
                <a:lnTo>
                  <a:pt x="272213" y="14726"/>
                </a:lnTo>
                <a:lnTo>
                  <a:pt x="230873" y="2934"/>
                </a:lnTo>
                <a:lnTo>
                  <a:pt x="187642" y="0"/>
                </a:lnTo>
                <a:close/>
              </a:path>
            </a:pathLst>
          </a:custGeom>
          <a:solidFill>
            <a:srgbClr val="2B093C"/>
          </a:solidFill>
        </p:spPr>
        <p:txBody>
          <a:bodyPr wrap="square" lIns="0" tIns="0" rIns="0" bIns="0" rtlCol="0"/>
          <a:lstStyle/>
          <a:p>
            <a:endParaRPr/>
          </a:p>
        </p:txBody>
      </p:sp>
      <p:sp>
        <p:nvSpPr>
          <p:cNvPr id="29" name="object 29"/>
          <p:cNvSpPr/>
          <p:nvPr/>
        </p:nvSpPr>
        <p:spPr>
          <a:xfrm>
            <a:off x="2286000" y="4901184"/>
            <a:ext cx="254507" cy="236220"/>
          </a:xfrm>
          <a:prstGeom prst="rect">
            <a:avLst/>
          </a:prstGeom>
          <a:blipFill>
            <a:blip r:embed="rId2" cstate="print"/>
            <a:stretch>
              <a:fillRect/>
            </a:stretch>
          </a:blipFill>
        </p:spPr>
        <p:txBody>
          <a:bodyPr wrap="square" lIns="0" tIns="0" rIns="0" bIns="0" rtlCol="0"/>
          <a:lstStyle/>
          <a:p>
            <a:endParaRPr/>
          </a:p>
        </p:txBody>
      </p:sp>
      <p:sp>
        <p:nvSpPr>
          <p:cNvPr id="30" name="object 30"/>
          <p:cNvSpPr/>
          <p:nvPr/>
        </p:nvSpPr>
        <p:spPr>
          <a:xfrm>
            <a:off x="3985830" y="4824731"/>
            <a:ext cx="592836" cy="416051"/>
          </a:xfrm>
          <a:prstGeom prst="rect">
            <a:avLst/>
          </a:prstGeom>
          <a:blipFill>
            <a:blip r:embed="rId3" cstate="print"/>
            <a:stretch>
              <a:fillRect/>
            </a:stretch>
          </a:blipFill>
        </p:spPr>
        <p:txBody>
          <a:bodyPr wrap="square" lIns="0" tIns="0" rIns="0" bIns="0" rtlCol="0"/>
          <a:lstStyle/>
          <a:p>
            <a:endParaRPr/>
          </a:p>
        </p:txBody>
      </p:sp>
      <p:sp>
        <p:nvSpPr>
          <p:cNvPr id="31" name="object 31"/>
          <p:cNvSpPr/>
          <p:nvPr/>
        </p:nvSpPr>
        <p:spPr>
          <a:xfrm>
            <a:off x="1288812" y="4832239"/>
            <a:ext cx="395605" cy="371475"/>
          </a:xfrm>
          <a:custGeom>
            <a:avLst/>
            <a:gdLst/>
            <a:ahLst/>
            <a:cxnLst/>
            <a:rect l="l" t="t" r="r" b="b"/>
            <a:pathLst>
              <a:path w="395605" h="371475">
                <a:moveTo>
                  <a:pt x="214674" y="0"/>
                </a:moveTo>
                <a:lnTo>
                  <a:pt x="170351" y="212"/>
                </a:lnTo>
                <a:lnTo>
                  <a:pt x="126094" y="10397"/>
                </a:lnTo>
                <a:lnTo>
                  <a:pt x="85622" y="30830"/>
                </a:lnTo>
                <a:lnTo>
                  <a:pt x="52081" y="58609"/>
                </a:lnTo>
                <a:lnTo>
                  <a:pt x="26167" y="92280"/>
                </a:lnTo>
                <a:lnTo>
                  <a:pt x="8574" y="130387"/>
                </a:lnTo>
                <a:lnTo>
                  <a:pt x="0" y="171476"/>
                </a:lnTo>
                <a:lnTo>
                  <a:pt x="1137" y="214091"/>
                </a:lnTo>
                <a:lnTo>
                  <a:pt x="12683" y="256777"/>
                </a:lnTo>
                <a:lnTo>
                  <a:pt x="33869" y="295959"/>
                </a:lnTo>
                <a:lnTo>
                  <a:pt x="62407" y="327245"/>
                </a:lnTo>
                <a:lnTo>
                  <a:pt x="96882" y="350407"/>
                </a:lnTo>
                <a:lnTo>
                  <a:pt x="135875" y="365215"/>
                </a:lnTo>
                <a:lnTo>
                  <a:pt x="177970" y="371442"/>
                </a:lnTo>
                <a:lnTo>
                  <a:pt x="221749" y="368858"/>
                </a:lnTo>
                <a:lnTo>
                  <a:pt x="265794" y="357234"/>
                </a:lnTo>
                <a:lnTo>
                  <a:pt x="312683" y="334283"/>
                </a:lnTo>
                <a:lnTo>
                  <a:pt x="350372" y="302657"/>
                </a:lnTo>
                <a:lnTo>
                  <a:pt x="377554" y="264096"/>
                </a:lnTo>
                <a:lnTo>
                  <a:pt x="392926" y="220338"/>
                </a:lnTo>
                <a:lnTo>
                  <a:pt x="395181" y="173122"/>
                </a:lnTo>
                <a:lnTo>
                  <a:pt x="383015" y="124189"/>
                </a:lnTo>
                <a:lnTo>
                  <a:pt x="361619" y="84969"/>
                </a:lnTo>
                <a:lnTo>
                  <a:pt x="332536" y="52244"/>
                </a:lnTo>
                <a:lnTo>
                  <a:pt x="297317" y="26711"/>
                </a:lnTo>
                <a:lnTo>
                  <a:pt x="257513" y="9064"/>
                </a:lnTo>
                <a:lnTo>
                  <a:pt x="214674" y="0"/>
                </a:lnTo>
                <a:close/>
              </a:path>
            </a:pathLst>
          </a:custGeom>
          <a:solidFill>
            <a:srgbClr val="12ABDB"/>
          </a:solidFill>
        </p:spPr>
        <p:txBody>
          <a:bodyPr wrap="square" lIns="0" tIns="0" rIns="0" bIns="0" rtlCol="0"/>
          <a:lstStyle/>
          <a:p>
            <a:endParaRPr/>
          </a:p>
        </p:txBody>
      </p:sp>
      <p:sp>
        <p:nvSpPr>
          <p:cNvPr id="32" name="object 32"/>
          <p:cNvSpPr/>
          <p:nvPr/>
        </p:nvSpPr>
        <p:spPr>
          <a:xfrm>
            <a:off x="1388363" y="4927091"/>
            <a:ext cx="210312" cy="135635"/>
          </a:xfrm>
          <a:prstGeom prst="rect">
            <a:avLst/>
          </a:prstGeom>
          <a:blipFill>
            <a:blip r:embed="rId4" cstate="print"/>
            <a:stretch>
              <a:fillRect/>
            </a:stretch>
          </a:blipFill>
        </p:spPr>
        <p:txBody>
          <a:bodyPr wrap="square" lIns="0" tIns="0" rIns="0" bIns="0" rtlCol="0"/>
          <a:lstStyle/>
          <a:p>
            <a:endParaRPr/>
          </a:p>
        </p:txBody>
      </p:sp>
      <p:sp>
        <p:nvSpPr>
          <p:cNvPr id="33" name="object 33"/>
          <p:cNvSpPr/>
          <p:nvPr/>
        </p:nvSpPr>
        <p:spPr>
          <a:xfrm>
            <a:off x="1356360" y="5091684"/>
            <a:ext cx="274320" cy="12700"/>
          </a:xfrm>
          <a:custGeom>
            <a:avLst/>
            <a:gdLst/>
            <a:ahLst/>
            <a:cxnLst/>
            <a:rect l="l" t="t" r="r" b="b"/>
            <a:pathLst>
              <a:path w="274319" h="12700">
                <a:moveTo>
                  <a:pt x="0" y="12192"/>
                </a:moveTo>
                <a:lnTo>
                  <a:pt x="274320" y="12192"/>
                </a:lnTo>
                <a:lnTo>
                  <a:pt x="274320" y="0"/>
                </a:lnTo>
                <a:lnTo>
                  <a:pt x="0" y="0"/>
                </a:lnTo>
                <a:lnTo>
                  <a:pt x="0" y="12192"/>
                </a:lnTo>
                <a:close/>
              </a:path>
            </a:pathLst>
          </a:custGeom>
          <a:solidFill>
            <a:srgbClr val="2C1A39"/>
          </a:solidFill>
        </p:spPr>
        <p:txBody>
          <a:bodyPr wrap="square" lIns="0" tIns="0" rIns="0" bIns="0" rtlCol="0"/>
          <a:lstStyle/>
          <a:p>
            <a:endParaRPr/>
          </a:p>
        </p:txBody>
      </p:sp>
      <p:sp>
        <p:nvSpPr>
          <p:cNvPr id="34" name="object 34"/>
          <p:cNvSpPr/>
          <p:nvPr/>
        </p:nvSpPr>
        <p:spPr>
          <a:xfrm>
            <a:off x="1356360" y="5065776"/>
            <a:ext cx="273050" cy="26034"/>
          </a:xfrm>
          <a:custGeom>
            <a:avLst/>
            <a:gdLst/>
            <a:ahLst/>
            <a:cxnLst/>
            <a:rect l="l" t="t" r="r" b="b"/>
            <a:pathLst>
              <a:path w="273050" h="26035">
                <a:moveTo>
                  <a:pt x="0" y="25907"/>
                </a:moveTo>
                <a:lnTo>
                  <a:pt x="272796" y="25907"/>
                </a:lnTo>
                <a:lnTo>
                  <a:pt x="272796" y="0"/>
                </a:lnTo>
                <a:lnTo>
                  <a:pt x="0" y="0"/>
                </a:lnTo>
                <a:lnTo>
                  <a:pt x="0" y="25907"/>
                </a:lnTo>
                <a:close/>
              </a:path>
            </a:pathLst>
          </a:custGeom>
          <a:solidFill>
            <a:srgbClr val="482C84"/>
          </a:solidFill>
        </p:spPr>
        <p:txBody>
          <a:bodyPr wrap="square" lIns="0" tIns="0" rIns="0" bIns="0" rtlCol="0"/>
          <a:lstStyle/>
          <a:p>
            <a:endParaRPr/>
          </a:p>
        </p:txBody>
      </p:sp>
      <p:sp>
        <p:nvSpPr>
          <p:cNvPr id="35" name="object 35"/>
          <p:cNvSpPr/>
          <p:nvPr/>
        </p:nvSpPr>
        <p:spPr>
          <a:xfrm>
            <a:off x="1459991" y="5084064"/>
            <a:ext cx="67310" cy="9525"/>
          </a:xfrm>
          <a:custGeom>
            <a:avLst/>
            <a:gdLst/>
            <a:ahLst/>
            <a:cxnLst/>
            <a:rect l="l" t="t" r="r" b="b"/>
            <a:pathLst>
              <a:path w="67309" h="9525">
                <a:moveTo>
                  <a:pt x="58928" y="0"/>
                </a:moveTo>
                <a:lnTo>
                  <a:pt x="8128" y="0"/>
                </a:lnTo>
                <a:lnTo>
                  <a:pt x="0" y="9143"/>
                </a:lnTo>
                <a:lnTo>
                  <a:pt x="67056" y="9143"/>
                </a:lnTo>
                <a:lnTo>
                  <a:pt x="58928" y="0"/>
                </a:lnTo>
                <a:close/>
              </a:path>
            </a:pathLst>
          </a:custGeom>
          <a:solidFill>
            <a:srgbClr val="FFFFFF"/>
          </a:solidFill>
        </p:spPr>
        <p:txBody>
          <a:bodyPr wrap="square" lIns="0" tIns="0" rIns="0" bIns="0" rtlCol="0"/>
          <a:lstStyle/>
          <a:p>
            <a:endParaRPr/>
          </a:p>
        </p:txBody>
      </p:sp>
      <p:sp>
        <p:nvSpPr>
          <p:cNvPr id="36" name="object 36"/>
          <p:cNvSpPr/>
          <p:nvPr/>
        </p:nvSpPr>
        <p:spPr>
          <a:xfrm>
            <a:off x="1402080" y="4927091"/>
            <a:ext cx="196595" cy="120395"/>
          </a:xfrm>
          <a:prstGeom prst="rect">
            <a:avLst/>
          </a:prstGeom>
          <a:blipFill>
            <a:blip r:embed="rId5" cstate="print"/>
            <a:stretch>
              <a:fillRect/>
            </a:stretch>
          </a:blipFill>
        </p:spPr>
        <p:txBody>
          <a:bodyPr wrap="square" lIns="0" tIns="0" rIns="0" bIns="0" rtlCol="0"/>
          <a:lstStyle/>
          <a:p>
            <a:endParaRPr/>
          </a:p>
        </p:txBody>
      </p:sp>
      <p:sp>
        <p:nvSpPr>
          <p:cNvPr id="37" name="object 37"/>
          <p:cNvSpPr/>
          <p:nvPr/>
        </p:nvSpPr>
        <p:spPr>
          <a:xfrm>
            <a:off x="3756659" y="6030467"/>
            <a:ext cx="1490980" cy="251460"/>
          </a:xfrm>
          <a:custGeom>
            <a:avLst/>
            <a:gdLst/>
            <a:ahLst/>
            <a:cxnLst/>
            <a:rect l="l" t="t" r="r" b="b"/>
            <a:pathLst>
              <a:path w="1490979" h="251460">
                <a:moveTo>
                  <a:pt x="1428623" y="0"/>
                </a:moveTo>
                <a:lnTo>
                  <a:pt x="0" y="0"/>
                </a:lnTo>
                <a:lnTo>
                  <a:pt x="61849" y="125729"/>
                </a:lnTo>
                <a:lnTo>
                  <a:pt x="0" y="251459"/>
                </a:lnTo>
                <a:lnTo>
                  <a:pt x="1428623" y="251459"/>
                </a:lnTo>
                <a:lnTo>
                  <a:pt x="1490472" y="125729"/>
                </a:lnTo>
                <a:lnTo>
                  <a:pt x="1428623" y="0"/>
                </a:lnTo>
                <a:close/>
              </a:path>
            </a:pathLst>
          </a:custGeom>
          <a:solidFill>
            <a:srgbClr val="B0B0B0"/>
          </a:solidFill>
        </p:spPr>
        <p:txBody>
          <a:bodyPr wrap="square" lIns="0" tIns="0" rIns="0" bIns="0" rtlCol="0"/>
          <a:lstStyle/>
          <a:p>
            <a:endParaRPr/>
          </a:p>
        </p:txBody>
      </p:sp>
      <p:sp>
        <p:nvSpPr>
          <p:cNvPr id="38" name="object 38"/>
          <p:cNvSpPr txBox="1"/>
          <p:nvPr/>
        </p:nvSpPr>
        <p:spPr>
          <a:xfrm>
            <a:off x="4033520" y="6082385"/>
            <a:ext cx="935990"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Virtual</a:t>
            </a:r>
            <a:r>
              <a:rPr sz="800" b="1" spc="-55">
                <a:solidFill>
                  <a:srgbClr val="FFFFFF"/>
                </a:solidFill>
                <a:latin typeface="Verdana"/>
                <a:cs typeface="Verdana"/>
              </a:rPr>
              <a:t> </a:t>
            </a:r>
            <a:r>
              <a:rPr sz="800" b="1">
                <a:solidFill>
                  <a:srgbClr val="FFFFFF"/>
                </a:solidFill>
                <a:latin typeface="Verdana"/>
                <a:cs typeface="Verdana"/>
              </a:rPr>
              <a:t>sessions</a:t>
            </a:r>
            <a:endParaRPr sz="800">
              <a:latin typeface="Verdana"/>
              <a:cs typeface="Verdana"/>
            </a:endParaRPr>
          </a:p>
        </p:txBody>
      </p:sp>
      <p:sp>
        <p:nvSpPr>
          <p:cNvPr id="39" name="object 39"/>
          <p:cNvSpPr/>
          <p:nvPr/>
        </p:nvSpPr>
        <p:spPr>
          <a:xfrm>
            <a:off x="867155" y="6030467"/>
            <a:ext cx="1498600" cy="251460"/>
          </a:xfrm>
          <a:custGeom>
            <a:avLst/>
            <a:gdLst/>
            <a:ahLst/>
            <a:cxnLst/>
            <a:rect l="l" t="t" r="r" b="b"/>
            <a:pathLst>
              <a:path w="1498600" h="251460">
                <a:moveTo>
                  <a:pt x="1436243" y="0"/>
                </a:moveTo>
                <a:lnTo>
                  <a:pt x="0" y="0"/>
                </a:lnTo>
                <a:lnTo>
                  <a:pt x="0" y="251459"/>
                </a:lnTo>
                <a:lnTo>
                  <a:pt x="1436243" y="251459"/>
                </a:lnTo>
                <a:lnTo>
                  <a:pt x="1498092" y="125729"/>
                </a:lnTo>
                <a:lnTo>
                  <a:pt x="1436243" y="0"/>
                </a:lnTo>
                <a:close/>
              </a:path>
            </a:pathLst>
          </a:custGeom>
          <a:solidFill>
            <a:srgbClr val="B0B0B0"/>
          </a:solidFill>
        </p:spPr>
        <p:txBody>
          <a:bodyPr wrap="square" lIns="0" tIns="0" rIns="0" bIns="0" rtlCol="0"/>
          <a:lstStyle/>
          <a:p>
            <a:endParaRPr/>
          </a:p>
        </p:txBody>
      </p:sp>
      <p:sp>
        <p:nvSpPr>
          <p:cNvPr id="40" name="object 40"/>
          <p:cNvSpPr txBox="1"/>
          <p:nvPr/>
        </p:nvSpPr>
        <p:spPr>
          <a:xfrm>
            <a:off x="1244904" y="6082385"/>
            <a:ext cx="710565"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E-Learnings</a:t>
            </a:r>
            <a:endParaRPr sz="800">
              <a:latin typeface="Verdana"/>
              <a:cs typeface="Verdana"/>
            </a:endParaRPr>
          </a:p>
        </p:txBody>
      </p:sp>
      <p:sp>
        <p:nvSpPr>
          <p:cNvPr id="41" name="object 41"/>
          <p:cNvSpPr/>
          <p:nvPr/>
        </p:nvSpPr>
        <p:spPr>
          <a:xfrm>
            <a:off x="2340864" y="6030467"/>
            <a:ext cx="1440180" cy="251460"/>
          </a:xfrm>
          <a:custGeom>
            <a:avLst/>
            <a:gdLst/>
            <a:ahLst/>
            <a:cxnLst/>
            <a:rect l="l" t="t" r="r" b="b"/>
            <a:pathLst>
              <a:path w="1440179" h="251460">
                <a:moveTo>
                  <a:pt x="1378331" y="0"/>
                </a:moveTo>
                <a:lnTo>
                  <a:pt x="0" y="0"/>
                </a:lnTo>
                <a:lnTo>
                  <a:pt x="61849" y="125729"/>
                </a:lnTo>
                <a:lnTo>
                  <a:pt x="0" y="251459"/>
                </a:lnTo>
                <a:lnTo>
                  <a:pt x="1378331" y="251459"/>
                </a:lnTo>
                <a:lnTo>
                  <a:pt x="1440180" y="125729"/>
                </a:lnTo>
                <a:lnTo>
                  <a:pt x="1378331" y="0"/>
                </a:lnTo>
                <a:close/>
              </a:path>
            </a:pathLst>
          </a:custGeom>
          <a:solidFill>
            <a:srgbClr val="B0B0B0"/>
          </a:solidFill>
        </p:spPr>
        <p:txBody>
          <a:bodyPr wrap="square" lIns="0" tIns="0" rIns="0" bIns="0" rtlCol="0"/>
          <a:lstStyle/>
          <a:p>
            <a:endParaRPr/>
          </a:p>
        </p:txBody>
      </p:sp>
      <p:sp>
        <p:nvSpPr>
          <p:cNvPr id="42" name="object 42"/>
          <p:cNvSpPr txBox="1"/>
          <p:nvPr/>
        </p:nvSpPr>
        <p:spPr>
          <a:xfrm>
            <a:off x="2749676" y="6082385"/>
            <a:ext cx="622935" cy="147955"/>
          </a:xfrm>
          <a:prstGeom prst="rect">
            <a:avLst/>
          </a:prstGeom>
        </p:spPr>
        <p:txBody>
          <a:bodyPr vert="horz" wrap="square" lIns="0" tIns="12700" rIns="0" bIns="0" rtlCol="0">
            <a:spAutoFit/>
          </a:bodyPr>
          <a:lstStyle/>
          <a:p>
            <a:pPr marL="12700">
              <a:lnSpc>
                <a:spcPct val="100000"/>
              </a:lnSpc>
              <a:spcBef>
                <a:spcPts val="100"/>
              </a:spcBef>
            </a:pPr>
            <a:r>
              <a:rPr sz="800" b="1" spc="-10">
                <a:solidFill>
                  <a:srgbClr val="FFFFFF"/>
                </a:solidFill>
                <a:latin typeface="Verdana"/>
                <a:cs typeface="Verdana"/>
              </a:rPr>
              <a:t>C</a:t>
            </a:r>
            <a:r>
              <a:rPr sz="800" b="1">
                <a:solidFill>
                  <a:srgbClr val="FFFFFF"/>
                </a:solidFill>
                <a:latin typeface="Verdana"/>
                <a:cs typeface="Verdana"/>
              </a:rPr>
              <a:t>lass</a:t>
            </a:r>
            <a:r>
              <a:rPr sz="800" b="1" spc="-5">
                <a:solidFill>
                  <a:srgbClr val="FFFFFF"/>
                </a:solidFill>
                <a:latin typeface="Verdana"/>
                <a:cs typeface="Verdana"/>
              </a:rPr>
              <a:t>r</a:t>
            </a:r>
            <a:r>
              <a:rPr sz="800" b="1">
                <a:solidFill>
                  <a:srgbClr val="FFFFFF"/>
                </a:solidFill>
                <a:latin typeface="Verdana"/>
                <a:cs typeface="Verdana"/>
              </a:rPr>
              <a:t>oom</a:t>
            </a:r>
            <a:endParaRPr sz="800">
              <a:latin typeface="Verdana"/>
              <a:cs typeface="Verdana"/>
            </a:endParaRPr>
          </a:p>
        </p:txBody>
      </p:sp>
      <p:sp>
        <p:nvSpPr>
          <p:cNvPr id="44" name="object 44"/>
          <p:cNvSpPr/>
          <p:nvPr/>
        </p:nvSpPr>
        <p:spPr>
          <a:xfrm>
            <a:off x="9236964" y="2685288"/>
            <a:ext cx="662940" cy="76200"/>
          </a:xfrm>
          <a:custGeom>
            <a:avLst/>
            <a:gdLst/>
            <a:ahLst/>
            <a:cxnLst/>
            <a:rect l="l" t="t" r="r" b="b"/>
            <a:pathLst>
              <a:path w="662940" h="76200">
                <a:moveTo>
                  <a:pt x="586231" y="0"/>
                </a:moveTo>
                <a:lnTo>
                  <a:pt x="586231" y="76200"/>
                </a:lnTo>
                <a:lnTo>
                  <a:pt x="649731" y="44450"/>
                </a:lnTo>
                <a:lnTo>
                  <a:pt x="598931" y="44450"/>
                </a:lnTo>
                <a:lnTo>
                  <a:pt x="598931" y="31750"/>
                </a:lnTo>
                <a:lnTo>
                  <a:pt x="649731" y="31750"/>
                </a:lnTo>
                <a:lnTo>
                  <a:pt x="586231" y="0"/>
                </a:lnTo>
                <a:close/>
              </a:path>
              <a:path w="662940" h="76200">
                <a:moveTo>
                  <a:pt x="586231" y="31750"/>
                </a:moveTo>
                <a:lnTo>
                  <a:pt x="0" y="31750"/>
                </a:lnTo>
                <a:lnTo>
                  <a:pt x="0" y="44450"/>
                </a:lnTo>
                <a:lnTo>
                  <a:pt x="586231" y="44450"/>
                </a:lnTo>
                <a:lnTo>
                  <a:pt x="586231" y="31750"/>
                </a:lnTo>
                <a:close/>
              </a:path>
              <a:path w="662940" h="76200">
                <a:moveTo>
                  <a:pt x="649731" y="31750"/>
                </a:moveTo>
                <a:lnTo>
                  <a:pt x="598931" y="31750"/>
                </a:lnTo>
                <a:lnTo>
                  <a:pt x="598931" y="44450"/>
                </a:lnTo>
                <a:lnTo>
                  <a:pt x="649731" y="44450"/>
                </a:lnTo>
                <a:lnTo>
                  <a:pt x="662431" y="38100"/>
                </a:lnTo>
                <a:lnTo>
                  <a:pt x="649731" y="31750"/>
                </a:lnTo>
                <a:close/>
              </a:path>
            </a:pathLst>
          </a:custGeom>
          <a:solidFill>
            <a:srgbClr val="2B133C"/>
          </a:solidFill>
        </p:spPr>
        <p:txBody>
          <a:bodyPr wrap="square" lIns="0" tIns="0" rIns="0" bIns="0" rtlCol="0"/>
          <a:lstStyle/>
          <a:p>
            <a:endParaRPr/>
          </a:p>
        </p:txBody>
      </p:sp>
      <p:sp>
        <p:nvSpPr>
          <p:cNvPr id="45" name="object 45"/>
          <p:cNvSpPr/>
          <p:nvPr/>
        </p:nvSpPr>
        <p:spPr>
          <a:xfrm>
            <a:off x="9236964" y="3051048"/>
            <a:ext cx="662940" cy="76200"/>
          </a:xfrm>
          <a:custGeom>
            <a:avLst/>
            <a:gdLst/>
            <a:ahLst/>
            <a:cxnLst/>
            <a:rect l="l" t="t" r="r" b="b"/>
            <a:pathLst>
              <a:path w="662940" h="76200">
                <a:moveTo>
                  <a:pt x="586231" y="0"/>
                </a:moveTo>
                <a:lnTo>
                  <a:pt x="586231" y="76200"/>
                </a:lnTo>
                <a:lnTo>
                  <a:pt x="649731" y="44450"/>
                </a:lnTo>
                <a:lnTo>
                  <a:pt x="598931" y="44450"/>
                </a:lnTo>
                <a:lnTo>
                  <a:pt x="598931" y="31750"/>
                </a:lnTo>
                <a:lnTo>
                  <a:pt x="649731" y="31750"/>
                </a:lnTo>
                <a:lnTo>
                  <a:pt x="586231" y="0"/>
                </a:lnTo>
                <a:close/>
              </a:path>
              <a:path w="662940" h="76200">
                <a:moveTo>
                  <a:pt x="586231" y="31750"/>
                </a:moveTo>
                <a:lnTo>
                  <a:pt x="0" y="31750"/>
                </a:lnTo>
                <a:lnTo>
                  <a:pt x="0" y="44450"/>
                </a:lnTo>
                <a:lnTo>
                  <a:pt x="586231" y="44450"/>
                </a:lnTo>
                <a:lnTo>
                  <a:pt x="586231" y="31750"/>
                </a:lnTo>
                <a:close/>
              </a:path>
              <a:path w="662940" h="76200">
                <a:moveTo>
                  <a:pt x="649731" y="31750"/>
                </a:moveTo>
                <a:lnTo>
                  <a:pt x="598931" y="31750"/>
                </a:lnTo>
                <a:lnTo>
                  <a:pt x="598931" y="44450"/>
                </a:lnTo>
                <a:lnTo>
                  <a:pt x="649731" y="44450"/>
                </a:lnTo>
                <a:lnTo>
                  <a:pt x="662431" y="38100"/>
                </a:lnTo>
                <a:lnTo>
                  <a:pt x="649731" y="31750"/>
                </a:lnTo>
                <a:close/>
              </a:path>
            </a:pathLst>
          </a:custGeom>
          <a:solidFill>
            <a:srgbClr val="2B133C"/>
          </a:solidFill>
        </p:spPr>
        <p:txBody>
          <a:bodyPr wrap="square" lIns="0" tIns="0" rIns="0" bIns="0" rtlCol="0"/>
          <a:lstStyle/>
          <a:p>
            <a:endParaRPr/>
          </a:p>
        </p:txBody>
      </p:sp>
      <p:sp>
        <p:nvSpPr>
          <p:cNvPr id="46" name="object 46"/>
          <p:cNvSpPr/>
          <p:nvPr/>
        </p:nvSpPr>
        <p:spPr>
          <a:xfrm>
            <a:off x="9236964" y="3358896"/>
            <a:ext cx="662940" cy="76200"/>
          </a:xfrm>
          <a:custGeom>
            <a:avLst/>
            <a:gdLst/>
            <a:ahLst/>
            <a:cxnLst/>
            <a:rect l="l" t="t" r="r" b="b"/>
            <a:pathLst>
              <a:path w="662940" h="76200">
                <a:moveTo>
                  <a:pt x="586231" y="0"/>
                </a:moveTo>
                <a:lnTo>
                  <a:pt x="586231" y="76200"/>
                </a:lnTo>
                <a:lnTo>
                  <a:pt x="649731" y="44450"/>
                </a:lnTo>
                <a:lnTo>
                  <a:pt x="598931" y="44450"/>
                </a:lnTo>
                <a:lnTo>
                  <a:pt x="598931" y="31750"/>
                </a:lnTo>
                <a:lnTo>
                  <a:pt x="649731" y="31750"/>
                </a:lnTo>
                <a:lnTo>
                  <a:pt x="586231" y="0"/>
                </a:lnTo>
                <a:close/>
              </a:path>
              <a:path w="662940" h="76200">
                <a:moveTo>
                  <a:pt x="586231" y="31750"/>
                </a:moveTo>
                <a:lnTo>
                  <a:pt x="0" y="31750"/>
                </a:lnTo>
                <a:lnTo>
                  <a:pt x="0" y="44450"/>
                </a:lnTo>
                <a:lnTo>
                  <a:pt x="586231" y="44450"/>
                </a:lnTo>
                <a:lnTo>
                  <a:pt x="586231" y="31750"/>
                </a:lnTo>
                <a:close/>
              </a:path>
              <a:path w="662940" h="76200">
                <a:moveTo>
                  <a:pt x="649731" y="31750"/>
                </a:moveTo>
                <a:lnTo>
                  <a:pt x="598931" y="31750"/>
                </a:lnTo>
                <a:lnTo>
                  <a:pt x="598931" y="44450"/>
                </a:lnTo>
                <a:lnTo>
                  <a:pt x="649731" y="44450"/>
                </a:lnTo>
                <a:lnTo>
                  <a:pt x="662431" y="38100"/>
                </a:lnTo>
                <a:lnTo>
                  <a:pt x="649731" y="31750"/>
                </a:lnTo>
                <a:close/>
              </a:path>
            </a:pathLst>
          </a:custGeom>
          <a:solidFill>
            <a:srgbClr val="2B133C"/>
          </a:solidFill>
        </p:spPr>
        <p:txBody>
          <a:bodyPr wrap="square" lIns="0" tIns="0" rIns="0" bIns="0" rtlCol="0"/>
          <a:lstStyle/>
          <a:p>
            <a:endParaRPr/>
          </a:p>
        </p:txBody>
      </p:sp>
      <p:sp>
        <p:nvSpPr>
          <p:cNvPr id="47" name="object 47"/>
          <p:cNvSpPr/>
          <p:nvPr/>
        </p:nvSpPr>
        <p:spPr>
          <a:xfrm>
            <a:off x="7703566" y="2569464"/>
            <a:ext cx="746125" cy="243204"/>
          </a:xfrm>
          <a:custGeom>
            <a:avLst/>
            <a:gdLst/>
            <a:ahLst/>
            <a:cxnLst/>
            <a:rect l="l" t="t" r="r" b="b"/>
            <a:pathLst>
              <a:path w="746125" h="243205">
                <a:moveTo>
                  <a:pt x="670779" y="212752"/>
                </a:moveTo>
                <a:lnTo>
                  <a:pt x="661669" y="243205"/>
                </a:lnTo>
                <a:lnTo>
                  <a:pt x="745616" y="228473"/>
                </a:lnTo>
                <a:lnTo>
                  <a:pt x="732763" y="216408"/>
                </a:lnTo>
                <a:lnTo>
                  <a:pt x="683005" y="216408"/>
                </a:lnTo>
                <a:lnTo>
                  <a:pt x="670779" y="212752"/>
                </a:lnTo>
                <a:close/>
              </a:path>
              <a:path w="746125" h="243205">
                <a:moveTo>
                  <a:pt x="674418" y="200585"/>
                </a:moveTo>
                <a:lnTo>
                  <a:pt x="670779" y="212752"/>
                </a:lnTo>
                <a:lnTo>
                  <a:pt x="683005" y="216408"/>
                </a:lnTo>
                <a:lnTo>
                  <a:pt x="686561" y="204215"/>
                </a:lnTo>
                <a:lnTo>
                  <a:pt x="674418" y="200585"/>
                </a:lnTo>
                <a:close/>
              </a:path>
              <a:path w="746125" h="243205">
                <a:moveTo>
                  <a:pt x="683513" y="170180"/>
                </a:moveTo>
                <a:lnTo>
                  <a:pt x="674418" y="200585"/>
                </a:lnTo>
                <a:lnTo>
                  <a:pt x="686561" y="204215"/>
                </a:lnTo>
                <a:lnTo>
                  <a:pt x="683005" y="216408"/>
                </a:lnTo>
                <a:lnTo>
                  <a:pt x="732763" y="216408"/>
                </a:lnTo>
                <a:lnTo>
                  <a:pt x="683513" y="170180"/>
                </a:lnTo>
                <a:close/>
              </a:path>
              <a:path w="746125" h="243205">
                <a:moveTo>
                  <a:pt x="3555" y="0"/>
                </a:moveTo>
                <a:lnTo>
                  <a:pt x="0" y="12191"/>
                </a:lnTo>
                <a:lnTo>
                  <a:pt x="670779" y="212752"/>
                </a:lnTo>
                <a:lnTo>
                  <a:pt x="674418" y="200585"/>
                </a:lnTo>
                <a:lnTo>
                  <a:pt x="3555" y="0"/>
                </a:lnTo>
                <a:close/>
              </a:path>
            </a:pathLst>
          </a:custGeom>
          <a:solidFill>
            <a:srgbClr val="000000"/>
          </a:solidFill>
        </p:spPr>
        <p:txBody>
          <a:bodyPr wrap="square" lIns="0" tIns="0" rIns="0" bIns="0" rtlCol="0"/>
          <a:lstStyle/>
          <a:p>
            <a:endParaRPr/>
          </a:p>
        </p:txBody>
      </p:sp>
      <p:sp>
        <p:nvSpPr>
          <p:cNvPr id="48" name="object 48"/>
          <p:cNvSpPr/>
          <p:nvPr/>
        </p:nvSpPr>
        <p:spPr>
          <a:xfrm>
            <a:off x="7703057" y="3054476"/>
            <a:ext cx="746125" cy="295910"/>
          </a:xfrm>
          <a:custGeom>
            <a:avLst/>
            <a:gdLst/>
            <a:ahLst/>
            <a:cxnLst/>
            <a:rect l="l" t="t" r="r" b="b"/>
            <a:pathLst>
              <a:path w="746125" h="295910">
                <a:moveTo>
                  <a:pt x="672642" y="29761"/>
                </a:moveTo>
                <a:lnTo>
                  <a:pt x="0" y="283718"/>
                </a:lnTo>
                <a:lnTo>
                  <a:pt x="4572" y="295656"/>
                </a:lnTo>
                <a:lnTo>
                  <a:pt x="677097" y="41571"/>
                </a:lnTo>
                <a:lnTo>
                  <a:pt x="672642" y="29761"/>
                </a:lnTo>
                <a:close/>
              </a:path>
              <a:path w="746125" h="295910">
                <a:moveTo>
                  <a:pt x="730887" y="25273"/>
                </a:moveTo>
                <a:lnTo>
                  <a:pt x="684530" y="25273"/>
                </a:lnTo>
                <a:lnTo>
                  <a:pt x="688975" y="37084"/>
                </a:lnTo>
                <a:lnTo>
                  <a:pt x="677097" y="41571"/>
                </a:lnTo>
                <a:lnTo>
                  <a:pt x="688340" y="71374"/>
                </a:lnTo>
                <a:lnTo>
                  <a:pt x="730887" y="25273"/>
                </a:lnTo>
                <a:close/>
              </a:path>
              <a:path w="746125" h="295910">
                <a:moveTo>
                  <a:pt x="684530" y="25273"/>
                </a:moveTo>
                <a:lnTo>
                  <a:pt x="672642" y="29761"/>
                </a:lnTo>
                <a:lnTo>
                  <a:pt x="677097" y="41571"/>
                </a:lnTo>
                <a:lnTo>
                  <a:pt x="688975" y="37084"/>
                </a:lnTo>
                <a:lnTo>
                  <a:pt x="684530" y="25273"/>
                </a:lnTo>
                <a:close/>
              </a:path>
              <a:path w="746125" h="295910">
                <a:moveTo>
                  <a:pt x="661416" y="0"/>
                </a:moveTo>
                <a:lnTo>
                  <a:pt x="672642" y="29761"/>
                </a:lnTo>
                <a:lnTo>
                  <a:pt x="684530" y="25273"/>
                </a:lnTo>
                <a:lnTo>
                  <a:pt x="730887" y="25273"/>
                </a:lnTo>
                <a:lnTo>
                  <a:pt x="746125" y="8762"/>
                </a:lnTo>
                <a:lnTo>
                  <a:pt x="661416" y="0"/>
                </a:lnTo>
                <a:close/>
              </a:path>
            </a:pathLst>
          </a:custGeom>
          <a:solidFill>
            <a:srgbClr val="000000"/>
          </a:solidFill>
        </p:spPr>
        <p:txBody>
          <a:bodyPr wrap="square" lIns="0" tIns="0" rIns="0" bIns="0" rtlCol="0"/>
          <a:lstStyle/>
          <a:p>
            <a:endParaRPr/>
          </a:p>
        </p:txBody>
      </p:sp>
      <p:sp>
        <p:nvSpPr>
          <p:cNvPr id="49" name="object 49"/>
          <p:cNvSpPr/>
          <p:nvPr/>
        </p:nvSpPr>
        <p:spPr>
          <a:xfrm>
            <a:off x="8490204" y="2289048"/>
            <a:ext cx="824865" cy="1353820"/>
          </a:xfrm>
          <a:custGeom>
            <a:avLst/>
            <a:gdLst/>
            <a:ahLst/>
            <a:cxnLst/>
            <a:rect l="l" t="t" r="r" b="b"/>
            <a:pathLst>
              <a:path w="824865" h="1353820">
                <a:moveTo>
                  <a:pt x="687070" y="0"/>
                </a:moveTo>
                <a:lnTo>
                  <a:pt x="137414" y="0"/>
                </a:lnTo>
                <a:lnTo>
                  <a:pt x="93959" y="7000"/>
                </a:lnTo>
                <a:lnTo>
                  <a:pt x="56235" y="26497"/>
                </a:lnTo>
                <a:lnTo>
                  <a:pt x="26497" y="56235"/>
                </a:lnTo>
                <a:lnTo>
                  <a:pt x="7000" y="93959"/>
                </a:lnTo>
                <a:lnTo>
                  <a:pt x="0" y="137413"/>
                </a:lnTo>
                <a:lnTo>
                  <a:pt x="0" y="1215898"/>
                </a:lnTo>
                <a:lnTo>
                  <a:pt x="7000" y="1259352"/>
                </a:lnTo>
                <a:lnTo>
                  <a:pt x="26497" y="1297076"/>
                </a:lnTo>
                <a:lnTo>
                  <a:pt x="56235" y="1326814"/>
                </a:lnTo>
                <a:lnTo>
                  <a:pt x="93959" y="1346311"/>
                </a:lnTo>
                <a:lnTo>
                  <a:pt x="137414" y="1353312"/>
                </a:lnTo>
                <a:lnTo>
                  <a:pt x="687070" y="1353312"/>
                </a:lnTo>
                <a:lnTo>
                  <a:pt x="730524" y="1346311"/>
                </a:lnTo>
                <a:lnTo>
                  <a:pt x="768248" y="1326814"/>
                </a:lnTo>
                <a:lnTo>
                  <a:pt x="797986" y="1297076"/>
                </a:lnTo>
                <a:lnTo>
                  <a:pt x="817483" y="1259352"/>
                </a:lnTo>
                <a:lnTo>
                  <a:pt x="824484" y="1215898"/>
                </a:lnTo>
                <a:lnTo>
                  <a:pt x="824484" y="137413"/>
                </a:lnTo>
                <a:lnTo>
                  <a:pt x="817483" y="93959"/>
                </a:lnTo>
                <a:lnTo>
                  <a:pt x="797986" y="56235"/>
                </a:lnTo>
                <a:lnTo>
                  <a:pt x="768248" y="26497"/>
                </a:lnTo>
                <a:lnTo>
                  <a:pt x="730524" y="7000"/>
                </a:lnTo>
                <a:lnTo>
                  <a:pt x="687070" y="0"/>
                </a:lnTo>
                <a:close/>
              </a:path>
            </a:pathLst>
          </a:custGeom>
          <a:solidFill>
            <a:srgbClr val="0D80A3"/>
          </a:solidFill>
        </p:spPr>
        <p:txBody>
          <a:bodyPr wrap="square" lIns="0" tIns="0" rIns="0" bIns="0" rtlCol="0"/>
          <a:lstStyle/>
          <a:p>
            <a:endParaRPr/>
          </a:p>
        </p:txBody>
      </p:sp>
      <p:sp>
        <p:nvSpPr>
          <p:cNvPr id="50" name="object 50"/>
          <p:cNvSpPr/>
          <p:nvPr/>
        </p:nvSpPr>
        <p:spPr>
          <a:xfrm>
            <a:off x="8843771" y="3252215"/>
            <a:ext cx="117348" cy="289560"/>
          </a:xfrm>
          <a:prstGeom prst="rect">
            <a:avLst/>
          </a:prstGeom>
          <a:blipFill>
            <a:blip r:embed="rId6" cstate="print"/>
            <a:stretch>
              <a:fillRect/>
            </a:stretch>
          </a:blipFill>
        </p:spPr>
        <p:txBody>
          <a:bodyPr wrap="square" lIns="0" tIns="0" rIns="0" bIns="0" rtlCol="0"/>
          <a:lstStyle/>
          <a:p>
            <a:endParaRPr/>
          </a:p>
        </p:txBody>
      </p:sp>
      <p:sp>
        <p:nvSpPr>
          <p:cNvPr id="51" name="object 51"/>
          <p:cNvSpPr/>
          <p:nvPr/>
        </p:nvSpPr>
        <p:spPr>
          <a:xfrm>
            <a:off x="8843771" y="2909316"/>
            <a:ext cx="117348" cy="289560"/>
          </a:xfrm>
          <a:prstGeom prst="rect">
            <a:avLst/>
          </a:prstGeom>
          <a:blipFill>
            <a:blip r:embed="rId6" cstate="print"/>
            <a:stretch>
              <a:fillRect/>
            </a:stretch>
          </a:blipFill>
        </p:spPr>
        <p:txBody>
          <a:bodyPr wrap="square" lIns="0" tIns="0" rIns="0" bIns="0" rtlCol="0"/>
          <a:lstStyle/>
          <a:p>
            <a:endParaRPr/>
          </a:p>
        </p:txBody>
      </p:sp>
      <p:sp>
        <p:nvSpPr>
          <p:cNvPr id="52" name="object 52"/>
          <p:cNvSpPr/>
          <p:nvPr/>
        </p:nvSpPr>
        <p:spPr>
          <a:xfrm>
            <a:off x="8843771" y="2566416"/>
            <a:ext cx="117348" cy="289560"/>
          </a:xfrm>
          <a:prstGeom prst="rect">
            <a:avLst/>
          </a:prstGeom>
          <a:blipFill>
            <a:blip r:embed="rId6" cstate="print"/>
            <a:stretch>
              <a:fillRect/>
            </a:stretch>
          </a:blipFill>
        </p:spPr>
        <p:txBody>
          <a:bodyPr wrap="square" lIns="0" tIns="0" rIns="0" bIns="0" rtlCol="0"/>
          <a:lstStyle/>
          <a:p>
            <a:endParaRPr/>
          </a:p>
        </p:txBody>
      </p:sp>
      <p:sp>
        <p:nvSpPr>
          <p:cNvPr id="53" name="object 53"/>
          <p:cNvSpPr/>
          <p:nvPr/>
        </p:nvSpPr>
        <p:spPr>
          <a:xfrm>
            <a:off x="9791700" y="2289048"/>
            <a:ext cx="1620520" cy="1353820"/>
          </a:xfrm>
          <a:custGeom>
            <a:avLst/>
            <a:gdLst/>
            <a:ahLst/>
            <a:cxnLst/>
            <a:rect l="l" t="t" r="r" b="b"/>
            <a:pathLst>
              <a:path w="1620520" h="1353820">
                <a:moveTo>
                  <a:pt x="1394459" y="0"/>
                </a:moveTo>
                <a:lnTo>
                  <a:pt x="225551" y="0"/>
                </a:lnTo>
                <a:lnTo>
                  <a:pt x="180090" y="4581"/>
                </a:lnTo>
                <a:lnTo>
                  <a:pt x="137749" y="17722"/>
                </a:lnTo>
                <a:lnTo>
                  <a:pt x="99435" y="38515"/>
                </a:lnTo>
                <a:lnTo>
                  <a:pt x="66055" y="66055"/>
                </a:lnTo>
                <a:lnTo>
                  <a:pt x="38515" y="99435"/>
                </a:lnTo>
                <a:lnTo>
                  <a:pt x="17722" y="137749"/>
                </a:lnTo>
                <a:lnTo>
                  <a:pt x="4581" y="180090"/>
                </a:lnTo>
                <a:lnTo>
                  <a:pt x="0" y="225551"/>
                </a:lnTo>
                <a:lnTo>
                  <a:pt x="0" y="1127760"/>
                </a:lnTo>
                <a:lnTo>
                  <a:pt x="4581" y="1173221"/>
                </a:lnTo>
                <a:lnTo>
                  <a:pt x="17722" y="1215562"/>
                </a:lnTo>
                <a:lnTo>
                  <a:pt x="38515" y="1253876"/>
                </a:lnTo>
                <a:lnTo>
                  <a:pt x="66055" y="1287256"/>
                </a:lnTo>
                <a:lnTo>
                  <a:pt x="99435" y="1314796"/>
                </a:lnTo>
                <a:lnTo>
                  <a:pt x="137749" y="1335589"/>
                </a:lnTo>
                <a:lnTo>
                  <a:pt x="180090" y="1348730"/>
                </a:lnTo>
                <a:lnTo>
                  <a:pt x="225551" y="1353312"/>
                </a:lnTo>
                <a:lnTo>
                  <a:pt x="1394459" y="1353312"/>
                </a:lnTo>
                <a:lnTo>
                  <a:pt x="1439921" y="1348730"/>
                </a:lnTo>
                <a:lnTo>
                  <a:pt x="1482262" y="1335589"/>
                </a:lnTo>
                <a:lnTo>
                  <a:pt x="1520576" y="1314796"/>
                </a:lnTo>
                <a:lnTo>
                  <a:pt x="1553956" y="1287256"/>
                </a:lnTo>
                <a:lnTo>
                  <a:pt x="1581496" y="1253876"/>
                </a:lnTo>
                <a:lnTo>
                  <a:pt x="1602289" y="1215562"/>
                </a:lnTo>
                <a:lnTo>
                  <a:pt x="1615430" y="1173221"/>
                </a:lnTo>
                <a:lnTo>
                  <a:pt x="1620011" y="1127760"/>
                </a:lnTo>
                <a:lnTo>
                  <a:pt x="1620011" y="225551"/>
                </a:lnTo>
                <a:lnTo>
                  <a:pt x="1615430" y="180090"/>
                </a:lnTo>
                <a:lnTo>
                  <a:pt x="1602289" y="137749"/>
                </a:lnTo>
                <a:lnTo>
                  <a:pt x="1581496" y="99435"/>
                </a:lnTo>
                <a:lnTo>
                  <a:pt x="1553956" y="66055"/>
                </a:lnTo>
                <a:lnTo>
                  <a:pt x="1520576" y="38515"/>
                </a:lnTo>
                <a:lnTo>
                  <a:pt x="1482262" y="17722"/>
                </a:lnTo>
                <a:lnTo>
                  <a:pt x="1439921" y="4581"/>
                </a:lnTo>
                <a:lnTo>
                  <a:pt x="1394459" y="0"/>
                </a:lnTo>
                <a:close/>
              </a:path>
            </a:pathLst>
          </a:custGeom>
          <a:solidFill>
            <a:srgbClr val="BEBEBE">
              <a:alpha val="50195"/>
            </a:srgbClr>
          </a:solidFill>
        </p:spPr>
        <p:txBody>
          <a:bodyPr wrap="square" lIns="0" tIns="0" rIns="0" bIns="0" rtlCol="0"/>
          <a:lstStyle/>
          <a:p>
            <a:endParaRPr/>
          </a:p>
        </p:txBody>
      </p:sp>
      <p:sp>
        <p:nvSpPr>
          <p:cNvPr id="54" name="object 54"/>
          <p:cNvSpPr/>
          <p:nvPr/>
        </p:nvSpPr>
        <p:spPr>
          <a:xfrm>
            <a:off x="10233659" y="3252215"/>
            <a:ext cx="117348" cy="289560"/>
          </a:xfrm>
          <a:prstGeom prst="rect">
            <a:avLst/>
          </a:prstGeom>
          <a:blipFill>
            <a:blip r:embed="rId6" cstate="print"/>
            <a:stretch>
              <a:fillRect/>
            </a:stretch>
          </a:blipFill>
        </p:spPr>
        <p:txBody>
          <a:bodyPr wrap="square" lIns="0" tIns="0" rIns="0" bIns="0" rtlCol="0"/>
          <a:lstStyle/>
          <a:p>
            <a:endParaRPr/>
          </a:p>
        </p:txBody>
      </p:sp>
      <p:sp>
        <p:nvSpPr>
          <p:cNvPr id="55" name="object 55"/>
          <p:cNvSpPr/>
          <p:nvPr/>
        </p:nvSpPr>
        <p:spPr>
          <a:xfrm>
            <a:off x="10543031" y="3252215"/>
            <a:ext cx="118872" cy="289560"/>
          </a:xfrm>
          <a:prstGeom prst="rect">
            <a:avLst/>
          </a:prstGeom>
          <a:blipFill>
            <a:blip r:embed="rId7" cstate="print"/>
            <a:stretch>
              <a:fillRect/>
            </a:stretch>
          </a:blipFill>
        </p:spPr>
        <p:txBody>
          <a:bodyPr wrap="square" lIns="0" tIns="0" rIns="0" bIns="0" rtlCol="0"/>
          <a:lstStyle/>
          <a:p>
            <a:endParaRPr/>
          </a:p>
        </p:txBody>
      </p:sp>
      <p:sp>
        <p:nvSpPr>
          <p:cNvPr id="56" name="object 56"/>
          <p:cNvSpPr/>
          <p:nvPr/>
        </p:nvSpPr>
        <p:spPr>
          <a:xfrm>
            <a:off x="10852404" y="3252215"/>
            <a:ext cx="118872" cy="289560"/>
          </a:xfrm>
          <a:prstGeom prst="rect">
            <a:avLst/>
          </a:prstGeom>
          <a:blipFill>
            <a:blip r:embed="rId7" cstate="print"/>
            <a:stretch>
              <a:fillRect/>
            </a:stretch>
          </a:blipFill>
        </p:spPr>
        <p:txBody>
          <a:bodyPr wrap="square" lIns="0" tIns="0" rIns="0" bIns="0" rtlCol="0"/>
          <a:lstStyle/>
          <a:p>
            <a:endParaRPr/>
          </a:p>
        </p:txBody>
      </p:sp>
      <p:sp>
        <p:nvSpPr>
          <p:cNvPr id="57" name="object 57"/>
          <p:cNvSpPr/>
          <p:nvPr/>
        </p:nvSpPr>
        <p:spPr>
          <a:xfrm>
            <a:off x="10387583" y="3252215"/>
            <a:ext cx="118872" cy="289560"/>
          </a:xfrm>
          <a:prstGeom prst="rect">
            <a:avLst/>
          </a:prstGeom>
          <a:blipFill>
            <a:blip r:embed="rId7" cstate="print"/>
            <a:stretch>
              <a:fillRect/>
            </a:stretch>
          </a:blipFill>
        </p:spPr>
        <p:txBody>
          <a:bodyPr wrap="square" lIns="0" tIns="0" rIns="0" bIns="0" rtlCol="0"/>
          <a:lstStyle/>
          <a:p>
            <a:endParaRPr/>
          </a:p>
        </p:txBody>
      </p:sp>
      <p:sp>
        <p:nvSpPr>
          <p:cNvPr id="58" name="object 58"/>
          <p:cNvSpPr/>
          <p:nvPr/>
        </p:nvSpPr>
        <p:spPr>
          <a:xfrm>
            <a:off x="10698480" y="3252215"/>
            <a:ext cx="117348" cy="289560"/>
          </a:xfrm>
          <a:prstGeom prst="rect">
            <a:avLst/>
          </a:prstGeom>
          <a:blipFill>
            <a:blip r:embed="rId6" cstate="print"/>
            <a:stretch>
              <a:fillRect/>
            </a:stretch>
          </a:blipFill>
        </p:spPr>
        <p:txBody>
          <a:bodyPr wrap="square" lIns="0" tIns="0" rIns="0" bIns="0" rtlCol="0"/>
          <a:lstStyle/>
          <a:p>
            <a:endParaRPr/>
          </a:p>
        </p:txBody>
      </p:sp>
      <p:sp>
        <p:nvSpPr>
          <p:cNvPr id="59" name="object 59"/>
          <p:cNvSpPr/>
          <p:nvPr/>
        </p:nvSpPr>
        <p:spPr>
          <a:xfrm>
            <a:off x="10233659" y="2909316"/>
            <a:ext cx="117348" cy="289560"/>
          </a:xfrm>
          <a:prstGeom prst="rect">
            <a:avLst/>
          </a:prstGeom>
          <a:blipFill>
            <a:blip r:embed="rId6" cstate="print"/>
            <a:stretch>
              <a:fillRect/>
            </a:stretch>
          </a:blipFill>
        </p:spPr>
        <p:txBody>
          <a:bodyPr wrap="square" lIns="0" tIns="0" rIns="0" bIns="0" rtlCol="0"/>
          <a:lstStyle/>
          <a:p>
            <a:endParaRPr/>
          </a:p>
        </p:txBody>
      </p:sp>
      <p:sp>
        <p:nvSpPr>
          <p:cNvPr id="60" name="object 60"/>
          <p:cNvSpPr/>
          <p:nvPr/>
        </p:nvSpPr>
        <p:spPr>
          <a:xfrm>
            <a:off x="10543031" y="2909316"/>
            <a:ext cx="118872" cy="289560"/>
          </a:xfrm>
          <a:prstGeom prst="rect">
            <a:avLst/>
          </a:prstGeom>
          <a:blipFill>
            <a:blip r:embed="rId7" cstate="print"/>
            <a:stretch>
              <a:fillRect/>
            </a:stretch>
          </a:blipFill>
        </p:spPr>
        <p:txBody>
          <a:bodyPr wrap="square" lIns="0" tIns="0" rIns="0" bIns="0" rtlCol="0"/>
          <a:lstStyle/>
          <a:p>
            <a:endParaRPr/>
          </a:p>
        </p:txBody>
      </p:sp>
      <p:sp>
        <p:nvSpPr>
          <p:cNvPr id="61" name="object 61"/>
          <p:cNvSpPr/>
          <p:nvPr/>
        </p:nvSpPr>
        <p:spPr>
          <a:xfrm>
            <a:off x="10852404" y="2909316"/>
            <a:ext cx="118872" cy="289560"/>
          </a:xfrm>
          <a:prstGeom prst="rect">
            <a:avLst/>
          </a:prstGeom>
          <a:blipFill>
            <a:blip r:embed="rId7" cstate="print"/>
            <a:stretch>
              <a:fillRect/>
            </a:stretch>
          </a:blipFill>
        </p:spPr>
        <p:txBody>
          <a:bodyPr wrap="square" lIns="0" tIns="0" rIns="0" bIns="0" rtlCol="0"/>
          <a:lstStyle/>
          <a:p>
            <a:endParaRPr/>
          </a:p>
        </p:txBody>
      </p:sp>
      <p:sp>
        <p:nvSpPr>
          <p:cNvPr id="62" name="object 62"/>
          <p:cNvSpPr/>
          <p:nvPr/>
        </p:nvSpPr>
        <p:spPr>
          <a:xfrm>
            <a:off x="10387583" y="2909316"/>
            <a:ext cx="118872" cy="289560"/>
          </a:xfrm>
          <a:prstGeom prst="rect">
            <a:avLst/>
          </a:prstGeom>
          <a:blipFill>
            <a:blip r:embed="rId7" cstate="print"/>
            <a:stretch>
              <a:fillRect/>
            </a:stretch>
          </a:blipFill>
        </p:spPr>
        <p:txBody>
          <a:bodyPr wrap="square" lIns="0" tIns="0" rIns="0" bIns="0" rtlCol="0"/>
          <a:lstStyle/>
          <a:p>
            <a:endParaRPr/>
          </a:p>
        </p:txBody>
      </p:sp>
      <p:sp>
        <p:nvSpPr>
          <p:cNvPr id="63" name="object 63"/>
          <p:cNvSpPr/>
          <p:nvPr/>
        </p:nvSpPr>
        <p:spPr>
          <a:xfrm>
            <a:off x="10698480" y="2909316"/>
            <a:ext cx="117348" cy="289560"/>
          </a:xfrm>
          <a:prstGeom prst="rect">
            <a:avLst/>
          </a:prstGeom>
          <a:blipFill>
            <a:blip r:embed="rId6" cstate="print"/>
            <a:stretch>
              <a:fillRect/>
            </a:stretch>
          </a:blipFill>
        </p:spPr>
        <p:txBody>
          <a:bodyPr wrap="square" lIns="0" tIns="0" rIns="0" bIns="0" rtlCol="0"/>
          <a:lstStyle/>
          <a:p>
            <a:endParaRPr/>
          </a:p>
        </p:txBody>
      </p:sp>
      <p:sp>
        <p:nvSpPr>
          <p:cNvPr id="64" name="object 64"/>
          <p:cNvSpPr/>
          <p:nvPr/>
        </p:nvSpPr>
        <p:spPr>
          <a:xfrm>
            <a:off x="10233659" y="2566416"/>
            <a:ext cx="117348" cy="289560"/>
          </a:xfrm>
          <a:prstGeom prst="rect">
            <a:avLst/>
          </a:prstGeom>
          <a:blipFill>
            <a:blip r:embed="rId6" cstate="print"/>
            <a:stretch>
              <a:fillRect/>
            </a:stretch>
          </a:blipFill>
        </p:spPr>
        <p:txBody>
          <a:bodyPr wrap="square" lIns="0" tIns="0" rIns="0" bIns="0" rtlCol="0"/>
          <a:lstStyle/>
          <a:p>
            <a:endParaRPr/>
          </a:p>
        </p:txBody>
      </p:sp>
      <p:sp>
        <p:nvSpPr>
          <p:cNvPr id="65" name="object 65"/>
          <p:cNvSpPr/>
          <p:nvPr/>
        </p:nvSpPr>
        <p:spPr>
          <a:xfrm>
            <a:off x="10543031" y="2566416"/>
            <a:ext cx="118872" cy="289560"/>
          </a:xfrm>
          <a:prstGeom prst="rect">
            <a:avLst/>
          </a:prstGeom>
          <a:blipFill>
            <a:blip r:embed="rId7" cstate="print"/>
            <a:stretch>
              <a:fillRect/>
            </a:stretch>
          </a:blipFill>
        </p:spPr>
        <p:txBody>
          <a:bodyPr wrap="square" lIns="0" tIns="0" rIns="0" bIns="0" rtlCol="0"/>
          <a:lstStyle/>
          <a:p>
            <a:endParaRPr/>
          </a:p>
        </p:txBody>
      </p:sp>
      <p:sp>
        <p:nvSpPr>
          <p:cNvPr id="66" name="object 66"/>
          <p:cNvSpPr/>
          <p:nvPr/>
        </p:nvSpPr>
        <p:spPr>
          <a:xfrm>
            <a:off x="10852404" y="2566416"/>
            <a:ext cx="118872" cy="289560"/>
          </a:xfrm>
          <a:prstGeom prst="rect">
            <a:avLst/>
          </a:prstGeom>
          <a:blipFill>
            <a:blip r:embed="rId7" cstate="print"/>
            <a:stretch>
              <a:fillRect/>
            </a:stretch>
          </a:blipFill>
        </p:spPr>
        <p:txBody>
          <a:bodyPr wrap="square" lIns="0" tIns="0" rIns="0" bIns="0" rtlCol="0"/>
          <a:lstStyle/>
          <a:p>
            <a:endParaRPr/>
          </a:p>
        </p:txBody>
      </p:sp>
      <p:sp>
        <p:nvSpPr>
          <p:cNvPr id="67" name="object 67"/>
          <p:cNvSpPr/>
          <p:nvPr/>
        </p:nvSpPr>
        <p:spPr>
          <a:xfrm>
            <a:off x="10387583" y="2566416"/>
            <a:ext cx="118872" cy="289560"/>
          </a:xfrm>
          <a:prstGeom prst="rect">
            <a:avLst/>
          </a:prstGeom>
          <a:blipFill>
            <a:blip r:embed="rId7" cstate="print"/>
            <a:stretch>
              <a:fillRect/>
            </a:stretch>
          </a:blipFill>
        </p:spPr>
        <p:txBody>
          <a:bodyPr wrap="square" lIns="0" tIns="0" rIns="0" bIns="0" rtlCol="0"/>
          <a:lstStyle/>
          <a:p>
            <a:endParaRPr/>
          </a:p>
        </p:txBody>
      </p:sp>
      <p:sp>
        <p:nvSpPr>
          <p:cNvPr id="68" name="object 68"/>
          <p:cNvSpPr/>
          <p:nvPr/>
        </p:nvSpPr>
        <p:spPr>
          <a:xfrm>
            <a:off x="10698480" y="2566416"/>
            <a:ext cx="117348" cy="289560"/>
          </a:xfrm>
          <a:prstGeom prst="rect">
            <a:avLst/>
          </a:prstGeom>
          <a:blipFill>
            <a:blip r:embed="rId6" cstate="print"/>
            <a:stretch>
              <a:fillRect/>
            </a:stretch>
          </a:blipFill>
        </p:spPr>
        <p:txBody>
          <a:bodyPr wrap="square" lIns="0" tIns="0" rIns="0" bIns="0" rtlCol="0"/>
          <a:lstStyle/>
          <a:p>
            <a:endParaRPr/>
          </a:p>
        </p:txBody>
      </p:sp>
      <p:sp>
        <p:nvSpPr>
          <p:cNvPr id="69" name="object 69"/>
          <p:cNvSpPr txBox="1"/>
          <p:nvPr/>
        </p:nvSpPr>
        <p:spPr>
          <a:xfrm>
            <a:off x="8490331" y="2295905"/>
            <a:ext cx="809625" cy="227965"/>
          </a:xfrm>
          <a:prstGeom prst="rect">
            <a:avLst/>
          </a:prstGeom>
        </p:spPr>
        <p:txBody>
          <a:bodyPr vert="horz" wrap="square" lIns="0" tIns="23495" rIns="0" bIns="0" rtlCol="0">
            <a:spAutoFit/>
          </a:bodyPr>
          <a:lstStyle/>
          <a:p>
            <a:pPr marL="12700" marR="5080" indent="144780">
              <a:lnSpc>
                <a:spcPts val="760"/>
              </a:lnSpc>
              <a:spcBef>
                <a:spcPts val="185"/>
              </a:spcBef>
            </a:pPr>
            <a:r>
              <a:rPr sz="700" b="1" spc="-5">
                <a:solidFill>
                  <a:srgbClr val="FFFFFF"/>
                </a:solidFill>
                <a:latin typeface="Verdana"/>
                <a:cs typeface="Verdana"/>
              </a:rPr>
              <a:t>Key Users  </a:t>
            </a:r>
            <a:r>
              <a:rPr sz="700" b="1">
                <a:solidFill>
                  <a:srgbClr val="FFFFFF"/>
                </a:solidFill>
                <a:latin typeface="Verdana"/>
                <a:cs typeface="Verdana"/>
              </a:rPr>
              <a:t>(</a:t>
            </a:r>
            <a:r>
              <a:rPr sz="700" b="1" spc="-10">
                <a:solidFill>
                  <a:srgbClr val="FFFFFF"/>
                </a:solidFill>
                <a:latin typeface="Verdana"/>
                <a:cs typeface="Verdana"/>
              </a:rPr>
              <a:t>mu</a:t>
            </a:r>
            <a:r>
              <a:rPr sz="700" b="1" spc="-5">
                <a:solidFill>
                  <a:srgbClr val="FFFFFF"/>
                </a:solidFill>
                <a:latin typeface="Verdana"/>
                <a:cs typeface="Verdana"/>
              </a:rPr>
              <a:t>l</a:t>
            </a:r>
            <a:r>
              <a:rPr sz="700" b="1" spc="-10">
                <a:solidFill>
                  <a:srgbClr val="FFFFFF"/>
                </a:solidFill>
                <a:latin typeface="Verdana"/>
                <a:cs typeface="Verdana"/>
              </a:rPr>
              <a:t>t</a:t>
            </a:r>
            <a:r>
              <a:rPr sz="700" b="1" spc="-5">
                <a:solidFill>
                  <a:srgbClr val="FFFFFF"/>
                </a:solidFill>
                <a:latin typeface="Verdana"/>
                <a:cs typeface="Verdana"/>
              </a:rPr>
              <a:t>i</a:t>
            </a:r>
            <a:r>
              <a:rPr sz="700" b="1">
                <a:solidFill>
                  <a:srgbClr val="FFFFFF"/>
                </a:solidFill>
                <a:latin typeface="Verdana"/>
                <a:cs typeface="Verdana"/>
              </a:rPr>
              <a:t>p</a:t>
            </a:r>
            <a:r>
              <a:rPr sz="700" b="1" spc="-5">
                <a:solidFill>
                  <a:srgbClr val="FFFFFF"/>
                </a:solidFill>
                <a:latin typeface="Verdana"/>
                <a:cs typeface="Verdana"/>
              </a:rPr>
              <a:t>li</a:t>
            </a:r>
            <a:r>
              <a:rPr sz="700" b="1" spc="-10">
                <a:solidFill>
                  <a:srgbClr val="FFFFFF"/>
                </a:solidFill>
                <a:latin typeface="Verdana"/>
                <a:cs typeface="Verdana"/>
              </a:rPr>
              <a:t>cat</a:t>
            </a:r>
            <a:r>
              <a:rPr sz="700" b="1" spc="-5">
                <a:solidFill>
                  <a:srgbClr val="FFFFFF"/>
                </a:solidFill>
                <a:latin typeface="Verdana"/>
                <a:cs typeface="Verdana"/>
              </a:rPr>
              <a:t>or</a:t>
            </a:r>
            <a:r>
              <a:rPr sz="700" b="1" spc="-15">
                <a:solidFill>
                  <a:srgbClr val="FFFFFF"/>
                </a:solidFill>
                <a:latin typeface="Verdana"/>
                <a:cs typeface="Verdana"/>
              </a:rPr>
              <a:t>s</a:t>
            </a:r>
            <a:r>
              <a:rPr sz="700" b="1" spc="-5">
                <a:solidFill>
                  <a:srgbClr val="FFFFFF"/>
                </a:solidFill>
                <a:latin typeface="Verdana"/>
                <a:cs typeface="Verdana"/>
              </a:rPr>
              <a:t>)</a:t>
            </a:r>
            <a:endParaRPr sz="700">
              <a:latin typeface="Verdana"/>
              <a:cs typeface="Verdana"/>
            </a:endParaRPr>
          </a:p>
        </p:txBody>
      </p:sp>
      <p:sp>
        <p:nvSpPr>
          <p:cNvPr id="70" name="object 70"/>
          <p:cNvSpPr txBox="1"/>
          <p:nvPr/>
        </p:nvSpPr>
        <p:spPr>
          <a:xfrm>
            <a:off x="10342244" y="2317242"/>
            <a:ext cx="521334" cy="132080"/>
          </a:xfrm>
          <a:prstGeom prst="rect">
            <a:avLst/>
          </a:prstGeom>
        </p:spPr>
        <p:txBody>
          <a:bodyPr vert="horz" wrap="square" lIns="0" tIns="12065" rIns="0" bIns="0" rtlCol="0">
            <a:spAutoFit/>
          </a:bodyPr>
          <a:lstStyle/>
          <a:p>
            <a:pPr marL="12700">
              <a:lnSpc>
                <a:spcPct val="100000"/>
              </a:lnSpc>
              <a:spcBef>
                <a:spcPts val="95"/>
              </a:spcBef>
            </a:pPr>
            <a:r>
              <a:rPr sz="700" b="1" spc="-5">
                <a:latin typeface="Verdana"/>
                <a:cs typeface="Verdana"/>
              </a:rPr>
              <a:t>End</a:t>
            </a:r>
            <a:r>
              <a:rPr sz="700" b="1" spc="-65">
                <a:latin typeface="Verdana"/>
                <a:cs typeface="Verdana"/>
              </a:rPr>
              <a:t> </a:t>
            </a:r>
            <a:r>
              <a:rPr sz="700" b="1" spc="-5">
                <a:latin typeface="Verdana"/>
                <a:cs typeface="Verdana"/>
              </a:rPr>
              <a:t>Users</a:t>
            </a:r>
            <a:endParaRPr sz="700">
              <a:latin typeface="Verdana"/>
              <a:cs typeface="Verdana"/>
            </a:endParaRPr>
          </a:p>
        </p:txBody>
      </p:sp>
      <p:sp>
        <p:nvSpPr>
          <p:cNvPr id="71" name="object 71"/>
          <p:cNvSpPr/>
          <p:nvPr/>
        </p:nvSpPr>
        <p:spPr>
          <a:xfrm>
            <a:off x="7850885" y="2459101"/>
            <a:ext cx="437515" cy="226060"/>
          </a:xfrm>
          <a:prstGeom prst="rect">
            <a:avLst/>
          </a:prstGeom>
          <a:blipFill>
            <a:blip r:embed="rId8" cstate="print"/>
            <a:stretch>
              <a:fillRect/>
            </a:stretch>
          </a:blipFill>
        </p:spPr>
        <p:txBody>
          <a:bodyPr wrap="square" lIns="0" tIns="0" rIns="0" bIns="0" rtlCol="0"/>
          <a:lstStyle/>
          <a:p>
            <a:endParaRPr/>
          </a:p>
        </p:txBody>
      </p:sp>
      <p:sp>
        <p:nvSpPr>
          <p:cNvPr id="72" name="object 72"/>
          <p:cNvSpPr/>
          <p:nvPr/>
        </p:nvSpPr>
        <p:spPr>
          <a:xfrm>
            <a:off x="7924038" y="3211067"/>
            <a:ext cx="435863" cy="283337"/>
          </a:xfrm>
          <a:prstGeom prst="rect">
            <a:avLst/>
          </a:prstGeom>
          <a:blipFill>
            <a:blip r:embed="rId9" cstate="print"/>
            <a:stretch>
              <a:fillRect/>
            </a:stretch>
          </a:blipFill>
        </p:spPr>
        <p:txBody>
          <a:bodyPr wrap="square" lIns="0" tIns="0" rIns="0" bIns="0" rtlCol="0"/>
          <a:lstStyle/>
          <a:p>
            <a:endParaRPr/>
          </a:p>
        </p:txBody>
      </p:sp>
      <p:sp>
        <p:nvSpPr>
          <p:cNvPr id="73" name="object 73"/>
          <p:cNvSpPr/>
          <p:nvPr/>
        </p:nvSpPr>
        <p:spPr>
          <a:xfrm>
            <a:off x="6382511" y="2282951"/>
            <a:ext cx="1303020" cy="701040"/>
          </a:xfrm>
          <a:custGeom>
            <a:avLst/>
            <a:gdLst/>
            <a:ahLst/>
            <a:cxnLst/>
            <a:rect l="l" t="t" r="r" b="b"/>
            <a:pathLst>
              <a:path w="1303020" h="701039">
                <a:moveTo>
                  <a:pt x="1186180" y="0"/>
                </a:moveTo>
                <a:lnTo>
                  <a:pt x="116839" y="0"/>
                </a:lnTo>
                <a:lnTo>
                  <a:pt x="71366" y="9183"/>
                </a:lnTo>
                <a:lnTo>
                  <a:pt x="34226" y="34226"/>
                </a:lnTo>
                <a:lnTo>
                  <a:pt x="9183" y="71366"/>
                </a:lnTo>
                <a:lnTo>
                  <a:pt x="0" y="116839"/>
                </a:lnTo>
                <a:lnTo>
                  <a:pt x="0" y="584200"/>
                </a:lnTo>
                <a:lnTo>
                  <a:pt x="9183" y="629673"/>
                </a:lnTo>
                <a:lnTo>
                  <a:pt x="34226" y="666813"/>
                </a:lnTo>
                <a:lnTo>
                  <a:pt x="71366" y="691856"/>
                </a:lnTo>
                <a:lnTo>
                  <a:pt x="116839" y="701039"/>
                </a:lnTo>
                <a:lnTo>
                  <a:pt x="1186180" y="701039"/>
                </a:lnTo>
                <a:lnTo>
                  <a:pt x="1231653" y="691856"/>
                </a:lnTo>
                <a:lnTo>
                  <a:pt x="1268793" y="666813"/>
                </a:lnTo>
                <a:lnTo>
                  <a:pt x="1293836" y="629673"/>
                </a:lnTo>
                <a:lnTo>
                  <a:pt x="1303019" y="584200"/>
                </a:lnTo>
                <a:lnTo>
                  <a:pt x="1303019" y="116839"/>
                </a:lnTo>
                <a:lnTo>
                  <a:pt x="1293836" y="71366"/>
                </a:lnTo>
                <a:lnTo>
                  <a:pt x="1268793" y="34226"/>
                </a:lnTo>
                <a:lnTo>
                  <a:pt x="1231653" y="9183"/>
                </a:lnTo>
                <a:lnTo>
                  <a:pt x="1186180" y="0"/>
                </a:lnTo>
                <a:close/>
              </a:path>
            </a:pathLst>
          </a:custGeom>
          <a:solidFill>
            <a:srgbClr val="9AE0F7"/>
          </a:solidFill>
        </p:spPr>
        <p:txBody>
          <a:bodyPr wrap="square" lIns="0" tIns="0" rIns="0" bIns="0" rtlCol="0"/>
          <a:lstStyle/>
          <a:p>
            <a:endParaRPr/>
          </a:p>
        </p:txBody>
      </p:sp>
      <p:sp>
        <p:nvSpPr>
          <p:cNvPr id="74" name="object 74"/>
          <p:cNvSpPr/>
          <p:nvPr/>
        </p:nvSpPr>
        <p:spPr>
          <a:xfrm>
            <a:off x="6382511" y="3034283"/>
            <a:ext cx="1303020" cy="701040"/>
          </a:xfrm>
          <a:custGeom>
            <a:avLst/>
            <a:gdLst/>
            <a:ahLst/>
            <a:cxnLst/>
            <a:rect l="l" t="t" r="r" b="b"/>
            <a:pathLst>
              <a:path w="1303020" h="701039">
                <a:moveTo>
                  <a:pt x="1186180" y="0"/>
                </a:moveTo>
                <a:lnTo>
                  <a:pt x="116839" y="0"/>
                </a:lnTo>
                <a:lnTo>
                  <a:pt x="71366" y="9183"/>
                </a:lnTo>
                <a:lnTo>
                  <a:pt x="34226" y="34226"/>
                </a:lnTo>
                <a:lnTo>
                  <a:pt x="9183" y="71366"/>
                </a:lnTo>
                <a:lnTo>
                  <a:pt x="0" y="116839"/>
                </a:lnTo>
                <a:lnTo>
                  <a:pt x="0" y="584199"/>
                </a:lnTo>
                <a:lnTo>
                  <a:pt x="9183" y="629673"/>
                </a:lnTo>
                <a:lnTo>
                  <a:pt x="34226" y="666813"/>
                </a:lnTo>
                <a:lnTo>
                  <a:pt x="71366" y="691856"/>
                </a:lnTo>
                <a:lnTo>
                  <a:pt x="116839" y="701039"/>
                </a:lnTo>
                <a:lnTo>
                  <a:pt x="1186180" y="701039"/>
                </a:lnTo>
                <a:lnTo>
                  <a:pt x="1231653" y="691856"/>
                </a:lnTo>
                <a:lnTo>
                  <a:pt x="1268793" y="666813"/>
                </a:lnTo>
                <a:lnTo>
                  <a:pt x="1293836" y="629673"/>
                </a:lnTo>
                <a:lnTo>
                  <a:pt x="1303019" y="584199"/>
                </a:lnTo>
                <a:lnTo>
                  <a:pt x="1303019" y="116839"/>
                </a:lnTo>
                <a:lnTo>
                  <a:pt x="1293836" y="71366"/>
                </a:lnTo>
                <a:lnTo>
                  <a:pt x="1268793" y="34226"/>
                </a:lnTo>
                <a:lnTo>
                  <a:pt x="1231653" y="9183"/>
                </a:lnTo>
                <a:lnTo>
                  <a:pt x="1186180" y="0"/>
                </a:lnTo>
                <a:close/>
              </a:path>
            </a:pathLst>
          </a:custGeom>
          <a:solidFill>
            <a:srgbClr val="9AE0F7"/>
          </a:solidFill>
        </p:spPr>
        <p:txBody>
          <a:bodyPr wrap="square" lIns="0" tIns="0" rIns="0" bIns="0" rtlCol="0"/>
          <a:lstStyle/>
          <a:p>
            <a:endParaRPr/>
          </a:p>
        </p:txBody>
      </p:sp>
      <p:sp>
        <p:nvSpPr>
          <p:cNvPr id="75" name="object 75"/>
          <p:cNvSpPr/>
          <p:nvPr/>
        </p:nvSpPr>
        <p:spPr>
          <a:xfrm>
            <a:off x="7382256" y="2432304"/>
            <a:ext cx="117348" cy="288036"/>
          </a:xfrm>
          <a:prstGeom prst="rect">
            <a:avLst/>
          </a:prstGeom>
          <a:blipFill>
            <a:blip r:embed="rId10" cstate="print"/>
            <a:stretch>
              <a:fillRect/>
            </a:stretch>
          </a:blipFill>
        </p:spPr>
        <p:txBody>
          <a:bodyPr wrap="square" lIns="0" tIns="0" rIns="0" bIns="0" rtlCol="0"/>
          <a:lstStyle/>
          <a:p>
            <a:endParaRPr/>
          </a:p>
        </p:txBody>
      </p:sp>
      <p:sp>
        <p:nvSpPr>
          <p:cNvPr id="76" name="object 76"/>
          <p:cNvSpPr txBox="1"/>
          <p:nvPr/>
        </p:nvSpPr>
        <p:spPr>
          <a:xfrm>
            <a:off x="6525894" y="2519934"/>
            <a:ext cx="48895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006FAC"/>
                </a:solidFill>
                <a:latin typeface="Verdana"/>
                <a:cs typeface="Verdana"/>
              </a:rPr>
              <a:t>T</a:t>
            </a:r>
            <a:r>
              <a:rPr sz="900" b="1" spc="-10">
                <a:solidFill>
                  <a:srgbClr val="006FAC"/>
                </a:solidFill>
                <a:latin typeface="Verdana"/>
                <a:cs typeface="Verdana"/>
              </a:rPr>
              <a:t>r</a:t>
            </a:r>
            <a:r>
              <a:rPr sz="900" b="1">
                <a:solidFill>
                  <a:srgbClr val="006FAC"/>
                </a:solidFill>
                <a:latin typeface="Verdana"/>
                <a:cs typeface="Verdana"/>
              </a:rPr>
              <a:t>ai</a:t>
            </a:r>
            <a:r>
              <a:rPr sz="900" b="1" spc="-5">
                <a:solidFill>
                  <a:srgbClr val="006FAC"/>
                </a:solidFill>
                <a:latin typeface="Verdana"/>
                <a:cs typeface="Verdana"/>
              </a:rPr>
              <a:t>ner</a:t>
            </a:r>
            <a:endParaRPr sz="900">
              <a:latin typeface="Verdana"/>
              <a:cs typeface="Verdana"/>
            </a:endParaRPr>
          </a:p>
        </p:txBody>
      </p:sp>
      <p:sp>
        <p:nvSpPr>
          <p:cNvPr id="77" name="object 77"/>
          <p:cNvSpPr/>
          <p:nvPr/>
        </p:nvSpPr>
        <p:spPr>
          <a:xfrm>
            <a:off x="7382256" y="3198876"/>
            <a:ext cx="117348" cy="288036"/>
          </a:xfrm>
          <a:prstGeom prst="rect">
            <a:avLst/>
          </a:prstGeom>
          <a:blipFill>
            <a:blip r:embed="rId10" cstate="print"/>
            <a:stretch>
              <a:fillRect/>
            </a:stretch>
          </a:blipFill>
        </p:spPr>
        <p:txBody>
          <a:bodyPr wrap="square" lIns="0" tIns="0" rIns="0" bIns="0" rtlCol="0"/>
          <a:lstStyle/>
          <a:p>
            <a:endParaRPr/>
          </a:p>
        </p:txBody>
      </p:sp>
      <p:sp>
        <p:nvSpPr>
          <p:cNvPr id="78" name="object 78"/>
          <p:cNvSpPr txBox="1"/>
          <p:nvPr/>
        </p:nvSpPr>
        <p:spPr>
          <a:xfrm>
            <a:off x="6513321" y="3295015"/>
            <a:ext cx="48895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006FAC"/>
                </a:solidFill>
                <a:latin typeface="Verdana"/>
                <a:cs typeface="Verdana"/>
              </a:rPr>
              <a:t>T</a:t>
            </a:r>
            <a:r>
              <a:rPr sz="900" b="1" spc="-10">
                <a:solidFill>
                  <a:srgbClr val="006FAC"/>
                </a:solidFill>
                <a:latin typeface="Verdana"/>
                <a:cs typeface="Verdana"/>
              </a:rPr>
              <a:t>r</a:t>
            </a:r>
            <a:r>
              <a:rPr sz="900" b="1">
                <a:solidFill>
                  <a:srgbClr val="006FAC"/>
                </a:solidFill>
                <a:latin typeface="Verdana"/>
                <a:cs typeface="Verdana"/>
              </a:rPr>
              <a:t>ai</a:t>
            </a:r>
            <a:r>
              <a:rPr sz="900" b="1" spc="-5">
                <a:solidFill>
                  <a:srgbClr val="006FAC"/>
                </a:solidFill>
                <a:latin typeface="Verdana"/>
                <a:cs typeface="Verdana"/>
              </a:rPr>
              <a:t>ner</a:t>
            </a:r>
            <a:endParaRPr sz="900">
              <a:latin typeface="Verdana"/>
              <a:cs typeface="Verdana"/>
            </a:endParaRPr>
          </a:p>
        </p:txBody>
      </p:sp>
      <p:sp>
        <p:nvSpPr>
          <p:cNvPr id="79" name="object 79"/>
          <p:cNvSpPr/>
          <p:nvPr/>
        </p:nvSpPr>
        <p:spPr>
          <a:xfrm>
            <a:off x="8484107" y="3727703"/>
            <a:ext cx="2927985" cy="165100"/>
          </a:xfrm>
          <a:custGeom>
            <a:avLst/>
            <a:gdLst/>
            <a:ahLst/>
            <a:cxnLst/>
            <a:rect l="l" t="t" r="r" b="b"/>
            <a:pathLst>
              <a:path w="2927984" h="165100">
                <a:moveTo>
                  <a:pt x="2927604" y="0"/>
                </a:moveTo>
                <a:lnTo>
                  <a:pt x="2914810" y="32039"/>
                </a:lnTo>
                <a:lnTo>
                  <a:pt x="2879931" y="58197"/>
                </a:lnTo>
                <a:lnTo>
                  <a:pt x="2828216" y="75830"/>
                </a:lnTo>
                <a:lnTo>
                  <a:pt x="2764917" y="82296"/>
                </a:lnTo>
                <a:lnTo>
                  <a:pt x="1626489" y="82296"/>
                </a:lnTo>
                <a:lnTo>
                  <a:pt x="1563189" y="88761"/>
                </a:lnTo>
                <a:lnTo>
                  <a:pt x="1511474" y="106394"/>
                </a:lnTo>
                <a:lnTo>
                  <a:pt x="1476595" y="132552"/>
                </a:lnTo>
                <a:lnTo>
                  <a:pt x="1463802" y="164592"/>
                </a:lnTo>
                <a:lnTo>
                  <a:pt x="1451008" y="132552"/>
                </a:lnTo>
                <a:lnTo>
                  <a:pt x="1416129" y="106394"/>
                </a:lnTo>
                <a:lnTo>
                  <a:pt x="1364414" y="88761"/>
                </a:lnTo>
                <a:lnTo>
                  <a:pt x="1301115" y="82296"/>
                </a:lnTo>
                <a:lnTo>
                  <a:pt x="162687" y="82296"/>
                </a:lnTo>
                <a:lnTo>
                  <a:pt x="99387" y="75830"/>
                </a:lnTo>
                <a:lnTo>
                  <a:pt x="47672" y="58197"/>
                </a:lnTo>
                <a:lnTo>
                  <a:pt x="12793" y="32039"/>
                </a:lnTo>
                <a:lnTo>
                  <a:pt x="0" y="0"/>
                </a:lnTo>
              </a:path>
            </a:pathLst>
          </a:custGeom>
          <a:ln w="9143">
            <a:solidFill>
              <a:srgbClr val="2B133C"/>
            </a:solidFill>
          </a:ln>
        </p:spPr>
        <p:txBody>
          <a:bodyPr wrap="square" lIns="0" tIns="0" rIns="0" bIns="0" rtlCol="0"/>
          <a:lstStyle/>
          <a:p>
            <a:endParaRPr/>
          </a:p>
        </p:txBody>
      </p:sp>
      <p:sp>
        <p:nvSpPr>
          <p:cNvPr id="80" name="object 80"/>
          <p:cNvSpPr/>
          <p:nvPr/>
        </p:nvSpPr>
        <p:spPr>
          <a:xfrm>
            <a:off x="6320028" y="3712464"/>
            <a:ext cx="2074545" cy="180340"/>
          </a:xfrm>
          <a:custGeom>
            <a:avLst/>
            <a:gdLst/>
            <a:ahLst/>
            <a:cxnLst/>
            <a:rect l="l" t="t" r="r" b="b"/>
            <a:pathLst>
              <a:path w="2074545" h="180339">
                <a:moveTo>
                  <a:pt x="2074164" y="0"/>
                </a:moveTo>
                <a:lnTo>
                  <a:pt x="2061481" y="34998"/>
                </a:lnTo>
                <a:lnTo>
                  <a:pt x="2026904" y="63579"/>
                </a:lnTo>
                <a:lnTo>
                  <a:pt x="1975633" y="82849"/>
                </a:lnTo>
                <a:lnTo>
                  <a:pt x="1912874" y="89916"/>
                </a:lnTo>
                <a:lnTo>
                  <a:pt x="1198372" y="89916"/>
                </a:lnTo>
                <a:lnTo>
                  <a:pt x="1135612" y="96982"/>
                </a:lnTo>
                <a:lnTo>
                  <a:pt x="1084341" y="116252"/>
                </a:lnTo>
                <a:lnTo>
                  <a:pt x="1049764" y="144833"/>
                </a:lnTo>
                <a:lnTo>
                  <a:pt x="1037081" y="179831"/>
                </a:lnTo>
                <a:lnTo>
                  <a:pt x="1024399" y="144833"/>
                </a:lnTo>
                <a:lnTo>
                  <a:pt x="989822" y="116252"/>
                </a:lnTo>
                <a:lnTo>
                  <a:pt x="938551" y="96982"/>
                </a:lnTo>
                <a:lnTo>
                  <a:pt x="875792" y="89916"/>
                </a:lnTo>
                <a:lnTo>
                  <a:pt x="161289" y="89916"/>
                </a:lnTo>
                <a:lnTo>
                  <a:pt x="98530" y="82849"/>
                </a:lnTo>
                <a:lnTo>
                  <a:pt x="47259" y="63579"/>
                </a:lnTo>
                <a:lnTo>
                  <a:pt x="12682" y="34998"/>
                </a:lnTo>
                <a:lnTo>
                  <a:pt x="0" y="0"/>
                </a:lnTo>
              </a:path>
            </a:pathLst>
          </a:custGeom>
          <a:ln w="9144">
            <a:solidFill>
              <a:srgbClr val="12ABDB"/>
            </a:solidFill>
          </a:ln>
        </p:spPr>
        <p:txBody>
          <a:bodyPr wrap="square" lIns="0" tIns="0" rIns="0" bIns="0" rtlCol="0"/>
          <a:lstStyle/>
          <a:p>
            <a:endParaRPr/>
          </a:p>
        </p:txBody>
      </p:sp>
      <p:sp>
        <p:nvSpPr>
          <p:cNvPr id="81" name="object 81"/>
          <p:cNvSpPr/>
          <p:nvPr/>
        </p:nvSpPr>
        <p:spPr>
          <a:xfrm>
            <a:off x="524255" y="1932432"/>
            <a:ext cx="274320" cy="274320"/>
          </a:xfrm>
          <a:custGeom>
            <a:avLst/>
            <a:gdLst/>
            <a:ahLst/>
            <a:cxnLst/>
            <a:rect l="l" t="t" r="r" b="b"/>
            <a:pathLst>
              <a:path w="274320" h="274319">
                <a:moveTo>
                  <a:pt x="137159" y="0"/>
                </a:moveTo>
                <a:lnTo>
                  <a:pt x="93805" y="6998"/>
                </a:lnTo>
                <a:lnTo>
                  <a:pt x="56153" y="26481"/>
                </a:lnTo>
                <a:lnTo>
                  <a:pt x="26462" y="56180"/>
                </a:lnTo>
                <a:lnTo>
                  <a:pt x="6992" y="93829"/>
                </a:lnTo>
                <a:lnTo>
                  <a:pt x="0" y="137159"/>
                </a:lnTo>
                <a:lnTo>
                  <a:pt x="6992" y="180490"/>
                </a:lnTo>
                <a:lnTo>
                  <a:pt x="26462" y="218139"/>
                </a:lnTo>
                <a:lnTo>
                  <a:pt x="56153" y="247838"/>
                </a:lnTo>
                <a:lnTo>
                  <a:pt x="93805" y="267321"/>
                </a:lnTo>
                <a:lnTo>
                  <a:pt x="137159" y="274319"/>
                </a:lnTo>
                <a:lnTo>
                  <a:pt x="180514" y="267321"/>
                </a:lnTo>
                <a:lnTo>
                  <a:pt x="218166" y="247838"/>
                </a:lnTo>
                <a:lnTo>
                  <a:pt x="247857" y="218139"/>
                </a:lnTo>
                <a:lnTo>
                  <a:pt x="267327" y="180490"/>
                </a:lnTo>
                <a:lnTo>
                  <a:pt x="274320" y="137159"/>
                </a:lnTo>
                <a:lnTo>
                  <a:pt x="267327" y="93829"/>
                </a:lnTo>
                <a:lnTo>
                  <a:pt x="247857" y="56180"/>
                </a:lnTo>
                <a:lnTo>
                  <a:pt x="218166" y="26481"/>
                </a:lnTo>
                <a:lnTo>
                  <a:pt x="180514" y="6998"/>
                </a:lnTo>
                <a:lnTo>
                  <a:pt x="137159" y="0"/>
                </a:lnTo>
                <a:close/>
              </a:path>
            </a:pathLst>
          </a:custGeom>
          <a:solidFill>
            <a:srgbClr val="006FAC"/>
          </a:solidFill>
        </p:spPr>
        <p:txBody>
          <a:bodyPr wrap="square" lIns="0" tIns="0" rIns="0" bIns="0" rtlCol="0"/>
          <a:lstStyle/>
          <a:p>
            <a:endParaRPr/>
          </a:p>
        </p:txBody>
      </p:sp>
      <p:sp>
        <p:nvSpPr>
          <p:cNvPr id="82" name="object 82"/>
          <p:cNvSpPr/>
          <p:nvPr/>
        </p:nvSpPr>
        <p:spPr>
          <a:xfrm>
            <a:off x="560831" y="1950720"/>
            <a:ext cx="246888" cy="219455"/>
          </a:xfrm>
          <a:prstGeom prst="rect">
            <a:avLst/>
          </a:prstGeom>
          <a:blipFill>
            <a:blip r:embed="rId11" cstate="print"/>
            <a:stretch>
              <a:fillRect/>
            </a:stretch>
          </a:blipFill>
        </p:spPr>
        <p:txBody>
          <a:bodyPr wrap="square" lIns="0" tIns="0" rIns="0" bIns="0" rtlCol="0"/>
          <a:lstStyle/>
          <a:p>
            <a:endParaRPr/>
          </a:p>
        </p:txBody>
      </p:sp>
      <p:sp>
        <p:nvSpPr>
          <p:cNvPr id="83" name="object 83"/>
          <p:cNvSpPr/>
          <p:nvPr/>
        </p:nvSpPr>
        <p:spPr>
          <a:xfrm>
            <a:off x="519683" y="4131564"/>
            <a:ext cx="279400" cy="236220"/>
          </a:xfrm>
          <a:custGeom>
            <a:avLst/>
            <a:gdLst/>
            <a:ahLst/>
            <a:cxnLst/>
            <a:rect l="l" t="t" r="r" b="b"/>
            <a:pathLst>
              <a:path w="279400" h="236220">
                <a:moveTo>
                  <a:pt x="41008" y="195453"/>
                </a:moveTo>
                <a:lnTo>
                  <a:pt x="4102" y="195453"/>
                </a:lnTo>
                <a:lnTo>
                  <a:pt x="0" y="199517"/>
                </a:lnTo>
                <a:lnTo>
                  <a:pt x="0" y="232156"/>
                </a:lnTo>
                <a:lnTo>
                  <a:pt x="4102" y="236219"/>
                </a:lnTo>
                <a:lnTo>
                  <a:pt x="41008" y="236219"/>
                </a:lnTo>
                <a:lnTo>
                  <a:pt x="41008" y="195453"/>
                </a:lnTo>
                <a:close/>
              </a:path>
              <a:path w="279400" h="236220">
                <a:moveTo>
                  <a:pt x="98425" y="175133"/>
                </a:moveTo>
                <a:lnTo>
                  <a:pt x="65620" y="175133"/>
                </a:lnTo>
                <a:lnTo>
                  <a:pt x="61518" y="179197"/>
                </a:lnTo>
                <a:lnTo>
                  <a:pt x="61518" y="232156"/>
                </a:lnTo>
                <a:lnTo>
                  <a:pt x="65620" y="236219"/>
                </a:lnTo>
                <a:lnTo>
                  <a:pt x="98425" y="236219"/>
                </a:lnTo>
                <a:lnTo>
                  <a:pt x="102527" y="232156"/>
                </a:lnTo>
                <a:lnTo>
                  <a:pt x="102527" y="179197"/>
                </a:lnTo>
                <a:lnTo>
                  <a:pt x="98425" y="175133"/>
                </a:lnTo>
                <a:close/>
              </a:path>
              <a:path w="279400" h="236220">
                <a:moveTo>
                  <a:pt x="159956" y="138430"/>
                </a:moveTo>
                <a:lnTo>
                  <a:pt x="123037" y="138430"/>
                </a:lnTo>
                <a:lnTo>
                  <a:pt x="123037" y="236219"/>
                </a:lnTo>
                <a:lnTo>
                  <a:pt x="159956" y="236219"/>
                </a:lnTo>
                <a:lnTo>
                  <a:pt x="159956" y="138430"/>
                </a:lnTo>
                <a:close/>
              </a:path>
              <a:path w="279400" h="236220">
                <a:moveTo>
                  <a:pt x="217373" y="77343"/>
                </a:moveTo>
                <a:lnTo>
                  <a:pt x="184556" y="77343"/>
                </a:lnTo>
                <a:lnTo>
                  <a:pt x="180454" y="81406"/>
                </a:lnTo>
                <a:lnTo>
                  <a:pt x="180454" y="232156"/>
                </a:lnTo>
                <a:lnTo>
                  <a:pt x="184556" y="236219"/>
                </a:lnTo>
                <a:lnTo>
                  <a:pt x="217373" y="236219"/>
                </a:lnTo>
                <a:lnTo>
                  <a:pt x="221475" y="232156"/>
                </a:lnTo>
                <a:lnTo>
                  <a:pt x="221475" y="81406"/>
                </a:lnTo>
                <a:lnTo>
                  <a:pt x="217373" y="77343"/>
                </a:lnTo>
                <a:close/>
              </a:path>
              <a:path w="279400" h="236220">
                <a:moveTo>
                  <a:pt x="278892" y="0"/>
                </a:moveTo>
                <a:lnTo>
                  <a:pt x="241973" y="0"/>
                </a:lnTo>
                <a:lnTo>
                  <a:pt x="241973" y="236219"/>
                </a:lnTo>
                <a:lnTo>
                  <a:pt x="278892" y="236219"/>
                </a:lnTo>
                <a:lnTo>
                  <a:pt x="278892" y="0"/>
                </a:lnTo>
                <a:close/>
              </a:path>
            </a:pathLst>
          </a:custGeom>
          <a:solidFill>
            <a:srgbClr val="E2001F"/>
          </a:solidFill>
        </p:spPr>
        <p:txBody>
          <a:bodyPr wrap="square" lIns="0" tIns="0" rIns="0" bIns="0" rtlCol="0"/>
          <a:lstStyle/>
          <a:p>
            <a:endParaRPr/>
          </a:p>
        </p:txBody>
      </p:sp>
      <p:sp>
        <p:nvSpPr>
          <p:cNvPr id="84" name="object 84"/>
          <p:cNvSpPr txBox="1"/>
          <p:nvPr/>
        </p:nvSpPr>
        <p:spPr>
          <a:xfrm>
            <a:off x="6052565" y="3888994"/>
            <a:ext cx="5463540" cy="1001394"/>
          </a:xfrm>
          <a:prstGeom prst="rect">
            <a:avLst/>
          </a:prstGeom>
        </p:spPr>
        <p:txBody>
          <a:bodyPr vert="horz" wrap="square" lIns="0" tIns="12700" rIns="0" bIns="0" rtlCol="0">
            <a:spAutoFit/>
          </a:bodyPr>
          <a:lstStyle/>
          <a:p>
            <a:pPr marL="883919">
              <a:lnSpc>
                <a:spcPct val="100000"/>
              </a:lnSpc>
              <a:spcBef>
                <a:spcPts val="100"/>
              </a:spcBef>
              <a:tabLst>
                <a:tab pos="3606800" algn="l"/>
              </a:tabLst>
            </a:pPr>
            <a:r>
              <a:rPr sz="1200" b="1" spc="-5">
                <a:solidFill>
                  <a:srgbClr val="12ABDB"/>
                </a:solidFill>
                <a:latin typeface="Verdana"/>
                <a:cs typeface="Verdana"/>
              </a:rPr>
              <a:t>Capgemini	</a:t>
            </a:r>
            <a:r>
              <a:rPr sz="1200" b="1" spc="-5">
                <a:solidFill>
                  <a:srgbClr val="FF0000"/>
                </a:solidFill>
                <a:latin typeface="Verdana"/>
                <a:cs typeface="Verdana"/>
              </a:rPr>
              <a:t>Marelli</a:t>
            </a:r>
            <a:endParaRPr sz="1200">
              <a:latin typeface="Verdana"/>
              <a:cs typeface="Verdana"/>
            </a:endParaRPr>
          </a:p>
          <a:p>
            <a:pPr marL="189230" marR="5080" indent="-177165">
              <a:lnSpc>
                <a:spcPct val="100000"/>
              </a:lnSpc>
              <a:spcBef>
                <a:spcPts val="960"/>
              </a:spcBef>
              <a:buClr>
                <a:srgbClr val="006FAC"/>
              </a:buClr>
              <a:buFont typeface="Wingdings"/>
              <a:buChar char=""/>
              <a:tabLst>
                <a:tab pos="189865" algn="l"/>
              </a:tabLst>
            </a:pPr>
            <a:r>
              <a:rPr sz="1100">
                <a:latin typeface="Verdana"/>
                <a:cs typeface="Verdana"/>
              </a:rPr>
              <a:t>Key users </a:t>
            </a:r>
            <a:r>
              <a:rPr sz="1100" spc="-5">
                <a:latin typeface="Verdana"/>
                <a:cs typeface="Verdana"/>
              </a:rPr>
              <a:t>are experienced </a:t>
            </a:r>
            <a:r>
              <a:rPr sz="1100">
                <a:latin typeface="Verdana"/>
                <a:cs typeface="Verdana"/>
              </a:rPr>
              <a:t>users </a:t>
            </a:r>
            <a:r>
              <a:rPr sz="1100" spc="-5">
                <a:latin typeface="Verdana"/>
                <a:cs typeface="Verdana"/>
              </a:rPr>
              <a:t>from the operative business. </a:t>
            </a:r>
            <a:r>
              <a:rPr sz="1100">
                <a:latin typeface="Verdana"/>
                <a:cs typeface="Verdana"/>
              </a:rPr>
              <a:t>They </a:t>
            </a:r>
            <a:r>
              <a:rPr sz="1100" spc="-5">
                <a:latin typeface="Verdana"/>
                <a:cs typeface="Verdana"/>
              </a:rPr>
              <a:t>have  in-depth knowledge </a:t>
            </a:r>
            <a:r>
              <a:rPr sz="1100">
                <a:latin typeface="Verdana"/>
                <a:cs typeface="Verdana"/>
              </a:rPr>
              <a:t>of </a:t>
            </a:r>
            <a:r>
              <a:rPr sz="1100" spc="-5">
                <a:latin typeface="Verdana"/>
                <a:cs typeface="Verdana"/>
              </a:rPr>
              <a:t>Marelli </a:t>
            </a:r>
            <a:r>
              <a:rPr sz="1100" spc="-10">
                <a:latin typeface="Verdana"/>
                <a:cs typeface="Verdana"/>
              </a:rPr>
              <a:t>in </a:t>
            </a:r>
            <a:r>
              <a:rPr sz="1100" spc="-5">
                <a:latin typeface="Verdana"/>
                <a:cs typeface="Verdana"/>
              </a:rPr>
              <a:t>their department </a:t>
            </a:r>
            <a:r>
              <a:rPr sz="1100">
                <a:latin typeface="Verdana"/>
                <a:cs typeface="Verdana"/>
              </a:rPr>
              <a:t>and act </a:t>
            </a:r>
            <a:r>
              <a:rPr sz="1100" spc="-5">
                <a:latin typeface="Verdana"/>
                <a:cs typeface="Verdana"/>
              </a:rPr>
              <a:t>multidisciplinary  </a:t>
            </a:r>
            <a:r>
              <a:rPr sz="1100">
                <a:latin typeface="Verdana"/>
                <a:cs typeface="Verdana"/>
              </a:rPr>
              <a:t>between processes, </a:t>
            </a:r>
            <a:r>
              <a:rPr sz="1100" spc="-5">
                <a:latin typeface="Verdana"/>
                <a:cs typeface="Verdana"/>
              </a:rPr>
              <a:t>business </a:t>
            </a:r>
            <a:r>
              <a:rPr sz="1100">
                <a:latin typeface="Verdana"/>
                <a:cs typeface="Verdana"/>
              </a:rPr>
              <a:t>and IT. As a </a:t>
            </a:r>
            <a:r>
              <a:rPr sz="1100" spc="-5">
                <a:latin typeface="Verdana"/>
                <a:cs typeface="Verdana"/>
              </a:rPr>
              <a:t>first point </a:t>
            </a:r>
            <a:r>
              <a:rPr sz="1100">
                <a:latin typeface="Verdana"/>
                <a:cs typeface="Verdana"/>
              </a:rPr>
              <a:t>of contact, they  support </a:t>
            </a:r>
            <a:r>
              <a:rPr sz="1100" spc="-5">
                <a:latin typeface="Verdana"/>
                <a:cs typeface="Verdana"/>
              </a:rPr>
              <a:t>the </a:t>
            </a:r>
            <a:r>
              <a:rPr sz="1100">
                <a:latin typeface="Verdana"/>
                <a:cs typeface="Verdana"/>
              </a:rPr>
              <a:t>users of </a:t>
            </a:r>
            <a:r>
              <a:rPr sz="1100" spc="-5">
                <a:latin typeface="Verdana"/>
                <a:cs typeface="Verdana"/>
              </a:rPr>
              <a:t>their department with Marelli related</a:t>
            </a:r>
            <a:r>
              <a:rPr sz="1100" spc="95">
                <a:latin typeface="Verdana"/>
                <a:cs typeface="Verdana"/>
              </a:rPr>
              <a:t> </a:t>
            </a:r>
            <a:r>
              <a:rPr sz="1100" spc="-5">
                <a:latin typeface="Verdana"/>
                <a:cs typeface="Verdana"/>
              </a:rPr>
              <a:t>topics.</a:t>
            </a:r>
            <a:endParaRPr sz="1100">
              <a:latin typeface="Verdana"/>
              <a:cs typeface="Verdana"/>
            </a:endParaRPr>
          </a:p>
        </p:txBody>
      </p:sp>
      <p:sp>
        <p:nvSpPr>
          <p:cNvPr id="85" name="object 85"/>
          <p:cNvSpPr/>
          <p:nvPr/>
        </p:nvSpPr>
        <p:spPr>
          <a:xfrm>
            <a:off x="8104631" y="5262371"/>
            <a:ext cx="226060" cy="256540"/>
          </a:xfrm>
          <a:custGeom>
            <a:avLst/>
            <a:gdLst/>
            <a:ahLst/>
            <a:cxnLst/>
            <a:rect l="l" t="t" r="r" b="b"/>
            <a:pathLst>
              <a:path w="226059" h="256539">
                <a:moveTo>
                  <a:pt x="225551" y="256031"/>
                </a:moveTo>
                <a:lnTo>
                  <a:pt x="209603" y="239460"/>
                </a:lnTo>
                <a:lnTo>
                  <a:pt x="191785" y="224615"/>
                </a:lnTo>
                <a:lnTo>
                  <a:pt x="171705" y="211508"/>
                </a:lnTo>
                <a:lnTo>
                  <a:pt x="148971" y="200151"/>
                </a:lnTo>
                <a:lnTo>
                  <a:pt x="164415" y="183016"/>
                </a:lnTo>
                <a:lnTo>
                  <a:pt x="178704" y="160607"/>
                </a:lnTo>
                <a:lnTo>
                  <a:pt x="189208" y="134697"/>
                </a:lnTo>
                <a:lnTo>
                  <a:pt x="193294" y="107060"/>
                </a:lnTo>
                <a:lnTo>
                  <a:pt x="186882" y="64829"/>
                </a:lnTo>
                <a:lnTo>
                  <a:pt x="169148" y="30860"/>
                </a:lnTo>
                <a:lnTo>
                  <a:pt x="142341" y="8227"/>
                </a:lnTo>
                <a:lnTo>
                  <a:pt x="108712" y="0"/>
                </a:lnTo>
                <a:lnTo>
                  <a:pt x="76797" y="8227"/>
                </a:lnTo>
                <a:lnTo>
                  <a:pt x="49799" y="30860"/>
                </a:lnTo>
                <a:lnTo>
                  <a:pt x="31113" y="64829"/>
                </a:lnTo>
                <a:lnTo>
                  <a:pt x="24129" y="107060"/>
                </a:lnTo>
                <a:lnTo>
                  <a:pt x="28850" y="134697"/>
                </a:lnTo>
                <a:lnTo>
                  <a:pt x="40751" y="160607"/>
                </a:lnTo>
                <a:lnTo>
                  <a:pt x="56437" y="183016"/>
                </a:lnTo>
                <a:lnTo>
                  <a:pt x="72517" y="200151"/>
                </a:lnTo>
                <a:lnTo>
                  <a:pt x="49845" y="208791"/>
                </a:lnTo>
                <a:lnTo>
                  <a:pt x="30210" y="220503"/>
                </a:lnTo>
                <a:lnTo>
                  <a:pt x="13598" y="234834"/>
                </a:lnTo>
                <a:lnTo>
                  <a:pt x="0" y="251332"/>
                </a:lnTo>
              </a:path>
            </a:pathLst>
          </a:custGeom>
          <a:ln w="12191">
            <a:solidFill>
              <a:srgbClr val="000000"/>
            </a:solidFill>
          </a:ln>
        </p:spPr>
        <p:txBody>
          <a:bodyPr wrap="square" lIns="0" tIns="0" rIns="0" bIns="0" rtlCol="0"/>
          <a:lstStyle/>
          <a:p>
            <a:endParaRPr/>
          </a:p>
        </p:txBody>
      </p:sp>
      <p:sp>
        <p:nvSpPr>
          <p:cNvPr id="86" name="object 86"/>
          <p:cNvSpPr/>
          <p:nvPr/>
        </p:nvSpPr>
        <p:spPr>
          <a:xfrm>
            <a:off x="8275319" y="5489447"/>
            <a:ext cx="224154" cy="256540"/>
          </a:xfrm>
          <a:custGeom>
            <a:avLst/>
            <a:gdLst/>
            <a:ahLst/>
            <a:cxnLst/>
            <a:rect l="l" t="t" r="r" b="b"/>
            <a:pathLst>
              <a:path w="224154" h="256539">
                <a:moveTo>
                  <a:pt x="224027" y="256031"/>
                </a:moveTo>
                <a:lnTo>
                  <a:pt x="208178" y="240174"/>
                </a:lnTo>
                <a:lnTo>
                  <a:pt x="190484" y="226937"/>
                </a:lnTo>
                <a:lnTo>
                  <a:pt x="170574" y="215446"/>
                </a:lnTo>
                <a:lnTo>
                  <a:pt x="148081" y="204825"/>
                </a:lnTo>
                <a:lnTo>
                  <a:pt x="163359" y="184967"/>
                </a:lnTo>
                <a:lnTo>
                  <a:pt x="177530" y="161183"/>
                </a:lnTo>
                <a:lnTo>
                  <a:pt x="187961" y="134782"/>
                </a:lnTo>
                <a:lnTo>
                  <a:pt x="192024" y="107073"/>
                </a:lnTo>
                <a:lnTo>
                  <a:pt x="185638" y="64834"/>
                </a:lnTo>
                <a:lnTo>
                  <a:pt x="167989" y="30862"/>
                </a:lnTo>
                <a:lnTo>
                  <a:pt x="141339" y="8227"/>
                </a:lnTo>
                <a:lnTo>
                  <a:pt x="107950" y="0"/>
                </a:lnTo>
                <a:lnTo>
                  <a:pt x="76295" y="8227"/>
                </a:lnTo>
                <a:lnTo>
                  <a:pt x="49498" y="30862"/>
                </a:lnTo>
                <a:lnTo>
                  <a:pt x="30940" y="64834"/>
                </a:lnTo>
                <a:lnTo>
                  <a:pt x="24002" y="107073"/>
                </a:lnTo>
                <a:lnTo>
                  <a:pt x="28682" y="134782"/>
                </a:lnTo>
                <a:lnTo>
                  <a:pt x="40481" y="161183"/>
                </a:lnTo>
                <a:lnTo>
                  <a:pt x="56042" y="184967"/>
                </a:lnTo>
                <a:lnTo>
                  <a:pt x="72008" y="204825"/>
                </a:lnTo>
                <a:lnTo>
                  <a:pt x="49506" y="212826"/>
                </a:lnTo>
                <a:lnTo>
                  <a:pt x="30003" y="223446"/>
                </a:lnTo>
                <a:lnTo>
                  <a:pt x="13501" y="237558"/>
                </a:lnTo>
                <a:lnTo>
                  <a:pt x="0" y="256031"/>
                </a:lnTo>
              </a:path>
            </a:pathLst>
          </a:custGeom>
          <a:ln w="12192">
            <a:solidFill>
              <a:srgbClr val="000000"/>
            </a:solidFill>
          </a:ln>
        </p:spPr>
        <p:txBody>
          <a:bodyPr wrap="square" lIns="0" tIns="0" rIns="0" bIns="0" rtlCol="0"/>
          <a:lstStyle/>
          <a:p>
            <a:endParaRPr/>
          </a:p>
        </p:txBody>
      </p:sp>
      <p:sp>
        <p:nvSpPr>
          <p:cNvPr id="87" name="object 87"/>
          <p:cNvSpPr/>
          <p:nvPr/>
        </p:nvSpPr>
        <p:spPr>
          <a:xfrm>
            <a:off x="8450580" y="5254752"/>
            <a:ext cx="220979" cy="254635"/>
          </a:xfrm>
          <a:custGeom>
            <a:avLst/>
            <a:gdLst/>
            <a:ahLst/>
            <a:cxnLst/>
            <a:rect l="l" t="t" r="r" b="b"/>
            <a:pathLst>
              <a:path w="220979" h="254635">
                <a:moveTo>
                  <a:pt x="220979" y="254508"/>
                </a:moveTo>
                <a:lnTo>
                  <a:pt x="205106" y="238763"/>
                </a:lnTo>
                <a:lnTo>
                  <a:pt x="187340" y="225615"/>
                </a:lnTo>
                <a:lnTo>
                  <a:pt x="167312" y="214181"/>
                </a:lnTo>
                <a:lnTo>
                  <a:pt x="144652" y="203581"/>
                </a:lnTo>
                <a:lnTo>
                  <a:pt x="160023" y="183864"/>
                </a:lnTo>
                <a:lnTo>
                  <a:pt x="174275" y="160242"/>
                </a:lnTo>
                <a:lnTo>
                  <a:pt x="184765" y="134000"/>
                </a:lnTo>
                <a:lnTo>
                  <a:pt x="188849" y="106426"/>
                </a:lnTo>
                <a:lnTo>
                  <a:pt x="182441" y="64400"/>
                </a:lnTo>
                <a:lnTo>
                  <a:pt x="164734" y="30638"/>
                </a:lnTo>
                <a:lnTo>
                  <a:pt x="138003" y="8163"/>
                </a:lnTo>
                <a:lnTo>
                  <a:pt x="104521" y="0"/>
                </a:lnTo>
                <a:lnTo>
                  <a:pt x="74975" y="8163"/>
                </a:lnTo>
                <a:lnTo>
                  <a:pt x="49228" y="30638"/>
                </a:lnTo>
                <a:lnTo>
                  <a:pt x="31029" y="64400"/>
                </a:lnTo>
                <a:lnTo>
                  <a:pt x="24129" y="106426"/>
                </a:lnTo>
                <a:lnTo>
                  <a:pt x="28767" y="134000"/>
                </a:lnTo>
                <a:lnTo>
                  <a:pt x="40179" y="160242"/>
                </a:lnTo>
                <a:lnTo>
                  <a:pt x="54615" y="183864"/>
                </a:lnTo>
                <a:lnTo>
                  <a:pt x="68325" y="203581"/>
                </a:lnTo>
                <a:lnTo>
                  <a:pt x="48023" y="211538"/>
                </a:lnTo>
                <a:lnTo>
                  <a:pt x="29638" y="222091"/>
                </a:lnTo>
                <a:lnTo>
                  <a:pt x="13515" y="236120"/>
                </a:lnTo>
                <a:lnTo>
                  <a:pt x="0" y="254508"/>
                </a:lnTo>
              </a:path>
            </a:pathLst>
          </a:custGeom>
          <a:ln w="12192">
            <a:solidFill>
              <a:srgbClr val="000000"/>
            </a:solidFill>
          </a:ln>
        </p:spPr>
        <p:txBody>
          <a:bodyPr wrap="square" lIns="0" tIns="0" rIns="0" bIns="0" rtlCol="0"/>
          <a:lstStyle/>
          <a:p>
            <a:endParaRPr/>
          </a:p>
        </p:txBody>
      </p:sp>
      <p:sp>
        <p:nvSpPr>
          <p:cNvPr id="88" name="object 88"/>
          <p:cNvSpPr/>
          <p:nvPr/>
        </p:nvSpPr>
        <p:spPr>
          <a:xfrm>
            <a:off x="8217407" y="5492496"/>
            <a:ext cx="337185" cy="480059"/>
          </a:xfrm>
          <a:custGeom>
            <a:avLst/>
            <a:gdLst/>
            <a:ahLst/>
            <a:cxnLst/>
            <a:rect l="l" t="t" r="r" b="b"/>
            <a:pathLst>
              <a:path w="337184" h="480060">
                <a:moveTo>
                  <a:pt x="168401" y="0"/>
                </a:moveTo>
                <a:lnTo>
                  <a:pt x="136653" y="8229"/>
                </a:lnTo>
                <a:lnTo>
                  <a:pt x="109775" y="30878"/>
                </a:lnTo>
                <a:lnTo>
                  <a:pt x="91160" y="64888"/>
                </a:lnTo>
                <a:lnTo>
                  <a:pt x="84200" y="107200"/>
                </a:lnTo>
                <a:lnTo>
                  <a:pt x="88900" y="135603"/>
                </a:lnTo>
                <a:lnTo>
                  <a:pt x="100742" y="163131"/>
                </a:lnTo>
                <a:lnTo>
                  <a:pt x="116347" y="187164"/>
                </a:lnTo>
                <a:lnTo>
                  <a:pt x="132334" y="205079"/>
                </a:lnTo>
                <a:lnTo>
                  <a:pt x="93452" y="223487"/>
                </a:lnTo>
                <a:lnTo>
                  <a:pt x="62278" y="250212"/>
                </a:lnTo>
                <a:lnTo>
                  <a:pt x="38181" y="284440"/>
                </a:lnTo>
                <a:lnTo>
                  <a:pt x="20534" y="325354"/>
                </a:lnTo>
                <a:lnTo>
                  <a:pt x="8707" y="372139"/>
                </a:lnTo>
                <a:lnTo>
                  <a:pt x="2071" y="423979"/>
                </a:lnTo>
                <a:lnTo>
                  <a:pt x="0" y="480059"/>
                </a:lnTo>
                <a:lnTo>
                  <a:pt x="336803" y="480059"/>
                </a:lnTo>
                <a:lnTo>
                  <a:pt x="334743" y="423979"/>
                </a:lnTo>
                <a:lnTo>
                  <a:pt x="328191" y="372139"/>
                </a:lnTo>
                <a:lnTo>
                  <a:pt x="316589" y="325354"/>
                </a:lnTo>
                <a:lnTo>
                  <a:pt x="299380" y="284440"/>
                </a:lnTo>
                <a:lnTo>
                  <a:pt x="276006" y="250212"/>
                </a:lnTo>
                <a:lnTo>
                  <a:pt x="245910" y="223487"/>
                </a:lnTo>
                <a:lnTo>
                  <a:pt x="208534" y="205079"/>
                </a:lnTo>
                <a:lnTo>
                  <a:pt x="224520" y="187164"/>
                </a:lnTo>
                <a:lnTo>
                  <a:pt x="240125" y="163131"/>
                </a:lnTo>
                <a:lnTo>
                  <a:pt x="251968" y="135603"/>
                </a:lnTo>
                <a:lnTo>
                  <a:pt x="256667" y="107200"/>
                </a:lnTo>
                <a:lnTo>
                  <a:pt x="249644" y="64888"/>
                </a:lnTo>
                <a:lnTo>
                  <a:pt x="230584" y="30878"/>
                </a:lnTo>
                <a:lnTo>
                  <a:pt x="202499" y="8229"/>
                </a:lnTo>
                <a:lnTo>
                  <a:pt x="168401" y="0"/>
                </a:lnTo>
                <a:close/>
              </a:path>
            </a:pathLst>
          </a:custGeom>
          <a:solidFill>
            <a:srgbClr val="FF0000"/>
          </a:solidFill>
        </p:spPr>
        <p:txBody>
          <a:bodyPr wrap="square" lIns="0" tIns="0" rIns="0" bIns="0" rtlCol="0"/>
          <a:lstStyle/>
          <a:p>
            <a:endParaRPr/>
          </a:p>
        </p:txBody>
      </p:sp>
      <p:sp>
        <p:nvSpPr>
          <p:cNvPr id="89" name="object 89"/>
          <p:cNvSpPr/>
          <p:nvPr/>
        </p:nvSpPr>
        <p:spPr>
          <a:xfrm>
            <a:off x="8217407" y="5492496"/>
            <a:ext cx="337185" cy="480059"/>
          </a:xfrm>
          <a:custGeom>
            <a:avLst/>
            <a:gdLst/>
            <a:ahLst/>
            <a:cxnLst/>
            <a:rect l="l" t="t" r="r" b="b"/>
            <a:pathLst>
              <a:path w="337184" h="480060">
                <a:moveTo>
                  <a:pt x="336803" y="480059"/>
                </a:moveTo>
                <a:lnTo>
                  <a:pt x="334743" y="423979"/>
                </a:lnTo>
                <a:lnTo>
                  <a:pt x="328191" y="372139"/>
                </a:lnTo>
                <a:lnTo>
                  <a:pt x="316589" y="325354"/>
                </a:lnTo>
                <a:lnTo>
                  <a:pt x="299380" y="284440"/>
                </a:lnTo>
                <a:lnTo>
                  <a:pt x="276006" y="250212"/>
                </a:lnTo>
                <a:lnTo>
                  <a:pt x="245910" y="223487"/>
                </a:lnTo>
                <a:lnTo>
                  <a:pt x="208534" y="205079"/>
                </a:lnTo>
                <a:lnTo>
                  <a:pt x="224520" y="187164"/>
                </a:lnTo>
                <a:lnTo>
                  <a:pt x="240125" y="163131"/>
                </a:lnTo>
                <a:lnTo>
                  <a:pt x="251968" y="135603"/>
                </a:lnTo>
                <a:lnTo>
                  <a:pt x="256667" y="107200"/>
                </a:lnTo>
                <a:lnTo>
                  <a:pt x="249644" y="64888"/>
                </a:lnTo>
                <a:lnTo>
                  <a:pt x="230584" y="30878"/>
                </a:lnTo>
                <a:lnTo>
                  <a:pt x="202499" y="8229"/>
                </a:lnTo>
                <a:lnTo>
                  <a:pt x="168401" y="0"/>
                </a:lnTo>
                <a:lnTo>
                  <a:pt x="136653" y="8229"/>
                </a:lnTo>
                <a:lnTo>
                  <a:pt x="109775" y="30878"/>
                </a:lnTo>
                <a:lnTo>
                  <a:pt x="91160" y="64888"/>
                </a:lnTo>
                <a:lnTo>
                  <a:pt x="84200" y="107200"/>
                </a:lnTo>
                <a:lnTo>
                  <a:pt x="88900" y="135603"/>
                </a:lnTo>
                <a:lnTo>
                  <a:pt x="100742" y="163131"/>
                </a:lnTo>
                <a:lnTo>
                  <a:pt x="116347" y="187164"/>
                </a:lnTo>
                <a:lnTo>
                  <a:pt x="132334" y="205079"/>
                </a:lnTo>
                <a:lnTo>
                  <a:pt x="93452" y="223487"/>
                </a:lnTo>
                <a:lnTo>
                  <a:pt x="62278" y="250212"/>
                </a:lnTo>
                <a:lnTo>
                  <a:pt x="38181" y="284440"/>
                </a:lnTo>
                <a:lnTo>
                  <a:pt x="20534" y="325354"/>
                </a:lnTo>
                <a:lnTo>
                  <a:pt x="8707" y="372139"/>
                </a:lnTo>
                <a:lnTo>
                  <a:pt x="2071" y="423979"/>
                </a:lnTo>
                <a:lnTo>
                  <a:pt x="0" y="480059"/>
                </a:lnTo>
              </a:path>
            </a:pathLst>
          </a:custGeom>
          <a:ln w="12192">
            <a:solidFill>
              <a:srgbClr val="12ABDB"/>
            </a:solidFill>
          </a:ln>
        </p:spPr>
        <p:txBody>
          <a:bodyPr wrap="square" lIns="0" tIns="0" rIns="0" bIns="0" rtlCol="0"/>
          <a:lstStyle/>
          <a:p>
            <a:endParaRPr/>
          </a:p>
        </p:txBody>
      </p:sp>
      <p:sp>
        <p:nvSpPr>
          <p:cNvPr id="90" name="object 90"/>
          <p:cNvSpPr/>
          <p:nvPr/>
        </p:nvSpPr>
        <p:spPr>
          <a:xfrm>
            <a:off x="8330183" y="5751576"/>
            <a:ext cx="121920" cy="106680"/>
          </a:xfrm>
          <a:prstGeom prst="rect">
            <a:avLst/>
          </a:prstGeom>
          <a:blipFill>
            <a:blip r:embed="rId12" cstate="print"/>
            <a:stretch>
              <a:fillRect/>
            </a:stretch>
          </a:blipFill>
        </p:spPr>
        <p:txBody>
          <a:bodyPr wrap="square" lIns="0" tIns="0" rIns="0" bIns="0" rtlCol="0"/>
          <a:lstStyle/>
          <a:p>
            <a:endParaRPr/>
          </a:p>
        </p:txBody>
      </p:sp>
      <p:sp>
        <p:nvSpPr>
          <p:cNvPr id="91" name="object 91"/>
          <p:cNvSpPr/>
          <p:nvPr/>
        </p:nvSpPr>
        <p:spPr>
          <a:xfrm>
            <a:off x="7882128" y="5486400"/>
            <a:ext cx="329565" cy="480059"/>
          </a:xfrm>
          <a:custGeom>
            <a:avLst/>
            <a:gdLst/>
            <a:ahLst/>
            <a:cxnLst/>
            <a:rect l="l" t="t" r="r" b="b"/>
            <a:pathLst>
              <a:path w="329565" h="480060">
                <a:moveTo>
                  <a:pt x="329183" y="480059"/>
                </a:moveTo>
                <a:lnTo>
                  <a:pt x="327123" y="423979"/>
                </a:lnTo>
                <a:lnTo>
                  <a:pt x="320565" y="372139"/>
                </a:lnTo>
                <a:lnTo>
                  <a:pt x="308949" y="325354"/>
                </a:lnTo>
                <a:lnTo>
                  <a:pt x="291713" y="284440"/>
                </a:lnTo>
                <a:lnTo>
                  <a:pt x="268294" y="250212"/>
                </a:lnTo>
                <a:lnTo>
                  <a:pt x="238130" y="223487"/>
                </a:lnTo>
                <a:lnTo>
                  <a:pt x="200660" y="205079"/>
                </a:lnTo>
                <a:lnTo>
                  <a:pt x="216719" y="187164"/>
                </a:lnTo>
                <a:lnTo>
                  <a:pt x="232362" y="163131"/>
                </a:lnTo>
                <a:lnTo>
                  <a:pt x="244219" y="135603"/>
                </a:lnTo>
                <a:lnTo>
                  <a:pt x="248920" y="107200"/>
                </a:lnTo>
                <a:lnTo>
                  <a:pt x="241958" y="64888"/>
                </a:lnTo>
                <a:lnTo>
                  <a:pt x="223329" y="30878"/>
                </a:lnTo>
                <a:lnTo>
                  <a:pt x="196413" y="8229"/>
                </a:lnTo>
                <a:lnTo>
                  <a:pt x="164592" y="0"/>
                </a:lnTo>
                <a:lnTo>
                  <a:pt x="133405" y="8229"/>
                </a:lnTo>
                <a:lnTo>
                  <a:pt x="107886" y="30878"/>
                </a:lnTo>
                <a:lnTo>
                  <a:pt x="90654" y="64888"/>
                </a:lnTo>
                <a:lnTo>
                  <a:pt x="84327" y="107200"/>
                </a:lnTo>
                <a:lnTo>
                  <a:pt x="88393" y="135603"/>
                </a:lnTo>
                <a:lnTo>
                  <a:pt x="98853" y="163131"/>
                </a:lnTo>
                <a:lnTo>
                  <a:pt x="113099" y="187164"/>
                </a:lnTo>
                <a:lnTo>
                  <a:pt x="128524" y="205079"/>
                </a:lnTo>
                <a:lnTo>
                  <a:pt x="91053" y="223487"/>
                </a:lnTo>
                <a:lnTo>
                  <a:pt x="60889" y="250212"/>
                </a:lnTo>
                <a:lnTo>
                  <a:pt x="37470" y="284440"/>
                </a:lnTo>
                <a:lnTo>
                  <a:pt x="20234" y="325354"/>
                </a:lnTo>
                <a:lnTo>
                  <a:pt x="8618" y="372139"/>
                </a:lnTo>
                <a:lnTo>
                  <a:pt x="2060" y="423979"/>
                </a:lnTo>
                <a:lnTo>
                  <a:pt x="0" y="480059"/>
                </a:lnTo>
              </a:path>
            </a:pathLst>
          </a:custGeom>
          <a:ln w="12192">
            <a:solidFill>
              <a:srgbClr val="000000"/>
            </a:solidFill>
          </a:ln>
        </p:spPr>
        <p:txBody>
          <a:bodyPr wrap="square" lIns="0" tIns="0" rIns="0" bIns="0" rtlCol="0"/>
          <a:lstStyle/>
          <a:p>
            <a:endParaRPr/>
          </a:p>
        </p:txBody>
      </p:sp>
      <p:sp>
        <p:nvSpPr>
          <p:cNvPr id="92" name="object 92"/>
          <p:cNvSpPr/>
          <p:nvPr/>
        </p:nvSpPr>
        <p:spPr>
          <a:xfrm>
            <a:off x="8549640" y="5500115"/>
            <a:ext cx="337185" cy="478790"/>
          </a:xfrm>
          <a:custGeom>
            <a:avLst/>
            <a:gdLst/>
            <a:ahLst/>
            <a:cxnLst/>
            <a:rect l="l" t="t" r="r" b="b"/>
            <a:pathLst>
              <a:path w="337184" h="478789">
                <a:moveTo>
                  <a:pt x="336803" y="478536"/>
                </a:moveTo>
                <a:lnTo>
                  <a:pt x="334732" y="422634"/>
                </a:lnTo>
                <a:lnTo>
                  <a:pt x="328096" y="370959"/>
                </a:lnTo>
                <a:lnTo>
                  <a:pt x="316269" y="324323"/>
                </a:lnTo>
                <a:lnTo>
                  <a:pt x="298622" y="283538"/>
                </a:lnTo>
                <a:lnTo>
                  <a:pt x="274525" y="249418"/>
                </a:lnTo>
                <a:lnTo>
                  <a:pt x="243351" y="222773"/>
                </a:lnTo>
                <a:lnTo>
                  <a:pt x="204469" y="204419"/>
                </a:lnTo>
                <a:lnTo>
                  <a:pt x="220456" y="186564"/>
                </a:lnTo>
                <a:lnTo>
                  <a:pt x="236061" y="162610"/>
                </a:lnTo>
                <a:lnTo>
                  <a:pt x="247903" y="135171"/>
                </a:lnTo>
                <a:lnTo>
                  <a:pt x="252602" y="106857"/>
                </a:lnTo>
                <a:lnTo>
                  <a:pt x="245580" y="64690"/>
                </a:lnTo>
                <a:lnTo>
                  <a:pt x="226520" y="30787"/>
                </a:lnTo>
                <a:lnTo>
                  <a:pt x="198435" y="8206"/>
                </a:lnTo>
                <a:lnTo>
                  <a:pt x="164337" y="0"/>
                </a:lnTo>
                <a:lnTo>
                  <a:pt x="134939" y="8206"/>
                </a:lnTo>
                <a:lnTo>
                  <a:pt x="109267" y="30787"/>
                </a:lnTo>
                <a:lnTo>
                  <a:pt x="91096" y="64690"/>
                </a:lnTo>
                <a:lnTo>
                  <a:pt x="84200" y="106857"/>
                </a:lnTo>
                <a:lnTo>
                  <a:pt x="88836" y="135171"/>
                </a:lnTo>
                <a:lnTo>
                  <a:pt x="100234" y="162610"/>
                </a:lnTo>
                <a:lnTo>
                  <a:pt x="114633" y="186564"/>
                </a:lnTo>
                <a:lnTo>
                  <a:pt x="128269" y="204419"/>
                </a:lnTo>
                <a:lnTo>
                  <a:pt x="90893" y="222773"/>
                </a:lnTo>
                <a:lnTo>
                  <a:pt x="60797" y="249418"/>
                </a:lnTo>
                <a:lnTo>
                  <a:pt x="37423" y="283538"/>
                </a:lnTo>
                <a:lnTo>
                  <a:pt x="20214" y="324323"/>
                </a:lnTo>
                <a:lnTo>
                  <a:pt x="8612" y="370959"/>
                </a:lnTo>
                <a:lnTo>
                  <a:pt x="2060" y="422634"/>
                </a:lnTo>
                <a:lnTo>
                  <a:pt x="0" y="478536"/>
                </a:lnTo>
              </a:path>
            </a:pathLst>
          </a:custGeom>
          <a:ln w="12192">
            <a:solidFill>
              <a:srgbClr val="000000"/>
            </a:solidFill>
          </a:ln>
        </p:spPr>
        <p:txBody>
          <a:bodyPr wrap="square" lIns="0" tIns="0" rIns="0" bIns="0" rtlCol="0"/>
          <a:lstStyle/>
          <a:p>
            <a:endParaRPr/>
          </a:p>
        </p:txBody>
      </p:sp>
      <p:sp>
        <p:nvSpPr>
          <p:cNvPr id="93" name="object 93"/>
          <p:cNvSpPr/>
          <p:nvPr/>
        </p:nvSpPr>
        <p:spPr>
          <a:xfrm>
            <a:off x="8054340" y="5713476"/>
            <a:ext cx="337185" cy="478790"/>
          </a:xfrm>
          <a:custGeom>
            <a:avLst/>
            <a:gdLst/>
            <a:ahLst/>
            <a:cxnLst/>
            <a:rect l="l" t="t" r="r" b="b"/>
            <a:pathLst>
              <a:path w="337184" h="478789">
                <a:moveTo>
                  <a:pt x="168401" y="0"/>
                </a:moveTo>
                <a:lnTo>
                  <a:pt x="136653" y="8202"/>
                </a:lnTo>
                <a:lnTo>
                  <a:pt x="109775" y="30778"/>
                </a:lnTo>
                <a:lnTo>
                  <a:pt x="91160" y="64679"/>
                </a:lnTo>
                <a:lnTo>
                  <a:pt x="84200" y="106857"/>
                </a:lnTo>
                <a:lnTo>
                  <a:pt x="88900" y="135171"/>
                </a:lnTo>
                <a:lnTo>
                  <a:pt x="100742" y="162610"/>
                </a:lnTo>
                <a:lnTo>
                  <a:pt x="116347" y="186564"/>
                </a:lnTo>
                <a:lnTo>
                  <a:pt x="132333" y="204419"/>
                </a:lnTo>
                <a:lnTo>
                  <a:pt x="93452" y="222773"/>
                </a:lnTo>
                <a:lnTo>
                  <a:pt x="62278" y="249418"/>
                </a:lnTo>
                <a:lnTo>
                  <a:pt x="38181" y="283538"/>
                </a:lnTo>
                <a:lnTo>
                  <a:pt x="20534" y="324323"/>
                </a:lnTo>
                <a:lnTo>
                  <a:pt x="8707" y="370959"/>
                </a:lnTo>
                <a:lnTo>
                  <a:pt x="2071" y="422634"/>
                </a:lnTo>
                <a:lnTo>
                  <a:pt x="0" y="478536"/>
                </a:lnTo>
                <a:lnTo>
                  <a:pt x="336803" y="478536"/>
                </a:lnTo>
                <a:lnTo>
                  <a:pt x="334743" y="422634"/>
                </a:lnTo>
                <a:lnTo>
                  <a:pt x="328191" y="370959"/>
                </a:lnTo>
                <a:lnTo>
                  <a:pt x="316589" y="324323"/>
                </a:lnTo>
                <a:lnTo>
                  <a:pt x="299380" y="283538"/>
                </a:lnTo>
                <a:lnTo>
                  <a:pt x="276006" y="249418"/>
                </a:lnTo>
                <a:lnTo>
                  <a:pt x="245910" y="222773"/>
                </a:lnTo>
                <a:lnTo>
                  <a:pt x="208533" y="204419"/>
                </a:lnTo>
                <a:lnTo>
                  <a:pt x="224520" y="186564"/>
                </a:lnTo>
                <a:lnTo>
                  <a:pt x="240125" y="162610"/>
                </a:lnTo>
                <a:lnTo>
                  <a:pt x="251967" y="135171"/>
                </a:lnTo>
                <a:lnTo>
                  <a:pt x="256666" y="106857"/>
                </a:lnTo>
                <a:lnTo>
                  <a:pt x="249644" y="64679"/>
                </a:lnTo>
                <a:lnTo>
                  <a:pt x="230584" y="30778"/>
                </a:lnTo>
                <a:lnTo>
                  <a:pt x="202499" y="8202"/>
                </a:lnTo>
                <a:lnTo>
                  <a:pt x="168401" y="0"/>
                </a:lnTo>
                <a:close/>
              </a:path>
            </a:pathLst>
          </a:custGeom>
          <a:solidFill>
            <a:srgbClr val="FFFFFF"/>
          </a:solidFill>
        </p:spPr>
        <p:txBody>
          <a:bodyPr wrap="square" lIns="0" tIns="0" rIns="0" bIns="0" rtlCol="0"/>
          <a:lstStyle/>
          <a:p>
            <a:endParaRPr/>
          </a:p>
        </p:txBody>
      </p:sp>
      <p:sp>
        <p:nvSpPr>
          <p:cNvPr id="94" name="object 94"/>
          <p:cNvSpPr/>
          <p:nvPr/>
        </p:nvSpPr>
        <p:spPr>
          <a:xfrm>
            <a:off x="8054340" y="5713476"/>
            <a:ext cx="337185" cy="478790"/>
          </a:xfrm>
          <a:custGeom>
            <a:avLst/>
            <a:gdLst/>
            <a:ahLst/>
            <a:cxnLst/>
            <a:rect l="l" t="t" r="r" b="b"/>
            <a:pathLst>
              <a:path w="337184" h="478789">
                <a:moveTo>
                  <a:pt x="336803" y="478536"/>
                </a:moveTo>
                <a:lnTo>
                  <a:pt x="334743" y="422634"/>
                </a:lnTo>
                <a:lnTo>
                  <a:pt x="328191" y="370959"/>
                </a:lnTo>
                <a:lnTo>
                  <a:pt x="316589" y="324323"/>
                </a:lnTo>
                <a:lnTo>
                  <a:pt x="299380" y="283538"/>
                </a:lnTo>
                <a:lnTo>
                  <a:pt x="276006" y="249418"/>
                </a:lnTo>
                <a:lnTo>
                  <a:pt x="245910" y="222773"/>
                </a:lnTo>
                <a:lnTo>
                  <a:pt x="208533" y="204419"/>
                </a:lnTo>
                <a:lnTo>
                  <a:pt x="224520" y="186564"/>
                </a:lnTo>
                <a:lnTo>
                  <a:pt x="240125" y="162610"/>
                </a:lnTo>
                <a:lnTo>
                  <a:pt x="251967" y="135171"/>
                </a:lnTo>
                <a:lnTo>
                  <a:pt x="256666" y="106857"/>
                </a:lnTo>
                <a:lnTo>
                  <a:pt x="249644" y="64679"/>
                </a:lnTo>
                <a:lnTo>
                  <a:pt x="230584" y="30778"/>
                </a:lnTo>
                <a:lnTo>
                  <a:pt x="202499" y="8202"/>
                </a:lnTo>
                <a:lnTo>
                  <a:pt x="168401" y="0"/>
                </a:lnTo>
                <a:lnTo>
                  <a:pt x="136653" y="8202"/>
                </a:lnTo>
                <a:lnTo>
                  <a:pt x="109775" y="30778"/>
                </a:lnTo>
                <a:lnTo>
                  <a:pt x="91160" y="64679"/>
                </a:lnTo>
                <a:lnTo>
                  <a:pt x="84200" y="106857"/>
                </a:lnTo>
                <a:lnTo>
                  <a:pt x="88900" y="135171"/>
                </a:lnTo>
                <a:lnTo>
                  <a:pt x="100742" y="162610"/>
                </a:lnTo>
                <a:lnTo>
                  <a:pt x="116347" y="186564"/>
                </a:lnTo>
                <a:lnTo>
                  <a:pt x="132333" y="204419"/>
                </a:lnTo>
                <a:lnTo>
                  <a:pt x="93452" y="222773"/>
                </a:lnTo>
                <a:lnTo>
                  <a:pt x="62278" y="249418"/>
                </a:lnTo>
                <a:lnTo>
                  <a:pt x="38181" y="283538"/>
                </a:lnTo>
                <a:lnTo>
                  <a:pt x="20534" y="324323"/>
                </a:lnTo>
                <a:lnTo>
                  <a:pt x="8707" y="370959"/>
                </a:lnTo>
                <a:lnTo>
                  <a:pt x="2071" y="422634"/>
                </a:lnTo>
                <a:lnTo>
                  <a:pt x="0" y="478536"/>
                </a:lnTo>
              </a:path>
            </a:pathLst>
          </a:custGeom>
          <a:ln w="12192">
            <a:solidFill>
              <a:srgbClr val="000000"/>
            </a:solidFill>
          </a:ln>
        </p:spPr>
        <p:txBody>
          <a:bodyPr wrap="square" lIns="0" tIns="0" rIns="0" bIns="0" rtlCol="0"/>
          <a:lstStyle/>
          <a:p>
            <a:endParaRPr/>
          </a:p>
        </p:txBody>
      </p:sp>
      <p:sp>
        <p:nvSpPr>
          <p:cNvPr id="95" name="object 95"/>
          <p:cNvSpPr/>
          <p:nvPr/>
        </p:nvSpPr>
        <p:spPr>
          <a:xfrm>
            <a:off x="8391143" y="5713476"/>
            <a:ext cx="334010" cy="478790"/>
          </a:xfrm>
          <a:custGeom>
            <a:avLst/>
            <a:gdLst/>
            <a:ahLst/>
            <a:cxnLst/>
            <a:rect l="l" t="t" r="r" b="b"/>
            <a:pathLst>
              <a:path w="334009" h="478789">
                <a:moveTo>
                  <a:pt x="168909" y="0"/>
                </a:moveTo>
                <a:lnTo>
                  <a:pt x="137703" y="8202"/>
                </a:lnTo>
                <a:lnTo>
                  <a:pt x="112140" y="30778"/>
                </a:lnTo>
                <a:lnTo>
                  <a:pt x="94865" y="64679"/>
                </a:lnTo>
                <a:lnTo>
                  <a:pt x="88519" y="106857"/>
                </a:lnTo>
                <a:lnTo>
                  <a:pt x="92602" y="135171"/>
                </a:lnTo>
                <a:lnTo>
                  <a:pt x="103092" y="162610"/>
                </a:lnTo>
                <a:lnTo>
                  <a:pt x="117344" y="186564"/>
                </a:lnTo>
                <a:lnTo>
                  <a:pt x="132714" y="204419"/>
                </a:lnTo>
                <a:lnTo>
                  <a:pt x="93692" y="222773"/>
                </a:lnTo>
                <a:lnTo>
                  <a:pt x="62416" y="249418"/>
                </a:lnTo>
                <a:lnTo>
                  <a:pt x="38252" y="283538"/>
                </a:lnTo>
                <a:lnTo>
                  <a:pt x="20564" y="324323"/>
                </a:lnTo>
                <a:lnTo>
                  <a:pt x="8715" y="370959"/>
                </a:lnTo>
                <a:lnTo>
                  <a:pt x="2073" y="422634"/>
                </a:lnTo>
                <a:lnTo>
                  <a:pt x="0" y="478536"/>
                </a:lnTo>
                <a:lnTo>
                  <a:pt x="333755" y="478536"/>
                </a:lnTo>
                <a:lnTo>
                  <a:pt x="331901" y="422634"/>
                </a:lnTo>
                <a:lnTo>
                  <a:pt x="325823" y="370959"/>
                </a:lnTo>
                <a:lnTo>
                  <a:pt x="314751" y="324323"/>
                </a:lnTo>
                <a:lnTo>
                  <a:pt x="297914" y="283538"/>
                </a:lnTo>
                <a:lnTo>
                  <a:pt x="274541" y="249418"/>
                </a:lnTo>
                <a:lnTo>
                  <a:pt x="243862" y="222773"/>
                </a:lnTo>
                <a:lnTo>
                  <a:pt x="205104" y="204419"/>
                </a:lnTo>
                <a:lnTo>
                  <a:pt x="221110" y="186564"/>
                </a:lnTo>
                <a:lnTo>
                  <a:pt x="236759" y="162610"/>
                </a:lnTo>
                <a:lnTo>
                  <a:pt x="248646" y="135171"/>
                </a:lnTo>
                <a:lnTo>
                  <a:pt x="253364" y="106857"/>
                </a:lnTo>
                <a:lnTo>
                  <a:pt x="246383" y="64679"/>
                </a:lnTo>
                <a:lnTo>
                  <a:pt x="227710" y="30778"/>
                </a:lnTo>
                <a:lnTo>
                  <a:pt x="200751" y="8202"/>
                </a:lnTo>
                <a:lnTo>
                  <a:pt x="168909" y="0"/>
                </a:lnTo>
                <a:close/>
              </a:path>
            </a:pathLst>
          </a:custGeom>
          <a:solidFill>
            <a:srgbClr val="FFFFFF"/>
          </a:solidFill>
        </p:spPr>
        <p:txBody>
          <a:bodyPr wrap="square" lIns="0" tIns="0" rIns="0" bIns="0" rtlCol="0"/>
          <a:lstStyle/>
          <a:p>
            <a:endParaRPr/>
          </a:p>
        </p:txBody>
      </p:sp>
      <p:sp>
        <p:nvSpPr>
          <p:cNvPr id="96" name="object 96"/>
          <p:cNvSpPr/>
          <p:nvPr/>
        </p:nvSpPr>
        <p:spPr>
          <a:xfrm>
            <a:off x="8391143" y="5713476"/>
            <a:ext cx="334010" cy="478790"/>
          </a:xfrm>
          <a:custGeom>
            <a:avLst/>
            <a:gdLst/>
            <a:ahLst/>
            <a:cxnLst/>
            <a:rect l="l" t="t" r="r" b="b"/>
            <a:pathLst>
              <a:path w="334009" h="478789">
                <a:moveTo>
                  <a:pt x="333755" y="478536"/>
                </a:moveTo>
                <a:lnTo>
                  <a:pt x="331901" y="422634"/>
                </a:lnTo>
                <a:lnTo>
                  <a:pt x="325823" y="370959"/>
                </a:lnTo>
                <a:lnTo>
                  <a:pt x="314751" y="324323"/>
                </a:lnTo>
                <a:lnTo>
                  <a:pt x="297914" y="283538"/>
                </a:lnTo>
                <a:lnTo>
                  <a:pt x="274541" y="249418"/>
                </a:lnTo>
                <a:lnTo>
                  <a:pt x="243862" y="222773"/>
                </a:lnTo>
                <a:lnTo>
                  <a:pt x="205104" y="204419"/>
                </a:lnTo>
                <a:lnTo>
                  <a:pt x="221110" y="186564"/>
                </a:lnTo>
                <a:lnTo>
                  <a:pt x="236759" y="162610"/>
                </a:lnTo>
                <a:lnTo>
                  <a:pt x="248646" y="135171"/>
                </a:lnTo>
                <a:lnTo>
                  <a:pt x="253364" y="106857"/>
                </a:lnTo>
                <a:lnTo>
                  <a:pt x="246383" y="64679"/>
                </a:lnTo>
                <a:lnTo>
                  <a:pt x="227710" y="30778"/>
                </a:lnTo>
                <a:lnTo>
                  <a:pt x="200751" y="8202"/>
                </a:lnTo>
                <a:lnTo>
                  <a:pt x="168909" y="0"/>
                </a:lnTo>
                <a:lnTo>
                  <a:pt x="137703" y="8202"/>
                </a:lnTo>
                <a:lnTo>
                  <a:pt x="112140" y="30778"/>
                </a:lnTo>
                <a:lnTo>
                  <a:pt x="94865" y="64679"/>
                </a:lnTo>
                <a:lnTo>
                  <a:pt x="88519" y="106857"/>
                </a:lnTo>
                <a:lnTo>
                  <a:pt x="92602" y="135171"/>
                </a:lnTo>
                <a:lnTo>
                  <a:pt x="103092" y="162610"/>
                </a:lnTo>
                <a:lnTo>
                  <a:pt x="117344" y="186564"/>
                </a:lnTo>
                <a:lnTo>
                  <a:pt x="132714" y="204419"/>
                </a:lnTo>
                <a:lnTo>
                  <a:pt x="93692" y="222773"/>
                </a:lnTo>
                <a:lnTo>
                  <a:pt x="62416" y="249418"/>
                </a:lnTo>
                <a:lnTo>
                  <a:pt x="38252" y="283538"/>
                </a:lnTo>
                <a:lnTo>
                  <a:pt x="20564" y="324323"/>
                </a:lnTo>
                <a:lnTo>
                  <a:pt x="8715" y="370959"/>
                </a:lnTo>
                <a:lnTo>
                  <a:pt x="2073" y="422634"/>
                </a:lnTo>
                <a:lnTo>
                  <a:pt x="0" y="478536"/>
                </a:lnTo>
              </a:path>
            </a:pathLst>
          </a:custGeom>
          <a:ln w="12192">
            <a:solidFill>
              <a:srgbClr val="000000"/>
            </a:solidFill>
          </a:ln>
        </p:spPr>
        <p:txBody>
          <a:bodyPr wrap="square" lIns="0" tIns="0" rIns="0" bIns="0" rtlCol="0"/>
          <a:lstStyle/>
          <a:p>
            <a:endParaRPr/>
          </a:p>
        </p:txBody>
      </p:sp>
      <p:sp>
        <p:nvSpPr>
          <p:cNvPr id="97" name="object 97"/>
          <p:cNvSpPr/>
          <p:nvPr/>
        </p:nvSpPr>
        <p:spPr>
          <a:xfrm>
            <a:off x="7618476" y="6018276"/>
            <a:ext cx="1774189" cy="184785"/>
          </a:xfrm>
          <a:custGeom>
            <a:avLst/>
            <a:gdLst/>
            <a:ahLst/>
            <a:cxnLst/>
            <a:rect l="l" t="t" r="r" b="b"/>
            <a:pathLst>
              <a:path w="1774190" h="184785">
                <a:moveTo>
                  <a:pt x="0" y="184404"/>
                </a:moveTo>
                <a:lnTo>
                  <a:pt x="1773935" y="184404"/>
                </a:lnTo>
                <a:lnTo>
                  <a:pt x="1773935" y="0"/>
                </a:lnTo>
                <a:lnTo>
                  <a:pt x="0" y="0"/>
                </a:lnTo>
                <a:lnTo>
                  <a:pt x="0" y="184404"/>
                </a:lnTo>
                <a:close/>
              </a:path>
            </a:pathLst>
          </a:custGeom>
          <a:solidFill>
            <a:srgbClr val="FFFFFF"/>
          </a:solidFill>
        </p:spPr>
        <p:txBody>
          <a:bodyPr wrap="square" lIns="0" tIns="0" rIns="0" bIns="0" rtlCol="0"/>
          <a:lstStyle/>
          <a:p>
            <a:endParaRPr/>
          </a:p>
        </p:txBody>
      </p:sp>
      <p:sp>
        <p:nvSpPr>
          <p:cNvPr id="98" name="object 98"/>
          <p:cNvSpPr txBox="1"/>
          <p:nvPr/>
        </p:nvSpPr>
        <p:spPr>
          <a:xfrm>
            <a:off x="7606410" y="6004966"/>
            <a:ext cx="138747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12ABDB"/>
                </a:solidFill>
                <a:latin typeface="Verdana"/>
                <a:cs typeface="Verdana"/>
              </a:rPr>
              <a:t>Marelli key</a:t>
            </a:r>
            <a:r>
              <a:rPr sz="1200" b="1" spc="-60">
                <a:solidFill>
                  <a:srgbClr val="12ABDB"/>
                </a:solidFill>
                <a:latin typeface="Verdana"/>
                <a:cs typeface="Verdana"/>
              </a:rPr>
              <a:t> </a:t>
            </a:r>
            <a:r>
              <a:rPr sz="1200" b="1" spc="-5">
                <a:solidFill>
                  <a:srgbClr val="12ABDB"/>
                </a:solidFill>
                <a:latin typeface="Verdana"/>
                <a:cs typeface="Verdana"/>
              </a:rPr>
              <a:t>user</a:t>
            </a:r>
            <a:endParaRPr sz="1200">
              <a:latin typeface="Verdana"/>
              <a:cs typeface="Verdana"/>
            </a:endParaRPr>
          </a:p>
        </p:txBody>
      </p:sp>
      <p:sp>
        <p:nvSpPr>
          <p:cNvPr id="99" name="object 99"/>
          <p:cNvSpPr/>
          <p:nvPr/>
        </p:nvSpPr>
        <p:spPr>
          <a:xfrm>
            <a:off x="10471404" y="51962"/>
            <a:ext cx="249935" cy="966069"/>
          </a:xfrm>
          <a:prstGeom prst="rect">
            <a:avLst/>
          </a:prstGeom>
          <a:blipFill>
            <a:blip r:embed="rId13" cstate="print"/>
            <a:stretch>
              <a:fillRect/>
            </a:stretch>
          </a:blipFill>
        </p:spPr>
        <p:txBody>
          <a:bodyPr wrap="square" lIns="0" tIns="0" rIns="0" bIns="0" rtlCol="0"/>
          <a:lstStyle/>
          <a:p>
            <a:endParaRPr/>
          </a:p>
        </p:txBody>
      </p:sp>
      <p:sp>
        <p:nvSpPr>
          <p:cNvPr id="100" name="object 10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01" name="object 101"/>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8</a:t>
            </a:fld>
            <a:endParaRPr sz="800">
              <a:latin typeface="Verdana"/>
              <a:cs typeface="Verdana"/>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7075" y="1341119"/>
            <a:ext cx="11689080" cy="2769235"/>
          </a:xfrm>
          <a:custGeom>
            <a:avLst/>
            <a:gdLst/>
            <a:ahLst/>
            <a:cxnLst/>
            <a:rect l="l" t="t" r="r" b="b"/>
            <a:pathLst>
              <a:path w="11689080" h="2769235">
                <a:moveTo>
                  <a:pt x="0" y="2769107"/>
                </a:moveTo>
                <a:lnTo>
                  <a:pt x="11689080" y="2769107"/>
                </a:lnTo>
                <a:lnTo>
                  <a:pt x="11689080" y="0"/>
                </a:lnTo>
                <a:lnTo>
                  <a:pt x="0" y="0"/>
                </a:lnTo>
                <a:lnTo>
                  <a:pt x="0" y="2769107"/>
                </a:lnTo>
                <a:close/>
              </a:path>
            </a:pathLst>
          </a:custGeom>
          <a:solidFill>
            <a:srgbClr val="EBEBEB"/>
          </a:solidFill>
        </p:spPr>
        <p:txBody>
          <a:bodyPr wrap="square" lIns="0" tIns="0" rIns="0" bIns="0" rtlCol="0"/>
          <a:lstStyle/>
          <a:p>
            <a:endParaRPr/>
          </a:p>
        </p:txBody>
      </p:sp>
      <p:sp>
        <p:nvSpPr>
          <p:cNvPr id="3" name="object 3"/>
          <p:cNvSpPr/>
          <p:nvPr/>
        </p:nvSpPr>
        <p:spPr>
          <a:xfrm>
            <a:off x="480059" y="1844039"/>
            <a:ext cx="2039620" cy="2118360"/>
          </a:xfrm>
          <a:custGeom>
            <a:avLst/>
            <a:gdLst/>
            <a:ahLst/>
            <a:cxnLst/>
            <a:rect l="l" t="t" r="r" b="b"/>
            <a:pathLst>
              <a:path w="2039620" h="2118360">
                <a:moveTo>
                  <a:pt x="1805939" y="0"/>
                </a:moveTo>
                <a:lnTo>
                  <a:pt x="233197" y="0"/>
                </a:lnTo>
                <a:lnTo>
                  <a:pt x="186200" y="4737"/>
                </a:lnTo>
                <a:lnTo>
                  <a:pt x="142426" y="18323"/>
                </a:lnTo>
                <a:lnTo>
                  <a:pt x="102814" y="39821"/>
                </a:lnTo>
                <a:lnTo>
                  <a:pt x="68302" y="68294"/>
                </a:lnTo>
                <a:lnTo>
                  <a:pt x="39826" y="102803"/>
                </a:lnTo>
                <a:lnTo>
                  <a:pt x="18325" y="142410"/>
                </a:lnTo>
                <a:lnTo>
                  <a:pt x="4737" y="186179"/>
                </a:lnTo>
                <a:lnTo>
                  <a:pt x="0" y="233172"/>
                </a:lnTo>
                <a:lnTo>
                  <a:pt x="0" y="1885188"/>
                </a:lnTo>
                <a:lnTo>
                  <a:pt x="4737" y="1932180"/>
                </a:lnTo>
                <a:lnTo>
                  <a:pt x="18325" y="1975949"/>
                </a:lnTo>
                <a:lnTo>
                  <a:pt x="39826" y="2015556"/>
                </a:lnTo>
                <a:lnTo>
                  <a:pt x="68302" y="2050065"/>
                </a:lnTo>
                <a:lnTo>
                  <a:pt x="102814" y="2078538"/>
                </a:lnTo>
                <a:lnTo>
                  <a:pt x="142426" y="2100036"/>
                </a:lnTo>
                <a:lnTo>
                  <a:pt x="186200" y="2113622"/>
                </a:lnTo>
                <a:lnTo>
                  <a:pt x="233197" y="2118360"/>
                </a:lnTo>
                <a:lnTo>
                  <a:pt x="1805939" y="2118360"/>
                </a:lnTo>
                <a:lnTo>
                  <a:pt x="1852932" y="2113622"/>
                </a:lnTo>
                <a:lnTo>
                  <a:pt x="1896701" y="2100036"/>
                </a:lnTo>
                <a:lnTo>
                  <a:pt x="1936308" y="2078538"/>
                </a:lnTo>
                <a:lnTo>
                  <a:pt x="1970817" y="2050065"/>
                </a:lnTo>
                <a:lnTo>
                  <a:pt x="1999290" y="2015556"/>
                </a:lnTo>
                <a:lnTo>
                  <a:pt x="2020788" y="1975949"/>
                </a:lnTo>
                <a:lnTo>
                  <a:pt x="2034374" y="1932180"/>
                </a:lnTo>
                <a:lnTo>
                  <a:pt x="2039112" y="1885188"/>
                </a:lnTo>
                <a:lnTo>
                  <a:pt x="2039112" y="233172"/>
                </a:lnTo>
                <a:lnTo>
                  <a:pt x="2034374" y="186179"/>
                </a:lnTo>
                <a:lnTo>
                  <a:pt x="2020788" y="142410"/>
                </a:lnTo>
                <a:lnTo>
                  <a:pt x="1999290" y="102803"/>
                </a:lnTo>
                <a:lnTo>
                  <a:pt x="1970817" y="68294"/>
                </a:lnTo>
                <a:lnTo>
                  <a:pt x="1936308" y="39821"/>
                </a:lnTo>
                <a:lnTo>
                  <a:pt x="1896701" y="18323"/>
                </a:lnTo>
                <a:lnTo>
                  <a:pt x="1852932" y="4737"/>
                </a:lnTo>
                <a:lnTo>
                  <a:pt x="1805939" y="0"/>
                </a:lnTo>
                <a:close/>
              </a:path>
            </a:pathLst>
          </a:custGeom>
          <a:solidFill>
            <a:srgbClr val="FFFFFF"/>
          </a:solidFill>
        </p:spPr>
        <p:txBody>
          <a:bodyPr wrap="square" lIns="0" tIns="0" rIns="0" bIns="0" rtlCol="0"/>
          <a:lstStyle/>
          <a:p>
            <a:endParaRPr/>
          </a:p>
        </p:txBody>
      </p:sp>
      <p:sp>
        <p:nvSpPr>
          <p:cNvPr id="4" name="object 4"/>
          <p:cNvSpPr txBox="1"/>
          <p:nvPr/>
        </p:nvSpPr>
        <p:spPr>
          <a:xfrm>
            <a:off x="627989" y="2562859"/>
            <a:ext cx="1657350" cy="299720"/>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spc="-5">
                <a:latin typeface="Verdana"/>
                <a:cs typeface="Verdana"/>
              </a:rPr>
              <a:t>Identify </a:t>
            </a:r>
            <a:r>
              <a:rPr sz="900">
                <a:latin typeface="Verdana"/>
                <a:cs typeface="Verdana"/>
              </a:rPr>
              <a:t>KUs </a:t>
            </a:r>
            <a:r>
              <a:rPr sz="900" spc="-5">
                <a:latin typeface="Verdana"/>
                <a:cs typeface="Verdana"/>
              </a:rPr>
              <a:t>who need </a:t>
            </a:r>
            <a:r>
              <a:rPr sz="900">
                <a:latin typeface="Verdana"/>
                <a:cs typeface="Verdana"/>
              </a:rPr>
              <a:t>to  be </a:t>
            </a:r>
            <a:r>
              <a:rPr sz="900" spc="-5">
                <a:latin typeface="Verdana"/>
                <a:cs typeface="Verdana"/>
              </a:rPr>
              <a:t>trained</a:t>
            </a:r>
            <a:r>
              <a:rPr sz="900" spc="-30">
                <a:latin typeface="Verdana"/>
                <a:cs typeface="Verdana"/>
              </a:rPr>
              <a:t> </a:t>
            </a:r>
            <a:r>
              <a:rPr sz="900" b="1" spc="-5">
                <a:latin typeface="Verdana"/>
                <a:cs typeface="Verdana"/>
              </a:rPr>
              <a:t>(TR_02)</a:t>
            </a:r>
            <a:endParaRPr sz="900">
              <a:latin typeface="Verdana"/>
              <a:cs typeface="Verdana"/>
            </a:endParaRPr>
          </a:p>
        </p:txBody>
      </p:sp>
      <p:sp>
        <p:nvSpPr>
          <p:cNvPr id="5" name="object 5"/>
          <p:cNvSpPr txBox="1"/>
          <p:nvPr/>
        </p:nvSpPr>
        <p:spPr>
          <a:xfrm>
            <a:off x="627989" y="2974594"/>
            <a:ext cx="1617980" cy="436880"/>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spc="-5">
                <a:latin typeface="Verdana"/>
                <a:cs typeface="Verdana"/>
              </a:rPr>
              <a:t>Define guiding </a:t>
            </a:r>
            <a:r>
              <a:rPr sz="900">
                <a:latin typeface="Verdana"/>
                <a:cs typeface="Verdana"/>
              </a:rPr>
              <a:t>principles  </a:t>
            </a:r>
            <a:r>
              <a:rPr sz="900" spc="-5">
                <a:latin typeface="Verdana"/>
                <a:cs typeface="Verdana"/>
              </a:rPr>
              <a:t>and </a:t>
            </a:r>
            <a:r>
              <a:rPr sz="900">
                <a:latin typeface="Verdana"/>
                <a:cs typeface="Verdana"/>
              </a:rPr>
              <a:t>plan </a:t>
            </a:r>
            <a:r>
              <a:rPr sz="900" spc="-5">
                <a:latin typeface="Verdana"/>
                <a:cs typeface="Verdana"/>
              </a:rPr>
              <a:t>training  development</a:t>
            </a:r>
            <a:r>
              <a:rPr sz="900" spc="-10">
                <a:latin typeface="Verdana"/>
                <a:cs typeface="Verdana"/>
              </a:rPr>
              <a:t> </a:t>
            </a:r>
            <a:r>
              <a:rPr sz="900" b="1" spc="-5">
                <a:latin typeface="Verdana"/>
                <a:cs typeface="Verdana"/>
              </a:rPr>
              <a:t>(TR_03)</a:t>
            </a:r>
            <a:endParaRPr sz="900">
              <a:latin typeface="Verdana"/>
              <a:cs typeface="Verdana"/>
            </a:endParaRPr>
          </a:p>
        </p:txBody>
      </p:sp>
      <p:sp>
        <p:nvSpPr>
          <p:cNvPr id="6" name="object 6"/>
          <p:cNvSpPr txBox="1"/>
          <p:nvPr/>
        </p:nvSpPr>
        <p:spPr>
          <a:xfrm>
            <a:off x="627989" y="3523233"/>
            <a:ext cx="1576070" cy="299720"/>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spc="-5">
                <a:latin typeface="Verdana"/>
                <a:cs typeface="Verdana"/>
              </a:rPr>
              <a:t>Outline </a:t>
            </a:r>
            <a:r>
              <a:rPr sz="900">
                <a:latin typeface="Verdana"/>
                <a:cs typeface="Verdana"/>
              </a:rPr>
              <a:t>plan </a:t>
            </a:r>
            <a:r>
              <a:rPr sz="900" spc="-5">
                <a:latin typeface="Verdana"/>
                <a:cs typeface="Verdana"/>
              </a:rPr>
              <a:t>for training  delivery</a:t>
            </a:r>
            <a:r>
              <a:rPr sz="900">
                <a:latin typeface="Verdana"/>
                <a:cs typeface="Verdana"/>
              </a:rPr>
              <a:t> </a:t>
            </a:r>
            <a:r>
              <a:rPr sz="900" b="1" spc="-5">
                <a:latin typeface="Verdana"/>
                <a:cs typeface="Verdana"/>
              </a:rPr>
              <a:t>(TR_04)</a:t>
            </a:r>
            <a:endParaRPr sz="900">
              <a:latin typeface="Verdana"/>
              <a:cs typeface="Verdana"/>
            </a:endParaRPr>
          </a:p>
        </p:txBody>
      </p:sp>
      <p:sp>
        <p:nvSpPr>
          <p:cNvPr id="7" name="object 7"/>
          <p:cNvSpPr/>
          <p:nvPr/>
        </p:nvSpPr>
        <p:spPr>
          <a:xfrm>
            <a:off x="2766060" y="1844039"/>
            <a:ext cx="2039620" cy="2118360"/>
          </a:xfrm>
          <a:custGeom>
            <a:avLst/>
            <a:gdLst/>
            <a:ahLst/>
            <a:cxnLst/>
            <a:rect l="l" t="t" r="r" b="b"/>
            <a:pathLst>
              <a:path w="2039620" h="2118360">
                <a:moveTo>
                  <a:pt x="1752600" y="0"/>
                </a:moveTo>
                <a:lnTo>
                  <a:pt x="286512" y="0"/>
                </a:lnTo>
                <a:lnTo>
                  <a:pt x="240036" y="3749"/>
                </a:lnTo>
                <a:lnTo>
                  <a:pt x="195949" y="14606"/>
                </a:lnTo>
                <a:lnTo>
                  <a:pt x="154840" y="31978"/>
                </a:lnTo>
                <a:lnTo>
                  <a:pt x="117299" y="55278"/>
                </a:lnTo>
                <a:lnTo>
                  <a:pt x="83915" y="83915"/>
                </a:lnTo>
                <a:lnTo>
                  <a:pt x="55278" y="117299"/>
                </a:lnTo>
                <a:lnTo>
                  <a:pt x="31978" y="154840"/>
                </a:lnTo>
                <a:lnTo>
                  <a:pt x="14606" y="195949"/>
                </a:lnTo>
                <a:lnTo>
                  <a:pt x="3749" y="240036"/>
                </a:lnTo>
                <a:lnTo>
                  <a:pt x="0" y="286512"/>
                </a:lnTo>
                <a:lnTo>
                  <a:pt x="0" y="1831848"/>
                </a:lnTo>
                <a:lnTo>
                  <a:pt x="3749" y="1878323"/>
                </a:lnTo>
                <a:lnTo>
                  <a:pt x="14606" y="1922410"/>
                </a:lnTo>
                <a:lnTo>
                  <a:pt x="31978" y="1963519"/>
                </a:lnTo>
                <a:lnTo>
                  <a:pt x="55278" y="2001060"/>
                </a:lnTo>
                <a:lnTo>
                  <a:pt x="83915" y="2034444"/>
                </a:lnTo>
                <a:lnTo>
                  <a:pt x="117299" y="2063081"/>
                </a:lnTo>
                <a:lnTo>
                  <a:pt x="154840" y="2086381"/>
                </a:lnTo>
                <a:lnTo>
                  <a:pt x="195949" y="2103753"/>
                </a:lnTo>
                <a:lnTo>
                  <a:pt x="240036" y="2114610"/>
                </a:lnTo>
                <a:lnTo>
                  <a:pt x="286512" y="2118360"/>
                </a:lnTo>
                <a:lnTo>
                  <a:pt x="1752600" y="2118360"/>
                </a:lnTo>
                <a:lnTo>
                  <a:pt x="1799075" y="2114610"/>
                </a:lnTo>
                <a:lnTo>
                  <a:pt x="1843162" y="2103753"/>
                </a:lnTo>
                <a:lnTo>
                  <a:pt x="1884271" y="2086381"/>
                </a:lnTo>
                <a:lnTo>
                  <a:pt x="1921812" y="2063081"/>
                </a:lnTo>
                <a:lnTo>
                  <a:pt x="1955196" y="2034444"/>
                </a:lnTo>
                <a:lnTo>
                  <a:pt x="1983833" y="2001060"/>
                </a:lnTo>
                <a:lnTo>
                  <a:pt x="2007133" y="1963519"/>
                </a:lnTo>
                <a:lnTo>
                  <a:pt x="2024505" y="1922410"/>
                </a:lnTo>
                <a:lnTo>
                  <a:pt x="2035362" y="1878323"/>
                </a:lnTo>
                <a:lnTo>
                  <a:pt x="2039112" y="1831848"/>
                </a:lnTo>
                <a:lnTo>
                  <a:pt x="2039112" y="286512"/>
                </a:lnTo>
                <a:lnTo>
                  <a:pt x="2035362" y="240036"/>
                </a:lnTo>
                <a:lnTo>
                  <a:pt x="2024505" y="195949"/>
                </a:lnTo>
                <a:lnTo>
                  <a:pt x="2007133" y="154840"/>
                </a:lnTo>
                <a:lnTo>
                  <a:pt x="1983833" y="117299"/>
                </a:lnTo>
                <a:lnTo>
                  <a:pt x="1955196" y="83915"/>
                </a:lnTo>
                <a:lnTo>
                  <a:pt x="1921812" y="55278"/>
                </a:lnTo>
                <a:lnTo>
                  <a:pt x="1884271" y="31978"/>
                </a:lnTo>
                <a:lnTo>
                  <a:pt x="1843162" y="14606"/>
                </a:lnTo>
                <a:lnTo>
                  <a:pt x="1799075" y="3749"/>
                </a:lnTo>
                <a:lnTo>
                  <a:pt x="1752600" y="0"/>
                </a:lnTo>
                <a:close/>
              </a:path>
            </a:pathLst>
          </a:custGeom>
          <a:solidFill>
            <a:srgbClr val="FFFFFF"/>
          </a:solidFill>
        </p:spPr>
        <p:txBody>
          <a:bodyPr wrap="square" lIns="0" tIns="0" rIns="0" bIns="0" rtlCol="0"/>
          <a:lstStyle/>
          <a:p>
            <a:endParaRPr/>
          </a:p>
        </p:txBody>
      </p:sp>
      <p:sp>
        <p:nvSpPr>
          <p:cNvPr id="8" name="object 8"/>
          <p:cNvSpPr/>
          <p:nvPr/>
        </p:nvSpPr>
        <p:spPr>
          <a:xfrm>
            <a:off x="5052059" y="1845564"/>
            <a:ext cx="2039620" cy="2110740"/>
          </a:xfrm>
          <a:custGeom>
            <a:avLst/>
            <a:gdLst/>
            <a:ahLst/>
            <a:cxnLst/>
            <a:rect l="l" t="t" r="r" b="b"/>
            <a:pathLst>
              <a:path w="2039620" h="2110740">
                <a:moveTo>
                  <a:pt x="1821180" y="0"/>
                </a:moveTo>
                <a:lnTo>
                  <a:pt x="217931" y="0"/>
                </a:lnTo>
                <a:lnTo>
                  <a:pt x="167951" y="5753"/>
                </a:lnTo>
                <a:lnTo>
                  <a:pt x="122075" y="22144"/>
                </a:lnTo>
                <a:lnTo>
                  <a:pt x="81611" y="47866"/>
                </a:lnTo>
                <a:lnTo>
                  <a:pt x="47866" y="81611"/>
                </a:lnTo>
                <a:lnTo>
                  <a:pt x="22144" y="122075"/>
                </a:lnTo>
                <a:lnTo>
                  <a:pt x="5753" y="167951"/>
                </a:lnTo>
                <a:lnTo>
                  <a:pt x="0" y="217932"/>
                </a:lnTo>
                <a:lnTo>
                  <a:pt x="0" y="1892808"/>
                </a:lnTo>
                <a:lnTo>
                  <a:pt x="5753" y="1942788"/>
                </a:lnTo>
                <a:lnTo>
                  <a:pt x="22144" y="1988664"/>
                </a:lnTo>
                <a:lnTo>
                  <a:pt x="47866" y="2029128"/>
                </a:lnTo>
                <a:lnTo>
                  <a:pt x="81611" y="2062873"/>
                </a:lnTo>
                <a:lnTo>
                  <a:pt x="122075" y="2088595"/>
                </a:lnTo>
                <a:lnTo>
                  <a:pt x="167951" y="2104986"/>
                </a:lnTo>
                <a:lnTo>
                  <a:pt x="217931" y="2110740"/>
                </a:lnTo>
                <a:lnTo>
                  <a:pt x="1821180" y="2110740"/>
                </a:lnTo>
                <a:lnTo>
                  <a:pt x="1871160" y="2104986"/>
                </a:lnTo>
                <a:lnTo>
                  <a:pt x="1917036" y="2088595"/>
                </a:lnTo>
                <a:lnTo>
                  <a:pt x="1957500" y="2062873"/>
                </a:lnTo>
                <a:lnTo>
                  <a:pt x="1991245" y="2029128"/>
                </a:lnTo>
                <a:lnTo>
                  <a:pt x="2016967" y="1988664"/>
                </a:lnTo>
                <a:lnTo>
                  <a:pt x="2033358" y="1942788"/>
                </a:lnTo>
                <a:lnTo>
                  <a:pt x="2039112" y="1892808"/>
                </a:lnTo>
                <a:lnTo>
                  <a:pt x="2039112" y="217932"/>
                </a:lnTo>
                <a:lnTo>
                  <a:pt x="2033358" y="167951"/>
                </a:lnTo>
                <a:lnTo>
                  <a:pt x="2016967" y="122075"/>
                </a:lnTo>
                <a:lnTo>
                  <a:pt x="1991245" y="81611"/>
                </a:lnTo>
                <a:lnTo>
                  <a:pt x="1957500" y="47866"/>
                </a:lnTo>
                <a:lnTo>
                  <a:pt x="1917036" y="22144"/>
                </a:lnTo>
                <a:lnTo>
                  <a:pt x="1871160" y="5753"/>
                </a:lnTo>
                <a:lnTo>
                  <a:pt x="1821180" y="0"/>
                </a:lnTo>
                <a:close/>
              </a:path>
            </a:pathLst>
          </a:custGeom>
          <a:solidFill>
            <a:srgbClr val="FFFFFF"/>
          </a:solidFill>
        </p:spPr>
        <p:txBody>
          <a:bodyPr wrap="square" lIns="0" tIns="0" rIns="0" bIns="0" rtlCol="0"/>
          <a:lstStyle/>
          <a:p>
            <a:endParaRPr/>
          </a:p>
        </p:txBody>
      </p:sp>
      <p:sp>
        <p:nvSpPr>
          <p:cNvPr id="9" name="object 9"/>
          <p:cNvSpPr/>
          <p:nvPr/>
        </p:nvSpPr>
        <p:spPr>
          <a:xfrm>
            <a:off x="7338059" y="1844039"/>
            <a:ext cx="2087880" cy="2118360"/>
          </a:xfrm>
          <a:custGeom>
            <a:avLst/>
            <a:gdLst/>
            <a:ahLst/>
            <a:cxnLst/>
            <a:rect l="l" t="t" r="r" b="b"/>
            <a:pathLst>
              <a:path w="2087879" h="2118360">
                <a:moveTo>
                  <a:pt x="1825752" y="0"/>
                </a:moveTo>
                <a:lnTo>
                  <a:pt x="262128" y="0"/>
                </a:lnTo>
                <a:lnTo>
                  <a:pt x="215007" y="4222"/>
                </a:lnTo>
                <a:lnTo>
                  <a:pt x="170658" y="16398"/>
                </a:lnTo>
                <a:lnTo>
                  <a:pt x="129822" y="35785"/>
                </a:lnTo>
                <a:lnTo>
                  <a:pt x="93237" y="61645"/>
                </a:lnTo>
                <a:lnTo>
                  <a:pt x="61645" y="93237"/>
                </a:lnTo>
                <a:lnTo>
                  <a:pt x="35785" y="129822"/>
                </a:lnTo>
                <a:lnTo>
                  <a:pt x="16398" y="170658"/>
                </a:lnTo>
                <a:lnTo>
                  <a:pt x="4222" y="215007"/>
                </a:lnTo>
                <a:lnTo>
                  <a:pt x="0" y="262127"/>
                </a:lnTo>
                <a:lnTo>
                  <a:pt x="0" y="1856232"/>
                </a:lnTo>
                <a:lnTo>
                  <a:pt x="4222" y="1903352"/>
                </a:lnTo>
                <a:lnTo>
                  <a:pt x="16398" y="1947701"/>
                </a:lnTo>
                <a:lnTo>
                  <a:pt x="35785" y="1988537"/>
                </a:lnTo>
                <a:lnTo>
                  <a:pt x="61645" y="2025122"/>
                </a:lnTo>
                <a:lnTo>
                  <a:pt x="93237" y="2056714"/>
                </a:lnTo>
                <a:lnTo>
                  <a:pt x="129822" y="2082574"/>
                </a:lnTo>
                <a:lnTo>
                  <a:pt x="170658" y="2101961"/>
                </a:lnTo>
                <a:lnTo>
                  <a:pt x="215007" y="2114137"/>
                </a:lnTo>
                <a:lnTo>
                  <a:pt x="262128" y="2118360"/>
                </a:lnTo>
                <a:lnTo>
                  <a:pt x="1825752" y="2118360"/>
                </a:lnTo>
                <a:lnTo>
                  <a:pt x="1872872" y="2114137"/>
                </a:lnTo>
                <a:lnTo>
                  <a:pt x="1917221" y="2101961"/>
                </a:lnTo>
                <a:lnTo>
                  <a:pt x="1958057" y="2082574"/>
                </a:lnTo>
                <a:lnTo>
                  <a:pt x="1994642" y="2056714"/>
                </a:lnTo>
                <a:lnTo>
                  <a:pt x="2026234" y="2025122"/>
                </a:lnTo>
                <a:lnTo>
                  <a:pt x="2052094" y="1988537"/>
                </a:lnTo>
                <a:lnTo>
                  <a:pt x="2071481" y="1947701"/>
                </a:lnTo>
                <a:lnTo>
                  <a:pt x="2083657" y="1903352"/>
                </a:lnTo>
                <a:lnTo>
                  <a:pt x="2087880" y="1856232"/>
                </a:lnTo>
                <a:lnTo>
                  <a:pt x="2087880" y="262127"/>
                </a:lnTo>
                <a:lnTo>
                  <a:pt x="2083657" y="215007"/>
                </a:lnTo>
                <a:lnTo>
                  <a:pt x="2071481" y="170658"/>
                </a:lnTo>
                <a:lnTo>
                  <a:pt x="2052094" y="129822"/>
                </a:lnTo>
                <a:lnTo>
                  <a:pt x="2026234" y="93237"/>
                </a:lnTo>
                <a:lnTo>
                  <a:pt x="1994642" y="61645"/>
                </a:lnTo>
                <a:lnTo>
                  <a:pt x="1958057" y="35785"/>
                </a:lnTo>
                <a:lnTo>
                  <a:pt x="1917221" y="16398"/>
                </a:lnTo>
                <a:lnTo>
                  <a:pt x="1872872" y="4222"/>
                </a:lnTo>
                <a:lnTo>
                  <a:pt x="1825752" y="0"/>
                </a:lnTo>
                <a:close/>
              </a:path>
            </a:pathLst>
          </a:custGeom>
          <a:solidFill>
            <a:srgbClr val="FFFFFF"/>
          </a:solidFill>
        </p:spPr>
        <p:txBody>
          <a:bodyPr wrap="square" lIns="0" tIns="0" rIns="0" bIns="0" rtlCol="0"/>
          <a:lstStyle/>
          <a:p>
            <a:endParaRPr/>
          </a:p>
        </p:txBody>
      </p:sp>
      <p:sp>
        <p:nvSpPr>
          <p:cNvPr id="10" name="object 10"/>
          <p:cNvSpPr/>
          <p:nvPr/>
        </p:nvSpPr>
        <p:spPr>
          <a:xfrm>
            <a:off x="9624059" y="1844039"/>
            <a:ext cx="2039620" cy="2118360"/>
          </a:xfrm>
          <a:custGeom>
            <a:avLst/>
            <a:gdLst/>
            <a:ahLst/>
            <a:cxnLst/>
            <a:rect l="l" t="t" r="r" b="b"/>
            <a:pathLst>
              <a:path w="2039620" h="2118360">
                <a:moveTo>
                  <a:pt x="1790700" y="0"/>
                </a:moveTo>
                <a:lnTo>
                  <a:pt x="248412" y="0"/>
                </a:lnTo>
                <a:lnTo>
                  <a:pt x="198358" y="5048"/>
                </a:lnTo>
                <a:lnTo>
                  <a:pt x="151733" y="19526"/>
                </a:lnTo>
                <a:lnTo>
                  <a:pt x="109537" y="42433"/>
                </a:lnTo>
                <a:lnTo>
                  <a:pt x="72771" y="72771"/>
                </a:lnTo>
                <a:lnTo>
                  <a:pt x="42433" y="109537"/>
                </a:lnTo>
                <a:lnTo>
                  <a:pt x="19526" y="151733"/>
                </a:lnTo>
                <a:lnTo>
                  <a:pt x="5048" y="198358"/>
                </a:lnTo>
                <a:lnTo>
                  <a:pt x="0" y="248412"/>
                </a:lnTo>
                <a:lnTo>
                  <a:pt x="0" y="1869948"/>
                </a:lnTo>
                <a:lnTo>
                  <a:pt x="5048" y="1920001"/>
                </a:lnTo>
                <a:lnTo>
                  <a:pt x="19526" y="1966626"/>
                </a:lnTo>
                <a:lnTo>
                  <a:pt x="42433" y="2008822"/>
                </a:lnTo>
                <a:lnTo>
                  <a:pt x="72771" y="2045589"/>
                </a:lnTo>
                <a:lnTo>
                  <a:pt x="109537" y="2075926"/>
                </a:lnTo>
                <a:lnTo>
                  <a:pt x="151733" y="2098833"/>
                </a:lnTo>
                <a:lnTo>
                  <a:pt x="198358" y="2113311"/>
                </a:lnTo>
                <a:lnTo>
                  <a:pt x="248412" y="2118360"/>
                </a:lnTo>
                <a:lnTo>
                  <a:pt x="1790700" y="2118360"/>
                </a:lnTo>
                <a:lnTo>
                  <a:pt x="1840753" y="2113311"/>
                </a:lnTo>
                <a:lnTo>
                  <a:pt x="1887378" y="2098833"/>
                </a:lnTo>
                <a:lnTo>
                  <a:pt x="1929574" y="2075926"/>
                </a:lnTo>
                <a:lnTo>
                  <a:pt x="1966341" y="2045589"/>
                </a:lnTo>
                <a:lnTo>
                  <a:pt x="1996678" y="2008822"/>
                </a:lnTo>
                <a:lnTo>
                  <a:pt x="2019585" y="1966626"/>
                </a:lnTo>
                <a:lnTo>
                  <a:pt x="2034063" y="1920001"/>
                </a:lnTo>
                <a:lnTo>
                  <a:pt x="2039112" y="1869948"/>
                </a:lnTo>
                <a:lnTo>
                  <a:pt x="2039112" y="248412"/>
                </a:lnTo>
                <a:lnTo>
                  <a:pt x="2034063" y="198358"/>
                </a:lnTo>
                <a:lnTo>
                  <a:pt x="2019585" y="151733"/>
                </a:lnTo>
                <a:lnTo>
                  <a:pt x="1996678" y="109537"/>
                </a:lnTo>
                <a:lnTo>
                  <a:pt x="1966340" y="72771"/>
                </a:lnTo>
                <a:lnTo>
                  <a:pt x="1929574" y="42433"/>
                </a:lnTo>
                <a:lnTo>
                  <a:pt x="1887378" y="19526"/>
                </a:lnTo>
                <a:lnTo>
                  <a:pt x="1840753" y="5048"/>
                </a:lnTo>
                <a:lnTo>
                  <a:pt x="1790700" y="0"/>
                </a:lnTo>
                <a:close/>
              </a:path>
            </a:pathLst>
          </a:custGeom>
          <a:solidFill>
            <a:srgbClr val="FFFFFF"/>
          </a:solidFill>
        </p:spPr>
        <p:txBody>
          <a:bodyPr wrap="square" lIns="0" tIns="0" rIns="0" bIns="0" rtlCol="0"/>
          <a:lstStyle/>
          <a:p>
            <a:endParaRPr/>
          </a:p>
        </p:txBody>
      </p:sp>
      <p:sp>
        <p:nvSpPr>
          <p:cNvPr id="11" name="object 11"/>
          <p:cNvSpPr txBox="1"/>
          <p:nvPr/>
        </p:nvSpPr>
        <p:spPr>
          <a:xfrm>
            <a:off x="9778745" y="2567432"/>
            <a:ext cx="1606550" cy="711200"/>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spc="-5">
                <a:latin typeface="Verdana"/>
                <a:cs typeface="Verdana"/>
              </a:rPr>
              <a:t>Suggest </a:t>
            </a:r>
            <a:r>
              <a:rPr sz="900">
                <a:latin typeface="Verdana"/>
                <a:cs typeface="Verdana"/>
              </a:rPr>
              <a:t>modification</a:t>
            </a:r>
            <a:r>
              <a:rPr sz="900" spc="-75">
                <a:latin typeface="Verdana"/>
                <a:cs typeface="Verdana"/>
              </a:rPr>
              <a:t> </a:t>
            </a:r>
            <a:r>
              <a:rPr sz="900" spc="-5">
                <a:latin typeface="Verdana"/>
                <a:cs typeface="Verdana"/>
              </a:rPr>
              <a:t>for  improvement training  </a:t>
            </a:r>
            <a:r>
              <a:rPr sz="900">
                <a:latin typeface="Verdana"/>
                <a:cs typeface="Verdana"/>
              </a:rPr>
              <a:t>materials </a:t>
            </a:r>
            <a:r>
              <a:rPr sz="900" spc="-5">
                <a:latin typeface="Verdana"/>
                <a:cs typeface="Verdana"/>
              </a:rPr>
              <a:t>(System Int.  would</a:t>
            </a:r>
            <a:r>
              <a:rPr sz="900">
                <a:latin typeface="Verdana"/>
                <a:cs typeface="Verdana"/>
              </a:rPr>
              <a:t> </a:t>
            </a:r>
            <a:r>
              <a:rPr sz="900" spc="-5">
                <a:latin typeface="Verdana"/>
                <a:cs typeface="Verdana"/>
              </a:rPr>
              <a:t>execute</a:t>
            </a:r>
            <a:endParaRPr sz="900">
              <a:latin typeface="Verdana"/>
              <a:cs typeface="Verdana"/>
            </a:endParaRPr>
          </a:p>
          <a:p>
            <a:pPr marL="186055">
              <a:lnSpc>
                <a:spcPct val="100000"/>
              </a:lnSpc>
            </a:pPr>
            <a:r>
              <a:rPr sz="900">
                <a:latin typeface="Verdana"/>
                <a:cs typeface="Verdana"/>
              </a:rPr>
              <a:t>it)</a:t>
            </a:r>
            <a:r>
              <a:rPr sz="900" spc="-25">
                <a:latin typeface="Verdana"/>
                <a:cs typeface="Verdana"/>
              </a:rPr>
              <a:t> </a:t>
            </a:r>
            <a:r>
              <a:rPr sz="900" b="1" spc="-5">
                <a:latin typeface="Verdana"/>
                <a:cs typeface="Verdana"/>
              </a:rPr>
              <a:t>(TR_11)</a:t>
            </a:r>
            <a:endParaRPr sz="900">
              <a:latin typeface="Verdana"/>
              <a:cs typeface="Verdana"/>
            </a:endParaRPr>
          </a:p>
        </p:txBody>
      </p:sp>
      <p:sp>
        <p:nvSpPr>
          <p:cNvPr id="12" name="object 12"/>
          <p:cNvSpPr txBox="1"/>
          <p:nvPr/>
        </p:nvSpPr>
        <p:spPr>
          <a:xfrm>
            <a:off x="9778745" y="3390646"/>
            <a:ext cx="1706880" cy="436880"/>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u="sng" spc="-5">
                <a:uFill>
                  <a:solidFill>
                    <a:srgbClr val="000000"/>
                  </a:solidFill>
                </a:uFill>
                <a:latin typeface="Verdana"/>
                <a:cs typeface="Verdana"/>
              </a:rPr>
              <a:t>Out </a:t>
            </a:r>
            <a:r>
              <a:rPr sz="900" u="sng">
                <a:uFill>
                  <a:solidFill>
                    <a:srgbClr val="000000"/>
                  </a:solidFill>
                </a:uFill>
                <a:latin typeface="Verdana"/>
                <a:cs typeface="Verdana"/>
              </a:rPr>
              <a:t>of scope:</a:t>
            </a:r>
            <a:r>
              <a:rPr sz="900">
                <a:latin typeface="Verdana"/>
                <a:cs typeface="Verdana"/>
              </a:rPr>
              <a:t> </a:t>
            </a:r>
            <a:r>
              <a:rPr sz="900" spc="-5">
                <a:latin typeface="Verdana"/>
                <a:cs typeface="Verdana"/>
              </a:rPr>
              <a:t>Modification  </a:t>
            </a:r>
            <a:r>
              <a:rPr sz="900">
                <a:latin typeface="Verdana"/>
                <a:cs typeface="Verdana"/>
              </a:rPr>
              <a:t>of </a:t>
            </a:r>
            <a:r>
              <a:rPr sz="900" spc="-5">
                <a:latin typeface="Verdana"/>
                <a:cs typeface="Verdana"/>
              </a:rPr>
              <a:t>visual training  </a:t>
            </a:r>
            <a:r>
              <a:rPr sz="900">
                <a:latin typeface="Verdana"/>
                <a:cs typeface="Verdana"/>
              </a:rPr>
              <a:t>materials</a:t>
            </a:r>
          </a:p>
        </p:txBody>
      </p:sp>
      <p:sp>
        <p:nvSpPr>
          <p:cNvPr id="13" name="object 13"/>
          <p:cNvSpPr/>
          <p:nvPr/>
        </p:nvSpPr>
        <p:spPr>
          <a:xfrm>
            <a:off x="335279" y="1146047"/>
            <a:ext cx="11521440" cy="504825"/>
          </a:xfrm>
          <a:custGeom>
            <a:avLst/>
            <a:gdLst/>
            <a:ahLst/>
            <a:cxnLst/>
            <a:rect l="l" t="t" r="r" b="b"/>
            <a:pathLst>
              <a:path w="11521440" h="504825">
                <a:moveTo>
                  <a:pt x="11269218" y="0"/>
                </a:moveTo>
                <a:lnTo>
                  <a:pt x="252222" y="0"/>
                </a:lnTo>
                <a:lnTo>
                  <a:pt x="206886" y="4062"/>
                </a:lnTo>
                <a:lnTo>
                  <a:pt x="164215" y="15777"/>
                </a:lnTo>
                <a:lnTo>
                  <a:pt x="124922" y="34431"/>
                </a:lnTo>
                <a:lnTo>
                  <a:pt x="89720" y="59312"/>
                </a:lnTo>
                <a:lnTo>
                  <a:pt x="59321" y="89710"/>
                </a:lnTo>
                <a:lnTo>
                  <a:pt x="34436" y="124911"/>
                </a:lnTo>
                <a:lnTo>
                  <a:pt x="15780" y="164205"/>
                </a:lnTo>
                <a:lnTo>
                  <a:pt x="4063" y="206879"/>
                </a:lnTo>
                <a:lnTo>
                  <a:pt x="0" y="252222"/>
                </a:lnTo>
                <a:lnTo>
                  <a:pt x="4063" y="297564"/>
                </a:lnTo>
                <a:lnTo>
                  <a:pt x="15780" y="340238"/>
                </a:lnTo>
                <a:lnTo>
                  <a:pt x="34436" y="379532"/>
                </a:lnTo>
                <a:lnTo>
                  <a:pt x="59321" y="414733"/>
                </a:lnTo>
                <a:lnTo>
                  <a:pt x="89720" y="445131"/>
                </a:lnTo>
                <a:lnTo>
                  <a:pt x="124922" y="470012"/>
                </a:lnTo>
                <a:lnTo>
                  <a:pt x="164215" y="488666"/>
                </a:lnTo>
                <a:lnTo>
                  <a:pt x="206886" y="500381"/>
                </a:lnTo>
                <a:lnTo>
                  <a:pt x="252222" y="504443"/>
                </a:lnTo>
                <a:lnTo>
                  <a:pt x="11269218" y="504443"/>
                </a:lnTo>
                <a:lnTo>
                  <a:pt x="11314560" y="500381"/>
                </a:lnTo>
                <a:lnTo>
                  <a:pt x="11357234" y="488666"/>
                </a:lnTo>
                <a:lnTo>
                  <a:pt x="11396528" y="470012"/>
                </a:lnTo>
                <a:lnTo>
                  <a:pt x="11431729" y="445131"/>
                </a:lnTo>
                <a:lnTo>
                  <a:pt x="11462127" y="414733"/>
                </a:lnTo>
                <a:lnTo>
                  <a:pt x="11487008" y="379532"/>
                </a:lnTo>
                <a:lnTo>
                  <a:pt x="11505662" y="340238"/>
                </a:lnTo>
                <a:lnTo>
                  <a:pt x="11517377" y="297564"/>
                </a:lnTo>
                <a:lnTo>
                  <a:pt x="11521440" y="252222"/>
                </a:lnTo>
                <a:lnTo>
                  <a:pt x="11517377" y="206879"/>
                </a:lnTo>
                <a:lnTo>
                  <a:pt x="11505662" y="164205"/>
                </a:lnTo>
                <a:lnTo>
                  <a:pt x="11487008" y="124911"/>
                </a:lnTo>
                <a:lnTo>
                  <a:pt x="11462127" y="89710"/>
                </a:lnTo>
                <a:lnTo>
                  <a:pt x="11431729" y="59312"/>
                </a:lnTo>
                <a:lnTo>
                  <a:pt x="11396528" y="34431"/>
                </a:lnTo>
                <a:lnTo>
                  <a:pt x="11357234" y="15777"/>
                </a:lnTo>
                <a:lnTo>
                  <a:pt x="11314560" y="4062"/>
                </a:lnTo>
                <a:lnTo>
                  <a:pt x="11269218" y="0"/>
                </a:lnTo>
                <a:close/>
              </a:path>
            </a:pathLst>
          </a:custGeom>
          <a:solidFill>
            <a:srgbClr val="421F5D"/>
          </a:solidFill>
        </p:spPr>
        <p:txBody>
          <a:bodyPr wrap="square" lIns="0" tIns="0" rIns="0" bIns="0" rtlCol="0"/>
          <a:lstStyle/>
          <a:p>
            <a:endParaRPr/>
          </a:p>
        </p:txBody>
      </p:sp>
      <p:sp>
        <p:nvSpPr>
          <p:cNvPr id="14" name="object 14"/>
          <p:cNvSpPr txBox="1"/>
          <p:nvPr/>
        </p:nvSpPr>
        <p:spPr>
          <a:xfrm>
            <a:off x="4771390" y="1250696"/>
            <a:ext cx="2653030" cy="269240"/>
          </a:xfrm>
          <a:prstGeom prst="rect">
            <a:avLst/>
          </a:prstGeom>
        </p:spPr>
        <p:txBody>
          <a:bodyPr vert="horz" wrap="square" lIns="0" tIns="12065" rIns="0" bIns="0" rtlCol="0">
            <a:spAutoFit/>
          </a:bodyPr>
          <a:lstStyle/>
          <a:p>
            <a:pPr marL="12700">
              <a:lnSpc>
                <a:spcPct val="100000"/>
              </a:lnSpc>
              <a:spcBef>
                <a:spcPts val="95"/>
              </a:spcBef>
            </a:pPr>
            <a:r>
              <a:rPr sz="1600" spc="-10">
                <a:solidFill>
                  <a:srgbClr val="FFFFFF"/>
                </a:solidFill>
                <a:latin typeface="Verdana"/>
                <a:cs typeface="Verdana"/>
              </a:rPr>
              <a:t>Overall </a:t>
            </a:r>
            <a:r>
              <a:rPr sz="1600" spc="-30">
                <a:solidFill>
                  <a:srgbClr val="FFFFFF"/>
                </a:solidFill>
                <a:latin typeface="Verdana"/>
                <a:cs typeface="Verdana"/>
              </a:rPr>
              <a:t>Training</a:t>
            </a:r>
            <a:r>
              <a:rPr sz="1600" spc="30">
                <a:solidFill>
                  <a:srgbClr val="FFFFFF"/>
                </a:solidFill>
                <a:latin typeface="Verdana"/>
                <a:cs typeface="Verdana"/>
              </a:rPr>
              <a:t> </a:t>
            </a:r>
            <a:r>
              <a:rPr sz="1600" spc="-5">
                <a:solidFill>
                  <a:srgbClr val="FFFFFF"/>
                </a:solidFill>
                <a:latin typeface="Verdana"/>
                <a:cs typeface="Verdana"/>
              </a:rPr>
              <a:t>Approach</a:t>
            </a:r>
            <a:endParaRPr sz="1600">
              <a:latin typeface="Verdana"/>
              <a:cs typeface="Verdana"/>
            </a:endParaRPr>
          </a:p>
        </p:txBody>
      </p:sp>
      <p:sp>
        <p:nvSpPr>
          <p:cNvPr id="15" name="object 15"/>
          <p:cNvSpPr txBox="1">
            <a:spLocks noGrp="1"/>
          </p:cNvSpPr>
          <p:nvPr>
            <p:ph type="title"/>
          </p:nvPr>
        </p:nvSpPr>
        <p:spPr>
          <a:xfrm>
            <a:off x="214680" y="140588"/>
            <a:ext cx="10758120" cy="776495"/>
          </a:xfrm>
          <a:prstGeom prst="rect">
            <a:avLst/>
          </a:prstGeom>
        </p:spPr>
        <p:txBody>
          <a:bodyPr vert="horz" wrap="square" lIns="0" tIns="57785" rIns="0" bIns="0" rtlCol="0">
            <a:spAutoFit/>
          </a:bodyPr>
          <a:lstStyle/>
          <a:p>
            <a:pPr marL="12700" marR="5080">
              <a:lnSpc>
                <a:spcPts val="2810"/>
              </a:lnSpc>
              <a:spcBef>
                <a:spcPts val="455"/>
              </a:spcBef>
            </a:pPr>
            <a:r>
              <a:t>A </a:t>
            </a:r>
            <a:r>
              <a:rPr spc="-5"/>
              <a:t>Successful </a:t>
            </a:r>
            <a:r>
              <a:rPr spc="-35"/>
              <a:t>Training </a:t>
            </a:r>
            <a:r>
              <a:t>Approach </a:t>
            </a:r>
            <a:r>
              <a:rPr spc="-5"/>
              <a:t>Enables </a:t>
            </a:r>
            <a:r>
              <a:t>the ‘Right’ </a:t>
            </a:r>
            <a:r>
              <a:rPr spc="-35"/>
              <a:t>Training  </a:t>
            </a:r>
            <a:r>
              <a:rPr spc="-5"/>
              <a:t>to be Delivered </a:t>
            </a:r>
            <a:r>
              <a:t>at </a:t>
            </a:r>
            <a:r>
              <a:rPr spc="-5"/>
              <a:t>the </a:t>
            </a:r>
            <a:r>
              <a:t>‘Right’ </a:t>
            </a:r>
            <a:r>
              <a:rPr spc="5"/>
              <a:t>Time </a:t>
            </a:r>
            <a:r>
              <a:rPr spc="-5"/>
              <a:t>to the </a:t>
            </a:r>
            <a:r>
              <a:t>‘Right’</a:t>
            </a:r>
            <a:r>
              <a:rPr spc="-30"/>
              <a:t> </a:t>
            </a:r>
            <a:r>
              <a:rPr spc="-10"/>
              <a:t>People</a:t>
            </a:r>
            <a:r>
              <a:rPr lang="it-IT" spc="-10"/>
              <a:t> (illustrative)</a:t>
            </a:r>
            <a:endParaRPr/>
          </a:p>
        </p:txBody>
      </p:sp>
      <p:sp>
        <p:nvSpPr>
          <p:cNvPr id="16" name="object 16"/>
          <p:cNvSpPr/>
          <p:nvPr/>
        </p:nvSpPr>
        <p:spPr>
          <a:xfrm>
            <a:off x="480059" y="1772411"/>
            <a:ext cx="2159635" cy="361315"/>
          </a:xfrm>
          <a:custGeom>
            <a:avLst/>
            <a:gdLst/>
            <a:ahLst/>
            <a:cxnLst/>
            <a:rect l="l" t="t" r="r" b="b"/>
            <a:pathLst>
              <a:path w="2159635" h="361314">
                <a:moveTo>
                  <a:pt x="2041271" y="0"/>
                </a:moveTo>
                <a:lnTo>
                  <a:pt x="0" y="0"/>
                </a:lnTo>
                <a:lnTo>
                  <a:pt x="118300" y="180593"/>
                </a:lnTo>
                <a:lnTo>
                  <a:pt x="0" y="361188"/>
                </a:lnTo>
                <a:lnTo>
                  <a:pt x="2041271" y="361188"/>
                </a:lnTo>
                <a:lnTo>
                  <a:pt x="2159508" y="180593"/>
                </a:lnTo>
                <a:lnTo>
                  <a:pt x="2041271" y="0"/>
                </a:lnTo>
                <a:close/>
              </a:path>
            </a:pathLst>
          </a:custGeom>
          <a:solidFill>
            <a:srgbClr val="003856"/>
          </a:solidFill>
        </p:spPr>
        <p:txBody>
          <a:bodyPr wrap="square" lIns="0" tIns="0" rIns="0" bIns="0" rtlCol="0"/>
          <a:lstStyle/>
          <a:p>
            <a:endParaRPr/>
          </a:p>
        </p:txBody>
      </p:sp>
      <p:sp>
        <p:nvSpPr>
          <p:cNvPr id="17" name="object 17"/>
          <p:cNvSpPr txBox="1"/>
          <p:nvPr/>
        </p:nvSpPr>
        <p:spPr>
          <a:xfrm>
            <a:off x="627989" y="1788667"/>
            <a:ext cx="1656714" cy="662940"/>
          </a:xfrm>
          <a:prstGeom prst="rect">
            <a:avLst/>
          </a:prstGeom>
        </p:spPr>
        <p:txBody>
          <a:bodyPr vert="horz" wrap="square" lIns="0" tIns="12065" rIns="0" bIns="0" rtlCol="0">
            <a:spAutoFit/>
          </a:bodyPr>
          <a:lstStyle/>
          <a:p>
            <a:pPr marL="264160" marR="48895" indent="121920">
              <a:lnSpc>
                <a:spcPct val="100000"/>
              </a:lnSpc>
              <a:spcBef>
                <a:spcPts val="95"/>
              </a:spcBef>
            </a:pPr>
            <a:r>
              <a:rPr sz="1000" b="1" spc="-10">
                <a:solidFill>
                  <a:srgbClr val="FFFFFF"/>
                </a:solidFill>
                <a:latin typeface="Verdana"/>
                <a:cs typeface="Verdana"/>
              </a:rPr>
              <a:t>Define Training  Approach and</a:t>
            </a:r>
            <a:r>
              <a:rPr sz="1000" b="1" spc="-25">
                <a:solidFill>
                  <a:srgbClr val="FFFFFF"/>
                </a:solidFill>
                <a:latin typeface="Verdana"/>
                <a:cs typeface="Verdana"/>
              </a:rPr>
              <a:t> </a:t>
            </a:r>
            <a:r>
              <a:rPr sz="1000" b="1" spc="-5">
                <a:solidFill>
                  <a:srgbClr val="FFFFFF"/>
                </a:solidFill>
                <a:latin typeface="Verdana"/>
                <a:cs typeface="Verdana"/>
              </a:rPr>
              <a:t>Plan</a:t>
            </a:r>
            <a:endParaRPr sz="1000">
              <a:latin typeface="Verdana"/>
              <a:cs typeface="Verdana"/>
            </a:endParaRPr>
          </a:p>
          <a:p>
            <a:pPr marL="186055" marR="5080" indent="-173990">
              <a:lnSpc>
                <a:spcPct val="100000"/>
              </a:lnSpc>
              <a:spcBef>
                <a:spcPts val="459"/>
              </a:spcBef>
              <a:buClr>
                <a:srgbClr val="006FAC"/>
              </a:buClr>
              <a:buFont typeface="Wingdings"/>
              <a:buChar char=""/>
              <a:tabLst>
                <a:tab pos="186690" algn="l"/>
              </a:tabLst>
            </a:pPr>
            <a:r>
              <a:rPr sz="900" spc="-5">
                <a:latin typeface="Verdana"/>
                <a:cs typeface="Verdana"/>
              </a:rPr>
              <a:t>Identify Learning needs  </a:t>
            </a:r>
            <a:r>
              <a:rPr sz="900">
                <a:latin typeface="Verdana"/>
                <a:cs typeface="Verdana"/>
              </a:rPr>
              <a:t>per role </a:t>
            </a:r>
            <a:r>
              <a:rPr sz="900" spc="-5">
                <a:latin typeface="Verdana"/>
                <a:cs typeface="Verdana"/>
              </a:rPr>
              <a:t>groups</a:t>
            </a:r>
            <a:r>
              <a:rPr sz="900" spc="-60">
                <a:latin typeface="Verdana"/>
                <a:cs typeface="Verdana"/>
              </a:rPr>
              <a:t> </a:t>
            </a:r>
            <a:r>
              <a:rPr sz="900" b="1" spc="-5">
                <a:latin typeface="Verdana"/>
                <a:cs typeface="Verdana"/>
              </a:rPr>
              <a:t>(TR_01)</a:t>
            </a:r>
            <a:endParaRPr sz="900">
              <a:latin typeface="Verdana"/>
              <a:cs typeface="Verdana"/>
            </a:endParaRPr>
          </a:p>
        </p:txBody>
      </p:sp>
      <p:sp>
        <p:nvSpPr>
          <p:cNvPr id="18" name="object 18"/>
          <p:cNvSpPr/>
          <p:nvPr/>
        </p:nvSpPr>
        <p:spPr>
          <a:xfrm>
            <a:off x="2766060" y="1772411"/>
            <a:ext cx="2159635" cy="361315"/>
          </a:xfrm>
          <a:custGeom>
            <a:avLst/>
            <a:gdLst/>
            <a:ahLst/>
            <a:cxnLst/>
            <a:rect l="l" t="t" r="r" b="b"/>
            <a:pathLst>
              <a:path w="2159635" h="361314">
                <a:moveTo>
                  <a:pt x="2041270" y="0"/>
                </a:moveTo>
                <a:lnTo>
                  <a:pt x="0" y="0"/>
                </a:lnTo>
                <a:lnTo>
                  <a:pt x="118237" y="180593"/>
                </a:lnTo>
                <a:lnTo>
                  <a:pt x="0" y="361188"/>
                </a:lnTo>
                <a:lnTo>
                  <a:pt x="2041270" y="361188"/>
                </a:lnTo>
                <a:lnTo>
                  <a:pt x="2159507" y="180593"/>
                </a:lnTo>
                <a:lnTo>
                  <a:pt x="2041270" y="0"/>
                </a:lnTo>
                <a:close/>
              </a:path>
            </a:pathLst>
          </a:custGeom>
          <a:solidFill>
            <a:srgbClr val="005382"/>
          </a:solidFill>
        </p:spPr>
        <p:txBody>
          <a:bodyPr wrap="square" lIns="0" tIns="0" rIns="0" bIns="0" rtlCol="0"/>
          <a:lstStyle/>
          <a:p>
            <a:endParaRPr/>
          </a:p>
        </p:txBody>
      </p:sp>
      <p:sp>
        <p:nvSpPr>
          <p:cNvPr id="19" name="object 19"/>
          <p:cNvSpPr txBox="1"/>
          <p:nvPr/>
        </p:nvSpPr>
        <p:spPr>
          <a:xfrm>
            <a:off x="2930144" y="1788667"/>
            <a:ext cx="1575435" cy="1090295"/>
          </a:xfrm>
          <a:prstGeom prst="rect">
            <a:avLst/>
          </a:prstGeom>
        </p:spPr>
        <p:txBody>
          <a:bodyPr vert="horz" wrap="square" lIns="0" tIns="12065" rIns="0" bIns="0" rtlCol="0">
            <a:spAutoFit/>
          </a:bodyPr>
          <a:lstStyle/>
          <a:p>
            <a:pPr marL="525780" marR="92710" indent="-167640">
              <a:lnSpc>
                <a:spcPct val="100000"/>
              </a:lnSpc>
              <a:spcBef>
                <a:spcPts val="95"/>
              </a:spcBef>
            </a:pPr>
            <a:r>
              <a:rPr sz="1000" b="1" spc="-10">
                <a:solidFill>
                  <a:srgbClr val="FFFFFF"/>
                </a:solidFill>
                <a:latin typeface="Verdana"/>
                <a:cs typeface="Verdana"/>
              </a:rPr>
              <a:t>Design Training  Curriculum</a:t>
            </a:r>
            <a:endParaRPr sz="1000">
              <a:latin typeface="Verdana"/>
              <a:cs typeface="Verdana"/>
            </a:endParaRPr>
          </a:p>
          <a:p>
            <a:pPr marL="187960" marR="5080" indent="-175260">
              <a:lnSpc>
                <a:spcPct val="100000"/>
              </a:lnSpc>
              <a:spcBef>
                <a:spcPts val="580"/>
              </a:spcBef>
              <a:buClr>
                <a:srgbClr val="006FAC"/>
              </a:buClr>
              <a:buFont typeface="Wingdings"/>
              <a:buChar char=""/>
              <a:tabLst>
                <a:tab pos="187960" algn="l"/>
              </a:tabLst>
            </a:pPr>
            <a:r>
              <a:rPr sz="900" spc="-5">
                <a:latin typeface="Verdana"/>
                <a:cs typeface="Verdana"/>
              </a:rPr>
              <a:t>Define training modules  and methods (e.g.  </a:t>
            </a:r>
            <a:r>
              <a:rPr sz="900">
                <a:latin typeface="Verdana"/>
                <a:cs typeface="Verdana"/>
              </a:rPr>
              <a:t>classroom, </a:t>
            </a:r>
            <a:r>
              <a:rPr sz="900" spc="-5">
                <a:latin typeface="Verdana"/>
                <a:cs typeface="Verdana"/>
              </a:rPr>
              <a:t>web-based  training, train-the-  trainer)</a:t>
            </a:r>
            <a:r>
              <a:rPr sz="900" spc="-10">
                <a:latin typeface="Verdana"/>
                <a:cs typeface="Verdana"/>
              </a:rPr>
              <a:t> </a:t>
            </a:r>
            <a:r>
              <a:rPr sz="900" b="1" spc="-5">
                <a:latin typeface="Verdana"/>
                <a:cs typeface="Verdana"/>
              </a:rPr>
              <a:t>(TR_05)</a:t>
            </a:r>
            <a:endParaRPr sz="900">
              <a:latin typeface="Verdana"/>
              <a:cs typeface="Verdana"/>
            </a:endParaRPr>
          </a:p>
        </p:txBody>
      </p:sp>
      <p:sp>
        <p:nvSpPr>
          <p:cNvPr id="20" name="object 20"/>
          <p:cNvSpPr/>
          <p:nvPr/>
        </p:nvSpPr>
        <p:spPr>
          <a:xfrm>
            <a:off x="5052059" y="1772411"/>
            <a:ext cx="2161540" cy="361315"/>
          </a:xfrm>
          <a:custGeom>
            <a:avLst/>
            <a:gdLst/>
            <a:ahLst/>
            <a:cxnLst/>
            <a:rect l="l" t="t" r="r" b="b"/>
            <a:pathLst>
              <a:path w="2161540" h="361314">
                <a:moveTo>
                  <a:pt x="2042794" y="0"/>
                </a:moveTo>
                <a:lnTo>
                  <a:pt x="0" y="0"/>
                </a:lnTo>
                <a:lnTo>
                  <a:pt x="118237" y="180593"/>
                </a:lnTo>
                <a:lnTo>
                  <a:pt x="0" y="361188"/>
                </a:lnTo>
                <a:lnTo>
                  <a:pt x="2042794" y="361188"/>
                </a:lnTo>
                <a:lnTo>
                  <a:pt x="2161032" y="180593"/>
                </a:lnTo>
                <a:lnTo>
                  <a:pt x="2042794" y="0"/>
                </a:lnTo>
                <a:close/>
              </a:path>
            </a:pathLst>
          </a:custGeom>
          <a:solidFill>
            <a:srgbClr val="006FAC"/>
          </a:solidFill>
        </p:spPr>
        <p:txBody>
          <a:bodyPr wrap="square" lIns="0" tIns="0" rIns="0" bIns="0" rtlCol="0"/>
          <a:lstStyle/>
          <a:p>
            <a:endParaRPr/>
          </a:p>
        </p:txBody>
      </p:sp>
      <p:sp>
        <p:nvSpPr>
          <p:cNvPr id="21" name="object 21"/>
          <p:cNvSpPr txBox="1"/>
          <p:nvPr/>
        </p:nvSpPr>
        <p:spPr>
          <a:xfrm>
            <a:off x="5196585" y="1788667"/>
            <a:ext cx="1738630" cy="1894205"/>
          </a:xfrm>
          <a:prstGeom prst="rect">
            <a:avLst/>
          </a:prstGeom>
        </p:spPr>
        <p:txBody>
          <a:bodyPr vert="horz" wrap="square" lIns="0" tIns="12065" rIns="0" bIns="0" rtlCol="0">
            <a:spAutoFit/>
          </a:bodyPr>
          <a:lstStyle/>
          <a:p>
            <a:pPr marL="610235" marR="192405" indent="-276225">
              <a:lnSpc>
                <a:spcPct val="100000"/>
              </a:lnSpc>
              <a:spcBef>
                <a:spcPts val="95"/>
              </a:spcBef>
            </a:pPr>
            <a:r>
              <a:rPr sz="1000" b="1" spc="-10">
                <a:solidFill>
                  <a:srgbClr val="FFFFFF"/>
                </a:solidFill>
                <a:latin typeface="Verdana"/>
                <a:cs typeface="Verdana"/>
              </a:rPr>
              <a:t>Develop Training  Materials</a:t>
            </a:r>
            <a:endParaRPr sz="1000">
              <a:latin typeface="Verdana"/>
              <a:cs typeface="Verdana"/>
            </a:endParaRPr>
          </a:p>
          <a:p>
            <a:pPr marL="186055" marR="262890" indent="-173990">
              <a:lnSpc>
                <a:spcPct val="100000"/>
              </a:lnSpc>
              <a:spcBef>
                <a:spcPts val="434"/>
              </a:spcBef>
              <a:buClr>
                <a:srgbClr val="006FAC"/>
              </a:buClr>
              <a:buFont typeface="Wingdings"/>
              <a:buChar char=""/>
              <a:tabLst>
                <a:tab pos="186690" algn="l"/>
              </a:tabLst>
            </a:pPr>
            <a:r>
              <a:rPr sz="900" spc="-5">
                <a:latin typeface="Verdana"/>
                <a:cs typeface="Verdana"/>
              </a:rPr>
              <a:t>Create and </a:t>
            </a:r>
            <a:r>
              <a:rPr sz="900">
                <a:latin typeface="Verdana"/>
                <a:cs typeface="Verdana"/>
              </a:rPr>
              <a:t>validate  </a:t>
            </a:r>
            <a:r>
              <a:rPr sz="900" spc="-5">
                <a:latin typeface="Verdana"/>
                <a:cs typeface="Verdana"/>
              </a:rPr>
              <a:t>training </a:t>
            </a:r>
            <a:r>
              <a:rPr sz="900">
                <a:latin typeface="Verdana"/>
                <a:cs typeface="Verdana"/>
              </a:rPr>
              <a:t>materials  </a:t>
            </a:r>
            <a:r>
              <a:rPr sz="900" spc="-5">
                <a:latin typeface="Verdana"/>
                <a:cs typeface="Verdana"/>
              </a:rPr>
              <a:t>(e.g. user manual and  training presentation)  </a:t>
            </a:r>
            <a:r>
              <a:rPr sz="900">
                <a:latin typeface="Verdana"/>
                <a:cs typeface="Verdana"/>
              </a:rPr>
              <a:t>by </a:t>
            </a:r>
            <a:r>
              <a:rPr sz="900" spc="-5">
                <a:latin typeface="Verdana"/>
                <a:cs typeface="Verdana"/>
              </a:rPr>
              <a:t>SI Team</a:t>
            </a:r>
            <a:r>
              <a:rPr sz="900" spc="-95">
                <a:latin typeface="Verdana"/>
                <a:cs typeface="Verdana"/>
              </a:rPr>
              <a:t> </a:t>
            </a:r>
            <a:r>
              <a:rPr sz="900" b="1" spc="-5">
                <a:latin typeface="Verdana"/>
                <a:cs typeface="Verdana"/>
              </a:rPr>
              <a:t>(TR_06)</a:t>
            </a:r>
            <a:endParaRPr sz="900">
              <a:latin typeface="Verdana"/>
              <a:cs typeface="Verdana"/>
            </a:endParaRPr>
          </a:p>
          <a:p>
            <a:pPr marL="186055" marR="138430" indent="-173990">
              <a:lnSpc>
                <a:spcPct val="100000"/>
              </a:lnSpc>
              <a:buClr>
                <a:srgbClr val="006FAC"/>
              </a:buClr>
              <a:buFont typeface="Wingdings"/>
              <a:buChar char=""/>
              <a:tabLst>
                <a:tab pos="186690" algn="l"/>
              </a:tabLst>
            </a:pPr>
            <a:r>
              <a:rPr sz="900" spc="-5">
                <a:latin typeface="Verdana"/>
                <a:cs typeface="Verdana"/>
              </a:rPr>
              <a:t>Support </a:t>
            </a:r>
            <a:r>
              <a:rPr sz="900">
                <a:latin typeface="Verdana"/>
                <a:cs typeface="Verdana"/>
              </a:rPr>
              <a:t>of </a:t>
            </a:r>
            <a:r>
              <a:rPr sz="900" spc="-5">
                <a:latin typeface="Verdana"/>
                <a:cs typeface="Verdana"/>
              </a:rPr>
              <a:t>the definition  </a:t>
            </a:r>
            <a:r>
              <a:rPr sz="900">
                <a:latin typeface="Verdana"/>
                <a:cs typeface="Verdana"/>
              </a:rPr>
              <a:t>of </a:t>
            </a:r>
            <a:r>
              <a:rPr sz="900" spc="-5">
                <a:latin typeface="Verdana"/>
                <a:cs typeface="Verdana"/>
              </a:rPr>
              <a:t>Training</a:t>
            </a:r>
            <a:r>
              <a:rPr sz="900" spc="-25">
                <a:latin typeface="Verdana"/>
                <a:cs typeface="Verdana"/>
              </a:rPr>
              <a:t> </a:t>
            </a:r>
            <a:r>
              <a:rPr sz="900">
                <a:latin typeface="Verdana"/>
                <a:cs typeface="Verdana"/>
              </a:rPr>
              <a:t>Logistics</a:t>
            </a:r>
          </a:p>
          <a:p>
            <a:pPr marL="186055" marR="11430" indent="-173990">
              <a:lnSpc>
                <a:spcPct val="100000"/>
              </a:lnSpc>
              <a:buClr>
                <a:srgbClr val="006FAC"/>
              </a:buClr>
              <a:buFont typeface="Wingdings"/>
              <a:buChar char=""/>
              <a:tabLst>
                <a:tab pos="186690" algn="l"/>
              </a:tabLst>
            </a:pPr>
            <a:r>
              <a:rPr sz="900" spc="-5">
                <a:latin typeface="Verdana"/>
                <a:cs typeface="Verdana"/>
              </a:rPr>
              <a:t>Tailor </a:t>
            </a:r>
            <a:r>
              <a:rPr sz="900">
                <a:latin typeface="Verdana"/>
                <a:cs typeface="Verdana"/>
              </a:rPr>
              <a:t>data </a:t>
            </a:r>
            <a:r>
              <a:rPr sz="900" spc="-5">
                <a:latin typeface="Verdana"/>
                <a:cs typeface="Verdana"/>
              </a:rPr>
              <a:t>for trainings </a:t>
            </a:r>
            <a:r>
              <a:rPr sz="900">
                <a:latin typeface="Verdana"/>
                <a:cs typeface="Verdana"/>
              </a:rPr>
              <a:t>by  </a:t>
            </a:r>
            <a:r>
              <a:rPr sz="900" spc="-5">
                <a:latin typeface="Verdana"/>
                <a:cs typeface="Verdana"/>
              </a:rPr>
              <a:t>SI</a:t>
            </a:r>
            <a:r>
              <a:rPr sz="900" spc="-20">
                <a:latin typeface="Verdana"/>
                <a:cs typeface="Verdana"/>
              </a:rPr>
              <a:t> </a:t>
            </a:r>
            <a:r>
              <a:rPr sz="900" spc="-5">
                <a:latin typeface="Verdana"/>
                <a:cs typeface="Verdana"/>
              </a:rPr>
              <a:t>Team</a:t>
            </a:r>
            <a:endParaRPr sz="900">
              <a:latin typeface="Verdana"/>
              <a:cs typeface="Verdana"/>
            </a:endParaRPr>
          </a:p>
          <a:p>
            <a:pPr marL="186055" marR="5080" indent="-173990">
              <a:lnSpc>
                <a:spcPct val="100000"/>
              </a:lnSpc>
              <a:buClr>
                <a:srgbClr val="006FAC"/>
              </a:buClr>
              <a:buFont typeface="Wingdings"/>
              <a:buChar char=""/>
              <a:tabLst>
                <a:tab pos="186690" algn="l"/>
              </a:tabLst>
            </a:pPr>
            <a:r>
              <a:rPr sz="900" spc="-5">
                <a:latin typeface="Verdana"/>
                <a:cs typeface="Verdana"/>
              </a:rPr>
              <a:t>Out </a:t>
            </a:r>
            <a:r>
              <a:rPr sz="900">
                <a:latin typeface="Verdana"/>
                <a:cs typeface="Verdana"/>
              </a:rPr>
              <a:t>of scope </a:t>
            </a:r>
            <a:r>
              <a:rPr sz="900" spc="-5">
                <a:latin typeface="Verdana"/>
                <a:cs typeface="Verdana"/>
              </a:rPr>
              <a:t>Development  </a:t>
            </a:r>
            <a:r>
              <a:rPr sz="900">
                <a:latin typeface="Verdana"/>
                <a:cs typeface="Verdana"/>
              </a:rPr>
              <a:t>of </a:t>
            </a:r>
            <a:r>
              <a:rPr sz="900" spc="-5">
                <a:latin typeface="Verdana"/>
                <a:cs typeface="Verdana"/>
              </a:rPr>
              <a:t>visual training</a:t>
            </a:r>
            <a:r>
              <a:rPr sz="900" spc="-40">
                <a:latin typeface="Verdana"/>
                <a:cs typeface="Verdana"/>
              </a:rPr>
              <a:t> </a:t>
            </a:r>
            <a:r>
              <a:rPr sz="900">
                <a:latin typeface="Verdana"/>
                <a:cs typeface="Verdana"/>
              </a:rPr>
              <a:t>materials</a:t>
            </a:r>
          </a:p>
        </p:txBody>
      </p:sp>
      <p:sp>
        <p:nvSpPr>
          <p:cNvPr id="22" name="object 22"/>
          <p:cNvSpPr/>
          <p:nvPr/>
        </p:nvSpPr>
        <p:spPr>
          <a:xfrm>
            <a:off x="7338059" y="1772411"/>
            <a:ext cx="2161540" cy="361315"/>
          </a:xfrm>
          <a:custGeom>
            <a:avLst/>
            <a:gdLst/>
            <a:ahLst/>
            <a:cxnLst/>
            <a:rect l="l" t="t" r="r" b="b"/>
            <a:pathLst>
              <a:path w="2161540" h="361314">
                <a:moveTo>
                  <a:pt x="2042795" y="0"/>
                </a:moveTo>
                <a:lnTo>
                  <a:pt x="0" y="0"/>
                </a:lnTo>
                <a:lnTo>
                  <a:pt x="118237" y="180593"/>
                </a:lnTo>
                <a:lnTo>
                  <a:pt x="0" y="361188"/>
                </a:lnTo>
                <a:lnTo>
                  <a:pt x="2042795" y="361188"/>
                </a:lnTo>
                <a:lnTo>
                  <a:pt x="2161032" y="180593"/>
                </a:lnTo>
                <a:lnTo>
                  <a:pt x="2042795" y="0"/>
                </a:lnTo>
                <a:close/>
              </a:path>
            </a:pathLst>
          </a:custGeom>
          <a:solidFill>
            <a:srgbClr val="12ABDB"/>
          </a:solidFill>
        </p:spPr>
        <p:txBody>
          <a:bodyPr wrap="square" lIns="0" tIns="0" rIns="0" bIns="0" rtlCol="0"/>
          <a:lstStyle/>
          <a:p>
            <a:endParaRPr/>
          </a:p>
        </p:txBody>
      </p:sp>
      <p:sp>
        <p:nvSpPr>
          <p:cNvPr id="23" name="object 23"/>
          <p:cNvSpPr txBox="1"/>
          <p:nvPr/>
        </p:nvSpPr>
        <p:spPr>
          <a:xfrm>
            <a:off x="7496302" y="1788667"/>
            <a:ext cx="1650364" cy="2180590"/>
          </a:xfrm>
          <a:prstGeom prst="rect">
            <a:avLst/>
          </a:prstGeom>
        </p:spPr>
        <p:txBody>
          <a:bodyPr vert="horz" wrap="square" lIns="0" tIns="12065" rIns="0" bIns="0" rtlCol="0">
            <a:spAutoFit/>
          </a:bodyPr>
          <a:lstStyle/>
          <a:p>
            <a:pPr marL="313690" marR="109220" indent="205740">
              <a:lnSpc>
                <a:spcPct val="100000"/>
              </a:lnSpc>
              <a:spcBef>
                <a:spcPts val="95"/>
              </a:spcBef>
            </a:pPr>
            <a:r>
              <a:rPr sz="1000" b="1" spc="-5">
                <a:solidFill>
                  <a:srgbClr val="FFFFFF"/>
                </a:solidFill>
                <a:latin typeface="Verdana"/>
                <a:cs typeface="Verdana"/>
              </a:rPr>
              <a:t>Prepare </a:t>
            </a:r>
            <a:r>
              <a:rPr sz="1000" b="1" spc="-10">
                <a:solidFill>
                  <a:srgbClr val="FFFFFF"/>
                </a:solidFill>
                <a:latin typeface="Verdana"/>
                <a:cs typeface="Verdana"/>
              </a:rPr>
              <a:t>for  Training</a:t>
            </a:r>
            <a:r>
              <a:rPr sz="1000" b="1" spc="-15">
                <a:solidFill>
                  <a:srgbClr val="FFFFFF"/>
                </a:solidFill>
                <a:latin typeface="Verdana"/>
                <a:cs typeface="Verdana"/>
              </a:rPr>
              <a:t> </a:t>
            </a:r>
            <a:r>
              <a:rPr sz="1000" b="1" spc="-10">
                <a:solidFill>
                  <a:srgbClr val="FFFFFF"/>
                </a:solidFill>
                <a:latin typeface="Verdana"/>
                <a:cs typeface="Verdana"/>
              </a:rPr>
              <a:t>Delivery</a:t>
            </a:r>
            <a:endParaRPr sz="1000">
              <a:latin typeface="Verdana"/>
              <a:cs typeface="Verdana"/>
            </a:endParaRPr>
          </a:p>
          <a:p>
            <a:pPr marL="186055" marR="5080" indent="-173990">
              <a:lnSpc>
                <a:spcPct val="100000"/>
              </a:lnSpc>
              <a:spcBef>
                <a:spcPts val="525"/>
              </a:spcBef>
              <a:buClr>
                <a:srgbClr val="006FAC"/>
              </a:buClr>
              <a:buFont typeface="Wingdings"/>
              <a:buChar char=""/>
              <a:tabLst>
                <a:tab pos="186690" algn="l"/>
              </a:tabLst>
            </a:pPr>
            <a:r>
              <a:rPr sz="900" spc="-5">
                <a:latin typeface="Verdana"/>
                <a:cs typeface="Verdana"/>
              </a:rPr>
              <a:t>Conduct train-the-trainer  </a:t>
            </a:r>
            <a:r>
              <a:rPr sz="900">
                <a:latin typeface="Verdana"/>
                <a:cs typeface="Verdana"/>
              </a:rPr>
              <a:t>by </a:t>
            </a:r>
            <a:r>
              <a:rPr sz="900" spc="-5">
                <a:latin typeface="Verdana"/>
                <a:cs typeface="Verdana"/>
              </a:rPr>
              <a:t>SI</a:t>
            </a:r>
            <a:r>
              <a:rPr sz="900" spc="-25">
                <a:latin typeface="Verdana"/>
                <a:cs typeface="Verdana"/>
              </a:rPr>
              <a:t> </a:t>
            </a:r>
            <a:r>
              <a:rPr sz="900" spc="-5">
                <a:latin typeface="Verdana"/>
                <a:cs typeface="Verdana"/>
              </a:rPr>
              <a:t>Team</a:t>
            </a:r>
            <a:endParaRPr sz="900">
              <a:latin typeface="Verdana"/>
              <a:cs typeface="Verdana"/>
            </a:endParaRPr>
          </a:p>
          <a:p>
            <a:pPr marL="186055" marR="217804" indent="-173990">
              <a:lnSpc>
                <a:spcPct val="100000"/>
              </a:lnSpc>
              <a:buClr>
                <a:srgbClr val="006FAC"/>
              </a:buClr>
              <a:buFont typeface="Wingdings"/>
              <a:buChar char=""/>
              <a:tabLst>
                <a:tab pos="186690" algn="l"/>
              </a:tabLst>
            </a:pPr>
            <a:r>
              <a:rPr sz="900" spc="-5">
                <a:latin typeface="Verdana"/>
                <a:cs typeface="Verdana"/>
              </a:rPr>
              <a:t>Monitor that (training  </a:t>
            </a:r>
            <a:r>
              <a:rPr sz="900">
                <a:latin typeface="Verdana"/>
                <a:cs typeface="Verdana"/>
              </a:rPr>
              <a:t>rooms, </a:t>
            </a:r>
            <a:r>
              <a:rPr sz="900" spc="-5">
                <a:latin typeface="Verdana"/>
                <a:cs typeface="Verdana"/>
              </a:rPr>
              <a:t>equipment)  </a:t>
            </a:r>
            <a:r>
              <a:rPr sz="900">
                <a:latin typeface="Verdana"/>
                <a:cs typeface="Verdana"/>
              </a:rPr>
              <a:t>logistics are </a:t>
            </a:r>
            <a:r>
              <a:rPr sz="900" spc="-5">
                <a:latin typeface="Verdana"/>
                <a:cs typeface="Verdana"/>
              </a:rPr>
              <a:t>correctly  planned</a:t>
            </a:r>
            <a:endParaRPr sz="900">
              <a:latin typeface="Verdana"/>
              <a:cs typeface="Verdana"/>
            </a:endParaRPr>
          </a:p>
          <a:p>
            <a:pPr marL="186055" indent="-173990">
              <a:lnSpc>
                <a:spcPct val="100000"/>
              </a:lnSpc>
              <a:buClr>
                <a:srgbClr val="006FAC"/>
              </a:buClr>
              <a:buFont typeface="Wingdings"/>
              <a:buChar char=""/>
              <a:tabLst>
                <a:tab pos="186690" algn="l"/>
              </a:tabLst>
            </a:pPr>
            <a:r>
              <a:rPr sz="900" spc="-5">
                <a:latin typeface="Verdana"/>
                <a:cs typeface="Verdana"/>
              </a:rPr>
              <a:t>Send</a:t>
            </a:r>
            <a:r>
              <a:rPr sz="900">
                <a:latin typeface="Verdana"/>
                <a:cs typeface="Verdana"/>
              </a:rPr>
              <a:t> </a:t>
            </a:r>
            <a:r>
              <a:rPr sz="900" spc="-5">
                <a:latin typeface="Verdana"/>
                <a:cs typeface="Verdana"/>
              </a:rPr>
              <a:t>joining</a:t>
            </a:r>
            <a:endParaRPr sz="900">
              <a:latin typeface="Verdana"/>
              <a:cs typeface="Verdana"/>
            </a:endParaRPr>
          </a:p>
          <a:p>
            <a:pPr marL="186055">
              <a:lnSpc>
                <a:spcPct val="100000"/>
              </a:lnSpc>
              <a:spcBef>
                <a:spcPts val="5"/>
              </a:spcBef>
            </a:pPr>
            <a:r>
              <a:rPr sz="900" spc="-5">
                <a:latin typeface="Verdana"/>
                <a:cs typeface="Verdana"/>
              </a:rPr>
              <a:t>instructions</a:t>
            </a:r>
            <a:r>
              <a:rPr sz="900" spc="25">
                <a:latin typeface="Verdana"/>
                <a:cs typeface="Verdana"/>
              </a:rPr>
              <a:t> </a:t>
            </a:r>
            <a:r>
              <a:rPr sz="900" b="1" spc="-5">
                <a:latin typeface="Verdana"/>
                <a:cs typeface="Verdana"/>
              </a:rPr>
              <a:t>(TR_07)</a:t>
            </a:r>
            <a:endParaRPr sz="900">
              <a:latin typeface="Verdana"/>
              <a:cs typeface="Verdana"/>
            </a:endParaRPr>
          </a:p>
          <a:p>
            <a:pPr marL="186055" indent="-173990">
              <a:lnSpc>
                <a:spcPct val="100000"/>
              </a:lnSpc>
              <a:buClr>
                <a:srgbClr val="006FAC"/>
              </a:buClr>
              <a:buFont typeface="Wingdings"/>
              <a:buChar char=""/>
              <a:tabLst>
                <a:tab pos="186690" algn="l"/>
              </a:tabLst>
            </a:pPr>
            <a:r>
              <a:rPr sz="900" spc="-5">
                <a:latin typeface="Verdana"/>
                <a:cs typeface="Verdana"/>
              </a:rPr>
              <a:t>Training</a:t>
            </a:r>
            <a:endParaRPr sz="900">
              <a:latin typeface="Verdana"/>
              <a:cs typeface="Verdana"/>
            </a:endParaRPr>
          </a:p>
          <a:p>
            <a:pPr marL="186055">
              <a:lnSpc>
                <a:spcPct val="100000"/>
              </a:lnSpc>
            </a:pPr>
            <a:r>
              <a:rPr sz="900" spc="-5">
                <a:latin typeface="Verdana"/>
                <a:cs typeface="Verdana"/>
              </a:rPr>
              <a:t>assessment</a:t>
            </a:r>
            <a:r>
              <a:rPr sz="900" spc="15">
                <a:latin typeface="Verdana"/>
                <a:cs typeface="Verdana"/>
              </a:rPr>
              <a:t> </a:t>
            </a:r>
            <a:r>
              <a:rPr sz="900" b="1" spc="-5">
                <a:latin typeface="Verdana"/>
                <a:cs typeface="Verdana"/>
              </a:rPr>
              <a:t>(TR_08)</a:t>
            </a:r>
            <a:endParaRPr sz="900">
              <a:latin typeface="Verdana"/>
              <a:cs typeface="Verdana"/>
            </a:endParaRPr>
          </a:p>
          <a:p>
            <a:pPr marL="186055" marR="370840" indent="-173990">
              <a:lnSpc>
                <a:spcPct val="100000"/>
              </a:lnSpc>
              <a:buClr>
                <a:srgbClr val="006FAC"/>
              </a:buClr>
              <a:buFont typeface="Wingdings"/>
              <a:buChar char=""/>
              <a:tabLst>
                <a:tab pos="186690" algn="l"/>
              </a:tabLst>
            </a:pPr>
            <a:r>
              <a:rPr sz="900" spc="-5">
                <a:latin typeface="Verdana"/>
                <a:cs typeface="Verdana"/>
              </a:rPr>
              <a:t>Monitor training  interventions  regularly</a:t>
            </a:r>
            <a:r>
              <a:rPr sz="900" spc="-35">
                <a:latin typeface="Verdana"/>
                <a:cs typeface="Verdana"/>
              </a:rPr>
              <a:t> </a:t>
            </a:r>
            <a:r>
              <a:rPr sz="900" b="1" spc="-5">
                <a:latin typeface="Verdana"/>
                <a:cs typeface="Verdana"/>
              </a:rPr>
              <a:t>(TR_09)</a:t>
            </a:r>
            <a:endParaRPr sz="900">
              <a:latin typeface="Verdana"/>
              <a:cs typeface="Verdana"/>
            </a:endParaRPr>
          </a:p>
        </p:txBody>
      </p:sp>
      <p:sp>
        <p:nvSpPr>
          <p:cNvPr id="24" name="object 24"/>
          <p:cNvSpPr/>
          <p:nvPr/>
        </p:nvSpPr>
        <p:spPr>
          <a:xfrm>
            <a:off x="9624059" y="1772411"/>
            <a:ext cx="2161540" cy="361315"/>
          </a:xfrm>
          <a:custGeom>
            <a:avLst/>
            <a:gdLst/>
            <a:ahLst/>
            <a:cxnLst/>
            <a:rect l="l" t="t" r="r" b="b"/>
            <a:pathLst>
              <a:path w="2161540" h="361314">
                <a:moveTo>
                  <a:pt x="2042795" y="0"/>
                </a:moveTo>
                <a:lnTo>
                  <a:pt x="0" y="0"/>
                </a:lnTo>
                <a:lnTo>
                  <a:pt x="118237" y="180593"/>
                </a:lnTo>
                <a:lnTo>
                  <a:pt x="0" y="361188"/>
                </a:lnTo>
                <a:lnTo>
                  <a:pt x="2042795" y="361188"/>
                </a:lnTo>
                <a:lnTo>
                  <a:pt x="2161032" y="180593"/>
                </a:lnTo>
                <a:lnTo>
                  <a:pt x="2042795" y="0"/>
                </a:lnTo>
                <a:close/>
              </a:path>
            </a:pathLst>
          </a:custGeom>
          <a:solidFill>
            <a:srgbClr val="E2001F"/>
          </a:solidFill>
        </p:spPr>
        <p:txBody>
          <a:bodyPr wrap="square" lIns="0" tIns="0" rIns="0" bIns="0" rtlCol="0"/>
          <a:lstStyle/>
          <a:p>
            <a:endParaRPr/>
          </a:p>
        </p:txBody>
      </p:sp>
      <p:sp>
        <p:nvSpPr>
          <p:cNvPr id="25" name="object 25"/>
          <p:cNvSpPr txBox="1"/>
          <p:nvPr/>
        </p:nvSpPr>
        <p:spPr>
          <a:xfrm>
            <a:off x="9778745" y="1788667"/>
            <a:ext cx="1537335" cy="667385"/>
          </a:xfrm>
          <a:prstGeom prst="rect">
            <a:avLst/>
          </a:prstGeom>
        </p:spPr>
        <p:txBody>
          <a:bodyPr vert="horz" wrap="square" lIns="0" tIns="12065" rIns="0" bIns="0" rtlCol="0">
            <a:spAutoFit/>
          </a:bodyPr>
          <a:lstStyle/>
          <a:p>
            <a:pPr marL="635000" marR="5080" indent="-306705">
              <a:lnSpc>
                <a:spcPct val="100000"/>
              </a:lnSpc>
              <a:spcBef>
                <a:spcPts val="95"/>
              </a:spcBef>
            </a:pPr>
            <a:r>
              <a:rPr sz="1000" b="1" spc="-10">
                <a:solidFill>
                  <a:srgbClr val="FFFFFF"/>
                </a:solidFill>
                <a:latin typeface="Verdana"/>
                <a:cs typeface="Verdana"/>
              </a:rPr>
              <a:t>Support Training  Delivery</a:t>
            </a:r>
            <a:endParaRPr sz="1000">
              <a:latin typeface="Verdana"/>
              <a:cs typeface="Verdana"/>
            </a:endParaRPr>
          </a:p>
          <a:p>
            <a:pPr marL="186055" marR="238760" indent="-173990">
              <a:lnSpc>
                <a:spcPct val="100000"/>
              </a:lnSpc>
              <a:spcBef>
                <a:spcPts val="495"/>
              </a:spcBef>
              <a:buClr>
                <a:srgbClr val="006FAC"/>
              </a:buClr>
              <a:buFont typeface="Wingdings"/>
              <a:buChar char=""/>
              <a:tabLst>
                <a:tab pos="186690" algn="l"/>
              </a:tabLst>
            </a:pPr>
            <a:r>
              <a:rPr sz="900" spc="-5">
                <a:latin typeface="Verdana"/>
                <a:cs typeface="Verdana"/>
              </a:rPr>
              <a:t>Training evaluation  analysis </a:t>
            </a:r>
            <a:r>
              <a:rPr sz="900" b="1" spc="-5">
                <a:latin typeface="Verdana"/>
                <a:cs typeface="Verdana"/>
              </a:rPr>
              <a:t>(TR_10)</a:t>
            </a:r>
            <a:endParaRPr sz="900">
              <a:latin typeface="Verdana"/>
              <a:cs typeface="Verdana"/>
            </a:endParaRPr>
          </a:p>
        </p:txBody>
      </p:sp>
      <p:sp>
        <p:nvSpPr>
          <p:cNvPr id="26" name="object 26"/>
          <p:cNvSpPr/>
          <p:nvPr/>
        </p:nvSpPr>
        <p:spPr>
          <a:xfrm>
            <a:off x="4558284" y="4172711"/>
            <a:ext cx="960119" cy="640080"/>
          </a:xfrm>
          <a:custGeom>
            <a:avLst/>
            <a:gdLst/>
            <a:ahLst/>
            <a:cxnLst/>
            <a:rect l="l" t="t" r="r" b="b"/>
            <a:pathLst>
              <a:path w="960120" h="640079">
                <a:moveTo>
                  <a:pt x="853439" y="0"/>
                </a:moveTo>
                <a:lnTo>
                  <a:pt x="106679" y="0"/>
                </a:lnTo>
                <a:lnTo>
                  <a:pt x="65151" y="8381"/>
                </a:lnTo>
                <a:lnTo>
                  <a:pt x="31242" y="31242"/>
                </a:lnTo>
                <a:lnTo>
                  <a:pt x="8382" y="65150"/>
                </a:lnTo>
                <a:lnTo>
                  <a:pt x="0" y="106680"/>
                </a:lnTo>
                <a:lnTo>
                  <a:pt x="0" y="533400"/>
                </a:lnTo>
                <a:lnTo>
                  <a:pt x="8381" y="574928"/>
                </a:lnTo>
                <a:lnTo>
                  <a:pt x="31241" y="608838"/>
                </a:lnTo>
                <a:lnTo>
                  <a:pt x="65150" y="631698"/>
                </a:lnTo>
                <a:lnTo>
                  <a:pt x="106679" y="640080"/>
                </a:lnTo>
                <a:lnTo>
                  <a:pt x="853439" y="640080"/>
                </a:lnTo>
                <a:lnTo>
                  <a:pt x="894968" y="631698"/>
                </a:lnTo>
                <a:lnTo>
                  <a:pt x="928877" y="608838"/>
                </a:lnTo>
                <a:lnTo>
                  <a:pt x="951737" y="574928"/>
                </a:lnTo>
                <a:lnTo>
                  <a:pt x="960119" y="533400"/>
                </a:lnTo>
                <a:lnTo>
                  <a:pt x="960119" y="106680"/>
                </a:lnTo>
                <a:lnTo>
                  <a:pt x="951738" y="65150"/>
                </a:lnTo>
                <a:lnTo>
                  <a:pt x="928877" y="31242"/>
                </a:lnTo>
                <a:lnTo>
                  <a:pt x="894968" y="8381"/>
                </a:lnTo>
                <a:lnTo>
                  <a:pt x="853439" y="0"/>
                </a:lnTo>
                <a:close/>
              </a:path>
            </a:pathLst>
          </a:custGeom>
          <a:solidFill>
            <a:srgbClr val="003856"/>
          </a:solidFill>
        </p:spPr>
        <p:txBody>
          <a:bodyPr wrap="square" lIns="0" tIns="0" rIns="0" bIns="0" rtlCol="0"/>
          <a:lstStyle/>
          <a:p>
            <a:endParaRPr/>
          </a:p>
        </p:txBody>
      </p:sp>
      <p:sp>
        <p:nvSpPr>
          <p:cNvPr id="27" name="object 27"/>
          <p:cNvSpPr txBox="1"/>
          <p:nvPr/>
        </p:nvSpPr>
        <p:spPr>
          <a:xfrm>
            <a:off x="4732782" y="4252722"/>
            <a:ext cx="614045" cy="482600"/>
          </a:xfrm>
          <a:prstGeom prst="rect">
            <a:avLst/>
          </a:prstGeom>
        </p:spPr>
        <p:txBody>
          <a:bodyPr vert="horz" wrap="square" lIns="0" tIns="12065" rIns="0" bIns="0" rtlCol="0">
            <a:spAutoFit/>
          </a:bodyPr>
          <a:lstStyle/>
          <a:p>
            <a:pPr marL="12065" marR="5080" indent="-1905" algn="ctr">
              <a:lnSpc>
                <a:spcPct val="100000"/>
              </a:lnSpc>
              <a:spcBef>
                <a:spcPts val="95"/>
              </a:spcBef>
            </a:pPr>
            <a:r>
              <a:rPr sz="1000" b="1" spc="-5">
                <a:solidFill>
                  <a:srgbClr val="FFFFFF"/>
                </a:solidFill>
                <a:latin typeface="Verdana"/>
                <a:cs typeface="Verdana"/>
              </a:rPr>
              <a:t>T</a:t>
            </a:r>
            <a:r>
              <a:rPr sz="1000" b="1" spc="-10">
                <a:solidFill>
                  <a:srgbClr val="FFFFFF"/>
                </a:solidFill>
                <a:latin typeface="Verdana"/>
                <a:cs typeface="Verdana"/>
              </a:rPr>
              <a:t>rain</a:t>
            </a:r>
            <a:r>
              <a:rPr sz="1000" b="1" spc="-15">
                <a:solidFill>
                  <a:srgbClr val="FFFFFF"/>
                </a:solidFill>
                <a:latin typeface="Verdana"/>
                <a:cs typeface="Verdana"/>
              </a:rPr>
              <a:t>i</a:t>
            </a:r>
            <a:r>
              <a:rPr sz="1000" b="1" spc="-10">
                <a:solidFill>
                  <a:srgbClr val="FFFFFF"/>
                </a:solidFill>
                <a:latin typeface="Verdana"/>
                <a:cs typeface="Verdana"/>
              </a:rPr>
              <a:t>ng  needs  </a:t>
            </a:r>
            <a:r>
              <a:rPr sz="1000" b="1" spc="-15">
                <a:solidFill>
                  <a:srgbClr val="FFFFFF"/>
                </a:solidFill>
                <a:latin typeface="Verdana"/>
                <a:cs typeface="Verdana"/>
              </a:rPr>
              <a:t>A</a:t>
            </a:r>
            <a:r>
              <a:rPr sz="1000" b="1" spc="-10">
                <a:solidFill>
                  <a:srgbClr val="FFFFFF"/>
                </a:solidFill>
                <a:latin typeface="Verdana"/>
                <a:cs typeface="Verdana"/>
              </a:rPr>
              <a:t>n</a:t>
            </a:r>
            <a:r>
              <a:rPr sz="1000" b="1" spc="-15">
                <a:solidFill>
                  <a:srgbClr val="FFFFFF"/>
                </a:solidFill>
                <a:latin typeface="Verdana"/>
                <a:cs typeface="Verdana"/>
              </a:rPr>
              <a:t>a</a:t>
            </a:r>
            <a:r>
              <a:rPr sz="1000" b="1" spc="-10">
                <a:solidFill>
                  <a:srgbClr val="FFFFFF"/>
                </a:solidFill>
                <a:latin typeface="Verdana"/>
                <a:cs typeface="Verdana"/>
              </a:rPr>
              <a:t>l</a:t>
            </a:r>
            <a:r>
              <a:rPr sz="1000" b="1" spc="-5">
                <a:solidFill>
                  <a:srgbClr val="FFFFFF"/>
                </a:solidFill>
                <a:latin typeface="Verdana"/>
                <a:cs typeface="Verdana"/>
              </a:rPr>
              <a:t>y</a:t>
            </a:r>
            <a:r>
              <a:rPr sz="1000" b="1" spc="-10">
                <a:solidFill>
                  <a:srgbClr val="FFFFFF"/>
                </a:solidFill>
                <a:latin typeface="Verdana"/>
                <a:cs typeface="Verdana"/>
              </a:rPr>
              <a:t>si</a:t>
            </a:r>
            <a:r>
              <a:rPr sz="1000" b="1" spc="-5">
                <a:solidFill>
                  <a:srgbClr val="FFFFFF"/>
                </a:solidFill>
                <a:latin typeface="Verdana"/>
                <a:cs typeface="Verdana"/>
              </a:rPr>
              <a:t>s</a:t>
            </a:r>
            <a:endParaRPr sz="1000">
              <a:latin typeface="Verdana"/>
              <a:cs typeface="Verdana"/>
            </a:endParaRPr>
          </a:p>
        </p:txBody>
      </p:sp>
      <p:sp>
        <p:nvSpPr>
          <p:cNvPr id="28" name="object 28"/>
          <p:cNvSpPr/>
          <p:nvPr/>
        </p:nvSpPr>
        <p:spPr>
          <a:xfrm>
            <a:off x="5782055" y="4180332"/>
            <a:ext cx="939165" cy="1422400"/>
          </a:xfrm>
          <a:custGeom>
            <a:avLst/>
            <a:gdLst/>
            <a:ahLst/>
            <a:cxnLst/>
            <a:rect l="l" t="t" r="r" b="b"/>
            <a:pathLst>
              <a:path w="939165" h="1422400">
                <a:moveTo>
                  <a:pt x="782320" y="0"/>
                </a:moveTo>
                <a:lnTo>
                  <a:pt x="156464" y="0"/>
                </a:lnTo>
                <a:lnTo>
                  <a:pt x="107029" y="7981"/>
                </a:lnTo>
                <a:lnTo>
                  <a:pt x="64081" y="30203"/>
                </a:lnTo>
                <a:lnTo>
                  <a:pt x="30203" y="64081"/>
                </a:lnTo>
                <a:lnTo>
                  <a:pt x="7981" y="107029"/>
                </a:lnTo>
                <a:lnTo>
                  <a:pt x="0" y="156464"/>
                </a:lnTo>
                <a:lnTo>
                  <a:pt x="0" y="1265428"/>
                </a:lnTo>
                <a:lnTo>
                  <a:pt x="7981" y="1314862"/>
                </a:lnTo>
                <a:lnTo>
                  <a:pt x="30203" y="1357810"/>
                </a:lnTo>
                <a:lnTo>
                  <a:pt x="64081" y="1391688"/>
                </a:lnTo>
                <a:lnTo>
                  <a:pt x="107029" y="1413910"/>
                </a:lnTo>
                <a:lnTo>
                  <a:pt x="156464" y="1421892"/>
                </a:lnTo>
                <a:lnTo>
                  <a:pt x="782320" y="1421892"/>
                </a:lnTo>
                <a:lnTo>
                  <a:pt x="831754" y="1413910"/>
                </a:lnTo>
                <a:lnTo>
                  <a:pt x="874702" y="1391688"/>
                </a:lnTo>
                <a:lnTo>
                  <a:pt x="908580" y="1357810"/>
                </a:lnTo>
                <a:lnTo>
                  <a:pt x="930802" y="1314862"/>
                </a:lnTo>
                <a:lnTo>
                  <a:pt x="938784" y="1265428"/>
                </a:lnTo>
                <a:lnTo>
                  <a:pt x="938784" y="156464"/>
                </a:lnTo>
                <a:lnTo>
                  <a:pt x="930802" y="107029"/>
                </a:lnTo>
                <a:lnTo>
                  <a:pt x="908580" y="64081"/>
                </a:lnTo>
                <a:lnTo>
                  <a:pt x="874702" y="30203"/>
                </a:lnTo>
                <a:lnTo>
                  <a:pt x="831754" y="7981"/>
                </a:lnTo>
                <a:lnTo>
                  <a:pt x="782320" y="0"/>
                </a:lnTo>
                <a:close/>
              </a:path>
            </a:pathLst>
          </a:custGeom>
          <a:solidFill>
            <a:srgbClr val="005382"/>
          </a:solidFill>
        </p:spPr>
        <p:txBody>
          <a:bodyPr wrap="square" lIns="0" tIns="0" rIns="0" bIns="0" rtlCol="0"/>
          <a:lstStyle/>
          <a:p>
            <a:endParaRPr/>
          </a:p>
        </p:txBody>
      </p:sp>
      <p:sp>
        <p:nvSpPr>
          <p:cNvPr id="29" name="object 29"/>
          <p:cNvSpPr txBox="1"/>
          <p:nvPr/>
        </p:nvSpPr>
        <p:spPr>
          <a:xfrm>
            <a:off x="5937630" y="4421885"/>
            <a:ext cx="628015" cy="939800"/>
          </a:xfrm>
          <a:prstGeom prst="rect">
            <a:avLst/>
          </a:prstGeom>
        </p:spPr>
        <p:txBody>
          <a:bodyPr vert="horz" wrap="square" lIns="0" tIns="12065" rIns="0" bIns="0" rtlCol="0">
            <a:spAutoFit/>
          </a:bodyPr>
          <a:lstStyle/>
          <a:p>
            <a:pPr marL="12700" marR="5080" indent="-635" algn="ctr">
              <a:lnSpc>
                <a:spcPct val="100000"/>
              </a:lnSpc>
              <a:spcBef>
                <a:spcPts val="95"/>
              </a:spcBef>
            </a:pPr>
            <a:r>
              <a:rPr sz="1000" b="1" spc="-10">
                <a:solidFill>
                  <a:srgbClr val="FFFFFF"/>
                </a:solidFill>
                <a:latin typeface="Verdana"/>
                <a:cs typeface="Verdana"/>
              </a:rPr>
              <a:t>Role  </a:t>
            </a:r>
            <a:r>
              <a:rPr sz="1000" b="1" spc="-5">
                <a:solidFill>
                  <a:srgbClr val="FFFFFF"/>
                </a:solidFill>
                <a:latin typeface="Verdana"/>
                <a:cs typeface="Verdana"/>
              </a:rPr>
              <a:t>Group  </a:t>
            </a:r>
            <a:r>
              <a:rPr sz="1000" b="1" spc="-15">
                <a:solidFill>
                  <a:srgbClr val="FFFFFF"/>
                </a:solidFill>
                <a:latin typeface="Verdana"/>
                <a:cs typeface="Verdana"/>
              </a:rPr>
              <a:t>A</a:t>
            </a:r>
            <a:r>
              <a:rPr sz="1000" b="1" spc="-5">
                <a:solidFill>
                  <a:srgbClr val="FFFFFF"/>
                </a:solidFill>
                <a:latin typeface="Verdana"/>
                <a:cs typeface="Verdana"/>
              </a:rPr>
              <a:t>tt</a:t>
            </a:r>
            <a:r>
              <a:rPr sz="1000" b="1" spc="-10">
                <a:solidFill>
                  <a:srgbClr val="FFFFFF"/>
                </a:solidFill>
                <a:latin typeface="Verdana"/>
                <a:cs typeface="Verdana"/>
              </a:rPr>
              <a:t>ributi  </a:t>
            </a:r>
            <a:r>
              <a:rPr sz="1000" b="1" spc="-5">
                <a:solidFill>
                  <a:srgbClr val="FFFFFF"/>
                </a:solidFill>
                <a:latin typeface="Verdana"/>
                <a:cs typeface="Verdana"/>
              </a:rPr>
              <a:t>on to  </a:t>
            </a:r>
            <a:r>
              <a:rPr sz="1000" b="1" spc="-10">
                <a:solidFill>
                  <a:srgbClr val="FFFFFF"/>
                </a:solidFill>
                <a:latin typeface="Verdana"/>
                <a:cs typeface="Verdana"/>
              </a:rPr>
              <a:t>Course  </a:t>
            </a:r>
            <a:r>
              <a:rPr sz="1000" b="1" spc="-5">
                <a:solidFill>
                  <a:srgbClr val="FFFFFF"/>
                </a:solidFill>
                <a:latin typeface="Verdana"/>
                <a:cs typeface="Verdana"/>
              </a:rPr>
              <a:t>M</a:t>
            </a:r>
            <a:r>
              <a:rPr sz="1000" b="1" spc="-10">
                <a:solidFill>
                  <a:srgbClr val="FFFFFF"/>
                </a:solidFill>
                <a:latin typeface="Verdana"/>
                <a:cs typeface="Verdana"/>
              </a:rPr>
              <a:t>app</a:t>
            </a:r>
            <a:r>
              <a:rPr sz="1000" b="1" spc="-15">
                <a:solidFill>
                  <a:srgbClr val="FFFFFF"/>
                </a:solidFill>
                <a:latin typeface="Verdana"/>
                <a:cs typeface="Verdana"/>
              </a:rPr>
              <a:t>i</a:t>
            </a:r>
            <a:r>
              <a:rPr sz="1000" b="1" spc="-10">
                <a:solidFill>
                  <a:srgbClr val="FFFFFF"/>
                </a:solidFill>
                <a:latin typeface="Verdana"/>
                <a:cs typeface="Verdana"/>
              </a:rPr>
              <a:t>ng</a:t>
            </a:r>
            <a:endParaRPr sz="1000">
              <a:latin typeface="Verdana"/>
              <a:cs typeface="Verdana"/>
            </a:endParaRPr>
          </a:p>
        </p:txBody>
      </p:sp>
      <p:sp>
        <p:nvSpPr>
          <p:cNvPr id="30" name="object 30"/>
          <p:cNvSpPr/>
          <p:nvPr/>
        </p:nvSpPr>
        <p:spPr>
          <a:xfrm>
            <a:off x="6167628" y="5753100"/>
            <a:ext cx="1781810" cy="631190"/>
          </a:xfrm>
          <a:custGeom>
            <a:avLst/>
            <a:gdLst/>
            <a:ahLst/>
            <a:cxnLst/>
            <a:rect l="l" t="t" r="r" b="b"/>
            <a:pathLst>
              <a:path w="1781809" h="631189">
                <a:moveTo>
                  <a:pt x="0" y="630936"/>
                </a:moveTo>
                <a:lnTo>
                  <a:pt x="1781555" y="630936"/>
                </a:lnTo>
                <a:lnTo>
                  <a:pt x="1781555" y="0"/>
                </a:lnTo>
                <a:lnTo>
                  <a:pt x="0" y="0"/>
                </a:lnTo>
                <a:lnTo>
                  <a:pt x="0" y="630936"/>
                </a:lnTo>
                <a:close/>
              </a:path>
            </a:pathLst>
          </a:custGeom>
          <a:solidFill>
            <a:srgbClr val="006FAC"/>
          </a:solidFill>
        </p:spPr>
        <p:txBody>
          <a:bodyPr wrap="square" lIns="0" tIns="0" rIns="0" bIns="0" rtlCol="0"/>
          <a:lstStyle/>
          <a:p>
            <a:endParaRPr/>
          </a:p>
        </p:txBody>
      </p:sp>
      <p:sp>
        <p:nvSpPr>
          <p:cNvPr id="31" name="object 31"/>
          <p:cNvSpPr txBox="1"/>
          <p:nvPr/>
        </p:nvSpPr>
        <p:spPr>
          <a:xfrm>
            <a:off x="6711188" y="5904991"/>
            <a:ext cx="695325" cy="330200"/>
          </a:xfrm>
          <a:prstGeom prst="rect">
            <a:avLst/>
          </a:prstGeom>
        </p:spPr>
        <p:txBody>
          <a:bodyPr vert="horz" wrap="square" lIns="0" tIns="12065" rIns="0" bIns="0" rtlCol="0">
            <a:spAutoFit/>
          </a:bodyPr>
          <a:lstStyle/>
          <a:p>
            <a:pPr marL="32384" marR="5080" indent="-20320">
              <a:lnSpc>
                <a:spcPct val="100000"/>
              </a:lnSpc>
              <a:spcBef>
                <a:spcPts val="95"/>
              </a:spcBef>
            </a:pPr>
            <a:r>
              <a:rPr sz="1000" b="1" spc="-10">
                <a:solidFill>
                  <a:srgbClr val="FFFFFF"/>
                </a:solidFill>
                <a:latin typeface="Verdana"/>
                <a:cs typeface="Verdana"/>
              </a:rPr>
              <a:t>Review</a:t>
            </a:r>
            <a:r>
              <a:rPr sz="1000" b="1" spc="-65">
                <a:solidFill>
                  <a:srgbClr val="FFFFFF"/>
                </a:solidFill>
                <a:latin typeface="Verdana"/>
                <a:cs typeface="Verdana"/>
              </a:rPr>
              <a:t> </a:t>
            </a:r>
            <a:r>
              <a:rPr sz="1000" b="1" spc="-5">
                <a:solidFill>
                  <a:srgbClr val="FFFFFF"/>
                </a:solidFill>
                <a:latin typeface="Verdana"/>
                <a:cs typeface="Verdana"/>
              </a:rPr>
              <a:t>&amp;  </a:t>
            </a:r>
            <a:r>
              <a:rPr sz="1000" b="1" spc="-10">
                <a:solidFill>
                  <a:srgbClr val="FFFFFF"/>
                </a:solidFill>
                <a:latin typeface="Verdana"/>
                <a:cs typeface="Verdana"/>
              </a:rPr>
              <a:t>Approval</a:t>
            </a:r>
            <a:endParaRPr sz="1000">
              <a:latin typeface="Verdana"/>
              <a:cs typeface="Verdana"/>
            </a:endParaRPr>
          </a:p>
        </p:txBody>
      </p:sp>
      <p:sp>
        <p:nvSpPr>
          <p:cNvPr id="32" name="object 32"/>
          <p:cNvSpPr/>
          <p:nvPr/>
        </p:nvSpPr>
        <p:spPr>
          <a:xfrm>
            <a:off x="4558284" y="5753100"/>
            <a:ext cx="1990725" cy="631190"/>
          </a:xfrm>
          <a:custGeom>
            <a:avLst/>
            <a:gdLst/>
            <a:ahLst/>
            <a:cxnLst/>
            <a:rect l="l" t="t" r="r" b="b"/>
            <a:pathLst>
              <a:path w="1990725" h="631189">
                <a:moveTo>
                  <a:pt x="1674876" y="0"/>
                </a:moveTo>
                <a:lnTo>
                  <a:pt x="0" y="0"/>
                </a:lnTo>
                <a:lnTo>
                  <a:pt x="0" y="630936"/>
                </a:lnTo>
                <a:lnTo>
                  <a:pt x="1674876" y="630936"/>
                </a:lnTo>
                <a:lnTo>
                  <a:pt x="1990343" y="315468"/>
                </a:lnTo>
                <a:lnTo>
                  <a:pt x="1674876" y="0"/>
                </a:lnTo>
                <a:close/>
              </a:path>
            </a:pathLst>
          </a:custGeom>
          <a:solidFill>
            <a:srgbClr val="006FAC"/>
          </a:solidFill>
        </p:spPr>
        <p:txBody>
          <a:bodyPr wrap="square" lIns="0" tIns="0" rIns="0" bIns="0" rtlCol="0"/>
          <a:lstStyle/>
          <a:p>
            <a:endParaRPr/>
          </a:p>
        </p:txBody>
      </p:sp>
      <p:sp>
        <p:nvSpPr>
          <p:cNvPr id="33" name="object 33"/>
          <p:cNvSpPr/>
          <p:nvPr/>
        </p:nvSpPr>
        <p:spPr>
          <a:xfrm>
            <a:off x="4558284" y="5753100"/>
            <a:ext cx="1990725" cy="631190"/>
          </a:xfrm>
          <a:custGeom>
            <a:avLst/>
            <a:gdLst/>
            <a:ahLst/>
            <a:cxnLst/>
            <a:rect l="l" t="t" r="r" b="b"/>
            <a:pathLst>
              <a:path w="1990725" h="631189">
                <a:moveTo>
                  <a:pt x="0" y="0"/>
                </a:moveTo>
                <a:lnTo>
                  <a:pt x="1674876" y="0"/>
                </a:lnTo>
                <a:lnTo>
                  <a:pt x="1990343" y="315468"/>
                </a:lnTo>
                <a:lnTo>
                  <a:pt x="1674876" y="630936"/>
                </a:lnTo>
                <a:lnTo>
                  <a:pt x="0" y="630936"/>
                </a:lnTo>
                <a:lnTo>
                  <a:pt x="0" y="0"/>
                </a:lnTo>
                <a:close/>
              </a:path>
            </a:pathLst>
          </a:custGeom>
          <a:ln w="12192">
            <a:solidFill>
              <a:srgbClr val="FFFFFF"/>
            </a:solidFill>
          </a:ln>
        </p:spPr>
        <p:txBody>
          <a:bodyPr wrap="square" lIns="0" tIns="0" rIns="0" bIns="0" rtlCol="0"/>
          <a:lstStyle/>
          <a:p>
            <a:endParaRPr/>
          </a:p>
        </p:txBody>
      </p:sp>
      <p:sp>
        <p:nvSpPr>
          <p:cNvPr id="34" name="object 34"/>
          <p:cNvSpPr txBox="1"/>
          <p:nvPr/>
        </p:nvSpPr>
        <p:spPr>
          <a:xfrm>
            <a:off x="4819015" y="5904991"/>
            <a:ext cx="1311910" cy="330200"/>
          </a:xfrm>
          <a:prstGeom prst="rect">
            <a:avLst/>
          </a:prstGeom>
        </p:spPr>
        <p:txBody>
          <a:bodyPr vert="horz" wrap="square" lIns="0" tIns="12065" rIns="0" bIns="0" rtlCol="0">
            <a:spAutoFit/>
          </a:bodyPr>
          <a:lstStyle/>
          <a:p>
            <a:pPr marL="186055" marR="5080" indent="-173990">
              <a:lnSpc>
                <a:spcPct val="100000"/>
              </a:lnSpc>
              <a:spcBef>
                <a:spcPts val="95"/>
              </a:spcBef>
            </a:pPr>
            <a:r>
              <a:rPr sz="1000" b="1" spc="-10">
                <a:solidFill>
                  <a:srgbClr val="FFFFFF"/>
                </a:solidFill>
                <a:latin typeface="Verdana"/>
                <a:cs typeface="Verdana"/>
              </a:rPr>
              <a:t>Training Materials  Development</a:t>
            </a:r>
            <a:endParaRPr sz="1000">
              <a:latin typeface="Verdana"/>
              <a:cs typeface="Verdana"/>
            </a:endParaRPr>
          </a:p>
        </p:txBody>
      </p:sp>
      <p:sp>
        <p:nvSpPr>
          <p:cNvPr id="35" name="object 35"/>
          <p:cNvSpPr/>
          <p:nvPr/>
        </p:nvSpPr>
        <p:spPr>
          <a:xfrm>
            <a:off x="6984492" y="4172711"/>
            <a:ext cx="2161540" cy="640080"/>
          </a:xfrm>
          <a:custGeom>
            <a:avLst/>
            <a:gdLst/>
            <a:ahLst/>
            <a:cxnLst/>
            <a:rect l="l" t="t" r="r" b="b"/>
            <a:pathLst>
              <a:path w="2161540" h="640079">
                <a:moveTo>
                  <a:pt x="2054352" y="0"/>
                </a:moveTo>
                <a:lnTo>
                  <a:pt x="106679" y="0"/>
                </a:lnTo>
                <a:lnTo>
                  <a:pt x="65150" y="8381"/>
                </a:lnTo>
                <a:lnTo>
                  <a:pt x="31241" y="31242"/>
                </a:lnTo>
                <a:lnTo>
                  <a:pt x="8381" y="65150"/>
                </a:lnTo>
                <a:lnTo>
                  <a:pt x="0" y="106680"/>
                </a:lnTo>
                <a:lnTo>
                  <a:pt x="0" y="533400"/>
                </a:lnTo>
                <a:lnTo>
                  <a:pt x="8382" y="574928"/>
                </a:lnTo>
                <a:lnTo>
                  <a:pt x="31242" y="608838"/>
                </a:lnTo>
                <a:lnTo>
                  <a:pt x="65150" y="631698"/>
                </a:lnTo>
                <a:lnTo>
                  <a:pt x="106679" y="640080"/>
                </a:lnTo>
                <a:lnTo>
                  <a:pt x="2054352" y="640080"/>
                </a:lnTo>
                <a:lnTo>
                  <a:pt x="2095881" y="631698"/>
                </a:lnTo>
                <a:lnTo>
                  <a:pt x="2129790" y="608838"/>
                </a:lnTo>
                <a:lnTo>
                  <a:pt x="2152650" y="574928"/>
                </a:lnTo>
                <a:lnTo>
                  <a:pt x="2161031" y="533400"/>
                </a:lnTo>
                <a:lnTo>
                  <a:pt x="2161031" y="106680"/>
                </a:lnTo>
                <a:lnTo>
                  <a:pt x="2152649" y="65150"/>
                </a:lnTo>
                <a:lnTo>
                  <a:pt x="2129789" y="31242"/>
                </a:lnTo>
                <a:lnTo>
                  <a:pt x="2095880" y="8381"/>
                </a:lnTo>
                <a:lnTo>
                  <a:pt x="2054352" y="0"/>
                </a:lnTo>
                <a:close/>
              </a:path>
            </a:pathLst>
          </a:custGeom>
          <a:solidFill>
            <a:srgbClr val="12ABDB"/>
          </a:solidFill>
        </p:spPr>
        <p:txBody>
          <a:bodyPr wrap="square" lIns="0" tIns="0" rIns="0" bIns="0" rtlCol="0"/>
          <a:lstStyle/>
          <a:p>
            <a:endParaRPr/>
          </a:p>
        </p:txBody>
      </p:sp>
      <p:sp>
        <p:nvSpPr>
          <p:cNvPr id="36" name="object 36"/>
          <p:cNvSpPr txBox="1"/>
          <p:nvPr/>
        </p:nvSpPr>
        <p:spPr>
          <a:xfrm>
            <a:off x="7245857" y="4328922"/>
            <a:ext cx="1638935" cy="330200"/>
          </a:xfrm>
          <a:prstGeom prst="rect">
            <a:avLst/>
          </a:prstGeom>
        </p:spPr>
        <p:txBody>
          <a:bodyPr vert="horz" wrap="square" lIns="0" tIns="12065" rIns="0" bIns="0" rtlCol="0">
            <a:spAutoFit/>
          </a:bodyPr>
          <a:lstStyle/>
          <a:p>
            <a:pPr marL="581025" marR="5080" indent="-568960">
              <a:lnSpc>
                <a:spcPct val="100000"/>
              </a:lnSpc>
              <a:spcBef>
                <a:spcPts val="95"/>
              </a:spcBef>
            </a:pPr>
            <a:r>
              <a:rPr sz="1000" b="1" spc="-10">
                <a:solidFill>
                  <a:srgbClr val="FFFFFF"/>
                </a:solidFill>
                <a:latin typeface="Verdana"/>
                <a:cs typeface="Verdana"/>
              </a:rPr>
              <a:t>Training Logistics </a:t>
            </a:r>
            <a:r>
              <a:rPr sz="1000" b="1" spc="-5">
                <a:solidFill>
                  <a:srgbClr val="FFFFFF"/>
                </a:solidFill>
                <a:latin typeface="Verdana"/>
                <a:cs typeface="Verdana"/>
              </a:rPr>
              <a:t>with  </a:t>
            </a:r>
            <a:r>
              <a:rPr sz="1000" b="1" spc="-10">
                <a:solidFill>
                  <a:srgbClr val="FFFFFF"/>
                </a:solidFill>
                <a:latin typeface="Verdana"/>
                <a:cs typeface="Verdana"/>
              </a:rPr>
              <a:t>Marelli</a:t>
            </a:r>
            <a:endParaRPr sz="1000">
              <a:latin typeface="Verdana"/>
              <a:cs typeface="Verdana"/>
            </a:endParaRPr>
          </a:p>
        </p:txBody>
      </p:sp>
      <p:sp>
        <p:nvSpPr>
          <p:cNvPr id="37" name="object 37"/>
          <p:cNvSpPr/>
          <p:nvPr/>
        </p:nvSpPr>
        <p:spPr>
          <a:xfrm>
            <a:off x="6984492" y="4925567"/>
            <a:ext cx="965200" cy="676910"/>
          </a:xfrm>
          <a:custGeom>
            <a:avLst/>
            <a:gdLst/>
            <a:ahLst/>
            <a:cxnLst/>
            <a:rect l="l" t="t" r="r" b="b"/>
            <a:pathLst>
              <a:path w="965200" h="676910">
                <a:moveTo>
                  <a:pt x="851915" y="0"/>
                </a:moveTo>
                <a:lnTo>
                  <a:pt x="112775" y="0"/>
                </a:lnTo>
                <a:lnTo>
                  <a:pt x="68901" y="8870"/>
                </a:lnTo>
                <a:lnTo>
                  <a:pt x="33051" y="33051"/>
                </a:lnTo>
                <a:lnTo>
                  <a:pt x="8870" y="68901"/>
                </a:lnTo>
                <a:lnTo>
                  <a:pt x="0" y="112775"/>
                </a:lnTo>
                <a:lnTo>
                  <a:pt x="0" y="563879"/>
                </a:lnTo>
                <a:lnTo>
                  <a:pt x="8870" y="607754"/>
                </a:lnTo>
                <a:lnTo>
                  <a:pt x="33051" y="643604"/>
                </a:lnTo>
                <a:lnTo>
                  <a:pt x="68901" y="667785"/>
                </a:lnTo>
                <a:lnTo>
                  <a:pt x="112775" y="676655"/>
                </a:lnTo>
                <a:lnTo>
                  <a:pt x="851915" y="676655"/>
                </a:lnTo>
                <a:lnTo>
                  <a:pt x="895790" y="667785"/>
                </a:lnTo>
                <a:lnTo>
                  <a:pt x="931640" y="643604"/>
                </a:lnTo>
                <a:lnTo>
                  <a:pt x="955821" y="607754"/>
                </a:lnTo>
                <a:lnTo>
                  <a:pt x="964691" y="563879"/>
                </a:lnTo>
                <a:lnTo>
                  <a:pt x="964691" y="112775"/>
                </a:lnTo>
                <a:lnTo>
                  <a:pt x="955821" y="68901"/>
                </a:lnTo>
                <a:lnTo>
                  <a:pt x="931640" y="33051"/>
                </a:lnTo>
                <a:lnTo>
                  <a:pt x="895790" y="8870"/>
                </a:lnTo>
                <a:lnTo>
                  <a:pt x="851915" y="0"/>
                </a:lnTo>
                <a:close/>
              </a:path>
            </a:pathLst>
          </a:custGeom>
          <a:solidFill>
            <a:srgbClr val="12ABDB"/>
          </a:solidFill>
        </p:spPr>
        <p:txBody>
          <a:bodyPr wrap="square" lIns="0" tIns="0" rIns="0" bIns="0" rtlCol="0"/>
          <a:lstStyle/>
          <a:p>
            <a:endParaRPr/>
          </a:p>
        </p:txBody>
      </p:sp>
      <p:sp>
        <p:nvSpPr>
          <p:cNvPr id="38" name="object 38"/>
          <p:cNvSpPr txBox="1"/>
          <p:nvPr/>
        </p:nvSpPr>
        <p:spPr>
          <a:xfrm>
            <a:off x="7141844" y="5023230"/>
            <a:ext cx="654050" cy="482600"/>
          </a:xfrm>
          <a:prstGeom prst="rect">
            <a:avLst/>
          </a:prstGeom>
        </p:spPr>
        <p:txBody>
          <a:bodyPr vert="horz" wrap="square" lIns="0" tIns="12065" rIns="0" bIns="0" rtlCol="0">
            <a:spAutoFit/>
          </a:bodyPr>
          <a:lstStyle/>
          <a:p>
            <a:pPr marL="12065" marR="5080" algn="ctr">
              <a:lnSpc>
                <a:spcPct val="100000"/>
              </a:lnSpc>
              <a:spcBef>
                <a:spcPts val="95"/>
              </a:spcBef>
            </a:pPr>
            <a:r>
              <a:rPr sz="1000" b="1" spc="-5">
                <a:solidFill>
                  <a:srgbClr val="FFFFFF"/>
                </a:solidFill>
                <a:latin typeface="Verdana"/>
                <a:cs typeface="Verdana"/>
              </a:rPr>
              <a:t>Key</a:t>
            </a:r>
            <a:r>
              <a:rPr sz="1000" b="1" spc="-75">
                <a:solidFill>
                  <a:srgbClr val="FFFFFF"/>
                </a:solidFill>
                <a:latin typeface="Verdana"/>
                <a:cs typeface="Verdana"/>
              </a:rPr>
              <a:t> </a:t>
            </a:r>
            <a:r>
              <a:rPr sz="1000" b="1" spc="-10">
                <a:solidFill>
                  <a:srgbClr val="FFFFFF"/>
                </a:solidFill>
                <a:latin typeface="Verdana"/>
                <a:cs typeface="Verdana"/>
              </a:rPr>
              <a:t>user  Id</a:t>
            </a:r>
            <a:r>
              <a:rPr sz="1000" b="1" spc="-15">
                <a:solidFill>
                  <a:srgbClr val="FFFFFF"/>
                </a:solidFill>
                <a:latin typeface="Verdana"/>
                <a:cs typeface="Verdana"/>
              </a:rPr>
              <a:t>e</a:t>
            </a:r>
            <a:r>
              <a:rPr sz="1000" b="1" spc="-10">
                <a:solidFill>
                  <a:srgbClr val="FFFFFF"/>
                </a:solidFill>
                <a:latin typeface="Verdana"/>
                <a:cs typeface="Verdana"/>
              </a:rPr>
              <a:t>nt</a:t>
            </a:r>
            <a:r>
              <a:rPr sz="1000" b="1" spc="-15">
                <a:solidFill>
                  <a:srgbClr val="FFFFFF"/>
                </a:solidFill>
                <a:latin typeface="Verdana"/>
                <a:cs typeface="Verdana"/>
              </a:rPr>
              <a:t>i</a:t>
            </a:r>
            <a:r>
              <a:rPr sz="1000" b="1" spc="-10">
                <a:solidFill>
                  <a:srgbClr val="FFFFFF"/>
                </a:solidFill>
                <a:latin typeface="Verdana"/>
                <a:cs typeface="Verdana"/>
              </a:rPr>
              <a:t>f</a:t>
            </a:r>
            <a:r>
              <a:rPr sz="1000" b="1" spc="-5">
                <a:solidFill>
                  <a:srgbClr val="FFFFFF"/>
                </a:solidFill>
                <a:latin typeface="Verdana"/>
                <a:cs typeface="Verdana"/>
              </a:rPr>
              <a:t>y-  </a:t>
            </a:r>
            <a:r>
              <a:rPr sz="1000" b="1" spc="-10">
                <a:solidFill>
                  <a:srgbClr val="FFFFFF"/>
                </a:solidFill>
                <a:latin typeface="Verdana"/>
                <a:cs typeface="Verdana"/>
              </a:rPr>
              <a:t>cation</a:t>
            </a:r>
            <a:endParaRPr sz="1000">
              <a:latin typeface="Verdana"/>
              <a:cs typeface="Verdana"/>
            </a:endParaRPr>
          </a:p>
        </p:txBody>
      </p:sp>
      <p:sp>
        <p:nvSpPr>
          <p:cNvPr id="39" name="object 39"/>
          <p:cNvSpPr/>
          <p:nvPr/>
        </p:nvSpPr>
        <p:spPr>
          <a:xfrm>
            <a:off x="9294876" y="4163567"/>
            <a:ext cx="1068705" cy="2190115"/>
          </a:xfrm>
          <a:custGeom>
            <a:avLst/>
            <a:gdLst/>
            <a:ahLst/>
            <a:cxnLst/>
            <a:rect l="l" t="t" r="r" b="b"/>
            <a:pathLst>
              <a:path w="1068704" h="2190115">
                <a:moveTo>
                  <a:pt x="890270" y="0"/>
                </a:moveTo>
                <a:lnTo>
                  <a:pt x="178053" y="0"/>
                </a:lnTo>
                <a:lnTo>
                  <a:pt x="130733" y="6362"/>
                </a:lnTo>
                <a:lnTo>
                  <a:pt x="88203" y="24318"/>
                </a:lnTo>
                <a:lnTo>
                  <a:pt x="52165" y="52165"/>
                </a:lnTo>
                <a:lnTo>
                  <a:pt x="24318" y="88203"/>
                </a:lnTo>
                <a:lnTo>
                  <a:pt x="6362" y="130733"/>
                </a:lnTo>
                <a:lnTo>
                  <a:pt x="0" y="178053"/>
                </a:lnTo>
                <a:lnTo>
                  <a:pt x="0" y="2011933"/>
                </a:lnTo>
                <a:lnTo>
                  <a:pt x="6362" y="2059267"/>
                </a:lnTo>
                <a:lnTo>
                  <a:pt x="24318" y="2101801"/>
                </a:lnTo>
                <a:lnTo>
                  <a:pt x="52165" y="2137837"/>
                </a:lnTo>
                <a:lnTo>
                  <a:pt x="88203" y="2165678"/>
                </a:lnTo>
                <a:lnTo>
                  <a:pt x="130733" y="2183627"/>
                </a:lnTo>
                <a:lnTo>
                  <a:pt x="178053" y="2189987"/>
                </a:lnTo>
                <a:lnTo>
                  <a:pt x="890270" y="2189987"/>
                </a:lnTo>
                <a:lnTo>
                  <a:pt x="937590" y="2183627"/>
                </a:lnTo>
                <a:lnTo>
                  <a:pt x="980120" y="2165678"/>
                </a:lnTo>
                <a:lnTo>
                  <a:pt x="1016158" y="2137837"/>
                </a:lnTo>
                <a:lnTo>
                  <a:pt x="1044005" y="2101801"/>
                </a:lnTo>
                <a:lnTo>
                  <a:pt x="1061961" y="2059267"/>
                </a:lnTo>
                <a:lnTo>
                  <a:pt x="1068324" y="2011933"/>
                </a:lnTo>
                <a:lnTo>
                  <a:pt x="1068324" y="178053"/>
                </a:lnTo>
                <a:lnTo>
                  <a:pt x="1061961" y="130733"/>
                </a:lnTo>
                <a:lnTo>
                  <a:pt x="1044005" y="88203"/>
                </a:lnTo>
                <a:lnTo>
                  <a:pt x="1016158" y="52165"/>
                </a:lnTo>
                <a:lnTo>
                  <a:pt x="980120" y="24318"/>
                </a:lnTo>
                <a:lnTo>
                  <a:pt x="937590" y="6362"/>
                </a:lnTo>
                <a:lnTo>
                  <a:pt x="890270" y="0"/>
                </a:lnTo>
                <a:close/>
              </a:path>
            </a:pathLst>
          </a:custGeom>
          <a:solidFill>
            <a:srgbClr val="E2001F"/>
          </a:solidFill>
        </p:spPr>
        <p:txBody>
          <a:bodyPr wrap="square" lIns="0" tIns="0" rIns="0" bIns="0" rtlCol="0"/>
          <a:lstStyle/>
          <a:p>
            <a:endParaRPr/>
          </a:p>
        </p:txBody>
      </p:sp>
      <p:sp>
        <p:nvSpPr>
          <p:cNvPr id="40" name="object 40"/>
          <p:cNvSpPr txBox="1"/>
          <p:nvPr/>
        </p:nvSpPr>
        <p:spPr>
          <a:xfrm>
            <a:off x="9435210" y="4942459"/>
            <a:ext cx="787400" cy="635000"/>
          </a:xfrm>
          <a:prstGeom prst="rect">
            <a:avLst/>
          </a:prstGeom>
        </p:spPr>
        <p:txBody>
          <a:bodyPr vert="horz" wrap="square" lIns="0" tIns="12065" rIns="0" bIns="0" rtlCol="0">
            <a:spAutoFit/>
          </a:bodyPr>
          <a:lstStyle/>
          <a:p>
            <a:pPr marL="12065" marR="5080" indent="1270" algn="ctr">
              <a:lnSpc>
                <a:spcPct val="100000"/>
              </a:lnSpc>
              <a:spcBef>
                <a:spcPts val="95"/>
              </a:spcBef>
            </a:pPr>
            <a:r>
              <a:rPr sz="1000" b="1" spc="-5">
                <a:solidFill>
                  <a:srgbClr val="FFFFFF"/>
                </a:solidFill>
                <a:latin typeface="Verdana"/>
                <a:cs typeface="Verdana"/>
              </a:rPr>
              <a:t>End </a:t>
            </a:r>
            <a:r>
              <a:rPr sz="1000" b="1" spc="-10">
                <a:solidFill>
                  <a:srgbClr val="FFFFFF"/>
                </a:solidFill>
                <a:latin typeface="Verdana"/>
                <a:cs typeface="Verdana"/>
              </a:rPr>
              <a:t>User  training  (De</a:t>
            </a:r>
            <a:r>
              <a:rPr sz="1000" b="1" spc="-15">
                <a:solidFill>
                  <a:srgbClr val="FFFFFF"/>
                </a:solidFill>
                <a:latin typeface="Verdana"/>
                <a:cs typeface="Verdana"/>
              </a:rPr>
              <a:t>l</a:t>
            </a:r>
            <a:r>
              <a:rPr sz="1000" b="1" spc="-10">
                <a:solidFill>
                  <a:srgbClr val="FFFFFF"/>
                </a:solidFill>
                <a:latin typeface="Verdana"/>
                <a:cs typeface="Verdana"/>
              </a:rPr>
              <a:t>i</a:t>
            </a:r>
            <a:r>
              <a:rPr sz="1000" b="1" spc="-5">
                <a:solidFill>
                  <a:srgbClr val="FFFFFF"/>
                </a:solidFill>
                <a:latin typeface="Verdana"/>
                <a:cs typeface="Verdana"/>
              </a:rPr>
              <a:t>ve</a:t>
            </a:r>
            <a:r>
              <a:rPr sz="1000" b="1" spc="-10">
                <a:solidFill>
                  <a:srgbClr val="FFFFFF"/>
                </a:solidFill>
                <a:latin typeface="Verdana"/>
                <a:cs typeface="Verdana"/>
              </a:rPr>
              <a:t>red  by</a:t>
            </a:r>
            <a:r>
              <a:rPr sz="1000" b="1" spc="-60">
                <a:solidFill>
                  <a:srgbClr val="FFFFFF"/>
                </a:solidFill>
                <a:latin typeface="Verdana"/>
                <a:cs typeface="Verdana"/>
              </a:rPr>
              <a:t> </a:t>
            </a:r>
            <a:r>
              <a:rPr sz="1000" b="1" spc="-10">
                <a:solidFill>
                  <a:srgbClr val="FFFFFF"/>
                </a:solidFill>
                <a:latin typeface="Verdana"/>
                <a:cs typeface="Verdana"/>
              </a:rPr>
              <a:t>Marelli)</a:t>
            </a:r>
            <a:endParaRPr sz="1000">
              <a:latin typeface="Verdana"/>
              <a:cs typeface="Verdana"/>
            </a:endParaRPr>
          </a:p>
        </p:txBody>
      </p:sp>
      <p:sp>
        <p:nvSpPr>
          <p:cNvPr id="41" name="object 41"/>
          <p:cNvSpPr/>
          <p:nvPr/>
        </p:nvSpPr>
        <p:spPr>
          <a:xfrm>
            <a:off x="10538459" y="4172711"/>
            <a:ext cx="1239520" cy="640080"/>
          </a:xfrm>
          <a:custGeom>
            <a:avLst/>
            <a:gdLst/>
            <a:ahLst/>
            <a:cxnLst/>
            <a:rect l="l" t="t" r="r" b="b"/>
            <a:pathLst>
              <a:path w="1239520" h="640079">
                <a:moveTo>
                  <a:pt x="1132332" y="0"/>
                </a:moveTo>
                <a:lnTo>
                  <a:pt x="106680" y="0"/>
                </a:lnTo>
                <a:lnTo>
                  <a:pt x="65150" y="8381"/>
                </a:lnTo>
                <a:lnTo>
                  <a:pt x="31241" y="31242"/>
                </a:lnTo>
                <a:lnTo>
                  <a:pt x="8381" y="65150"/>
                </a:lnTo>
                <a:lnTo>
                  <a:pt x="0" y="106680"/>
                </a:lnTo>
                <a:lnTo>
                  <a:pt x="0" y="533400"/>
                </a:lnTo>
                <a:lnTo>
                  <a:pt x="8381" y="574928"/>
                </a:lnTo>
                <a:lnTo>
                  <a:pt x="31241" y="608838"/>
                </a:lnTo>
                <a:lnTo>
                  <a:pt x="65150" y="631698"/>
                </a:lnTo>
                <a:lnTo>
                  <a:pt x="106680" y="640080"/>
                </a:lnTo>
                <a:lnTo>
                  <a:pt x="1132332" y="640080"/>
                </a:lnTo>
                <a:lnTo>
                  <a:pt x="1173861" y="631698"/>
                </a:lnTo>
                <a:lnTo>
                  <a:pt x="1207770" y="608838"/>
                </a:lnTo>
                <a:lnTo>
                  <a:pt x="1230630" y="574928"/>
                </a:lnTo>
                <a:lnTo>
                  <a:pt x="1239012" y="533400"/>
                </a:lnTo>
                <a:lnTo>
                  <a:pt x="1239012" y="106680"/>
                </a:lnTo>
                <a:lnTo>
                  <a:pt x="1230629" y="65150"/>
                </a:lnTo>
                <a:lnTo>
                  <a:pt x="1207770" y="31242"/>
                </a:lnTo>
                <a:lnTo>
                  <a:pt x="1173861" y="8381"/>
                </a:lnTo>
                <a:lnTo>
                  <a:pt x="1132332" y="0"/>
                </a:lnTo>
                <a:close/>
              </a:path>
            </a:pathLst>
          </a:custGeom>
          <a:solidFill>
            <a:srgbClr val="E2001F">
              <a:alpha val="34901"/>
            </a:srgbClr>
          </a:solidFill>
        </p:spPr>
        <p:txBody>
          <a:bodyPr wrap="square" lIns="0" tIns="0" rIns="0" bIns="0" rtlCol="0"/>
          <a:lstStyle/>
          <a:p>
            <a:endParaRPr/>
          </a:p>
        </p:txBody>
      </p:sp>
      <p:sp>
        <p:nvSpPr>
          <p:cNvPr id="42" name="object 42"/>
          <p:cNvSpPr txBox="1"/>
          <p:nvPr/>
        </p:nvSpPr>
        <p:spPr>
          <a:xfrm>
            <a:off x="10777219" y="4328922"/>
            <a:ext cx="763270" cy="330200"/>
          </a:xfrm>
          <a:prstGeom prst="rect">
            <a:avLst/>
          </a:prstGeom>
        </p:spPr>
        <p:txBody>
          <a:bodyPr vert="horz" wrap="square" lIns="0" tIns="12065" rIns="0" bIns="0" rtlCol="0">
            <a:spAutoFit/>
          </a:bodyPr>
          <a:lstStyle/>
          <a:p>
            <a:pPr marL="102235" marR="5080" indent="-90170">
              <a:lnSpc>
                <a:spcPct val="100000"/>
              </a:lnSpc>
              <a:spcBef>
                <a:spcPts val="95"/>
              </a:spcBef>
            </a:pPr>
            <a:r>
              <a:rPr sz="1000" b="1" spc="-5">
                <a:solidFill>
                  <a:srgbClr val="FFFFFF"/>
                </a:solidFill>
                <a:latin typeface="Verdana"/>
                <a:cs typeface="Verdana"/>
              </a:rPr>
              <a:t>C</a:t>
            </a:r>
            <a:r>
              <a:rPr sz="1000" b="1" spc="-15">
                <a:solidFill>
                  <a:srgbClr val="FFFFFF"/>
                </a:solidFill>
                <a:latin typeface="Verdana"/>
                <a:cs typeface="Verdana"/>
              </a:rPr>
              <a:t>l</a:t>
            </a:r>
            <a:r>
              <a:rPr sz="1000" b="1" spc="-10">
                <a:solidFill>
                  <a:srgbClr val="FFFFFF"/>
                </a:solidFill>
                <a:latin typeface="Verdana"/>
                <a:cs typeface="Verdana"/>
              </a:rPr>
              <a:t>as</a:t>
            </a:r>
            <a:r>
              <a:rPr sz="1000" b="1" spc="-15">
                <a:solidFill>
                  <a:srgbClr val="FFFFFF"/>
                </a:solidFill>
                <a:latin typeface="Verdana"/>
                <a:cs typeface="Verdana"/>
              </a:rPr>
              <a:t>s</a:t>
            </a:r>
            <a:r>
              <a:rPr sz="1000" b="1" spc="-10">
                <a:solidFill>
                  <a:srgbClr val="FFFFFF"/>
                </a:solidFill>
                <a:latin typeface="Verdana"/>
                <a:cs typeface="Verdana"/>
              </a:rPr>
              <a:t>r</a:t>
            </a:r>
            <a:r>
              <a:rPr sz="1000" b="1" spc="-5">
                <a:solidFill>
                  <a:srgbClr val="FFFFFF"/>
                </a:solidFill>
                <a:latin typeface="Verdana"/>
                <a:cs typeface="Verdana"/>
              </a:rPr>
              <a:t>oom  </a:t>
            </a:r>
            <a:r>
              <a:rPr sz="1000" b="1" spc="-10">
                <a:solidFill>
                  <a:srgbClr val="FFFFFF"/>
                </a:solidFill>
                <a:latin typeface="Verdana"/>
                <a:cs typeface="Verdana"/>
              </a:rPr>
              <a:t>training</a:t>
            </a:r>
            <a:endParaRPr sz="1000">
              <a:latin typeface="Verdana"/>
              <a:cs typeface="Verdana"/>
            </a:endParaRPr>
          </a:p>
        </p:txBody>
      </p:sp>
      <p:sp>
        <p:nvSpPr>
          <p:cNvPr id="43" name="object 43"/>
          <p:cNvSpPr/>
          <p:nvPr/>
        </p:nvSpPr>
        <p:spPr>
          <a:xfrm>
            <a:off x="10538459" y="4969764"/>
            <a:ext cx="1239520" cy="640080"/>
          </a:xfrm>
          <a:custGeom>
            <a:avLst/>
            <a:gdLst/>
            <a:ahLst/>
            <a:cxnLst/>
            <a:rect l="l" t="t" r="r" b="b"/>
            <a:pathLst>
              <a:path w="1239520" h="640079">
                <a:moveTo>
                  <a:pt x="1132332" y="0"/>
                </a:moveTo>
                <a:lnTo>
                  <a:pt x="106680" y="0"/>
                </a:lnTo>
                <a:lnTo>
                  <a:pt x="65150" y="8381"/>
                </a:lnTo>
                <a:lnTo>
                  <a:pt x="31241" y="31242"/>
                </a:lnTo>
                <a:lnTo>
                  <a:pt x="8381" y="65151"/>
                </a:lnTo>
                <a:lnTo>
                  <a:pt x="0" y="106680"/>
                </a:lnTo>
                <a:lnTo>
                  <a:pt x="0" y="533400"/>
                </a:lnTo>
                <a:lnTo>
                  <a:pt x="8381" y="574929"/>
                </a:lnTo>
                <a:lnTo>
                  <a:pt x="31241" y="608838"/>
                </a:lnTo>
                <a:lnTo>
                  <a:pt x="65150" y="631698"/>
                </a:lnTo>
                <a:lnTo>
                  <a:pt x="106680" y="640080"/>
                </a:lnTo>
                <a:lnTo>
                  <a:pt x="1132332" y="640080"/>
                </a:lnTo>
                <a:lnTo>
                  <a:pt x="1173861" y="631698"/>
                </a:lnTo>
                <a:lnTo>
                  <a:pt x="1207770" y="608838"/>
                </a:lnTo>
                <a:lnTo>
                  <a:pt x="1230630" y="574929"/>
                </a:lnTo>
                <a:lnTo>
                  <a:pt x="1239012" y="533400"/>
                </a:lnTo>
                <a:lnTo>
                  <a:pt x="1239012" y="106680"/>
                </a:lnTo>
                <a:lnTo>
                  <a:pt x="1230629" y="65151"/>
                </a:lnTo>
                <a:lnTo>
                  <a:pt x="1207770" y="31242"/>
                </a:lnTo>
                <a:lnTo>
                  <a:pt x="1173861" y="8381"/>
                </a:lnTo>
                <a:lnTo>
                  <a:pt x="1132332" y="0"/>
                </a:lnTo>
                <a:close/>
              </a:path>
            </a:pathLst>
          </a:custGeom>
          <a:solidFill>
            <a:srgbClr val="E2001F">
              <a:alpha val="34901"/>
            </a:srgbClr>
          </a:solidFill>
        </p:spPr>
        <p:txBody>
          <a:bodyPr wrap="square" lIns="0" tIns="0" rIns="0" bIns="0" rtlCol="0"/>
          <a:lstStyle/>
          <a:p>
            <a:endParaRPr/>
          </a:p>
        </p:txBody>
      </p:sp>
      <p:sp>
        <p:nvSpPr>
          <p:cNvPr id="44" name="object 44"/>
          <p:cNvSpPr txBox="1"/>
          <p:nvPr/>
        </p:nvSpPr>
        <p:spPr>
          <a:xfrm>
            <a:off x="10882376" y="5126227"/>
            <a:ext cx="553720" cy="330200"/>
          </a:xfrm>
          <a:prstGeom prst="rect">
            <a:avLst/>
          </a:prstGeom>
        </p:spPr>
        <p:txBody>
          <a:bodyPr vert="horz" wrap="square" lIns="0" tIns="12065" rIns="0" bIns="0" rtlCol="0">
            <a:spAutoFit/>
          </a:bodyPr>
          <a:lstStyle/>
          <a:p>
            <a:pPr marL="38100">
              <a:lnSpc>
                <a:spcPct val="100000"/>
              </a:lnSpc>
              <a:spcBef>
                <a:spcPts val="95"/>
              </a:spcBef>
            </a:pPr>
            <a:r>
              <a:rPr sz="1000" b="1" spc="-5">
                <a:solidFill>
                  <a:srgbClr val="FFFFFF"/>
                </a:solidFill>
                <a:latin typeface="Verdana"/>
                <a:cs typeface="Verdana"/>
              </a:rPr>
              <a:t>Virtual</a:t>
            </a:r>
            <a:endParaRPr sz="1000">
              <a:latin typeface="Verdana"/>
              <a:cs typeface="Verdana"/>
            </a:endParaRPr>
          </a:p>
          <a:p>
            <a:pPr marL="12700">
              <a:lnSpc>
                <a:spcPct val="100000"/>
              </a:lnSpc>
            </a:pPr>
            <a:r>
              <a:rPr sz="1000" b="1" spc="-10">
                <a:solidFill>
                  <a:srgbClr val="FFFFFF"/>
                </a:solidFill>
                <a:latin typeface="Verdana"/>
                <a:cs typeface="Verdana"/>
              </a:rPr>
              <a:t>session</a:t>
            </a:r>
            <a:endParaRPr sz="1000">
              <a:latin typeface="Verdana"/>
              <a:cs typeface="Verdana"/>
            </a:endParaRPr>
          </a:p>
        </p:txBody>
      </p:sp>
      <p:sp>
        <p:nvSpPr>
          <p:cNvPr id="45" name="object 45"/>
          <p:cNvSpPr/>
          <p:nvPr/>
        </p:nvSpPr>
        <p:spPr>
          <a:xfrm>
            <a:off x="10538459" y="5715000"/>
            <a:ext cx="1239520" cy="640080"/>
          </a:xfrm>
          <a:custGeom>
            <a:avLst/>
            <a:gdLst/>
            <a:ahLst/>
            <a:cxnLst/>
            <a:rect l="l" t="t" r="r" b="b"/>
            <a:pathLst>
              <a:path w="1239520" h="640079">
                <a:moveTo>
                  <a:pt x="1132332" y="0"/>
                </a:moveTo>
                <a:lnTo>
                  <a:pt x="106680" y="0"/>
                </a:lnTo>
                <a:lnTo>
                  <a:pt x="65150" y="8383"/>
                </a:lnTo>
                <a:lnTo>
                  <a:pt x="31241" y="31246"/>
                </a:lnTo>
                <a:lnTo>
                  <a:pt x="8381" y="65156"/>
                </a:lnTo>
                <a:lnTo>
                  <a:pt x="0" y="106680"/>
                </a:lnTo>
                <a:lnTo>
                  <a:pt x="0" y="533400"/>
                </a:lnTo>
                <a:lnTo>
                  <a:pt x="8381" y="574923"/>
                </a:lnTo>
                <a:lnTo>
                  <a:pt x="31241" y="608833"/>
                </a:lnTo>
                <a:lnTo>
                  <a:pt x="65150" y="631696"/>
                </a:lnTo>
                <a:lnTo>
                  <a:pt x="106680" y="640080"/>
                </a:lnTo>
                <a:lnTo>
                  <a:pt x="1132332" y="640080"/>
                </a:lnTo>
                <a:lnTo>
                  <a:pt x="1173861" y="631696"/>
                </a:lnTo>
                <a:lnTo>
                  <a:pt x="1207770" y="608833"/>
                </a:lnTo>
                <a:lnTo>
                  <a:pt x="1230630" y="574923"/>
                </a:lnTo>
                <a:lnTo>
                  <a:pt x="1239012" y="533400"/>
                </a:lnTo>
                <a:lnTo>
                  <a:pt x="1239012" y="106680"/>
                </a:lnTo>
                <a:lnTo>
                  <a:pt x="1230629" y="65156"/>
                </a:lnTo>
                <a:lnTo>
                  <a:pt x="1207770" y="31246"/>
                </a:lnTo>
                <a:lnTo>
                  <a:pt x="1173861" y="8383"/>
                </a:lnTo>
                <a:lnTo>
                  <a:pt x="1132332" y="0"/>
                </a:lnTo>
                <a:close/>
              </a:path>
            </a:pathLst>
          </a:custGeom>
          <a:solidFill>
            <a:srgbClr val="E2001F">
              <a:alpha val="34901"/>
            </a:srgbClr>
          </a:solidFill>
        </p:spPr>
        <p:txBody>
          <a:bodyPr wrap="square" lIns="0" tIns="0" rIns="0" bIns="0" rtlCol="0"/>
          <a:lstStyle/>
          <a:p>
            <a:endParaRPr/>
          </a:p>
        </p:txBody>
      </p:sp>
      <p:sp>
        <p:nvSpPr>
          <p:cNvPr id="46" name="object 46"/>
          <p:cNvSpPr txBox="1"/>
          <p:nvPr/>
        </p:nvSpPr>
        <p:spPr>
          <a:xfrm>
            <a:off x="10761980" y="5946749"/>
            <a:ext cx="79565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E-Learning</a:t>
            </a:r>
            <a:endParaRPr sz="1000">
              <a:latin typeface="Verdana"/>
              <a:cs typeface="Verdana"/>
            </a:endParaRPr>
          </a:p>
        </p:txBody>
      </p:sp>
      <p:sp>
        <p:nvSpPr>
          <p:cNvPr id="47" name="object 47"/>
          <p:cNvSpPr/>
          <p:nvPr/>
        </p:nvSpPr>
        <p:spPr>
          <a:xfrm>
            <a:off x="3115055" y="4687823"/>
            <a:ext cx="1172210" cy="410209"/>
          </a:xfrm>
          <a:custGeom>
            <a:avLst/>
            <a:gdLst/>
            <a:ahLst/>
            <a:cxnLst/>
            <a:rect l="l" t="t" r="r" b="b"/>
            <a:pathLst>
              <a:path w="1172210" h="410210">
                <a:moveTo>
                  <a:pt x="1103630" y="0"/>
                </a:moveTo>
                <a:lnTo>
                  <a:pt x="68325" y="0"/>
                </a:lnTo>
                <a:lnTo>
                  <a:pt x="41737" y="5371"/>
                </a:lnTo>
                <a:lnTo>
                  <a:pt x="20018" y="20018"/>
                </a:lnTo>
                <a:lnTo>
                  <a:pt x="5371" y="41737"/>
                </a:lnTo>
                <a:lnTo>
                  <a:pt x="0" y="68325"/>
                </a:lnTo>
                <a:lnTo>
                  <a:pt x="0" y="341630"/>
                </a:lnTo>
                <a:lnTo>
                  <a:pt x="5371" y="368218"/>
                </a:lnTo>
                <a:lnTo>
                  <a:pt x="20018" y="389937"/>
                </a:lnTo>
                <a:lnTo>
                  <a:pt x="41737" y="404584"/>
                </a:lnTo>
                <a:lnTo>
                  <a:pt x="68325" y="409956"/>
                </a:lnTo>
                <a:lnTo>
                  <a:pt x="1103630" y="409956"/>
                </a:lnTo>
                <a:lnTo>
                  <a:pt x="1130218" y="404584"/>
                </a:lnTo>
                <a:lnTo>
                  <a:pt x="1151937" y="389937"/>
                </a:lnTo>
                <a:lnTo>
                  <a:pt x="1166584" y="368218"/>
                </a:lnTo>
                <a:lnTo>
                  <a:pt x="1171956" y="341630"/>
                </a:lnTo>
                <a:lnTo>
                  <a:pt x="1171956" y="68325"/>
                </a:lnTo>
                <a:lnTo>
                  <a:pt x="1166584" y="41737"/>
                </a:lnTo>
                <a:lnTo>
                  <a:pt x="1151937" y="20018"/>
                </a:lnTo>
                <a:lnTo>
                  <a:pt x="1130218" y="5371"/>
                </a:lnTo>
                <a:lnTo>
                  <a:pt x="1103630" y="0"/>
                </a:lnTo>
                <a:close/>
              </a:path>
            </a:pathLst>
          </a:custGeom>
          <a:solidFill>
            <a:srgbClr val="A6A6A6"/>
          </a:solidFill>
        </p:spPr>
        <p:txBody>
          <a:bodyPr wrap="square" lIns="0" tIns="0" rIns="0" bIns="0" rtlCol="0"/>
          <a:lstStyle/>
          <a:p>
            <a:endParaRPr/>
          </a:p>
        </p:txBody>
      </p:sp>
      <p:sp>
        <p:nvSpPr>
          <p:cNvPr id="48" name="object 48"/>
          <p:cNvSpPr txBox="1"/>
          <p:nvPr/>
        </p:nvSpPr>
        <p:spPr>
          <a:xfrm>
            <a:off x="3230372" y="4804917"/>
            <a:ext cx="94170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Stake-holder</a:t>
            </a:r>
            <a:endParaRPr sz="1000">
              <a:latin typeface="Verdana"/>
              <a:cs typeface="Verdana"/>
            </a:endParaRPr>
          </a:p>
        </p:txBody>
      </p:sp>
      <p:sp>
        <p:nvSpPr>
          <p:cNvPr id="49" name="object 49"/>
          <p:cNvSpPr/>
          <p:nvPr/>
        </p:nvSpPr>
        <p:spPr>
          <a:xfrm>
            <a:off x="3108960" y="4174235"/>
            <a:ext cx="1178560" cy="408940"/>
          </a:xfrm>
          <a:custGeom>
            <a:avLst/>
            <a:gdLst/>
            <a:ahLst/>
            <a:cxnLst/>
            <a:rect l="l" t="t" r="r" b="b"/>
            <a:pathLst>
              <a:path w="1178560" h="408939">
                <a:moveTo>
                  <a:pt x="1109979" y="0"/>
                </a:moveTo>
                <a:lnTo>
                  <a:pt x="68071" y="0"/>
                </a:lnTo>
                <a:lnTo>
                  <a:pt x="41576" y="5349"/>
                </a:lnTo>
                <a:lnTo>
                  <a:pt x="19938" y="19939"/>
                </a:lnTo>
                <a:lnTo>
                  <a:pt x="5349" y="41576"/>
                </a:lnTo>
                <a:lnTo>
                  <a:pt x="0" y="68071"/>
                </a:lnTo>
                <a:lnTo>
                  <a:pt x="0" y="340359"/>
                </a:lnTo>
                <a:lnTo>
                  <a:pt x="5349" y="366855"/>
                </a:lnTo>
                <a:lnTo>
                  <a:pt x="19939" y="388493"/>
                </a:lnTo>
                <a:lnTo>
                  <a:pt x="41576" y="403082"/>
                </a:lnTo>
                <a:lnTo>
                  <a:pt x="68071" y="408431"/>
                </a:lnTo>
                <a:lnTo>
                  <a:pt x="1109979" y="408431"/>
                </a:lnTo>
                <a:lnTo>
                  <a:pt x="1136475" y="403082"/>
                </a:lnTo>
                <a:lnTo>
                  <a:pt x="1158113" y="388493"/>
                </a:lnTo>
                <a:lnTo>
                  <a:pt x="1172702" y="366855"/>
                </a:lnTo>
                <a:lnTo>
                  <a:pt x="1178052" y="340359"/>
                </a:lnTo>
                <a:lnTo>
                  <a:pt x="1178052" y="68071"/>
                </a:lnTo>
                <a:lnTo>
                  <a:pt x="1172702" y="41576"/>
                </a:lnTo>
                <a:lnTo>
                  <a:pt x="1158113" y="19939"/>
                </a:lnTo>
                <a:lnTo>
                  <a:pt x="1136475" y="5349"/>
                </a:lnTo>
                <a:lnTo>
                  <a:pt x="1109979" y="0"/>
                </a:lnTo>
                <a:close/>
              </a:path>
            </a:pathLst>
          </a:custGeom>
          <a:solidFill>
            <a:srgbClr val="A6A6A6"/>
          </a:solidFill>
        </p:spPr>
        <p:txBody>
          <a:bodyPr wrap="square" lIns="0" tIns="0" rIns="0" bIns="0" rtlCol="0"/>
          <a:lstStyle/>
          <a:p>
            <a:endParaRPr/>
          </a:p>
        </p:txBody>
      </p:sp>
      <p:sp>
        <p:nvSpPr>
          <p:cNvPr id="50" name="object 50"/>
          <p:cNvSpPr txBox="1"/>
          <p:nvPr/>
        </p:nvSpPr>
        <p:spPr>
          <a:xfrm>
            <a:off x="3372103" y="4214240"/>
            <a:ext cx="652780" cy="330200"/>
          </a:xfrm>
          <a:prstGeom prst="rect">
            <a:avLst/>
          </a:prstGeom>
        </p:spPr>
        <p:txBody>
          <a:bodyPr vert="horz" wrap="square" lIns="0" tIns="12065" rIns="0" bIns="0" rtlCol="0">
            <a:spAutoFit/>
          </a:bodyPr>
          <a:lstStyle/>
          <a:p>
            <a:pPr marL="35560" marR="5080" indent="-22860">
              <a:lnSpc>
                <a:spcPct val="100000"/>
              </a:lnSpc>
              <a:spcBef>
                <a:spcPts val="95"/>
              </a:spcBef>
            </a:pPr>
            <a:r>
              <a:rPr sz="1000" b="1" spc="-5">
                <a:solidFill>
                  <a:srgbClr val="FFFFFF"/>
                </a:solidFill>
                <a:latin typeface="Verdana"/>
                <a:cs typeface="Verdana"/>
              </a:rPr>
              <a:t>B</a:t>
            </a:r>
            <a:r>
              <a:rPr sz="1000" b="1" spc="-10">
                <a:solidFill>
                  <a:srgbClr val="FFFFFF"/>
                </a:solidFill>
                <a:latin typeface="Verdana"/>
                <a:cs typeface="Verdana"/>
              </a:rPr>
              <a:t>us</a:t>
            </a:r>
            <a:r>
              <a:rPr sz="1000" b="1" spc="-15">
                <a:solidFill>
                  <a:srgbClr val="FFFFFF"/>
                </a:solidFill>
                <a:latin typeface="Verdana"/>
                <a:cs typeface="Verdana"/>
              </a:rPr>
              <a:t>i</a:t>
            </a:r>
            <a:r>
              <a:rPr sz="1000" b="1" spc="-10">
                <a:solidFill>
                  <a:srgbClr val="FFFFFF"/>
                </a:solidFill>
                <a:latin typeface="Verdana"/>
                <a:cs typeface="Verdana"/>
              </a:rPr>
              <a:t>ne</a:t>
            </a:r>
            <a:r>
              <a:rPr sz="1000" b="1" spc="-15">
                <a:solidFill>
                  <a:srgbClr val="FFFFFF"/>
                </a:solidFill>
                <a:latin typeface="Verdana"/>
                <a:cs typeface="Verdana"/>
              </a:rPr>
              <a:t>s</a:t>
            </a:r>
            <a:r>
              <a:rPr sz="1000" b="1" spc="-5">
                <a:solidFill>
                  <a:srgbClr val="FFFFFF"/>
                </a:solidFill>
                <a:latin typeface="Verdana"/>
                <a:cs typeface="Verdana"/>
              </a:rPr>
              <a:t>s  </a:t>
            </a:r>
            <a:r>
              <a:rPr sz="1000" b="1" spc="-10">
                <a:solidFill>
                  <a:srgbClr val="FFFFFF"/>
                </a:solidFill>
                <a:latin typeface="Verdana"/>
                <a:cs typeface="Verdana"/>
              </a:rPr>
              <a:t>Impacts</a:t>
            </a:r>
            <a:endParaRPr sz="1000">
              <a:latin typeface="Verdana"/>
              <a:cs typeface="Verdana"/>
            </a:endParaRPr>
          </a:p>
        </p:txBody>
      </p:sp>
      <p:sp>
        <p:nvSpPr>
          <p:cNvPr id="51" name="object 51"/>
          <p:cNvSpPr/>
          <p:nvPr/>
        </p:nvSpPr>
        <p:spPr>
          <a:xfrm>
            <a:off x="4287773" y="4450079"/>
            <a:ext cx="272415" cy="86995"/>
          </a:xfrm>
          <a:custGeom>
            <a:avLst/>
            <a:gdLst/>
            <a:ahLst/>
            <a:cxnLst/>
            <a:rect l="l" t="t" r="r" b="b"/>
            <a:pathLst>
              <a:path w="272414" h="86995">
                <a:moveTo>
                  <a:pt x="185420" y="0"/>
                </a:moveTo>
                <a:lnTo>
                  <a:pt x="185420" y="86868"/>
                </a:lnTo>
                <a:lnTo>
                  <a:pt x="243331" y="57912"/>
                </a:lnTo>
                <a:lnTo>
                  <a:pt x="199898" y="57912"/>
                </a:lnTo>
                <a:lnTo>
                  <a:pt x="199898" y="28956"/>
                </a:lnTo>
                <a:lnTo>
                  <a:pt x="243332" y="28956"/>
                </a:lnTo>
                <a:lnTo>
                  <a:pt x="185420" y="0"/>
                </a:lnTo>
                <a:close/>
              </a:path>
              <a:path w="272414" h="86995">
                <a:moveTo>
                  <a:pt x="185420" y="28956"/>
                </a:moveTo>
                <a:lnTo>
                  <a:pt x="0" y="28956"/>
                </a:lnTo>
                <a:lnTo>
                  <a:pt x="0" y="57912"/>
                </a:lnTo>
                <a:lnTo>
                  <a:pt x="185420" y="57912"/>
                </a:lnTo>
                <a:lnTo>
                  <a:pt x="185420" y="28956"/>
                </a:lnTo>
                <a:close/>
              </a:path>
              <a:path w="272414" h="86995">
                <a:moveTo>
                  <a:pt x="243332" y="28956"/>
                </a:moveTo>
                <a:lnTo>
                  <a:pt x="199898" y="28956"/>
                </a:lnTo>
                <a:lnTo>
                  <a:pt x="199898" y="57912"/>
                </a:lnTo>
                <a:lnTo>
                  <a:pt x="243331" y="57912"/>
                </a:lnTo>
                <a:lnTo>
                  <a:pt x="272288" y="43434"/>
                </a:lnTo>
                <a:lnTo>
                  <a:pt x="243332" y="28956"/>
                </a:lnTo>
                <a:close/>
              </a:path>
            </a:pathLst>
          </a:custGeom>
          <a:solidFill>
            <a:srgbClr val="7E7E7E"/>
          </a:solidFill>
        </p:spPr>
        <p:txBody>
          <a:bodyPr wrap="square" lIns="0" tIns="0" rIns="0" bIns="0" rtlCol="0"/>
          <a:lstStyle/>
          <a:p>
            <a:endParaRPr/>
          </a:p>
        </p:txBody>
      </p:sp>
      <p:sp>
        <p:nvSpPr>
          <p:cNvPr id="52" name="object 52"/>
          <p:cNvSpPr/>
          <p:nvPr/>
        </p:nvSpPr>
        <p:spPr>
          <a:xfrm>
            <a:off x="5519165" y="4450079"/>
            <a:ext cx="264795" cy="86995"/>
          </a:xfrm>
          <a:custGeom>
            <a:avLst/>
            <a:gdLst/>
            <a:ahLst/>
            <a:cxnLst/>
            <a:rect l="l" t="t" r="r" b="b"/>
            <a:pathLst>
              <a:path w="264795" h="86995">
                <a:moveTo>
                  <a:pt x="177673" y="0"/>
                </a:moveTo>
                <a:lnTo>
                  <a:pt x="177673" y="86868"/>
                </a:lnTo>
                <a:lnTo>
                  <a:pt x="235585" y="57912"/>
                </a:lnTo>
                <a:lnTo>
                  <a:pt x="192150" y="57912"/>
                </a:lnTo>
                <a:lnTo>
                  <a:pt x="192150" y="28956"/>
                </a:lnTo>
                <a:lnTo>
                  <a:pt x="235585" y="28956"/>
                </a:lnTo>
                <a:lnTo>
                  <a:pt x="177673" y="0"/>
                </a:lnTo>
                <a:close/>
              </a:path>
              <a:path w="264795" h="86995">
                <a:moveTo>
                  <a:pt x="177673" y="28956"/>
                </a:moveTo>
                <a:lnTo>
                  <a:pt x="0" y="28956"/>
                </a:lnTo>
                <a:lnTo>
                  <a:pt x="0" y="57912"/>
                </a:lnTo>
                <a:lnTo>
                  <a:pt x="177673" y="57912"/>
                </a:lnTo>
                <a:lnTo>
                  <a:pt x="177673" y="28956"/>
                </a:lnTo>
                <a:close/>
              </a:path>
              <a:path w="264795" h="86995">
                <a:moveTo>
                  <a:pt x="235585" y="28956"/>
                </a:moveTo>
                <a:lnTo>
                  <a:pt x="192150" y="28956"/>
                </a:lnTo>
                <a:lnTo>
                  <a:pt x="192150" y="57912"/>
                </a:lnTo>
                <a:lnTo>
                  <a:pt x="235585" y="57912"/>
                </a:lnTo>
                <a:lnTo>
                  <a:pt x="264541" y="43434"/>
                </a:lnTo>
                <a:lnTo>
                  <a:pt x="235585" y="28956"/>
                </a:lnTo>
                <a:close/>
              </a:path>
            </a:pathLst>
          </a:custGeom>
          <a:solidFill>
            <a:srgbClr val="7E7E7E"/>
          </a:solidFill>
        </p:spPr>
        <p:txBody>
          <a:bodyPr wrap="square" lIns="0" tIns="0" rIns="0" bIns="0" rtlCol="0"/>
          <a:lstStyle/>
          <a:p>
            <a:endParaRPr/>
          </a:p>
        </p:txBody>
      </p:sp>
      <p:sp>
        <p:nvSpPr>
          <p:cNvPr id="53" name="object 53"/>
          <p:cNvSpPr/>
          <p:nvPr/>
        </p:nvSpPr>
        <p:spPr>
          <a:xfrm>
            <a:off x="5007864" y="5546597"/>
            <a:ext cx="86868" cy="202742"/>
          </a:xfrm>
          <a:prstGeom prst="rect">
            <a:avLst/>
          </a:prstGeom>
          <a:blipFill>
            <a:blip r:embed="rId2" cstate="print"/>
            <a:stretch>
              <a:fillRect/>
            </a:stretch>
          </a:blipFill>
        </p:spPr>
        <p:txBody>
          <a:bodyPr wrap="square" lIns="0" tIns="0" rIns="0" bIns="0" rtlCol="0"/>
          <a:lstStyle/>
          <a:p>
            <a:endParaRPr/>
          </a:p>
        </p:txBody>
      </p:sp>
      <p:sp>
        <p:nvSpPr>
          <p:cNvPr id="54" name="object 54"/>
          <p:cNvSpPr/>
          <p:nvPr/>
        </p:nvSpPr>
        <p:spPr>
          <a:xfrm>
            <a:off x="4995671" y="4813553"/>
            <a:ext cx="86867" cy="148844"/>
          </a:xfrm>
          <a:prstGeom prst="rect">
            <a:avLst/>
          </a:prstGeom>
          <a:blipFill>
            <a:blip r:embed="rId3" cstate="print"/>
            <a:stretch>
              <a:fillRect/>
            </a:stretch>
          </a:blipFill>
        </p:spPr>
        <p:txBody>
          <a:bodyPr wrap="square" lIns="0" tIns="0" rIns="0" bIns="0" rtlCol="0"/>
          <a:lstStyle/>
          <a:p>
            <a:endParaRPr/>
          </a:p>
        </p:txBody>
      </p:sp>
      <p:sp>
        <p:nvSpPr>
          <p:cNvPr id="55" name="object 55"/>
          <p:cNvSpPr/>
          <p:nvPr/>
        </p:nvSpPr>
        <p:spPr>
          <a:xfrm>
            <a:off x="5525261" y="5237988"/>
            <a:ext cx="259079" cy="86995"/>
          </a:xfrm>
          <a:custGeom>
            <a:avLst/>
            <a:gdLst/>
            <a:ahLst/>
            <a:cxnLst/>
            <a:rect l="l" t="t" r="r" b="b"/>
            <a:pathLst>
              <a:path w="259079" h="86995">
                <a:moveTo>
                  <a:pt x="171958" y="0"/>
                </a:moveTo>
                <a:lnTo>
                  <a:pt x="171958" y="86868"/>
                </a:lnTo>
                <a:lnTo>
                  <a:pt x="229870" y="57912"/>
                </a:lnTo>
                <a:lnTo>
                  <a:pt x="186436" y="57912"/>
                </a:lnTo>
                <a:lnTo>
                  <a:pt x="186436" y="28956"/>
                </a:lnTo>
                <a:lnTo>
                  <a:pt x="229870" y="28956"/>
                </a:lnTo>
                <a:lnTo>
                  <a:pt x="171958" y="0"/>
                </a:lnTo>
                <a:close/>
              </a:path>
              <a:path w="259079" h="86995">
                <a:moveTo>
                  <a:pt x="171958" y="28956"/>
                </a:moveTo>
                <a:lnTo>
                  <a:pt x="0" y="28956"/>
                </a:lnTo>
                <a:lnTo>
                  <a:pt x="0" y="57912"/>
                </a:lnTo>
                <a:lnTo>
                  <a:pt x="171958" y="57912"/>
                </a:lnTo>
                <a:lnTo>
                  <a:pt x="171958" y="28956"/>
                </a:lnTo>
                <a:close/>
              </a:path>
              <a:path w="259079" h="86995">
                <a:moveTo>
                  <a:pt x="229870" y="28956"/>
                </a:moveTo>
                <a:lnTo>
                  <a:pt x="186436" y="28956"/>
                </a:lnTo>
                <a:lnTo>
                  <a:pt x="186436" y="57912"/>
                </a:lnTo>
                <a:lnTo>
                  <a:pt x="229870" y="57912"/>
                </a:lnTo>
                <a:lnTo>
                  <a:pt x="258825" y="43434"/>
                </a:lnTo>
                <a:lnTo>
                  <a:pt x="229870" y="28956"/>
                </a:lnTo>
                <a:close/>
              </a:path>
            </a:pathLst>
          </a:custGeom>
          <a:solidFill>
            <a:srgbClr val="7E7E7E"/>
          </a:solidFill>
        </p:spPr>
        <p:txBody>
          <a:bodyPr wrap="square" lIns="0" tIns="0" rIns="0" bIns="0" rtlCol="0"/>
          <a:lstStyle/>
          <a:p>
            <a:endParaRPr/>
          </a:p>
        </p:txBody>
      </p:sp>
      <p:sp>
        <p:nvSpPr>
          <p:cNvPr id="56" name="object 56"/>
          <p:cNvSpPr/>
          <p:nvPr/>
        </p:nvSpPr>
        <p:spPr>
          <a:xfrm>
            <a:off x="6721602" y="4450079"/>
            <a:ext cx="264795" cy="86995"/>
          </a:xfrm>
          <a:custGeom>
            <a:avLst/>
            <a:gdLst/>
            <a:ahLst/>
            <a:cxnLst/>
            <a:rect l="l" t="t" r="r" b="b"/>
            <a:pathLst>
              <a:path w="264795" h="86995">
                <a:moveTo>
                  <a:pt x="177673" y="0"/>
                </a:moveTo>
                <a:lnTo>
                  <a:pt x="177673" y="86868"/>
                </a:lnTo>
                <a:lnTo>
                  <a:pt x="235584" y="57912"/>
                </a:lnTo>
                <a:lnTo>
                  <a:pt x="192150" y="57912"/>
                </a:lnTo>
                <a:lnTo>
                  <a:pt x="192150" y="28956"/>
                </a:lnTo>
                <a:lnTo>
                  <a:pt x="235585" y="28956"/>
                </a:lnTo>
                <a:lnTo>
                  <a:pt x="177673" y="0"/>
                </a:lnTo>
                <a:close/>
              </a:path>
              <a:path w="264795" h="86995">
                <a:moveTo>
                  <a:pt x="177673" y="28956"/>
                </a:moveTo>
                <a:lnTo>
                  <a:pt x="0" y="28956"/>
                </a:lnTo>
                <a:lnTo>
                  <a:pt x="0" y="57912"/>
                </a:lnTo>
                <a:lnTo>
                  <a:pt x="177673" y="57912"/>
                </a:lnTo>
                <a:lnTo>
                  <a:pt x="177673" y="28956"/>
                </a:lnTo>
                <a:close/>
              </a:path>
              <a:path w="264795" h="86995">
                <a:moveTo>
                  <a:pt x="235585" y="28956"/>
                </a:moveTo>
                <a:lnTo>
                  <a:pt x="192150" y="28956"/>
                </a:lnTo>
                <a:lnTo>
                  <a:pt x="192150" y="57912"/>
                </a:lnTo>
                <a:lnTo>
                  <a:pt x="235584" y="57912"/>
                </a:lnTo>
                <a:lnTo>
                  <a:pt x="264541" y="43434"/>
                </a:lnTo>
                <a:lnTo>
                  <a:pt x="235585" y="28956"/>
                </a:lnTo>
                <a:close/>
              </a:path>
            </a:pathLst>
          </a:custGeom>
          <a:solidFill>
            <a:srgbClr val="7E7E7E"/>
          </a:solidFill>
        </p:spPr>
        <p:txBody>
          <a:bodyPr wrap="square" lIns="0" tIns="0" rIns="0" bIns="0" rtlCol="0"/>
          <a:lstStyle/>
          <a:p>
            <a:endParaRPr/>
          </a:p>
        </p:txBody>
      </p:sp>
      <p:sp>
        <p:nvSpPr>
          <p:cNvPr id="57" name="object 57"/>
          <p:cNvSpPr/>
          <p:nvPr/>
        </p:nvSpPr>
        <p:spPr>
          <a:xfrm>
            <a:off x="7949945" y="5184647"/>
            <a:ext cx="234314" cy="86867"/>
          </a:xfrm>
          <a:prstGeom prst="rect">
            <a:avLst/>
          </a:prstGeom>
          <a:blipFill>
            <a:blip r:embed="rId4" cstate="print"/>
            <a:stretch>
              <a:fillRect/>
            </a:stretch>
          </a:blipFill>
        </p:spPr>
        <p:txBody>
          <a:bodyPr wrap="square" lIns="0" tIns="0" rIns="0" bIns="0" rtlCol="0"/>
          <a:lstStyle/>
          <a:p>
            <a:endParaRPr/>
          </a:p>
        </p:txBody>
      </p:sp>
      <p:sp>
        <p:nvSpPr>
          <p:cNvPr id="58" name="object 58"/>
          <p:cNvSpPr/>
          <p:nvPr/>
        </p:nvSpPr>
        <p:spPr>
          <a:xfrm>
            <a:off x="7949945" y="6025896"/>
            <a:ext cx="234314" cy="86867"/>
          </a:xfrm>
          <a:prstGeom prst="rect">
            <a:avLst/>
          </a:prstGeom>
          <a:blipFill>
            <a:blip r:embed="rId5" cstate="print"/>
            <a:stretch>
              <a:fillRect/>
            </a:stretch>
          </a:blipFill>
        </p:spPr>
        <p:txBody>
          <a:bodyPr wrap="square" lIns="0" tIns="0" rIns="0" bIns="0" rtlCol="0"/>
          <a:lstStyle/>
          <a:p>
            <a:endParaRPr/>
          </a:p>
        </p:txBody>
      </p:sp>
      <p:sp>
        <p:nvSpPr>
          <p:cNvPr id="59" name="object 59"/>
          <p:cNvSpPr/>
          <p:nvPr/>
        </p:nvSpPr>
        <p:spPr>
          <a:xfrm>
            <a:off x="10226802" y="4450079"/>
            <a:ext cx="312420" cy="86995"/>
          </a:xfrm>
          <a:custGeom>
            <a:avLst/>
            <a:gdLst/>
            <a:ahLst/>
            <a:cxnLst/>
            <a:rect l="l" t="t" r="r" b="b"/>
            <a:pathLst>
              <a:path w="312420" h="86995">
                <a:moveTo>
                  <a:pt x="225298" y="0"/>
                </a:moveTo>
                <a:lnTo>
                  <a:pt x="225298" y="86868"/>
                </a:lnTo>
                <a:lnTo>
                  <a:pt x="283209" y="57912"/>
                </a:lnTo>
                <a:lnTo>
                  <a:pt x="239775" y="57912"/>
                </a:lnTo>
                <a:lnTo>
                  <a:pt x="239775" y="28956"/>
                </a:lnTo>
                <a:lnTo>
                  <a:pt x="283210" y="28956"/>
                </a:lnTo>
                <a:lnTo>
                  <a:pt x="225298" y="0"/>
                </a:lnTo>
                <a:close/>
              </a:path>
              <a:path w="312420" h="86995">
                <a:moveTo>
                  <a:pt x="225298" y="28956"/>
                </a:moveTo>
                <a:lnTo>
                  <a:pt x="0" y="28956"/>
                </a:lnTo>
                <a:lnTo>
                  <a:pt x="0" y="57912"/>
                </a:lnTo>
                <a:lnTo>
                  <a:pt x="225298" y="57912"/>
                </a:lnTo>
                <a:lnTo>
                  <a:pt x="225298" y="28956"/>
                </a:lnTo>
                <a:close/>
              </a:path>
              <a:path w="312420" h="86995">
                <a:moveTo>
                  <a:pt x="283210" y="28956"/>
                </a:moveTo>
                <a:lnTo>
                  <a:pt x="239775" y="28956"/>
                </a:lnTo>
                <a:lnTo>
                  <a:pt x="239775" y="57912"/>
                </a:lnTo>
                <a:lnTo>
                  <a:pt x="283209" y="57912"/>
                </a:lnTo>
                <a:lnTo>
                  <a:pt x="312166" y="43434"/>
                </a:lnTo>
                <a:lnTo>
                  <a:pt x="283210" y="28956"/>
                </a:lnTo>
                <a:close/>
              </a:path>
            </a:pathLst>
          </a:custGeom>
          <a:solidFill>
            <a:srgbClr val="BEBEBE"/>
          </a:solidFill>
        </p:spPr>
        <p:txBody>
          <a:bodyPr wrap="square" lIns="0" tIns="0" rIns="0" bIns="0" rtlCol="0"/>
          <a:lstStyle/>
          <a:p>
            <a:endParaRPr/>
          </a:p>
        </p:txBody>
      </p:sp>
      <p:sp>
        <p:nvSpPr>
          <p:cNvPr id="60" name="object 60"/>
          <p:cNvSpPr/>
          <p:nvPr/>
        </p:nvSpPr>
        <p:spPr>
          <a:xfrm>
            <a:off x="10226802" y="5216652"/>
            <a:ext cx="312420" cy="86995"/>
          </a:xfrm>
          <a:custGeom>
            <a:avLst/>
            <a:gdLst/>
            <a:ahLst/>
            <a:cxnLst/>
            <a:rect l="l" t="t" r="r" b="b"/>
            <a:pathLst>
              <a:path w="312420" h="86995">
                <a:moveTo>
                  <a:pt x="225298" y="0"/>
                </a:moveTo>
                <a:lnTo>
                  <a:pt x="225298" y="86868"/>
                </a:lnTo>
                <a:lnTo>
                  <a:pt x="283210" y="57912"/>
                </a:lnTo>
                <a:lnTo>
                  <a:pt x="239775" y="57912"/>
                </a:lnTo>
                <a:lnTo>
                  <a:pt x="239775" y="28956"/>
                </a:lnTo>
                <a:lnTo>
                  <a:pt x="283210" y="28956"/>
                </a:lnTo>
                <a:lnTo>
                  <a:pt x="225298" y="0"/>
                </a:lnTo>
                <a:close/>
              </a:path>
              <a:path w="312420" h="86995">
                <a:moveTo>
                  <a:pt x="225298" y="28956"/>
                </a:moveTo>
                <a:lnTo>
                  <a:pt x="0" y="28956"/>
                </a:lnTo>
                <a:lnTo>
                  <a:pt x="0" y="57912"/>
                </a:lnTo>
                <a:lnTo>
                  <a:pt x="225298" y="57912"/>
                </a:lnTo>
                <a:lnTo>
                  <a:pt x="225298" y="28956"/>
                </a:lnTo>
                <a:close/>
              </a:path>
              <a:path w="312420" h="86995">
                <a:moveTo>
                  <a:pt x="283210" y="28956"/>
                </a:moveTo>
                <a:lnTo>
                  <a:pt x="239775" y="28956"/>
                </a:lnTo>
                <a:lnTo>
                  <a:pt x="239775" y="57912"/>
                </a:lnTo>
                <a:lnTo>
                  <a:pt x="283210" y="57912"/>
                </a:lnTo>
                <a:lnTo>
                  <a:pt x="312166" y="43434"/>
                </a:lnTo>
                <a:lnTo>
                  <a:pt x="283210" y="28956"/>
                </a:lnTo>
                <a:close/>
              </a:path>
            </a:pathLst>
          </a:custGeom>
          <a:solidFill>
            <a:srgbClr val="BEBEBE"/>
          </a:solidFill>
        </p:spPr>
        <p:txBody>
          <a:bodyPr wrap="square" lIns="0" tIns="0" rIns="0" bIns="0" rtlCol="0"/>
          <a:lstStyle/>
          <a:p>
            <a:endParaRPr/>
          </a:p>
        </p:txBody>
      </p:sp>
      <p:sp>
        <p:nvSpPr>
          <p:cNvPr id="61" name="object 61"/>
          <p:cNvSpPr/>
          <p:nvPr/>
        </p:nvSpPr>
        <p:spPr>
          <a:xfrm>
            <a:off x="10226802" y="5983223"/>
            <a:ext cx="312420" cy="86995"/>
          </a:xfrm>
          <a:custGeom>
            <a:avLst/>
            <a:gdLst/>
            <a:ahLst/>
            <a:cxnLst/>
            <a:rect l="l" t="t" r="r" b="b"/>
            <a:pathLst>
              <a:path w="312420" h="86995">
                <a:moveTo>
                  <a:pt x="225298" y="0"/>
                </a:moveTo>
                <a:lnTo>
                  <a:pt x="225298" y="86867"/>
                </a:lnTo>
                <a:lnTo>
                  <a:pt x="283210" y="57912"/>
                </a:lnTo>
                <a:lnTo>
                  <a:pt x="239775" y="57912"/>
                </a:lnTo>
                <a:lnTo>
                  <a:pt x="239775" y="28956"/>
                </a:lnTo>
                <a:lnTo>
                  <a:pt x="283210" y="28956"/>
                </a:lnTo>
                <a:lnTo>
                  <a:pt x="225298" y="0"/>
                </a:lnTo>
                <a:close/>
              </a:path>
              <a:path w="312420" h="86995">
                <a:moveTo>
                  <a:pt x="225298" y="28956"/>
                </a:moveTo>
                <a:lnTo>
                  <a:pt x="0" y="28956"/>
                </a:lnTo>
                <a:lnTo>
                  <a:pt x="0" y="57912"/>
                </a:lnTo>
                <a:lnTo>
                  <a:pt x="225298" y="57912"/>
                </a:lnTo>
                <a:lnTo>
                  <a:pt x="225298" y="28956"/>
                </a:lnTo>
                <a:close/>
              </a:path>
              <a:path w="312420" h="86995">
                <a:moveTo>
                  <a:pt x="283210" y="28956"/>
                </a:moveTo>
                <a:lnTo>
                  <a:pt x="239775" y="28956"/>
                </a:lnTo>
                <a:lnTo>
                  <a:pt x="239775" y="57912"/>
                </a:lnTo>
                <a:lnTo>
                  <a:pt x="283210" y="57912"/>
                </a:lnTo>
                <a:lnTo>
                  <a:pt x="312166" y="43434"/>
                </a:lnTo>
                <a:lnTo>
                  <a:pt x="283210" y="28956"/>
                </a:lnTo>
                <a:close/>
              </a:path>
            </a:pathLst>
          </a:custGeom>
          <a:solidFill>
            <a:srgbClr val="BEBEBE"/>
          </a:solidFill>
        </p:spPr>
        <p:txBody>
          <a:bodyPr wrap="square" lIns="0" tIns="0" rIns="0" bIns="0" rtlCol="0"/>
          <a:lstStyle/>
          <a:p>
            <a:endParaRPr/>
          </a:p>
        </p:txBody>
      </p:sp>
      <p:sp>
        <p:nvSpPr>
          <p:cNvPr id="62" name="object 62"/>
          <p:cNvSpPr/>
          <p:nvPr/>
        </p:nvSpPr>
        <p:spPr>
          <a:xfrm>
            <a:off x="9120378" y="5672328"/>
            <a:ext cx="174244" cy="86868"/>
          </a:xfrm>
          <a:prstGeom prst="rect">
            <a:avLst/>
          </a:prstGeom>
          <a:blipFill>
            <a:blip r:embed="rId6" cstate="print"/>
            <a:stretch>
              <a:fillRect/>
            </a:stretch>
          </a:blipFill>
        </p:spPr>
        <p:txBody>
          <a:bodyPr wrap="square" lIns="0" tIns="0" rIns="0" bIns="0" rtlCol="0"/>
          <a:lstStyle/>
          <a:p>
            <a:endParaRPr/>
          </a:p>
        </p:txBody>
      </p:sp>
      <p:sp>
        <p:nvSpPr>
          <p:cNvPr id="63" name="object 63"/>
          <p:cNvSpPr/>
          <p:nvPr/>
        </p:nvSpPr>
        <p:spPr>
          <a:xfrm>
            <a:off x="8622792" y="4804409"/>
            <a:ext cx="86867" cy="142239"/>
          </a:xfrm>
          <a:prstGeom prst="rect">
            <a:avLst/>
          </a:prstGeom>
          <a:blipFill>
            <a:blip r:embed="rId7" cstate="print"/>
            <a:stretch>
              <a:fillRect/>
            </a:stretch>
          </a:blipFill>
        </p:spPr>
        <p:txBody>
          <a:bodyPr wrap="square" lIns="0" tIns="0" rIns="0" bIns="0" rtlCol="0"/>
          <a:lstStyle/>
          <a:p>
            <a:endParaRPr/>
          </a:p>
        </p:txBody>
      </p:sp>
      <p:sp>
        <p:nvSpPr>
          <p:cNvPr id="64" name="object 64"/>
          <p:cNvSpPr/>
          <p:nvPr/>
        </p:nvSpPr>
        <p:spPr>
          <a:xfrm>
            <a:off x="4558284" y="4962144"/>
            <a:ext cx="966469" cy="640080"/>
          </a:xfrm>
          <a:custGeom>
            <a:avLst/>
            <a:gdLst/>
            <a:ahLst/>
            <a:cxnLst/>
            <a:rect l="l" t="t" r="r" b="b"/>
            <a:pathLst>
              <a:path w="966470" h="640079">
                <a:moveTo>
                  <a:pt x="859536" y="0"/>
                </a:moveTo>
                <a:lnTo>
                  <a:pt x="106679" y="0"/>
                </a:lnTo>
                <a:lnTo>
                  <a:pt x="65151" y="8381"/>
                </a:lnTo>
                <a:lnTo>
                  <a:pt x="31242" y="31241"/>
                </a:lnTo>
                <a:lnTo>
                  <a:pt x="8382" y="65150"/>
                </a:lnTo>
                <a:lnTo>
                  <a:pt x="0" y="106679"/>
                </a:lnTo>
                <a:lnTo>
                  <a:pt x="0" y="533399"/>
                </a:lnTo>
                <a:lnTo>
                  <a:pt x="8381" y="574928"/>
                </a:lnTo>
                <a:lnTo>
                  <a:pt x="31241" y="608837"/>
                </a:lnTo>
                <a:lnTo>
                  <a:pt x="65150" y="631697"/>
                </a:lnTo>
                <a:lnTo>
                  <a:pt x="106679" y="640079"/>
                </a:lnTo>
                <a:lnTo>
                  <a:pt x="859536" y="640079"/>
                </a:lnTo>
                <a:lnTo>
                  <a:pt x="901064" y="631697"/>
                </a:lnTo>
                <a:lnTo>
                  <a:pt x="934973" y="608837"/>
                </a:lnTo>
                <a:lnTo>
                  <a:pt x="957833" y="574928"/>
                </a:lnTo>
                <a:lnTo>
                  <a:pt x="966215" y="533399"/>
                </a:lnTo>
                <a:lnTo>
                  <a:pt x="966215" y="106679"/>
                </a:lnTo>
                <a:lnTo>
                  <a:pt x="957834" y="65150"/>
                </a:lnTo>
                <a:lnTo>
                  <a:pt x="934974" y="31241"/>
                </a:lnTo>
                <a:lnTo>
                  <a:pt x="901064" y="8381"/>
                </a:lnTo>
                <a:lnTo>
                  <a:pt x="859536" y="0"/>
                </a:lnTo>
                <a:close/>
              </a:path>
            </a:pathLst>
          </a:custGeom>
          <a:solidFill>
            <a:srgbClr val="005382"/>
          </a:solidFill>
        </p:spPr>
        <p:txBody>
          <a:bodyPr wrap="square" lIns="0" tIns="0" rIns="0" bIns="0" rtlCol="0"/>
          <a:lstStyle/>
          <a:p>
            <a:endParaRPr/>
          </a:p>
        </p:txBody>
      </p:sp>
      <p:sp>
        <p:nvSpPr>
          <p:cNvPr id="65" name="object 65"/>
          <p:cNvSpPr txBox="1"/>
          <p:nvPr/>
        </p:nvSpPr>
        <p:spPr>
          <a:xfrm>
            <a:off x="4735448" y="5041519"/>
            <a:ext cx="614045" cy="482600"/>
          </a:xfrm>
          <a:prstGeom prst="rect">
            <a:avLst/>
          </a:prstGeom>
        </p:spPr>
        <p:txBody>
          <a:bodyPr vert="horz" wrap="square" lIns="0" tIns="12065" rIns="0" bIns="0" rtlCol="0">
            <a:spAutoFit/>
          </a:bodyPr>
          <a:lstStyle/>
          <a:p>
            <a:pPr marL="12700" marR="5080" indent="-1270" algn="ctr">
              <a:lnSpc>
                <a:spcPct val="100000"/>
              </a:lnSpc>
              <a:spcBef>
                <a:spcPts val="95"/>
              </a:spcBef>
            </a:pPr>
            <a:r>
              <a:rPr sz="1000" b="1" spc="-10">
                <a:solidFill>
                  <a:srgbClr val="FFFFFF"/>
                </a:solidFill>
                <a:latin typeface="Verdana"/>
                <a:cs typeface="Verdana"/>
              </a:rPr>
              <a:t>Course  Ident</a:t>
            </a:r>
            <a:r>
              <a:rPr sz="1000" b="1" spc="-15">
                <a:solidFill>
                  <a:srgbClr val="FFFFFF"/>
                </a:solidFill>
                <a:latin typeface="Verdana"/>
                <a:cs typeface="Verdana"/>
              </a:rPr>
              <a:t>i</a:t>
            </a:r>
            <a:r>
              <a:rPr sz="1000" b="1" spc="-10">
                <a:solidFill>
                  <a:srgbClr val="FFFFFF"/>
                </a:solidFill>
                <a:latin typeface="Verdana"/>
                <a:cs typeface="Verdana"/>
              </a:rPr>
              <a:t>fi</a:t>
            </a:r>
            <a:r>
              <a:rPr sz="1000" b="1" spc="-5">
                <a:solidFill>
                  <a:srgbClr val="FFFFFF"/>
                </a:solidFill>
                <a:latin typeface="Verdana"/>
                <a:cs typeface="Verdana"/>
              </a:rPr>
              <a:t>-  cation</a:t>
            </a:r>
            <a:endParaRPr sz="1000">
              <a:latin typeface="Verdana"/>
              <a:cs typeface="Verdana"/>
            </a:endParaRPr>
          </a:p>
        </p:txBody>
      </p:sp>
      <p:sp>
        <p:nvSpPr>
          <p:cNvPr id="66" name="object 66"/>
          <p:cNvSpPr/>
          <p:nvPr/>
        </p:nvSpPr>
        <p:spPr>
          <a:xfrm>
            <a:off x="8183880" y="4925567"/>
            <a:ext cx="963294" cy="1428115"/>
          </a:xfrm>
          <a:custGeom>
            <a:avLst/>
            <a:gdLst/>
            <a:ahLst/>
            <a:cxnLst/>
            <a:rect l="l" t="t" r="r" b="b"/>
            <a:pathLst>
              <a:path w="963295" h="1428114">
                <a:moveTo>
                  <a:pt x="802640" y="0"/>
                </a:moveTo>
                <a:lnTo>
                  <a:pt x="160527" y="0"/>
                </a:lnTo>
                <a:lnTo>
                  <a:pt x="109793" y="8184"/>
                </a:lnTo>
                <a:lnTo>
                  <a:pt x="65727" y="30975"/>
                </a:lnTo>
                <a:lnTo>
                  <a:pt x="30975" y="65727"/>
                </a:lnTo>
                <a:lnTo>
                  <a:pt x="8184" y="109793"/>
                </a:lnTo>
                <a:lnTo>
                  <a:pt x="0" y="160527"/>
                </a:lnTo>
                <a:lnTo>
                  <a:pt x="0" y="1267459"/>
                </a:lnTo>
                <a:lnTo>
                  <a:pt x="8184" y="1318199"/>
                </a:lnTo>
                <a:lnTo>
                  <a:pt x="30975" y="1362266"/>
                </a:lnTo>
                <a:lnTo>
                  <a:pt x="65727" y="1397015"/>
                </a:lnTo>
                <a:lnTo>
                  <a:pt x="109793" y="1419804"/>
                </a:lnTo>
                <a:lnTo>
                  <a:pt x="160527" y="1427987"/>
                </a:lnTo>
                <a:lnTo>
                  <a:pt x="802640" y="1427987"/>
                </a:lnTo>
                <a:lnTo>
                  <a:pt x="853374" y="1419804"/>
                </a:lnTo>
                <a:lnTo>
                  <a:pt x="897440" y="1397015"/>
                </a:lnTo>
                <a:lnTo>
                  <a:pt x="932192" y="1362266"/>
                </a:lnTo>
                <a:lnTo>
                  <a:pt x="954983" y="1318199"/>
                </a:lnTo>
                <a:lnTo>
                  <a:pt x="963168" y="1267459"/>
                </a:lnTo>
                <a:lnTo>
                  <a:pt x="963168" y="160527"/>
                </a:lnTo>
                <a:lnTo>
                  <a:pt x="954983" y="109793"/>
                </a:lnTo>
                <a:lnTo>
                  <a:pt x="932192" y="65727"/>
                </a:lnTo>
                <a:lnTo>
                  <a:pt x="897440" y="30975"/>
                </a:lnTo>
                <a:lnTo>
                  <a:pt x="853374" y="8184"/>
                </a:lnTo>
                <a:lnTo>
                  <a:pt x="802640" y="0"/>
                </a:lnTo>
                <a:close/>
              </a:path>
            </a:pathLst>
          </a:custGeom>
          <a:solidFill>
            <a:srgbClr val="12ABDB"/>
          </a:solidFill>
        </p:spPr>
        <p:txBody>
          <a:bodyPr wrap="square" lIns="0" tIns="0" rIns="0" bIns="0" rtlCol="0"/>
          <a:lstStyle/>
          <a:p>
            <a:endParaRPr/>
          </a:p>
        </p:txBody>
      </p:sp>
      <p:sp>
        <p:nvSpPr>
          <p:cNvPr id="67" name="object 67"/>
          <p:cNvSpPr txBox="1"/>
          <p:nvPr/>
        </p:nvSpPr>
        <p:spPr>
          <a:xfrm>
            <a:off x="8404606" y="5246877"/>
            <a:ext cx="523875" cy="787400"/>
          </a:xfrm>
          <a:prstGeom prst="rect">
            <a:avLst/>
          </a:prstGeom>
        </p:spPr>
        <p:txBody>
          <a:bodyPr vert="horz" wrap="square" lIns="0" tIns="12065" rIns="0" bIns="0" rtlCol="0">
            <a:spAutoFit/>
          </a:bodyPr>
          <a:lstStyle/>
          <a:p>
            <a:pPr marL="12700" marR="5080" indent="1270" algn="ctr">
              <a:lnSpc>
                <a:spcPct val="100000"/>
              </a:lnSpc>
              <a:spcBef>
                <a:spcPts val="95"/>
              </a:spcBef>
            </a:pPr>
            <a:r>
              <a:rPr sz="1000" b="1" spc="-10">
                <a:solidFill>
                  <a:srgbClr val="FFFFFF"/>
                </a:solidFill>
                <a:latin typeface="Verdana"/>
                <a:cs typeface="Verdana"/>
              </a:rPr>
              <a:t>Train-  </a:t>
            </a:r>
            <a:r>
              <a:rPr sz="1000" b="1" spc="-5">
                <a:solidFill>
                  <a:srgbClr val="FFFFFF"/>
                </a:solidFill>
                <a:latin typeface="Verdana"/>
                <a:cs typeface="Verdana"/>
              </a:rPr>
              <a:t>the-  tr</a:t>
            </a:r>
            <a:r>
              <a:rPr sz="1000" b="1" spc="-15">
                <a:solidFill>
                  <a:srgbClr val="FFFFFF"/>
                </a:solidFill>
                <a:latin typeface="Verdana"/>
                <a:cs typeface="Verdana"/>
              </a:rPr>
              <a:t>a</a:t>
            </a:r>
            <a:r>
              <a:rPr sz="1000" b="1" spc="-10">
                <a:solidFill>
                  <a:srgbClr val="FFFFFF"/>
                </a:solidFill>
                <a:latin typeface="Verdana"/>
                <a:cs typeface="Verdana"/>
              </a:rPr>
              <a:t>iner  for</a:t>
            </a:r>
            <a:r>
              <a:rPr sz="1000" b="1" spc="-75">
                <a:solidFill>
                  <a:srgbClr val="FFFFFF"/>
                </a:solidFill>
                <a:latin typeface="Verdana"/>
                <a:cs typeface="Verdana"/>
              </a:rPr>
              <a:t> </a:t>
            </a:r>
            <a:r>
              <a:rPr sz="1000" b="1" spc="-10">
                <a:solidFill>
                  <a:srgbClr val="FFFFFF"/>
                </a:solidFill>
                <a:latin typeface="Verdana"/>
                <a:cs typeface="Verdana"/>
              </a:rPr>
              <a:t>key  users</a:t>
            </a:r>
            <a:endParaRPr sz="1000">
              <a:latin typeface="Verdana"/>
              <a:cs typeface="Verdana"/>
            </a:endParaRPr>
          </a:p>
        </p:txBody>
      </p:sp>
      <p:sp>
        <p:nvSpPr>
          <p:cNvPr id="68" name="object 68"/>
          <p:cNvSpPr txBox="1"/>
          <p:nvPr/>
        </p:nvSpPr>
        <p:spPr>
          <a:xfrm>
            <a:off x="486257" y="5680354"/>
            <a:ext cx="2771140" cy="726440"/>
          </a:xfrm>
          <a:prstGeom prst="rect">
            <a:avLst/>
          </a:prstGeom>
        </p:spPr>
        <p:txBody>
          <a:bodyPr vert="horz" wrap="square" lIns="0" tIns="29209" rIns="0" bIns="0" rtlCol="0">
            <a:spAutoFit/>
          </a:bodyPr>
          <a:lstStyle/>
          <a:p>
            <a:pPr marL="12700" marR="5715">
              <a:lnSpc>
                <a:spcPts val="1080"/>
              </a:lnSpc>
              <a:spcBef>
                <a:spcPts val="229"/>
              </a:spcBef>
            </a:pPr>
            <a:r>
              <a:rPr sz="1000">
                <a:latin typeface="Verdana"/>
                <a:cs typeface="Verdana"/>
              </a:rPr>
              <a:t>Training </a:t>
            </a:r>
            <a:r>
              <a:rPr sz="1000" spc="-5">
                <a:latin typeface="Verdana"/>
                <a:cs typeface="Verdana"/>
              </a:rPr>
              <a:t>approach encompasses concerted  </a:t>
            </a:r>
            <a:r>
              <a:rPr sz="1000">
                <a:latin typeface="Verdana"/>
                <a:cs typeface="Verdana"/>
              </a:rPr>
              <a:t>building </a:t>
            </a:r>
            <a:r>
              <a:rPr sz="1000" spc="-5">
                <a:latin typeface="Verdana"/>
                <a:cs typeface="Verdana"/>
              </a:rPr>
              <a:t>blocks that do </a:t>
            </a:r>
            <a:r>
              <a:rPr sz="1000">
                <a:latin typeface="Verdana"/>
                <a:cs typeface="Verdana"/>
              </a:rPr>
              <a:t>involve </a:t>
            </a:r>
            <a:r>
              <a:rPr sz="1000" spc="-5">
                <a:latin typeface="Verdana"/>
                <a:cs typeface="Verdana"/>
              </a:rPr>
              <a:t>the </a:t>
            </a:r>
            <a:r>
              <a:rPr sz="1000" b="1" spc="-10">
                <a:latin typeface="Verdana"/>
                <a:cs typeface="Verdana"/>
              </a:rPr>
              <a:t>central  training </a:t>
            </a:r>
            <a:r>
              <a:rPr sz="1000" b="1" spc="-5">
                <a:latin typeface="Verdana"/>
                <a:cs typeface="Verdana"/>
              </a:rPr>
              <a:t>team</a:t>
            </a:r>
            <a:r>
              <a:rPr sz="1000" spc="-5">
                <a:latin typeface="Verdana"/>
                <a:cs typeface="Verdana"/>
              </a:rPr>
              <a:t>, </a:t>
            </a:r>
            <a:r>
              <a:rPr sz="1000" b="1" spc="-5">
                <a:latin typeface="Verdana"/>
                <a:cs typeface="Verdana"/>
              </a:rPr>
              <a:t>other </a:t>
            </a:r>
            <a:r>
              <a:rPr sz="1000" b="1" spc="-10">
                <a:latin typeface="Verdana"/>
                <a:cs typeface="Verdana"/>
              </a:rPr>
              <a:t>work packages</a:t>
            </a:r>
            <a:r>
              <a:rPr sz="1000" spc="-10">
                <a:latin typeface="Verdana"/>
                <a:cs typeface="Verdana"/>
              </a:rPr>
              <a:t>,  </a:t>
            </a:r>
            <a:r>
              <a:rPr sz="1000" b="1" spc="-10">
                <a:latin typeface="Verdana"/>
                <a:cs typeface="Verdana"/>
              </a:rPr>
              <a:t>Marelli </a:t>
            </a:r>
            <a:r>
              <a:rPr sz="1000" b="1" spc="-5">
                <a:latin typeface="Verdana"/>
                <a:cs typeface="Verdana"/>
              </a:rPr>
              <a:t>key </a:t>
            </a:r>
            <a:r>
              <a:rPr sz="1000" b="1" spc="-10">
                <a:latin typeface="Verdana"/>
                <a:cs typeface="Verdana"/>
              </a:rPr>
              <a:t>users</a:t>
            </a:r>
            <a:r>
              <a:rPr sz="1000" spc="-10">
                <a:latin typeface="Verdana"/>
                <a:cs typeface="Verdana"/>
              </a:rPr>
              <a:t>, </a:t>
            </a:r>
            <a:r>
              <a:rPr sz="1000" b="1" spc="-5">
                <a:latin typeface="Verdana"/>
                <a:cs typeface="Verdana"/>
              </a:rPr>
              <a:t>local </a:t>
            </a:r>
            <a:r>
              <a:rPr sz="1000" b="1" spc="-10">
                <a:latin typeface="Verdana"/>
                <a:cs typeface="Verdana"/>
              </a:rPr>
              <a:t>deployment </a:t>
            </a:r>
            <a:r>
              <a:rPr sz="1000" spc="-5">
                <a:latin typeface="Verdana"/>
                <a:cs typeface="Verdana"/>
              </a:rPr>
              <a:t>as  well as </a:t>
            </a:r>
            <a:r>
              <a:rPr sz="1000" b="1" spc="-5">
                <a:latin typeface="Verdana"/>
                <a:cs typeface="Verdana"/>
              </a:rPr>
              <a:t>local </a:t>
            </a:r>
            <a:r>
              <a:rPr sz="1000" b="1" spc="-10">
                <a:latin typeface="Verdana"/>
                <a:cs typeface="Verdana"/>
              </a:rPr>
              <a:t>functions </a:t>
            </a:r>
            <a:r>
              <a:rPr sz="1000" spc="-5">
                <a:latin typeface="Verdana"/>
                <a:cs typeface="Verdana"/>
              </a:rPr>
              <a:t>e.g.</a:t>
            </a:r>
            <a:r>
              <a:rPr sz="1000" spc="40">
                <a:latin typeface="Verdana"/>
                <a:cs typeface="Verdana"/>
              </a:rPr>
              <a:t> </a:t>
            </a:r>
            <a:r>
              <a:rPr sz="1000" spc="-5">
                <a:latin typeface="Verdana"/>
                <a:cs typeface="Verdana"/>
              </a:rPr>
              <a:t>infrastructure</a:t>
            </a:r>
            <a:endParaRPr sz="1000">
              <a:latin typeface="Verdana"/>
              <a:cs typeface="Verdana"/>
            </a:endParaRPr>
          </a:p>
        </p:txBody>
      </p:sp>
      <p:sp>
        <p:nvSpPr>
          <p:cNvPr id="69" name="object 69"/>
          <p:cNvSpPr/>
          <p:nvPr/>
        </p:nvSpPr>
        <p:spPr>
          <a:xfrm>
            <a:off x="1356360" y="4180332"/>
            <a:ext cx="995680" cy="1330960"/>
          </a:xfrm>
          <a:custGeom>
            <a:avLst/>
            <a:gdLst/>
            <a:ahLst/>
            <a:cxnLst/>
            <a:rect l="l" t="t" r="r" b="b"/>
            <a:pathLst>
              <a:path w="995680" h="1330960">
                <a:moveTo>
                  <a:pt x="248793" y="0"/>
                </a:moveTo>
                <a:lnTo>
                  <a:pt x="0" y="0"/>
                </a:lnTo>
                <a:lnTo>
                  <a:pt x="0" y="1205992"/>
                </a:lnTo>
                <a:lnTo>
                  <a:pt x="746379" y="1205992"/>
                </a:lnTo>
                <a:lnTo>
                  <a:pt x="746379" y="1330452"/>
                </a:lnTo>
                <a:lnTo>
                  <a:pt x="995172" y="1081659"/>
                </a:lnTo>
                <a:lnTo>
                  <a:pt x="870711" y="957199"/>
                </a:lnTo>
                <a:lnTo>
                  <a:pt x="248793" y="957199"/>
                </a:lnTo>
                <a:lnTo>
                  <a:pt x="248793" y="0"/>
                </a:lnTo>
                <a:close/>
              </a:path>
              <a:path w="995680" h="1330960">
                <a:moveTo>
                  <a:pt x="746379" y="832866"/>
                </a:moveTo>
                <a:lnTo>
                  <a:pt x="746379" y="957199"/>
                </a:lnTo>
                <a:lnTo>
                  <a:pt x="870711" y="957199"/>
                </a:lnTo>
                <a:lnTo>
                  <a:pt x="746379" y="832866"/>
                </a:lnTo>
                <a:close/>
              </a:path>
            </a:pathLst>
          </a:custGeom>
          <a:solidFill>
            <a:srgbClr val="9AE0F7"/>
          </a:solidFill>
        </p:spPr>
        <p:txBody>
          <a:bodyPr wrap="square" lIns="0" tIns="0" rIns="0" bIns="0" rtlCol="0"/>
          <a:lstStyle/>
          <a:p>
            <a:endParaRPr/>
          </a:p>
        </p:txBody>
      </p:sp>
      <p:sp>
        <p:nvSpPr>
          <p:cNvPr id="70" name="object 70"/>
          <p:cNvSpPr/>
          <p:nvPr/>
        </p:nvSpPr>
        <p:spPr>
          <a:xfrm>
            <a:off x="397763" y="1839467"/>
            <a:ext cx="236220" cy="236219"/>
          </a:xfrm>
          <a:prstGeom prst="rect">
            <a:avLst/>
          </a:prstGeom>
          <a:blipFill>
            <a:blip r:embed="rId8" cstate="print"/>
            <a:stretch>
              <a:fillRect/>
            </a:stretch>
          </a:blipFill>
        </p:spPr>
        <p:txBody>
          <a:bodyPr wrap="square" lIns="0" tIns="0" rIns="0" bIns="0" rtlCol="0"/>
          <a:lstStyle/>
          <a:p>
            <a:endParaRPr/>
          </a:p>
        </p:txBody>
      </p:sp>
      <p:sp>
        <p:nvSpPr>
          <p:cNvPr id="71" name="object 71"/>
          <p:cNvSpPr txBox="1"/>
          <p:nvPr/>
        </p:nvSpPr>
        <p:spPr>
          <a:xfrm>
            <a:off x="456996" y="1868169"/>
            <a:ext cx="11557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1</a:t>
            </a:r>
            <a:endParaRPr sz="1000">
              <a:latin typeface="Verdana"/>
              <a:cs typeface="Verdana"/>
            </a:endParaRPr>
          </a:p>
        </p:txBody>
      </p:sp>
      <p:sp>
        <p:nvSpPr>
          <p:cNvPr id="72" name="object 72"/>
          <p:cNvSpPr/>
          <p:nvPr/>
        </p:nvSpPr>
        <p:spPr>
          <a:xfrm>
            <a:off x="2683764" y="1839467"/>
            <a:ext cx="236219" cy="236219"/>
          </a:xfrm>
          <a:prstGeom prst="rect">
            <a:avLst/>
          </a:prstGeom>
          <a:blipFill>
            <a:blip r:embed="rId9" cstate="print"/>
            <a:stretch>
              <a:fillRect/>
            </a:stretch>
          </a:blipFill>
        </p:spPr>
        <p:txBody>
          <a:bodyPr wrap="square" lIns="0" tIns="0" rIns="0" bIns="0" rtlCol="0"/>
          <a:lstStyle/>
          <a:p>
            <a:endParaRPr/>
          </a:p>
        </p:txBody>
      </p:sp>
      <p:sp>
        <p:nvSpPr>
          <p:cNvPr id="73" name="object 73"/>
          <p:cNvSpPr txBox="1"/>
          <p:nvPr/>
        </p:nvSpPr>
        <p:spPr>
          <a:xfrm>
            <a:off x="2743580" y="1868169"/>
            <a:ext cx="11557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2</a:t>
            </a:r>
            <a:endParaRPr sz="1000">
              <a:latin typeface="Verdana"/>
              <a:cs typeface="Verdana"/>
            </a:endParaRPr>
          </a:p>
        </p:txBody>
      </p:sp>
      <p:sp>
        <p:nvSpPr>
          <p:cNvPr id="74" name="object 74"/>
          <p:cNvSpPr/>
          <p:nvPr/>
        </p:nvSpPr>
        <p:spPr>
          <a:xfrm>
            <a:off x="4971288" y="1839467"/>
            <a:ext cx="234695" cy="236219"/>
          </a:xfrm>
          <a:prstGeom prst="rect">
            <a:avLst/>
          </a:prstGeom>
          <a:blipFill>
            <a:blip r:embed="rId10" cstate="print"/>
            <a:stretch>
              <a:fillRect/>
            </a:stretch>
          </a:blipFill>
        </p:spPr>
        <p:txBody>
          <a:bodyPr wrap="square" lIns="0" tIns="0" rIns="0" bIns="0" rtlCol="0"/>
          <a:lstStyle/>
          <a:p>
            <a:endParaRPr/>
          </a:p>
        </p:txBody>
      </p:sp>
      <p:sp>
        <p:nvSpPr>
          <p:cNvPr id="75" name="object 75"/>
          <p:cNvSpPr txBox="1"/>
          <p:nvPr/>
        </p:nvSpPr>
        <p:spPr>
          <a:xfrm>
            <a:off x="5030215" y="1868169"/>
            <a:ext cx="11557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3</a:t>
            </a:r>
            <a:endParaRPr sz="1000">
              <a:latin typeface="Verdana"/>
              <a:cs typeface="Verdana"/>
            </a:endParaRPr>
          </a:p>
        </p:txBody>
      </p:sp>
      <p:sp>
        <p:nvSpPr>
          <p:cNvPr id="76" name="object 76"/>
          <p:cNvSpPr/>
          <p:nvPr/>
        </p:nvSpPr>
        <p:spPr>
          <a:xfrm>
            <a:off x="7257288" y="1839467"/>
            <a:ext cx="236219" cy="236219"/>
          </a:xfrm>
          <a:prstGeom prst="rect">
            <a:avLst/>
          </a:prstGeom>
          <a:blipFill>
            <a:blip r:embed="rId11" cstate="print"/>
            <a:stretch>
              <a:fillRect/>
            </a:stretch>
          </a:blipFill>
        </p:spPr>
        <p:txBody>
          <a:bodyPr wrap="square" lIns="0" tIns="0" rIns="0" bIns="0" rtlCol="0"/>
          <a:lstStyle/>
          <a:p>
            <a:endParaRPr/>
          </a:p>
        </p:txBody>
      </p:sp>
      <p:sp>
        <p:nvSpPr>
          <p:cNvPr id="77" name="object 77"/>
          <p:cNvSpPr txBox="1"/>
          <p:nvPr/>
        </p:nvSpPr>
        <p:spPr>
          <a:xfrm>
            <a:off x="7316851" y="1868169"/>
            <a:ext cx="11557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4</a:t>
            </a:r>
            <a:endParaRPr sz="1000">
              <a:latin typeface="Verdana"/>
              <a:cs typeface="Verdana"/>
            </a:endParaRPr>
          </a:p>
        </p:txBody>
      </p:sp>
      <p:sp>
        <p:nvSpPr>
          <p:cNvPr id="78" name="object 78"/>
          <p:cNvSpPr/>
          <p:nvPr/>
        </p:nvSpPr>
        <p:spPr>
          <a:xfrm>
            <a:off x="9543288" y="1839467"/>
            <a:ext cx="236219" cy="236219"/>
          </a:xfrm>
          <a:prstGeom prst="rect">
            <a:avLst/>
          </a:prstGeom>
          <a:blipFill>
            <a:blip r:embed="rId12" cstate="print"/>
            <a:stretch>
              <a:fillRect/>
            </a:stretch>
          </a:blipFill>
        </p:spPr>
        <p:txBody>
          <a:bodyPr wrap="square" lIns="0" tIns="0" rIns="0" bIns="0" rtlCol="0"/>
          <a:lstStyle/>
          <a:p>
            <a:endParaRPr/>
          </a:p>
        </p:txBody>
      </p:sp>
      <p:sp>
        <p:nvSpPr>
          <p:cNvPr id="79" name="object 79"/>
          <p:cNvSpPr txBox="1"/>
          <p:nvPr/>
        </p:nvSpPr>
        <p:spPr>
          <a:xfrm>
            <a:off x="9603485" y="1868169"/>
            <a:ext cx="11557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5</a:t>
            </a:r>
            <a:endParaRPr sz="1000">
              <a:latin typeface="Verdana"/>
              <a:cs typeface="Verdana"/>
            </a:endParaRPr>
          </a:p>
        </p:txBody>
      </p:sp>
      <p:sp>
        <p:nvSpPr>
          <p:cNvPr id="80" name="object 80"/>
          <p:cNvSpPr/>
          <p:nvPr/>
        </p:nvSpPr>
        <p:spPr>
          <a:xfrm>
            <a:off x="3115055" y="5224271"/>
            <a:ext cx="1187450" cy="410209"/>
          </a:xfrm>
          <a:custGeom>
            <a:avLst/>
            <a:gdLst/>
            <a:ahLst/>
            <a:cxnLst/>
            <a:rect l="l" t="t" r="r" b="b"/>
            <a:pathLst>
              <a:path w="1187450" h="410210">
                <a:moveTo>
                  <a:pt x="1118870" y="0"/>
                </a:moveTo>
                <a:lnTo>
                  <a:pt x="68325" y="0"/>
                </a:lnTo>
                <a:lnTo>
                  <a:pt x="41737" y="5371"/>
                </a:lnTo>
                <a:lnTo>
                  <a:pt x="20018" y="20018"/>
                </a:lnTo>
                <a:lnTo>
                  <a:pt x="5371" y="41737"/>
                </a:lnTo>
                <a:lnTo>
                  <a:pt x="0" y="68325"/>
                </a:lnTo>
                <a:lnTo>
                  <a:pt x="0" y="341629"/>
                </a:lnTo>
                <a:lnTo>
                  <a:pt x="5371" y="368223"/>
                </a:lnTo>
                <a:lnTo>
                  <a:pt x="20018" y="389942"/>
                </a:lnTo>
                <a:lnTo>
                  <a:pt x="41737" y="404586"/>
                </a:lnTo>
                <a:lnTo>
                  <a:pt x="68325" y="409955"/>
                </a:lnTo>
                <a:lnTo>
                  <a:pt x="1118870" y="409955"/>
                </a:lnTo>
                <a:lnTo>
                  <a:pt x="1145458" y="404586"/>
                </a:lnTo>
                <a:lnTo>
                  <a:pt x="1167177" y="389942"/>
                </a:lnTo>
                <a:lnTo>
                  <a:pt x="1181824" y="368223"/>
                </a:lnTo>
                <a:lnTo>
                  <a:pt x="1187195" y="341629"/>
                </a:lnTo>
                <a:lnTo>
                  <a:pt x="1187195" y="68325"/>
                </a:lnTo>
                <a:lnTo>
                  <a:pt x="1181824" y="41737"/>
                </a:lnTo>
                <a:lnTo>
                  <a:pt x="1167177" y="20018"/>
                </a:lnTo>
                <a:lnTo>
                  <a:pt x="1145458" y="5371"/>
                </a:lnTo>
                <a:lnTo>
                  <a:pt x="1118870" y="0"/>
                </a:lnTo>
                <a:close/>
              </a:path>
            </a:pathLst>
          </a:custGeom>
          <a:solidFill>
            <a:srgbClr val="A6A6A6"/>
          </a:solidFill>
        </p:spPr>
        <p:txBody>
          <a:bodyPr wrap="square" lIns="0" tIns="0" rIns="0" bIns="0" rtlCol="0"/>
          <a:lstStyle/>
          <a:p>
            <a:endParaRPr/>
          </a:p>
        </p:txBody>
      </p:sp>
      <p:sp>
        <p:nvSpPr>
          <p:cNvPr id="81" name="object 81"/>
          <p:cNvSpPr txBox="1"/>
          <p:nvPr/>
        </p:nvSpPr>
        <p:spPr>
          <a:xfrm>
            <a:off x="3230626" y="5265165"/>
            <a:ext cx="955675" cy="330200"/>
          </a:xfrm>
          <a:prstGeom prst="rect">
            <a:avLst/>
          </a:prstGeom>
        </p:spPr>
        <p:txBody>
          <a:bodyPr vert="horz" wrap="square" lIns="0" tIns="12065" rIns="0" bIns="0" rtlCol="0">
            <a:spAutoFit/>
          </a:bodyPr>
          <a:lstStyle/>
          <a:p>
            <a:pPr marL="184785" marR="5080" indent="-172720">
              <a:lnSpc>
                <a:spcPct val="100000"/>
              </a:lnSpc>
              <a:spcBef>
                <a:spcPts val="95"/>
              </a:spcBef>
            </a:pPr>
            <a:r>
              <a:rPr sz="1000" b="1" spc="-5">
                <a:solidFill>
                  <a:srgbClr val="FFFFFF"/>
                </a:solidFill>
                <a:latin typeface="Verdana"/>
                <a:cs typeface="Verdana"/>
              </a:rPr>
              <a:t>O</a:t>
            </a:r>
            <a:r>
              <a:rPr sz="1000" b="1" spc="-10">
                <a:solidFill>
                  <a:srgbClr val="FFFFFF"/>
                </a:solidFill>
                <a:latin typeface="Verdana"/>
                <a:cs typeface="Verdana"/>
              </a:rPr>
              <a:t>mnichanne</a:t>
            </a:r>
            <a:r>
              <a:rPr sz="1000" b="1" spc="-5">
                <a:solidFill>
                  <a:srgbClr val="FFFFFF"/>
                </a:solidFill>
                <a:latin typeface="Verdana"/>
                <a:cs typeface="Verdana"/>
              </a:rPr>
              <a:t>l  </a:t>
            </a:r>
            <a:r>
              <a:rPr sz="1000" b="1" spc="-10">
                <a:solidFill>
                  <a:srgbClr val="FFFFFF"/>
                </a:solidFill>
                <a:latin typeface="Verdana"/>
                <a:cs typeface="Verdana"/>
              </a:rPr>
              <a:t>Solution</a:t>
            </a:r>
            <a:endParaRPr sz="1000">
              <a:latin typeface="Verdana"/>
              <a:cs typeface="Verdana"/>
            </a:endParaRPr>
          </a:p>
        </p:txBody>
      </p:sp>
      <p:sp>
        <p:nvSpPr>
          <p:cNvPr id="83" name="object 8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84" name="object 84"/>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39</a:t>
            </a:fld>
            <a:endParaRPr sz="800">
              <a:latin typeface="Verdana"/>
              <a:cs typeface="Verdan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rPr>
              <a:t>02</a:t>
            </a:r>
            <a:endParaRPr sz="4400"/>
          </a:p>
        </p:txBody>
      </p:sp>
      <p:sp>
        <p:nvSpPr>
          <p:cNvPr id="9" name="object 9"/>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2" name="object 12"/>
          <p:cNvSpPr/>
          <p:nvPr/>
        </p:nvSpPr>
        <p:spPr>
          <a:xfrm>
            <a:off x="443483" y="3668267"/>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3" name="object 13"/>
          <p:cNvSpPr/>
          <p:nvPr/>
        </p:nvSpPr>
        <p:spPr>
          <a:xfrm>
            <a:off x="502919" y="3736847"/>
            <a:ext cx="169164" cy="150875"/>
          </a:xfrm>
          <a:prstGeom prst="rect">
            <a:avLst/>
          </a:prstGeom>
          <a:blipFill>
            <a:blip r:embed="rId3" cstate="print"/>
            <a:stretch>
              <a:fillRect/>
            </a:stretch>
          </a:blipFill>
        </p:spPr>
        <p:txBody>
          <a:bodyPr wrap="square" lIns="0" tIns="0" rIns="0" bIns="0" rtlCol="0"/>
          <a:lstStyle/>
          <a:p>
            <a:endParaRPr/>
          </a:p>
        </p:txBody>
      </p:sp>
      <p:sp>
        <p:nvSpPr>
          <p:cNvPr id="14" name="object 14"/>
          <p:cNvSpPr txBox="1"/>
          <p:nvPr/>
        </p:nvSpPr>
        <p:spPr>
          <a:xfrm>
            <a:off x="540207" y="2902153"/>
            <a:ext cx="3759200" cy="1019810"/>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Capgemini </a:t>
            </a:r>
            <a:r>
              <a:rPr sz="2000" b="1" spc="-5">
                <a:solidFill>
                  <a:srgbClr val="FFFFFF"/>
                </a:solidFill>
                <a:latin typeface="Verdana"/>
                <a:cs typeface="Verdana"/>
              </a:rPr>
              <a:t>Organization</a:t>
            </a:r>
            <a:r>
              <a:rPr sz="2000" b="1" spc="-95">
                <a:solidFill>
                  <a:srgbClr val="FFFFFF"/>
                </a:solidFill>
                <a:latin typeface="Verdana"/>
                <a:cs typeface="Verdana"/>
              </a:rPr>
              <a:t> </a:t>
            </a:r>
            <a:r>
              <a:rPr sz="2000" b="1" spc="5">
                <a:solidFill>
                  <a:srgbClr val="FFFFFF"/>
                </a:solidFill>
                <a:latin typeface="Verdana"/>
                <a:cs typeface="Verdana"/>
              </a:rPr>
              <a:t>&amp;</a:t>
            </a:r>
            <a:endParaRPr sz="2000">
              <a:latin typeface="Verdana"/>
              <a:cs typeface="Verdana"/>
            </a:endParaRPr>
          </a:p>
          <a:p>
            <a:pPr marL="12700">
              <a:lnSpc>
                <a:spcPct val="100000"/>
              </a:lnSpc>
            </a:pPr>
            <a:r>
              <a:rPr sz="2000" b="1" spc="-5">
                <a:solidFill>
                  <a:srgbClr val="FFFFFF"/>
                </a:solidFill>
                <a:latin typeface="Verdana"/>
                <a:cs typeface="Verdana"/>
              </a:rPr>
              <a:t>Capabilities</a:t>
            </a:r>
            <a:endParaRPr sz="2000">
              <a:latin typeface="Verdana"/>
              <a:cs typeface="Verdana"/>
            </a:endParaRPr>
          </a:p>
          <a:p>
            <a:pPr marL="302895">
              <a:lnSpc>
                <a:spcPct val="100000"/>
              </a:lnSpc>
              <a:spcBef>
                <a:spcPts val="1340"/>
              </a:spcBef>
            </a:pPr>
            <a:r>
              <a:rPr sz="1400" b="1" spc="-5">
                <a:solidFill>
                  <a:srgbClr val="FFFFFF"/>
                </a:solidFill>
                <a:latin typeface="Verdana"/>
                <a:cs typeface="Verdana"/>
              </a:rPr>
              <a:t>Salesforce</a:t>
            </a:r>
            <a:r>
              <a:rPr sz="1400" b="1" spc="-25">
                <a:solidFill>
                  <a:srgbClr val="FFFFFF"/>
                </a:solidFill>
                <a:latin typeface="Verdana"/>
                <a:cs typeface="Verdana"/>
              </a:rPr>
              <a:t> </a:t>
            </a:r>
            <a:r>
              <a:rPr sz="1400" b="1" spc="-5">
                <a:solidFill>
                  <a:srgbClr val="FFFFFF"/>
                </a:solidFill>
                <a:latin typeface="Verdana"/>
                <a:cs typeface="Verdana"/>
              </a:rPr>
              <a:t>capabilities</a:t>
            </a:r>
            <a:endParaRPr sz="1400">
              <a:latin typeface="Verdana"/>
              <a:cs typeface="Verdana"/>
            </a:endParaRPr>
          </a:p>
        </p:txBody>
      </p:sp>
      <p:sp>
        <p:nvSpPr>
          <p:cNvPr id="15" name="object 1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6" name="object 1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4</a:t>
            </a:fld>
            <a:endParaRPr/>
          </a:p>
        </p:txBody>
      </p:sp>
      <p:pic>
        <p:nvPicPr>
          <p:cNvPr id="17" name="Picture 16">
            <a:extLst>
              <a:ext uri="{FF2B5EF4-FFF2-40B4-BE49-F238E27FC236}">
                <a16:creationId xmlns:a16="http://schemas.microsoft.com/office/drawing/2014/main" id="{C8D05E91-955B-40D3-BBFB-FE9E8B30E21E}"/>
              </a:ext>
            </a:extLst>
          </p:cNvPr>
          <p:cNvPicPr>
            <a:picLocks noChangeAspect="1"/>
          </p:cNvPicPr>
          <p:nvPr/>
        </p:nvPicPr>
        <p:blipFill>
          <a:blip r:embed="rId4"/>
          <a:stretch>
            <a:fillRect/>
          </a:stretch>
        </p:blipFill>
        <p:spPr>
          <a:xfrm>
            <a:off x="6182098" y="1638300"/>
            <a:ext cx="5085977" cy="2809876"/>
          </a:xfrm>
          <a:prstGeom prst="rect">
            <a:avLst/>
          </a:prstGeom>
        </p:spPr>
      </p:pic>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7075" y="1341119"/>
            <a:ext cx="11689080" cy="5173980"/>
          </a:xfrm>
          <a:custGeom>
            <a:avLst/>
            <a:gdLst/>
            <a:ahLst/>
            <a:cxnLst/>
            <a:rect l="l" t="t" r="r" b="b"/>
            <a:pathLst>
              <a:path w="11689080" h="5173980">
                <a:moveTo>
                  <a:pt x="0" y="5173980"/>
                </a:moveTo>
                <a:lnTo>
                  <a:pt x="11689080" y="5173980"/>
                </a:lnTo>
                <a:lnTo>
                  <a:pt x="11689080" y="0"/>
                </a:lnTo>
                <a:lnTo>
                  <a:pt x="0" y="0"/>
                </a:lnTo>
                <a:lnTo>
                  <a:pt x="0" y="5173980"/>
                </a:lnTo>
                <a:close/>
              </a:path>
            </a:pathLst>
          </a:custGeom>
          <a:solidFill>
            <a:srgbClr val="EBEBEB"/>
          </a:solidFill>
        </p:spPr>
        <p:txBody>
          <a:bodyPr wrap="square" lIns="0" tIns="0" rIns="0" bIns="0" rtlCol="0"/>
          <a:lstStyle/>
          <a:p>
            <a:endParaRPr/>
          </a:p>
        </p:txBody>
      </p:sp>
      <p:sp>
        <p:nvSpPr>
          <p:cNvPr id="3" name="object 3"/>
          <p:cNvSpPr/>
          <p:nvPr/>
        </p:nvSpPr>
        <p:spPr>
          <a:xfrm>
            <a:off x="335279" y="2028444"/>
            <a:ext cx="5935980" cy="1706880"/>
          </a:xfrm>
          <a:custGeom>
            <a:avLst/>
            <a:gdLst/>
            <a:ahLst/>
            <a:cxnLst/>
            <a:rect l="l" t="t" r="r" b="b"/>
            <a:pathLst>
              <a:path w="5935980" h="1706879">
                <a:moveTo>
                  <a:pt x="5751703" y="0"/>
                </a:moveTo>
                <a:lnTo>
                  <a:pt x="184327" y="0"/>
                </a:lnTo>
                <a:lnTo>
                  <a:pt x="135325" y="6585"/>
                </a:lnTo>
                <a:lnTo>
                  <a:pt x="91293" y="25169"/>
                </a:lnTo>
                <a:lnTo>
                  <a:pt x="53987" y="53990"/>
                </a:lnTo>
                <a:lnTo>
                  <a:pt x="25165" y="91289"/>
                </a:lnTo>
                <a:lnTo>
                  <a:pt x="6584" y="135304"/>
                </a:lnTo>
                <a:lnTo>
                  <a:pt x="0" y="184276"/>
                </a:lnTo>
                <a:lnTo>
                  <a:pt x="0" y="1522602"/>
                </a:lnTo>
                <a:lnTo>
                  <a:pt x="6584" y="1571575"/>
                </a:lnTo>
                <a:lnTo>
                  <a:pt x="25165" y="1615590"/>
                </a:lnTo>
                <a:lnTo>
                  <a:pt x="53987" y="1652889"/>
                </a:lnTo>
                <a:lnTo>
                  <a:pt x="91293" y="1681710"/>
                </a:lnTo>
                <a:lnTo>
                  <a:pt x="135325" y="1700294"/>
                </a:lnTo>
                <a:lnTo>
                  <a:pt x="184327" y="1706879"/>
                </a:lnTo>
                <a:lnTo>
                  <a:pt x="5751703" y="1706879"/>
                </a:lnTo>
                <a:lnTo>
                  <a:pt x="5800675" y="1700294"/>
                </a:lnTo>
                <a:lnTo>
                  <a:pt x="5844690" y="1681710"/>
                </a:lnTo>
                <a:lnTo>
                  <a:pt x="5881989" y="1652889"/>
                </a:lnTo>
                <a:lnTo>
                  <a:pt x="5910810" y="1615590"/>
                </a:lnTo>
                <a:lnTo>
                  <a:pt x="5929394" y="1571575"/>
                </a:lnTo>
                <a:lnTo>
                  <a:pt x="5935980" y="1522602"/>
                </a:lnTo>
                <a:lnTo>
                  <a:pt x="5935980" y="184276"/>
                </a:lnTo>
                <a:lnTo>
                  <a:pt x="5929394" y="135304"/>
                </a:lnTo>
                <a:lnTo>
                  <a:pt x="5910810" y="91289"/>
                </a:lnTo>
                <a:lnTo>
                  <a:pt x="5881989" y="53990"/>
                </a:lnTo>
                <a:lnTo>
                  <a:pt x="5844690" y="25169"/>
                </a:lnTo>
                <a:lnTo>
                  <a:pt x="5800675" y="6585"/>
                </a:lnTo>
                <a:lnTo>
                  <a:pt x="5751703" y="0"/>
                </a:lnTo>
                <a:close/>
              </a:path>
            </a:pathLst>
          </a:custGeom>
          <a:solidFill>
            <a:srgbClr val="FFFFFF"/>
          </a:solidFill>
        </p:spPr>
        <p:txBody>
          <a:bodyPr wrap="square" lIns="0" tIns="0" rIns="0" bIns="0" rtlCol="0"/>
          <a:lstStyle/>
          <a:p>
            <a:endParaRPr/>
          </a:p>
        </p:txBody>
      </p:sp>
      <p:sp>
        <p:nvSpPr>
          <p:cNvPr id="4" name="object 4"/>
          <p:cNvSpPr txBox="1"/>
          <p:nvPr/>
        </p:nvSpPr>
        <p:spPr>
          <a:xfrm>
            <a:off x="449376" y="2321178"/>
            <a:ext cx="5685155" cy="1383030"/>
          </a:xfrm>
          <a:prstGeom prst="rect">
            <a:avLst/>
          </a:prstGeom>
        </p:spPr>
        <p:txBody>
          <a:bodyPr vert="horz" wrap="square" lIns="0" tIns="13335" rIns="0" bIns="0" rtlCol="0">
            <a:spAutoFit/>
          </a:bodyPr>
          <a:lstStyle/>
          <a:p>
            <a:pPr marL="189230" marR="102235" indent="-177165">
              <a:lnSpc>
                <a:spcPct val="100000"/>
              </a:lnSpc>
              <a:spcBef>
                <a:spcPts val="105"/>
              </a:spcBef>
              <a:buClr>
                <a:srgbClr val="006FAC"/>
              </a:buClr>
              <a:buFont typeface="Wingdings"/>
              <a:buChar char=""/>
              <a:tabLst>
                <a:tab pos="189865" algn="l"/>
              </a:tabLst>
            </a:pPr>
            <a:r>
              <a:rPr sz="1050" b="1">
                <a:latin typeface="Verdana"/>
                <a:cs typeface="Verdana"/>
              </a:rPr>
              <a:t>Setup the train-the-trainer approach </a:t>
            </a:r>
            <a:r>
              <a:rPr sz="1050" spc="-5">
                <a:latin typeface="Verdana"/>
                <a:cs typeface="Verdana"/>
              </a:rPr>
              <a:t>according </a:t>
            </a:r>
            <a:r>
              <a:rPr sz="1050">
                <a:latin typeface="Verdana"/>
                <a:cs typeface="Verdana"/>
              </a:rPr>
              <a:t>to previous experiences and  knowledge </a:t>
            </a:r>
            <a:r>
              <a:rPr sz="1050" spc="-5">
                <a:latin typeface="Verdana"/>
                <a:cs typeface="Verdana"/>
              </a:rPr>
              <a:t>of </a:t>
            </a:r>
            <a:r>
              <a:rPr sz="1050">
                <a:latin typeface="Verdana"/>
                <a:cs typeface="Verdana"/>
              </a:rPr>
              <a:t>Marelli’s selected </a:t>
            </a:r>
            <a:r>
              <a:rPr sz="1050" spc="-5">
                <a:latin typeface="Verdana"/>
                <a:cs typeface="Verdana"/>
              </a:rPr>
              <a:t>internal </a:t>
            </a:r>
            <a:r>
              <a:rPr sz="1050">
                <a:latin typeface="Verdana"/>
                <a:cs typeface="Verdana"/>
              </a:rPr>
              <a:t>key</a:t>
            </a:r>
            <a:r>
              <a:rPr sz="1050" spc="-70">
                <a:latin typeface="Verdana"/>
                <a:cs typeface="Verdana"/>
              </a:rPr>
              <a:t> </a:t>
            </a:r>
            <a:r>
              <a:rPr sz="1050">
                <a:latin typeface="Verdana"/>
                <a:cs typeface="Verdana"/>
              </a:rPr>
              <a:t>users</a:t>
            </a:r>
          </a:p>
          <a:p>
            <a:pPr marL="189230" marR="5080" indent="-177165">
              <a:lnSpc>
                <a:spcPct val="100000"/>
              </a:lnSpc>
              <a:spcBef>
                <a:spcPts val="204"/>
              </a:spcBef>
              <a:buClr>
                <a:srgbClr val="006FAC"/>
              </a:buClr>
              <a:buFont typeface="Wingdings"/>
              <a:buChar char=""/>
              <a:tabLst>
                <a:tab pos="189865" algn="l"/>
              </a:tabLst>
            </a:pPr>
            <a:r>
              <a:rPr sz="1050">
                <a:latin typeface="Verdana"/>
                <a:cs typeface="Verdana"/>
              </a:rPr>
              <a:t>Enable Marelli’s internal key users with the </a:t>
            </a:r>
            <a:r>
              <a:rPr sz="1050" b="1" spc="-5">
                <a:latin typeface="Verdana"/>
                <a:cs typeface="Verdana"/>
              </a:rPr>
              <a:t>needed competencies </a:t>
            </a:r>
            <a:r>
              <a:rPr sz="1050">
                <a:latin typeface="Verdana"/>
                <a:cs typeface="Verdana"/>
              </a:rPr>
              <a:t>and ability to  conduct the trainings and transfer the required knowledge to other </a:t>
            </a:r>
            <a:r>
              <a:rPr sz="1050" b="1">
                <a:latin typeface="Verdana"/>
                <a:cs typeface="Verdana"/>
              </a:rPr>
              <a:t>target  groups </a:t>
            </a:r>
            <a:r>
              <a:rPr sz="1050">
                <a:latin typeface="Verdana"/>
                <a:cs typeface="Verdana"/>
              </a:rPr>
              <a:t>within the</a:t>
            </a:r>
            <a:r>
              <a:rPr sz="1050" spc="-40">
                <a:latin typeface="Verdana"/>
                <a:cs typeface="Verdana"/>
              </a:rPr>
              <a:t> </a:t>
            </a:r>
            <a:r>
              <a:rPr sz="1050" spc="-5">
                <a:latin typeface="Verdana"/>
                <a:cs typeface="Verdana"/>
              </a:rPr>
              <a:t>organization</a:t>
            </a:r>
            <a:endParaRPr sz="1050">
              <a:latin typeface="Verdana"/>
              <a:cs typeface="Verdana"/>
            </a:endParaRPr>
          </a:p>
          <a:p>
            <a:pPr marL="189230" marR="27940" indent="-177165">
              <a:lnSpc>
                <a:spcPct val="100000"/>
              </a:lnSpc>
              <a:spcBef>
                <a:spcPts val="195"/>
              </a:spcBef>
              <a:buClr>
                <a:srgbClr val="006FAC"/>
              </a:buClr>
              <a:buFont typeface="Wingdings"/>
              <a:buChar char=""/>
              <a:tabLst>
                <a:tab pos="189865" algn="l"/>
              </a:tabLst>
            </a:pPr>
            <a:r>
              <a:rPr sz="1050" b="1">
                <a:latin typeface="Verdana"/>
                <a:cs typeface="Verdana"/>
              </a:rPr>
              <a:t>Establish a common understanding </a:t>
            </a:r>
            <a:r>
              <a:rPr sz="1050" spc="-5">
                <a:latin typeface="Verdana"/>
                <a:cs typeface="Verdana"/>
              </a:rPr>
              <a:t>of </a:t>
            </a:r>
            <a:r>
              <a:rPr sz="1050">
                <a:latin typeface="Verdana"/>
                <a:cs typeface="Verdana"/>
              </a:rPr>
              <a:t>the target </a:t>
            </a:r>
            <a:r>
              <a:rPr sz="1050" spc="-5">
                <a:latin typeface="Verdana"/>
                <a:cs typeface="Verdana"/>
              </a:rPr>
              <a:t>capabilities/ </a:t>
            </a:r>
            <a:r>
              <a:rPr sz="1050">
                <a:latin typeface="Verdana"/>
                <a:cs typeface="Verdana"/>
              </a:rPr>
              <a:t>skills as </a:t>
            </a:r>
            <a:r>
              <a:rPr sz="1050" spc="-5">
                <a:latin typeface="Verdana"/>
                <a:cs typeface="Verdana"/>
              </a:rPr>
              <a:t>well </a:t>
            </a:r>
            <a:r>
              <a:rPr sz="1050">
                <a:latin typeface="Verdana"/>
                <a:cs typeface="Verdana"/>
              </a:rPr>
              <a:t>as  the implications for the dedicated stakeholders amongst the</a:t>
            </a:r>
            <a:r>
              <a:rPr sz="1050" spc="-200">
                <a:latin typeface="Verdana"/>
                <a:cs typeface="Verdana"/>
              </a:rPr>
              <a:t> </a:t>
            </a:r>
            <a:r>
              <a:rPr sz="1050">
                <a:latin typeface="Verdana"/>
                <a:cs typeface="Verdana"/>
              </a:rPr>
              <a:t>trainers</a:t>
            </a:r>
          </a:p>
          <a:p>
            <a:pPr marL="189230" indent="-177165">
              <a:lnSpc>
                <a:spcPct val="100000"/>
              </a:lnSpc>
              <a:spcBef>
                <a:spcPts val="200"/>
              </a:spcBef>
              <a:buClr>
                <a:srgbClr val="006FAC"/>
              </a:buClr>
              <a:buFont typeface="Wingdings"/>
              <a:buChar char=""/>
              <a:tabLst>
                <a:tab pos="189865" algn="l"/>
              </a:tabLst>
            </a:pPr>
            <a:r>
              <a:rPr sz="1050">
                <a:latin typeface="Verdana"/>
                <a:cs typeface="Verdana"/>
              </a:rPr>
              <a:t>Monitor, evaluate and </a:t>
            </a:r>
            <a:r>
              <a:rPr sz="1050" b="1" spc="5">
                <a:latin typeface="Verdana"/>
                <a:cs typeface="Verdana"/>
              </a:rPr>
              <a:t>adapt </a:t>
            </a:r>
            <a:r>
              <a:rPr sz="1050" b="1">
                <a:latin typeface="Verdana"/>
                <a:cs typeface="Verdana"/>
              </a:rPr>
              <a:t>CA trainings if</a:t>
            </a:r>
            <a:r>
              <a:rPr sz="1050" b="1" spc="-160">
                <a:latin typeface="Verdana"/>
                <a:cs typeface="Verdana"/>
              </a:rPr>
              <a:t> </a:t>
            </a:r>
            <a:r>
              <a:rPr sz="1050" b="1" spc="-5">
                <a:latin typeface="Verdana"/>
                <a:cs typeface="Verdana"/>
              </a:rPr>
              <a:t>needed</a:t>
            </a:r>
            <a:endParaRPr sz="1050">
              <a:latin typeface="Verdana"/>
              <a:cs typeface="Verdana"/>
            </a:endParaRPr>
          </a:p>
        </p:txBody>
      </p:sp>
      <p:sp>
        <p:nvSpPr>
          <p:cNvPr id="5" name="object 5"/>
          <p:cNvSpPr/>
          <p:nvPr/>
        </p:nvSpPr>
        <p:spPr>
          <a:xfrm>
            <a:off x="335279" y="4088891"/>
            <a:ext cx="5935980" cy="2312035"/>
          </a:xfrm>
          <a:custGeom>
            <a:avLst/>
            <a:gdLst/>
            <a:ahLst/>
            <a:cxnLst/>
            <a:rect l="l" t="t" r="r" b="b"/>
            <a:pathLst>
              <a:path w="5935980" h="2312035">
                <a:moveTo>
                  <a:pt x="5725160" y="0"/>
                </a:moveTo>
                <a:lnTo>
                  <a:pt x="210794" y="0"/>
                </a:lnTo>
                <a:lnTo>
                  <a:pt x="162460" y="5566"/>
                </a:lnTo>
                <a:lnTo>
                  <a:pt x="118091" y="21423"/>
                </a:lnTo>
                <a:lnTo>
                  <a:pt x="78952" y="46306"/>
                </a:lnTo>
                <a:lnTo>
                  <a:pt x="46308" y="78951"/>
                </a:lnTo>
                <a:lnTo>
                  <a:pt x="21425" y="118095"/>
                </a:lnTo>
                <a:lnTo>
                  <a:pt x="5567" y="162472"/>
                </a:lnTo>
                <a:lnTo>
                  <a:pt x="0" y="210819"/>
                </a:lnTo>
                <a:lnTo>
                  <a:pt x="0" y="2101113"/>
                </a:lnTo>
                <a:lnTo>
                  <a:pt x="5567" y="2149447"/>
                </a:lnTo>
                <a:lnTo>
                  <a:pt x="21425" y="2193816"/>
                </a:lnTo>
                <a:lnTo>
                  <a:pt x="46308" y="2232955"/>
                </a:lnTo>
                <a:lnTo>
                  <a:pt x="78952" y="2265599"/>
                </a:lnTo>
                <a:lnTo>
                  <a:pt x="118091" y="2290482"/>
                </a:lnTo>
                <a:lnTo>
                  <a:pt x="162460" y="2306340"/>
                </a:lnTo>
                <a:lnTo>
                  <a:pt x="210794" y="2311907"/>
                </a:lnTo>
                <a:lnTo>
                  <a:pt x="5725160" y="2311907"/>
                </a:lnTo>
                <a:lnTo>
                  <a:pt x="5773507" y="2306340"/>
                </a:lnTo>
                <a:lnTo>
                  <a:pt x="5817884" y="2290482"/>
                </a:lnTo>
                <a:lnTo>
                  <a:pt x="5857028" y="2265599"/>
                </a:lnTo>
                <a:lnTo>
                  <a:pt x="5889673" y="2232955"/>
                </a:lnTo>
                <a:lnTo>
                  <a:pt x="5914556" y="2193816"/>
                </a:lnTo>
                <a:lnTo>
                  <a:pt x="5930413" y="2149447"/>
                </a:lnTo>
                <a:lnTo>
                  <a:pt x="5935980" y="2101113"/>
                </a:lnTo>
                <a:lnTo>
                  <a:pt x="5935980" y="210819"/>
                </a:lnTo>
                <a:lnTo>
                  <a:pt x="5930413" y="162472"/>
                </a:lnTo>
                <a:lnTo>
                  <a:pt x="5914556" y="118095"/>
                </a:lnTo>
                <a:lnTo>
                  <a:pt x="5889673" y="78951"/>
                </a:lnTo>
                <a:lnTo>
                  <a:pt x="5857028" y="46306"/>
                </a:lnTo>
                <a:lnTo>
                  <a:pt x="5817884" y="21423"/>
                </a:lnTo>
                <a:lnTo>
                  <a:pt x="5773507" y="5566"/>
                </a:lnTo>
                <a:lnTo>
                  <a:pt x="5725160" y="0"/>
                </a:lnTo>
                <a:close/>
              </a:path>
            </a:pathLst>
          </a:custGeom>
          <a:solidFill>
            <a:srgbClr val="FFFFFF"/>
          </a:solidFill>
        </p:spPr>
        <p:txBody>
          <a:bodyPr wrap="square" lIns="0" tIns="0" rIns="0" bIns="0" rtlCol="0"/>
          <a:lstStyle/>
          <a:p>
            <a:endParaRPr/>
          </a:p>
        </p:txBody>
      </p:sp>
      <p:sp>
        <p:nvSpPr>
          <p:cNvPr id="6" name="object 6"/>
          <p:cNvSpPr txBox="1"/>
          <p:nvPr/>
        </p:nvSpPr>
        <p:spPr>
          <a:xfrm>
            <a:off x="456996" y="4360290"/>
            <a:ext cx="5660390" cy="1878964"/>
          </a:xfrm>
          <a:prstGeom prst="rect">
            <a:avLst/>
          </a:prstGeom>
        </p:spPr>
        <p:txBody>
          <a:bodyPr vert="horz" wrap="square" lIns="0" tIns="41275" rIns="0" bIns="0" rtlCol="0">
            <a:spAutoFit/>
          </a:bodyPr>
          <a:lstStyle/>
          <a:p>
            <a:pPr marL="189230" marR="5080" indent="-177165">
              <a:lnSpc>
                <a:spcPts val="960"/>
              </a:lnSpc>
              <a:spcBef>
                <a:spcPts val="325"/>
              </a:spcBef>
              <a:buClr>
                <a:srgbClr val="006FAC"/>
              </a:buClr>
              <a:buFont typeface="Wingdings"/>
              <a:buChar char=""/>
              <a:tabLst>
                <a:tab pos="189865" algn="l"/>
              </a:tabLst>
            </a:pPr>
            <a:r>
              <a:rPr sz="1000" spc="-5">
                <a:latin typeface="Verdana"/>
                <a:cs typeface="Verdana"/>
              </a:rPr>
              <a:t>Conduct a </a:t>
            </a:r>
            <a:r>
              <a:rPr sz="1000" b="1" spc="-10">
                <a:latin typeface="Verdana"/>
                <a:cs typeface="Verdana"/>
              </a:rPr>
              <a:t>high level training need </a:t>
            </a:r>
            <a:r>
              <a:rPr sz="1000">
                <a:latin typeface="Verdana"/>
                <a:cs typeface="Verdana"/>
              </a:rPr>
              <a:t>analysis </a:t>
            </a:r>
            <a:r>
              <a:rPr sz="1000" spc="-5">
                <a:latin typeface="Verdana"/>
                <a:cs typeface="Verdana"/>
              </a:rPr>
              <a:t>to collect </a:t>
            </a:r>
            <a:r>
              <a:rPr sz="1000">
                <a:latin typeface="Verdana"/>
                <a:cs typeface="Verdana"/>
              </a:rPr>
              <a:t>input </a:t>
            </a:r>
            <a:r>
              <a:rPr sz="1000" spc="-5">
                <a:latin typeface="Verdana"/>
                <a:cs typeface="Verdana"/>
              </a:rPr>
              <a:t>on the </a:t>
            </a:r>
            <a:r>
              <a:rPr sz="1000">
                <a:latin typeface="Verdana"/>
                <a:cs typeface="Verdana"/>
              </a:rPr>
              <a:t>individual </a:t>
            </a:r>
            <a:r>
              <a:rPr sz="1000" spc="-10">
                <a:latin typeface="Verdana"/>
                <a:cs typeface="Verdana"/>
              </a:rPr>
              <a:t>needs  of </a:t>
            </a:r>
            <a:r>
              <a:rPr sz="1000" spc="-5">
                <a:latin typeface="Verdana"/>
                <a:cs typeface="Verdana"/>
              </a:rPr>
              <a:t>End </a:t>
            </a:r>
            <a:r>
              <a:rPr sz="1000" spc="-10">
                <a:latin typeface="Verdana"/>
                <a:cs typeface="Verdana"/>
              </a:rPr>
              <a:t>Users </a:t>
            </a:r>
            <a:r>
              <a:rPr sz="1000" spc="-5">
                <a:latin typeface="Verdana"/>
                <a:cs typeface="Verdana"/>
              </a:rPr>
              <a:t>through an </a:t>
            </a:r>
            <a:r>
              <a:rPr sz="1000">
                <a:latin typeface="Verdana"/>
                <a:cs typeface="Verdana"/>
              </a:rPr>
              <a:t>online </a:t>
            </a:r>
            <a:r>
              <a:rPr sz="1000" spc="-10">
                <a:latin typeface="Verdana"/>
                <a:cs typeface="Verdana"/>
              </a:rPr>
              <a:t>survey </a:t>
            </a:r>
            <a:r>
              <a:rPr sz="1000">
                <a:latin typeface="Verdana"/>
                <a:cs typeface="Verdana"/>
              </a:rPr>
              <a:t>with </a:t>
            </a:r>
            <a:r>
              <a:rPr sz="1000" spc="-5">
                <a:latin typeface="Verdana"/>
                <a:cs typeface="Verdana"/>
              </a:rPr>
              <a:t>a </a:t>
            </a:r>
            <a:r>
              <a:rPr sz="1000">
                <a:latin typeface="Verdana"/>
                <a:cs typeface="Verdana"/>
              </a:rPr>
              <a:t>time </a:t>
            </a:r>
            <a:r>
              <a:rPr sz="1000" spc="5">
                <a:latin typeface="Verdana"/>
                <a:cs typeface="Verdana"/>
              </a:rPr>
              <a:t>limit </a:t>
            </a:r>
            <a:r>
              <a:rPr sz="1000" spc="-5">
                <a:latin typeface="Verdana"/>
                <a:cs typeface="Verdana"/>
              </a:rPr>
              <a:t>to answer and </a:t>
            </a:r>
            <a:r>
              <a:rPr sz="1000" spc="-10">
                <a:latin typeface="Verdana"/>
                <a:cs typeface="Verdana"/>
              </a:rPr>
              <a:t>requirements  </a:t>
            </a:r>
            <a:r>
              <a:rPr sz="1000" spc="-5">
                <a:latin typeface="Verdana"/>
                <a:cs typeface="Verdana"/>
              </a:rPr>
              <a:t>of Marelli involved</a:t>
            </a:r>
            <a:r>
              <a:rPr sz="1000">
                <a:latin typeface="Verdana"/>
                <a:cs typeface="Verdana"/>
              </a:rPr>
              <a:t> </a:t>
            </a:r>
            <a:r>
              <a:rPr sz="1000" spc="-5">
                <a:latin typeface="Verdana"/>
                <a:cs typeface="Verdana"/>
              </a:rPr>
              <a:t>stakeholders</a:t>
            </a:r>
            <a:endParaRPr sz="1000">
              <a:latin typeface="Verdana"/>
              <a:cs typeface="Verdana"/>
            </a:endParaRPr>
          </a:p>
          <a:p>
            <a:pPr marL="189230" marR="61594" indent="-177165">
              <a:lnSpc>
                <a:spcPts val="960"/>
              </a:lnSpc>
              <a:spcBef>
                <a:spcPts val="195"/>
              </a:spcBef>
              <a:buClr>
                <a:srgbClr val="006FAC"/>
              </a:buClr>
              <a:buFont typeface="Wingdings"/>
              <a:buChar char=""/>
              <a:tabLst>
                <a:tab pos="189865" algn="l"/>
              </a:tabLst>
            </a:pPr>
            <a:r>
              <a:rPr sz="1000" spc="-5">
                <a:latin typeface="Verdana"/>
                <a:cs typeface="Verdana"/>
              </a:rPr>
              <a:t>Develop an </a:t>
            </a:r>
            <a:r>
              <a:rPr sz="1000" b="1" spc="-10">
                <a:latin typeface="Verdana"/>
                <a:cs typeface="Verdana"/>
              </a:rPr>
              <a:t>individual training </a:t>
            </a:r>
            <a:r>
              <a:rPr sz="1000" b="1" spc="-5">
                <a:latin typeface="Verdana"/>
                <a:cs typeface="Verdana"/>
              </a:rPr>
              <a:t>strategy </a:t>
            </a:r>
            <a:r>
              <a:rPr sz="1000" spc="-5">
                <a:latin typeface="Verdana"/>
                <a:cs typeface="Verdana"/>
              </a:rPr>
              <a:t>and </a:t>
            </a:r>
            <a:r>
              <a:rPr sz="1000">
                <a:latin typeface="Verdana"/>
                <a:cs typeface="Verdana"/>
              </a:rPr>
              <a:t>plan </a:t>
            </a:r>
            <a:r>
              <a:rPr sz="1000" spc="-5">
                <a:latin typeface="Verdana"/>
                <a:cs typeface="Verdana"/>
              </a:rPr>
              <a:t>based on Marelli’s as well as the  end users</a:t>
            </a:r>
            <a:r>
              <a:rPr sz="1000" spc="45">
                <a:latin typeface="Verdana"/>
                <a:cs typeface="Verdana"/>
              </a:rPr>
              <a:t> </a:t>
            </a:r>
            <a:r>
              <a:rPr sz="1000" spc="-10">
                <a:latin typeface="Verdana"/>
                <a:cs typeface="Verdana"/>
              </a:rPr>
              <a:t>needs</a:t>
            </a:r>
            <a:endParaRPr sz="1000">
              <a:latin typeface="Verdana"/>
              <a:cs typeface="Verdana"/>
            </a:endParaRPr>
          </a:p>
          <a:p>
            <a:pPr marL="189230" indent="-177165">
              <a:lnSpc>
                <a:spcPts val="1050"/>
              </a:lnSpc>
              <a:buClr>
                <a:srgbClr val="006FAC"/>
              </a:buClr>
              <a:buFont typeface="Wingdings"/>
              <a:buChar char=""/>
              <a:tabLst>
                <a:tab pos="189865" algn="l"/>
              </a:tabLst>
            </a:pPr>
            <a:r>
              <a:rPr sz="1000" spc="-5">
                <a:latin typeface="Verdana"/>
                <a:cs typeface="Verdana"/>
              </a:rPr>
              <a:t>Develop a </a:t>
            </a:r>
            <a:r>
              <a:rPr sz="1000" b="1" spc="-10">
                <a:latin typeface="Verdana"/>
                <a:cs typeface="Verdana"/>
              </a:rPr>
              <a:t>train-the-trainer </a:t>
            </a:r>
            <a:r>
              <a:rPr sz="1000" spc="-5">
                <a:latin typeface="Verdana"/>
                <a:cs typeface="Verdana"/>
              </a:rPr>
              <a:t>approach that enables selected Marelli </a:t>
            </a:r>
            <a:r>
              <a:rPr sz="1000" spc="-10">
                <a:latin typeface="Verdana"/>
                <a:cs typeface="Verdana"/>
              </a:rPr>
              <a:t>key </a:t>
            </a:r>
            <a:r>
              <a:rPr sz="1000" spc="-5">
                <a:latin typeface="Verdana"/>
                <a:cs typeface="Verdana"/>
              </a:rPr>
              <a:t>users</a:t>
            </a:r>
            <a:r>
              <a:rPr sz="1000" spc="270">
                <a:latin typeface="Verdana"/>
                <a:cs typeface="Verdana"/>
              </a:rPr>
              <a:t> </a:t>
            </a:r>
            <a:r>
              <a:rPr sz="1000" spc="-5">
                <a:latin typeface="Verdana"/>
                <a:cs typeface="Verdana"/>
              </a:rPr>
              <a:t>to</a:t>
            </a:r>
            <a:endParaRPr sz="1000">
              <a:latin typeface="Verdana"/>
              <a:cs typeface="Verdana"/>
            </a:endParaRPr>
          </a:p>
          <a:p>
            <a:pPr marL="189230">
              <a:lnSpc>
                <a:spcPts val="1070"/>
              </a:lnSpc>
            </a:pPr>
            <a:r>
              <a:rPr sz="1000" b="1" spc="-10">
                <a:latin typeface="Verdana"/>
                <a:cs typeface="Verdana"/>
              </a:rPr>
              <a:t>enable </a:t>
            </a:r>
            <a:r>
              <a:rPr sz="1000" b="1" spc="-5">
                <a:latin typeface="Verdana"/>
                <a:cs typeface="Verdana"/>
              </a:rPr>
              <a:t>the </a:t>
            </a:r>
            <a:r>
              <a:rPr sz="1000" b="1" spc="-10">
                <a:latin typeface="Verdana"/>
                <a:cs typeface="Verdana"/>
              </a:rPr>
              <a:t>end</a:t>
            </a:r>
            <a:r>
              <a:rPr sz="1000" b="1" spc="15">
                <a:latin typeface="Verdana"/>
                <a:cs typeface="Verdana"/>
              </a:rPr>
              <a:t> </a:t>
            </a:r>
            <a:r>
              <a:rPr sz="1000" b="1" spc="-10">
                <a:latin typeface="Verdana"/>
                <a:cs typeface="Verdana"/>
              </a:rPr>
              <a:t>users</a:t>
            </a:r>
            <a:endParaRPr sz="1000">
              <a:latin typeface="Verdana"/>
              <a:cs typeface="Verdana"/>
            </a:endParaRPr>
          </a:p>
          <a:p>
            <a:pPr marL="377190" lvl="1" indent="-188595">
              <a:lnSpc>
                <a:spcPts val="1065"/>
              </a:lnSpc>
              <a:buClr>
                <a:srgbClr val="12ABDB"/>
              </a:buClr>
              <a:buFont typeface="Arial"/>
              <a:buChar char="•"/>
              <a:tabLst>
                <a:tab pos="376555" algn="l"/>
                <a:tab pos="377825" algn="l"/>
              </a:tabLst>
            </a:pPr>
            <a:r>
              <a:rPr sz="900" spc="-5">
                <a:latin typeface="Verdana"/>
                <a:cs typeface="Verdana"/>
              </a:rPr>
              <a:t>Enable key users </a:t>
            </a:r>
            <a:r>
              <a:rPr sz="900">
                <a:latin typeface="Verdana"/>
                <a:cs typeface="Verdana"/>
              </a:rPr>
              <a:t>to maintain </a:t>
            </a:r>
            <a:r>
              <a:rPr sz="900" spc="-5">
                <a:latin typeface="Verdana"/>
                <a:cs typeface="Verdana"/>
              </a:rPr>
              <a:t>and conduct the training</a:t>
            </a:r>
            <a:r>
              <a:rPr sz="900" spc="55">
                <a:latin typeface="Verdana"/>
                <a:cs typeface="Verdana"/>
              </a:rPr>
              <a:t> </a:t>
            </a:r>
            <a:r>
              <a:rPr sz="900" spc="-5">
                <a:latin typeface="Verdana"/>
                <a:cs typeface="Verdana"/>
              </a:rPr>
              <a:t>measures</a:t>
            </a:r>
            <a:endParaRPr sz="900">
              <a:latin typeface="Verdana"/>
              <a:cs typeface="Verdana"/>
            </a:endParaRPr>
          </a:p>
          <a:p>
            <a:pPr marL="377190" marR="28575" lvl="1" indent="-187960">
              <a:lnSpc>
                <a:spcPts val="860"/>
              </a:lnSpc>
              <a:spcBef>
                <a:spcPts val="204"/>
              </a:spcBef>
              <a:buClr>
                <a:srgbClr val="12ABDB"/>
              </a:buClr>
              <a:buFont typeface="Arial"/>
              <a:buChar char="•"/>
              <a:tabLst>
                <a:tab pos="376555" algn="l"/>
                <a:tab pos="377825" algn="l"/>
              </a:tabLst>
            </a:pPr>
            <a:r>
              <a:rPr sz="900" spc="-5">
                <a:latin typeface="Verdana"/>
                <a:cs typeface="Verdana"/>
              </a:rPr>
              <a:t>Prepare the key users for their new </a:t>
            </a:r>
            <a:r>
              <a:rPr sz="900">
                <a:latin typeface="Verdana"/>
                <a:cs typeface="Verdana"/>
              </a:rPr>
              <a:t>role </a:t>
            </a:r>
            <a:r>
              <a:rPr sz="900" spc="-5">
                <a:latin typeface="Verdana"/>
                <a:cs typeface="Verdana"/>
              </a:rPr>
              <a:t>with simulations </a:t>
            </a:r>
            <a:r>
              <a:rPr sz="900">
                <a:latin typeface="Verdana"/>
                <a:cs typeface="Verdana"/>
              </a:rPr>
              <a:t>of </a:t>
            </a:r>
            <a:r>
              <a:rPr sz="900" spc="-5">
                <a:latin typeface="Verdana"/>
                <a:cs typeface="Verdana"/>
              </a:rPr>
              <a:t>concrete teaching and learning  situations</a:t>
            </a:r>
            <a:endParaRPr sz="900">
              <a:latin typeface="Verdana"/>
              <a:cs typeface="Verdana"/>
            </a:endParaRPr>
          </a:p>
          <a:p>
            <a:pPr marL="377190" lvl="1" indent="-188595">
              <a:lnSpc>
                <a:spcPts val="1070"/>
              </a:lnSpc>
              <a:buClr>
                <a:srgbClr val="12ABDB"/>
              </a:buClr>
              <a:buFont typeface="Arial"/>
              <a:buChar char="•"/>
              <a:tabLst>
                <a:tab pos="376555" algn="l"/>
                <a:tab pos="377825" algn="l"/>
              </a:tabLst>
            </a:pPr>
            <a:r>
              <a:rPr sz="900" spc="-5">
                <a:latin typeface="Verdana"/>
                <a:cs typeface="Verdana"/>
              </a:rPr>
              <a:t>Provide </a:t>
            </a:r>
            <a:r>
              <a:rPr sz="900">
                <a:latin typeface="Verdana"/>
                <a:cs typeface="Verdana"/>
              </a:rPr>
              <a:t>specific </a:t>
            </a:r>
            <a:r>
              <a:rPr sz="900" spc="-5">
                <a:latin typeface="Verdana"/>
                <a:cs typeface="Verdana"/>
              </a:rPr>
              <a:t>training </a:t>
            </a:r>
            <a:r>
              <a:rPr sz="900">
                <a:latin typeface="Verdana"/>
                <a:cs typeface="Verdana"/>
              </a:rPr>
              <a:t>on</a:t>
            </a:r>
            <a:r>
              <a:rPr sz="900" spc="10">
                <a:latin typeface="Verdana"/>
                <a:cs typeface="Verdana"/>
              </a:rPr>
              <a:t> </a:t>
            </a:r>
            <a:r>
              <a:rPr sz="900" spc="-5">
                <a:latin typeface="Verdana"/>
                <a:cs typeface="Verdana"/>
              </a:rPr>
              <a:t>content</a:t>
            </a:r>
            <a:endParaRPr sz="900">
              <a:latin typeface="Verdana"/>
              <a:cs typeface="Verdana"/>
            </a:endParaRPr>
          </a:p>
          <a:p>
            <a:pPr marL="377190" lvl="1" indent="-188595">
              <a:lnSpc>
                <a:spcPts val="1050"/>
              </a:lnSpc>
              <a:buClr>
                <a:srgbClr val="12ABDB"/>
              </a:buClr>
              <a:buFont typeface="Arial"/>
              <a:buChar char="•"/>
              <a:tabLst>
                <a:tab pos="376555" algn="l"/>
                <a:tab pos="377825" algn="l"/>
              </a:tabLst>
            </a:pPr>
            <a:r>
              <a:rPr sz="900" spc="-5">
                <a:latin typeface="Verdana"/>
                <a:cs typeface="Verdana"/>
              </a:rPr>
              <a:t>Discuss and </a:t>
            </a:r>
            <a:r>
              <a:rPr sz="900">
                <a:latin typeface="Verdana"/>
                <a:cs typeface="Verdana"/>
              </a:rPr>
              <a:t>give </a:t>
            </a:r>
            <a:r>
              <a:rPr sz="900" spc="-5">
                <a:latin typeface="Verdana"/>
                <a:cs typeface="Verdana"/>
              </a:rPr>
              <a:t>recommendations for transfer </a:t>
            </a:r>
            <a:r>
              <a:rPr sz="900">
                <a:latin typeface="Verdana"/>
                <a:cs typeface="Verdana"/>
              </a:rPr>
              <a:t>to </a:t>
            </a:r>
            <a:r>
              <a:rPr sz="900" spc="-5">
                <a:latin typeface="Verdana"/>
                <a:cs typeface="Verdana"/>
              </a:rPr>
              <a:t>everyday</a:t>
            </a:r>
            <a:r>
              <a:rPr sz="900" spc="60">
                <a:latin typeface="Verdana"/>
                <a:cs typeface="Verdana"/>
              </a:rPr>
              <a:t> </a:t>
            </a:r>
            <a:r>
              <a:rPr sz="900" spc="-5">
                <a:latin typeface="Verdana"/>
                <a:cs typeface="Verdana"/>
              </a:rPr>
              <a:t>training</a:t>
            </a:r>
            <a:endParaRPr sz="900">
              <a:latin typeface="Verdana"/>
              <a:cs typeface="Verdana"/>
            </a:endParaRPr>
          </a:p>
          <a:p>
            <a:pPr marL="189230" marR="99695" indent="-177165">
              <a:lnSpc>
                <a:spcPts val="960"/>
              </a:lnSpc>
              <a:spcBef>
                <a:spcPts val="215"/>
              </a:spcBef>
              <a:buClr>
                <a:srgbClr val="006FAC"/>
              </a:buClr>
              <a:buFont typeface="Wingdings"/>
              <a:buChar char=""/>
              <a:tabLst>
                <a:tab pos="189865" algn="l"/>
              </a:tabLst>
            </a:pPr>
            <a:r>
              <a:rPr sz="1000" b="1" spc="-10">
                <a:latin typeface="Verdana"/>
                <a:cs typeface="Verdana"/>
              </a:rPr>
              <a:t>Coordinate </a:t>
            </a:r>
            <a:r>
              <a:rPr sz="1000" spc="-5">
                <a:latin typeface="Verdana"/>
                <a:cs typeface="Verdana"/>
              </a:rPr>
              <a:t>the </a:t>
            </a:r>
            <a:r>
              <a:rPr sz="1000" b="1" spc="-5">
                <a:latin typeface="Verdana"/>
                <a:cs typeface="Verdana"/>
              </a:rPr>
              <a:t>KU </a:t>
            </a:r>
            <a:r>
              <a:rPr sz="1000" b="1" spc="-10">
                <a:latin typeface="Verdana"/>
                <a:cs typeface="Verdana"/>
              </a:rPr>
              <a:t>trainings </a:t>
            </a:r>
            <a:r>
              <a:rPr sz="1000" spc="-5">
                <a:latin typeface="Verdana"/>
                <a:cs typeface="Verdana"/>
              </a:rPr>
              <a:t>to </a:t>
            </a:r>
            <a:r>
              <a:rPr sz="1000">
                <a:latin typeface="Verdana"/>
                <a:cs typeface="Verdana"/>
              </a:rPr>
              <a:t>allow </a:t>
            </a:r>
            <a:r>
              <a:rPr sz="1000" spc="-5">
                <a:latin typeface="Verdana"/>
                <a:cs typeface="Verdana"/>
              </a:rPr>
              <a:t>a smooth execution as well as a </a:t>
            </a:r>
            <a:r>
              <a:rPr sz="1000">
                <a:latin typeface="Verdana"/>
                <a:cs typeface="Verdana"/>
              </a:rPr>
              <a:t>sustainable  </a:t>
            </a:r>
            <a:r>
              <a:rPr sz="1000" spc="-5">
                <a:latin typeface="Verdana"/>
                <a:cs typeface="Verdana"/>
              </a:rPr>
              <a:t>knowledge</a:t>
            </a:r>
            <a:r>
              <a:rPr sz="1000" spc="5">
                <a:latin typeface="Verdana"/>
                <a:cs typeface="Verdana"/>
              </a:rPr>
              <a:t> </a:t>
            </a:r>
            <a:r>
              <a:rPr sz="1000" spc="-5">
                <a:latin typeface="Verdana"/>
                <a:cs typeface="Verdana"/>
              </a:rPr>
              <a:t>transfer</a:t>
            </a:r>
            <a:endParaRPr sz="1000">
              <a:latin typeface="Verdana"/>
              <a:cs typeface="Verdana"/>
            </a:endParaRPr>
          </a:p>
        </p:txBody>
      </p:sp>
      <p:sp>
        <p:nvSpPr>
          <p:cNvPr id="7" name="object 7"/>
          <p:cNvSpPr txBox="1">
            <a:spLocks noGrp="1"/>
          </p:cNvSpPr>
          <p:nvPr>
            <p:ph type="title"/>
          </p:nvPr>
        </p:nvSpPr>
        <p:spPr>
          <a:xfrm>
            <a:off x="214680" y="140588"/>
            <a:ext cx="11050727" cy="776495"/>
          </a:xfrm>
          <a:prstGeom prst="rect">
            <a:avLst/>
          </a:prstGeom>
        </p:spPr>
        <p:txBody>
          <a:bodyPr vert="horz" wrap="square" lIns="0" tIns="57785" rIns="0" bIns="0" rtlCol="0">
            <a:spAutoFit/>
          </a:bodyPr>
          <a:lstStyle/>
          <a:p>
            <a:pPr marL="12700" marR="5080">
              <a:lnSpc>
                <a:spcPts val="2810"/>
              </a:lnSpc>
              <a:spcBef>
                <a:spcPts val="455"/>
              </a:spcBef>
            </a:pPr>
            <a:r>
              <a:rPr sz="2600"/>
              <a:t>Identified </a:t>
            </a:r>
            <a:r>
              <a:rPr sz="2600" spc="-30"/>
              <a:t>Key </a:t>
            </a:r>
            <a:r>
              <a:rPr sz="2600"/>
              <a:t>Users of Marelli are </a:t>
            </a:r>
            <a:r>
              <a:rPr sz="2600" spc="-5"/>
              <a:t>the Chosen Resources  to be </a:t>
            </a:r>
            <a:r>
              <a:rPr sz="2600" spc="-40"/>
              <a:t>Trained </a:t>
            </a:r>
            <a:r>
              <a:rPr sz="2600"/>
              <a:t>in </a:t>
            </a:r>
            <a:r>
              <a:rPr sz="2600" spc="-5"/>
              <a:t>the Proposed </a:t>
            </a:r>
            <a:r>
              <a:rPr sz="2600" spc="-60"/>
              <a:t>Train </a:t>
            </a:r>
            <a:r>
              <a:rPr sz="2600" spc="-5"/>
              <a:t>the </a:t>
            </a:r>
            <a:r>
              <a:rPr sz="2600" spc="-40"/>
              <a:t>Trainers</a:t>
            </a:r>
            <a:r>
              <a:rPr sz="2600" spc="60"/>
              <a:t> </a:t>
            </a:r>
            <a:r>
              <a:rPr sz="2600"/>
              <a:t>Approach</a:t>
            </a:r>
            <a:r>
              <a:rPr lang="it-IT" sz="2600"/>
              <a:t> (illustrative)</a:t>
            </a:r>
            <a:endParaRPr sz="2600"/>
          </a:p>
        </p:txBody>
      </p:sp>
      <p:sp>
        <p:nvSpPr>
          <p:cNvPr id="8" name="object 8"/>
          <p:cNvSpPr/>
          <p:nvPr/>
        </p:nvSpPr>
        <p:spPr>
          <a:xfrm>
            <a:off x="6384035" y="2028444"/>
            <a:ext cx="5400040" cy="4372610"/>
          </a:xfrm>
          <a:custGeom>
            <a:avLst/>
            <a:gdLst/>
            <a:ahLst/>
            <a:cxnLst/>
            <a:rect l="l" t="t" r="r" b="b"/>
            <a:pathLst>
              <a:path w="5400040" h="4372610">
                <a:moveTo>
                  <a:pt x="5141087" y="0"/>
                </a:moveTo>
                <a:lnTo>
                  <a:pt x="258444" y="0"/>
                </a:lnTo>
                <a:lnTo>
                  <a:pt x="211985" y="4163"/>
                </a:lnTo>
                <a:lnTo>
                  <a:pt x="168260" y="16167"/>
                </a:lnTo>
                <a:lnTo>
                  <a:pt x="127997" y="35282"/>
                </a:lnTo>
                <a:lnTo>
                  <a:pt x="91926" y="60778"/>
                </a:lnTo>
                <a:lnTo>
                  <a:pt x="60778" y="91926"/>
                </a:lnTo>
                <a:lnTo>
                  <a:pt x="35282" y="127997"/>
                </a:lnTo>
                <a:lnTo>
                  <a:pt x="16167" y="168260"/>
                </a:lnTo>
                <a:lnTo>
                  <a:pt x="4163" y="211985"/>
                </a:lnTo>
                <a:lnTo>
                  <a:pt x="0" y="258444"/>
                </a:lnTo>
                <a:lnTo>
                  <a:pt x="0" y="4113910"/>
                </a:lnTo>
                <a:lnTo>
                  <a:pt x="4163" y="4160366"/>
                </a:lnTo>
                <a:lnTo>
                  <a:pt x="16167" y="4204090"/>
                </a:lnTo>
                <a:lnTo>
                  <a:pt x="35282" y="4244353"/>
                </a:lnTo>
                <a:lnTo>
                  <a:pt x="60778" y="4280423"/>
                </a:lnTo>
                <a:lnTo>
                  <a:pt x="91926" y="4311572"/>
                </a:lnTo>
                <a:lnTo>
                  <a:pt x="127997" y="4337070"/>
                </a:lnTo>
                <a:lnTo>
                  <a:pt x="168260" y="4356187"/>
                </a:lnTo>
                <a:lnTo>
                  <a:pt x="211985" y="4368192"/>
                </a:lnTo>
                <a:lnTo>
                  <a:pt x="258444" y="4372356"/>
                </a:lnTo>
                <a:lnTo>
                  <a:pt x="5141087" y="4372356"/>
                </a:lnTo>
                <a:lnTo>
                  <a:pt x="5187546" y="4368192"/>
                </a:lnTo>
                <a:lnTo>
                  <a:pt x="5231271" y="4356187"/>
                </a:lnTo>
                <a:lnTo>
                  <a:pt x="5271534" y="4337070"/>
                </a:lnTo>
                <a:lnTo>
                  <a:pt x="5307605" y="4311572"/>
                </a:lnTo>
                <a:lnTo>
                  <a:pt x="5338753" y="4280423"/>
                </a:lnTo>
                <a:lnTo>
                  <a:pt x="5364249" y="4244353"/>
                </a:lnTo>
                <a:lnTo>
                  <a:pt x="5383364" y="4204090"/>
                </a:lnTo>
                <a:lnTo>
                  <a:pt x="5395368" y="4160366"/>
                </a:lnTo>
                <a:lnTo>
                  <a:pt x="5399532" y="4113910"/>
                </a:lnTo>
                <a:lnTo>
                  <a:pt x="5399532" y="258444"/>
                </a:lnTo>
                <a:lnTo>
                  <a:pt x="5395368" y="211985"/>
                </a:lnTo>
                <a:lnTo>
                  <a:pt x="5383364" y="168260"/>
                </a:lnTo>
                <a:lnTo>
                  <a:pt x="5364249" y="127997"/>
                </a:lnTo>
                <a:lnTo>
                  <a:pt x="5338753" y="91926"/>
                </a:lnTo>
                <a:lnTo>
                  <a:pt x="5307605" y="60778"/>
                </a:lnTo>
                <a:lnTo>
                  <a:pt x="5271534" y="35282"/>
                </a:lnTo>
                <a:lnTo>
                  <a:pt x="5231271" y="16167"/>
                </a:lnTo>
                <a:lnTo>
                  <a:pt x="5187546" y="4163"/>
                </a:lnTo>
                <a:lnTo>
                  <a:pt x="5141087" y="0"/>
                </a:lnTo>
                <a:close/>
              </a:path>
            </a:pathLst>
          </a:custGeom>
          <a:solidFill>
            <a:srgbClr val="FFFFFF"/>
          </a:solidFill>
        </p:spPr>
        <p:txBody>
          <a:bodyPr wrap="square" lIns="0" tIns="0" rIns="0" bIns="0" rtlCol="0"/>
          <a:lstStyle/>
          <a:p>
            <a:endParaRPr/>
          </a:p>
        </p:txBody>
      </p:sp>
      <p:sp>
        <p:nvSpPr>
          <p:cNvPr id="9" name="object 9"/>
          <p:cNvSpPr/>
          <p:nvPr/>
        </p:nvSpPr>
        <p:spPr>
          <a:xfrm>
            <a:off x="335279" y="1772411"/>
            <a:ext cx="5935980" cy="433070"/>
          </a:xfrm>
          <a:custGeom>
            <a:avLst/>
            <a:gdLst/>
            <a:ahLst/>
            <a:cxnLst/>
            <a:rect l="l" t="t" r="r" b="b"/>
            <a:pathLst>
              <a:path w="5935980" h="433069">
                <a:moveTo>
                  <a:pt x="5719572" y="0"/>
                </a:moveTo>
                <a:lnTo>
                  <a:pt x="216408" y="0"/>
                </a:lnTo>
                <a:lnTo>
                  <a:pt x="166787" y="5716"/>
                </a:lnTo>
                <a:lnTo>
                  <a:pt x="121236" y="21998"/>
                </a:lnTo>
                <a:lnTo>
                  <a:pt x="81055" y="47546"/>
                </a:lnTo>
                <a:lnTo>
                  <a:pt x="47542" y="81060"/>
                </a:lnTo>
                <a:lnTo>
                  <a:pt x="21995" y="121242"/>
                </a:lnTo>
                <a:lnTo>
                  <a:pt x="5715" y="166791"/>
                </a:lnTo>
                <a:lnTo>
                  <a:pt x="0" y="216408"/>
                </a:lnTo>
                <a:lnTo>
                  <a:pt x="0" y="432815"/>
                </a:lnTo>
                <a:lnTo>
                  <a:pt x="5935980" y="432815"/>
                </a:lnTo>
                <a:lnTo>
                  <a:pt x="5935980" y="216408"/>
                </a:lnTo>
                <a:lnTo>
                  <a:pt x="5930263" y="166791"/>
                </a:lnTo>
                <a:lnTo>
                  <a:pt x="5913981" y="121242"/>
                </a:lnTo>
                <a:lnTo>
                  <a:pt x="5888433" y="81060"/>
                </a:lnTo>
                <a:lnTo>
                  <a:pt x="5854919" y="47546"/>
                </a:lnTo>
                <a:lnTo>
                  <a:pt x="5814737" y="21998"/>
                </a:lnTo>
                <a:lnTo>
                  <a:pt x="5769188" y="5716"/>
                </a:lnTo>
                <a:lnTo>
                  <a:pt x="5719572" y="0"/>
                </a:lnTo>
                <a:close/>
              </a:path>
            </a:pathLst>
          </a:custGeom>
          <a:solidFill>
            <a:srgbClr val="006FAC"/>
          </a:solidFill>
        </p:spPr>
        <p:txBody>
          <a:bodyPr wrap="square" lIns="0" tIns="0" rIns="0" bIns="0" rtlCol="0"/>
          <a:lstStyle/>
          <a:p>
            <a:endParaRPr/>
          </a:p>
        </p:txBody>
      </p:sp>
      <p:sp>
        <p:nvSpPr>
          <p:cNvPr id="10" name="object 10"/>
          <p:cNvSpPr txBox="1"/>
          <p:nvPr/>
        </p:nvSpPr>
        <p:spPr>
          <a:xfrm>
            <a:off x="2818257" y="1889506"/>
            <a:ext cx="969644" cy="239395"/>
          </a:xfrm>
          <a:prstGeom prst="rect">
            <a:avLst/>
          </a:prstGeom>
        </p:spPr>
        <p:txBody>
          <a:bodyPr vert="horz" wrap="square" lIns="0" tIns="13335" rIns="0" bIns="0" rtlCol="0">
            <a:spAutoFit/>
          </a:bodyPr>
          <a:lstStyle/>
          <a:p>
            <a:pPr marL="12700">
              <a:lnSpc>
                <a:spcPct val="100000"/>
              </a:lnSpc>
              <a:spcBef>
                <a:spcPts val="105"/>
              </a:spcBef>
            </a:pPr>
            <a:r>
              <a:rPr sz="1400" b="1" spc="-10">
                <a:solidFill>
                  <a:srgbClr val="FFFFFF"/>
                </a:solidFill>
                <a:latin typeface="Verdana"/>
                <a:cs typeface="Verdana"/>
              </a:rPr>
              <a:t>O</a:t>
            </a:r>
            <a:r>
              <a:rPr sz="1400" b="1">
                <a:solidFill>
                  <a:srgbClr val="FFFFFF"/>
                </a:solidFill>
                <a:latin typeface="Verdana"/>
                <a:cs typeface="Verdana"/>
              </a:rPr>
              <a:t>verview</a:t>
            </a:r>
            <a:endParaRPr sz="1400">
              <a:latin typeface="Verdana"/>
              <a:cs typeface="Verdana"/>
            </a:endParaRPr>
          </a:p>
        </p:txBody>
      </p:sp>
      <p:sp>
        <p:nvSpPr>
          <p:cNvPr id="11" name="object 11"/>
          <p:cNvSpPr/>
          <p:nvPr/>
        </p:nvSpPr>
        <p:spPr>
          <a:xfrm>
            <a:off x="335279" y="3832859"/>
            <a:ext cx="5935980" cy="431800"/>
          </a:xfrm>
          <a:custGeom>
            <a:avLst/>
            <a:gdLst/>
            <a:ahLst/>
            <a:cxnLst/>
            <a:rect l="l" t="t" r="r" b="b"/>
            <a:pathLst>
              <a:path w="5935980" h="431800">
                <a:moveTo>
                  <a:pt x="5720334" y="0"/>
                </a:moveTo>
                <a:lnTo>
                  <a:pt x="215646" y="0"/>
                </a:lnTo>
                <a:lnTo>
                  <a:pt x="166199" y="5693"/>
                </a:lnTo>
                <a:lnTo>
                  <a:pt x="120809" y="21913"/>
                </a:lnTo>
                <a:lnTo>
                  <a:pt x="80769" y="47366"/>
                </a:lnTo>
                <a:lnTo>
                  <a:pt x="47374" y="80758"/>
                </a:lnTo>
                <a:lnTo>
                  <a:pt x="21918" y="120798"/>
                </a:lnTo>
                <a:lnTo>
                  <a:pt x="5695" y="166191"/>
                </a:lnTo>
                <a:lnTo>
                  <a:pt x="0" y="215645"/>
                </a:lnTo>
                <a:lnTo>
                  <a:pt x="0" y="431291"/>
                </a:lnTo>
                <a:lnTo>
                  <a:pt x="5935980" y="431291"/>
                </a:lnTo>
                <a:lnTo>
                  <a:pt x="5935980" y="215645"/>
                </a:lnTo>
                <a:lnTo>
                  <a:pt x="5930286" y="166191"/>
                </a:lnTo>
                <a:lnTo>
                  <a:pt x="5914066" y="120798"/>
                </a:lnTo>
                <a:lnTo>
                  <a:pt x="5888613" y="80758"/>
                </a:lnTo>
                <a:lnTo>
                  <a:pt x="5855221" y="47366"/>
                </a:lnTo>
                <a:lnTo>
                  <a:pt x="5815181" y="21913"/>
                </a:lnTo>
                <a:lnTo>
                  <a:pt x="5769788" y="5693"/>
                </a:lnTo>
                <a:lnTo>
                  <a:pt x="5720334" y="0"/>
                </a:lnTo>
                <a:close/>
              </a:path>
            </a:pathLst>
          </a:custGeom>
          <a:solidFill>
            <a:srgbClr val="E2001F"/>
          </a:solidFill>
        </p:spPr>
        <p:txBody>
          <a:bodyPr wrap="square" lIns="0" tIns="0" rIns="0" bIns="0" rtlCol="0"/>
          <a:lstStyle/>
          <a:p>
            <a:endParaRPr/>
          </a:p>
        </p:txBody>
      </p:sp>
      <p:sp>
        <p:nvSpPr>
          <p:cNvPr id="12" name="object 12"/>
          <p:cNvSpPr txBox="1"/>
          <p:nvPr/>
        </p:nvSpPr>
        <p:spPr>
          <a:xfrm>
            <a:off x="2816732" y="3960621"/>
            <a:ext cx="974725" cy="239395"/>
          </a:xfrm>
          <a:prstGeom prst="rect">
            <a:avLst/>
          </a:prstGeom>
        </p:spPr>
        <p:txBody>
          <a:bodyPr vert="horz" wrap="square" lIns="0" tIns="12700" rIns="0" bIns="0" rtlCol="0">
            <a:spAutoFit/>
          </a:bodyPr>
          <a:lstStyle/>
          <a:p>
            <a:pPr marL="12700">
              <a:lnSpc>
                <a:spcPct val="100000"/>
              </a:lnSpc>
              <a:spcBef>
                <a:spcPts val="100"/>
              </a:spcBef>
            </a:pPr>
            <a:r>
              <a:rPr sz="1400" b="1" spc="-5">
                <a:solidFill>
                  <a:srgbClr val="FFFFFF"/>
                </a:solidFill>
                <a:latin typeface="Verdana"/>
                <a:cs typeface="Verdana"/>
              </a:rPr>
              <a:t>Approach</a:t>
            </a:r>
            <a:endParaRPr sz="1400">
              <a:latin typeface="Verdana"/>
              <a:cs typeface="Verdana"/>
            </a:endParaRPr>
          </a:p>
        </p:txBody>
      </p:sp>
      <p:sp>
        <p:nvSpPr>
          <p:cNvPr id="13" name="object 13"/>
          <p:cNvSpPr/>
          <p:nvPr/>
        </p:nvSpPr>
        <p:spPr>
          <a:xfrm>
            <a:off x="6384035" y="1772411"/>
            <a:ext cx="5400040" cy="433070"/>
          </a:xfrm>
          <a:custGeom>
            <a:avLst/>
            <a:gdLst/>
            <a:ahLst/>
            <a:cxnLst/>
            <a:rect l="l" t="t" r="r" b="b"/>
            <a:pathLst>
              <a:path w="5400040" h="433069">
                <a:moveTo>
                  <a:pt x="5183123" y="0"/>
                </a:moveTo>
                <a:lnTo>
                  <a:pt x="216408" y="0"/>
                </a:lnTo>
                <a:lnTo>
                  <a:pt x="166791" y="5716"/>
                </a:lnTo>
                <a:lnTo>
                  <a:pt x="121242" y="21998"/>
                </a:lnTo>
                <a:lnTo>
                  <a:pt x="81060" y="47546"/>
                </a:lnTo>
                <a:lnTo>
                  <a:pt x="47546" y="81060"/>
                </a:lnTo>
                <a:lnTo>
                  <a:pt x="21998" y="121242"/>
                </a:lnTo>
                <a:lnTo>
                  <a:pt x="5716" y="166791"/>
                </a:lnTo>
                <a:lnTo>
                  <a:pt x="0" y="216408"/>
                </a:lnTo>
                <a:lnTo>
                  <a:pt x="0" y="432815"/>
                </a:lnTo>
                <a:lnTo>
                  <a:pt x="5399532" y="432815"/>
                </a:lnTo>
                <a:lnTo>
                  <a:pt x="5399532" y="216408"/>
                </a:lnTo>
                <a:lnTo>
                  <a:pt x="5393815" y="166791"/>
                </a:lnTo>
                <a:lnTo>
                  <a:pt x="5377533" y="121242"/>
                </a:lnTo>
                <a:lnTo>
                  <a:pt x="5351985" y="81060"/>
                </a:lnTo>
                <a:lnTo>
                  <a:pt x="5318471" y="47546"/>
                </a:lnTo>
                <a:lnTo>
                  <a:pt x="5278289" y="21998"/>
                </a:lnTo>
                <a:lnTo>
                  <a:pt x="5232740" y="5716"/>
                </a:lnTo>
                <a:lnTo>
                  <a:pt x="5183123" y="0"/>
                </a:lnTo>
                <a:close/>
              </a:path>
            </a:pathLst>
          </a:custGeom>
          <a:solidFill>
            <a:srgbClr val="12ABDB"/>
          </a:solidFill>
        </p:spPr>
        <p:txBody>
          <a:bodyPr wrap="square" lIns="0" tIns="0" rIns="0" bIns="0" rtlCol="0"/>
          <a:lstStyle/>
          <a:p>
            <a:endParaRPr/>
          </a:p>
        </p:txBody>
      </p:sp>
      <p:sp>
        <p:nvSpPr>
          <p:cNvPr id="14" name="object 14"/>
          <p:cNvSpPr txBox="1"/>
          <p:nvPr/>
        </p:nvSpPr>
        <p:spPr>
          <a:xfrm>
            <a:off x="7558278" y="1900174"/>
            <a:ext cx="3053715" cy="239395"/>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Suggested formats </a:t>
            </a:r>
            <a:r>
              <a:rPr sz="1400" b="1">
                <a:solidFill>
                  <a:srgbClr val="FFFFFF"/>
                </a:solidFill>
                <a:latin typeface="Verdana"/>
                <a:cs typeface="Verdana"/>
              </a:rPr>
              <a:t>&amp;</a:t>
            </a:r>
            <a:r>
              <a:rPr sz="1400" b="1" spc="-65">
                <a:solidFill>
                  <a:srgbClr val="FFFFFF"/>
                </a:solidFill>
                <a:latin typeface="Verdana"/>
                <a:cs typeface="Verdana"/>
              </a:rPr>
              <a:t> </a:t>
            </a:r>
            <a:r>
              <a:rPr sz="1400" b="1" spc="-5">
                <a:solidFill>
                  <a:srgbClr val="FFFFFF"/>
                </a:solidFill>
                <a:latin typeface="Verdana"/>
                <a:cs typeface="Verdana"/>
              </a:rPr>
              <a:t>methods</a:t>
            </a:r>
            <a:endParaRPr sz="1400">
              <a:latin typeface="Verdana"/>
              <a:cs typeface="Verdana"/>
            </a:endParaRPr>
          </a:p>
        </p:txBody>
      </p:sp>
      <p:sp>
        <p:nvSpPr>
          <p:cNvPr id="15" name="object 15"/>
          <p:cNvSpPr/>
          <p:nvPr/>
        </p:nvSpPr>
        <p:spPr>
          <a:xfrm>
            <a:off x="335279" y="1146047"/>
            <a:ext cx="11521440" cy="504825"/>
          </a:xfrm>
          <a:custGeom>
            <a:avLst/>
            <a:gdLst/>
            <a:ahLst/>
            <a:cxnLst/>
            <a:rect l="l" t="t" r="r" b="b"/>
            <a:pathLst>
              <a:path w="11521440" h="504825">
                <a:moveTo>
                  <a:pt x="11269218" y="0"/>
                </a:moveTo>
                <a:lnTo>
                  <a:pt x="252222" y="0"/>
                </a:lnTo>
                <a:lnTo>
                  <a:pt x="206886" y="4062"/>
                </a:lnTo>
                <a:lnTo>
                  <a:pt x="164215" y="15777"/>
                </a:lnTo>
                <a:lnTo>
                  <a:pt x="124922" y="34431"/>
                </a:lnTo>
                <a:lnTo>
                  <a:pt x="89720" y="59312"/>
                </a:lnTo>
                <a:lnTo>
                  <a:pt x="59321" y="89710"/>
                </a:lnTo>
                <a:lnTo>
                  <a:pt x="34436" y="124911"/>
                </a:lnTo>
                <a:lnTo>
                  <a:pt x="15780" y="164205"/>
                </a:lnTo>
                <a:lnTo>
                  <a:pt x="4063" y="206879"/>
                </a:lnTo>
                <a:lnTo>
                  <a:pt x="0" y="252222"/>
                </a:lnTo>
                <a:lnTo>
                  <a:pt x="4063" y="297564"/>
                </a:lnTo>
                <a:lnTo>
                  <a:pt x="15780" y="340238"/>
                </a:lnTo>
                <a:lnTo>
                  <a:pt x="34436" y="379532"/>
                </a:lnTo>
                <a:lnTo>
                  <a:pt x="59321" y="414733"/>
                </a:lnTo>
                <a:lnTo>
                  <a:pt x="89720" y="445131"/>
                </a:lnTo>
                <a:lnTo>
                  <a:pt x="124922" y="470012"/>
                </a:lnTo>
                <a:lnTo>
                  <a:pt x="164215" y="488666"/>
                </a:lnTo>
                <a:lnTo>
                  <a:pt x="206886" y="500381"/>
                </a:lnTo>
                <a:lnTo>
                  <a:pt x="252222" y="504443"/>
                </a:lnTo>
                <a:lnTo>
                  <a:pt x="11269218" y="504443"/>
                </a:lnTo>
                <a:lnTo>
                  <a:pt x="11314560" y="500381"/>
                </a:lnTo>
                <a:lnTo>
                  <a:pt x="11357234" y="488666"/>
                </a:lnTo>
                <a:lnTo>
                  <a:pt x="11396528" y="470012"/>
                </a:lnTo>
                <a:lnTo>
                  <a:pt x="11431729" y="445131"/>
                </a:lnTo>
                <a:lnTo>
                  <a:pt x="11462127" y="414733"/>
                </a:lnTo>
                <a:lnTo>
                  <a:pt x="11487008" y="379532"/>
                </a:lnTo>
                <a:lnTo>
                  <a:pt x="11505662" y="340238"/>
                </a:lnTo>
                <a:lnTo>
                  <a:pt x="11517377" y="297564"/>
                </a:lnTo>
                <a:lnTo>
                  <a:pt x="11521440" y="252222"/>
                </a:lnTo>
                <a:lnTo>
                  <a:pt x="11517377" y="206879"/>
                </a:lnTo>
                <a:lnTo>
                  <a:pt x="11505662" y="164205"/>
                </a:lnTo>
                <a:lnTo>
                  <a:pt x="11487008" y="124911"/>
                </a:lnTo>
                <a:lnTo>
                  <a:pt x="11462127" y="89710"/>
                </a:lnTo>
                <a:lnTo>
                  <a:pt x="11431729" y="59312"/>
                </a:lnTo>
                <a:lnTo>
                  <a:pt x="11396528" y="34431"/>
                </a:lnTo>
                <a:lnTo>
                  <a:pt x="11357234" y="15777"/>
                </a:lnTo>
                <a:lnTo>
                  <a:pt x="11314560" y="4062"/>
                </a:lnTo>
                <a:lnTo>
                  <a:pt x="11269218" y="0"/>
                </a:lnTo>
                <a:close/>
              </a:path>
            </a:pathLst>
          </a:custGeom>
          <a:solidFill>
            <a:srgbClr val="421F5D"/>
          </a:solidFill>
        </p:spPr>
        <p:txBody>
          <a:bodyPr wrap="square" lIns="0" tIns="0" rIns="0" bIns="0" rtlCol="0"/>
          <a:lstStyle/>
          <a:p>
            <a:endParaRPr/>
          </a:p>
        </p:txBody>
      </p:sp>
      <p:sp>
        <p:nvSpPr>
          <p:cNvPr id="16" name="object 16"/>
          <p:cNvSpPr txBox="1"/>
          <p:nvPr/>
        </p:nvSpPr>
        <p:spPr>
          <a:xfrm>
            <a:off x="4106036" y="1267459"/>
            <a:ext cx="3980179" cy="239395"/>
          </a:xfrm>
          <a:prstGeom prst="rect">
            <a:avLst/>
          </a:prstGeom>
        </p:spPr>
        <p:txBody>
          <a:bodyPr vert="horz" wrap="square" lIns="0" tIns="13335" rIns="0" bIns="0" rtlCol="0">
            <a:spAutoFit/>
          </a:bodyPr>
          <a:lstStyle/>
          <a:p>
            <a:pPr marL="12700">
              <a:lnSpc>
                <a:spcPct val="100000"/>
              </a:lnSpc>
              <a:spcBef>
                <a:spcPts val="105"/>
              </a:spcBef>
            </a:pPr>
            <a:r>
              <a:rPr sz="1400">
                <a:solidFill>
                  <a:srgbClr val="FFFFFF"/>
                </a:solidFill>
                <a:latin typeface="Verdana"/>
                <a:cs typeface="Verdana"/>
              </a:rPr>
              <a:t>Deep </a:t>
            </a:r>
            <a:r>
              <a:rPr sz="1400" spc="-5">
                <a:solidFill>
                  <a:srgbClr val="FFFFFF"/>
                </a:solidFill>
                <a:latin typeface="Verdana"/>
                <a:cs typeface="Verdana"/>
              </a:rPr>
              <a:t>dive </a:t>
            </a:r>
            <a:r>
              <a:rPr sz="1400">
                <a:solidFill>
                  <a:srgbClr val="FFFFFF"/>
                </a:solidFill>
                <a:latin typeface="Verdana"/>
                <a:cs typeface="Verdana"/>
              </a:rPr>
              <a:t>on </a:t>
            </a:r>
            <a:r>
              <a:rPr sz="1400" spc="-5">
                <a:solidFill>
                  <a:srgbClr val="FFFFFF"/>
                </a:solidFill>
                <a:latin typeface="Verdana"/>
                <a:cs typeface="Verdana"/>
              </a:rPr>
              <a:t>the </a:t>
            </a:r>
            <a:r>
              <a:rPr sz="1400" spc="-30">
                <a:solidFill>
                  <a:srgbClr val="FFFFFF"/>
                </a:solidFill>
                <a:latin typeface="Verdana"/>
                <a:cs typeface="Verdana"/>
              </a:rPr>
              <a:t>Train </a:t>
            </a:r>
            <a:r>
              <a:rPr sz="1400" spc="-5">
                <a:solidFill>
                  <a:srgbClr val="FFFFFF"/>
                </a:solidFill>
                <a:latin typeface="Verdana"/>
                <a:cs typeface="Verdana"/>
              </a:rPr>
              <a:t>the </a:t>
            </a:r>
            <a:r>
              <a:rPr sz="1400" spc="-25">
                <a:solidFill>
                  <a:srgbClr val="FFFFFF"/>
                </a:solidFill>
                <a:latin typeface="Verdana"/>
                <a:cs typeface="Verdana"/>
              </a:rPr>
              <a:t>Trainer</a:t>
            </a:r>
            <a:r>
              <a:rPr sz="1400" spc="-60">
                <a:solidFill>
                  <a:srgbClr val="FFFFFF"/>
                </a:solidFill>
                <a:latin typeface="Verdana"/>
                <a:cs typeface="Verdana"/>
              </a:rPr>
              <a:t> </a:t>
            </a:r>
            <a:r>
              <a:rPr sz="1400">
                <a:solidFill>
                  <a:srgbClr val="FFFFFF"/>
                </a:solidFill>
                <a:latin typeface="Verdana"/>
                <a:cs typeface="Verdana"/>
              </a:rPr>
              <a:t>Approach</a:t>
            </a:r>
            <a:endParaRPr sz="1400">
              <a:latin typeface="Verdana"/>
              <a:cs typeface="Verdana"/>
            </a:endParaRPr>
          </a:p>
        </p:txBody>
      </p:sp>
      <p:sp>
        <p:nvSpPr>
          <p:cNvPr id="17" name="object 17"/>
          <p:cNvSpPr/>
          <p:nvPr/>
        </p:nvSpPr>
        <p:spPr>
          <a:xfrm>
            <a:off x="408431" y="1827276"/>
            <a:ext cx="502920" cy="475615"/>
          </a:xfrm>
          <a:custGeom>
            <a:avLst/>
            <a:gdLst/>
            <a:ahLst/>
            <a:cxnLst/>
            <a:rect l="l" t="t" r="r" b="b"/>
            <a:pathLst>
              <a:path w="502919" h="475614">
                <a:moveTo>
                  <a:pt x="251460" y="0"/>
                </a:moveTo>
                <a:lnTo>
                  <a:pt x="202234" y="5662"/>
                </a:lnTo>
                <a:lnTo>
                  <a:pt x="155714" y="19891"/>
                </a:lnTo>
                <a:lnTo>
                  <a:pt x="113088" y="41835"/>
                </a:lnTo>
                <a:lnTo>
                  <a:pt x="75547" y="70643"/>
                </a:lnTo>
                <a:lnTo>
                  <a:pt x="44278" y="105464"/>
                </a:lnTo>
                <a:lnTo>
                  <a:pt x="20472" y="145446"/>
                </a:lnTo>
                <a:lnTo>
                  <a:pt x="5316" y="189738"/>
                </a:lnTo>
                <a:lnTo>
                  <a:pt x="0" y="237489"/>
                </a:lnTo>
                <a:lnTo>
                  <a:pt x="3670" y="280454"/>
                </a:lnTo>
                <a:lnTo>
                  <a:pt x="14399" y="321307"/>
                </a:lnTo>
                <a:lnTo>
                  <a:pt x="31761" y="359179"/>
                </a:lnTo>
                <a:lnTo>
                  <a:pt x="55332" y="393200"/>
                </a:lnTo>
                <a:lnTo>
                  <a:pt x="84687" y="422501"/>
                </a:lnTo>
                <a:lnTo>
                  <a:pt x="119402" y="446212"/>
                </a:lnTo>
                <a:lnTo>
                  <a:pt x="159052" y="463463"/>
                </a:lnTo>
                <a:lnTo>
                  <a:pt x="203213" y="473384"/>
                </a:lnTo>
                <a:lnTo>
                  <a:pt x="251460" y="475107"/>
                </a:lnTo>
                <a:lnTo>
                  <a:pt x="293214" y="467798"/>
                </a:lnTo>
                <a:lnTo>
                  <a:pt x="336227" y="452784"/>
                </a:lnTo>
                <a:lnTo>
                  <a:pt x="378395" y="430719"/>
                </a:lnTo>
                <a:lnTo>
                  <a:pt x="417614" y="402256"/>
                </a:lnTo>
                <a:lnTo>
                  <a:pt x="451779" y="368048"/>
                </a:lnTo>
                <a:lnTo>
                  <a:pt x="478788" y="328749"/>
                </a:lnTo>
                <a:lnTo>
                  <a:pt x="496536" y="285012"/>
                </a:lnTo>
                <a:lnTo>
                  <a:pt x="502920" y="237489"/>
                </a:lnTo>
                <a:lnTo>
                  <a:pt x="498226" y="189587"/>
                </a:lnTo>
                <a:lnTo>
                  <a:pt x="484581" y="144928"/>
                </a:lnTo>
                <a:lnTo>
                  <a:pt x="462642" y="104493"/>
                </a:lnTo>
                <a:lnTo>
                  <a:pt x="433063" y="69262"/>
                </a:lnTo>
                <a:lnTo>
                  <a:pt x="396500" y="40217"/>
                </a:lnTo>
                <a:lnTo>
                  <a:pt x="353608" y="18337"/>
                </a:lnTo>
                <a:lnTo>
                  <a:pt x="305043" y="4604"/>
                </a:lnTo>
                <a:lnTo>
                  <a:pt x="251460" y="0"/>
                </a:lnTo>
                <a:close/>
              </a:path>
            </a:pathLst>
          </a:custGeom>
          <a:solidFill>
            <a:srgbClr val="FFFFFF"/>
          </a:solidFill>
        </p:spPr>
        <p:txBody>
          <a:bodyPr wrap="square" lIns="0" tIns="0" rIns="0" bIns="0" rtlCol="0"/>
          <a:lstStyle/>
          <a:p>
            <a:endParaRPr/>
          </a:p>
        </p:txBody>
      </p:sp>
      <p:sp>
        <p:nvSpPr>
          <p:cNvPr id="18" name="object 18"/>
          <p:cNvSpPr/>
          <p:nvPr/>
        </p:nvSpPr>
        <p:spPr>
          <a:xfrm>
            <a:off x="408431" y="1827276"/>
            <a:ext cx="502920" cy="475615"/>
          </a:xfrm>
          <a:custGeom>
            <a:avLst/>
            <a:gdLst/>
            <a:ahLst/>
            <a:cxnLst/>
            <a:rect l="l" t="t" r="r" b="b"/>
            <a:pathLst>
              <a:path w="502919" h="475614">
                <a:moveTo>
                  <a:pt x="0" y="237489"/>
                </a:moveTo>
                <a:lnTo>
                  <a:pt x="5316" y="189738"/>
                </a:lnTo>
                <a:lnTo>
                  <a:pt x="20472" y="145446"/>
                </a:lnTo>
                <a:lnTo>
                  <a:pt x="44278" y="105464"/>
                </a:lnTo>
                <a:lnTo>
                  <a:pt x="75547" y="70643"/>
                </a:lnTo>
                <a:lnTo>
                  <a:pt x="113088" y="41835"/>
                </a:lnTo>
                <a:lnTo>
                  <a:pt x="155714" y="19891"/>
                </a:lnTo>
                <a:lnTo>
                  <a:pt x="202234" y="5662"/>
                </a:lnTo>
                <a:lnTo>
                  <a:pt x="251460" y="0"/>
                </a:lnTo>
                <a:lnTo>
                  <a:pt x="305043" y="4604"/>
                </a:lnTo>
                <a:lnTo>
                  <a:pt x="353608" y="18337"/>
                </a:lnTo>
                <a:lnTo>
                  <a:pt x="396500" y="40217"/>
                </a:lnTo>
                <a:lnTo>
                  <a:pt x="433063" y="69262"/>
                </a:lnTo>
                <a:lnTo>
                  <a:pt x="462642" y="104493"/>
                </a:lnTo>
                <a:lnTo>
                  <a:pt x="484581" y="144928"/>
                </a:lnTo>
                <a:lnTo>
                  <a:pt x="498226" y="189587"/>
                </a:lnTo>
                <a:lnTo>
                  <a:pt x="502920" y="237489"/>
                </a:lnTo>
                <a:lnTo>
                  <a:pt x="496536" y="285012"/>
                </a:lnTo>
                <a:lnTo>
                  <a:pt x="478788" y="328749"/>
                </a:lnTo>
                <a:lnTo>
                  <a:pt x="451779" y="368048"/>
                </a:lnTo>
                <a:lnTo>
                  <a:pt x="417614" y="402256"/>
                </a:lnTo>
                <a:lnTo>
                  <a:pt x="378395" y="430719"/>
                </a:lnTo>
                <a:lnTo>
                  <a:pt x="336227" y="452784"/>
                </a:lnTo>
                <a:lnTo>
                  <a:pt x="293214" y="467798"/>
                </a:lnTo>
                <a:lnTo>
                  <a:pt x="251460" y="475107"/>
                </a:lnTo>
                <a:lnTo>
                  <a:pt x="203213" y="473384"/>
                </a:lnTo>
                <a:lnTo>
                  <a:pt x="159052" y="463463"/>
                </a:lnTo>
                <a:lnTo>
                  <a:pt x="119402" y="446212"/>
                </a:lnTo>
                <a:lnTo>
                  <a:pt x="84687" y="422501"/>
                </a:lnTo>
                <a:lnTo>
                  <a:pt x="55332" y="393200"/>
                </a:lnTo>
                <a:lnTo>
                  <a:pt x="31761" y="359179"/>
                </a:lnTo>
                <a:lnTo>
                  <a:pt x="14399" y="321307"/>
                </a:lnTo>
                <a:lnTo>
                  <a:pt x="3670" y="280454"/>
                </a:lnTo>
                <a:lnTo>
                  <a:pt x="0" y="237489"/>
                </a:lnTo>
                <a:close/>
              </a:path>
            </a:pathLst>
          </a:custGeom>
          <a:ln w="12192">
            <a:solidFill>
              <a:srgbClr val="006FAC"/>
            </a:solidFill>
          </a:ln>
        </p:spPr>
        <p:txBody>
          <a:bodyPr wrap="square" lIns="0" tIns="0" rIns="0" bIns="0" rtlCol="0"/>
          <a:lstStyle/>
          <a:p>
            <a:endParaRPr/>
          </a:p>
        </p:txBody>
      </p:sp>
      <p:sp>
        <p:nvSpPr>
          <p:cNvPr id="19" name="object 19"/>
          <p:cNvSpPr/>
          <p:nvPr/>
        </p:nvSpPr>
        <p:spPr>
          <a:xfrm>
            <a:off x="408431" y="3912108"/>
            <a:ext cx="502920" cy="476884"/>
          </a:xfrm>
          <a:custGeom>
            <a:avLst/>
            <a:gdLst/>
            <a:ahLst/>
            <a:cxnLst/>
            <a:rect l="l" t="t" r="r" b="b"/>
            <a:pathLst>
              <a:path w="502919" h="476885">
                <a:moveTo>
                  <a:pt x="251460" y="0"/>
                </a:moveTo>
                <a:lnTo>
                  <a:pt x="202234" y="5679"/>
                </a:lnTo>
                <a:lnTo>
                  <a:pt x="155714" y="19956"/>
                </a:lnTo>
                <a:lnTo>
                  <a:pt x="113088" y="41976"/>
                </a:lnTo>
                <a:lnTo>
                  <a:pt x="75547" y="70881"/>
                </a:lnTo>
                <a:lnTo>
                  <a:pt x="44278" y="105818"/>
                </a:lnTo>
                <a:lnTo>
                  <a:pt x="20472" y="145928"/>
                </a:lnTo>
                <a:lnTo>
                  <a:pt x="5316" y="190358"/>
                </a:lnTo>
                <a:lnTo>
                  <a:pt x="0" y="238252"/>
                </a:lnTo>
                <a:lnTo>
                  <a:pt x="3670" y="281376"/>
                </a:lnTo>
                <a:lnTo>
                  <a:pt x="14399" y="322370"/>
                </a:lnTo>
                <a:lnTo>
                  <a:pt x="31761" y="360364"/>
                </a:lnTo>
                <a:lnTo>
                  <a:pt x="55332" y="394489"/>
                </a:lnTo>
                <a:lnTo>
                  <a:pt x="84687" y="423874"/>
                </a:lnTo>
                <a:lnTo>
                  <a:pt x="119402" y="447651"/>
                </a:lnTo>
                <a:lnTo>
                  <a:pt x="159052" y="464949"/>
                </a:lnTo>
                <a:lnTo>
                  <a:pt x="203213" y="474899"/>
                </a:lnTo>
                <a:lnTo>
                  <a:pt x="251460" y="476631"/>
                </a:lnTo>
                <a:lnTo>
                  <a:pt x="293214" y="469273"/>
                </a:lnTo>
                <a:lnTo>
                  <a:pt x="336227" y="454207"/>
                </a:lnTo>
                <a:lnTo>
                  <a:pt x="378395" y="432080"/>
                </a:lnTo>
                <a:lnTo>
                  <a:pt x="417614" y="403542"/>
                </a:lnTo>
                <a:lnTo>
                  <a:pt x="451779" y="369241"/>
                </a:lnTo>
                <a:lnTo>
                  <a:pt x="478788" y="329826"/>
                </a:lnTo>
                <a:lnTo>
                  <a:pt x="496536" y="285947"/>
                </a:lnTo>
                <a:lnTo>
                  <a:pt x="502920" y="238252"/>
                </a:lnTo>
                <a:lnTo>
                  <a:pt x="498226" y="190207"/>
                </a:lnTo>
                <a:lnTo>
                  <a:pt x="484581" y="145411"/>
                </a:lnTo>
                <a:lnTo>
                  <a:pt x="462642" y="104846"/>
                </a:lnTo>
                <a:lnTo>
                  <a:pt x="433063" y="69500"/>
                </a:lnTo>
                <a:lnTo>
                  <a:pt x="396500" y="40357"/>
                </a:lnTo>
                <a:lnTo>
                  <a:pt x="353608" y="18403"/>
                </a:lnTo>
                <a:lnTo>
                  <a:pt x="305043" y="4622"/>
                </a:lnTo>
                <a:lnTo>
                  <a:pt x="251460" y="0"/>
                </a:lnTo>
                <a:close/>
              </a:path>
            </a:pathLst>
          </a:custGeom>
          <a:solidFill>
            <a:srgbClr val="FFFFFF"/>
          </a:solidFill>
        </p:spPr>
        <p:txBody>
          <a:bodyPr wrap="square" lIns="0" tIns="0" rIns="0" bIns="0" rtlCol="0"/>
          <a:lstStyle/>
          <a:p>
            <a:endParaRPr/>
          </a:p>
        </p:txBody>
      </p:sp>
      <p:sp>
        <p:nvSpPr>
          <p:cNvPr id="20" name="object 20"/>
          <p:cNvSpPr/>
          <p:nvPr/>
        </p:nvSpPr>
        <p:spPr>
          <a:xfrm>
            <a:off x="408431" y="3912108"/>
            <a:ext cx="502920" cy="476884"/>
          </a:xfrm>
          <a:custGeom>
            <a:avLst/>
            <a:gdLst/>
            <a:ahLst/>
            <a:cxnLst/>
            <a:rect l="l" t="t" r="r" b="b"/>
            <a:pathLst>
              <a:path w="502919" h="476885">
                <a:moveTo>
                  <a:pt x="0" y="238252"/>
                </a:moveTo>
                <a:lnTo>
                  <a:pt x="5316" y="190358"/>
                </a:lnTo>
                <a:lnTo>
                  <a:pt x="20472" y="145928"/>
                </a:lnTo>
                <a:lnTo>
                  <a:pt x="44278" y="105818"/>
                </a:lnTo>
                <a:lnTo>
                  <a:pt x="75547" y="70881"/>
                </a:lnTo>
                <a:lnTo>
                  <a:pt x="113088" y="41976"/>
                </a:lnTo>
                <a:lnTo>
                  <a:pt x="155714" y="19956"/>
                </a:lnTo>
                <a:lnTo>
                  <a:pt x="202234" y="5679"/>
                </a:lnTo>
                <a:lnTo>
                  <a:pt x="251460" y="0"/>
                </a:lnTo>
                <a:lnTo>
                  <a:pt x="305043" y="4622"/>
                </a:lnTo>
                <a:lnTo>
                  <a:pt x="353608" y="18403"/>
                </a:lnTo>
                <a:lnTo>
                  <a:pt x="396500" y="40357"/>
                </a:lnTo>
                <a:lnTo>
                  <a:pt x="433063" y="69500"/>
                </a:lnTo>
                <a:lnTo>
                  <a:pt x="462642" y="104846"/>
                </a:lnTo>
                <a:lnTo>
                  <a:pt x="484581" y="145411"/>
                </a:lnTo>
                <a:lnTo>
                  <a:pt x="498226" y="190207"/>
                </a:lnTo>
                <a:lnTo>
                  <a:pt x="502920" y="238252"/>
                </a:lnTo>
                <a:lnTo>
                  <a:pt x="496536" y="285947"/>
                </a:lnTo>
                <a:lnTo>
                  <a:pt x="478788" y="329826"/>
                </a:lnTo>
                <a:lnTo>
                  <a:pt x="451779" y="369241"/>
                </a:lnTo>
                <a:lnTo>
                  <a:pt x="417614" y="403542"/>
                </a:lnTo>
                <a:lnTo>
                  <a:pt x="378395" y="432080"/>
                </a:lnTo>
                <a:lnTo>
                  <a:pt x="336227" y="454207"/>
                </a:lnTo>
                <a:lnTo>
                  <a:pt x="293214" y="469273"/>
                </a:lnTo>
                <a:lnTo>
                  <a:pt x="251460" y="476631"/>
                </a:lnTo>
                <a:lnTo>
                  <a:pt x="203213" y="474899"/>
                </a:lnTo>
                <a:lnTo>
                  <a:pt x="159052" y="464949"/>
                </a:lnTo>
                <a:lnTo>
                  <a:pt x="119402" y="447651"/>
                </a:lnTo>
                <a:lnTo>
                  <a:pt x="84687" y="423874"/>
                </a:lnTo>
                <a:lnTo>
                  <a:pt x="55332" y="394489"/>
                </a:lnTo>
                <a:lnTo>
                  <a:pt x="31761" y="360364"/>
                </a:lnTo>
                <a:lnTo>
                  <a:pt x="14399" y="322370"/>
                </a:lnTo>
                <a:lnTo>
                  <a:pt x="3670" y="281376"/>
                </a:lnTo>
                <a:lnTo>
                  <a:pt x="0" y="238252"/>
                </a:lnTo>
                <a:close/>
              </a:path>
            </a:pathLst>
          </a:custGeom>
          <a:ln w="12192">
            <a:solidFill>
              <a:srgbClr val="E2001F"/>
            </a:solidFill>
          </a:ln>
        </p:spPr>
        <p:txBody>
          <a:bodyPr wrap="square" lIns="0" tIns="0" rIns="0" bIns="0" rtlCol="0"/>
          <a:lstStyle/>
          <a:p>
            <a:endParaRPr/>
          </a:p>
        </p:txBody>
      </p:sp>
      <p:sp>
        <p:nvSpPr>
          <p:cNvPr id="21" name="object 21"/>
          <p:cNvSpPr/>
          <p:nvPr/>
        </p:nvSpPr>
        <p:spPr>
          <a:xfrm>
            <a:off x="699516" y="2025395"/>
            <a:ext cx="128015" cy="129539"/>
          </a:xfrm>
          <a:prstGeom prst="rect">
            <a:avLst/>
          </a:prstGeom>
          <a:blipFill>
            <a:blip r:embed="rId2" cstate="print"/>
            <a:stretch>
              <a:fillRect/>
            </a:stretch>
          </a:blipFill>
        </p:spPr>
        <p:txBody>
          <a:bodyPr wrap="square" lIns="0" tIns="0" rIns="0" bIns="0" rtlCol="0"/>
          <a:lstStyle/>
          <a:p>
            <a:endParaRPr/>
          </a:p>
        </p:txBody>
      </p:sp>
      <p:sp>
        <p:nvSpPr>
          <p:cNvPr id="22" name="object 22"/>
          <p:cNvSpPr/>
          <p:nvPr/>
        </p:nvSpPr>
        <p:spPr>
          <a:xfrm>
            <a:off x="492251" y="2025395"/>
            <a:ext cx="126492" cy="129539"/>
          </a:xfrm>
          <a:prstGeom prst="rect">
            <a:avLst/>
          </a:prstGeom>
          <a:blipFill>
            <a:blip r:embed="rId2" cstate="print"/>
            <a:stretch>
              <a:fillRect/>
            </a:stretch>
          </a:blipFill>
        </p:spPr>
        <p:txBody>
          <a:bodyPr wrap="square" lIns="0" tIns="0" rIns="0" bIns="0" rtlCol="0"/>
          <a:lstStyle/>
          <a:p>
            <a:endParaRPr/>
          </a:p>
        </p:txBody>
      </p:sp>
      <p:sp>
        <p:nvSpPr>
          <p:cNvPr id="23" name="object 23"/>
          <p:cNvSpPr/>
          <p:nvPr/>
        </p:nvSpPr>
        <p:spPr>
          <a:xfrm>
            <a:off x="472440" y="1982723"/>
            <a:ext cx="375285" cy="192405"/>
          </a:xfrm>
          <a:custGeom>
            <a:avLst/>
            <a:gdLst/>
            <a:ahLst/>
            <a:cxnLst/>
            <a:rect l="l" t="t" r="r" b="b"/>
            <a:pathLst>
              <a:path w="375284" h="192405">
                <a:moveTo>
                  <a:pt x="269773" y="0"/>
                </a:moveTo>
                <a:lnTo>
                  <a:pt x="105130" y="0"/>
                </a:lnTo>
                <a:lnTo>
                  <a:pt x="93967" y="1666"/>
                </a:lnTo>
                <a:lnTo>
                  <a:pt x="31661" y="41910"/>
                </a:lnTo>
                <a:lnTo>
                  <a:pt x="6967" y="75374"/>
                </a:lnTo>
                <a:lnTo>
                  <a:pt x="0" y="108076"/>
                </a:lnTo>
                <a:lnTo>
                  <a:pt x="6471" y="141071"/>
                </a:lnTo>
                <a:lnTo>
                  <a:pt x="24222" y="167719"/>
                </a:lnTo>
                <a:lnTo>
                  <a:pt x="50759" y="185533"/>
                </a:lnTo>
                <a:lnTo>
                  <a:pt x="83591" y="192024"/>
                </a:lnTo>
                <a:lnTo>
                  <a:pt x="113911" y="186406"/>
                </a:lnTo>
                <a:lnTo>
                  <a:pt x="139007" y="170894"/>
                </a:lnTo>
                <a:lnTo>
                  <a:pt x="143264" y="165353"/>
                </a:lnTo>
                <a:lnTo>
                  <a:pt x="83591" y="165353"/>
                </a:lnTo>
                <a:lnTo>
                  <a:pt x="61328" y="160869"/>
                </a:lnTo>
                <a:lnTo>
                  <a:pt x="43219" y="148621"/>
                </a:lnTo>
                <a:lnTo>
                  <a:pt x="31047" y="130421"/>
                </a:lnTo>
                <a:lnTo>
                  <a:pt x="26593" y="108076"/>
                </a:lnTo>
                <a:lnTo>
                  <a:pt x="31047" y="85752"/>
                </a:lnTo>
                <a:lnTo>
                  <a:pt x="43219" y="67595"/>
                </a:lnTo>
                <a:lnTo>
                  <a:pt x="61328" y="55391"/>
                </a:lnTo>
                <a:lnTo>
                  <a:pt x="83591" y="50926"/>
                </a:lnTo>
                <a:lnTo>
                  <a:pt x="351668" y="50926"/>
                </a:lnTo>
                <a:lnTo>
                  <a:pt x="349567" y="48387"/>
                </a:lnTo>
                <a:lnTo>
                  <a:pt x="347040" y="45720"/>
                </a:lnTo>
                <a:lnTo>
                  <a:pt x="344500" y="44450"/>
                </a:lnTo>
                <a:lnTo>
                  <a:pt x="341972" y="41910"/>
                </a:lnTo>
                <a:lnTo>
                  <a:pt x="311581" y="15239"/>
                </a:lnTo>
                <a:lnTo>
                  <a:pt x="301839" y="9286"/>
                </a:lnTo>
                <a:lnTo>
                  <a:pt x="291625" y="4762"/>
                </a:lnTo>
                <a:lnTo>
                  <a:pt x="280936" y="1666"/>
                </a:lnTo>
                <a:lnTo>
                  <a:pt x="269773" y="0"/>
                </a:lnTo>
                <a:close/>
              </a:path>
              <a:path w="375284" h="192405">
                <a:moveTo>
                  <a:pt x="236340" y="118237"/>
                </a:moveTo>
                <a:lnTo>
                  <a:pt x="207721" y="118237"/>
                </a:lnTo>
                <a:lnTo>
                  <a:pt x="216864" y="147500"/>
                </a:lnTo>
                <a:lnTo>
                  <a:pt x="235267" y="170894"/>
                </a:lnTo>
                <a:lnTo>
                  <a:pt x="260795" y="186406"/>
                </a:lnTo>
                <a:lnTo>
                  <a:pt x="291312" y="192024"/>
                </a:lnTo>
                <a:lnTo>
                  <a:pt x="323608" y="185533"/>
                </a:lnTo>
                <a:lnTo>
                  <a:pt x="350205" y="167719"/>
                </a:lnTo>
                <a:lnTo>
                  <a:pt x="351807" y="165353"/>
                </a:lnTo>
                <a:lnTo>
                  <a:pt x="291312" y="165353"/>
                </a:lnTo>
                <a:lnTo>
                  <a:pt x="269049" y="160869"/>
                </a:lnTo>
                <a:lnTo>
                  <a:pt x="250940" y="148621"/>
                </a:lnTo>
                <a:lnTo>
                  <a:pt x="238768" y="130421"/>
                </a:lnTo>
                <a:lnTo>
                  <a:pt x="236340" y="118237"/>
                </a:lnTo>
                <a:close/>
              </a:path>
              <a:path w="375284" h="192405">
                <a:moveTo>
                  <a:pt x="291312" y="50926"/>
                </a:moveTo>
                <a:lnTo>
                  <a:pt x="83591" y="50926"/>
                </a:lnTo>
                <a:lnTo>
                  <a:pt x="105854" y="55391"/>
                </a:lnTo>
                <a:lnTo>
                  <a:pt x="123963" y="67595"/>
                </a:lnTo>
                <a:lnTo>
                  <a:pt x="136135" y="85752"/>
                </a:lnTo>
                <a:lnTo>
                  <a:pt x="140589" y="108076"/>
                </a:lnTo>
                <a:lnTo>
                  <a:pt x="136135" y="130421"/>
                </a:lnTo>
                <a:lnTo>
                  <a:pt x="123963" y="148621"/>
                </a:lnTo>
                <a:lnTo>
                  <a:pt x="105854" y="160869"/>
                </a:lnTo>
                <a:lnTo>
                  <a:pt x="83591" y="165353"/>
                </a:lnTo>
                <a:lnTo>
                  <a:pt x="143264" y="165353"/>
                </a:lnTo>
                <a:lnTo>
                  <a:pt x="156979" y="147500"/>
                </a:lnTo>
                <a:lnTo>
                  <a:pt x="165925" y="118237"/>
                </a:lnTo>
                <a:lnTo>
                  <a:pt x="236340" y="118237"/>
                </a:lnTo>
                <a:lnTo>
                  <a:pt x="234314" y="108076"/>
                </a:lnTo>
                <a:lnTo>
                  <a:pt x="235835" y="100456"/>
                </a:lnTo>
                <a:lnTo>
                  <a:pt x="187451" y="100456"/>
                </a:lnTo>
                <a:lnTo>
                  <a:pt x="180207" y="99087"/>
                </a:lnTo>
                <a:lnTo>
                  <a:pt x="174151" y="95218"/>
                </a:lnTo>
                <a:lnTo>
                  <a:pt x="169996" y="89205"/>
                </a:lnTo>
                <a:lnTo>
                  <a:pt x="168452" y="81406"/>
                </a:lnTo>
                <a:lnTo>
                  <a:pt x="169996" y="74342"/>
                </a:lnTo>
                <a:lnTo>
                  <a:pt x="174151" y="68706"/>
                </a:lnTo>
                <a:lnTo>
                  <a:pt x="180207" y="64976"/>
                </a:lnTo>
                <a:lnTo>
                  <a:pt x="187451" y="63626"/>
                </a:lnTo>
                <a:lnTo>
                  <a:pt x="256829" y="63626"/>
                </a:lnTo>
                <a:lnTo>
                  <a:pt x="269049" y="55391"/>
                </a:lnTo>
                <a:lnTo>
                  <a:pt x="291312" y="50926"/>
                </a:lnTo>
                <a:close/>
              </a:path>
              <a:path w="375284" h="192405">
                <a:moveTo>
                  <a:pt x="351668" y="50926"/>
                </a:moveTo>
                <a:lnTo>
                  <a:pt x="291312" y="50926"/>
                </a:lnTo>
                <a:lnTo>
                  <a:pt x="313575" y="55391"/>
                </a:lnTo>
                <a:lnTo>
                  <a:pt x="331684" y="67595"/>
                </a:lnTo>
                <a:lnTo>
                  <a:pt x="343856" y="85752"/>
                </a:lnTo>
                <a:lnTo>
                  <a:pt x="348310" y="108076"/>
                </a:lnTo>
                <a:lnTo>
                  <a:pt x="343856" y="130421"/>
                </a:lnTo>
                <a:lnTo>
                  <a:pt x="331684" y="148621"/>
                </a:lnTo>
                <a:lnTo>
                  <a:pt x="313575" y="160869"/>
                </a:lnTo>
                <a:lnTo>
                  <a:pt x="291312" y="165353"/>
                </a:lnTo>
                <a:lnTo>
                  <a:pt x="351807" y="165353"/>
                </a:lnTo>
                <a:lnTo>
                  <a:pt x="368254" y="141071"/>
                </a:lnTo>
                <a:lnTo>
                  <a:pt x="374903" y="108076"/>
                </a:lnTo>
                <a:lnTo>
                  <a:pt x="373082" y="91249"/>
                </a:lnTo>
                <a:lnTo>
                  <a:pt x="367936" y="75374"/>
                </a:lnTo>
                <a:lnTo>
                  <a:pt x="359939" y="60928"/>
                </a:lnTo>
                <a:lnTo>
                  <a:pt x="351668" y="50926"/>
                </a:lnTo>
                <a:close/>
              </a:path>
              <a:path w="375284" h="192405">
                <a:moveTo>
                  <a:pt x="207721" y="118237"/>
                </a:moveTo>
                <a:lnTo>
                  <a:pt x="165925" y="118237"/>
                </a:lnTo>
                <a:lnTo>
                  <a:pt x="172250" y="122047"/>
                </a:lnTo>
                <a:lnTo>
                  <a:pt x="179857" y="124587"/>
                </a:lnTo>
                <a:lnTo>
                  <a:pt x="195046" y="124587"/>
                </a:lnTo>
                <a:lnTo>
                  <a:pt x="201383" y="122047"/>
                </a:lnTo>
                <a:lnTo>
                  <a:pt x="207721" y="118237"/>
                </a:lnTo>
                <a:close/>
              </a:path>
              <a:path w="375284" h="192405">
                <a:moveTo>
                  <a:pt x="256829" y="63626"/>
                </a:moveTo>
                <a:lnTo>
                  <a:pt x="187451" y="63626"/>
                </a:lnTo>
                <a:lnTo>
                  <a:pt x="194696" y="64976"/>
                </a:lnTo>
                <a:lnTo>
                  <a:pt x="200752" y="68706"/>
                </a:lnTo>
                <a:lnTo>
                  <a:pt x="204907" y="74342"/>
                </a:lnTo>
                <a:lnTo>
                  <a:pt x="206451" y="81406"/>
                </a:lnTo>
                <a:lnTo>
                  <a:pt x="204907" y="89205"/>
                </a:lnTo>
                <a:lnTo>
                  <a:pt x="200752" y="95218"/>
                </a:lnTo>
                <a:lnTo>
                  <a:pt x="194696" y="99087"/>
                </a:lnTo>
                <a:lnTo>
                  <a:pt x="187451" y="100456"/>
                </a:lnTo>
                <a:lnTo>
                  <a:pt x="235835" y="100456"/>
                </a:lnTo>
                <a:lnTo>
                  <a:pt x="238768" y="85752"/>
                </a:lnTo>
                <a:lnTo>
                  <a:pt x="250940" y="67595"/>
                </a:lnTo>
                <a:lnTo>
                  <a:pt x="256829" y="63626"/>
                </a:lnTo>
                <a:close/>
              </a:path>
            </a:pathLst>
          </a:custGeom>
          <a:solidFill>
            <a:srgbClr val="006FAC"/>
          </a:solidFill>
        </p:spPr>
        <p:txBody>
          <a:bodyPr wrap="square" lIns="0" tIns="0" rIns="0" bIns="0" rtlCol="0"/>
          <a:lstStyle/>
          <a:p>
            <a:endParaRPr/>
          </a:p>
        </p:txBody>
      </p:sp>
      <p:sp>
        <p:nvSpPr>
          <p:cNvPr id="24" name="object 24"/>
          <p:cNvSpPr/>
          <p:nvPr/>
        </p:nvSpPr>
        <p:spPr>
          <a:xfrm>
            <a:off x="522731" y="2054351"/>
            <a:ext cx="43180" cy="41275"/>
          </a:xfrm>
          <a:custGeom>
            <a:avLst/>
            <a:gdLst/>
            <a:ahLst/>
            <a:cxnLst/>
            <a:rect l="l" t="t" r="r" b="b"/>
            <a:pathLst>
              <a:path w="43179" h="41275">
                <a:moveTo>
                  <a:pt x="40081" y="0"/>
                </a:moveTo>
                <a:lnTo>
                  <a:pt x="36207" y="0"/>
                </a:lnTo>
                <a:lnTo>
                  <a:pt x="22368" y="2831"/>
                </a:lnTo>
                <a:lnTo>
                  <a:pt x="10831" y="10461"/>
                </a:lnTo>
                <a:lnTo>
                  <a:pt x="2930" y="21591"/>
                </a:lnTo>
                <a:lnTo>
                  <a:pt x="0" y="34925"/>
                </a:lnTo>
                <a:lnTo>
                  <a:pt x="0" y="38608"/>
                </a:lnTo>
                <a:lnTo>
                  <a:pt x="3873" y="41148"/>
                </a:lnTo>
                <a:lnTo>
                  <a:pt x="10350" y="41148"/>
                </a:lnTo>
                <a:lnTo>
                  <a:pt x="14224" y="38608"/>
                </a:lnTo>
                <a:lnTo>
                  <a:pt x="14224" y="34925"/>
                </a:lnTo>
                <a:lnTo>
                  <a:pt x="16023" y="26360"/>
                </a:lnTo>
                <a:lnTo>
                  <a:pt x="20853" y="19653"/>
                </a:lnTo>
                <a:lnTo>
                  <a:pt x="27864" y="15279"/>
                </a:lnTo>
                <a:lnTo>
                  <a:pt x="36207" y="13715"/>
                </a:lnTo>
                <a:lnTo>
                  <a:pt x="40081" y="13715"/>
                </a:lnTo>
                <a:lnTo>
                  <a:pt x="42672" y="10033"/>
                </a:lnTo>
                <a:lnTo>
                  <a:pt x="42672" y="2539"/>
                </a:lnTo>
                <a:lnTo>
                  <a:pt x="40081" y="0"/>
                </a:lnTo>
                <a:close/>
              </a:path>
            </a:pathLst>
          </a:custGeom>
          <a:solidFill>
            <a:srgbClr val="006FAC"/>
          </a:solidFill>
        </p:spPr>
        <p:txBody>
          <a:bodyPr wrap="square" lIns="0" tIns="0" rIns="0" bIns="0" rtlCol="0"/>
          <a:lstStyle/>
          <a:p>
            <a:endParaRPr/>
          </a:p>
        </p:txBody>
      </p:sp>
      <p:sp>
        <p:nvSpPr>
          <p:cNvPr id="25" name="object 25"/>
          <p:cNvSpPr/>
          <p:nvPr/>
        </p:nvSpPr>
        <p:spPr>
          <a:xfrm>
            <a:off x="728472" y="2054351"/>
            <a:ext cx="43180" cy="41275"/>
          </a:xfrm>
          <a:custGeom>
            <a:avLst/>
            <a:gdLst/>
            <a:ahLst/>
            <a:cxnLst/>
            <a:rect l="l" t="t" r="r" b="b"/>
            <a:pathLst>
              <a:path w="43179" h="41275">
                <a:moveTo>
                  <a:pt x="40081" y="0"/>
                </a:moveTo>
                <a:lnTo>
                  <a:pt x="36207" y="0"/>
                </a:lnTo>
                <a:lnTo>
                  <a:pt x="21822" y="2831"/>
                </a:lnTo>
                <a:lnTo>
                  <a:pt x="10345" y="10461"/>
                </a:lnTo>
                <a:lnTo>
                  <a:pt x="2748" y="21591"/>
                </a:lnTo>
                <a:lnTo>
                  <a:pt x="0" y="34925"/>
                </a:lnTo>
                <a:lnTo>
                  <a:pt x="0" y="38608"/>
                </a:lnTo>
                <a:lnTo>
                  <a:pt x="2590" y="41148"/>
                </a:lnTo>
                <a:lnTo>
                  <a:pt x="10350" y="41148"/>
                </a:lnTo>
                <a:lnTo>
                  <a:pt x="12928" y="38608"/>
                </a:lnTo>
                <a:lnTo>
                  <a:pt x="12928" y="34925"/>
                </a:lnTo>
                <a:lnTo>
                  <a:pt x="14747" y="26360"/>
                </a:lnTo>
                <a:lnTo>
                  <a:pt x="19719" y="19653"/>
                </a:lnTo>
                <a:lnTo>
                  <a:pt x="27116" y="15279"/>
                </a:lnTo>
                <a:lnTo>
                  <a:pt x="36207" y="13715"/>
                </a:lnTo>
                <a:lnTo>
                  <a:pt x="40081" y="13715"/>
                </a:lnTo>
                <a:lnTo>
                  <a:pt x="42671" y="10033"/>
                </a:lnTo>
                <a:lnTo>
                  <a:pt x="42671" y="2539"/>
                </a:lnTo>
                <a:lnTo>
                  <a:pt x="40081" y="0"/>
                </a:lnTo>
                <a:close/>
              </a:path>
            </a:pathLst>
          </a:custGeom>
          <a:solidFill>
            <a:srgbClr val="006FAC"/>
          </a:solidFill>
        </p:spPr>
        <p:txBody>
          <a:bodyPr wrap="square" lIns="0" tIns="0" rIns="0" bIns="0" rtlCol="0"/>
          <a:lstStyle/>
          <a:p>
            <a:endParaRPr/>
          </a:p>
        </p:txBody>
      </p:sp>
      <p:sp>
        <p:nvSpPr>
          <p:cNvPr id="26" name="object 26"/>
          <p:cNvSpPr/>
          <p:nvPr/>
        </p:nvSpPr>
        <p:spPr>
          <a:xfrm>
            <a:off x="577595" y="1955292"/>
            <a:ext cx="161925" cy="27940"/>
          </a:xfrm>
          <a:custGeom>
            <a:avLst/>
            <a:gdLst/>
            <a:ahLst/>
            <a:cxnLst/>
            <a:rect l="l" t="t" r="r" b="b"/>
            <a:pathLst>
              <a:path w="161925" h="27939">
                <a:moveTo>
                  <a:pt x="37630" y="0"/>
                </a:moveTo>
                <a:lnTo>
                  <a:pt x="30099" y="0"/>
                </a:lnTo>
                <a:lnTo>
                  <a:pt x="23837" y="4063"/>
                </a:lnTo>
                <a:lnTo>
                  <a:pt x="17564" y="8255"/>
                </a:lnTo>
                <a:lnTo>
                  <a:pt x="0" y="27432"/>
                </a:lnTo>
                <a:lnTo>
                  <a:pt x="161810" y="27432"/>
                </a:lnTo>
                <a:lnTo>
                  <a:pt x="158088" y="23368"/>
                </a:lnTo>
                <a:lnTo>
                  <a:pt x="66484" y="23368"/>
                </a:lnTo>
                <a:lnTo>
                  <a:pt x="62326" y="13930"/>
                </a:lnTo>
                <a:lnTo>
                  <a:pt x="55819" y="6540"/>
                </a:lnTo>
                <a:lnTo>
                  <a:pt x="47432" y="1722"/>
                </a:lnTo>
                <a:lnTo>
                  <a:pt x="37630" y="0"/>
                </a:lnTo>
                <a:close/>
              </a:path>
              <a:path w="161925" h="27939">
                <a:moveTo>
                  <a:pt x="87807" y="17780"/>
                </a:moveTo>
                <a:lnTo>
                  <a:pt x="75260" y="17780"/>
                </a:lnTo>
                <a:lnTo>
                  <a:pt x="70243" y="19177"/>
                </a:lnTo>
                <a:lnTo>
                  <a:pt x="66484" y="23368"/>
                </a:lnTo>
                <a:lnTo>
                  <a:pt x="96583" y="23368"/>
                </a:lnTo>
                <a:lnTo>
                  <a:pt x="92824" y="20574"/>
                </a:lnTo>
                <a:lnTo>
                  <a:pt x="87807" y="17780"/>
                </a:lnTo>
                <a:close/>
              </a:path>
              <a:path w="161925" h="27939">
                <a:moveTo>
                  <a:pt x="131711" y="0"/>
                </a:moveTo>
                <a:lnTo>
                  <a:pt x="124180" y="0"/>
                </a:lnTo>
                <a:lnTo>
                  <a:pt x="115105" y="1722"/>
                </a:lnTo>
                <a:lnTo>
                  <a:pt x="107091" y="6540"/>
                </a:lnTo>
                <a:lnTo>
                  <a:pt x="100722" y="13930"/>
                </a:lnTo>
                <a:lnTo>
                  <a:pt x="96583" y="23368"/>
                </a:lnTo>
                <a:lnTo>
                  <a:pt x="158088" y="23368"/>
                </a:lnTo>
                <a:lnTo>
                  <a:pt x="144246" y="8255"/>
                </a:lnTo>
                <a:lnTo>
                  <a:pt x="139230" y="4063"/>
                </a:lnTo>
                <a:lnTo>
                  <a:pt x="131711" y="0"/>
                </a:lnTo>
                <a:close/>
              </a:path>
            </a:pathLst>
          </a:custGeom>
          <a:solidFill>
            <a:srgbClr val="006FAC"/>
          </a:solidFill>
        </p:spPr>
        <p:txBody>
          <a:bodyPr wrap="square" lIns="0" tIns="0" rIns="0" bIns="0" rtlCol="0"/>
          <a:lstStyle/>
          <a:p>
            <a:endParaRPr/>
          </a:p>
        </p:txBody>
      </p:sp>
      <p:sp>
        <p:nvSpPr>
          <p:cNvPr id="27" name="object 27"/>
          <p:cNvSpPr/>
          <p:nvPr/>
        </p:nvSpPr>
        <p:spPr>
          <a:xfrm>
            <a:off x="6455664" y="1827276"/>
            <a:ext cx="502920" cy="475615"/>
          </a:xfrm>
          <a:custGeom>
            <a:avLst/>
            <a:gdLst/>
            <a:ahLst/>
            <a:cxnLst/>
            <a:rect l="l" t="t" r="r" b="b"/>
            <a:pathLst>
              <a:path w="502920" h="475614">
                <a:moveTo>
                  <a:pt x="251460" y="0"/>
                </a:moveTo>
                <a:lnTo>
                  <a:pt x="202223" y="5662"/>
                </a:lnTo>
                <a:lnTo>
                  <a:pt x="155698" y="19891"/>
                </a:lnTo>
                <a:lnTo>
                  <a:pt x="113072" y="41835"/>
                </a:lnTo>
                <a:lnTo>
                  <a:pt x="75533" y="70643"/>
                </a:lnTo>
                <a:lnTo>
                  <a:pt x="44268" y="105464"/>
                </a:lnTo>
                <a:lnTo>
                  <a:pt x="20466" y="145446"/>
                </a:lnTo>
                <a:lnTo>
                  <a:pt x="5314" y="189738"/>
                </a:lnTo>
                <a:lnTo>
                  <a:pt x="0" y="237489"/>
                </a:lnTo>
                <a:lnTo>
                  <a:pt x="3668" y="280454"/>
                </a:lnTo>
                <a:lnTo>
                  <a:pt x="14393" y="321307"/>
                </a:lnTo>
                <a:lnTo>
                  <a:pt x="31750" y="359179"/>
                </a:lnTo>
                <a:lnTo>
                  <a:pt x="55315" y="393200"/>
                </a:lnTo>
                <a:lnTo>
                  <a:pt x="84666" y="422501"/>
                </a:lnTo>
                <a:lnTo>
                  <a:pt x="119380" y="446212"/>
                </a:lnTo>
                <a:lnTo>
                  <a:pt x="159032" y="463463"/>
                </a:lnTo>
                <a:lnTo>
                  <a:pt x="203200" y="473384"/>
                </a:lnTo>
                <a:lnTo>
                  <a:pt x="251460" y="475107"/>
                </a:lnTo>
                <a:lnTo>
                  <a:pt x="293221" y="467798"/>
                </a:lnTo>
                <a:lnTo>
                  <a:pt x="336238" y="452784"/>
                </a:lnTo>
                <a:lnTo>
                  <a:pt x="378406" y="430719"/>
                </a:lnTo>
                <a:lnTo>
                  <a:pt x="417623" y="402256"/>
                </a:lnTo>
                <a:lnTo>
                  <a:pt x="451786" y="368048"/>
                </a:lnTo>
                <a:lnTo>
                  <a:pt x="478791" y="328749"/>
                </a:lnTo>
                <a:lnTo>
                  <a:pt x="496537" y="285012"/>
                </a:lnTo>
                <a:lnTo>
                  <a:pt x="502919" y="237489"/>
                </a:lnTo>
                <a:lnTo>
                  <a:pt x="498225" y="189587"/>
                </a:lnTo>
                <a:lnTo>
                  <a:pt x="484578" y="144928"/>
                </a:lnTo>
                <a:lnTo>
                  <a:pt x="462635" y="104493"/>
                </a:lnTo>
                <a:lnTo>
                  <a:pt x="433054" y="69262"/>
                </a:lnTo>
                <a:lnTo>
                  <a:pt x="396489" y="40217"/>
                </a:lnTo>
                <a:lnTo>
                  <a:pt x="353597" y="18337"/>
                </a:lnTo>
                <a:lnTo>
                  <a:pt x="305035" y="4604"/>
                </a:lnTo>
                <a:lnTo>
                  <a:pt x="251460" y="0"/>
                </a:lnTo>
                <a:close/>
              </a:path>
            </a:pathLst>
          </a:custGeom>
          <a:solidFill>
            <a:srgbClr val="FFFFFF"/>
          </a:solidFill>
        </p:spPr>
        <p:txBody>
          <a:bodyPr wrap="square" lIns="0" tIns="0" rIns="0" bIns="0" rtlCol="0"/>
          <a:lstStyle/>
          <a:p>
            <a:endParaRPr/>
          </a:p>
        </p:txBody>
      </p:sp>
      <p:sp>
        <p:nvSpPr>
          <p:cNvPr id="28" name="object 28"/>
          <p:cNvSpPr/>
          <p:nvPr/>
        </p:nvSpPr>
        <p:spPr>
          <a:xfrm>
            <a:off x="6455664" y="1827276"/>
            <a:ext cx="502920" cy="475615"/>
          </a:xfrm>
          <a:custGeom>
            <a:avLst/>
            <a:gdLst/>
            <a:ahLst/>
            <a:cxnLst/>
            <a:rect l="l" t="t" r="r" b="b"/>
            <a:pathLst>
              <a:path w="502920" h="475614">
                <a:moveTo>
                  <a:pt x="0" y="237489"/>
                </a:moveTo>
                <a:lnTo>
                  <a:pt x="5314" y="189738"/>
                </a:lnTo>
                <a:lnTo>
                  <a:pt x="20466" y="145446"/>
                </a:lnTo>
                <a:lnTo>
                  <a:pt x="44268" y="105464"/>
                </a:lnTo>
                <a:lnTo>
                  <a:pt x="75533" y="70643"/>
                </a:lnTo>
                <a:lnTo>
                  <a:pt x="113072" y="41835"/>
                </a:lnTo>
                <a:lnTo>
                  <a:pt x="155698" y="19891"/>
                </a:lnTo>
                <a:lnTo>
                  <a:pt x="202223" y="5662"/>
                </a:lnTo>
                <a:lnTo>
                  <a:pt x="251460" y="0"/>
                </a:lnTo>
                <a:lnTo>
                  <a:pt x="305035" y="4604"/>
                </a:lnTo>
                <a:lnTo>
                  <a:pt x="353597" y="18337"/>
                </a:lnTo>
                <a:lnTo>
                  <a:pt x="396489" y="40217"/>
                </a:lnTo>
                <a:lnTo>
                  <a:pt x="433054" y="69262"/>
                </a:lnTo>
                <a:lnTo>
                  <a:pt x="462635" y="104493"/>
                </a:lnTo>
                <a:lnTo>
                  <a:pt x="484578" y="144928"/>
                </a:lnTo>
                <a:lnTo>
                  <a:pt x="498225" y="189587"/>
                </a:lnTo>
                <a:lnTo>
                  <a:pt x="502919" y="237489"/>
                </a:lnTo>
                <a:lnTo>
                  <a:pt x="496537" y="285012"/>
                </a:lnTo>
                <a:lnTo>
                  <a:pt x="478791" y="328749"/>
                </a:lnTo>
                <a:lnTo>
                  <a:pt x="451786" y="368048"/>
                </a:lnTo>
                <a:lnTo>
                  <a:pt x="417623" y="402256"/>
                </a:lnTo>
                <a:lnTo>
                  <a:pt x="378406" y="430719"/>
                </a:lnTo>
                <a:lnTo>
                  <a:pt x="336238" y="452784"/>
                </a:lnTo>
                <a:lnTo>
                  <a:pt x="293221" y="467798"/>
                </a:lnTo>
                <a:lnTo>
                  <a:pt x="251460" y="475107"/>
                </a:lnTo>
                <a:lnTo>
                  <a:pt x="203200" y="473384"/>
                </a:lnTo>
                <a:lnTo>
                  <a:pt x="159032" y="463463"/>
                </a:lnTo>
                <a:lnTo>
                  <a:pt x="119380" y="446212"/>
                </a:lnTo>
                <a:lnTo>
                  <a:pt x="84666" y="422501"/>
                </a:lnTo>
                <a:lnTo>
                  <a:pt x="55315" y="393200"/>
                </a:lnTo>
                <a:lnTo>
                  <a:pt x="31750" y="359179"/>
                </a:lnTo>
                <a:lnTo>
                  <a:pt x="14393" y="321307"/>
                </a:lnTo>
                <a:lnTo>
                  <a:pt x="3668" y="280454"/>
                </a:lnTo>
                <a:lnTo>
                  <a:pt x="0" y="237489"/>
                </a:lnTo>
                <a:close/>
              </a:path>
            </a:pathLst>
          </a:custGeom>
          <a:ln w="12192">
            <a:solidFill>
              <a:srgbClr val="12ABDB"/>
            </a:solidFill>
          </a:ln>
        </p:spPr>
        <p:txBody>
          <a:bodyPr wrap="square" lIns="0" tIns="0" rIns="0" bIns="0" rtlCol="0"/>
          <a:lstStyle/>
          <a:p>
            <a:endParaRPr/>
          </a:p>
        </p:txBody>
      </p:sp>
      <p:sp>
        <p:nvSpPr>
          <p:cNvPr id="29" name="object 29"/>
          <p:cNvSpPr/>
          <p:nvPr/>
        </p:nvSpPr>
        <p:spPr>
          <a:xfrm>
            <a:off x="6592823" y="1937004"/>
            <a:ext cx="268224" cy="265175"/>
          </a:xfrm>
          <a:prstGeom prst="rect">
            <a:avLst/>
          </a:prstGeom>
          <a:blipFill>
            <a:blip r:embed="rId3" cstate="print"/>
            <a:stretch>
              <a:fillRect/>
            </a:stretch>
          </a:blipFill>
        </p:spPr>
        <p:txBody>
          <a:bodyPr wrap="square" lIns="0" tIns="0" rIns="0" bIns="0" rtlCol="0"/>
          <a:lstStyle/>
          <a:p>
            <a:endParaRPr/>
          </a:p>
        </p:txBody>
      </p:sp>
      <p:sp>
        <p:nvSpPr>
          <p:cNvPr id="30" name="object 30"/>
          <p:cNvSpPr/>
          <p:nvPr/>
        </p:nvSpPr>
        <p:spPr>
          <a:xfrm>
            <a:off x="484631" y="4020311"/>
            <a:ext cx="358140" cy="259080"/>
          </a:xfrm>
          <a:prstGeom prst="rect">
            <a:avLst/>
          </a:prstGeom>
          <a:blipFill>
            <a:blip r:embed="rId4" cstate="print"/>
            <a:stretch>
              <a:fillRect/>
            </a:stretch>
          </a:blipFill>
        </p:spPr>
        <p:txBody>
          <a:bodyPr wrap="square" lIns="0" tIns="0" rIns="0" bIns="0" rtlCol="0"/>
          <a:lstStyle/>
          <a:p>
            <a:endParaRPr/>
          </a:p>
        </p:txBody>
      </p:sp>
      <p:sp>
        <p:nvSpPr>
          <p:cNvPr id="31" name="object 31"/>
          <p:cNvSpPr txBox="1"/>
          <p:nvPr/>
        </p:nvSpPr>
        <p:spPr>
          <a:xfrm>
            <a:off x="8017509" y="2311400"/>
            <a:ext cx="2134235" cy="193675"/>
          </a:xfrm>
          <a:prstGeom prst="rect">
            <a:avLst/>
          </a:prstGeom>
        </p:spPr>
        <p:txBody>
          <a:bodyPr vert="horz" wrap="square" lIns="0" tIns="13335" rIns="0" bIns="0" rtlCol="0">
            <a:spAutoFit/>
          </a:bodyPr>
          <a:lstStyle/>
          <a:p>
            <a:pPr marL="12700">
              <a:lnSpc>
                <a:spcPct val="100000"/>
              </a:lnSpc>
              <a:spcBef>
                <a:spcPts val="105"/>
              </a:spcBef>
            </a:pPr>
            <a:r>
              <a:rPr sz="1100" b="1" spc="-5">
                <a:solidFill>
                  <a:srgbClr val="12ABDB"/>
                </a:solidFill>
                <a:latin typeface="Verdana"/>
                <a:cs typeface="Verdana"/>
              </a:rPr>
              <a:t>Train-the-trainer</a:t>
            </a:r>
            <a:r>
              <a:rPr sz="1100" b="1" spc="-45">
                <a:solidFill>
                  <a:srgbClr val="12ABDB"/>
                </a:solidFill>
                <a:latin typeface="Verdana"/>
                <a:cs typeface="Verdana"/>
              </a:rPr>
              <a:t> </a:t>
            </a:r>
            <a:r>
              <a:rPr sz="1100" b="1" spc="-5">
                <a:solidFill>
                  <a:srgbClr val="12ABDB"/>
                </a:solidFill>
                <a:latin typeface="Verdana"/>
                <a:cs typeface="Verdana"/>
              </a:rPr>
              <a:t>approach</a:t>
            </a:r>
            <a:endParaRPr sz="1100">
              <a:latin typeface="Verdana"/>
              <a:cs typeface="Verdana"/>
            </a:endParaRPr>
          </a:p>
        </p:txBody>
      </p:sp>
      <p:sp>
        <p:nvSpPr>
          <p:cNvPr id="32" name="object 32"/>
          <p:cNvSpPr/>
          <p:nvPr/>
        </p:nvSpPr>
        <p:spPr>
          <a:xfrm>
            <a:off x="7053833" y="2586989"/>
            <a:ext cx="4060825" cy="0"/>
          </a:xfrm>
          <a:custGeom>
            <a:avLst/>
            <a:gdLst/>
            <a:ahLst/>
            <a:cxnLst/>
            <a:rect l="l" t="t" r="r" b="b"/>
            <a:pathLst>
              <a:path w="4060825">
                <a:moveTo>
                  <a:pt x="0" y="0"/>
                </a:moveTo>
                <a:lnTo>
                  <a:pt x="4060698" y="0"/>
                </a:lnTo>
              </a:path>
            </a:pathLst>
          </a:custGeom>
          <a:ln w="28956">
            <a:solidFill>
              <a:srgbClr val="12ABDB"/>
            </a:solidFill>
          </a:ln>
        </p:spPr>
        <p:txBody>
          <a:bodyPr wrap="square" lIns="0" tIns="0" rIns="0" bIns="0" rtlCol="0"/>
          <a:lstStyle/>
          <a:p>
            <a:endParaRPr/>
          </a:p>
        </p:txBody>
      </p:sp>
      <p:sp>
        <p:nvSpPr>
          <p:cNvPr id="33" name="object 33"/>
          <p:cNvSpPr/>
          <p:nvPr/>
        </p:nvSpPr>
        <p:spPr>
          <a:xfrm>
            <a:off x="7787385" y="2973323"/>
            <a:ext cx="755650" cy="240029"/>
          </a:xfrm>
          <a:custGeom>
            <a:avLst/>
            <a:gdLst/>
            <a:ahLst/>
            <a:cxnLst/>
            <a:rect l="l" t="t" r="r" b="b"/>
            <a:pathLst>
              <a:path w="755650" h="240030">
                <a:moveTo>
                  <a:pt x="680243" y="208953"/>
                </a:moveTo>
                <a:lnTo>
                  <a:pt x="671449" y="239522"/>
                </a:lnTo>
                <a:lnTo>
                  <a:pt x="755142" y="224027"/>
                </a:lnTo>
                <a:lnTo>
                  <a:pt x="742619" y="212471"/>
                </a:lnTo>
                <a:lnTo>
                  <a:pt x="692404" y="212471"/>
                </a:lnTo>
                <a:lnTo>
                  <a:pt x="680243" y="208953"/>
                </a:lnTo>
                <a:close/>
              </a:path>
              <a:path w="755650" h="240030">
                <a:moveTo>
                  <a:pt x="683754" y="196748"/>
                </a:moveTo>
                <a:lnTo>
                  <a:pt x="680243" y="208953"/>
                </a:lnTo>
                <a:lnTo>
                  <a:pt x="692404" y="212471"/>
                </a:lnTo>
                <a:lnTo>
                  <a:pt x="695960" y="200278"/>
                </a:lnTo>
                <a:lnTo>
                  <a:pt x="683754" y="196748"/>
                </a:lnTo>
                <a:close/>
              </a:path>
              <a:path w="755650" h="240030">
                <a:moveTo>
                  <a:pt x="692531" y="166242"/>
                </a:moveTo>
                <a:lnTo>
                  <a:pt x="683754" y="196748"/>
                </a:lnTo>
                <a:lnTo>
                  <a:pt x="695960" y="200278"/>
                </a:lnTo>
                <a:lnTo>
                  <a:pt x="692404" y="212471"/>
                </a:lnTo>
                <a:lnTo>
                  <a:pt x="742619" y="212471"/>
                </a:lnTo>
                <a:lnTo>
                  <a:pt x="692531" y="166242"/>
                </a:lnTo>
                <a:close/>
              </a:path>
              <a:path w="755650" h="240030">
                <a:moveTo>
                  <a:pt x="3556" y="0"/>
                </a:moveTo>
                <a:lnTo>
                  <a:pt x="0" y="12191"/>
                </a:lnTo>
                <a:lnTo>
                  <a:pt x="680243" y="208953"/>
                </a:lnTo>
                <a:lnTo>
                  <a:pt x="683754" y="196748"/>
                </a:lnTo>
                <a:lnTo>
                  <a:pt x="3556" y="0"/>
                </a:lnTo>
                <a:close/>
              </a:path>
            </a:pathLst>
          </a:custGeom>
          <a:solidFill>
            <a:srgbClr val="7E7E7E"/>
          </a:solidFill>
        </p:spPr>
        <p:txBody>
          <a:bodyPr wrap="square" lIns="0" tIns="0" rIns="0" bIns="0" rtlCol="0"/>
          <a:lstStyle/>
          <a:p>
            <a:endParaRPr/>
          </a:p>
        </p:txBody>
      </p:sp>
      <p:sp>
        <p:nvSpPr>
          <p:cNvPr id="34" name="object 34"/>
          <p:cNvSpPr/>
          <p:nvPr/>
        </p:nvSpPr>
        <p:spPr>
          <a:xfrm>
            <a:off x="7787005" y="3446779"/>
            <a:ext cx="755650" cy="291465"/>
          </a:xfrm>
          <a:custGeom>
            <a:avLst/>
            <a:gdLst/>
            <a:ahLst/>
            <a:cxnLst/>
            <a:rect l="l" t="t" r="r" b="b"/>
            <a:pathLst>
              <a:path w="755650" h="291464">
                <a:moveTo>
                  <a:pt x="681843" y="29850"/>
                </a:moveTo>
                <a:lnTo>
                  <a:pt x="0" y="279019"/>
                </a:lnTo>
                <a:lnTo>
                  <a:pt x="4318" y="290957"/>
                </a:lnTo>
                <a:lnTo>
                  <a:pt x="686213" y="41814"/>
                </a:lnTo>
                <a:lnTo>
                  <a:pt x="681843" y="29850"/>
                </a:lnTo>
                <a:close/>
              </a:path>
              <a:path w="755650" h="291464">
                <a:moveTo>
                  <a:pt x="740558" y="25527"/>
                </a:moveTo>
                <a:lnTo>
                  <a:pt x="693674" y="25527"/>
                </a:lnTo>
                <a:lnTo>
                  <a:pt x="698119" y="37465"/>
                </a:lnTo>
                <a:lnTo>
                  <a:pt x="686213" y="41814"/>
                </a:lnTo>
                <a:lnTo>
                  <a:pt x="697102" y="71628"/>
                </a:lnTo>
                <a:lnTo>
                  <a:pt x="740558" y="25527"/>
                </a:lnTo>
                <a:close/>
              </a:path>
              <a:path w="755650" h="291464">
                <a:moveTo>
                  <a:pt x="693674" y="25527"/>
                </a:moveTo>
                <a:lnTo>
                  <a:pt x="681843" y="29850"/>
                </a:lnTo>
                <a:lnTo>
                  <a:pt x="686213" y="41814"/>
                </a:lnTo>
                <a:lnTo>
                  <a:pt x="698119" y="37465"/>
                </a:lnTo>
                <a:lnTo>
                  <a:pt x="693674" y="25527"/>
                </a:lnTo>
                <a:close/>
              </a:path>
              <a:path w="755650" h="291464">
                <a:moveTo>
                  <a:pt x="670941" y="0"/>
                </a:moveTo>
                <a:lnTo>
                  <a:pt x="681843" y="29850"/>
                </a:lnTo>
                <a:lnTo>
                  <a:pt x="693674" y="25527"/>
                </a:lnTo>
                <a:lnTo>
                  <a:pt x="740558" y="25527"/>
                </a:lnTo>
                <a:lnTo>
                  <a:pt x="755523" y="9652"/>
                </a:lnTo>
                <a:lnTo>
                  <a:pt x="670941" y="0"/>
                </a:lnTo>
                <a:close/>
              </a:path>
            </a:pathLst>
          </a:custGeom>
          <a:solidFill>
            <a:srgbClr val="7E7E7E"/>
          </a:solidFill>
        </p:spPr>
        <p:txBody>
          <a:bodyPr wrap="square" lIns="0" tIns="0" rIns="0" bIns="0" rtlCol="0"/>
          <a:lstStyle/>
          <a:p>
            <a:endParaRPr/>
          </a:p>
        </p:txBody>
      </p:sp>
      <p:sp>
        <p:nvSpPr>
          <p:cNvPr id="35" name="object 35"/>
          <p:cNvSpPr/>
          <p:nvPr/>
        </p:nvSpPr>
        <p:spPr>
          <a:xfrm>
            <a:off x="8584692" y="2697479"/>
            <a:ext cx="835660" cy="1327785"/>
          </a:xfrm>
          <a:custGeom>
            <a:avLst/>
            <a:gdLst/>
            <a:ahLst/>
            <a:cxnLst/>
            <a:rect l="l" t="t" r="r" b="b"/>
            <a:pathLst>
              <a:path w="835659" h="1327785">
                <a:moveTo>
                  <a:pt x="695959" y="0"/>
                </a:moveTo>
                <a:lnTo>
                  <a:pt x="139191" y="0"/>
                </a:lnTo>
                <a:lnTo>
                  <a:pt x="95211" y="7099"/>
                </a:lnTo>
                <a:lnTo>
                  <a:pt x="57003" y="26867"/>
                </a:lnTo>
                <a:lnTo>
                  <a:pt x="26867" y="57003"/>
                </a:lnTo>
                <a:lnTo>
                  <a:pt x="7099" y="95211"/>
                </a:lnTo>
                <a:lnTo>
                  <a:pt x="0" y="139192"/>
                </a:lnTo>
                <a:lnTo>
                  <a:pt x="0" y="1188212"/>
                </a:lnTo>
                <a:lnTo>
                  <a:pt x="7099" y="1232192"/>
                </a:lnTo>
                <a:lnTo>
                  <a:pt x="26867" y="1270400"/>
                </a:lnTo>
                <a:lnTo>
                  <a:pt x="57003" y="1300536"/>
                </a:lnTo>
                <a:lnTo>
                  <a:pt x="95211" y="1320304"/>
                </a:lnTo>
                <a:lnTo>
                  <a:pt x="139191" y="1327404"/>
                </a:lnTo>
                <a:lnTo>
                  <a:pt x="695959" y="1327404"/>
                </a:lnTo>
                <a:lnTo>
                  <a:pt x="739940" y="1320304"/>
                </a:lnTo>
                <a:lnTo>
                  <a:pt x="778148" y="1300536"/>
                </a:lnTo>
                <a:lnTo>
                  <a:pt x="808284" y="1270400"/>
                </a:lnTo>
                <a:lnTo>
                  <a:pt x="828052" y="1232192"/>
                </a:lnTo>
                <a:lnTo>
                  <a:pt x="835151" y="1188212"/>
                </a:lnTo>
                <a:lnTo>
                  <a:pt x="835151" y="139192"/>
                </a:lnTo>
                <a:lnTo>
                  <a:pt x="828052" y="95211"/>
                </a:lnTo>
                <a:lnTo>
                  <a:pt x="808284" y="57003"/>
                </a:lnTo>
                <a:lnTo>
                  <a:pt x="778148" y="26867"/>
                </a:lnTo>
                <a:lnTo>
                  <a:pt x="739940" y="7099"/>
                </a:lnTo>
                <a:lnTo>
                  <a:pt x="695959" y="0"/>
                </a:lnTo>
                <a:close/>
              </a:path>
            </a:pathLst>
          </a:custGeom>
          <a:solidFill>
            <a:srgbClr val="005382"/>
          </a:solidFill>
        </p:spPr>
        <p:txBody>
          <a:bodyPr wrap="square" lIns="0" tIns="0" rIns="0" bIns="0" rtlCol="0"/>
          <a:lstStyle/>
          <a:p>
            <a:endParaRPr/>
          </a:p>
        </p:txBody>
      </p:sp>
      <p:sp>
        <p:nvSpPr>
          <p:cNvPr id="36" name="object 36"/>
          <p:cNvSpPr/>
          <p:nvPr/>
        </p:nvSpPr>
        <p:spPr>
          <a:xfrm>
            <a:off x="8942831" y="3642359"/>
            <a:ext cx="118872" cy="283463"/>
          </a:xfrm>
          <a:prstGeom prst="rect">
            <a:avLst/>
          </a:prstGeom>
          <a:blipFill>
            <a:blip r:embed="rId5" cstate="print"/>
            <a:stretch>
              <a:fillRect/>
            </a:stretch>
          </a:blipFill>
        </p:spPr>
        <p:txBody>
          <a:bodyPr wrap="square" lIns="0" tIns="0" rIns="0" bIns="0" rtlCol="0"/>
          <a:lstStyle/>
          <a:p>
            <a:endParaRPr/>
          </a:p>
        </p:txBody>
      </p:sp>
      <p:sp>
        <p:nvSpPr>
          <p:cNvPr id="37" name="object 37"/>
          <p:cNvSpPr/>
          <p:nvPr/>
        </p:nvSpPr>
        <p:spPr>
          <a:xfrm>
            <a:off x="8942831" y="3307079"/>
            <a:ext cx="118872" cy="281939"/>
          </a:xfrm>
          <a:prstGeom prst="rect">
            <a:avLst/>
          </a:prstGeom>
          <a:blipFill>
            <a:blip r:embed="rId6" cstate="print"/>
            <a:stretch>
              <a:fillRect/>
            </a:stretch>
          </a:blipFill>
        </p:spPr>
        <p:txBody>
          <a:bodyPr wrap="square" lIns="0" tIns="0" rIns="0" bIns="0" rtlCol="0"/>
          <a:lstStyle/>
          <a:p>
            <a:endParaRPr/>
          </a:p>
        </p:txBody>
      </p:sp>
      <p:sp>
        <p:nvSpPr>
          <p:cNvPr id="38" name="object 38"/>
          <p:cNvSpPr/>
          <p:nvPr/>
        </p:nvSpPr>
        <p:spPr>
          <a:xfrm>
            <a:off x="8942831" y="2970276"/>
            <a:ext cx="118872" cy="283463"/>
          </a:xfrm>
          <a:prstGeom prst="rect">
            <a:avLst/>
          </a:prstGeom>
          <a:blipFill>
            <a:blip r:embed="rId5" cstate="print"/>
            <a:stretch>
              <a:fillRect/>
            </a:stretch>
          </a:blipFill>
        </p:spPr>
        <p:txBody>
          <a:bodyPr wrap="square" lIns="0" tIns="0" rIns="0" bIns="0" rtlCol="0"/>
          <a:lstStyle/>
          <a:p>
            <a:endParaRPr/>
          </a:p>
        </p:txBody>
      </p:sp>
      <p:sp>
        <p:nvSpPr>
          <p:cNvPr id="39" name="object 39"/>
          <p:cNvSpPr/>
          <p:nvPr/>
        </p:nvSpPr>
        <p:spPr>
          <a:xfrm>
            <a:off x="9902952" y="2697479"/>
            <a:ext cx="1175385" cy="1327785"/>
          </a:xfrm>
          <a:custGeom>
            <a:avLst/>
            <a:gdLst/>
            <a:ahLst/>
            <a:cxnLst/>
            <a:rect l="l" t="t" r="r" b="b"/>
            <a:pathLst>
              <a:path w="1175384" h="1327785">
                <a:moveTo>
                  <a:pt x="979170" y="0"/>
                </a:moveTo>
                <a:lnTo>
                  <a:pt x="195833" y="0"/>
                </a:lnTo>
                <a:lnTo>
                  <a:pt x="150915" y="5169"/>
                </a:lnTo>
                <a:lnTo>
                  <a:pt x="109690" y="19896"/>
                </a:lnTo>
                <a:lnTo>
                  <a:pt x="73329" y="43007"/>
                </a:lnTo>
                <a:lnTo>
                  <a:pt x="43007" y="73329"/>
                </a:lnTo>
                <a:lnTo>
                  <a:pt x="19896" y="109690"/>
                </a:lnTo>
                <a:lnTo>
                  <a:pt x="5169" y="150915"/>
                </a:lnTo>
                <a:lnTo>
                  <a:pt x="0" y="195834"/>
                </a:lnTo>
                <a:lnTo>
                  <a:pt x="0" y="1131570"/>
                </a:lnTo>
                <a:lnTo>
                  <a:pt x="5169" y="1176488"/>
                </a:lnTo>
                <a:lnTo>
                  <a:pt x="19896" y="1217713"/>
                </a:lnTo>
                <a:lnTo>
                  <a:pt x="43007" y="1254074"/>
                </a:lnTo>
                <a:lnTo>
                  <a:pt x="73329" y="1284396"/>
                </a:lnTo>
                <a:lnTo>
                  <a:pt x="109690" y="1307507"/>
                </a:lnTo>
                <a:lnTo>
                  <a:pt x="150915" y="1322234"/>
                </a:lnTo>
                <a:lnTo>
                  <a:pt x="195833" y="1327404"/>
                </a:lnTo>
                <a:lnTo>
                  <a:pt x="979170" y="1327404"/>
                </a:lnTo>
                <a:lnTo>
                  <a:pt x="1024088" y="1322234"/>
                </a:lnTo>
                <a:lnTo>
                  <a:pt x="1065313" y="1307507"/>
                </a:lnTo>
                <a:lnTo>
                  <a:pt x="1101674" y="1284396"/>
                </a:lnTo>
                <a:lnTo>
                  <a:pt x="1131996" y="1254074"/>
                </a:lnTo>
                <a:lnTo>
                  <a:pt x="1155107" y="1217713"/>
                </a:lnTo>
                <a:lnTo>
                  <a:pt x="1169834" y="1176488"/>
                </a:lnTo>
                <a:lnTo>
                  <a:pt x="1175003" y="1131570"/>
                </a:lnTo>
                <a:lnTo>
                  <a:pt x="1175003" y="195834"/>
                </a:lnTo>
                <a:lnTo>
                  <a:pt x="1169834" y="150915"/>
                </a:lnTo>
                <a:lnTo>
                  <a:pt x="1155107" y="109690"/>
                </a:lnTo>
                <a:lnTo>
                  <a:pt x="1131996" y="73329"/>
                </a:lnTo>
                <a:lnTo>
                  <a:pt x="1101674" y="43007"/>
                </a:lnTo>
                <a:lnTo>
                  <a:pt x="1065313" y="19896"/>
                </a:lnTo>
                <a:lnTo>
                  <a:pt x="1024088" y="5169"/>
                </a:lnTo>
                <a:lnTo>
                  <a:pt x="979170" y="0"/>
                </a:lnTo>
                <a:close/>
              </a:path>
            </a:pathLst>
          </a:custGeom>
          <a:solidFill>
            <a:srgbClr val="BEBEBE">
              <a:alpha val="50195"/>
            </a:srgbClr>
          </a:solidFill>
        </p:spPr>
        <p:txBody>
          <a:bodyPr wrap="square" lIns="0" tIns="0" rIns="0" bIns="0" rtlCol="0"/>
          <a:lstStyle/>
          <a:p>
            <a:endParaRPr/>
          </a:p>
        </p:txBody>
      </p:sp>
      <p:sp>
        <p:nvSpPr>
          <p:cNvPr id="40" name="object 40"/>
          <p:cNvSpPr/>
          <p:nvPr/>
        </p:nvSpPr>
        <p:spPr>
          <a:xfrm>
            <a:off x="10117835" y="3642359"/>
            <a:ext cx="118872" cy="283463"/>
          </a:xfrm>
          <a:prstGeom prst="rect">
            <a:avLst/>
          </a:prstGeom>
          <a:blipFill>
            <a:blip r:embed="rId7" cstate="print"/>
            <a:stretch>
              <a:fillRect/>
            </a:stretch>
          </a:blipFill>
        </p:spPr>
        <p:txBody>
          <a:bodyPr wrap="square" lIns="0" tIns="0" rIns="0" bIns="0" rtlCol="0"/>
          <a:lstStyle/>
          <a:p>
            <a:endParaRPr/>
          </a:p>
        </p:txBody>
      </p:sp>
      <p:sp>
        <p:nvSpPr>
          <p:cNvPr id="41" name="object 41"/>
          <p:cNvSpPr/>
          <p:nvPr/>
        </p:nvSpPr>
        <p:spPr>
          <a:xfrm>
            <a:off x="10431780" y="3642359"/>
            <a:ext cx="118872" cy="283463"/>
          </a:xfrm>
          <a:prstGeom prst="rect">
            <a:avLst/>
          </a:prstGeom>
          <a:blipFill>
            <a:blip r:embed="rId7" cstate="print"/>
            <a:stretch>
              <a:fillRect/>
            </a:stretch>
          </a:blipFill>
        </p:spPr>
        <p:txBody>
          <a:bodyPr wrap="square" lIns="0" tIns="0" rIns="0" bIns="0" rtlCol="0"/>
          <a:lstStyle/>
          <a:p>
            <a:endParaRPr/>
          </a:p>
        </p:txBody>
      </p:sp>
      <p:sp>
        <p:nvSpPr>
          <p:cNvPr id="42" name="object 42"/>
          <p:cNvSpPr/>
          <p:nvPr/>
        </p:nvSpPr>
        <p:spPr>
          <a:xfrm>
            <a:off x="10744200" y="3642359"/>
            <a:ext cx="120396" cy="283463"/>
          </a:xfrm>
          <a:prstGeom prst="rect">
            <a:avLst/>
          </a:prstGeom>
          <a:blipFill>
            <a:blip r:embed="rId8" cstate="print"/>
            <a:stretch>
              <a:fillRect/>
            </a:stretch>
          </a:blipFill>
        </p:spPr>
        <p:txBody>
          <a:bodyPr wrap="square" lIns="0" tIns="0" rIns="0" bIns="0" rtlCol="0"/>
          <a:lstStyle/>
          <a:p>
            <a:endParaRPr/>
          </a:p>
        </p:txBody>
      </p:sp>
      <p:sp>
        <p:nvSpPr>
          <p:cNvPr id="43" name="object 43"/>
          <p:cNvSpPr/>
          <p:nvPr/>
        </p:nvSpPr>
        <p:spPr>
          <a:xfrm>
            <a:off x="10274807" y="3642359"/>
            <a:ext cx="118872" cy="283463"/>
          </a:xfrm>
          <a:prstGeom prst="rect">
            <a:avLst/>
          </a:prstGeom>
          <a:blipFill>
            <a:blip r:embed="rId7" cstate="print"/>
            <a:stretch>
              <a:fillRect/>
            </a:stretch>
          </a:blipFill>
        </p:spPr>
        <p:txBody>
          <a:bodyPr wrap="square" lIns="0" tIns="0" rIns="0" bIns="0" rtlCol="0"/>
          <a:lstStyle/>
          <a:p>
            <a:endParaRPr/>
          </a:p>
        </p:txBody>
      </p:sp>
      <p:sp>
        <p:nvSpPr>
          <p:cNvPr id="44" name="object 44"/>
          <p:cNvSpPr/>
          <p:nvPr/>
        </p:nvSpPr>
        <p:spPr>
          <a:xfrm>
            <a:off x="10587228" y="3642359"/>
            <a:ext cx="120396" cy="283463"/>
          </a:xfrm>
          <a:prstGeom prst="rect">
            <a:avLst/>
          </a:prstGeom>
          <a:blipFill>
            <a:blip r:embed="rId8" cstate="print"/>
            <a:stretch>
              <a:fillRect/>
            </a:stretch>
          </a:blipFill>
        </p:spPr>
        <p:txBody>
          <a:bodyPr wrap="square" lIns="0" tIns="0" rIns="0" bIns="0" rtlCol="0"/>
          <a:lstStyle/>
          <a:p>
            <a:endParaRPr/>
          </a:p>
        </p:txBody>
      </p:sp>
      <p:sp>
        <p:nvSpPr>
          <p:cNvPr id="45" name="object 45"/>
          <p:cNvSpPr/>
          <p:nvPr/>
        </p:nvSpPr>
        <p:spPr>
          <a:xfrm>
            <a:off x="10117835" y="3307079"/>
            <a:ext cx="118872" cy="281939"/>
          </a:xfrm>
          <a:prstGeom prst="rect">
            <a:avLst/>
          </a:prstGeom>
          <a:blipFill>
            <a:blip r:embed="rId9" cstate="print"/>
            <a:stretch>
              <a:fillRect/>
            </a:stretch>
          </a:blipFill>
        </p:spPr>
        <p:txBody>
          <a:bodyPr wrap="square" lIns="0" tIns="0" rIns="0" bIns="0" rtlCol="0"/>
          <a:lstStyle/>
          <a:p>
            <a:endParaRPr/>
          </a:p>
        </p:txBody>
      </p:sp>
      <p:sp>
        <p:nvSpPr>
          <p:cNvPr id="46" name="object 46"/>
          <p:cNvSpPr/>
          <p:nvPr/>
        </p:nvSpPr>
        <p:spPr>
          <a:xfrm>
            <a:off x="10431780" y="3307079"/>
            <a:ext cx="118872" cy="281939"/>
          </a:xfrm>
          <a:prstGeom prst="rect">
            <a:avLst/>
          </a:prstGeom>
          <a:blipFill>
            <a:blip r:embed="rId9" cstate="print"/>
            <a:stretch>
              <a:fillRect/>
            </a:stretch>
          </a:blipFill>
        </p:spPr>
        <p:txBody>
          <a:bodyPr wrap="square" lIns="0" tIns="0" rIns="0" bIns="0" rtlCol="0"/>
          <a:lstStyle/>
          <a:p>
            <a:endParaRPr/>
          </a:p>
        </p:txBody>
      </p:sp>
      <p:sp>
        <p:nvSpPr>
          <p:cNvPr id="47" name="object 47"/>
          <p:cNvSpPr/>
          <p:nvPr/>
        </p:nvSpPr>
        <p:spPr>
          <a:xfrm>
            <a:off x="10744200" y="3307079"/>
            <a:ext cx="120396" cy="281939"/>
          </a:xfrm>
          <a:prstGeom prst="rect">
            <a:avLst/>
          </a:prstGeom>
          <a:blipFill>
            <a:blip r:embed="rId10" cstate="print"/>
            <a:stretch>
              <a:fillRect/>
            </a:stretch>
          </a:blipFill>
        </p:spPr>
        <p:txBody>
          <a:bodyPr wrap="square" lIns="0" tIns="0" rIns="0" bIns="0" rtlCol="0"/>
          <a:lstStyle/>
          <a:p>
            <a:endParaRPr/>
          </a:p>
        </p:txBody>
      </p:sp>
      <p:sp>
        <p:nvSpPr>
          <p:cNvPr id="48" name="object 48"/>
          <p:cNvSpPr/>
          <p:nvPr/>
        </p:nvSpPr>
        <p:spPr>
          <a:xfrm>
            <a:off x="10274807" y="3307079"/>
            <a:ext cx="118872" cy="281939"/>
          </a:xfrm>
          <a:prstGeom prst="rect">
            <a:avLst/>
          </a:prstGeom>
          <a:blipFill>
            <a:blip r:embed="rId9" cstate="print"/>
            <a:stretch>
              <a:fillRect/>
            </a:stretch>
          </a:blipFill>
        </p:spPr>
        <p:txBody>
          <a:bodyPr wrap="square" lIns="0" tIns="0" rIns="0" bIns="0" rtlCol="0"/>
          <a:lstStyle/>
          <a:p>
            <a:endParaRPr/>
          </a:p>
        </p:txBody>
      </p:sp>
      <p:sp>
        <p:nvSpPr>
          <p:cNvPr id="49" name="object 49"/>
          <p:cNvSpPr/>
          <p:nvPr/>
        </p:nvSpPr>
        <p:spPr>
          <a:xfrm>
            <a:off x="10587228" y="3307079"/>
            <a:ext cx="120396" cy="281939"/>
          </a:xfrm>
          <a:prstGeom prst="rect">
            <a:avLst/>
          </a:prstGeom>
          <a:blipFill>
            <a:blip r:embed="rId10" cstate="print"/>
            <a:stretch>
              <a:fillRect/>
            </a:stretch>
          </a:blipFill>
        </p:spPr>
        <p:txBody>
          <a:bodyPr wrap="square" lIns="0" tIns="0" rIns="0" bIns="0" rtlCol="0"/>
          <a:lstStyle/>
          <a:p>
            <a:endParaRPr/>
          </a:p>
        </p:txBody>
      </p:sp>
      <p:sp>
        <p:nvSpPr>
          <p:cNvPr id="50" name="object 50"/>
          <p:cNvSpPr/>
          <p:nvPr/>
        </p:nvSpPr>
        <p:spPr>
          <a:xfrm>
            <a:off x="10117835" y="2970276"/>
            <a:ext cx="118872" cy="283463"/>
          </a:xfrm>
          <a:prstGeom prst="rect">
            <a:avLst/>
          </a:prstGeom>
          <a:blipFill>
            <a:blip r:embed="rId7" cstate="print"/>
            <a:stretch>
              <a:fillRect/>
            </a:stretch>
          </a:blipFill>
        </p:spPr>
        <p:txBody>
          <a:bodyPr wrap="square" lIns="0" tIns="0" rIns="0" bIns="0" rtlCol="0"/>
          <a:lstStyle/>
          <a:p>
            <a:endParaRPr/>
          </a:p>
        </p:txBody>
      </p:sp>
      <p:sp>
        <p:nvSpPr>
          <p:cNvPr id="51" name="object 51"/>
          <p:cNvSpPr/>
          <p:nvPr/>
        </p:nvSpPr>
        <p:spPr>
          <a:xfrm>
            <a:off x="10431780" y="2970276"/>
            <a:ext cx="118872" cy="283463"/>
          </a:xfrm>
          <a:prstGeom prst="rect">
            <a:avLst/>
          </a:prstGeom>
          <a:blipFill>
            <a:blip r:embed="rId7" cstate="print"/>
            <a:stretch>
              <a:fillRect/>
            </a:stretch>
          </a:blipFill>
        </p:spPr>
        <p:txBody>
          <a:bodyPr wrap="square" lIns="0" tIns="0" rIns="0" bIns="0" rtlCol="0"/>
          <a:lstStyle/>
          <a:p>
            <a:endParaRPr/>
          </a:p>
        </p:txBody>
      </p:sp>
      <p:sp>
        <p:nvSpPr>
          <p:cNvPr id="52" name="object 52"/>
          <p:cNvSpPr/>
          <p:nvPr/>
        </p:nvSpPr>
        <p:spPr>
          <a:xfrm>
            <a:off x="10744200" y="2970276"/>
            <a:ext cx="120396" cy="283463"/>
          </a:xfrm>
          <a:prstGeom prst="rect">
            <a:avLst/>
          </a:prstGeom>
          <a:blipFill>
            <a:blip r:embed="rId8" cstate="print"/>
            <a:stretch>
              <a:fillRect/>
            </a:stretch>
          </a:blipFill>
        </p:spPr>
        <p:txBody>
          <a:bodyPr wrap="square" lIns="0" tIns="0" rIns="0" bIns="0" rtlCol="0"/>
          <a:lstStyle/>
          <a:p>
            <a:endParaRPr/>
          </a:p>
        </p:txBody>
      </p:sp>
      <p:sp>
        <p:nvSpPr>
          <p:cNvPr id="53" name="object 53"/>
          <p:cNvSpPr/>
          <p:nvPr/>
        </p:nvSpPr>
        <p:spPr>
          <a:xfrm>
            <a:off x="10274807" y="2970276"/>
            <a:ext cx="118872" cy="283463"/>
          </a:xfrm>
          <a:prstGeom prst="rect">
            <a:avLst/>
          </a:prstGeom>
          <a:blipFill>
            <a:blip r:embed="rId7" cstate="print"/>
            <a:stretch>
              <a:fillRect/>
            </a:stretch>
          </a:blipFill>
        </p:spPr>
        <p:txBody>
          <a:bodyPr wrap="square" lIns="0" tIns="0" rIns="0" bIns="0" rtlCol="0"/>
          <a:lstStyle/>
          <a:p>
            <a:endParaRPr/>
          </a:p>
        </p:txBody>
      </p:sp>
      <p:sp>
        <p:nvSpPr>
          <p:cNvPr id="54" name="object 54"/>
          <p:cNvSpPr/>
          <p:nvPr/>
        </p:nvSpPr>
        <p:spPr>
          <a:xfrm>
            <a:off x="10587228" y="2970276"/>
            <a:ext cx="120396" cy="283463"/>
          </a:xfrm>
          <a:prstGeom prst="rect">
            <a:avLst/>
          </a:prstGeom>
          <a:blipFill>
            <a:blip r:embed="rId8" cstate="print"/>
            <a:stretch>
              <a:fillRect/>
            </a:stretch>
          </a:blipFill>
        </p:spPr>
        <p:txBody>
          <a:bodyPr wrap="square" lIns="0" tIns="0" rIns="0" bIns="0" rtlCol="0"/>
          <a:lstStyle/>
          <a:p>
            <a:endParaRPr/>
          </a:p>
        </p:txBody>
      </p:sp>
      <p:sp>
        <p:nvSpPr>
          <p:cNvPr id="55" name="object 55"/>
          <p:cNvSpPr/>
          <p:nvPr/>
        </p:nvSpPr>
        <p:spPr>
          <a:xfrm>
            <a:off x="9342119" y="3086100"/>
            <a:ext cx="671195" cy="76200"/>
          </a:xfrm>
          <a:custGeom>
            <a:avLst/>
            <a:gdLst/>
            <a:ahLst/>
            <a:cxnLst/>
            <a:rect l="l" t="t" r="r" b="b"/>
            <a:pathLst>
              <a:path w="671195" h="76200">
                <a:moveTo>
                  <a:pt x="594740" y="0"/>
                </a:moveTo>
                <a:lnTo>
                  <a:pt x="594740" y="76200"/>
                </a:lnTo>
                <a:lnTo>
                  <a:pt x="658240" y="44450"/>
                </a:lnTo>
                <a:lnTo>
                  <a:pt x="607440" y="44450"/>
                </a:lnTo>
                <a:lnTo>
                  <a:pt x="607440" y="31750"/>
                </a:lnTo>
                <a:lnTo>
                  <a:pt x="658240" y="31750"/>
                </a:lnTo>
                <a:lnTo>
                  <a:pt x="594740" y="0"/>
                </a:lnTo>
                <a:close/>
              </a:path>
              <a:path w="671195" h="76200">
                <a:moveTo>
                  <a:pt x="594740" y="31750"/>
                </a:moveTo>
                <a:lnTo>
                  <a:pt x="0" y="31750"/>
                </a:lnTo>
                <a:lnTo>
                  <a:pt x="0" y="44450"/>
                </a:lnTo>
                <a:lnTo>
                  <a:pt x="594740" y="44450"/>
                </a:lnTo>
                <a:lnTo>
                  <a:pt x="594740" y="31750"/>
                </a:lnTo>
                <a:close/>
              </a:path>
              <a:path w="671195" h="76200">
                <a:moveTo>
                  <a:pt x="658240" y="31750"/>
                </a:moveTo>
                <a:lnTo>
                  <a:pt x="607440" y="31750"/>
                </a:lnTo>
                <a:lnTo>
                  <a:pt x="607440" y="44450"/>
                </a:lnTo>
                <a:lnTo>
                  <a:pt x="658240" y="44450"/>
                </a:lnTo>
                <a:lnTo>
                  <a:pt x="670940" y="38100"/>
                </a:lnTo>
                <a:lnTo>
                  <a:pt x="658240" y="31750"/>
                </a:lnTo>
                <a:close/>
              </a:path>
            </a:pathLst>
          </a:custGeom>
          <a:solidFill>
            <a:srgbClr val="7E7E7E"/>
          </a:solidFill>
        </p:spPr>
        <p:txBody>
          <a:bodyPr wrap="square" lIns="0" tIns="0" rIns="0" bIns="0" rtlCol="0"/>
          <a:lstStyle/>
          <a:p>
            <a:endParaRPr/>
          </a:p>
        </p:txBody>
      </p:sp>
      <p:sp>
        <p:nvSpPr>
          <p:cNvPr id="56" name="object 56"/>
          <p:cNvSpPr/>
          <p:nvPr/>
        </p:nvSpPr>
        <p:spPr>
          <a:xfrm>
            <a:off x="9342119" y="3415284"/>
            <a:ext cx="671195" cy="76200"/>
          </a:xfrm>
          <a:custGeom>
            <a:avLst/>
            <a:gdLst/>
            <a:ahLst/>
            <a:cxnLst/>
            <a:rect l="l" t="t" r="r" b="b"/>
            <a:pathLst>
              <a:path w="671195" h="76200">
                <a:moveTo>
                  <a:pt x="594740" y="0"/>
                </a:moveTo>
                <a:lnTo>
                  <a:pt x="594740" y="76200"/>
                </a:lnTo>
                <a:lnTo>
                  <a:pt x="658240" y="44450"/>
                </a:lnTo>
                <a:lnTo>
                  <a:pt x="607440" y="44450"/>
                </a:lnTo>
                <a:lnTo>
                  <a:pt x="607440" y="31750"/>
                </a:lnTo>
                <a:lnTo>
                  <a:pt x="658240" y="31750"/>
                </a:lnTo>
                <a:lnTo>
                  <a:pt x="594740" y="0"/>
                </a:lnTo>
                <a:close/>
              </a:path>
              <a:path w="671195" h="76200">
                <a:moveTo>
                  <a:pt x="594740" y="31750"/>
                </a:moveTo>
                <a:lnTo>
                  <a:pt x="0" y="31750"/>
                </a:lnTo>
                <a:lnTo>
                  <a:pt x="0" y="44450"/>
                </a:lnTo>
                <a:lnTo>
                  <a:pt x="594740" y="44450"/>
                </a:lnTo>
                <a:lnTo>
                  <a:pt x="594740" y="31750"/>
                </a:lnTo>
                <a:close/>
              </a:path>
              <a:path w="671195" h="76200">
                <a:moveTo>
                  <a:pt x="658240" y="31750"/>
                </a:moveTo>
                <a:lnTo>
                  <a:pt x="607440" y="31750"/>
                </a:lnTo>
                <a:lnTo>
                  <a:pt x="607440" y="44450"/>
                </a:lnTo>
                <a:lnTo>
                  <a:pt x="658240" y="44450"/>
                </a:lnTo>
                <a:lnTo>
                  <a:pt x="670940" y="38100"/>
                </a:lnTo>
                <a:lnTo>
                  <a:pt x="658240" y="31750"/>
                </a:lnTo>
                <a:close/>
              </a:path>
            </a:pathLst>
          </a:custGeom>
          <a:solidFill>
            <a:srgbClr val="7E7E7E"/>
          </a:solidFill>
        </p:spPr>
        <p:txBody>
          <a:bodyPr wrap="square" lIns="0" tIns="0" rIns="0" bIns="0" rtlCol="0"/>
          <a:lstStyle/>
          <a:p>
            <a:endParaRPr/>
          </a:p>
        </p:txBody>
      </p:sp>
      <p:sp>
        <p:nvSpPr>
          <p:cNvPr id="57" name="object 57"/>
          <p:cNvSpPr/>
          <p:nvPr/>
        </p:nvSpPr>
        <p:spPr>
          <a:xfrm>
            <a:off x="9342119" y="3745991"/>
            <a:ext cx="671195" cy="76200"/>
          </a:xfrm>
          <a:custGeom>
            <a:avLst/>
            <a:gdLst/>
            <a:ahLst/>
            <a:cxnLst/>
            <a:rect l="l" t="t" r="r" b="b"/>
            <a:pathLst>
              <a:path w="671195" h="76200">
                <a:moveTo>
                  <a:pt x="594740" y="0"/>
                </a:moveTo>
                <a:lnTo>
                  <a:pt x="594740" y="76199"/>
                </a:lnTo>
                <a:lnTo>
                  <a:pt x="658240" y="44449"/>
                </a:lnTo>
                <a:lnTo>
                  <a:pt x="607440" y="44449"/>
                </a:lnTo>
                <a:lnTo>
                  <a:pt x="607440" y="31749"/>
                </a:lnTo>
                <a:lnTo>
                  <a:pt x="658240" y="31749"/>
                </a:lnTo>
                <a:lnTo>
                  <a:pt x="594740" y="0"/>
                </a:lnTo>
                <a:close/>
              </a:path>
              <a:path w="671195" h="76200">
                <a:moveTo>
                  <a:pt x="594740" y="31749"/>
                </a:moveTo>
                <a:lnTo>
                  <a:pt x="0" y="31749"/>
                </a:lnTo>
                <a:lnTo>
                  <a:pt x="0" y="44449"/>
                </a:lnTo>
                <a:lnTo>
                  <a:pt x="594740" y="44449"/>
                </a:lnTo>
                <a:lnTo>
                  <a:pt x="594740" y="31749"/>
                </a:lnTo>
                <a:close/>
              </a:path>
              <a:path w="671195" h="76200">
                <a:moveTo>
                  <a:pt x="658240" y="31749"/>
                </a:moveTo>
                <a:lnTo>
                  <a:pt x="607440" y="31749"/>
                </a:lnTo>
                <a:lnTo>
                  <a:pt x="607440" y="44449"/>
                </a:lnTo>
                <a:lnTo>
                  <a:pt x="658240" y="44449"/>
                </a:lnTo>
                <a:lnTo>
                  <a:pt x="670940" y="38099"/>
                </a:lnTo>
                <a:lnTo>
                  <a:pt x="658240" y="31749"/>
                </a:lnTo>
                <a:close/>
              </a:path>
            </a:pathLst>
          </a:custGeom>
          <a:solidFill>
            <a:srgbClr val="7E7E7E"/>
          </a:solidFill>
        </p:spPr>
        <p:txBody>
          <a:bodyPr wrap="square" lIns="0" tIns="0" rIns="0" bIns="0" rtlCol="0"/>
          <a:lstStyle/>
          <a:p>
            <a:endParaRPr/>
          </a:p>
        </p:txBody>
      </p:sp>
      <p:sp>
        <p:nvSpPr>
          <p:cNvPr id="58" name="object 58"/>
          <p:cNvSpPr txBox="1"/>
          <p:nvPr/>
        </p:nvSpPr>
        <p:spPr>
          <a:xfrm>
            <a:off x="8644890" y="2707004"/>
            <a:ext cx="701040" cy="199390"/>
          </a:xfrm>
          <a:prstGeom prst="rect">
            <a:avLst/>
          </a:prstGeom>
        </p:spPr>
        <p:txBody>
          <a:bodyPr vert="horz" wrap="square" lIns="0" tIns="22860" rIns="0" bIns="0" rtlCol="0">
            <a:spAutoFit/>
          </a:bodyPr>
          <a:lstStyle/>
          <a:p>
            <a:pPr marL="12700" marR="5080" indent="124460">
              <a:lnSpc>
                <a:spcPts val="650"/>
              </a:lnSpc>
              <a:spcBef>
                <a:spcPts val="180"/>
              </a:spcBef>
            </a:pPr>
            <a:r>
              <a:rPr sz="600" b="1" spc="-5">
                <a:solidFill>
                  <a:srgbClr val="FFFFFF"/>
                </a:solidFill>
                <a:latin typeface="Verdana"/>
                <a:cs typeface="Verdana"/>
              </a:rPr>
              <a:t>Key Users  (m</a:t>
            </a:r>
            <a:r>
              <a:rPr sz="600" b="1">
                <a:solidFill>
                  <a:srgbClr val="FFFFFF"/>
                </a:solidFill>
                <a:latin typeface="Verdana"/>
                <a:cs typeface="Verdana"/>
              </a:rPr>
              <a:t>ultipl</a:t>
            </a:r>
            <a:r>
              <a:rPr sz="600" b="1" spc="-5">
                <a:solidFill>
                  <a:srgbClr val="FFFFFF"/>
                </a:solidFill>
                <a:latin typeface="Verdana"/>
                <a:cs typeface="Verdana"/>
              </a:rPr>
              <a:t>ica</a:t>
            </a:r>
            <a:r>
              <a:rPr sz="600" b="1">
                <a:solidFill>
                  <a:srgbClr val="FFFFFF"/>
                </a:solidFill>
                <a:latin typeface="Verdana"/>
                <a:cs typeface="Verdana"/>
              </a:rPr>
              <a:t>t</a:t>
            </a:r>
            <a:r>
              <a:rPr sz="600" b="1" spc="-5">
                <a:solidFill>
                  <a:srgbClr val="FFFFFF"/>
                </a:solidFill>
                <a:latin typeface="Verdana"/>
                <a:cs typeface="Verdana"/>
              </a:rPr>
              <a:t>o</a:t>
            </a:r>
            <a:r>
              <a:rPr sz="600" b="1">
                <a:solidFill>
                  <a:srgbClr val="FFFFFF"/>
                </a:solidFill>
                <a:latin typeface="Verdana"/>
                <a:cs typeface="Verdana"/>
              </a:rPr>
              <a:t>r</a:t>
            </a:r>
            <a:r>
              <a:rPr sz="600" b="1" spc="5">
                <a:solidFill>
                  <a:srgbClr val="FFFFFF"/>
                </a:solidFill>
                <a:latin typeface="Verdana"/>
                <a:cs typeface="Verdana"/>
              </a:rPr>
              <a:t>s</a:t>
            </a:r>
            <a:r>
              <a:rPr sz="600" b="1">
                <a:solidFill>
                  <a:srgbClr val="FFFFFF"/>
                </a:solidFill>
                <a:latin typeface="Verdana"/>
                <a:cs typeface="Verdana"/>
              </a:rPr>
              <a:t>)</a:t>
            </a:r>
            <a:endParaRPr sz="600">
              <a:latin typeface="Verdana"/>
              <a:cs typeface="Verdana"/>
            </a:endParaRPr>
          </a:p>
        </p:txBody>
      </p:sp>
      <p:sp>
        <p:nvSpPr>
          <p:cNvPr id="59" name="object 59"/>
          <p:cNvSpPr txBox="1"/>
          <p:nvPr/>
        </p:nvSpPr>
        <p:spPr>
          <a:xfrm>
            <a:off x="10265156" y="2728086"/>
            <a:ext cx="452755" cy="116839"/>
          </a:xfrm>
          <a:prstGeom prst="rect">
            <a:avLst/>
          </a:prstGeom>
        </p:spPr>
        <p:txBody>
          <a:bodyPr vert="horz" wrap="square" lIns="0" tIns="12700" rIns="0" bIns="0" rtlCol="0">
            <a:spAutoFit/>
          </a:bodyPr>
          <a:lstStyle/>
          <a:p>
            <a:pPr marL="12700">
              <a:lnSpc>
                <a:spcPct val="100000"/>
              </a:lnSpc>
              <a:spcBef>
                <a:spcPts val="100"/>
              </a:spcBef>
            </a:pPr>
            <a:r>
              <a:rPr sz="600" b="1" spc="-5">
                <a:latin typeface="Verdana"/>
                <a:cs typeface="Verdana"/>
              </a:rPr>
              <a:t>End</a:t>
            </a:r>
            <a:r>
              <a:rPr sz="600" b="1" spc="-50">
                <a:latin typeface="Verdana"/>
                <a:cs typeface="Verdana"/>
              </a:rPr>
              <a:t> </a:t>
            </a:r>
            <a:r>
              <a:rPr sz="600" b="1" spc="-5">
                <a:latin typeface="Verdana"/>
                <a:cs typeface="Verdana"/>
              </a:rPr>
              <a:t>Users</a:t>
            </a:r>
            <a:endParaRPr sz="600">
              <a:latin typeface="Verdana"/>
              <a:cs typeface="Verdana"/>
            </a:endParaRPr>
          </a:p>
        </p:txBody>
      </p:sp>
      <p:sp>
        <p:nvSpPr>
          <p:cNvPr id="60" name="object 60"/>
          <p:cNvSpPr/>
          <p:nvPr/>
        </p:nvSpPr>
        <p:spPr>
          <a:xfrm>
            <a:off x="7898256" y="2964307"/>
            <a:ext cx="437515" cy="235203"/>
          </a:xfrm>
          <a:prstGeom prst="rect">
            <a:avLst/>
          </a:prstGeom>
          <a:blipFill>
            <a:blip r:embed="rId11" cstate="print"/>
            <a:stretch>
              <a:fillRect/>
            </a:stretch>
          </a:blipFill>
        </p:spPr>
        <p:txBody>
          <a:bodyPr wrap="square" lIns="0" tIns="0" rIns="0" bIns="0" rtlCol="0"/>
          <a:lstStyle/>
          <a:p>
            <a:endParaRPr/>
          </a:p>
        </p:txBody>
      </p:sp>
      <p:sp>
        <p:nvSpPr>
          <p:cNvPr id="61" name="object 61"/>
          <p:cNvSpPr/>
          <p:nvPr/>
        </p:nvSpPr>
        <p:spPr>
          <a:xfrm>
            <a:off x="7908417" y="3466972"/>
            <a:ext cx="437768" cy="292353"/>
          </a:xfrm>
          <a:prstGeom prst="rect">
            <a:avLst/>
          </a:prstGeom>
          <a:blipFill>
            <a:blip r:embed="rId12" cstate="print"/>
            <a:stretch>
              <a:fillRect/>
            </a:stretch>
          </a:blipFill>
        </p:spPr>
        <p:txBody>
          <a:bodyPr wrap="square" lIns="0" tIns="0" rIns="0" bIns="0" rtlCol="0"/>
          <a:lstStyle/>
          <a:p>
            <a:endParaRPr/>
          </a:p>
        </p:txBody>
      </p:sp>
      <p:sp>
        <p:nvSpPr>
          <p:cNvPr id="62" name="object 62"/>
          <p:cNvSpPr/>
          <p:nvPr/>
        </p:nvSpPr>
        <p:spPr>
          <a:xfrm>
            <a:off x="7129271" y="2691383"/>
            <a:ext cx="623570" cy="593090"/>
          </a:xfrm>
          <a:custGeom>
            <a:avLst/>
            <a:gdLst/>
            <a:ahLst/>
            <a:cxnLst/>
            <a:rect l="l" t="t" r="r" b="b"/>
            <a:pathLst>
              <a:path w="623570" h="593089">
                <a:moveTo>
                  <a:pt x="524509" y="0"/>
                </a:moveTo>
                <a:lnTo>
                  <a:pt x="98805" y="0"/>
                </a:lnTo>
                <a:lnTo>
                  <a:pt x="60328" y="7758"/>
                </a:lnTo>
                <a:lnTo>
                  <a:pt x="28924" y="28924"/>
                </a:lnTo>
                <a:lnTo>
                  <a:pt x="7758" y="60328"/>
                </a:lnTo>
                <a:lnTo>
                  <a:pt x="0" y="98805"/>
                </a:lnTo>
                <a:lnTo>
                  <a:pt x="0" y="494029"/>
                </a:lnTo>
                <a:lnTo>
                  <a:pt x="7758" y="532507"/>
                </a:lnTo>
                <a:lnTo>
                  <a:pt x="28924" y="563911"/>
                </a:lnTo>
                <a:lnTo>
                  <a:pt x="60328" y="585077"/>
                </a:lnTo>
                <a:lnTo>
                  <a:pt x="98805" y="592836"/>
                </a:lnTo>
                <a:lnTo>
                  <a:pt x="524509" y="592836"/>
                </a:lnTo>
                <a:lnTo>
                  <a:pt x="562987" y="585077"/>
                </a:lnTo>
                <a:lnTo>
                  <a:pt x="594391" y="563911"/>
                </a:lnTo>
                <a:lnTo>
                  <a:pt x="615557" y="532507"/>
                </a:lnTo>
                <a:lnTo>
                  <a:pt x="623316" y="494029"/>
                </a:lnTo>
                <a:lnTo>
                  <a:pt x="623316" y="98805"/>
                </a:lnTo>
                <a:lnTo>
                  <a:pt x="615557" y="60328"/>
                </a:lnTo>
                <a:lnTo>
                  <a:pt x="594391" y="28924"/>
                </a:lnTo>
                <a:lnTo>
                  <a:pt x="562987" y="7758"/>
                </a:lnTo>
                <a:lnTo>
                  <a:pt x="524509" y="0"/>
                </a:lnTo>
                <a:close/>
              </a:path>
            </a:pathLst>
          </a:custGeom>
          <a:solidFill>
            <a:srgbClr val="68D1F3"/>
          </a:solidFill>
        </p:spPr>
        <p:txBody>
          <a:bodyPr wrap="square" lIns="0" tIns="0" rIns="0" bIns="0" rtlCol="0"/>
          <a:lstStyle/>
          <a:p>
            <a:endParaRPr/>
          </a:p>
        </p:txBody>
      </p:sp>
      <p:sp>
        <p:nvSpPr>
          <p:cNvPr id="63" name="object 63"/>
          <p:cNvSpPr/>
          <p:nvPr/>
        </p:nvSpPr>
        <p:spPr>
          <a:xfrm>
            <a:off x="7129271" y="3429000"/>
            <a:ext cx="622300" cy="591820"/>
          </a:xfrm>
          <a:custGeom>
            <a:avLst/>
            <a:gdLst/>
            <a:ahLst/>
            <a:cxnLst/>
            <a:rect l="l" t="t" r="r" b="b"/>
            <a:pathLst>
              <a:path w="622300" h="591820">
                <a:moveTo>
                  <a:pt x="523239" y="0"/>
                </a:moveTo>
                <a:lnTo>
                  <a:pt x="98551" y="0"/>
                </a:lnTo>
                <a:lnTo>
                  <a:pt x="60168" y="7737"/>
                </a:lnTo>
                <a:lnTo>
                  <a:pt x="28844" y="28844"/>
                </a:lnTo>
                <a:lnTo>
                  <a:pt x="7737" y="60168"/>
                </a:lnTo>
                <a:lnTo>
                  <a:pt x="0" y="98551"/>
                </a:lnTo>
                <a:lnTo>
                  <a:pt x="0" y="492760"/>
                </a:lnTo>
                <a:lnTo>
                  <a:pt x="7737" y="531143"/>
                </a:lnTo>
                <a:lnTo>
                  <a:pt x="28844" y="562467"/>
                </a:lnTo>
                <a:lnTo>
                  <a:pt x="60168" y="583574"/>
                </a:lnTo>
                <a:lnTo>
                  <a:pt x="98551" y="591312"/>
                </a:lnTo>
                <a:lnTo>
                  <a:pt x="523239" y="591312"/>
                </a:lnTo>
                <a:lnTo>
                  <a:pt x="561623" y="583574"/>
                </a:lnTo>
                <a:lnTo>
                  <a:pt x="592947" y="562467"/>
                </a:lnTo>
                <a:lnTo>
                  <a:pt x="614054" y="531143"/>
                </a:lnTo>
                <a:lnTo>
                  <a:pt x="621792" y="492760"/>
                </a:lnTo>
                <a:lnTo>
                  <a:pt x="621792" y="98551"/>
                </a:lnTo>
                <a:lnTo>
                  <a:pt x="614054" y="60168"/>
                </a:lnTo>
                <a:lnTo>
                  <a:pt x="592947" y="28844"/>
                </a:lnTo>
                <a:lnTo>
                  <a:pt x="561623" y="7737"/>
                </a:lnTo>
                <a:lnTo>
                  <a:pt x="523239" y="0"/>
                </a:lnTo>
                <a:close/>
              </a:path>
            </a:pathLst>
          </a:custGeom>
          <a:solidFill>
            <a:srgbClr val="68D1F3"/>
          </a:solidFill>
        </p:spPr>
        <p:txBody>
          <a:bodyPr wrap="square" lIns="0" tIns="0" rIns="0" bIns="0" rtlCol="0"/>
          <a:lstStyle/>
          <a:p>
            <a:endParaRPr/>
          </a:p>
        </p:txBody>
      </p:sp>
      <p:sp>
        <p:nvSpPr>
          <p:cNvPr id="64" name="object 64"/>
          <p:cNvSpPr/>
          <p:nvPr/>
        </p:nvSpPr>
        <p:spPr>
          <a:xfrm>
            <a:off x="7568183" y="2837688"/>
            <a:ext cx="118872" cy="283463"/>
          </a:xfrm>
          <a:prstGeom prst="rect">
            <a:avLst/>
          </a:prstGeom>
          <a:blipFill>
            <a:blip r:embed="rId5" cstate="print"/>
            <a:stretch>
              <a:fillRect/>
            </a:stretch>
          </a:blipFill>
        </p:spPr>
        <p:txBody>
          <a:bodyPr wrap="square" lIns="0" tIns="0" rIns="0" bIns="0" rtlCol="0"/>
          <a:lstStyle/>
          <a:p>
            <a:endParaRPr/>
          </a:p>
        </p:txBody>
      </p:sp>
      <p:sp>
        <p:nvSpPr>
          <p:cNvPr id="65" name="object 65"/>
          <p:cNvSpPr txBox="1"/>
          <p:nvPr/>
        </p:nvSpPr>
        <p:spPr>
          <a:xfrm>
            <a:off x="7173594" y="2836926"/>
            <a:ext cx="334645" cy="116839"/>
          </a:xfrm>
          <a:prstGeom prst="rect">
            <a:avLst/>
          </a:prstGeom>
        </p:spPr>
        <p:txBody>
          <a:bodyPr vert="horz" wrap="square" lIns="0" tIns="12700" rIns="0" bIns="0" rtlCol="0">
            <a:spAutoFit/>
          </a:bodyPr>
          <a:lstStyle/>
          <a:p>
            <a:pPr marL="12700">
              <a:lnSpc>
                <a:spcPct val="100000"/>
              </a:lnSpc>
              <a:spcBef>
                <a:spcPts val="100"/>
              </a:spcBef>
            </a:pPr>
            <a:r>
              <a:rPr sz="600" b="1">
                <a:solidFill>
                  <a:srgbClr val="006FAC"/>
                </a:solidFill>
                <a:latin typeface="Verdana"/>
                <a:cs typeface="Verdana"/>
              </a:rPr>
              <a:t>Tr</a:t>
            </a:r>
            <a:r>
              <a:rPr sz="600" b="1" spc="-5">
                <a:solidFill>
                  <a:srgbClr val="006FAC"/>
                </a:solidFill>
                <a:latin typeface="Verdana"/>
                <a:cs typeface="Verdana"/>
              </a:rPr>
              <a:t>a</a:t>
            </a:r>
            <a:r>
              <a:rPr sz="600" b="1">
                <a:solidFill>
                  <a:srgbClr val="006FAC"/>
                </a:solidFill>
                <a:latin typeface="Verdana"/>
                <a:cs typeface="Verdana"/>
              </a:rPr>
              <a:t>in</a:t>
            </a:r>
            <a:r>
              <a:rPr sz="600" b="1" spc="-5">
                <a:solidFill>
                  <a:srgbClr val="006FAC"/>
                </a:solidFill>
                <a:latin typeface="Verdana"/>
                <a:cs typeface="Verdana"/>
              </a:rPr>
              <a:t>e</a:t>
            </a:r>
            <a:r>
              <a:rPr sz="600" b="1">
                <a:solidFill>
                  <a:srgbClr val="006FAC"/>
                </a:solidFill>
                <a:latin typeface="Verdana"/>
                <a:cs typeface="Verdana"/>
              </a:rPr>
              <a:t>r</a:t>
            </a:r>
            <a:endParaRPr sz="600">
              <a:latin typeface="Verdana"/>
              <a:cs typeface="Verdana"/>
            </a:endParaRPr>
          </a:p>
        </p:txBody>
      </p:sp>
      <p:sp>
        <p:nvSpPr>
          <p:cNvPr id="66" name="object 66"/>
          <p:cNvSpPr/>
          <p:nvPr/>
        </p:nvSpPr>
        <p:spPr>
          <a:xfrm>
            <a:off x="7568183" y="3589020"/>
            <a:ext cx="118872" cy="283464"/>
          </a:xfrm>
          <a:prstGeom prst="rect">
            <a:avLst/>
          </a:prstGeom>
          <a:blipFill>
            <a:blip r:embed="rId5" cstate="print"/>
            <a:stretch>
              <a:fillRect/>
            </a:stretch>
          </a:blipFill>
        </p:spPr>
        <p:txBody>
          <a:bodyPr wrap="square" lIns="0" tIns="0" rIns="0" bIns="0" rtlCol="0"/>
          <a:lstStyle/>
          <a:p>
            <a:endParaRPr/>
          </a:p>
        </p:txBody>
      </p:sp>
      <p:sp>
        <p:nvSpPr>
          <p:cNvPr id="67" name="object 67"/>
          <p:cNvSpPr txBox="1"/>
          <p:nvPr/>
        </p:nvSpPr>
        <p:spPr>
          <a:xfrm>
            <a:off x="7168642" y="3576066"/>
            <a:ext cx="334645" cy="116839"/>
          </a:xfrm>
          <a:prstGeom prst="rect">
            <a:avLst/>
          </a:prstGeom>
        </p:spPr>
        <p:txBody>
          <a:bodyPr vert="horz" wrap="square" lIns="0" tIns="12700" rIns="0" bIns="0" rtlCol="0">
            <a:spAutoFit/>
          </a:bodyPr>
          <a:lstStyle/>
          <a:p>
            <a:pPr marL="12700">
              <a:lnSpc>
                <a:spcPct val="100000"/>
              </a:lnSpc>
              <a:spcBef>
                <a:spcPts val="100"/>
              </a:spcBef>
            </a:pPr>
            <a:r>
              <a:rPr sz="600" b="1">
                <a:solidFill>
                  <a:srgbClr val="006FAC"/>
                </a:solidFill>
                <a:latin typeface="Verdana"/>
                <a:cs typeface="Verdana"/>
              </a:rPr>
              <a:t>Tr</a:t>
            </a:r>
            <a:r>
              <a:rPr sz="600" b="1" spc="-5">
                <a:solidFill>
                  <a:srgbClr val="006FAC"/>
                </a:solidFill>
                <a:latin typeface="Verdana"/>
                <a:cs typeface="Verdana"/>
              </a:rPr>
              <a:t>a</a:t>
            </a:r>
            <a:r>
              <a:rPr sz="600" b="1">
                <a:solidFill>
                  <a:srgbClr val="006FAC"/>
                </a:solidFill>
                <a:latin typeface="Verdana"/>
                <a:cs typeface="Verdana"/>
              </a:rPr>
              <a:t>in</a:t>
            </a:r>
            <a:r>
              <a:rPr sz="600" b="1" spc="-5">
                <a:solidFill>
                  <a:srgbClr val="006FAC"/>
                </a:solidFill>
                <a:latin typeface="Verdana"/>
                <a:cs typeface="Verdana"/>
              </a:rPr>
              <a:t>e</a:t>
            </a:r>
            <a:r>
              <a:rPr sz="600" b="1">
                <a:solidFill>
                  <a:srgbClr val="006FAC"/>
                </a:solidFill>
                <a:latin typeface="Verdana"/>
                <a:cs typeface="Verdana"/>
              </a:rPr>
              <a:t>r</a:t>
            </a:r>
            <a:endParaRPr sz="600">
              <a:latin typeface="Verdana"/>
              <a:cs typeface="Verdana"/>
            </a:endParaRPr>
          </a:p>
        </p:txBody>
      </p:sp>
      <p:sp>
        <p:nvSpPr>
          <p:cNvPr id="68" name="object 68"/>
          <p:cNvSpPr txBox="1"/>
          <p:nvPr/>
        </p:nvSpPr>
        <p:spPr>
          <a:xfrm>
            <a:off x="9467088" y="4477511"/>
            <a:ext cx="754380" cy="1382395"/>
          </a:xfrm>
          <a:prstGeom prst="rect">
            <a:avLst/>
          </a:prstGeom>
          <a:solidFill>
            <a:srgbClr val="CDEFFA"/>
          </a:solidFill>
        </p:spPr>
        <p:txBody>
          <a:bodyPr vert="horz" wrap="square" lIns="0" tIns="0" rIns="0" bIns="0" rtlCol="0">
            <a:spAutoFit/>
          </a:bodyPr>
          <a:lstStyle/>
          <a:p>
            <a:pPr>
              <a:lnSpc>
                <a:spcPct val="100000"/>
              </a:lnSpc>
            </a:pPr>
            <a:endParaRPr sz="800">
              <a:latin typeface="Times New Roman"/>
              <a:cs typeface="Times New Roman"/>
            </a:endParaRPr>
          </a:p>
          <a:p>
            <a:pPr>
              <a:lnSpc>
                <a:spcPct val="100000"/>
              </a:lnSpc>
              <a:spcBef>
                <a:spcPts val="20"/>
              </a:spcBef>
            </a:pPr>
            <a:endParaRPr sz="1000">
              <a:latin typeface="Times New Roman"/>
              <a:cs typeface="Times New Roman"/>
            </a:endParaRPr>
          </a:p>
          <a:p>
            <a:pPr marL="64769" marR="54610" indent="1270" algn="ctr">
              <a:lnSpc>
                <a:spcPct val="100000"/>
              </a:lnSpc>
            </a:pPr>
            <a:r>
              <a:rPr sz="700" spc="-10">
                <a:latin typeface="Verdana"/>
                <a:cs typeface="Verdana"/>
              </a:rPr>
              <a:t>Implemen-  </a:t>
            </a:r>
            <a:r>
              <a:rPr sz="700" spc="-5">
                <a:latin typeface="Verdana"/>
                <a:cs typeface="Verdana"/>
              </a:rPr>
              <a:t>tation of  </a:t>
            </a:r>
            <a:r>
              <a:rPr sz="700" spc="-10">
                <a:latin typeface="Verdana"/>
                <a:cs typeface="Verdana"/>
              </a:rPr>
              <a:t>training  (modules) to  </a:t>
            </a:r>
            <a:r>
              <a:rPr sz="700" spc="-5">
                <a:latin typeface="Verdana"/>
                <a:cs typeface="Verdana"/>
              </a:rPr>
              <a:t>defined</a:t>
            </a:r>
            <a:r>
              <a:rPr sz="700" spc="-80">
                <a:latin typeface="Verdana"/>
                <a:cs typeface="Verdana"/>
              </a:rPr>
              <a:t> </a:t>
            </a:r>
            <a:r>
              <a:rPr sz="700" spc="-5">
                <a:latin typeface="Verdana"/>
                <a:cs typeface="Verdana"/>
              </a:rPr>
              <a:t>target  groups by  trained key  users</a:t>
            </a:r>
            <a:endParaRPr sz="700">
              <a:latin typeface="Verdana"/>
              <a:cs typeface="Verdana"/>
            </a:endParaRPr>
          </a:p>
        </p:txBody>
      </p:sp>
      <p:sp>
        <p:nvSpPr>
          <p:cNvPr id="69" name="object 69"/>
          <p:cNvSpPr txBox="1"/>
          <p:nvPr/>
        </p:nvSpPr>
        <p:spPr>
          <a:xfrm>
            <a:off x="6973823" y="5923788"/>
            <a:ext cx="3248025" cy="314325"/>
          </a:xfrm>
          <a:prstGeom prst="rect">
            <a:avLst/>
          </a:prstGeom>
          <a:solidFill>
            <a:srgbClr val="CDEFFA"/>
          </a:solidFill>
        </p:spPr>
        <p:txBody>
          <a:bodyPr vert="horz" wrap="square" lIns="0" tIns="50800" rIns="0" bIns="0" rtlCol="0">
            <a:spAutoFit/>
          </a:bodyPr>
          <a:lstStyle/>
          <a:p>
            <a:pPr algn="ctr">
              <a:lnSpc>
                <a:spcPct val="100000"/>
              </a:lnSpc>
              <a:spcBef>
                <a:spcPts val="400"/>
              </a:spcBef>
            </a:pPr>
            <a:r>
              <a:rPr sz="700" spc="-10">
                <a:latin typeface="Verdana"/>
                <a:cs typeface="Verdana"/>
              </a:rPr>
              <a:t>Marelli’s </a:t>
            </a:r>
            <a:r>
              <a:rPr sz="700" spc="-5">
                <a:latin typeface="Verdana"/>
                <a:cs typeface="Verdana"/>
              </a:rPr>
              <a:t>Key </a:t>
            </a:r>
            <a:r>
              <a:rPr sz="700" spc="-10">
                <a:latin typeface="Verdana"/>
                <a:cs typeface="Verdana"/>
              </a:rPr>
              <a:t>User</a:t>
            </a:r>
            <a:r>
              <a:rPr sz="700" spc="35">
                <a:latin typeface="Verdana"/>
                <a:cs typeface="Verdana"/>
              </a:rPr>
              <a:t> </a:t>
            </a:r>
            <a:r>
              <a:rPr sz="700" spc="-10">
                <a:latin typeface="Verdana"/>
                <a:cs typeface="Verdana"/>
              </a:rPr>
              <a:t>Community</a:t>
            </a:r>
            <a:endParaRPr sz="700">
              <a:latin typeface="Verdana"/>
              <a:cs typeface="Verdana"/>
            </a:endParaRPr>
          </a:p>
          <a:p>
            <a:pPr algn="ctr">
              <a:lnSpc>
                <a:spcPct val="100000"/>
              </a:lnSpc>
            </a:pPr>
            <a:r>
              <a:rPr sz="700" spc="-5">
                <a:latin typeface="Verdana"/>
                <a:cs typeface="Verdana"/>
              </a:rPr>
              <a:t>(e.g., </a:t>
            </a:r>
            <a:r>
              <a:rPr sz="700" spc="-10">
                <a:latin typeface="Verdana"/>
                <a:cs typeface="Verdana"/>
              </a:rPr>
              <a:t>communication </a:t>
            </a:r>
            <a:r>
              <a:rPr sz="700" spc="-5">
                <a:latin typeface="Verdana"/>
                <a:cs typeface="Verdana"/>
              </a:rPr>
              <a:t>and sharing of best practices,</a:t>
            </a:r>
            <a:r>
              <a:rPr sz="700" spc="70">
                <a:latin typeface="Verdana"/>
                <a:cs typeface="Verdana"/>
              </a:rPr>
              <a:t> </a:t>
            </a:r>
            <a:r>
              <a:rPr sz="700" spc="-5">
                <a:latin typeface="Verdana"/>
                <a:cs typeface="Verdana"/>
              </a:rPr>
              <a:t>experiences)</a:t>
            </a:r>
            <a:endParaRPr sz="700">
              <a:latin typeface="Verdana"/>
              <a:cs typeface="Verdana"/>
            </a:endParaRPr>
          </a:p>
        </p:txBody>
      </p:sp>
      <p:sp>
        <p:nvSpPr>
          <p:cNvPr id="70" name="object 70"/>
          <p:cNvSpPr txBox="1"/>
          <p:nvPr/>
        </p:nvSpPr>
        <p:spPr>
          <a:xfrm>
            <a:off x="10427207" y="4480559"/>
            <a:ext cx="838200" cy="1757680"/>
          </a:xfrm>
          <a:prstGeom prst="rect">
            <a:avLst/>
          </a:prstGeom>
          <a:solidFill>
            <a:srgbClr val="CDEFFA"/>
          </a:solidFill>
        </p:spPr>
        <p:txBody>
          <a:bodyPr vert="horz" wrap="square" lIns="0" tIns="0" rIns="0" bIns="0" rtlCol="0">
            <a:spAutoFit/>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pPr>
            <a:endParaRPr sz="700">
              <a:latin typeface="Times New Roman"/>
              <a:cs typeface="Times New Roman"/>
            </a:endParaRPr>
          </a:p>
          <a:p>
            <a:pPr marL="70485" marR="57785" indent="-3810" algn="ctr">
              <a:lnSpc>
                <a:spcPct val="100000"/>
              </a:lnSpc>
            </a:pPr>
            <a:r>
              <a:rPr sz="700" spc="-5">
                <a:latin typeface="Verdana"/>
                <a:cs typeface="Verdana"/>
              </a:rPr>
              <a:t>Promote the  Omnichannel  Platform and  new</a:t>
            </a:r>
            <a:r>
              <a:rPr sz="700" spc="-55">
                <a:latin typeface="Verdana"/>
                <a:cs typeface="Verdana"/>
              </a:rPr>
              <a:t> </a:t>
            </a:r>
            <a:r>
              <a:rPr sz="700" spc="-10">
                <a:latin typeface="Verdana"/>
                <a:cs typeface="Verdana"/>
              </a:rPr>
              <a:t>capabilities  </a:t>
            </a:r>
            <a:r>
              <a:rPr sz="700" spc="-5">
                <a:latin typeface="Verdana"/>
                <a:cs typeface="Verdana"/>
              </a:rPr>
              <a:t>etc. to the  relevant end  user</a:t>
            </a:r>
            <a:r>
              <a:rPr sz="700" spc="-25">
                <a:latin typeface="Verdana"/>
                <a:cs typeface="Verdana"/>
              </a:rPr>
              <a:t> </a:t>
            </a:r>
            <a:r>
              <a:rPr sz="700" spc="-5">
                <a:latin typeface="Verdana"/>
                <a:cs typeface="Verdana"/>
              </a:rPr>
              <a:t>groups</a:t>
            </a:r>
            <a:endParaRPr sz="700">
              <a:latin typeface="Verdana"/>
              <a:cs typeface="Verdana"/>
            </a:endParaRPr>
          </a:p>
        </p:txBody>
      </p:sp>
      <p:sp>
        <p:nvSpPr>
          <p:cNvPr id="71" name="object 71"/>
          <p:cNvSpPr txBox="1"/>
          <p:nvPr/>
        </p:nvSpPr>
        <p:spPr>
          <a:xfrm>
            <a:off x="6973823" y="4485132"/>
            <a:ext cx="2287905" cy="1374775"/>
          </a:xfrm>
          <a:prstGeom prst="rect">
            <a:avLst/>
          </a:prstGeom>
          <a:solidFill>
            <a:srgbClr val="CDEFFA"/>
          </a:solidFill>
          <a:ln w="12192">
            <a:solidFill>
              <a:srgbClr val="12ABDB"/>
            </a:solidFill>
          </a:ln>
        </p:spPr>
        <p:txBody>
          <a:bodyPr vert="horz" wrap="square" lIns="0" tIns="4445" rIns="0" bIns="0" rtlCol="0">
            <a:spAutoFit/>
          </a:bodyPr>
          <a:lstStyle/>
          <a:p>
            <a:pPr>
              <a:lnSpc>
                <a:spcPct val="100000"/>
              </a:lnSpc>
              <a:spcBef>
                <a:spcPts val="35"/>
              </a:spcBef>
            </a:pPr>
            <a:endParaRPr sz="600">
              <a:latin typeface="Times New Roman"/>
              <a:cs typeface="Times New Roman"/>
            </a:endParaRPr>
          </a:p>
          <a:p>
            <a:pPr marL="294005" marR="263525" algn="ctr">
              <a:lnSpc>
                <a:spcPct val="100000"/>
              </a:lnSpc>
            </a:pPr>
            <a:r>
              <a:rPr sz="700" spc="-10">
                <a:latin typeface="Verdana"/>
                <a:cs typeface="Verdana"/>
              </a:rPr>
              <a:t>Familiarizing </a:t>
            </a:r>
            <a:r>
              <a:rPr sz="700" spc="-5">
                <a:latin typeface="Verdana"/>
                <a:cs typeface="Verdana"/>
              </a:rPr>
              <a:t>selected trainers </a:t>
            </a:r>
            <a:r>
              <a:rPr sz="700" spc="-10">
                <a:latin typeface="Verdana"/>
                <a:cs typeface="Verdana"/>
              </a:rPr>
              <a:t>with </a:t>
            </a:r>
            <a:r>
              <a:rPr sz="700" spc="-5">
                <a:latin typeface="Verdana"/>
                <a:cs typeface="Verdana"/>
              </a:rPr>
              <a:t>the  </a:t>
            </a:r>
            <a:r>
              <a:rPr sz="700" spc="-10">
                <a:latin typeface="Verdana"/>
                <a:cs typeface="Verdana"/>
              </a:rPr>
              <a:t>training </a:t>
            </a:r>
            <a:r>
              <a:rPr sz="700" spc="-5">
                <a:latin typeface="Verdana"/>
                <a:cs typeface="Verdana"/>
              </a:rPr>
              <a:t>contents, methods and </a:t>
            </a:r>
            <a:r>
              <a:rPr sz="700">
                <a:latin typeface="Verdana"/>
                <a:cs typeface="Verdana"/>
              </a:rPr>
              <a:t>(pre-  </a:t>
            </a:r>
            <a:r>
              <a:rPr sz="700" spc="-5">
                <a:latin typeface="Verdana"/>
                <a:cs typeface="Verdana"/>
              </a:rPr>
              <a:t>training)</a:t>
            </a:r>
            <a:r>
              <a:rPr sz="700" spc="5">
                <a:latin typeface="Verdana"/>
                <a:cs typeface="Verdana"/>
              </a:rPr>
              <a:t> </a:t>
            </a:r>
            <a:r>
              <a:rPr sz="700" spc="-10">
                <a:latin typeface="Verdana"/>
                <a:cs typeface="Verdana"/>
              </a:rPr>
              <a:t>materials</a:t>
            </a:r>
            <a:endParaRPr sz="700">
              <a:latin typeface="Verdana"/>
              <a:cs typeface="Verdana"/>
            </a:endParaRPr>
          </a:p>
          <a:p>
            <a:pPr>
              <a:lnSpc>
                <a:spcPct val="100000"/>
              </a:lnSpc>
            </a:pPr>
            <a:endParaRPr sz="800">
              <a:latin typeface="Times New Roman"/>
              <a:cs typeface="Times New Roman"/>
            </a:endParaRPr>
          </a:p>
          <a:p>
            <a:pPr marL="219075" marR="189230" algn="ctr">
              <a:lnSpc>
                <a:spcPct val="100000"/>
              </a:lnSpc>
              <a:spcBef>
                <a:spcPts val="555"/>
              </a:spcBef>
            </a:pPr>
            <a:r>
              <a:rPr sz="700" spc="-5">
                <a:latin typeface="Verdana"/>
                <a:cs typeface="Verdana"/>
              </a:rPr>
              <a:t>Practicing </a:t>
            </a:r>
            <a:r>
              <a:rPr sz="700" spc="-10">
                <a:latin typeface="Verdana"/>
                <a:cs typeface="Verdana"/>
              </a:rPr>
              <a:t>critical situations in </a:t>
            </a:r>
            <a:r>
              <a:rPr sz="700" spc="-5">
                <a:latin typeface="Verdana"/>
                <a:cs typeface="Verdana"/>
              </a:rPr>
              <a:t>the </a:t>
            </a:r>
            <a:r>
              <a:rPr sz="700" spc="-10">
                <a:latin typeface="Verdana"/>
                <a:cs typeface="Verdana"/>
              </a:rPr>
              <a:t>training  </a:t>
            </a:r>
            <a:r>
              <a:rPr sz="700" spc="-5">
                <a:latin typeface="Verdana"/>
                <a:cs typeface="Verdana"/>
              </a:rPr>
              <a:t>context and </a:t>
            </a:r>
            <a:r>
              <a:rPr sz="700" spc="-10">
                <a:latin typeface="Verdana"/>
                <a:cs typeface="Verdana"/>
              </a:rPr>
              <a:t>specific </a:t>
            </a:r>
            <a:r>
              <a:rPr sz="700" spc="-5">
                <a:latin typeface="Verdana"/>
                <a:cs typeface="Verdana"/>
              </a:rPr>
              <a:t>methods used during  the </a:t>
            </a:r>
            <a:r>
              <a:rPr sz="700" spc="-10">
                <a:latin typeface="Verdana"/>
                <a:cs typeface="Verdana"/>
              </a:rPr>
              <a:t>training sessions incl.</a:t>
            </a:r>
            <a:r>
              <a:rPr sz="700" spc="25">
                <a:latin typeface="Verdana"/>
                <a:cs typeface="Verdana"/>
              </a:rPr>
              <a:t> </a:t>
            </a:r>
            <a:r>
              <a:rPr sz="700" spc="-5">
                <a:latin typeface="Verdana"/>
                <a:cs typeface="Verdana"/>
              </a:rPr>
              <a:t>feedback</a:t>
            </a:r>
            <a:endParaRPr sz="700">
              <a:latin typeface="Verdana"/>
              <a:cs typeface="Verdana"/>
            </a:endParaRPr>
          </a:p>
          <a:p>
            <a:pPr>
              <a:lnSpc>
                <a:spcPct val="100000"/>
              </a:lnSpc>
            </a:pPr>
            <a:endParaRPr sz="800">
              <a:latin typeface="Times New Roman"/>
              <a:cs typeface="Times New Roman"/>
            </a:endParaRPr>
          </a:p>
          <a:p>
            <a:pPr>
              <a:lnSpc>
                <a:spcPct val="100000"/>
              </a:lnSpc>
              <a:spcBef>
                <a:spcPts val="35"/>
              </a:spcBef>
            </a:pPr>
            <a:endParaRPr sz="700">
              <a:latin typeface="Times New Roman"/>
              <a:cs typeface="Times New Roman"/>
            </a:endParaRPr>
          </a:p>
          <a:p>
            <a:pPr marL="24130" algn="ctr">
              <a:lnSpc>
                <a:spcPct val="100000"/>
              </a:lnSpc>
            </a:pPr>
            <a:r>
              <a:rPr sz="700" spc="-5">
                <a:latin typeface="Verdana"/>
                <a:cs typeface="Verdana"/>
              </a:rPr>
              <a:t>Practice training </a:t>
            </a:r>
            <a:r>
              <a:rPr sz="700" spc="-10">
                <a:latin typeface="Verdana"/>
                <a:cs typeface="Verdana"/>
              </a:rPr>
              <a:t>flow </a:t>
            </a:r>
            <a:r>
              <a:rPr sz="700" spc="-5">
                <a:latin typeface="Verdana"/>
                <a:cs typeface="Verdana"/>
              </a:rPr>
              <a:t>through dry</a:t>
            </a:r>
            <a:r>
              <a:rPr sz="700" spc="75">
                <a:latin typeface="Verdana"/>
                <a:cs typeface="Verdana"/>
              </a:rPr>
              <a:t> </a:t>
            </a:r>
            <a:r>
              <a:rPr sz="700" spc="-5">
                <a:latin typeface="Verdana"/>
                <a:cs typeface="Verdana"/>
              </a:rPr>
              <a:t>run</a:t>
            </a:r>
            <a:endParaRPr sz="700">
              <a:latin typeface="Verdana"/>
              <a:cs typeface="Verdana"/>
            </a:endParaRPr>
          </a:p>
        </p:txBody>
      </p:sp>
      <p:sp>
        <p:nvSpPr>
          <p:cNvPr id="72" name="object 72"/>
          <p:cNvSpPr/>
          <p:nvPr/>
        </p:nvSpPr>
        <p:spPr>
          <a:xfrm>
            <a:off x="10261092" y="4477511"/>
            <a:ext cx="127000" cy="1382395"/>
          </a:xfrm>
          <a:custGeom>
            <a:avLst/>
            <a:gdLst/>
            <a:ahLst/>
            <a:cxnLst/>
            <a:rect l="l" t="t" r="r" b="b"/>
            <a:pathLst>
              <a:path w="127000" h="1382395">
                <a:moveTo>
                  <a:pt x="0" y="0"/>
                </a:moveTo>
                <a:lnTo>
                  <a:pt x="0" y="1382268"/>
                </a:lnTo>
                <a:lnTo>
                  <a:pt x="126491" y="691133"/>
                </a:lnTo>
                <a:lnTo>
                  <a:pt x="0" y="0"/>
                </a:lnTo>
                <a:close/>
              </a:path>
            </a:pathLst>
          </a:custGeom>
          <a:solidFill>
            <a:srgbClr val="9AE0F7"/>
          </a:solidFill>
        </p:spPr>
        <p:txBody>
          <a:bodyPr wrap="square" lIns="0" tIns="0" rIns="0" bIns="0" rtlCol="0"/>
          <a:lstStyle/>
          <a:p>
            <a:endParaRPr/>
          </a:p>
        </p:txBody>
      </p:sp>
      <p:sp>
        <p:nvSpPr>
          <p:cNvPr id="73" name="object 73"/>
          <p:cNvSpPr/>
          <p:nvPr/>
        </p:nvSpPr>
        <p:spPr>
          <a:xfrm>
            <a:off x="9300971" y="4477511"/>
            <a:ext cx="127000" cy="1382395"/>
          </a:xfrm>
          <a:custGeom>
            <a:avLst/>
            <a:gdLst/>
            <a:ahLst/>
            <a:cxnLst/>
            <a:rect l="l" t="t" r="r" b="b"/>
            <a:pathLst>
              <a:path w="127000" h="1382395">
                <a:moveTo>
                  <a:pt x="0" y="0"/>
                </a:moveTo>
                <a:lnTo>
                  <a:pt x="0" y="1382268"/>
                </a:lnTo>
                <a:lnTo>
                  <a:pt x="126492" y="691133"/>
                </a:lnTo>
                <a:lnTo>
                  <a:pt x="0" y="0"/>
                </a:lnTo>
                <a:close/>
              </a:path>
            </a:pathLst>
          </a:custGeom>
          <a:solidFill>
            <a:srgbClr val="9AE0F7"/>
          </a:solidFill>
        </p:spPr>
        <p:txBody>
          <a:bodyPr wrap="square" lIns="0" tIns="0" rIns="0" bIns="0" rtlCol="0"/>
          <a:lstStyle/>
          <a:p>
            <a:endParaRPr/>
          </a:p>
        </p:txBody>
      </p:sp>
      <p:sp>
        <p:nvSpPr>
          <p:cNvPr id="74" name="object 74"/>
          <p:cNvSpPr/>
          <p:nvPr/>
        </p:nvSpPr>
        <p:spPr>
          <a:xfrm>
            <a:off x="7126223" y="4293108"/>
            <a:ext cx="3915410" cy="0"/>
          </a:xfrm>
          <a:custGeom>
            <a:avLst/>
            <a:gdLst/>
            <a:ahLst/>
            <a:cxnLst/>
            <a:rect l="l" t="t" r="r" b="b"/>
            <a:pathLst>
              <a:path w="3915409">
                <a:moveTo>
                  <a:pt x="0" y="0"/>
                </a:moveTo>
                <a:lnTo>
                  <a:pt x="3915155" y="0"/>
                </a:lnTo>
              </a:path>
            </a:pathLst>
          </a:custGeom>
          <a:ln w="6096">
            <a:solidFill>
              <a:srgbClr val="7E7E7E"/>
            </a:solidFill>
            <a:prstDash val="sysDot"/>
          </a:ln>
        </p:spPr>
        <p:txBody>
          <a:bodyPr wrap="square" lIns="0" tIns="0" rIns="0" bIns="0" rtlCol="0"/>
          <a:lstStyle/>
          <a:p>
            <a:endParaRPr/>
          </a:p>
        </p:txBody>
      </p:sp>
      <p:sp>
        <p:nvSpPr>
          <p:cNvPr id="76" name="object 7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7" name="object 77"/>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0</a:t>
            </a:fld>
            <a:endParaRPr sz="800">
              <a:latin typeface="Verdana"/>
              <a:cs typeface="Verdana"/>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6490920" cy="412934"/>
          </a:xfrm>
          <a:prstGeom prst="rect">
            <a:avLst/>
          </a:prstGeom>
        </p:spPr>
        <p:txBody>
          <a:bodyPr vert="horz" wrap="square" lIns="0" tIns="12700" rIns="0" bIns="0" rtlCol="0">
            <a:spAutoFit/>
          </a:bodyPr>
          <a:lstStyle/>
          <a:p>
            <a:pPr marL="12700">
              <a:lnSpc>
                <a:spcPct val="100000"/>
              </a:lnSpc>
              <a:spcBef>
                <a:spcPts val="100"/>
              </a:spcBef>
            </a:pPr>
            <a:r>
              <a:rPr sz="2600" spc="-10"/>
              <a:t>General</a:t>
            </a:r>
            <a:r>
              <a:rPr sz="2600" spc="-60"/>
              <a:t> </a:t>
            </a:r>
            <a:r>
              <a:rPr sz="2600"/>
              <a:t>Assumption</a:t>
            </a:r>
            <a:r>
              <a:rPr lang="it-IT" sz="2600"/>
              <a:t>s</a:t>
            </a:r>
            <a:endParaRPr sz="2600"/>
          </a:p>
        </p:txBody>
      </p:sp>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1</a:t>
            </a:fld>
            <a:endParaRPr sz="800">
              <a:latin typeface="Verdana"/>
              <a:cs typeface="Verdana"/>
            </a:endParaRPr>
          </a:p>
        </p:txBody>
      </p:sp>
      <p:sp>
        <p:nvSpPr>
          <p:cNvPr id="3" name="object 3"/>
          <p:cNvSpPr txBox="1"/>
          <p:nvPr/>
        </p:nvSpPr>
        <p:spPr>
          <a:xfrm>
            <a:off x="304800" y="953116"/>
            <a:ext cx="10737850" cy="5759910"/>
          </a:xfrm>
          <a:prstGeom prst="rect">
            <a:avLst/>
          </a:prstGeom>
        </p:spPr>
        <p:txBody>
          <a:bodyPr vert="horz" wrap="square" lIns="0" tIns="12065" rIns="0" bIns="0" rtlCol="0">
            <a:spAutoFit/>
          </a:bodyPr>
          <a:lstStyle/>
          <a:p>
            <a:pPr marL="355600" marR="6985" indent="-342900" algn="just">
              <a:lnSpc>
                <a:spcPct val="100000"/>
              </a:lnSpc>
              <a:spcBef>
                <a:spcPts val="95"/>
              </a:spcBef>
              <a:buClr>
                <a:srgbClr val="5B9BD4"/>
              </a:buClr>
              <a:buSzPct val="50000"/>
              <a:buFont typeface="Webdings"/>
              <a:buChar char=""/>
              <a:tabLst>
                <a:tab pos="355600" algn="l"/>
              </a:tabLst>
            </a:pPr>
            <a:r>
              <a:rPr sz="1500" spc="-5" dirty="0">
                <a:latin typeface="Verdana"/>
                <a:cs typeface="Verdana"/>
              </a:rPr>
              <a:t>Connectivity between the Client tools </a:t>
            </a:r>
            <a:r>
              <a:rPr sz="1500" dirty="0">
                <a:latin typeface="Verdana"/>
                <a:cs typeface="Verdana"/>
              </a:rPr>
              <a:t>adopted </a:t>
            </a:r>
            <a:r>
              <a:rPr sz="1500" spc="-5" dirty="0">
                <a:latin typeface="Verdana"/>
                <a:cs typeface="Verdana"/>
              </a:rPr>
              <a:t>and Capgemini offices needs to be available </a:t>
            </a:r>
            <a:r>
              <a:rPr sz="1500" dirty="0">
                <a:latin typeface="Verdana"/>
                <a:cs typeface="Verdana"/>
              </a:rPr>
              <a:t>in </a:t>
            </a:r>
            <a:r>
              <a:rPr sz="1500" spc="-5" dirty="0">
                <a:latin typeface="Verdana"/>
                <a:cs typeface="Verdana"/>
              </a:rPr>
              <a:t>order  to be </a:t>
            </a:r>
            <a:r>
              <a:rPr sz="1500" spc="-10" dirty="0">
                <a:latin typeface="Verdana"/>
                <a:cs typeface="Verdana"/>
              </a:rPr>
              <a:t>setup </a:t>
            </a:r>
            <a:r>
              <a:rPr sz="1500" spc="-5" dirty="0">
                <a:latin typeface="Verdana"/>
                <a:cs typeface="Verdana"/>
              </a:rPr>
              <a:t>and used for remote project </a:t>
            </a:r>
            <a:r>
              <a:rPr sz="1500" spc="-10" dirty="0">
                <a:latin typeface="Verdana"/>
                <a:cs typeface="Verdana"/>
              </a:rPr>
              <a:t>activities, including </a:t>
            </a:r>
            <a:r>
              <a:rPr sz="1500" spc="-5" dirty="0">
                <a:latin typeface="Verdana"/>
                <a:cs typeface="Verdana"/>
              </a:rPr>
              <a:t>smart</a:t>
            </a:r>
            <a:r>
              <a:rPr sz="1500" spc="300" dirty="0">
                <a:latin typeface="Verdana"/>
                <a:cs typeface="Verdana"/>
              </a:rPr>
              <a:t> </a:t>
            </a:r>
            <a:r>
              <a:rPr sz="1500" spc="-5" dirty="0">
                <a:latin typeface="Verdana"/>
                <a:cs typeface="Verdana"/>
              </a:rPr>
              <a:t>working;</a:t>
            </a:r>
            <a:endParaRPr sz="1500" dirty="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sz="1500" spc="-10" dirty="0">
                <a:latin typeface="Verdana"/>
                <a:cs typeface="Verdana"/>
              </a:rPr>
              <a:t>Network </a:t>
            </a:r>
            <a:r>
              <a:rPr sz="1500" spc="-20" dirty="0">
                <a:latin typeface="Verdana"/>
                <a:cs typeface="Verdana"/>
              </a:rPr>
              <a:t>connectivity, </a:t>
            </a:r>
            <a:r>
              <a:rPr sz="1500" spc="-35" dirty="0">
                <a:latin typeface="Verdana"/>
                <a:cs typeface="Verdana"/>
              </a:rPr>
              <a:t>printer, </a:t>
            </a:r>
            <a:r>
              <a:rPr sz="1500" spc="-10" dirty="0">
                <a:latin typeface="Verdana"/>
                <a:cs typeface="Verdana"/>
              </a:rPr>
              <a:t>paper </a:t>
            </a:r>
            <a:r>
              <a:rPr sz="1500" spc="-5" dirty="0">
                <a:latin typeface="Verdana"/>
                <a:cs typeface="Verdana"/>
              </a:rPr>
              <a:t>and flip chart </a:t>
            </a:r>
            <a:r>
              <a:rPr sz="1500" spc="-10" dirty="0">
                <a:latin typeface="Verdana"/>
                <a:cs typeface="Verdana"/>
              </a:rPr>
              <a:t>have </a:t>
            </a:r>
            <a:r>
              <a:rPr sz="1500" spc="-5" dirty="0">
                <a:latin typeface="Verdana"/>
                <a:cs typeface="Verdana"/>
              </a:rPr>
              <a:t>to be </a:t>
            </a:r>
            <a:r>
              <a:rPr sz="1500" spc="-10" dirty="0">
                <a:latin typeface="Verdana"/>
                <a:cs typeface="Verdana"/>
              </a:rPr>
              <a:t>provided </a:t>
            </a:r>
            <a:r>
              <a:rPr sz="1500" spc="-5" dirty="0">
                <a:latin typeface="Verdana"/>
                <a:cs typeface="Verdana"/>
              </a:rPr>
              <a:t>and managed by the</a:t>
            </a:r>
            <a:r>
              <a:rPr sz="1500" spc="455" dirty="0">
                <a:latin typeface="Verdana"/>
                <a:cs typeface="Verdana"/>
              </a:rPr>
              <a:t> </a:t>
            </a:r>
            <a:r>
              <a:rPr sz="1500" spc="-10" dirty="0">
                <a:latin typeface="Verdana"/>
                <a:cs typeface="Verdana"/>
              </a:rPr>
              <a:t>Client;</a:t>
            </a:r>
            <a:endParaRPr sz="1500" dirty="0">
              <a:latin typeface="Verdana"/>
              <a:cs typeface="Verdana"/>
            </a:endParaRPr>
          </a:p>
          <a:p>
            <a:pPr marL="355600" marR="5080" indent="-342900" algn="just">
              <a:lnSpc>
                <a:spcPct val="100000"/>
              </a:lnSpc>
              <a:spcBef>
                <a:spcPts val="300"/>
              </a:spcBef>
              <a:buClr>
                <a:srgbClr val="5B9BD4"/>
              </a:buClr>
              <a:buSzPct val="50000"/>
              <a:buFont typeface="Webdings"/>
              <a:buChar char=""/>
              <a:tabLst>
                <a:tab pos="355600" algn="l"/>
              </a:tabLst>
            </a:pPr>
            <a:r>
              <a:rPr sz="1500" spc="-10" dirty="0">
                <a:latin typeface="Verdana"/>
                <a:cs typeface="Verdana"/>
              </a:rPr>
              <a:t>The </a:t>
            </a:r>
            <a:r>
              <a:rPr sz="1500" spc="-5" dirty="0">
                <a:latin typeface="Verdana"/>
                <a:cs typeface="Verdana"/>
              </a:rPr>
              <a:t>project language </a:t>
            </a:r>
            <a:r>
              <a:rPr sz="1500" dirty="0">
                <a:latin typeface="Verdana"/>
                <a:cs typeface="Verdana"/>
              </a:rPr>
              <a:t>is </a:t>
            </a:r>
            <a:r>
              <a:rPr sz="1500" spc="-5" dirty="0">
                <a:latin typeface="Verdana"/>
                <a:cs typeface="Verdana"/>
              </a:rPr>
              <a:t>English. </a:t>
            </a:r>
            <a:r>
              <a:rPr sz="1500" dirty="0">
                <a:latin typeface="Verdana"/>
                <a:cs typeface="Verdana"/>
              </a:rPr>
              <a:t>All </a:t>
            </a:r>
            <a:r>
              <a:rPr sz="1500" spc="-5" dirty="0">
                <a:latin typeface="Verdana"/>
                <a:cs typeface="Verdana"/>
              </a:rPr>
              <a:t>the project deliverables, meetings minutes, conference calls </a:t>
            </a:r>
            <a:r>
              <a:rPr sz="1500" dirty="0">
                <a:latin typeface="Verdana"/>
                <a:cs typeface="Verdana"/>
              </a:rPr>
              <a:t>and  </a:t>
            </a:r>
            <a:r>
              <a:rPr sz="1500" spc="-5" dirty="0">
                <a:latin typeface="Verdana"/>
                <a:cs typeface="Verdana"/>
              </a:rPr>
              <a:t>so on </a:t>
            </a:r>
            <a:r>
              <a:rPr sz="1500" spc="-10" dirty="0">
                <a:latin typeface="Verdana"/>
                <a:cs typeface="Verdana"/>
              </a:rPr>
              <a:t>will </a:t>
            </a:r>
            <a:r>
              <a:rPr sz="1500" spc="-5" dirty="0">
                <a:latin typeface="Verdana"/>
                <a:cs typeface="Verdana"/>
              </a:rPr>
              <a:t>be done </a:t>
            </a:r>
            <a:r>
              <a:rPr sz="1500" spc="-10" dirty="0">
                <a:latin typeface="Verdana"/>
                <a:cs typeface="Verdana"/>
              </a:rPr>
              <a:t>in</a:t>
            </a:r>
            <a:r>
              <a:rPr sz="1500" spc="65" dirty="0">
                <a:latin typeface="Verdana"/>
                <a:cs typeface="Verdana"/>
              </a:rPr>
              <a:t> </a:t>
            </a:r>
            <a:r>
              <a:rPr sz="1500" spc="-10" dirty="0">
                <a:latin typeface="Verdana"/>
                <a:cs typeface="Verdana"/>
              </a:rPr>
              <a:t>English.</a:t>
            </a:r>
            <a:endParaRPr sz="1500" dirty="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sz="1500" spc="-10" dirty="0">
                <a:latin typeface="Verdana"/>
                <a:cs typeface="Verdana"/>
              </a:rPr>
              <a:t>Capgemini </a:t>
            </a:r>
            <a:r>
              <a:rPr sz="1500" spc="-5" dirty="0">
                <a:latin typeface="Verdana"/>
                <a:cs typeface="Verdana"/>
              </a:rPr>
              <a:t>project </a:t>
            </a:r>
            <a:r>
              <a:rPr sz="1500" spc="-10" dirty="0">
                <a:latin typeface="Verdana"/>
                <a:cs typeface="Verdana"/>
              </a:rPr>
              <a:t>activities will begin </a:t>
            </a:r>
            <a:r>
              <a:rPr sz="1500" spc="-5" dirty="0">
                <a:latin typeface="Verdana"/>
                <a:cs typeface="Verdana"/>
              </a:rPr>
              <a:t>only upon the receipt of order from the</a:t>
            </a:r>
            <a:r>
              <a:rPr sz="1500" spc="300" dirty="0">
                <a:latin typeface="Verdana"/>
                <a:cs typeface="Verdana"/>
              </a:rPr>
              <a:t> </a:t>
            </a:r>
            <a:r>
              <a:rPr sz="1500" spc="-10" dirty="0">
                <a:latin typeface="Verdana"/>
                <a:cs typeface="Verdana"/>
              </a:rPr>
              <a:t>Client.</a:t>
            </a:r>
            <a:endParaRPr sz="1500" dirty="0">
              <a:latin typeface="Verdana"/>
              <a:cs typeface="Verdana"/>
            </a:endParaRPr>
          </a:p>
          <a:p>
            <a:pPr marL="355600" marR="6350" indent="-342900" algn="just">
              <a:lnSpc>
                <a:spcPct val="100000"/>
              </a:lnSpc>
              <a:spcBef>
                <a:spcPts val="300"/>
              </a:spcBef>
              <a:buClr>
                <a:srgbClr val="5B9BD4"/>
              </a:buClr>
              <a:buSzPct val="50000"/>
              <a:buFont typeface="Webdings"/>
              <a:buChar char=""/>
              <a:tabLst>
                <a:tab pos="355600" algn="l"/>
              </a:tabLst>
            </a:pPr>
            <a:r>
              <a:rPr sz="1500" dirty="0">
                <a:latin typeface="Verdana"/>
                <a:cs typeface="Verdana"/>
              </a:rPr>
              <a:t>It </a:t>
            </a:r>
            <a:r>
              <a:rPr sz="1500" spc="-10" dirty="0">
                <a:latin typeface="Verdana"/>
                <a:cs typeface="Verdana"/>
              </a:rPr>
              <a:t>is </a:t>
            </a:r>
            <a:r>
              <a:rPr sz="1500" spc="-5" dirty="0">
                <a:latin typeface="Verdana"/>
                <a:cs typeface="Verdana"/>
              </a:rPr>
              <a:t>assumed that the technical certification of the solution </a:t>
            </a:r>
            <a:r>
              <a:rPr sz="1500" spc="5" dirty="0">
                <a:latin typeface="Verdana"/>
                <a:cs typeface="Verdana"/>
              </a:rPr>
              <a:t>or </a:t>
            </a:r>
            <a:r>
              <a:rPr sz="1500" spc="-10" dirty="0">
                <a:latin typeface="Verdana"/>
                <a:cs typeface="Verdana"/>
              </a:rPr>
              <a:t>any </a:t>
            </a:r>
            <a:r>
              <a:rPr sz="1500" spc="-5" dirty="0">
                <a:latin typeface="Verdana"/>
                <a:cs typeface="Verdana"/>
              </a:rPr>
              <a:t>other </a:t>
            </a:r>
            <a:r>
              <a:rPr sz="1500" spc="-10" dirty="0">
                <a:latin typeface="Verdana"/>
                <a:cs typeface="Verdana"/>
              </a:rPr>
              <a:t>validation </a:t>
            </a:r>
            <a:r>
              <a:rPr sz="1500" spc="-5" dirty="0">
                <a:latin typeface="Verdana"/>
                <a:cs typeface="Verdana"/>
              </a:rPr>
              <a:t>or quality  assurance activities by Salesforce, eventually required by the Client, </a:t>
            </a:r>
            <a:r>
              <a:rPr sz="1500" spc="-10" dirty="0">
                <a:latin typeface="Verdana"/>
                <a:cs typeface="Verdana"/>
              </a:rPr>
              <a:t>take </a:t>
            </a:r>
            <a:r>
              <a:rPr sz="1500" spc="-5" dirty="0">
                <a:latin typeface="Verdana"/>
                <a:cs typeface="Verdana"/>
              </a:rPr>
              <a:t>place </a:t>
            </a:r>
            <a:r>
              <a:rPr sz="1500" dirty="0">
                <a:latin typeface="Verdana"/>
                <a:cs typeface="Verdana"/>
              </a:rPr>
              <a:t>in </a:t>
            </a:r>
            <a:r>
              <a:rPr sz="1500" spc="-5" dirty="0">
                <a:latin typeface="Verdana"/>
                <a:cs typeface="Verdana"/>
              </a:rPr>
              <a:t>full </a:t>
            </a:r>
            <a:r>
              <a:rPr sz="1500" dirty="0">
                <a:latin typeface="Verdana"/>
                <a:cs typeface="Verdana"/>
              </a:rPr>
              <a:t>respect </a:t>
            </a:r>
            <a:r>
              <a:rPr sz="1500" spc="-5" dirty="0">
                <a:latin typeface="Verdana"/>
                <a:cs typeface="Verdana"/>
              </a:rPr>
              <a:t>of the  </a:t>
            </a:r>
            <a:r>
              <a:rPr sz="1500" spc="-10" dirty="0">
                <a:latin typeface="Verdana"/>
                <a:cs typeface="Verdana"/>
              </a:rPr>
              <a:t>deadlines </a:t>
            </a:r>
            <a:r>
              <a:rPr sz="1500" spc="-5" dirty="0">
                <a:latin typeface="Verdana"/>
                <a:cs typeface="Verdana"/>
              </a:rPr>
              <a:t>and </a:t>
            </a:r>
            <a:r>
              <a:rPr sz="1500" spc="-10" dirty="0">
                <a:latin typeface="Verdana"/>
                <a:cs typeface="Verdana"/>
              </a:rPr>
              <a:t>milestones </a:t>
            </a:r>
            <a:r>
              <a:rPr sz="1500" spc="-5" dirty="0">
                <a:latin typeface="Verdana"/>
                <a:cs typeface="Verdana"/>
              </a:rPr>
              <a:t>foreseen </a:t>
            </a:r>
            <a:r>
              <a:rPr sz="1500" spc="-10" dirty="0">
                <a:latin typeface="Verdana"/>
                <a:cs typeface="Verdana"/>
              </a:rPr>
              <a:t>in </a:t>
            </a:r>
            <a:r>
              <a:rPr sz="1500" spc="-5" dirty="0">
                <a:latin typeface="Verdana"/>
                <a:cs typeface="Verdana"/>
              </a:rPr>
              <a:t>the project</a:t>
            </a:r>
            <a:r>
              <a:rPr sz="1500" spc="165" dirty="0">
                <a:latin typeface="Verdana"/>
                <a:cs typeface="Verdana"/>
              </a:rPr>
              <a:t> </a:t>
            </a:r>
            <a:r>
              <a:rPr sz="1500" spc="-10" dirty="0">
                <a:latin typeface="Verdana"/>
                <a:cs typeface="Verdana"/>
              </a:rPr>
              <a:t>plan.</a:t>
            </a:r>
            <a:endParaRPr sz="1500" dirty="0">
              <a:latin typeface="Verdana"/>
              <a:cs typeface="Verdana"/>
            </a:endParaRPr>
          </a:p>
          <a:p>
            <a:pPr marL="355600" marR="5080" indent="-342900" algn="just">
              <a:lnSpc>
                <a:spcPct val="100000"/>
              </a:lnSpc>
              <a:spcBef>
                <a:spcPts val="305"/>
              </a:spcBef>
              <a:buClr>
                <a:srgbClr val="5B9BD4"/>
              </a:buClr>
              <a:buSzPct val="50000"/>
              <a:buFont typeface="Webdings"/>
              <a:buChar char=""/>
              <a:tabLst>
                <a:tab pos="355600" algn="l"/>
              </a:tabLst>
            </a:pPr>
            <a:r>
              <a:rPr sz="1500" spc="-10" dirty="0">
                <a:latin typeface="Verdana"/>
                <a:cs typeface="Verdana"/>
              </a:rPr>
              <a:t>Our </a:t>
            </a:r>
            <a:r>
              <a:rPr sz="1500" spc="-5" dirty="0">
                <a:latin typeface="Verdana"/>
                <a:cs typeface="Verdana"/>
              </a:rPr>
              <a:t>estimates are based on a schedule that allows </a:t>
            </a:r>
            <a:r>
              <a:rPr sz="1500" dirty="0">
                <a:latin typeface="Verdana"/>
                <a:cs typeface="Verdana"/>
              </a:rPr>
              <a:t>for </a:t>
            </a:r>
            <a:r>
              <a:rPr sz="1500" spc="-5" dirty="0">
                <a:latin typeface="Verdana"/>
                <a:cs typeface="Verdana"/>
              </a:rPr>
              <a:t>continuous allocation of </a:t>
            </a:r>
            <a:r>
              <a:rPr sz="1500" dirty="0">
                <a:latin typeface="Verdana"/>
                <a:cs typeface="Verdana"/>
              </a:rPr>
              <a:t>resources; </a:t>
            </a:r>
            <a:r>
              <a:rPr sz="1500" spc="-10" dirty="0">
                <a:latin typeface="Verdana"/>
                <a:cs typeface="Verdana"/>
              </a:rPr>
              <a:t>in </a:t>
            </a:r>
            <a:r>
              <a:rPr sz="1500" spc="-5" dirty="0">
                <a:latin typeface="Verdana"/>
                <a:cs typeface="Verdana"/>
              </a:rPr>
              <a:t>the  </a:t>
            </a:r>
            <a:r>
              <a:rPr sz="1500" spc="-10" dirty="0">
                <a:latin typeface="Verdana"/>
                <a:cs typeface="Verdana"/>
              </a:rPr>
              <a:t>event </a:t>
            </a:r>
            <a:r>
              <a:rPr sz="1500" spc="-5" dirty="0">
                <a:latin typeface="Verdana"/>
                <a:cs typeface="Verdana"/>
              </a:rPr>
              <a:t>a rescheduling requires a </a:t>
            </a:r>
            <a:r>
              <a:rPr sz="1500" spc="-10" dirty="0">
                <a:latin typeface="Verdana"/>
                <a:cs typeface="Verdana"/>
              </a:rPr>
              <a:t>different </a:t>
            </a:r>
            <a:r>
              <a:rPr sz="1500" spc="-5" dirty="0">
                <a:latin typeface="Verdana"/>
                <a:cs typeface="Verdana"/>
              </a:rPr>
              <a:t>allocation pattern, this </a:t>
            </a:r>
            <a:r>
              <a:rPr sz="1500" spc="-10" dirty="0">
                <a:latin typeface="Verdana"/>
                <a:cs typeface="Verdana"/>
              </a:rPr>
              <a:t>event </a:t>
            </a:r>
            <a:r>
              <a:rPr sz="1500" dirty="0">
                <a:latin typeface="Verdana"/>
                <a:cs typeface="Verdana"/>
              </a:rPr>
              <a:t>is </a:t>
            </a:r>
            <a:r>
              <a:rPr sz="1500" spc="-5" dirty="0">
                <a:latin typeface="Verdana"/>
                <a:cs typeface="Verdana"/>
              </a:rPr>
              <a:t>subject to </a:t>
            </a:r>
            <a:r>
              <a:rPr sz="1500" dirty="0">
                <a:latin typeface="Verdana"/>
                <a:cs typeface="Verdana"/>
              </a:rPr>
              <a:t>an </a:t>
            </a:r>
            <a:r>
              <a:rPr sz="1500" spc="-5" dirty="0">
                <a:latin typeface="Verdana"/>
                <a:cs typeface="Verdana"/>
              </a:rPr>
              <a:t>agreement  </a:t>
            </a:r>
            <a:r>
              <a:rPr sz="1500" spc="-10" dirty="0">
                <a:latin typeface="Verdana"/>
                <a:cs typeface="Verdana"/>
              </a:rPr>
              <a:t>between </a:t>
            </a:r>
            <a:r>
              <a:rPr sz="1500" spc="-5" dirty="0">
                <a:latin typeface="Verdana"/>
                <a:cs typeface="Verdana"/>
              </a:rPr>
              <a:t>the </a:t>
            </a:r>
            <a:r>
              <a:rPr sz="1500" dirty="0">
                <a:latin typeface="Verdana"/>
                <a:cs typeface="Verdana"/>
              </a:rPr>
              <a:t>parties. Such </a:t>
            </a:r>
            <a:r>
              <a:rPr sz="1500" spc="-5" dirty="0">
                <a:latin typeface="Verdana"/>
                <a:cs typeface="Verdana"/>
              </a:rPr>
              <a:t>agreement will consider the possibility to ensure the continuous allocation  of the project team through the execution of additional activities ordered by Marelli (e.g. change  </a:t>
            </a:r>
            <a:r>
              <a:rPr sz="1500" spc="-10" dirty="0">
                <a:latin typeface="Verdana"/>
                <a:cs typeface="Verdana"/>
              </a:rPr>
              <a:t>requests), </a:t>
            </a:r>
            <a:r>
              <a:rPr sz="1500" spc="-5" dirty="0">
                <a:latin typeface="Verdana"/>
                <a:cs typeface="Verdana"/>
              </a:rPr>
              <a:t>feasible </a:t>
            </a:r>
            <a:r>
              <a:rPr sz="1500" spc="-10" dirty="0">
                <a:latin typeface="Verdana"/>
                <a:cs typeface="Verdana"/>
              </a:rPr>
              <a:t>in </a:t>
            </a:r>
            <a:r>
              <a:rPr sz="1500" spc="-5" dirty="0">
                <a:latin typeface="Verdana"/>
                <a:cs typeface="Verdana"/>
              </a:rPr>
              <a:t>the same period by the same </a:t>
            </a:r>
            <a:r>
              <a:rPr sz="1500" spc="-10" dirty="0">
                <a:latin typeface="Verdana"/>
                <a:cs typeface="Verdana"/>
              </a:rPr>
              <a:t>Capgemini</a:t>
            </a:r>
            <a:r>
              <a:rPr sz="1500" spc="235" dirty="0">
                <a:latin typeface="Verdana"/>
                <a:cs typeface="Verdana"/>
              </a:rPr>
              <a:t> </a:t>
            </a:r>
            <a:r>
              <a:rPr sz="1500" spc="-10" dirty="0">
                <a:latin typeface="Verdana"/>
                <a:cs typeface="Verdana"/>
              </a:rPr>
              <a:t>team.</a:t>
            </a:r>
            <a:endParaRPr sz="1500" dirty="0">
              <a:latin typeface="Verdana"/>
              <a:cs typeface="Verdana"/>
            </a:endParaRPr>
          </a:p>
          <a:p>
            <a:pPr marL="355600" marR="5715" indent="-342900" algn="just">
              <a:lnSpc>
                <a:spcPct val="100000"/>
              </a:lnSpc>
              <a:spcBef>
                <a:spcPts val="300"/>
              </a:spcBef>
              <a:buClr>
                <a:srgbClr val="5B9BD4"/>
              </a:buClr>
              <a:buSzPct val="50000"/>
              <a:buFont typeface="Webdings"/>
              <a:buChar char=""/>
              <a:tabLst>
                <a:tab pos="355600" algn="l"/>
              </a:tabLst>
            </a:pPr>
            <a:r>
              <a:rPr sz="1500" spc="-5" dirty="0">
                <a:latin typeface="Verdana"/>
                <a:cs typeface="Verdana"/>
              </a:rPr>
              <a:t>Capgemini proposal does not include </a:t>
            </a:r>
            <a:r>
              <a:rPr sz="1500" spc="-10" dirty="0">
                <a:latin typeface="Verdana"/>
                <a:cs typeface="Verdana"/>
              </a:rPr>
              <a:t>any </a:t>
            </a:r>
            <a:r>
              <a:rPr sz="1500" spc="-5" dirty="0">
                <a:latin typeface="Verdana"/>
                <a:cs typeface="Verdana"/>
              </a:rPr>
              <a:t>technical / </a:t>
            </a:r>
            <a:r>
              <a:rPr sz="1500" spc="-10" dirty="0">
                <a:latin typeface="Verdana"/>
                <a:cs typeface="Verdana"/>
              </a:rPr>
              <a:t>infrastructural </a:t>
            </a:r>
            <a:r>
              <a:rPr sz="1500" spc="-5" dirty="0">
                <a:latin typeface="Verdana"/>
                <a:cs typeface="Verdana"/>
              </a:rPr>
              <a:t>configuration activities on the </a:t>
            </a:r>
            <a:r>
              <a:rPr sz="1500" spc="550" dirty="0">
                <a:latin typeface="Verdana"/>
                <a:cs typeface="Verdana"/>
              </a:rPr>
              <a:t> </a:t>
            </a:r>
            <a:r>
              <a:rPr sz="1500" spc="-5" dirty="0">
                <a:latin typeface="Verdana"/>
                <a:cs typeface="Verdana"/>
              </a:rPr>
              <a:t>Marelli system environments, </a:t>
            </a:r>
            <a:r>
              <a:rPr sz="1500" dirty="0">
                <a:latin typeface="Verdana"/>
                <a:cs typeface="Verdana"/>
              </a:rPr>
              <a:t>such </a:t>
            </a:r>
            <a:r>
              <a:rPr sz="1500" spc="-5" dirty="0">
                <a:latin typeface="Verdana"/>
                <a:cs typeface="Verdana"/>
              </a:rPr>
              <a:t>as Client </a:t>
            </a:r>
            <a:r>
              <a:rPr sz="1500" spc="-25" dirty="0">
                <a:latin typeface="Verdana"/>
                <a:cs typeface="Verdana"/>
              </a:rPr>
              <a:t>Technical </a:t>
            </a:r>
            <a:r>
              <a:rPr sz="1500" spc="-5" dirty="0">
                <a:latin typeface="Verdana"/>
                <a:cs typeface="Verdana"/>
              </a:rPr>
              <a:t>Competence </a:t>
            </a:r>
            <a:r>
              <a:rPr sz="1500" spc="-10" dirty="0">
                <a:latin typeface="Verdana"/>
                <a:cs typeface="Verdana"/>
              </a:rPr>
              <a:t>Center’s </a:t>
            </a:r>
            <a:r>
              <a:rPr sz="1500" spc="-5" dirty="0">
                <a:latin typeface="Verdana"/>
                <a:cs typeface="Verdana"/>
              </a:rPr>
              <a:t>and its other vendors’  tasks </a:t>
            </a:r>
            <a:r>
              <a:rPr sz="1500" dirty="0">
                <a:latin typeface="Verdana"/>
                <a:cs typeface="Verdana"/>
              </a:rPr>
              <a:t>and </a:t>
            </a:r>
            <a:r>
              <a:rPr sz="1500" spc="-5" dirty="0">
                <a:latin typeface="Verdana"/>
                <a:cs typeface="Verdana"/>
              </a:rPr>
              <a:t>responsibilities. These activities </a:t>
            </a:r>
            <a:r>
              <a:rPr sz="1500" dirty="0">
                <a:latin typeface="Verdana"/>
                <a:cs typeface="Verdana"/>
              </a:rPr>
              <a:t>are </a:t>
            </a:r>
            <a:r>
              <a:rPr sz="1500" spc="-5" dirty="0">
                <a:latin typeface="Verdana"/>
                <a:cs typeface="Verdana"/>
              </a:rPr>
              <a:t>mandatory for the project </a:t>
            </a:r>
            <a:r>
              <a:rPr sz="1500" spc="-10" dirty="0">
                <a:latin typeface="Verdana"/>
                <a:cs typeface="Verdana"/>
              </a:rPr>
              <a:t>even </a:t>
            </a:r>
            <a:r>
              <a:rPr sz="1500" spc="-5" dirty="0">
                <a:latin typeface="Verdana"/>
                <a:cs typeface="Verdana"/>
              </a:rPr>
              <a:t>though out of </a:t>
            </a:r>
            <a:r>
              <a:rPr sz="1500" dirty="0">
                <a:latin typeface="Verdana"/>
                <a:cs typeface="Verdana"/>
              </a:rPr>
              <a:t>scope  </a:t>
            </a:r>
            <a:r>
              <a:rPr sz="1500" spc="-5" dirty="0">
                <a:latin typeface="Verdana"/>
                <a:cs typeface="Verdana"/>
              </a:rPr>
              <a:t>for</a:t>
            </a:r>
            <a:r>
              <a:rPr sz="1500" dirty="0">
                <a:latin typeface="Verdana"/>
                <a:cs typeface="Verdana"/>
              </a:rPr>
              <a:t> </a:t>
            </a:r>
            <a:r>
              <a:rPr sz="1500" spc="-10" dirty="0">
                <a:latin typeface="Verdana"/>
                <a:cs typeface="Verdana"/>
              </a:rPr>
              <a:t>Capgemini.</a:t>
            </a:r>
            <a:endParaRPr sz="1500" dirty="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sz="1500" spc="-5" dirty="0">
                <a:latin typeface="Verdana"/>
                <a:cs typeface="Verdana"/>
              </a:rPr>
              <a:t>The proposal does not </a:t>
            </a:r>
            <a:r>
              <a:rPr sz="1500" spc="-10" dirty="0">
                <a:latin typeface="Verdana"/>
                <a:cs typeface="Verdana"/>
              </a:rPr>
              <a:t>include Change </a:t>
            </a:r>
            <a:r>
              <a:rPr sz="1500" spc="-5" dirty="0">
                <a:latin typeface="Verdana"/>
                <a:cs typeface="Verdana"/>
              </a:rPr>
              <a:t>Management</a:t>
            </a:r>
            <a:r>
              <a:rPr sz="1500" spc="160" dirty="0">
                <a:latin typeface="Verdana"/>
                <a:cs typeface="Verdana"/>
              </a:rPr>
              <a:t> </a:t>
            </a:r>
            <a:r>
              <a:rPr sz="1500" spc="-5" dirty="0">
                <a:latin typeface="Verdana"/>
                <a:cs typeface="Verdana"/>
              </a:rPr>
              <a:t>services</a:t>
            </a:r>
            <a:r>
              <a:rPr lang="it-IT" sz="1500" spc="-5" dirty="0">
                <a:latin typeface="Verdana"/>
                <a:cs typeface="Verdana"/>
              </a:rPr>
              <a:t>: the </a:t>
            </a:r>
            <a:r>
              <a:rPr lang="it-IT" sz="1500" spc="-5" dirty="0" err="1">
                <a:latin typeface="Verdana"/>
                <a:cs typeface="Verdana"/>
              </a:rPr>
              <a:t>project</a:t>
            </a:r>
            <a:r>
              <a:rPr lang="it-IT" sz="1500" spc="-5" dirty="0">
                <a:latin typeface="Verdana"/>
                <a:cs typeface="Verdana"/>
              </a:rPr>
              <a:t> team </a:t>
            </a:r>
            <a:r>
              <a:rPr lang="it-IT" sz="1500" spc="-5" dirty="0" err="1">
                <a:latin typeface="Verdana"/>
                <a:cs typeface="Verdana"/>
              </a:rPr>
              <a:t>will</a:t>
            </a:r>
            <a:r>
              <a:rPr lang="it-IT" sz="1500" spc="-5" dirty="0">
                <a:latin typeface="Verdana"/>
                <a:cs typeface="Verdana"/>
              </a:rPr>
              <a:t> take care of </a:t>
            </a:r>
            <a:r>
              <a:rPr lang="it-IT" sz="1500" spc="-5" dirty="0" err="1">
                <a:latin typeface="Verdana"/>
                <a:cs typeface="Verdana"/>
              </a:rPr>
              <a:t>train</a:t>
            </a:r>
            <a:r>
              <a:rPr lang="it-IT" sz="1500" spc="-5" dirty="0">
                <a:latin typeface="Verdana"/>
                <a:cs typeface="Verdana"/>
              </a:rPr>
              <a:t>–the-trainer sessions </a:t>
            </a:r>
            <a:r>
              <a:rPr lang="it-IT" sz="1500" spc="-5" dirty="0" err="1">
                <a:latin typeface="Verdana"/>
                <a:cs typeface="Verdana"/>
              </a:rPr>
              <a:t>preparation</a:t>
            </a:r>
            <a:r>
              <a:rPr lang="it-IT" sz="1500" spc="-5" dirty="0">
                <a:latin typeface="Verdana"/>
                <a:cs typeface="Verdana"/>
              </a:rPr>
              <a:t> and </a:t>
            </a:r>
            <a:r>
              <a:rPr lang="it-IT" sz="1500" spc="-5" dirty="0" err="1">
                <a:latin typeface="Verdana"/>
                <a:cs typeface="Verdana"/>
              </a:rPr>
              <a:t>execution</a:t>
            </a:r>
            <a:r>
              <a:rPr lang="it-IT" sz="1500" spc="-5" dirty="0">
                <a:latin typeface="Verdana"/>
                <a:cs typeface="Verdana"/>
              </a:rPr>
              <a:t> </a:t>
            </a:r>
            <a:r>
              <a:rPr lang="it-IT" sz="1500" spc="-5" dirty="0" err="1">
                <a:latin typeface="Verdana"/>
                <a:cs typeface="Verdana"/>
              </a:rPr>
              <a:t>as</a:t>
            </a:r>
            <a:r>
              <a:rPr lang="it-IT" sz="1500" spc="-5" dirty="0">
                <a:latin typeface="Verdana"/>
                <a:cs typeface="Verdana"/>
              </a:rPr>
              <a:t> </a:t>
            </a:r>
            <a:r>
              <a:rPr lang="it-IT" sz="1500" spc="-5" dirty="0" err="1">
                <a:latin typeface="Verdana"/>
                <a:cs typeface="Verdana"/>
              </a:rPr>
              <a:t>described</a:t>
            </a:r>
            <a:r>
              <a:rPr lang="it-IT" sz="1500" spc="-5" dirty="0">
                <a:latin typeface="Verdana"/>
                <a:cs typeface="Verdana"/>
              </a:rPr>
              <a:t> in </a:t>
            </a:r>
            <a:r>
              <a:rPr lang="it-IT" sz="1500" spc="-5" dirty="0" err="1">
                <a:latin typeface="Verdana"/>
                <a:cs typeface="Verdana"/>
              </a:rPr>
              <a:t>slides</a:t>
            </a:r>
            <a:r>
              <a:rPr lang="it-IT" sz="1500" spc="-5" dirty="0">
                <a:latin typeface="Verdana"/>
                <a:cs typeface="Verdana"/>
              </a:rPr>
              <a:t> </a:t>
            </a:r>
            <a:r>
              <a:rPr lang="it-IT" sz="1500" spc="-5" dirty="0" err="1">
                <a:latin typeface="Verdana"/>
                <a:cs typeface="Verdana"/>
              </a:rPr>
              <a:t>detailing</a:t>
            </a:r>
            <a:r>
              <a:rPr lang="it-IT" sz="1500" spc="-5" dirty="0">
                <a:latin typeface="Verdana"/>
                <a:cs typeface="Verdana"/>
              </a:rPr>
              <a:t> </a:t>
            </a:r>
            <a:r>
              <a:rPr lang="it-IT" sz="1500" spc="-5" dirty="0" err="1">
                <a:latin typeface="Verdana"/>
                <a:cs typeface="Verdana"/>
              </a:rPr>
              <a:t>rollouts</a:t>
            </a:r>
            <a:r>
              <a:rPr lang="it-IT" sz="1500" spc="-5" dirty="0">
                <a:latin typeface="Verdana"/>
                <a:cs typeface="Verdana"/>
              </a:rPr>
              <a:t> </a:t>
            </a:r>
            <a:r>
              <a:rPr lang="it-IT" sz="1500" spc="-5" dirty="0" err="1">
                <a:latin typeface="Verdana"/>
                <a:cs typeface="Verdana"/>
              </a:rPr>
              <a:t>approach</a:t>
            </a:r>
            <a:r>
              <a:rPr lang="it-IT" sz="1500" spc="-5" dirty="0">
                <a:latin typeface="Verdana"/>
                <a:cs typeface="Verdana"/>
              </a:rPr>
              <a:t> in </a:t>
            </a:r>
            <a:r>
              <a:rPr lang="it-IT" sz="1500" spc="-5" dirty="0" err="1">
                <a:latin typeface="Verdana"/>
                <a:cs typeface="Verdana"/>
              </a:rPr>
              <a:t>this</a:t>
            </a:r>
            <a:r>
              <a:rPr lang="it-IT" sz="1500" spc="-5" dirty="0">
                <a:latin typeface="Verdana"/>
                <a:cs typeface="Verdana"/>
              </a:rPr>
              <a:t> </a:t>
            </a:r>
            <a:r>
              <a:rPr lang="it-IT" sz="1500" spc="-5" dirty="0" err="1">
                <a:latin typeface="Verdana"/>
                <a:cs typeface="Verdana"/>
              </a:rPr>
              <a:t>proposal</a:t>
            </a:r>
            <a:r>
              <a:rPr lang="it-IT" sz="1500" spc="-5" dirty="0">
                <a:latin typeface="Verdana"/>
                <a:cs typeface="Verdana"/>
              </a:rPr>
              <a:t>, </a:t>
            </a:r>
            <a:r>
              <a:rPr lang="it-IT" sz="1500" spc="-5" dirty="0" err="1">
                <a:latin typeface="Verdana"/>
                <a:cs typeface="Verdana"/>
              </a:rPr>
              <a:t>while</a:t>
            </a:r>
            <a:r>
              <a:rPr lang="it-IT" sz="1500" spc="-5" dirty="0">
                <a:latin typeface="Verdana"/>
                <a:cs typeface="Verdana"/>
              </a:rPr>
              <a:t> </a:t>
            </a:r>
            <a:r>
              <a:rPr lang="it-IT" sz="1500" spc="-5" dirty="0" err="1">
                <a:latin typeface="Verdana"/>
                <a:cs typeface="Verdana"/>
              </a:rPr>
              <a:t>other</a:t>
            </a:r>
            <a:r>
              <a:rPr lang="it-IT" sz="1500" spc="-5" dirty="0">
                <a:latin typeface="Verdana"/>
                <a:cs typeface="Verdana"/>
              </a:rPr>
              <a:t> </a:t>
            </a:r>
            <a:r>
              <a:rPr lang="it-IT" sz="1500" spc="-5" dirty="0" err="1">
                <a:latin typeface="Verdana"/>
                <a:cs typeface="Verdana"/>
              </a:rPr>
              <a:t>change</a:t>
            </a:r>
            <a:r>
              <a:rPr lang="it-IT" sz="1500" spc="-5" dirty="0">
                <a:latin typeface="Verdana"/>
                <a:cs typeface="Verdana"/>
              </a:rPr>
              <a:t> management </a:t>
            </a:r>
            <a:r>
              <a:rPr lang="it-IT" sz="1500" spc="-5" dirty="0" err="1">
                <a:latin typeface="Verdana"/>
                <a:cs typeface="Verdana"/>
              </a:rPr>
              <a:t>services</a:t>
            </a:r>
            <a:r>
              <a:rPr lang="it-IT" sz="1500" spc="-5" dirty="0">
                <a:latin typeface="Verdana"/>
                <a:cs typeface="Verdana"/>
              </a:rPr>
              <a:t> </a:t>
            </a:r>
            <a:r>
              <a:rPr lang="it-IT" sz="1500" spc="-5" dirty="0" err="1">
                <a:latin typeface="Verdana"/>
                <a:cs typeface="Verdana"/>
              </a:rPr>
              <a:t>will</a:t>
            </a:r>
            <a:r>
              <a:rPr lang="it-IT" sz="1500" spc="-5" dirty="0">
                <a:latin typeface="Verdana"/>
                <a:cs typeface="Verdana"/>
              </a:rPr>
              <a:t> be in </a:t>
            </a:r>
            <a:r>
              <a:rPr lang="it-IT" sz="1500" spc="-5" dirty="0" err="1">
                <a:latin typeface="Verdana"/>
                <a:cs typeface="Verdana"/>
              </a:rPr>
              <a:t>charge</a:t>
            </a:r>
            <a:r>
              <a:rPr lang="it-IT" sz="1500" spc="-5" dirty="0">
                <a:latin typeface="Verdana"/>
                <a:cs typeface="Verdana"/>
              </a:rPr>
              <a:t> to Marelli</a:t>
            </a:r>
          </a:p>
          <a:p>
            <a:pPr marL="355600" indent="-342900" algn="just">
              <a:lnSpc>
                <a:spcPct val="100000"/>
              </a:lnSpc>
              <a:spcBef>
                <a:spcPts val="300"/>
              </a:spcBef>
              <a:buClr>
                <a:srgbClr val="5B9BD4"/>
              </a:buClr>
              <a:buSzPct val="50000"/>
              <a:buFont typeface="Webdings"/>
              <a:buChar char=""/>
              <a:tabLst>
                <a:tab pos="355600" algn="l"/>
              </a:tabLst>
            </a:pPr>
            <a:r>
              <a:rPr lang="it-IT" sz="1500" spc="-5" dirty="0" err="1">
                <a:latin typeface="Verdana"/>
                <a:cs typeface="Verdana"/>
              </a:rPr>
              <a:t>Implementations</a:t>
            </a:r>
            <a:r>
              <a:rPr lang="it-IT" sz="1500" spc="-5" dirty="0">
                <a:latin typeface="Verdana"/>
                <a:cs typeface="Verdana"/>
              </a:rPr>
              <a:t> on MARC are out of scope for </a:t>
            </a:r>
            <a:r>
              <a:rPr lang="it-IT" sz="1500" spc="-5" dirty="0" err="1">
                <a:latin typeface="Verdana"/>
                <a:cs typeface="Verdana"/>
              </a:rPr>
              <a:t>this</a:t>
            </a:r>
            <a:r>
              <a:rPr lang="it-IT" sz="1500" spc="-5" dirty="0">
                <a:latin typeface="Verdana"/>
                <a:cs typeface="Verdana"/>
              </a:rPr>
              <a:t> </a:t>
            </a:r>
            <a:r>
              <a:rPr lang="it-IT" sz="1500" spc="-5" dirty="0" err="1">
                <a:latin typeface="Verdana"/>
                <a:cs typeface="Verdana"/>
              </a:rPr>
              <a:t>proposal</a:t>
            </a:r>
            <a:endParaRPr lang="it-IT" sz="1500" spc="-5" dirty="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lang="en-IN" sz="1500" spc="-5" dirty="0">
                <a:latin typeface="Verdana"/>
              </a:rPr>
              <a:t>For all use case/features which involves an integration, performance optimization would be a joint responsibility for both Capgemini and the MARC integrator team</a:t>
            </a:r>
            <a:endParaRPr sz="1500" spc="-5" dirty="0">
              <a:latin typeface="Verdana"/>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271720" cy="412934"/>
          </a:xfrm>
          <a:prstGeom prst="rect">
            <a:avLst/>
          </a:prstGeom>
        </p:spPr>
        <p:txBody>
          <a:bodyPr vert="horz" wrap="square" lIns="0" tIns="12700" rIns="0" bIns="0" rtlCol="0">
            <a:spAutoFit/>
          </a:bodyPr>
          <a:lstStyle/>
          <a:p>
            <a:pPr marL="12700">
              <a:lnSpc>
                <a:spcPct val="100000"/>
              </a:lnSpc>
              <a:spcBef>
                <a:spcPts val="100"/>
              </a:spcBef>
            </a:pPr>
            <a:r>
              <a:rPr sz="2600" spc="-10"/>
              <a:t>General</a:t>
            </a:r>
            <a:r>
              <a:rPr sz="2600" spc="-60"/>
              <a:t> </a:t>
            </a:r>
            <a:r>
              <a:rPr sz="2600"/>
              <a:t>Assumption</a:t>
            </a:r>
            <a:r>
              <a:rPr lang="it-IT" sz="2600"/>
              <a:t>s</a:t>
            </a:r>
            <a:endParaRPr sz="2600"/>
          </a:p>
        </p:txBody>
      </p:sp>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2</a:t>
            </a:fld>
            <a:endParaRPr sz="800">
              <a:latin typeface="Verdana"/>
              <a:cs typeface="Verdana"/>
            </a:endParaRPr>
          </a:p>
        </p:txBody>
      </p:sp>
      <p:sp>
        <p:nvSpPr>
          <p:cNvPr id="3" name="object 3"/>
          <p:cNvSpPr txBox="1"/>
          <p:nvPr/>
        </p:nvSpPr>
        <p:spPr>
          <a:xfrm>
            <a:off x="306120" y="1040968"/>
            <a:ext cx="10737215" cy="5629105"/>
          </a:xfrm>
          <a:prstGeom prst="rect">
            <a:avLst/>
          </a:prstGeom>
        </p:spPr>
        <p:txBody>
          <a:bodyPr vert="horz" wrap="square" lIns="0" tIns="12065" rIns="0" bIns="0" rtlCol="0">
            <a:spAutoFit/>
          </a:bodyPr>
          <a:lstStyle/>
          <a:p>
            <a:pPr marL="355600" indent="-342900" algn="just">
              <a:lnSpc>
                <a:spcPct val="100000"/>
              </a:lnSpc>
              <a:spcBef>
                <a:spcPts val="95"/>
              </a:spcBef>
              <a:buClr>
                <a:srgbClr val="5B9BD4"/>
              </a:buClr>
              <a:buSzPct val="50000"/>
              <a:buFont typeface="Webdings"/>
              <a:buChar char=""/>
              <a:tabLst>
                <a:tab pos="355600" algn="l"/>
              </a:tabLst>
            </a:pPr>
            <a:r>
              <a:rPr sz="1500" spc="-10">
                <a:latin typeface="Verdana"/>
                <a:cs typeface="Verdana"/>
              </a:rPr>
              <a:t>Any</a:t>
            </a:r>
            <a:r>
              <a:rPr sz="1500" spc="80">
                <a:latin typeface="Verdana"/>
                <a:cs typeface="Verdana"/>
              </a:rPr>
              <a:t> </a:t>
            </a:r>
            <a:r>
              <a:rPr sz="1500" spc="-5">
                <a:latin typeface="Verdana"/>
                <a:cs typeface="Verdana"/>
              </a:rPr>
              <a:t>change</a:t>
            </a:r>
            <a:r>
              <a:rPr sz="1500" spc="75">
                <a:latin typeface="Verdana"/>
                <a:cs typeface="Verdana"/>
              </a:rPr>
              <a:t> </a:t>
            </a:r>
            <a:r>
              <a:rPr sz="1500" spc="-5">
                <a:latin typeface="Verdana"/>
                <a:cs typeface="Verdana"/>
              </a:rPr>
              <a:t>that</a:t>
            </a:r>
            <a:r>
              <a:rPr sz="1500" spc="65">
                <a:latin typeface="Verdana"/>
                <a:cs typeface="Verdana"/>
              </a:rPr>
              <a:t> </a:t>
            </a:r>
            <a:r>
              <a:rPr sz="1500">
                <a:latin typeface="Verdana"/>
                <a:cs typeface="Verdana"/>
              </a:rPr>
              <a:t>could</a:t>
            </a:r>
            <a:r>
              <a:rPr sz="1500" spc="60">
                <a:latin typeface="Verdana"/>
                <a:cs typeface="Verdana"/>
              </a:rPr>
              <a:t> </a:t>
            </a:r>
            <a:r>
              <a:rPr sz="1500" spc="-5">
                <a:latin typeface="Verdana"/>
                <a:cs typeface="Verdana"/>
              </a:rPr>
              <a:t>be</a:t>
            </a:r>
            <a:r>
              <a:rPr sz="1500" spc="75">
                <a:latin typeface="Verdana"/>
                <a:cs typeface="Verdana"/>
              </a:rPr>
              <a:t> </a:t>
            </a:r>
            <a:r>
              <a:rPr sz="1500" spc="-5">
                <a:latin typeface="Verdana"/>
                <a:cs typeface="Verdana"/>
              </a:rPr>
              <a:t>required</a:t>
            </a:r>
            <a:r>
              <a:rPr sz="1500" spc="80">
                <a:latin typeface="Verdana"/>
                <a:cs typeface="Verdana"/>
              </a:rPr>
              <a:t> </a:t>
            </a:r>
            <a:r>
              <a:rPr sz="1500" spc="-10">
                <a:latin typeface="Verdana"/>
                <a:cs typeface="Verdana"/>
              </a:rPr>
              <a:t>in</a:t>
            </a:r>
            <a:r>
              <a:rPr sz="1500" spc="60">
                <a:latin typeface="Verdana"/>
                <a:cs typeface="Verdana"/>
              </a:rPr>
              <a:t> </a:t>
            </a:r>
            <a:r>
              <a:rPr sz="1500" spc="-5">
                <a:latin typeface="Verdana"/>
                <a:cs typeface="Verdana"/>
              </a:rPr>
              <a:t>the</a:t>
            </a:r>
            <a:r>
              <a:rPr sz="1500" spc="65">
                <a:latin typeface="Verdana"/>
                <a:cs typeface="Verdana"/>
              </a:rPr>
              <a:t> </a:t>
            </a:r>
            <a:r>
              <a:rPr sz="1500" spc="-5">
                <a:latin typeface="Verdana"/>
                <a:cs typeface="Verdana"/>
              </a:rPr>
              <a:t>legacy</a:t>
            </a:r>
            <a:r>
              <a:rPr sz="1500" spc="85">
                <a:latin typeface="Verdana"/>
                <a:cs typeface="Verdana"/>
              </a:rPr>
              <a:t> </a:t>
            </a:r>
            <a:r>
              <a:rPr sz="1500" spc="-5">
                <a:latin typeface="Verdana"/>
                <a:cs typeface="Verdana"/>
              </a:rPr>
              <a:t>systems</a:t>
            </a:r>
            <a:r>
              <a:rPr sz="1500" spc="75">
                <a:latin typeface="Verdana"/>
                <a:cs typeface="Verdana"/>
              </a:rPr>
              <a:t> </a:t>
            </a:r>
            <a:r>
              <a:rPr sz="1500" spc="-5">
                <a:latin typeface="Verdana"/>
                <a:cs typeface="Verdana"/>
              </a:rPr>
              <a:t>of</a:t>
            </a:r>
            <a:r>
              <a:rPr sz="1500" spc="70">
                <a:latin typeface="Verdana"/>
                <a:cs typeface="Verdana"/>
              </a:rPr>
              <a:t> </a:t>
            </a:r>
            <a:r>
              <a:rPr sz="1500" spc="-5">
                <a:latin typeface="Verdana"/>
                <a:cs typeface="Verdana"/>
              </a:rPr>
              <a:t>the</a:t>
            </a:r>
            <a:r>
              <a:rPr sz="1500" spc="60">
                <a:latin typeface="Verdana"/>
                <a:cs typeface="Verdana"/>
              </a:rPr>
              <a:t> </a:t>
            </a:r>
            <a:r>
              <a:rPr sz="1500" spc="-5">
                <a:latin typeface="Verdana"/>
                <a:cs typeface="Verdana"/>
              </a:rPr>
              <a:t>Client</a:t>
            </a:r>
            <a:r>
              <a:rPr sz="1500" spc="60">
                <a:latin typeface="Verdana"/>
                <a:cs typeface="Verdana"/>
              </a:rPr>
              <a:t> </a:t>
            </a:r>
            <a:r>
              <a:rPr sz="1500">
                <a:latin typeface="Verdana"/>
                <a:cs typeface="Verdana"/>
              </a:rPr>
              <a:t>in</a:t>
            </a:r>
            <a:r>
              <a:rPr sz="1500" spc="65">
                <a:latin typeface="Verdana"/>
                <a:cs typeface="Verdana"/>
              </a:rPr>
              <a:t> </a:t>
            </a:r>
            <a:r>
              <a:rPr sz="1500">
                <a:latin typeface="Verdana"/>
                <a:cs typeface="Verdana"/>
              </a:rPr>
              <a:t>order</a:t>
            </a:r>
            <a:r>
              <a:rPr sz="1500" spc="65">
                <a:latin typeface="Verdana"/>
                <a:cs typeface="Verdana"/>
              </a:rPr>
              <a:t> </a:t>
            </a:r>
            <a:r>
              <a:rPr sz="1500" spc="-10">
                <a:latin typeface="Verdana"/>
                <a:cs typeface="Verdana"/>
              </a:rPr>
              <a:t>to</a:t>
            </a:r>
            <a:r>
              <a:rPr sz="1500" spc="80">
                <a:latin typeface="Verdana"/>
                <a:cs typeface="Verdana"/>
              </a:rPr>
              <a:t> </a:t>
            </a:r>
            <a:r>
              <a:rPr sz="1500" spc="-5">
                <a:latin typeface="Verdana"/>
                <a:cs typeface="Verdana"/>
              </a:rPr>
              <a:t>get</a:t>
            </a:r>
            <a:r>
              <a:rPr sz="1500" spc="70">
                <a:latin typeface="Verdana"/>
                <a:cs typeface="Verdana"/>
              </a:rPr>
              <a:t> </a:t>
            </a:r>
            <a:r>
              <a:rPr sz="1500" spc="-5">
                <a:latin typeface="Verdana"/>
                <a:cs typeface="Verdana"/>
              </a:rPr>
              <a:t>these</a:t>
            </a:r>
            <a:r>
              <a:rPr sz="1500" spc="80">
                <a:latin typeface="Verdana"/>
                <a:cs typeface="Verdana"/>
              </a:rPr>
              <a:t> </a:t>
            </a:r>
            <a:r>
              <a:rPr sz="1500" spc="-5">
                <a:latin typeface="Verdana"/>
                <a:cs typeface="Verdana"/>
              </a:rPr>
              <a:t>systems</a:t>
            </a:r>
            <a:endParaRPr sz="1500">
              <a:latin typeface="Verdana"/>
              <a:cs typeface="Verdana"/>
            </a:endParaRPr>
          </a:p>
          <a:p>
            <a:pPr marL="355600" algn="just">
              <a:lnSpc>
                <a:spcPct val="100000"/>
              </a:lnSpc>
              <a:spcBef>
                <a:spcPts val="5"/>
              </a:spcBef>
            </a:pPr>
            <a:r>
              <a:rPr sz="1500" spc="-10">
                <a:latin typeface="Verdana"/>
                <a:cs typeface="Verdana"/>
              </a:rPr>
              <a:t>compliant with </a:t>
            </a:r>
            <a:r>
              <a:rPr sz="1500" spc="-5">
                <a:latin typeface="Verdana"/>
                <a:cs typeface="Verdana"/>
              </a:rPr>
              <a:t>the </a:t>
            </a:r>
            <a:r>
              <a:rPr sz="1500" spc="-10">
                <a:latin typeface="Verdana"/>
                <a:cs typeface="Verdana"/>
              </a:rPr>
              <a:t>new systems </a:t>
            </a:r>
            <a:r>
              <a:rPr sz="1500" spc="-5">
                <a:latin typeface="Verdana"/>
                <a:cs typeface="Verdana"/>
              </a:rPr>
              <a:t>and application </a:t>
            </a:r>
            <a:r>
              <a:rPr sz="1500" spc="-10">
                <a:latin typeface="Verdana"/>
                <a:cs typeface="Verdana"/>
              </a:rPr>
              <a:t>landscape is </a:t>
            </a:r>
            <a:r>
              <a:rPr sz="1500" spc="-5">
                <a:latin typeface="Verdana"/>
                <a:cs typeface="Verdana"/>
              </a:rPr>
              <a:t>out of scope for</a:t>
            </a:r>
            <a:r>
              <a:rPr sz="1500" spc="390">
                <a:latin typeface="Verdana"/>
                <a:cs typeface="Verdana"/>
              </a:rPr>
              <a:t> </a:t>
            </a:r>
            <a:r>
              <a:rPr sz="1500" spc="-10">
                <a:latin typeface="Verdana"/>
                <a:cs typeface="Verdana"/>
              </a:rPr>
              <a:t>Capgemini.</a:t>
            </a:r>
            <a:endParaRPr sz="1500">
              <a:latin typeface="Verdana"/>
              <a:cs typeface="Verdana"/>
            </a:endParaRPr>
          </a:p>
          <a:p>
            <a:pPr marL="355600" marR="5715" indent="-342900" algn="just">
              <a:lnSpc>
                <a:spcPct val="100000"/>
              </a:lnSpc>
              <a:spcBef>
                <a:spcPts val="300"/>
              </a:spcBef>
              <a:buClr>
                <a:srgbClr val="5B9BD4"/>
              </a:buClr>
              <a:buSzPct val="50000"/>
              <a:buFont typeface="Webdings"/>
              <a:buChar char=""/>
              <a:tabLst>
                <a:tab pos="355600" algn="l"/>
              </a:tabLst>
            </a:pPr>
            <a:r>
              <a:rPr sz="1500" spc="-5">
                <a:latin typeface="Verdana"/>
                <a:cs typeface="Verdana"/>
              </a:rPr>
              <a:t>Knowledge </a:t>
            </a:r>
            <a:r>
              <a:rPr sz="1500" spc="-10">
                <a:latin typeface="Verdana"/>
                <a:cs typeface="Verdana"/>
              </a:rPr>
              <a:t>transfer </a:t>
            </a:r>
            <a:r>
              <a:rPr lang="it-IT" sz="1500" spc="-5">
                <a:latin typeface="Verdana"/>
                <a:cs typeface="Verdana"/>
              </a:rPr>
              <a:t>from</a:t>
            </a:r>
            <a:r>
              <a:rPr sz="1500" spc="-5">
                <a:latin typeface="Verdana"/>
                <a:cs typeface="Verdana"/>
              </a:rPr>
              <a:t> Capgemini project team </a:t>
            </a:r>
            <a:r>
              <a:rPr lang="it-IT" sz="1500">
                <a:latin typeface="Verdana"/>
                <a:cs typeface="Verdana"/>
              </a:rPr>
              <a:t>to</a:t>
            </a:r>
            <a:r>
              <a:rPr sz="1500">
                <a:latin typeface="Verdana"/>
                <a:cs typeface="Verdana"/>
              </a:rPr>
              <a:t> </a:t>
            </a:r>
            <a:r>
              <a:rPr lang="it-IT" sz="1500" spc="-5">
                <a:latin typeface="Verdana"/>
                <a:cs typeface="Verdana"/>
              </a:rPr>
              <a:t>the </a:t>
            </a:r>
            <a:r>
              <a:rPr sz="1500" spc="-5">
                <a:latin typeface="Verdana"/>
                <a:cs typeface="Verdana"/>
              </a:rPr>
              <a:t>AMS </a:t>
            </a:r>
            <a:r>
              <a:rPr lang="it-IT" sz="1500" spc="-10" err="1">
                <a:latin typeface="Verdana"/>
                <a:cs typeface="Verdana"/>
              </a:rPr>
              <a:t>supplier</a:t>
            </a:r>
            <a:r>
              <a:rPr lang="it-IT" sz="1500" spc="-10">
                <a:latin typeface="Verdana"/>
                <a:cs typeface="Verdana"/>
              </a:rPr>
              <a:t> </a:t>
            </a:r>
            <a:r>
              <a:rPr lang="it-IT" sz="1500" spc="-10" err="1">
                <a:latin typeface="Verdana"/>
                <a:cs typeface="Verdana"/>
              </a:rPr>
              <a:t>is</a:t>
            </a:r>
            <a:r>
              <a:rPr lang="it-IT" sz="1500" spc="-10">
                <a:latin typeface="Verdana"/>
                <a:cs typeface="Verdana"/>
              </a:rPr>
              <a:t> </a:t>
            </a:r>
            <a:r>
              <a:rPr lang="it-IT" sz="1500" spc="-10" err="1">
                <a:latin typeface="Verdana"/>
                <a:cs typeface="Verdana"/>
              </a:rPr>
              <a:t>included</a:t>
            </a:r>
            <a:r>
              <a:rPr lang="it-IT" sz="1500" spc="-10">
                <a:latin typeface="Verdana"/>
                <a:cs typeface="Verdana"/>
              </a:rPr>
              <a:t>. It </a:t>
            </a:r>
            <a:r>
              <a:rPr lang="it-IT" sz="1500" spc="-10" err="1">
                <a:latin typeface="Verdana"/>
                <a:cs typeface="Verdana"/>
              </a:rPr>
              <a:t>is</a:t>
            </a:r>
            <a:r>
              <a:rPr lang="it-IT" sz="1500" spc="-10">
                <a:latin typeface="Verdana"/>
                <a:cs typeface="Verdana"/>
              </a:rPr>
              <a:t> </a:t>
            </a:r>
            <a:r>
              <a:rPr lang="it-IT" sz="1500" spc="-10" err="1">
                <a:latin typeface="Verdana"/>
                <a:cs typeface="Verdana"/>
              </a:rPr>
              <a:t>assumed</a:t>
            </a:r>
            <a:r>
              <a:rPr lang="it-IT" sz="1500" spc="-10">
                <a:latin typeface="Verdana"/>
                <a:cs typeface="Verdana"/>
              </a:rPr>
              <a:t> </a:t>
            </a:r>
            <a:r>
              <a:rPr lang="it-IT" sz="1500" spc="-10" err="1">
                <a:latin typeface="Verdana"/>
                <a:cs typeface="Verdana"/>
              </a:rPr>
              <a:t>that</a:t>
            </a:r>
            <a:r>
              <a:rPr lang="it-IT" sz="1500" spc="-10">
                <a:latin typeface="Verdana"/>
                <a:cs typeface="Verdana"/>
              </a:rPr>
              <a:t> </a:t>
            </a:r>
            <a:r>
              <a:rPr lang="it-IT" sz="1500" spc="-10" err="1">
                <a:latin typeface="Verdana"/>
                <a:cs typeface="Verdana"/>
              </a:rPr>
              <a:t>project</a:t>
            </a:r>
            <a:r>
              <a:rPr lang="it-IT" sz="1500" spc="-10">
                <a:latin typeface="Verdana"/>
                <a:cs typeface="Verdana"/>
              </a:rPr>
              <a:t> </a:t>
            </a:r>
            <a:r>
              <a:rPr lang="it-IT" sz="1500" spc="-10" err="1">
                <a:latin typeface="Verdana"/>
                <a:cs typeface="Verdana"/>
              </a:rPr>
              <a:t>deliverables</a:t>
            </a:r>
            <a:r>
              <a:rPr lang="it-IT" sz="1500" spc="-10">
                <a:latin typeface="Verdana"/>
                <a:cs typeface="Verdana"/>
              </a:rPr>
              <a:t> </a:t>
            </a:r>
            <a:r>
              <a:rPr lang="it-IT" sz="1500" spc="-10" err="1">
                <a:latin typeface="Verdana"/>
                <a:cs typeface="Verdana"/>
              </a:rPr>
              <a:t>will</a:t>
            </a:r>
            <a:r>
              <a:rPr lang="it-IT" sz="1500" spc="-10">
                <a:latin typeface="Verdana"/>
                <a:cs typeface="Verdana"/>
              </a:rPr>
              <a:t> be </a:t>
            </a:r>
            <a:r>
              <a:rPr lang="it-IT" sz="1500" spc="-10" err="1">
                <a:latin typeface="Verdana"/>
                <a:cs typeface="Verdana"/>
              </a:rPr>
              <a:t>provided</a:t>
            </a:r>
            <a:r>
              <a:rPr lang="it-IT" sz="1500" spc="-10">
                <a:latin typeface="Verdana"/>
                <a:cs typeface="Verdana"/>
              </a:rPr>
              <a:t> to AMS and a maximum of 10 </a:t>
            </a:r>
            <a:r>
              <a:rPr lang="it-IT" sz="1500" spc="-10" err="1">
                <a:latin typeface="Verdana"/>
                <a:cs typeface="Verdana"/>
              </a:rPr>
              <a:t>handover</a:t>
            </a:r>
            <a:r>
              <a:rPr lang="it-IT" sz="1500" spc="-10">
                <a:latin typeface="Verdana"/>
                <a:cs typeface="Verdana"/>
              </a:rPr>
              <a:t> to AMS sessions for </a:t>
            </a:r>
            <a:r>
              <a:rPr lang="it-IT" sz="1500" spc="-10" err="1">
                <a:latin typeface="Verdana"/>
                <a:cs typeface="Verdana"/>
              </a:rPr>
              <a:t>wave</a:t>
            </a:r>
            <a:r>
              <a:rPr lang="it-IT" sz="1500" spc="-10">
                <a:latin typeface="Verdana"/>
                <a:cs typeface="Verdana"/>
              </a:rPr>
              <a:t> 1 </a:t>
            </a:r>
            <a:r>
              <a:rPr lang="it-IT" sz="1500" spc="-10" err="1">
                <a:latin typeface="Verdana"/>
                <a:cs typeface="Verdana"/>
              </a:rPr>
              <a:t>has</a:t>
            </a:r>
            <a:r>
              <a:rPr lang="it-IT" sz="1500" spc="-10">
                <a:latin typeface="Verdana"/>
                <a:cs typeface="Verdana"/>
              </a:rPr>
              <a:t> </a:t>
            </a:r>
            <a:r>
              <a:rPr lang="it-IT" sz="1500" spc="-10" err="1">
                <a:latin typeface="Verdana"/>
                <a:cs typeface="Verdana"/>
              </a:rPr>
              <a:t>been</a:t>
            </a:r>
            <a:r>
              <a:rPr lang="it-IT" sz="1500" spc="-10">
                <a:latin typeface="Verdana"/>
                <a:cs typeface="Verdana"/>
              </a:rPr>
              <a:t> </a:t>
            </a:r>
            <a:r>
              <a:rPr lang="it-IT" sz="1500" spc="-10" err="1">
                <a:latin typeface="Verdana"/>
                <a:cs typeface="Verdana"/>
              </a:rPr>
              <a:t>included</a:t>
            </a:r>
            <a:r>
              <a:rPr lang="it-IT" sz="1500" spc="-10">
                <a:latin typeface="Verdana"/>
                <a:cs typeface="Verdana"/>
              </a:rPr>
              <a:t> in </a:t>
            </a:r>
            <a:r>
              <a:rPr lang="it-IT" sz="1500" spc="-10" err="1">
                <a:latin typeface="Verdana"/>
                <a:cs typeface="Verdana"/>
              </a:rPr>
              <a:t>this</a:t>
            </a:r>
            <a:r>
              <a:rPr lang="it-IT" sz="1500" spc="-10">
                <a:latin typeface="Verdana"/>
                <a:cs typeface="Verdana"/>
              </a:rPr>
              <a:t> </a:t>
            </a:r>
            <a:r>
              <a:rPr lang="it-IT" sz="1500" spc="-10" err="1">
                <a:latin typeface="Verdana"/>
                <a:cs typeface="Verdana"/>
              </a:rPr>
              <a:t>proposal</a:t>
            </a:r>
            <a:endParaRPr sz="150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sz="1500" spc="-5">
                <a:latin typeface="Verdana"/>
                <a:cs typeface="Verdana"/>
              </a:rPr>
              <a:t>After the completion of </a:t>
            </a:r>
            <a:r>
              <a:rPr sz="1500">
                <a:latin typeface="Verdana"/>
                <a:cs typeface="Verdana"/>
              </a:rPr>
              <a:t>post </a:t>
            </a:r>
            <a:r>
              <a:rPr sz="1500" spc="-5">
                <a:latin typeface="Verdana"/>
                <a:cs typeface="Verdana"/>
              </a:rPr>
              <a:t>go-live support, the project activities are concluded, under the</a:t>
            </a:r>
            <a:r>
              <a:rPr sz="1500" spc="405">
                <a:latin typeface="Verdana"/>
                <a:cs typeface="Verdana"/>
              </a:rPr>
              <a:t> </a:t>
            </a:r>
            <a:r>
              <a:rPr sz="1500" spc="-5">
                <a:latin typeface="Verdana"/>
                <a:cs typeface="Verdana"/>
              </a:rPr>
              <a:t>condition</a:t>
            </a:r>
            <a:endParaRPr sz="1500">
              <a:latin typeface="Verdana"/>
              <a:cs typeface="Verdana"/>
            </a:endParaRPr>
          </a:p>
          <a:p>
            <a:pPr marL="355600" algn="just">
              <a:lnSpc>
                <a:spcPct val="100000"/>
              </a:lnSpc>
            </a:pPr>
            <a:r>
              <a:rPr sz="1500" spc="-5">
                <a:latin typeface="Verdana"/>
                <a:cs typeface="Verdana"/>
              </a:rPr>
              <a:t>that all the project </a:t>
            </a:r>
            <a:r>
              <a:rPr sz="1500" spc="-10">
                <a:latin typeface="Verdana"/>
                <a:cs typeface="Verdana"/>
              </a:rPr>
              <a:t>deliverables jointly </a:t>
            </a:r>
            <a:r>
              <a:rPr sz="1500" spc="-5">
                <a:latin typeface="Verdana"/>
                <a:cs typeface="Verdana"/>
              </a:rPr>
              <a:t>agreed are</a:t>
            </a:r>
            <a:r>
              <a:rPr sz="1500" spc="130">
                <a:latin typeface="Verdana"/>
                <a:cs typeface="Verdana"/>
              </a:rPr>
              <a:t> </a:t>
            </a:r>
            <a:r>
              <a:rPr sz="1500" spc="-10">
                <a:latin typeface="Verdana"/>
                <a:cs typeface="Verdana"/>
              </a:rPr>
              <a:t>completed.</a:t>
            </a:r>
            <a:endParaRPr sz="150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lang="en-US" sz="1500" spc="-20">
                <a:latin typeface="Verdana"/>
                <a:cs typeface="Verdana"/>
              </a:rPr>
              <a:t>Warranty </a:t>
            </a:r>
            <a:r>
              <a:rPr lang="en-US" sz="1500" spc="-10">
                <a:latin typeface="Verdana"/>
                <a:cs typeface="Verdana"/>
              </a:rPr>
              <a:t>period is defined </a:t>
            </a:r>
            <a:r>
              <a:rPr lang="en-US" sz="1500" spc="-5">
                <a:latin typeface="Verdana"/>
                <a:cs typeface="Verdana"/>
              </a:rPr>
              <a:t>as 24 months starting from the </a:t>
            </a:r>
            <a:r>
              <a:rPr lang="en-US" sz="1500" spc="-10">
                <a:latin typeface="Verdana"/>
                <a:cs typeface="Verdana"/>
              </a:rPr>
              <a:t>go-live</a:t>
            </a:r>
            <a:r>
              <a:rPr lang="en-US" sz="1500" spc="250">
                <a:latin typeface="Verdana"/>
                <a:cs typeface="Verdana"/>
              </a:rPr>
              <a:t> </a:t>
            </a:r>
            <a:r>
              <a:rPr lang="en-US" sz="1500" spc="-10">
                <a:latin typeface="Verdana"/>
                <a:cs typeface="Verdana"/>
              </a:rPr>
              <a:t>date. During warranty period, problem determination and troubleshooting will be in charge to the customer/AMS provider, while Capgemini will be responsible for bug fixing only on those software objects that have not been modified after project go-live. End-user support or data updates are not included in the warranty support and bug fixing request during warranty will not be subject to SLAs but managed in best effort mode.</a:t>
            </a:r>
            <a:endParaRPr lang="en-US" sz="150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sz="1500">
                <a:latin typeface="Verdana"/>
                <a:cs typeface="Verdana"/>
              </a:rPr>
              <a:t>All</a:t>
            </a:r>
            <a:r>
              <a:rPr sz="1500" spc="370">
                <a:latin typeface="Verdana"/>
                <a:cs typeface="Verdana"/>
              </a:rPr>
              <a:t> </a:t>
            </a:r>
            <a:r>
              <a:rPr sz="1500" spc="-5">
                <a:latin typeface="Verdana"/>
                <a:cs typeface="Verdana"/>
              </a:rPr>
              <a:t>the</a:t>
            </a:r>
            <a:r>
              <a:rPr sz="1500" spc="380">
                <a:latin typeface="Verdana"/>
                <a:cs typeface="Verdana"/>
              </a:rPr>
              <a:t> </a:t>
            </a:r>
            <a:r>
              <a:rPr sz="1500" spc="-5">
                <a:latin typeface="Verdana"/>
                <a:cs typeface="Verdana"/>
              </a:rPr>
              <a:t>delays</a:t>
            </a:r>
            <a:r>
              <a:rPr sz="1500" spc="395">
                <a:latin typeface="Verdana"/>
                <a:cs typeface="Verdana"/>
              </a:rPr>
              <a:t> </a:t>
            </a:r>
            <a:r>
              <a:rPr sz="1500" spc="-10">
                <a:latin typeface="Verdana"/>
                <a:cs typeface="Verdana"/>
              </a:rPr>
              <a:t>in</a:t>
            </a:r>
            <a:r>
              <a:rPr sz="1500" spc="380">
                <a:latin typeface="Verdana"/>
                <a:cs typeface="Verdana"/>
              </a:rPr>
              <a:t> </a:t>
            </a:r>
            <a:r>
              <a:rPr sz="1500" spc="-5">
                <a:latin typeface="Verdana"/>
                <a:cs typeface="Verdana"/>
              </a:rPr>
              <a:t>project</a:t>
            </a:r>
            <a:r>
              <a:rPr sz="1500" spc="375">
                <a:latin typeface="Verdana"/>
                <a:cs typeface="Verdana"/>
              </a:rPr>
              <a:t> </a:t>
            </a:r>
            <a:r>
              <a:rPr sz="1500" spc="-5">
                <a:latin typeface="Verdana"/>
                <a:cs typeface="Verdana"/>
              </a:rPr>
              <a:t>activities</a:t>
            </a:r>
            <a:r>
              <a:rPr sz="1500" spc="395">
                <a:latin typeface="Verdana"/>
                <a:cs typeface="Verdana"/>
              </a:rPr>
              <a:t> </a:t>
            </a:r>
            <a:r>
              <a:rPr sz="1500" spc="-5">
                <a:latin typeface="Verdana"/>
                <a:cs typeface="Verdana"/>
              </a:rPr>
              <a:t>not</a:t>
            </a:r>
            <a:r>
              <a:rPr sz="1500" spc="375">
                <a:latin typeface="Verdana"/>
                <a:cs typeface="Verdana"/>
              </a:rPr>
              <a:t> </a:t>
            </a:r>
            <a:r>
              <a:rPr sz="1500" spc="-5">
                <a:latin typeface="Verdana"/>
                <a:cs typeface="Verdana"/>
              </a:rPr>
              <a:t>dependent</a:t>
            </a:r>
            <a:r>
              <a:rPr sz="1500" spc="375">
                <a:latin typeface="Verdana"/>
                <a:cs typeface="Verdana"/>
              </a:rPr>
              <a:t> </a:t>
            </a:r>
            <a:r>
              <a:rPr sz="1500" spc="-5">
                <a:latin typeface="Verdana"/>
                <a:cs typeface="Verdana"/>
              </a:rPr>
              <a:t>by</a:t>
            </a:r>
            <a:r>
              <a:rPr sz="1500" spc="385">
                <a:latin typeface="Verdana"/>
                <a:cs typeface="Verdana"/>
              </a:rPr>
              <a:t> </a:t>
            </a:r>
            <a:r>
              <a:rPr sz="1500" spc="-5">
                <a:latin typeface="Verdana"/>
                <a:cs typeface="Verdana"/>
              </a:rPr>
              <a:t>Capgemini</a:t>
            </a:r>
            <a:r>
              <a:rPr sz="1500" spc="380">
                <a:latin typeface="Verdana"/>
                <a:cs typeface="Verdana"/>
              </a:rPr>
              <a:t> </a:t>
            </a:r>
            <a:r>
              <a:rPr sz="1500" spc="-10">
                <a:latin typeface="Verdana"/>
                <a:cs typeface="Verdana"/>
              </a:rPr>
              <a:t>involve</a:t>
            </a:r>
            <a:r>
              <a:rPr sz="1500" spc="380">
                <a:latin typeface="Verdana"/>
                <a:cs typeface="Verdana"/>
              </a:rPr>
              <a:t> </a:t>
            </a:r>
            <a:r>
              <a:rPr sz="1500" spc="-5">
                <a:latin typeface="Verdana"/>
                <a:cs typeface="Verdana"/>
              </a:rPr>
              <a:t>a</a:t>
            </a:r>
            <a:r>
              <a:rPr sz="1500" spc="385">
                <a:latin typeface="Verdana"/>
                <a:cs typeface="Verdana"/>
              </a:rPr>
              <a:t> </a:t>
            </a:r>
            <a:r>
              <a:rPr sz="1500" spc="-5">
                <a:latin typeface="Verdana"/>
                <a:cs typeface="Verdana"/>
              </a:rPr>
              <a:t>correspondent</a:t>
            </a:r>
            <a:r>
              <a:rPr sz="1500" spc="385">
                <a:latin typeface="Verdana"/>
                <a:cs typeface="Verdana"/>
              </a:rPr>
              <a:t> </a:t>
            </a:r>
            <a:r>
              <a:rPr sz="1500" spc="-5">
                <a:latin typeface="Verdana"/>
                <a:cs typeface="Verdana"/>
              </a:rPr>
              <a:t>moving</a:t>
            </a:r>
            <a:endParaRPr sz="1500">
              <a:latin typeface="Verdana"/>
              <a:cs typeface="Verdana"/>
            </a:endParaRPr>
          </a:p>
          <a:p>
            <a:pPr marL="355600" algn="just">
              <a:lnSpc>
                <a:spcPct val="100000"/>
              </a:lnSpc>
              <a:spcBef>
                <a:spcPts val="5"/>
              </a:spcBef>
            </a:pPr>
            <a:r>
              <a:rPr sz="1500" spc="-5">
                <a:latin typeface="Verdana"/>
                <a:cs typeface="Verdana"/>
              </a:rPr>
              <a:t>forward of </a:t>
            </a:r>
            <a:r>
              <a:rPr sz="1500" spc="-10">
                <a:latin typeface="Verdana"/>
                <a:cs typeface="Verdana"/>
              </a:rPr>
              <a:t>delivery dates </a:t>
            </a:r>
            <a:r>
              <a:rPr sz="1500" spc="-5">
                <a:latin typeface="Verdana"/>
                <a:cs typeface="Verdana"/>
              </a:rPr>
              <a:t>to be used for the </a:t>
            </a:r>
            <a:r>
              <a:rPr sz="1500" spc="-10">
                <a:latin typeface="Verdana"/>
                <a:cs typeface="Verdana"/>
              </a:rPr>
              <a:t>calculation </a:t>
            </a:r>
            <a:r>
              <a:rPr sz="1500" spc="-5">
                <a:latin typeface="Verdana"/>
                <a:cs typeface="Verdana"/>
              </a:rPr>
              <a:t>of </a:t>
            </a:r>
            <a:r>
              <a:rPr sz="1500" spc="-10">
                <a:latin typeface="Verdana"/>
                <a:cs typeface="Verdana"/>
              </a:rPr>
              <a:t>service level</a:t>
            </a:r>
            <a:r>
              <a:rPr sz="1500" spc="295">
                <a:latin typeface="Verdana"/>
                <a:cs typeface="Verdana"/>
              </a:rPr>
              <a:t> </a:t>
            </a:r>
            <a:r>
              <a:rPr sz="1500" spc="-5">
                <a:latin typeface="Verdana"/>
                <a:cs typeface="Verdana"/>
              </a:rPr>
              <a:t>KPIs.</a:t>
            </a:r>
            <a:endParaRPr sz="1500">
              <a:latin typeface="Verdana"/>
              <a:cs typeface="Verdana"/>
            </a:endParaRPr>
          </a:p>
          <a:p>
            <a:pPr marL="355600" marR="5715" indent="-342900" algn="just">
              <a:lnSpc>
                <a:spcPct val="100000"/>
              </a:lnSpc>
              <a:spcBef>
                <a:spcPts val="300"/>
              </a:spcBef>
              <a:buClr>
                <a:srgbClr val="5B9BD4"/>
              </a:buClr>
              <a:buSzPct val="50000"/>
              <a:buFont typeface="Webdings"/>
              <a:buChar char=""/>
              <a:tabLst>
                <a:tab pos="355600" algn="l"/>
              </a:tabLst>
            </a:pPr>
            <a:r>
              <a:rPr sz="1500" spc="-10">
                <a:latin typeface="Verdana"/>
                <a:cs typeface="Verdana"/>
              </a:rPr>
              <a:t>The </a:t>
            </a:r>
            <a:r>
              <a:rPr sz="1500">
                <a:latin typeface="Verdana"/>
                <a:cs typeface="Verdana"/>
              </a:rPr>
              <a:t>application </a:t>
            </a:r>
            <a:r>
              <a:rPr sz="1500" spc="-5">
                <a:latin typeface="Verdana"/>
                <a:cs typeface="Verdana"/>
              </a:rPr>
              <a:t>of </a:t>
            </a:r>
            <a:r>
              <a:rPr sz="1500" spc="-10">
                <a:latin typeface="Verdana"/>
                <a:cs typeface="Verdana"/>
              </a:rPr>
              <a:t>penalties </a:t>
            </a:r>
            <a:r>
              <a:rPr sz="1500" spc="-5">
                <a:latin typeface="Verdana"/>
                <a:cs typeface="Verdana"/>
              </a:rPr>
              <a:t>or of express resolution clause </a:t>
            </a:r>
            <a:r>
              <a:rPr sz="1500">
                <a:latin typeface="Verdana"/>
                <a:cs typeface="Verdana"/>
              </a:rPr>
              <a:t>in </a:t>
            </a:r>
            <a:r>
              <a:rPr sz="1500" spc="-5">
                <a:latin typeface="Verdana"/>
                <a:cs typeface="Verdana"/>
              </a:rPr>
              <a:t>case of missed respect of service  levels, </a:t>
            </a:r>
            <a:r>
              <a:rPr sz="1500">
                <a:latin typeface="Verdana"/>
                <a:cs typeface="Verdana"/>
              </a:rPr>
              <a:t>is </a:t>
            </a:r>
            <a:r>
              <a:rPr sz="1500" spc="-5">
                <a:latin typeface="Verdana"/>
                <a:cs typeface="Verdana"/>
              </a:rPr>
              <a:t>considered acceptable only if: </a:t>
            </a:r>
            <a:r>
              <a:rPr sz="1500">
                <a:latin typeface="Verdana"/>
                <a:cs typeface="Verdana"/>
              </a:rPr>
              <a:t>a) </a:t>
            </a:r>
            <a:r>
              <a:rPr sz="1500" spc="-5">
                <a:latin typeface="Verdana"/>
                <a:cs typeface="Verdana"/>
              </a:rPr>
              <a:t>the </a:t>
            </a:r>
            <a:r>
              <a:rPr sz="1500" spc="-10">
                <a:latin typeface="Verdana"/>
                <a:cs typeface="Verdana"/>
              </a:rPr>
              <a:t>involved </a:t>
            </a:r>
            <a:r>
              <a:rPr sz="1500" spc="-5">
                <a:latin typeface="Verdana"/>
                <a:cs typeface="Verdana"/>
              </a:rPr>
              <a:t>milestones have </a:t>
            </a:r>
            <a:r>
              <a:rPr sz="1500" spc="-10">
                <a:latin typeface="Verdana"/>
                <a:cs typeface="Verdana"/>
              </a:rPr>
              <a:t>been </a:t>
            </a:r>
            <a:r>
              <a:rPr sz="1500" spc="-5">
                <a:latin typeface="Verdana"/>
                <a:cs typeface="Verdana"/>
              </a:rPr>
              <a:t>defined and shared </a:t>
            </a:r>
            <a:r>
              <a:rPr sz="1500" spc="550">
                <a:latin typeface="Verdana"/>
                <a:cs typeface="Verdana"/>
              </a:rPr>
              <a:t> </a:t>
            </a:r>
            <a:r>
              <a:rPr sz="1500" spc="-10">
                <a:latin typeface="Verdana"/>
                <a:cs typeface="Verdana"/>
              </a:rPr>
              <a:t>between </a:t>
            </a:r>
            <a:r>
              <a:rPr sz="1500" spc="-5">
                <a:latin typeface="Verdana"/>
                <a:cs typeface="Verdana"/>
              </a:rPr>
              <a:t>the </a:t>
            </a:r>
            <a:r>
              <a:rPr sz="1500" spc="-10">
                <a:latin typeface="Verdana"/>
                <a:cs typeface="Verdana"/>
              </a:rPr>
              <a:t>Client </a:t>
            </a:r>
            <a:r>
              <a:rPr sz="1500">
                <a:latin typeface="Verdana"/>
                <a:cs typeface="Verdana"/>
              </a:rPr>
              <a:t>and </a:t>
            </a:r>
            <a:r>
              <a:rPr sz="1500" spc="-5">
                <a:latin typeface="Verdana"/>
                <a:cs typeface="Verdana"/>
              </a:rPr>
              <a:t>Capgemini </a:t>
            </a:r>
            <a:r>
              <a:rPr sz="1500">
                <a:latin typeface="Verdana"/>
                <a:cs typeface="Verdana"/>
              </a:rPr>
              <a:t>in </a:t>
            </a:r>
            <a:r>
              <a:rPr sz="1500" spc="-5">
                <a:latin typeface="Verdana"/>
                <a:cs typeface="Verdana"/>
              </a:rPr>
              <a:t>the project preparation phase; b) Capgemini </a:t>
            </a:r>
            <a:r>
              <a:rPr sz="1500">
                <a:latin typeface="Verdana"/>
                <a:cs typeface="Verdana"/>
              </a:rPr>
              <a:t>is </a:t>
            </a:r>
            <a:r>
              <a:rPr sz="1500" spc="-5">
                <a:latin typeface="Verdana"/>
                <a:cs typeface="Verdana"/>
              </a:rPr>
              <a:t>the sole  responsible of the failure to </a:t>
            </a:r>
            <a:r>
              <a:rPr sz="1500" spc="-10">
                <a:latin typeface="Verdana"/>
                <a:cs typeface="Verdana"/>
              </a:rPr>
              <a:t>meet service</a:t>
            </a:r>
            <a:r>
              <a:rPr sz="1500" spc="145">
                <a:latin typeface="Verdana"/>
                <a:cs typeface="Verdana"/>
              </a:rPr>
              <a:t> </a:t>
            </a:r>
            <a:r>
              <a:rPr sz="1500" spc="-10">
                <a:latin typeface="Verdana"/>
                <a:cs typeface="Verdana"/>
              </a:rPr>
              <a:t>levels.</a:t>
            </a:r>
            <a:endParaRPr sz="1500">
              <a:latin typeface="Verdana"/>
              <a:cs typeface="Verdana"/>
            </a:endParaRPr>
          </a:p>
          <a:p>
            <a:pPr marL="355600" marR="5080" indent="-342900" algn="just">
              <a:lnSpc>
                <a:spcPct val="100000"/>
              </a:lnSpc>
              <a:spcBef>
                <a:spcPts val="300"/>
              </a:spcBef>
              <a:buClr>
                <a:srgbClr val="5B9BD4"/>
              </a:buClr>
              <a:buSzPct val="50000"/>
              <a:buFont typeface="Webdings"/>
              <a:buChar char=""/>
              <a:tabLst>
                <a:tab pos="355600" algn="l"/>
              </a:tabLst>
            </a:pPr>
            <a:r>
              <a:rPr sz="1500" spc="-10">
                <a:latin typeface="Verdana"/>
                <a:cs typeface="Verdana"/>
              </a:rPr>
              <a:t>Regarding Penalties </a:t>
            </a:r>
            <a:r>
              <a:rPr sz="1500" spc="-5">
                <a:latin typeface="Verdana"/>
                <a:cs typeface="Verdana"/>
              </a:rPr>
              <a:t>amounts we are assuming that could be subject of discussion </a:t>
            </a:r>
            <a:r>
              <a:rPr sz="1500">
                <a:latin typeface="Verdana"/>
                <a:cs typeface="Verdana"/>
              </a:rPr>
              <a:t>among </a:t>
            </a:r>
            <a:r>
              <a:rPr sz="1500" spc="-5">
                <a:latin typeface="Verdana"/>
                <a:cs typeface="Verdana"/>
              </a:rPr>
              <a:t>the </a:t>
            </a:r>
            <a:r>
              <a:rPr sz="1500" spc="-10">
                <a:latin typeface="Verdana"/>
                <a:cs typeface="Verdana"/>
              </a:rPr>
              <a:t>Parties  during negotiation</a:t>
            </a:r>
            <a:r>
              <a:rPr sz="1500" spc="75">
                <a:latin typeface="Verdana"/>
                <a:cs typeface="Verdana"/>
              </a:rPr>
              <a:t> </a:t>
            </a:r>
            <a:r>
              <a:rPr sz="1500" spc="-10">
                <a:latin typeface="Verdana"/>
                <a:cs typeface="Verdana"/>
              </a:rPr>
              <a:t>phase.</a:t>
            </a:r>
            <a:endParaRPr sz="1500">
              <a:latin typeface="Verdana"/>
              <a:cs typeface="Verdana"/>
            </a:endParaRPr>
          </a:p>
          <a:p>
            <a:pPr marL="355600" marR="5080" indent="-342900" algn="just">
              <a:lnSpc>
                <a:spcPct val="100000"/>
              </a:lnSpc>
              <a:spcBef>
                <a:spcPts val="300"/>
              </a:spcBef>
              <a:buClr>
                <a:srgbClr val="5B9BD4"/>
              </a:buClr>
              <a:buSzPct val="50000"/>
              <a:buFont typeface="Webdings"/>
              <a:buChar char=""/>
              <a:tabLst>
                <a:tab pos="355600" algn="l"/>
              </a:tabLst>
            </a:pPr>
            <a:r>
              <a:rPr sz="1500" spc="-10">
                <a:latin typeface="Verdana"/>
                <a:cs typeface="Verdana"/>
              </a:rPr>
              <a:t>Regarding </a:t>
            </a:r>
            <a:r>
              <a:rPr sz="1500">
                <a:latin typeface="Verdana"/>
                <a:cs typeface="Verdana"/>
              </a:rPr>
              <a:t>Express </a:t>
            </a:r>
            <a:r>
              <a:rPr sz="1500" spc="-10">
                <a:latin typeface="Verdana"/>
                <a:cs typeface="Verdana"/>
              </a:rPr>
              <a:t>Resolution </a:t>
            </a:r>
            <a:r>
              <a:rPr sz="1500" spc="-5">
                <a:latin typeface="Verdana"/>
                <a:cs typeface="Verdana"/>
              </a:rPr>
              <a:t>clause we </a:t>
            </a:r>
            <a:r>
              <a:rPr sz="1500">
                <a:latin typeface="Verdana"/>
                <a:cs typeface="Verdana"/>
              </a:rPr>
              <a:t>are </a:t>
            </a:r>
            <a:r>
              <a:rPr sz="1500" spc="-5">
                <a:latin typeface="Verdana"/>
                <a:cs typeface="Verdana"/>
              </a:rPr>
              <a:t>assuming that could be subject of discussion </a:t>
            </a:r>
            <a:r>
              <a:rPr sz="1500">
                <a:latin typeface="Verdana"/>
                <a:cs typeface="Verdana"/>
              </a:rPr>
              <a:t>among </a:t>
            </a:r>
            <a:r>
              <a:rPr sz="1500" spc="-5">
                <a:latin typeface="Verdana"/>
                <a:cs typeface="Verdana"/>
              </a:rPr>
              <a:t>the  </a:t>
            </a:r>
            <a:r>
              <a:rPr sz="1500" spc="-10">
                <a:latin typeface="Verdana"/>
                <a:cs typeface="Verdana"/>
              </a:rPr>
              <a:t>Parties during negotiation</a:t>
            </a:r>
            <a:r>
              <a:rPr sz="1500" spc="100">
                <a:latin typeface="Verdana"/>
                <a:cs typeface="Verdana"/>
              </a:rPr>
              <a:t> </a:t>
            </a:r>
            <a:r>
              <a:rPr sz="1500" spc="-10">
                <a:latin typeface="Verdana"/>
                <a:cs typeface="Verdana"/>
              </a:rPr>
              <a:t>phase.</a:t>
            </a:r>
            <a:endParaRPr sz="1500">
              <a:latin typeface="Verdana"/>
              <a:cs typeface="Verdana"/>
            </a:endParaRPr>
          </a:p>
          <a:p>
            <a:pPr marL="355600" indent="-342900" algn="just">
              <a:lnSpc>
                <a:spcPct val="100000"/>
              </a:lnSpc>
              <a:spcBef>
                <a:spcPts val="300"/>
              </a:spcBef>
              <a:buClr>
                <a:srgbClr val="5B9BD4"/>
              </a:buClr>
              <a:buSzPct val="50000"/>
              <a:buFont typeface="Webdings"/>
              <a:buChar char=""/>
              <a:tabLst>
                <a:tab pos="355600" algn="l"/>
              </a:tabLst>
            </a:pPr>
            <a:r>
              <a:rPr sz="1500" spc="-10">
                <a:latin typeface="Verdana"/>
                <a:cs typeface="Verdana"/>
              </a:rPr>
              <a:t>Everything stated in </a:t>
            </a:r>
            <a:r>
              <a:rPr sz="1500" spc="-5">
                <a:latin typeface="Verdana"/>
                <a:cs typeface="Verdana"/>
              </a:rPr>
              <a:t>the </a:t>
            </a:r>
            <a:r>
              <a:rPr sz="1500" spc="-10">
                <a:latin typeface="Verdana"/>
                <a:cs typeface="Verdana"/>
              </a:rPr>
              <a:t>Client </a:t>
            </a:r>
            <a:r>
              <a:rPr sz="1500" spc="-70">
                <a:latin typeface="Verdana"/>
                <a:cs typeface="Verdana"/>
              </a:rPr>
              <a:t>RFP, </a:t>
            </a:r>
            <a:r>
              <a:rPr sz="1500" spc="-10">
                <a:latin typeface="Verdana"/>
                <a:cs typeface="Verdana"/>
              </a:rPr>
              <a:t>except when different </a:t>
            </a:r>
            <a:r>
              <a:rPr sz="1500" spc="-5">
                <a:latin typeface="Verdana"/>
                <a:cs typeface="Verdana"/>
              </a:rPr>
              <a:t>described </a:t>
            </a:r>
            <a:r>
              <a:rPr sz="1500" spc="-10">
                <a:latin typeface="Verdana"/>
                <a:cs typeface="Verdana"/>
              </a:rPr>
              <a:t>into </a:t>
            </a:r>
            <a:r>
              <a:rPr sz="1500" spc="-5">
                <a:latin typeface="Verdana"/>
                <a:cs typeface="Verdana"/>
              </a:rPr>
              <a:t>this </a:t>
            </a:r>
            <a:r>
              <a:rPr sz="1500" spc="-10">
                <a:latin typeface="Verdana"/>
                <a:cs typeface="Verdana"/>
              </a:rPr>
              <a:t>document, is</a:t>
            </a:r>
            <a:r>
              <a:rPr sz="1500" spc="5">
                <a:latin typeface="Verdana"/>
                <a:cs typeface="Verdana"/>
              </a:rPr>
              <a:t> </a:t>
            </a:r>
            <a:r>
              <a:rPr sz="1500" spc="-5">
                <a:latin typeface="Verdana"/>
                <a:cs typeface="Verdana"/>
              </a:rPr>
              <a:t>accepted</a:t>
            </a:r>
            <a:endParaRPr sz="1500">
              <a:latin typeface="Verdana"/>
              <a:cs typeface="Verdana"/>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04800"/>
            <a:ext cx="7024320" cy="412934"/>
          </a:xfrm>
          <a:prstGeom prst="rect">
            <a:avLst/>
          </a:prstGeom>
        </p:spPr>
        <p:txBody>
          <a:bodyPr vert="horz" wrap="square" lIns="0" tIns="12700" rIns="0" bIns="0" rtlCol="0">
            <a:spAutoFit/>
          </a:bodyPr>
          <a:lstStyle/>
          <a:p>
            <a:pPr marL="12700">
              <a:lnSpc>
                <a:spcPct val="100000"/>
              </a:lnSpc>
              <a:spcBef>
                <a:spcPts val="100"/>
              </a:spcBef>
            </a:pPr>
            <a:r>
              <a:rPr lang="it-IT" sz="2600" spc="-10" err="1"/>
              <a:t>Topics</a:t>
            </a:r>
            <a:r>
              <a:rPr lang="it-IT" sz="2600" spc="-10"/>
              <a:t> </a:t>
            </a:r>
            <a:r>
              <a:rPr lang="it-IT" sz="2600" spc="-10" err="1"/>
              <a:t>discussed</a:t>
            </a:r>
            <a:r>
              <a:rPr lang="it-IT" sz="2600" spc="-10"/>
              <a:t> </a:t>
            </a:r>
            <a:r>
              <a:rPr lang="it-IT" sz="2600" spc="-10" err="1"/>
              <a:t>during</a:t>
            </a:r>
            <a:r>
              <a:rPr lang="it-IT" sz="2600" spc="-10"/>
              <a:t> Q&amp;A sessions</a:t>
            </a:r>
            <a:endParaRPr sz="2600"/>
          </a:p>
        </p:txBody>
      </p:sp>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3</a:t>
            </a:fld>
            <a:endParaRPr sz="800">
              <a:latin typeface="Verdana"/>
              <a:cs typeface="Verdana"/>
            </a:endParaRPr>
          </a:p>
        </p:txBody>
      </p:sp>
      <p:graphicFrame>
        <p:nvGraphicFramePr>
          <p:cNvPr id="6" name="Table 5">
            <a:extLst>
              <a:ext uri="{FF2B5EF4-FFF2-40B4-BE49-F238E27FC236}">
                <a16:creationId xmlns:a16="http://schemas.microsoft.com/office/drawing/2014/main" id="{FA24FF1B-4DEA-4186-81B7-929E7CB956E1}"/>
              </a:ext>
            </a:extLst>
          </p:cNvPr>
          <p:cNvGraphicFramePr>
            <a:graphicFrameLocks noGrp="1"/>
          </p:cNvGraphicFramePr>
          <p:nvPr>
            <p:extLst>
              <p:ext uri="{D42A27DB-BD31-4B8C-83A1-F6EECF244321}">
                <p14:modId xmlns:p14="http://schemas.microsoft.com/office/powerpoint/2010/main" val="3550667709"/>
              </p:ext>
            </p:extLst>
          </p:nvPr>
        </p:nvGraphicFramePr>
        <p:xfrm>
          <a:off x="278957" y="981664"/>
          <a:ext cx="11335709" cy="4822295"/>
        </p:xfrm>
        <a:graphic>
          <a:graphicData uri="http://schemas.openxmlformats.org/drawingml/2006/table">
            <a:tbl>
              <a:tblPr/>
              <a:tblGrid>
                <a:gridCol w="473518">
                  <a:extLst>
                    <a:ext uri="{9D8B030D-6E8A-4147-A177-3AD203B41FA5}">
                      <a16:colId xmlns:a16="http://schemas.microsoft.com/office/drawing/2014/main" val="2578951702"/>
                    </a:ext>
                  </a:extLst>
                </a:gridCol>
                <a:gridCol w="457200">
                  <a:extLst>
                    <a:ext uri="{9D8B030D-6E8A-4147-A177-3AD203B41FA5}">
                      <a16:colId xmlns:a16="http://schemas.microsoft.com/office/drawing/2014/main" val="701253014"/>
                    </a:ext>
                  </a:extLst>
                </a:gridCol>
                <a:gridCol w="969999">
                  <a:extLst>
                    <a:ext uri="{9D8B030D-6E8A-4147-A177-3AD203B41FA5}">
                      <a16:colId xmlns:a16="http://schemas.microsoft.com/office/drawing/2014/main" val="3146263929"/>
                    </a:ext>
                  </a:extLst>
                </a:gridCol>
                <a:gridCol w="4561368">
                  <a:extLst>
                    <a:ext uri="{9D8B030D-6E8A-4147-A177-3AD203B41FA5}">
                      <a16:colId xmlns:a16="http://schemas.microsoft.com/office/drawing/2014/main" val="2122529668"/>
                    </a:ext>
                  </a:extLst>
                </a:gridCol>
                <a:gridCol w="4873624">
                  <a:extLst>
                    <a:ext uri="{9D8B030D-6E8A-4147-A177-3AD203B41FA5}">
                      <a16:colId xmlns:a16="http://schemas.microsoft.com/office/drawing/2014/main" val="1788402858"/>
                    </a:ext>
                  </a:extLst>
                </a:gridCol>
              </a:tblGrid>
              <a:tr h="444190">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ID</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Page</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Document</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latin typeface="+mn-lt"/>
                        </a:rPr>
                        <a:t>Question</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Supplier Response</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550563024"/>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1</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79</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In relation to the different type of test, could you please explain what is it meant by "Performance and Load" test?</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0" i="0" u="none" strike="noStrike" noProof="0">
                          <a:solidFill>
                            <a:srgbClr val="000000"/>
                          </a:solidFill>
                          <a:effectLst/>
                          <a:latin typeface="+mn-lt"/>
                        </a:rPr>
                        <a:t> </a:t>
                      </a:r>
                      <a:r>
                        <a:rPr lang="en-AU" sz="1100" b="1" i="0" u="none" strike="noStrike" noProof="0">
                          <a:solidFill>
                            <a:srgbClr val="000000"/>
                          </a:solidFill>
                          <a:effectLst/>
                          <a:latin typeface="+mn-lt"/>
                        </a:rPr>
                        <a:t>Usually performance test are executed on a dedicated sandbox and after having notified the activity to Salesforce.com. Before planning any performance tests we need to have a clear vision of performance metrics, targets and performance issues detected by Marelli and certified by SFDC that have required a specific assessment and recommendations</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191731991"/>
                  </a:ext>
                </a:extLst>
              </a:tr>
              <a:tr h="362079">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2</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84</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With reference to environment Sandbox recommendations, we only have one Partial Sandbox and two full (one in addition to prod), how will you modify the recommendation according to this information?</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lnSpc>
                          <a:spcPct val="100000"/>
                        </a:lnSpc>
                        <a:spcBef>
                          <a:spcPts val="0"/>
                        </a:spcBef>
                        <a:spcAft>
                          <a:spcPts val="0"/>
                        </a:spcAft>
                        <a:buNone/>
                      </a:pPr>
                      <a:r>
                        <a:rPr lang="en-AU" sz="1100" b="1" i="0" u="none" strike="noStrike" noProof="0">
                          <a:effectLst/>
                          <a:latin typeface="+mn-lt"/>
                        </a:rPr>
                        <a:t>We generally recommend to have different sandboxes for Dev, QA, UAT, Data Load. This is to ensure that the functionalities are tested thoroughly, that the Data load checks are executed successfully and that it is possible to have separate environments for project and AMS normal running activities.</a:t>
                      </a:r>
                    </a:p>
                    <a:p>
                      <a:pPr lvl="0" algn="l">
                        <a:lnSpc>
                          <a:spcPct val="100000"/>
                        </a:lnSpc>
                        <a:spcBef>
                          <a:spcPts val="0"/>
                        </a:spcBef>
                        <a:spcAft>
                          <a:spcPts val="0"/>
                        </a:spcAft>
                        <a:buNone/>
                      </a:pPr>
                      <a:r>
                        <a:rPr lang="en-AU" sz="1100" b="1" i="0" u="none" strike="noStrike" noProof="0">
                          <a:effectLst/>
                          <a:latin typeface="+mn-lt"/>
                        </a:rPr>
                        <a:t>In this context we recommend to procure 2 sandboxes for QA and UAT, one with full copy from production environment.</a:t>
                      </a:r>
                      <a:endParaRPr lang="en-US" sz="1100" b="1">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308389964"/>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3</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93</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What do you mean with "Integration Adjustment" between Year Summary and new Year Summary object?</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lnSpc>
                          <a:spcPct val="100000"/>
                        </a:lnSpc>
                        <a:spcBef>
                          <a:spcPts val="0"/>
                        </a:spcBef>
                        <a:spcAft>
                          <a:spcPts val="0"/>
                        </a:spcAft>
                        <a:buNone/>
                      </a:pPr>
                      <a:r>
                        <a:rPr lang="en-AU" sz="1100" b="0" i="0" u="none" strike="noStrike" noProof="0">
                          <a:effectLst/>
                          <a:latin typeface="+mn-lt"/>
                        </a:rPr>
                        <a:t> </a:t>
                      </a:r>
                      <a:r>
                        <a:rPr lang="en-AU" sz="1100" b="1" i="0" u="none" strike="noStrike" noProof="0">
                          <a:effectLst/>
                          <a:latin typeface="+mn-lt"/>
                        </a:rPr>
                        <a:t>Since the Vehicle forecast would be moved from the Year summary object to a newer one, the “Integration adjustments” refers to any potential integration changes that could arise out of this data model change </a:t>
                      </a:r>
                      <a:endParaRPr lang="en-US" sz="1100" b="1">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2668151290"/>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4</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93</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With reference to the second bullet, which kind of Data Adjustments could be considered in scope?</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lnSpc>
                          <a:spcPct val="100000"/>
                        </a:lnSpc>
                        <a:spcBef>
                          <a:spcPts val="0"/>
                        </a:spcBef>
                        <a:spcAft>
                          <a:spcPts val="0"/>
                        </a:spcAft>
                        <a:buNone/>
                      </a:pPr>
                      <a:r>
                        <a:rPr lang="en-AU" sz="1100" b="0" i="0" u="none" strike="noStrike" noProof="0">
                          <a:effectLst/>
                          <a:latin typeface="+mn-lt"/>
                        </a:rPr>
                        <a:t> </a:t>
                      </a:r>
                      <a:r>
                        <a:rPr lang="en-AU" sz="1100" b="1" i="0" u="none" strike="noStrike" noProof="0">
                          <a:effectLst/>
                          <a:latin typeface="+mn-lt"/>
                        </a:rPr>
                        <a:t>The platform optimization would result in changes in the data model, e.g., changing a lookup to master-detail. The changes in the data model would potentially result in data adjustments (e.g. since we change the data model, existing data might need to be adjusted accordingly). </a:t>
                      </a:r>
                    </a:p>
                    <a:p>
                      <a:pPr lvl="0" algn="l">
                        <a:lnSpc>
                          <a:spcPct val="100000"/>
                        </a:lnSpc>
                        <a:spcBef>
                          <a:spcPts val="0"/>
                        </a:spcBef>
                        <a:spcAft>
                          <a:spcPts val="0"/>
                        </a:spcAft>
                        <a:buNone/>
                      </a:pPr>
                      <a:r>
                        <a:rPr lang="en-AU" sz="1100" b="1" i="0" u="none" strike="noStrike" noProof="0">
                          <a:effectLst/>
                          <a:latin typeface="+mn-lt"/>
                        </a:rPr>
                        <a:t>Capgemini would consult and assist Marelli on the required data adjustments. However, preparing the data for these adjustments would be Marelli’s responsibility</a:t>
                      </a:r>
                      <a:r>
                        <a:rPr lang="en-AU" sz="1100" b="0" i="0" u="none" strike="noStrike" noProof="0">
                          <a:effectLst/>
                          <a:latin typeface="+mn-lt"/>
                        </a:rPr>
                        <a:t>.</a:t>
                      </a:r>
                      <a:endParaRPr lang="en-US" sz="1100">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521001907"/>
                  </a:ext>
                </a:extLst>
              </a:tr>
              <a:tr h="362079">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5</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93</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In there section "General Platform Optimization -Assumptions" it is mentioned Standard Product Object, do you refer to Standard product catalog or only dependent picklist feature?</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lnSpc>
                          <a:spcPct val="100000"/>
                        </a:lnSpc>
                        <a:spcBef>
                          <a:spcPts val="0"/>
                        </a:spcBef>
                        <a:spcAft>
                          <a:spcPts val="0"/>
                        </a:spcAft>
                        <a:buNone/>
                      </a:pPr>
                      <a:r>
                        <a:rPr lang="en-AU" sz="1100" b="0" i="0" u="none" strike="noStrike" noProof="0">
                          <a:effectLst/>
                          <a:latin typeface="+mn-lt"/>
                        </a:rPr>
                        <a:t> </a:t>
                      </a:r>
                      <a:r>
                        <a:rPr lang="en-AU" sz="1100" b="1" i="0" u="none" strike="noStrike" noProof="0">
                          <a:effectLst/>
                          <a:latin typeface="+mn-lt"/>
                        </a:rPr>
                        <a:t>Please refer to slide 92, that has been reviewed based on topics discussed during the orals session</a:t>
                      </a:r>
                      <a:endParaRPr lang="en-US" sz="1100" b="1">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220767290"/>
                  </a:ext>
                </a:extLst>
              </a:tr>
            </a:tbl>
          </a:graphicData>
        </a:graphic>
      </p:graphicFrame>
    </p:spTree>
    <p:extLst>
      <p:ext uri="{BB962C8B-B14F-4D97-AF65-F5344CB8AC3E}">
        <p14:creationId xmlns:p14="http://schemas.microsoft.com/office/powerpoint/2010/main" val="146122986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4</a:t>
            </a:fld>
            <a:endParaRPr sz="800">
              <a:latin typeface="Verdana"/>
              <a:cs typeface="Verdana"/>
            </a:endParaRPr>
          </a:p>
        </p:txBody>
      </p:sp>
      <p:graphicFrame>
        <p:nvGraphicFramePr>
          <p:cNvPr id="6" name="Table 5">
            <a:extLst>
              <a:ext uri="{FF2B5EF4-FFF2-40B4-BE49-F238E27FC236}">
                <a16:creationId xmlns:a16="http://schemas.microsoft.com/office/drawing/2014/main" id="{262D5C72-B8CC-4C8C-B1D6-9F4D3E10E010}"/>
              </a:ext>
            </a:extLst>
          </p:cNvPr>
          <p:cNvGraphicFramePr>
            <a:graphicFrameLocks noGrp="1"/>
          </p:cNvGraphicFramePr>
          <p:nvPr>
            <p:extLst>
              <p:ext uri="{D42A27DB-BD31-4B8C-83A1-F6EECF244321}">
                <p14:modId xmlns:p14="http://schemas.microsoft.com/office/powerpoint/2010/main" val="347719969"/>
              </p:ext>
            </p:extLst>
          </p:nvPr>
        </p:nvGraphicFramePr>
        <p:xfrm>
          <a:off x="212281" y="1215856"/>
          <a:ext cx="11335707" cy="3943299"/>
        </p:xfrm>
        <a:graphic>
          <a:graphicData uri="http://schemas.openxmlformats.org/drawingml/2006/table">
            <a:tbl>
              <a:tblPr/>
              <a:tblGrid>
                <a:gridCol w="380261">
                  <a:extLst>
                    <a:ext uri="{9D8B030D-6E8A-4147-A177-3AD203B41FA5}">
                      <a16:colId xmlns:a16="http://schemas.microsoft.com/office/drawing/2014/main" val="2578951702"/>
                    </a:ext>
                  </a:extLst>
                </a:gridCol>
                <a:gridCol w="445681">
                  <a:extLst>
                    <a:ext uri="{9D8B030D-6E8A-4147-A177-3AD203B41FA5}">
                      <a16:colId xmlns:a16="http://schemas.microsoft.com/office/drawing/2014/main" val="701253014"/>
                    </a:ext>
                  </a:extLst>
                </a:gridCol>
                <a:gridCol w="1074773">
                  <a:extLst>
                    <a:ext uri="{9D8B030D-6E8A-4147-A177-3AD203B41FA5}">
                      <a16:colId xmlns:a16="http://schemas.microsoft.com/office/drawing/2014/main" val="3146263929"/>
                    </a:ext>
                  </a:extLst>
                </a:gridCol>
                <a:gridCol w="4561368">
                  <a:extLst>
                    <a:ext uri="{9D8B030D-6E8A-4147-A177-3AD203B41FA5}">
                      <a16:colId xmlns:a16="http://schemas.microsoft.com/office/drawing/2014/main" val="2122529668"/>
                    </a:ext>
                  </a:extLst>
                </a:gridCol>
                <a:gridCol w="4873624">
                  <a:extLst>
                    <a:ext uri="{9D8B030D-6E8A-4147-A177-3AD203B41FA5}">
                      <a16:colId xmlns:a16="http://schemas.microsoft.com/office/drawing/2014/main" val="1788402858"/>
                    </a:ext>
                  </a:extLst>
                </a:gridCol>
              </a:tblGrid>
              <a:tr h="403394">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ID</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Page</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latin typeface="+mn-lt"/>
                        </a:rPr>
                        <a:t>Document</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latin typeface="+mn-lt"/>
                        </a:rPr>
                        <a:t>Question</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latin typeface="+mn-lt"/>
                        </a:rPr>
                        <a:t>Supplier </a:t>
                      </a:r>
                      <a:r>
                        <a:rPr lang="it-IT" sz="1100" b="1" u="none" strike="noStrike" err="1">
                          <a:solidFill>
                            <a:schemeClr val="bg1"/>
                          </a:solidFill>
                          <a:effectLst/>
                          <a:latin typeface="+mn-lt"/>
                        </a:rPr>
                        <a:t>Response</a:t>
                      </a:r>
                      <a:endParaRPr lang="it-IT" sz="1100" b="1" i="0" u="none" strike="noStrike">
                        <a:solidFill>
                          <a:schemeClr val="bg1"/>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550563024"/>
                  </a:ext>
                </a:extLst>
              </a:tr>
              <a:tr h="482772">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6</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99</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In relation to the assumption "This rollout will happen for BLs (</a:t>
                      </a:r>
                      <a:r>
                        <a:rPr lang="en-AU" sz="1100" u="none" strike="noStrike" noProof="0" err="1">
                          <a:effectLst/>
                          <a:latin typeface="+mn-lt"/>
                        </a:rPr>
                        <a:t>ePW,PW,GTS</a:t>
                      </a:r>
                      <a:r>
                        <a:rPr lang="en-AU" sz="1100" u="none" strike="noStrike" noProof="0">
                          <a:effectLst/>
                          <a:latin typeface="+mn-lt"/>
                        </a:rPr>
                        <a:t>) in Italy only. Supported currency will be EUR.", what is the meaning of this sentence? Please consider that this will be a Worldwide project involving users from different countries and official Marelli currency are now three and not only EUR (JPY, USD, EUR)</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1" i="0" u="none" strike="noStrike" noProof="0">
                          <a:solidFill>
                            <a:schemeClr val="tx1"/>
                          </a:solidFill>
                          <a:effectLst/>
                          <a:latin typeface="+mn-lt"/>
                        </a:rPr>
                        <a:t>Mistake in the offer, we assume that multi-currency and advanced multi currency settings have been enabled. </a:t>
                      </a:r>
                    </a:p>
                    <a:p>
                      <a:pPr algn="l" fontAlgn="ctr"/>
                      <a:r>
                        <a:rPr lang="en-AU" sz="1100" b="1" i="0" u="none" strike="noStrike" noProof="0">
                          <a:solidFill>
                            <a:schemeClr val="tx1"/>
                          </a:solidFill>
                          <a:effectLst/>
                          <a:latin typeface="+mn-lt"/>
                        </a:rPr>
                        <a:t>Moreover, we assume that Italy, U.S.A. and Japan will be in scope for BLs rollouts</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4145262138"/>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7</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101</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In relation to "Integration - 3 BU's", do you foresee any possible other integration procedure other than keep using .csv?</a:t>
                      </a:r>
                      <a:endParaRPr lang="en-AU" sz="1100" b="0" i="0" u="none" strike="noStrike" noProof="0">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just">
                        <a:buNone/>
                      </a:pPr>
                      <a:r>
                        <a:rPr lang="en-AU" sz="1100" b="1" u="none" strike="noStrike" noProof="0">
                          <a:effectLst/>
                          <a:latin typeface="+mn-lt"/>
                        </a:rPr>
                        <a:t>From a technical point of view, alternatives are supported (e.g. REST APIs, etc.). The proposal to use CSV has been done for coherence with the as-is approach, but alternatives can be evaluated based on customer guidelines</a:t>
                      </a:r>
                      <a:r>
                        <a:rPr lang="en-AU" sz="1100" u="none" strike="noStrike" noProof="0">
                          <a:effectLst/>
                          <a:latin typeface="+mn-lt"/>
                        </a:rPr>
                        <a:t>. </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2966217243"/>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8</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136</a:t>
                      </a:r>
                      <a:endParaRPr lang="it-IT"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u="none" strike="noStrike">
                          <a:effectLst/>
                          <a:latin typeface="+mn-lt"/>
                        </a:rPr>
                        <a:t>Could you explain why "Knowledge transfer between Capgemini project team and the provider of AMS is not included in the perimeter"?</a:t>
                      </a:r>
                      <a:endParaRPr lang="en-US" sz="1100" b="0"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just" fontAlgn="ctr"/>
                      <a:r>
                        <a:rPr lang="it-IT" sz="1100" b="1" u="none" strike="noStrike">
                          <a:effectLst/>
                          <a:latin typeface="+mn-lt"/>
                        </a:rPr>
                        <a:t>Knowledge transfer to AMS team </a:t>
                      </a:r>
                      <a:r>
                        <a:rPr lang="it-IT" sz="1100" b="1" u="none" strike="noStrike" err="1">
                          <a:effectLst/>
                          <a:latin typeface="+mn-lt"/>
                        </a:rPr>
                        <a:t>included</a:t>
                      </a:r>
                      <a:r>
                        <a:rPr lang="it-IT" sz="1100" b="1" u="none" strike="noStrike">
                          <a:effectLst/>
                          <a:latin typeface="+mn-lt"/>
                        </a:rPr>
                        <a:t> in </a:t>
                      </a:r>
                      <a:r>
                        <a:rPr lang="it-IT" sz="1100" b="1" u="none" strike="noStrike" err="1">
                          <a:effectLst/>
                          <a:latin typeface="+mn-lt"/>
                        </a:rPr>
                        <a:t>this</a:t>
                      </a:r>
                      <a:r>
                        <a:rPr lang="it-IT" sz="1100" b="1" u="none" strike="noStrike">
                          <a:effectLst/>
                          <a:latin typeface="+mn-lt"/>
                        </a:rPr>
                        <a:t> </a:t>
                      </a:r>
                      <a:r>
                        <a:rPr lang="it-IT" sz="1100" b="1" u="none" strike="noStrike" err="1">
                          <a:effectLst/>
                          <a:latin typeface="+mn-lt"/>
                        </a:rPr>
                        <a:t>proposal</a:t>
                      </a:r>
                      <a:r>
                        <a:rPr lang="it-IT" sz="1100" b="1" u="none" strike="noStrike">
                          <a:effectLst/>
                          <a:latin typeface="+mn-lt"/>
                        </a:rPr>
                        <a:t>, </a:t>
                      </a:r>
                      <a:r>
                        <a:rPr lang="it-IT" sz="1100" b="1" u="none" strike="noStrike" err="1">
                          <a:effectLst/>
                          <a:latin typeface="+mn-lt"/>
                        </a:rPr>
                        <a:t>assuming</a:t>
                      </a:r>
                      <a:r>
                        <a:rPr lang="it-IT" sz="1100" b="1" u="none" strike="noStrike">
                          <a:effectLst/>
                          <a:latin typeface="+mn-lt"/>
                        </a:rPr>
                        <a:t> a maximum of 10 </a:t>
                      </a:r>
                      <a:r>
                        <a:rPr lang="it-IT" sz="1100" b="1" u="none" strike="noStrike" err="1">
                          <a:effectLst/>
                          <a:latin typeface="+mn-lt"/>
                        </a:rPr>
                        <a:t>handover</a:t>
                      </a:r>
                      <a:r>
                        <a:rPr lang="it-IT" sz="1100" b="1" u="none" strike="noStrike">
                          <a:effectLst/>
                          <a:latin typeface="+mn-lt"/>
                        </a:rPr>
                        <a:t> sessions to AMS provider for </a:t>
                      </a:r>
                      <a:r>
                        <a:rPr lang="it-IT" sz="1100" b="1" u="none" strike="noStrike" err="1">
                          <a:effectLst/>
                          <a:latin typeface="+mn-lt"/>
                        </a:rPr>
                        <a:t>wave</a:t>
                      </a:r>
                      <a:r>
                        <a:rPr lang="it-IT" sz="1100" b="1" u="none" strike="noStrike">
                          <a:effectLst/>
                          <a:latin typeface="+mn-lt"/>
                        </a:rPr>
                        <a:t> 1</a:t>
                      </a:r>
                      <a:endParaRPr lang="it-IT" sz="1100" b="1" i="0" u="none" strike="noStrike">
                        <a:solidFill>
                          <a:srgbClr val="00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852522195"/>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09</a:t>
                      </a:r>
                      <a:endParaRPr lang="it-IT" sz="1100" b="1"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101</a:t>
                      </a:r>
                      <a:endParaRPr lang="it-IT" sz="1100" b="0"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noProof="0">
                          <a:effectLst/>
                          <a:latin typeface="+mn-lt"/>
                        </a:rPr>
                        <a:t>Please describe the RACI that you imagine for the integration activities </a:t>
                      </a:r>
                      <a:endParaRPr lang="en-AU" sz="1100" b="0" i="0" u="none" strike="noStrike" noProof="0">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1" i="0" u="none" strike="noStrike" noProof="0">
                          <a:solidFill>
                            <a:srgbClr val="000000"/>
                          </a:solidFill>
                          <a:effectLst/>
                          <a:latin typeface="+mn-lt"/>
                        </a:rPr>
                        <a:t>We expect that Capgemini team will be accountable to develop  interfaces after having defined an Interface agreement with Marelli Focal Points. Marelli will supervise and coordinate the integration test and manage 3</a:t>
                      </a:r>
                      <a:r>
                        <a:rPr lang="en-AU" sz="1100" b="1" i="0" u="none" strike="noStrike" baseline="30000" noProof="0">
                          <a:solidFill>
                            <a:srgbClr val="000000"/>
                          </a:solidFill>
                          <a:effectLst/>
                          <a:latin typeface="+mn-lt"/>
                        </a:rPr>
                        <a:t>rd</a:t>
                      </a:r>
                      <a:r>
                        <a:rPr lang="en-AU" sz="1100" b="1" i="0" u="none" strike="noStrike" noProof="0">
                          <a:solidFill>
                            <a:srgbClr val="000000"/>
                          </a:solidFill>
                          <a:effectLst/>
                          <a:latin typeface="+mn-lt"/>
                        </a:rPr>
                        <a:t> Parties will release components from legacy systems (ERP, etc.)</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3045801294"/>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latin typeface="+mn-lt"/>
                        </a:rPr>
                        <a:t>010</a:t>
                      </a:r>
                      <a:endParaRPr lang="it-IT" sz="1100" b="1"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latin typeface="+mn-lt"/>
                        </a:rPr>
                        <a:t>101</a:t>
                      </a:r>
                      <a:endParaRPr lang="it-IT" sz="1100" b="0"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latin typeface="+mn-lt"/>
                        </a:rPr>
                        <a:t>1. Technical Offer_Capgemini_Salesforce_v1.0</a:t>
                      </a:r>
                      <a:endParaRPr lang="en-US" sz="1100" b="0"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a:effectLst/>
                          <a:latin typeface="+mn-lt"/>
                        </a:rPr>
                        <a:t>in case csv export is not feasible, do you foresee any alternative integration workflow that you could imagine to establish for integration of data from e.g. GPICS, IFS or SAP Business One; if so, please clarify e.g. if you plan to direcly access the target system for any call, or you you envisage any kind of datacapture strategy, or if you imagine alternate machanism (e.g. periodic data poll &amp; cache strategy, etc.) or combinations thereof</a:t>
                      </a:r>
                      <a:endParaRPr lang="en-AU" sz="1100" b="0" i="0" u="none" strike="noStrike">
                        <a:solidFill>
                          <a:srgbClr val="FF0000"/>
                        </a:solidFill>
                        <a:effectLst/>
                        <a:latin typeface="+mn-lt"/>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a:effectLst/>
                          <a:latin typeface="+mn-lt"/>
                        </a:rPr>
                        <a:t> </a:t>
                      </a:r>
                      <a:r>
                        <a:rPr lang="en-AU" sz="1100" b="1" i="0" u="none" strike="noStrike" noProof="0">
                          <a:solidFill>
                            <a:srgbClr val="000000"/>
                          </a:solidFill>
                          <a:effectLst/>
                          <a:latin typeface="+mn-lt"/>
                          <a:ea typeface="+mn-ea"/>
                          <a:cs typeface="+mn-cs"/>
                        </a:rPr>
                        <a:t>We have considered CSV file but we can look at alternative approaches such like periodic poll etc. We can study this during the discovery phase and accordingly propose a solution</a:t>
                      </a:r>
                      <a:endParaRPr lang="en-AU" sz="1100" b="1" i="0" u="none" strike="noStrike">
                        <a:solidFill>
                          <a:srgbClr val="000000"/>
                        </a:solidFill>
                        <a:effectLst/>
                        <a:latin typeface="+mn-lt"/>
                        <a:ea typeface="+mn-ea"/>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530579136"/>
                  </a:ext>
                </a:extLst>
              </a:tr>
            </a:tbl>
          </a:graphicData>
        </a:graphic>
      </p:graphicFrame>
      <p:sp>
        <p:nvSpPr>
          <p:cNvPr id="9" name="object 2">
            <a:extLst>
              <a:ext uri="{FF2B5EF4-FFF2-40B4-BE49-F238E27FC236}">
                <a16:creationId xmlns:a16="http://schemas.microsoft.com/office/drawing/2014/main" id="{C98B077B-3E0F-4687-8E63-765ED7BD707A}"/>
              </a:ext>
            </a:extLst>
          </p:cNvPr>
          <p:cNvSpPr txBox="1">
            <a:spLocks noGrp="1"/>
          </p:cNvSpPr>
          <p:nvPr>
            <p:ph type="title"/>
          </p:nvPr>
        </p:nvSpPr>
        <p:spPr>
          <a:xfrm>
            <a:off x="214680" y="304800"/>
            <a:ext cx="7024320" cy="412934"/>
          </a:xfrm>
          <a:prstGeom prst="rect">
            <a:avLst/>
          </a:prstGeom>
        </p:spPr>
        <p:txBody>
          <a:bodyPr vert="horz" wrap="square" lIns="0" tIns="12700" rIns="0" bIns="0" rtlCol="0">
            <a:spAutoFit/>
          </a:bodyPr>
          <a:lstStyle/>
          <a:p>
            <a:pPr marL="12700">
              <a:lnSpc>
                <a:spcPct val="100000"/>
              </a:lnSpc>
              <a:spcBef>
                <a:spcPts val="100"/>
              </a:spcBef>
            </a:pPr>
            <a:r>
              <a:rPr lang="it-IT" sz="2600" spc="-10" err="1"/>
              <a:t>Topics</a:t>
            </a:r>
            <a:r>
              <a:rPr lang="it-IT" sz="2600" spc="-10"/>
              <a:t> </a:t>
            </a:r>
            <a:r>
              <a:rPr lang="it-IT" sz="2600" spc="-10" err="1"/>
              <a:t>discussed</a:t>
            </a:r>
            <a:r>
              <a:rPr lang="it-IT" sz="2600" spc="-10"/>
              <a:t> </a:t>
            </a:r>
            <a:r>
              <a:rPr lang="it-IT" sz="2600" spc="-10" err="1"/>
              <a:t>during</a:t>
            </a:r>
            <a:r>
              <a:rPr lang="it-IT" sz="2600" spc="-10"/>
              <a:t> Q&amp;A sessions</a:t>
            </a:r>
            <a:endParaRPr sz="2600"/>
          </a:p>
        </p:txBody>
      </p:sp>
    </p:spTree>
    <p:extLst>
      <p:ext uri="{BB962C8B-B14F-4D97-AF65-F5344CB8AC3E}">
        <p14:creationId xmlns:p14="http://schemas.microsoft.com/office/powerpoint/2010/main" val="221444849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5</a:t>
            </a:fld>
            <a:endParaRPr sz="800">
              <a:latin typeface="Verdana"/>
              <a:cs typeface="Verdana"/>
            </a:endParaRPr>
          </a:p>
        </p:txBody>
      </p:sp>
      <p:graphicFrame>
        <p:nvGraphicFramePr>
          <p:cNvPr id="6" name="Table 5">
            <a:extLst>
              <a:ext uri="{FF2B5EF4-FFF2-40B4-BE49-F238E27FC236}">
                <a16:creationId xmlns:a16="http://schemas.microsoft.com/office/drawing/2014/main" id="{68D7B9B0-411C-486F-A2CD-31FAC3FEAE9D}"/>
              </a:ext>
            </a:extLst>
          </p:cNvPr>
          <p:cNvGraphicFramePr>
            <a:graphicFrameLocks noGrp="1"/>
          </p:cNvGraphicFramePr>
          <p:nvPr>
            <p:extLst>
              <p:ext uri="{D42A27DB-BD31-4B8C-83A1-F6EECF244321}">
                <p14:modId xmlns:p14="http://schemas.microsoft.com/office/powerpoint/2010/main" val="2809664690"/>
              </p:ext>
            </p:extLst>
          </p:nvPr>
        </p:nvGraphicFramePr>
        <p:xfrm>
          <a:off x="212281" y="1138775"/>
          <a:ext cx="11335709" cy="3427842"/>
        </p:xfrm>
        <a:graphic>
          <a:graphicData uri="http://schemas.openxmlformats.org/drawingml/2006/table">
            <a:tbl>
              <a:tblPr/>
              <a:tblGrid>
                <a:gridCol w="380262">
                  <a:extLst>
                    <a:ext uri="{9D8B030D-6E8A-4147-A177-3AD203B41FA5}">
                      <a16:colId xmlns:a16="http://schemas.microsoft.com/office/drawing/2014/main" val="2578951702"/>
                    </a:ext>
                  </a:extLst>
                </a:gridCol>
                <a:gridCol w="445682">
                  <a:extLst>
                    <a:ext uri="{9D8B030D-6E8A-4147-A177-3AD203B41FA5}">
                      <a16:colId xmlns:a16="http://schemas.microsoft.com/office/drawing/2014/main" val="701253014"/>
                    </a:ext>
                  </a:extLst>
                </a:gridCol>
                <a:gridCol w="1074773">
                  <a:extLst>
                    <a:ext uri="{9D8B030D-6E8A-4147-A177-3AD203B41FA5}">
                      <a16:colId xmlns:a16="http://schemas.microsoft.com/office/drawing/2014/main" val="3146263929"/>
                    </a:ext>
                  </a:extLst>
                </a:gridCol>
                <a:gridCol w="4561368">
                  <a:extLst>
                    <a:ext uri="{9D8B030D-6E8A-4147-A177-3AD203B41FA5}">
                      <a16:colId xmlns:a16="http://schemas.microsoft.com/office/drawing/2014/main" val="2122529668"/>
                    </a:ext>
                  </a:extLst>
                </a:gridCol>
                <a:gridCol w="4873624">
                  <a:extLst>
                    <a:ext uri="{9D8B030D-6E8A-4147-A177-3AD203B41FA5}">
                      <a16:colId xmlns:a16="http://schemas.microsoft.com/office/drawing/2014/main" val="1788402858"/>
                    </a:ext>
                  </a:extLst>
                </a:gridCol>
              </a:tblGrid>
              <a:tr h="394750">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rPr>
                        <a:t>ID</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rPr>
                        <a:t>Page</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rPr>
                        <a:t>Document</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rPr>
                        <a:t>Question</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rPr>
                        <a:t>Supplier </a:t>
                      </a:r>
                      <a:r>
                        <a:rPr lang="it-IT" sz="1100" b="1" u="none" strike="noStrike" err="1">
                          <a:solidFill>
                            <a:schemeClr val="bg1"/>
                          </a:solidFill>
                          <a:effectLst/>
                        </a:rPr>
                        <a:t>Response</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550563024"/>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11</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rPr>
                        <a:t>101</a:t>
                      </a:r>
                      <a:endParaRPr lang="it-IT"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rPr>
                        <a:t>1. Technical Offer_Capgemini_Salesforce_v1.0</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u="none" strike="noStrike">
                          <a:effectLst/>
                        </a:rPr>
                        <a:t>How would you treat the integration of a specifically weak/fragile legacy system which cannot support large amount of calls from third-party systems ?</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a:effectLst/>
                        </a:rPr>
                        <a:t> </a:t>
                      </a:r>
                      <a:r>
                        <a:rPr lang="en-AU" sz="1100" b="1" i="0" u="none" strike="noStrike" noProof="0">
                          <a:solidFill>
                            <a:srgbClr val="000000"/>
                          </a:solidFill>
                          <a:effectLst/>
                          <a:latin typeface="+mn-lt"/>
                          <a:ea typeface="+mn-ea"/>
                          <a:cs typeface="+mn-cs"/>
                        </a:rPr>
                        <a:t>If the legacy system cannot support large amount of calls from the third party systems, then we may have to extract the data on a pre- defined  polling strategy. This can be finalized during the discovery phase.</a:t>
                      </a:r>
                      <a:endParaRPr lang="en-AU" sz="1100" b="1" i="0" u="none" strike="noStrike">
                        <a:solidFill>
                          <a:srgbClr val="000000"/>
                        </a:solidFill>
                        <a:effectLst/>
                        <a:latin typeface="+mn-lt"/>
                        <a:ea typeface="+mn-ea"/>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83510392"/>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12</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rPr>
                        <a:t>101</a:t>
                      </a:r>
                      <a:endParaRPr lang="it-IT"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rPr>
                        <a:t>1. Technical Offer_Capgemini_Salesforce_v1.0</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u="none" strike="noStrike">
                          <a:effectLst/>
                        </a:rPr>
                        <a:t>How would you manage the impact of changes in the systems to be integrated after the integrations developed in this project are deployed into production ? </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a:effectLst/>
                        </a:rPr>
                        <a:t> </a:t>
                      </a:r>
                      <a:r>
                        <a:rPr lang="en-AU" sz="1100" b="1" i="0" u="none" strike="noStrike" noProof="0">
                          <a:solidFill>
                            <a:srgbClr val="000000"/>
                          </a:solidFill>
                          <a:effectLst/>
                          <a:latin typeface="+mn-lt"/>
                          <a:ea typeface="+mn-ea"/>
                          <a:cs typeface="+mn-cs"/>
                        </a:rPr>
                        <a:t>We will study the amount of changes and then do the impact analysis. Based on the impact we can do the changes to the interfaces.</a:t>
                      </a:r>
                    </a:p>
                    <a:p>
                      <a:pPr algn="l" fontAlgn="ctr"/>
                      <a:r>
                        <a:rPr lang="en-AU" sz="1100" b="1" i="0" u="none" strike="noStrike" noProof="0">
                          <a:solidFill>
                            <a:srgbClr val="000000"/>
                          </a:solidFill>
                          <a:effectLst/>
                          <a:latin typeface="+mn-lt"/>
                          <a:ea typeface="+mn-ea"/>
                          <a:cs typeface="+mn-cs"/>
                        </a:rPr>
                        <a:t>Another option is to use a middleware to de-couple changes on legacy systems, implement consistency check and exploit a structured approach to release change in the configuration</a:t>
                      </a:r>
                      <a:endParaRPr lang="en-AU" sz="1100" b="1" i="0" u="none" strike="noStrike">
                        <a:solidFill>
                          <a:srgbClr val="000000"/>
                        </a:solidFill>
                        <a:effectLst/>
                        <a:latin typeface="+mn-lt"/>
                        <a:ea typeface="+mn-ea"/>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3821842517"/>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13</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rPr>
                        <a:t>101</a:t>
                      </a:r>
                      <a:endParaRPr lang="it-IT"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rPr>
                        <a:t>1. Technical Offer_Capgemini_Salesforce_v1.0</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u="none" strike="noStrike">
                          <a:effectLst/>
                        </a:rPr>
                        <a:t>How would you monitor, log and enable reactions to errors in the integration layer once the system is in production ?</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u="none" strike="noStrike">
                          <a:effectLst/>
                        </a:rPr>
                        <a:t> </a:t>
                      </a:r>
                      <a:r>
                        <a:rPr lang="en-AU" sz="1100" b="1" i="0" u="none" strike="noStrike" noProof="0">
                          <a:solidFill>
                            <a:srgbClr val="000000"/>
                          </a:solidFill>
                          <a:effectLst/>
                          <a:latin typeface="+mn-lt"/>
                          <a:ea typeface="+mn-ea"/>
                          <a:cs typeface="+mn-cs"/>
                        </a:rPr>
                        <a:t>We can use MuleSoft alerts and also periodically check the dashboards</a:t>
                      </a:r>
                      <a:endParaRPr lang="en-AU" sz="1100" b="1" i="0" u="none" strike="noStrike">
                        <a:solidFill>
                          <a:srgbClr val="000000"/>
                        </a:solidFill>
                        <a:effectLst/>
                        <a:latin typeface="+mn-lt"/>
                        <a:ea typeface="+mn-ea"/>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492871225"/>
                  </a:ext>
                </a:extLst>
              </a:tr>
              <a:tr h="482772">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14</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u="none" strike="noStrike">
                          <a:effectLst/>
                        </a:rPr>
                        <a:t>101</a:t>
                      </a:r>
                      <a:endParaRPr lang="it-IT"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u="none" strike="noStrike">
                          <a:effectLst/>
                        </a:rPr>
                        <a:t>1. Technical Offer_Capgemini_Salesforce_v1.0</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u="none" strike="noStrike">
                          <a:effectLst/>
                        </a:rPr>
                        <a:t>Would your approach to integration still be feasible if, instead of providing access to legacy system, Marelli is willing to provide access to a pre-existing integration middleware able to expose legacy system data via APIs and/or ability to host integration services ?  What would be the impact on estimated effort ?</a:t>
                      </a:r>
                      <a:endParaRPr lang="en-US" sz="1100" b="0"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buNone/>
                      </a:pPr>
                      <a:r>
                        <a:rPr lang="en-AU" sz="1100" b="1" i="0" u="none" strike="noStrike" noProof="0">
                          <a:solidFill>
                            <a:srgbClr val="000000"/>
                          </a:solidFill>
                          <a:effectLst/>
                          <a:latin typeface="+mn-lt"/>
                          <a:ea typeface="+mn-ea"/>
                          <a:cs typeface="+mn-cs"/>
                        </a:rPr>
                        <a:t>If Marelli has a pre-existing middleware which can expose the data through APIs then we can use connectors. Regarding the effort we can check during the discovery phase.</a:t>
                      </a:r>
                      <a:endParaRPr lang="en-AU" sz="1100" b="1" i="0" u="none" strike="noStrike">
                        <a:solidFill>
                          <a:srgbClr val="000000"/>
                        </a:solidFill>
                        <a:effectLst/>
                        <a:latin typeface="+mn-lt"/>
                        <a:ea typeface="+mn-ea"/>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068631343"/>
                  </a:ext>
                </a:extLst>
              </a:tr>
            </a:tbl>
          </a:graphicData>
        </a:graphic>
      </p:graphicFrame>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70243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a:t>Topics discussed during Q&amp;A sessions</a:t>
            </a:r>
            <a:endParaRPr lang="en-US" sz="2600" kern="0"/>
          </a:p>
        </p:txBody>
      </p:sp>
    </p:spTree>
    <p:extLst>
      <p:ext uri="{BB962C8B-B14F-4D97-AF65-F5344CB8AC3E}">
        <p14:creationId xmlns:p14="http://schemas.microsoft.com/office/powerpoint/2010/main" val="369192818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6</a:t>
            </a:fld>
            <a:endParaRPr sz="800">
              <a:latin typeface="Verdana"/>
              <a:cs typeface="Verdana"/>
            </a:endParaRPr>
          </a:p>
        </p:txBody>
      </p:sp>
      <p:graphicFrame>
        <p:nvGraphicFramePr>
          <p:cNvPr id="6" name="Table 5">
            <a:extLst>
              <a:ext uri="{FF2B5EF4-FFF2-40B4-BE49-F238E27FC236}">
                <a16:creationId xmlns:a16="http://schemas.microsoft.com/office/drawing/2014/main" id="{68D7B9B0-411C-486F-A2CD-31FAC3FEAE9D}"/>
              </a:ext>
            </a:extLst>
          </p:cNvPr>
          <p:cNvGraphicFramePr>
            <a:graphicFrameLocks noGrp="1"/>
          </p:cNvGraphicFramePr>
          <p:nvPr>
            <p:extLst>
              <p:ext uri="{D42A27DB-BD31-4B8C-83A1-F6EECF244321}">
                <p14:modId xmlns:p14="http://schemas.microsoft.com/office/powerpoint/2010/main" val="1413838104"/>
              </p:ext>
            </p:extLst>
          </p:nvPr>
        </p:nvGraphicFramePr>
        <p:xfrm>
          <a:off x="254069" y="990600"/>
          <a:ext cx="11446319" cy="5744925"/>
        </p:xfrm>
        <a:graphic>
          <a:graphicData uri="http://schemas.openxmlformats.org/drawingml/2006/table">
            <a:tbl>
              <a:tblPr/>
              <a:tblGrid>
                <a:gridCol w="399687">
                  <a:extLst>
                    <a:ext uri="{9D8B030D-6E8A-4147-A177-3AD203B41FA5}">
                      <a16:colId xmlns:a16="http://schemas.microsoft.com/office/drawing/2014/main" val="2578951702"/>
                    </a:ext>
                  </a:extLst>
                </a:gridCol>
                <a:gridCol w="912032">
                  <a:extLst>
                    <a:ext uri="{9D8B030D-6E8A-4147-A177-3AD203B41FA5}">
                      <a16:colId xmlns:a16="http://schemas.microsoft.com/office/drawing/2014/main" val="3146263929"/>
                    </a:ext>
                  </a:extLst>
                </a:gridCol>
                <a:gridCol w="3006212">
                  <a:extLst>
                    <a:ext uri="{9D8B030D-6E8A-4147-A177-3AD203B41FA5}">
                      <a16:colId xmlns:a16="http://schemas.microsoft.com/office/drawing/2014/main" val="2122529668"/>
                    </a:ext>
                  </a:extLst>
                </a:gridCol>
                <a:gridCol w="7128388">
                  <a:extLst>
                    <a:ext uri="{9D8B030D-6E8A-4147-A177-3AD203B41FA5}">
                      <a16:colId xmlns:a16="http://schemas.microsoft.com/office/drawing/2014/main" val="1788402858"/>
                    </a:ext>
                  </a:extLst>
                </a:gridCol>
              </a:tblGrid>
              <a:tr h="364873">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solidFill>
                            <a:schemeClr val="bg1"/>
                          </a:solidFill>
                          <a:effectLst/>
                        </a:rPr>
                        <a:t>ID</a:t>
                      </a:r>
                      <a:endParaRPr lang="en-AU" sz="1100" b="1" i="0" u="none" strike="noStrike" noProof="0">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solidFill>
                            <a:schemeClr val="bg1"/>
                          </a:solidFill>
                          <a:effectLst/>
                        </a:rPr>
                        <a:t>Phase</a:t>
                      </a:r>
                      <a:endParaRPr lang="en-AU" sz="1100" b="1" i="0" u="none" strike="noStrike" noProof="0">
                        <a:solidFill>
                          <a:schemeClr val="bg1"/>
                        </a:solidFill>
                        <a:effectLst/>
                        <a:latin typeface="Calibri" panose="020F0502020204030204" pitchFamily="34" charset="0"/>
                      </a:endParaRP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solidFill>
                            <a:schemeClr val="bg1"/>
                          </a:solidFill>
                          <a:effectLst/>
                        </a:rPr>
                        <a:t>Question</a:t>
                      </a:r>
                      <a:endParaRPr lang="en-AU" sz="1100" b="1" i="0" u="none" strike="noStrike" noProof="0">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solidFill>
                            <a:schemeClr val="bg1"/>
                          </a:solidFill>
                          <a:effectLst/>
                        </a:rPr>
                        <a:t>Supplier Response</a:t>
                      </a:r>
                      <a:endParaRPr lang="en-AU" sz="1100" b="1" i="0" u="none" strike="noStrike" noProof="0">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550563024"/>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effectLst/>
                        </a:rPr>
                        <a:t>001</a:t>
                      </a:r>
                      <a:endParaRPr lang="en-AU" sz="1100" b="1" i="0" u="none" strike="noStrike" noProof="0">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0" i="0" u="none" strike="noStrike" noProof="0">
                          <a:solidFill>
                            <a:schemeClr val="tx1"/>
                          </a:solidFill>
                          <a:effectLst/>
                          <a:latin typeface="Verdana" panose="020B0604030504040204" pitchFamily="34" charset="0"/>
                          <a:ea typeface="Verdana" panose="020B0604030504040204" pitchFamily="34" charset="0"/>
                        </a:rPr>
                        <a:t>Wave 1</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0" i="0" u="none" strike="noStrike" noProof="0">
                          <a:solidFill>
                            <a:schemeClr val="tx1"/>
                          </a:solidFill>
                          <a:effectLst/>
                          <a:latin typeface="Verdana" panose="020B0604030504040204" pitchFamily="34" charset="0"/>
                          <a:ea typeface="Verdana" panose="020B0604030504040204" pitchFamily="34" charset="0"/>
                        </a:rPr>
                        <a:t>We noticed that you put a considerable amount m/d for platform optimization in relation to the overall Wave duration; could you better explain which will be the figures involved? Could we assume that the platform optimization elapsed is around 4 months?</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Though on the outset the Salesforce recommendations look fairly straightforward, we do believe that without a proper impact analysis (as mentioned by Salesforce in their documentation as well) it wouldn’t be possible to give a streamlined system to Marelli. </a:t>
                      </a:r>
                    </a:p>
                    <a:p>
                      <a:pPr algn="l" fontAlgn="ct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Indeed, we are not just restricting ourselves to what Salesforce has recommended: during the Discovery phase, we would also run our own analysis on your current implementations to provide platform optimization recommendations. Examples of analysis which we would perform are: Audit trail , Salesforce Optimizer , system overview , Apex Exception Emails, API Usage Notification, etc.</a:t>
                      </a:r>
                    </a:p>
                    <a:p>
                      <a:pPr algn="l" fontAlgn="ctr"/>
                      <a:endParaRPr lang="en-AU" sz="1100" b="1" i="0" u="none" strike="noStrike" noProof="0">
                        <a:solidFill>
                          <a:schemeClr val="tx1"/>
                        </a:solidFill>
                        <a:effectLst/>
                        <a:latin typeface="Verdana" panose="020B0604030504040204" pitchFamily="34" charset="0"/>
                        <a:ea typeface="Verdana" panose="020B0604030504040204" pitchFamily="34" charset="0"/>
                        <a:cs typeface="+mn-cs"/>
                      </a:endParaRPr>
                    </a:p>
                    <a:p>
                      <a:pPr algn="l" fontAlgn="ct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The elapsed time for Platform optimization is ~4 months, but this would be re-evaluated during the Discovery phase to check if it can be optimized further, allocating more time to the Rollout phase. See slides 147 and 148 for details about roles involved and related efforts</a:t>
                      </a:r>
                    </a:p>
                    <a:p>
                      <a:pPr algn="l" fontAlgn="ctr"/>
                      <a:endParaRPr lang="en-AU" sz="1100" b="1" i="0" u="none" strike="noStrike" noProof="0">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83510392"/>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effectLst/>
                        </a:rPr>
                        <a:t>002</a:t>
                      </a:r>
                      <a:endParaRPr lang="en-AU" sz="1100" b="1" i="0" u="none" strike="noStrike" noProof="0">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0" i="0" u="none" strike="noStrike" noProof="0">
                          <a:solidFill>
                            <a:schemeClr val="tx1"/>
                          </a:solidFill>
                          <a:effectLst/>
                          <a:latin typeface="Verdana" panose="020B0604030504040204" pitchFamily="34" charset="0"/>
                          <a:ea typeface="Verdana" panose="020B0604030504040204" pitchFamily="34" charset="0"/>
                        </a:rPr>
                        <a:t>Wave 1</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0" i="0" u="none" strike="noStrike" noProof="0">
                          <a:solidFill>
                            <a:schemeClr val="tx1"/>
                          </a:solidFill>
                          <a:effectLst/>
                          <a:latin typeface="Verdana" panose="020B0604030504040204" pitchFamily="34" charset="0"/>
                          <a:ea typeface="Verdana" panose="020B0604030504040204" pitchFamily="34" charset="0"/>
                        </a:rPr>
                        <a:t>Could you please explain which are the roles and figures that will be involved during the rollout? Are you considering Platform Opt. And Rollouts as separate streams or do you foresee sinergies among them?</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We have planned the Discovery phase for the 3 BLs rollout to run in parallel with the Platform Optimization phase. This is to ensure that when Salesforce is rolled out for the 3 BLs, the platform is already fully optimized.</a:t>
                      </a:r>
                    </a:p>
                    <a:p>
                      <a:pPr algn="l" fontAlgn="ct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We do have planned for some synergies for the staffing between the two. For example, the Sr. Business Analyst whilst conducting the Light workshops for the 3 BLs would also be participating in the Platform Optimization. See slide 147 for details about estimates</a:t>
                      </a:r>
                    </a:p>
                    <a:p>
                      <a:pPr algn="l" fontAlgn="ctr"/>
                      <a:endParaRPr lang="en-AU" sz="1100" b="1" i="0" u="none" strike="noStrike" noProof="0">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3821842517"/>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effectLst/>
                        </a:rPr>
                        <a:t>003</a:t>
                      </a:r>
                      <a:endParaRPr lang="en-AU" sz="1100" b="1" i="0" u="none" strike="noStrike" noProof="0">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0" i="0" u="none" strike="noStrike" noProof="0">
                          <a:solidFill>
                            <a:schemeClr val="tx1"/>
                          </a:solidFill>
                          <a:effectLst/>
                          <a:latin typeface="Verdana" panose="020B0604030504040204" pitchFamily="34" charset="0"/>
                          <a:ea typeface="Verdana" panose="020B0604030504040204" pitchFamily="34" charset="0"/>
                        </a:rPr>
                        <a:t>Wave 1</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0" i="0" u="none" strike="noStrike" noProof="0">
                          <a:solidFill>
                            <a:schemeClr val="tx1"/>
                          </a:solidFill>
                          <a:effectLst/>
                          <a:latin typeface="Verdana" panose="020B0604030504040204" pitchFamily="34" charset="0"/>
                          <a:ea typeface="Verdana" panose="020B0604030504040204" pitchFamily="34" charset="0"/>
                        </a:rPr>
                        <a:t>Which is the time elapse you foresee for CRM functionality analysis and implementation?  How did you estimate the m/d?</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The analysis will be executed during the pre-game dedicated to the Rollout to catch any specific request, and development and test after this phase. See slide 147 for details about foreseen efforts</a:t>
                      </a:r>
                    </a:p>
                    <a:p>
                      <a:pPr algn="l" fontAlgn="ctr"/>
                      <a:endParaRPr lang="en-AU" sz="1100" b="1" i="0" u="none" strike="noStrike" noProof="0">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492871225"/>
                  </a:ext>
                </a:extLst>
              </a:tr>
              <a:tr h="482772">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1" u="none" strike="noStrike" noProof="0">
                          <a:effectLst/>
                        </a:rPr>
                        <a:t>004</a:t>
                      </a:r>
                      <a:endParaRPr lang="en-AU" sz="1100" b="1" i="0" u="none" strike="noStrike" noProof="0">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AU" sz="1100" b="0" i="0" u="none" strike="noStrike" noProof="0">
                          <a:solidFill>
                            <a:schemeClr val="tx1"/>
                          </a:solidFill>
                          <a:effectLst/>
                          <a:latin typeface="Verdana" panose="020B0604030504040204" pitchFamily="34" charset="0"/>
                          <a:ea typeface="Verdana" panose="020B0604030504040204" pitchFamily="34" charset="0"/>
                        </a:rPr>
                        <a:t>Wave 1</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AU" sz="1100" b="0" i="0" u="none" strike="noStrike" noProof="0">
                          <a:solidFill>
                            <a:schemeClr val="tx1"/>
                          </a:solidFill>
                          <a:effectLst/>
                          <a:latin typeface="Verdana" panose="020B0604030504040204" pitchFamily="34" charset="0"/>
                          <a:ea typeface="Verdana" panose="020B0604030504040204" pitchFamily="34" charset="0"/>
                        </a:rPr>
                        <a:t>ERP Integration: could you please explain which are the assumptions under your effort estimation (elapsed, roles and figures involved)?</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buNone/>
                      </a:pP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The item of the integration will also include all activities to implement the features required to archive data from Salesforce to external database by OData Interface and sync with Einstein Analytics based on </a:t>
                      </a:r>
                      <a:r>
                        <a:rPr lang="en-AU" sz="1100" b="1" i="0" u="none" strike="noStrike" noProof="0" err="1">
                          <a:solidFill>
                            <a:schemeClr val="tx1"/>
                          </a:solidFill>
                          <a:effectLst/>
                          <a:latin typeface="Verdana" panose="020B0604030504040204" pitchFamily="34" charset="0"/>
                          <a:ea typeface="Verdana" panose="020B0604030504040204" pitchFamily="34" charset="0"/>
                          <a:cs typeface="+mn-cs"/>
                        </a:rPr>
                        <a:t>Mulesoft</a:t>
                      </a: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 platform (i.e. APIs to read and to delete data to be used during the archival process, for which 8 entities have been assumed in scope)</a:t>
                      </a:r>
                    </a:p>
                    <a:p>
                      <a:pPr lvl="0" algn="l">
                        <a:buNone/>
                      </a:pPr>
                      <a:r>
                        <a:rPr lang="en-AU" sz="1100" b="1" i="0" u="none" strike="noStrike" noProof="0">
                          <a:solidFill>
                            <a:schemeClr val="tx1"/>
                          </a:solidFill>
                          <a:effectLst/>
                          <a:latin typeface="Verdana" panose="020B0604030504040204" pitchFamily="34" charset="0"/>
                          <a:ea typeface="Verdana" panose="020B0604030504040204" pitchFamily="34" charset="0"/>
                          <a:cs typeface="+mn-cs"/>
                        </a:rPr>
                        <a:t>See slide 147 for further details about foreseen efforts per role</a:t>
                      </a:r>
                    </a:p>
                    <a:p>
                      <a:pPr lvl="0" algn="l">
                        <a:buNone/>
                      </a:pPr>
                      <a:endParaRPr lang="en-AU" sz="1100" b="1" i="0" u="none" strike="noStrike" noProof="0">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068631343"/>
                  </a:ext>
                </a:extLst>
              </a:tr>
            </a:tbl>
          </a:graphicData>
        </a:graphic>
      </p:graphicFrame>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101485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a:t>Clarification requests received on October 15</a:t>
            </a:r>
            <a:r>
              <a:rPr lang="en-US" sz="2600" kern="0" spc="-10" baseline="30000"/>
              <a:t>th</a:t>
            </a:r>
            <a:r>
              <a:rPr lang="en-US" sz="2600" kern="0" spc="-10"/>
              <a:t> and 16</a:t>
            </a:r>
            <a:r>
              <a:rPr lang="en-US" sz="2600" kern="0" spc="-10" baseline="30000"/>
              <a:t>th</a:t>
            </a:r>
            <a:r>
              <a:rPr lang="en-US" sz="2600" kern="0" spc="-10"/>
              <a:t> </a:t>
            </a:r>
            <a:endParaRPr lang="en-US" sz="2600" kern="0"/>
          </a:p>
        </p:txBody>
      </p:sp>
    </p:spTree>
    <p:extLst>
      <p:ext uri="{BB962C8B-B14F-4D97-AF65-F5344CB8AC3E}">
        <p14:creationId xmlns:p14="http://schemas.microsoft.com/office/powerpoint/2010/main" val="13781506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7</a:t>
            </a:fld>
            <a:endParaRPr sz="800">
              <a:latin typeface="Verdana"/>
              <a:cs typeface="Verdana"/>
            </a:endParaRPr>
          </a:p>
        </p:txBody>
      </p:sp>
      <p:graphicFrame>
        <p:nvGraphicFramePr>
          <p:cNvPr id="6" name="Table 5">
            <a:extLst>
              <a:ext uri="{FF2B5EF4-FFF2-40B4-BE49-F238E27FC236}">
                <a16:creationId xmlns:a16="http://schemas.microsoft.com/office/drawing/2014/main" id="{68D7B9B0-411C-486F-A2CD-31FAC3FEAE9D}"/>
              </a:ext>
            </a:extLst>
          </p:cNvPr>
          <p:cNvGraphicFramePr>
            <a:graphicFrameLocks noGrp="1"/>
          </p:cNvGraphicFramePr>
          <p:nvPr>
            <p:extLst>
              <p:ext uri="{D42A27DB-BD31-4B8C-83A1-F6EECF244321}">
                <p14:modId xmlns:p14="http://schemas.microsoft.com/office/powerpoint/2010/main" val="1830272624"/>
              </p:ext>
            </p:extLst>
          </p:nvPr>
        </p:nvGraphicFramePr>
        <p:xfrm>
          <a:off x="212281" y="1138775"/>
          <a:ext cx="11446319" cy="5271882"/>
        </p:xfrm>
        <a:graphic>
          <a:graphicData uri="http://schemas.openxmlformats.org/drawingml/2006/table">
            <a:tbl>
              <a:tblPr/>
              <a:tblGrid>
                <a:gridCol w="399687">
                  <a:extLst>
                    <a:ext uri="{9D8B030D-6E8A-4147-A177-3AD203B41FA5}">
                      <a16:colId xmlns:a16="http://schemas.microsoft.com/office/drawing/2014/main" val="2578951702"/>
                    </a:ext>
                  </a:extLst>
                </a:gridCol>
                <a:gridCol w="912032">
                  <a:extLst>
                    <a:ext uri="{9D8B030D-6E8A-4147-A177-3AD203B41FA5}">
                      <a16:colId xmlns:a16="http://schemas.microsoft.com/office/drawing/2014/main" val="3146263929"/>
                    </a:ext>
                  </a:extLst>
                </a:gridCol>
                <a:gridCol w="3352800">
                  <a:extLst>
                    <a:ext uri="{9D8B030D-6E8A-4147-A177-3AD203B41FA5}">
                      <a16:colId xmlns:a16="http://schemas.microsoft.com/office/drawing/2014/main" val="2122529668"/>
                    </a:ext>
                  </a:extLst>
                </a:gridCol>
                <a:gridCol w="6781800">
                  <a:extLst>
                    <a:ext uri="{9D8B030D-6E8A-4147-A177-3AD203B41FA5}">
                      <a16:colId xmlns:a16="http://schemas.microsoft.com/office/drawing/2014/main" val="1788402858"/>
                    </a:ext>
                  </a:extLst>
                </a:gridCol>
              </a:tblGrid>
              <a:tr h="394750">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rPr>
                        <a:t>ID</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rPr>
                        <a:t>Phase</a:t>
                      </a:r>
                      <a:endParaRPr lang="it-IT" sz="1100" b="1" i="0" u="none" strike="noStrike">
                        <a:solidFill>
                          <a:schemeClr val="bg1"/>
                        </a:solidFill>
                        <a:effectLst/>
                        <a:latin typeface="Calibri" panose="020F0502020204030204" pitchFamily="34" charset="0"/>
                      </a:endParaRP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err="1">
                          <a:solidFill>
                            <a:schemeClr val="bg1"/>
                          </a:solidFill>
                          <a:effectLst/>
                        </a:rPr>
                        <a:t>Question</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solidFill>
                            <a:schemeClr val="bg1"/>
                          </a:solidFill>
                          <a:effectLst/>
                        </a:rPr>
                        <a:t>Supplier </a:t>
                      </a:r>
                      <a:r>
                        <a:rPr lang="it-IT" sz="1100" b="1" u="none" strike="noStrike" err="1">
                          <a:solidFill>
                            <a:schemeClr val="bg1"/>
                          </a:solidFill>
                          <a:effectLst/>
                        </a:rPr>
                        <a:t>Response</a:t>
                      </a:r>
                      <a:endParaRPr lang="it-IT" sz="1100" b="1" i="0" u="none" strike="noStrike">
                        <a:solidFill>
                          <a:schemeClr val="bg1"/>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550563024"/>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05</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b="0" i="0" u="none" strike="noStrike">
                          <a:solidFill>
                            <a:schemeClr val="tx1"/>
                          </a:solidFill>
                          <a:effectLst/>
                          <a:latin typeface="Verdana" panose="020B0604030504040204" pitchFamily="34" charset="0"/>
                          <a:ea typeface="Verdana" panose="020B0604030504040204" pitchFamily="34" charset="0"/>
                        </a:rPr>
                        <a:t>Wave 2</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0" i="0" u="none" strike="noStrike">
                          <a:solidFill>
                            <a:schemeClr val="tx1"/>
                          </a:solidFill>
                          <a:effectLst/>
                          <a:latin typeface="Verdana" panose="020B0604030504040204" pitchFamily="34" charset="0"/>
                          <a:ea typeface="Verdana" panose="020B0604030504040204" pitchFamily="34" charset="0"/>
                        </a:rPr>
                        <a:t>Could you please explain which are the roles and figures that will be involved during the rollout? We notice that the overall effort for Wave 1 (rollout + integration) is higher than the overall effort for Wave 2. Could you please explain the assumptions behind that?</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1" i="0" u="none" strike="noStrike">
                          <a:solidFill>
                            <a:schemeClr val="tx1"/>
                          </a:solidFill>
                          <a:effectLst/>
                          <a:latin typeface="Verdana" panose="020B0604030504040204" pitchFamily="34" charset="0"/>
                          <a:ea typeface="Verdana" panose="020B0604030504040204" pitchFamily="34" charset="0"/>
                          <a:cs typeface="+mn-cs"/>
                        </a:rPr>
                        <a:t>In Wave 2 we guess that we can be more efficient to rollout 4 Bus instead of 3 BUs.  Main assumptions:</a:t>
                      </a:r>
                    </a:p>
                    <a:p>
                      <a:pPr marL="171450" indent="-171450" algn="l" fontAlgn="ctr">
                        <a:buFontTx/>
                        <a:buChar char="-"/>
                      </a:pPr>
                      <a:r>
                        <a:rPr lang="en-US" sz="1100" b="1" i="0" u="none" strike="noStrike">
                          <a:solidFill>
                            <a:schemeClr val="tx1"/>
                          </a:solidFill>
                          <a:effectLst/>
                          <a:latin typeface="Verdana" panose="020B0604030504040204" pitchFamily="34" charset="0"/>
                          <a:ea typeface="Verdana" panose="020B0604030504040204" pitchFamily="34" charset="0"/>
                          <a:cs typeface="+mn-cs"/>
                        </a:rPr>
                        <a:t>Data migration procedures will be setup during wave 1 and simply reused in wave 2 (where only the migration tests execution is considered)</a:t>
                      </a:r>
                    </a:p>
                    <a:p>
                      <a:pPr marL="171450" indent="-171450" algn="l" fontAlgn="ctr">
                        <a:buFontTx/>
                        <a:buChar char="-"/>
                      </a:pPr>
                      <a:r>
                        <a:rPr lang="en-US" sz="1100" b="1" i="0" u="none" strike="noStrike">
                          <a:solidFill>
                            <a:schemeClr val="tx1"/>
                          </a:solidFill>
                          <a:effectLst/>
                          <a:latin typeface="Verdana" panose="020B0604030504040204" pitchFamily="34" charset="0"/>
                          <a:ea typeface="Verdana" panose="020B0604030504040204" pitchFamily="34" charset="0"/>
                          <a:cs typeface="+mn-cs"/>
                        </a:rPr>
                        <a:t>Interfaces in wave 2 rollouts will be reused (if there are specific requirements, they will be considered among the basket of 50 </a:t>
                      </a:r>
                      <a:r>
                        <a:rPr lang="en-US" sz="1100" b="1" i="0" u="none" strike="noStrike" err="1">
                          <a:solidFill>
                            <a:schemeClr val="tx1"/>
                          </a:solidFill>
                          <a:effectLst/>
                          <a:latin typeface="Verdana" panose="020B0604030504040204" pitchFamily="34" charset="0"/>
                          <a:ea typeface="Verdana" panose="020B0604030504040204" pitchFamily="34" charset="0"/>
                          <a:cs typeface="+mn-cs"/>
                        </a:rPr>
                        <a:t>mds</a:t>
                      </a:r>
                      <a:r>
                        <a:rPr lang="en-US" sz="1100" b="1" i="0" u="none" strike="noStrike">
                          <a:solidFill>
                            <a:schemeClr val="tx1"/>
                          </a:solidFill>
                          <a:effectLst/>
                          <a:latin typeface="Verdana" panose="020B0604030504040204" pitchFamily="34" charset="0"/>
                          <a:ea typeface="Verdana" panose="020B0604030504040204" pitchFamily="34" charset="0"/>
                          <a:cs typeface="+mn-cs"/>
                        </a:rPr>
                        <a:t> per BLs to be dedicated to gaps implementation)</a:t>
                      </a:r>
                    </a:p>
                    <a:p>
                      <a:pPr marL="171450" indent="-171450" algn="l" fontAlgn="ctr">
                        <a:buFontTx/>
                        <a:buChar char="-"/>
                      </a:pPr>
                      <a:r>
                        <a:rPr lang="en-US" sz="1100" b="1" i="0" u="none" strike="noStrike">
                          <a:solidFill>
                            <a:schemeClr val="tx1"/>
                          </a:solidFill>
                          <a:effectLst/>
                          <a:latin typeface="Verdana" panose="020B0604030504040204" pitchFamily="34" charset="0"/>
                          <a:ea typeface="Verdana" panose="020B0604030504040204" pitchFamily="34" charset="0"/>
                          <a:cs typeface="+mn-cs"/>
                        </a:rPr>
                        <a:t>Some roles (e.g. project manager and technical architect) will dedicate to this project an effort that is dependent on the project elapsed (and not a function of the number of BLs involved)</a:t>
                      </a:r>
                    </a:p>
                    <a:p>
                      <a:pPr marL="0" indent="0" algn="l" fontAlgn="ctr">
                        <a:buFontTx/>
                        <a:buNone/>
                      </a:pPr>
                      <a:r>
                        <a:rPr lang="en-US" sz="1100" b="1" i="0" u="none" strike="noStrike">
                          <a:solidFill>
                            <a:schemeClr val="tx1"/>
                          </a:solidFill>
                          <a:effectLst/>
                          <a:latin typeface="Verdana" panose="020B0604030504040204" pitchFamily="34" charset="0"/>
                          <a:ea typeface="Verdana" panose="020B0604030504040204" pitchFamily="34" charset="0"/>
                          <a:cs typeface="+mn-cs"/>
                        </a:rPr>
                        <a:t>See slides 147 and 149 for details about foreseen efforts</a:t>
                      </a:r>
                      <a:endParaRPr lang="en-AU" sz="1100" b="1" i="0" u="none" strike="noStrike">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83510392"/>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06</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b="0" i="0" u="none" strike="noStrike">
                          <a:solidFill>
                            <a:schemeClr val="tx1"/>
                          </a:solidFill>
                          <a:effectLst/>
                          <a:latin typeface="Verdana" panose="020B0604030504040204" pitchFamily="34" charset="0"/>
                          <a:ea typeface="Verdana" panose="020B0604030504040204" pitchFamily="34" charset="0"/>
                        </a:rPr>
                        <a:t>Stream</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0" i="0" u="none" strike="noStrike">
                          <a:solidFill>
                            <a:schemeClr val="tx1"/>
                          </a:solidFill>
                          <a:effectLst/>
                          <a:latin typeface="Verdana" panose="020B0604030504040204" pitchFamily="34" charset="0"/>
                          <a:ea typeface="Verdana" panose="020B0604030504040204" pitchFamily="34" charset="0"/>
                        </a:rPr>
                        <a:t>We notice that there's no business analyst in the team mix for the Stream activities. Which will be the role in charge for all the activities related to requirement gathering, document update etc.?</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1" i="0" u="none" strike="noStrike">
                          <a:solidFill>
                            <a:schemeClr val="tx1"/>
                          </a:solidFill>
                          <a:effectLst/>
                          <a:latin typeface="Verdana" panose="020B0604030504040204" pitchFamily="34" charset="0"/>
                          <a:ea typeface="Verdana" panose="020B0604030504040204" pitchFamily="34" charset="0"/>
                          <a:cs typeface="+mn-cs"/>
                        </a:rPr>
                        <a:t>The template with professional figures for streams did not include the business analyst (see RFQ document – slide 55), whose effort had been included into Salesforce developers. Now the effort has been displayed in a dedicated role, it is limited since the general assumption is that Marelli will lead functional activities and the system integrator will be available to support and collect inputs for realization</a:t>
                      </a:r>
                    </a:p>
                    <a:p>
                      <a:pPr algn="l" fontAlgn="ctr"/>
                      <a:endParaRPr lang="en-AU" sz="1100" b="1" i="0" u="none" strike="noStrike">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3821842517"/>
                  </a:ext>
                </a:extLst>
              </a:tr>
              <a:tr h="241386">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07</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b="0" i="0" u="none" strike="noStrike">
                          <a:solidFill>
                            <a:schemeClr val="tx1"/>
                          </a:solidFill>
                          <a:effectLst/>
                          <a:latin typeface="Verdana" panose="020B0604030504040204" pitchFamily="34" charset="0"/>
                          <a:ea typeface="Verdana" panose="020B0604030504040204" pitchFamily="34" charset="0"/>
                        </a:rPr>
                        <a:t>Stream</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0" i="0" u="none" strike="noStrike">
                          <a:solidFill>
                            <a:schemeClr val="tx1"/>
                          </a:solidFill>
                          <a:effectLst/>
                          <a:latin typeface="Verdana" panose="020B0604030504040204" pitchFamily="34" charset="0"/>
                          <a:ea typeface="Verdana" panose="020B0604030504040204" pitchFamily="34" charset="0"/>
                        </a:rPr>
                        <a:t>Why do you foresee the presence of an integration expert for RFQ WF and new process design?</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1" i="0" u="none" strike="noStrike">
                          <a:solidFill>
                            <a:schemeClr val="tx1"/>
                          </a:solidFill>
                          <a:effectLst/>
                          <a:latin typeface="Verdana" panose="020B0604030504040204" pitchFamily="34" charset="0"/>
                          <a:ea typeface="Verdana" panose="020B0604030504040204" pitchFamily="34" charset="0"/>
                          <a:cs typeface="+mn-cs"/>
                        </a:rPr>
                        <a:t>An integration expert will be necessary in order to plan and design a consistent, durable and easy to maintain integration scenario in order to integrate all the system shown in :</a:t>
                      </a:r>
                    </a:p>
                    <a:p>
                      <a:pPr algn="l" fontAlgn="ctr"/>
                      <a:r>
                        <a:rPr lang="en-US" sz="1100" b="1" i="0" u="none" strike="noStrike">
                          <a:solidFill>
                            <a:schemeClr val="tx1"/>
                          </a:solidFill>
                          <a:effectLst/>
                          <a:latin typeface="Verdana" panose="020B0604030504040204" pitchFamily="34" charset="0"/>
                          <a:ea typeface="Verdana" panose="020B0604030504040204" pitchFamily="34" charset="0"/>
                          <a:cs typeface="+mn-cs"/>
                        </a:rPr>
                        <a:t>-  "Salesforce RFQ Management - High level Requirements " attachments for the RFQ WF stream, in order to have a correct analysis for the functionalities being integrated.</a:t>
                      </a:r>
                    </a:p>
                    <a:p>
                      <a:pPr algn="l" fontAlgn="ctr"/>
                      <a:r>
                        <a:rPr lang="en-US" sz="1100" b="1" i="0" u="none" strike="noStrike">
                          <a:solidFill>
                            <a:schemeClr val="tx1"/>
                          </a:solidFill>
                          <a:effectLst/>
                          <a:latin typeface="Verdana" panose="020B0604030504040204" pitchFamily="34" charset="0"/>
                          <a:ea typeface="Verdana" panose="020B0604030504040204" pitchFamily="34" charset="0"/>
                          <a:cs typeface="+mn-cs"/>
                        </a:rPr>
                        <a:t>- design and implement a correct integration scenario so that the features currently used and the new features offered by the target systems  (PMO Tool (Jira) and Claim management processes) will be integrated successfully.</a:t>
                      </a:r>
                      <a:endParaRPr lang="en-AU" sz="1100" b="1" i="0" u="none" strike="noStrike">
                        <a:solidFill>
                          <a:schemeClr val="tx1"/>
                        </a:solidFill>
                        <a:effectLst/>
                        <a:latin typeface="Verdana" panose="020B0604030504040204" pitchFamily="34" charset="0"/>
                        <a:ea typeface="Verdana" panose="020B0604030504040204" pitchFamily="34" charset="0"/>
                        <a:cs typeface="+mn-cs"/>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492871225"/>
                  </a:ext>
                </a:extLst>
              </a:tr>
              <a:tr h="482772">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it-IT" sz="1100" b="1" u="none" strike="noStrike">
                          <a:effectLst/>
                        </a:rPr>
                        <a:t>008</a:t>
                      </a:r>
                      <a:endParaRPr lang="it-IT" sz="1100" b="1" i="0" u="none" strike="noStrike">
                        <a:solidFill>
                          <a:srgbClr val="FF0000"/>
                        </a:solidFill>
                        <a:effectLst/>
                        <a:latin typeface="Calibri" panose="020F0502020204030204" pitchFamily="34" charset="0"/>
                      </a:endParaRP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ctr" fontAlgn="ctr"/>
                      <a:r>
                        <a:rPr lang="en-US" sz="1100" b="0" i="0" u="none" strike="noStrike">
                          <a:solidFill>
                            <a:schemeClr val="tx1"/>
                          </a:solidFill>
                          <a:effectLst/>
                          <a:latin typeface="Verdana" panose="020B0604030504040204" pitchFamily="34" charset="0"/>
                          <a:ea typeface="Verdana" panose="020B0604030504040204" pitchFamily="34" charset="0"/>
                        </a:rPr>
                        <a:t>General</a:t>
                      </a:r>
                    </a:p>
                  </a:txBody>
                  <a:tcPr marL="3893" marR="3893" marT="3893"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algn="l" fontAlgn="ctr"/>
                      <a:r>
                        <a:rPr lang="en-US" sz="1100" b="0" i="0" u="none" strike="noStrike">
                          <a:solidFill>
                            <a:schemeClr val="tx1"/>
                          </a:solidFill>
                          <a:effectLst/>
                          <a:latin typeface="Verdana" panose="020B0604030504040204" pitchFamily="34" charset="0"/>
                          <a:ea typeface="Verdana" panose="020B0604030504040204" pitchFamily="34" charset="0"/>
                        </a:rPr>
                        <a:t>Clarity </a:t>
                      </a:r>
                      <a:r>
                        <a:rPr lang="en-US" sz="1100" b="0" i="0" u="none" strike="noStrike" err="1">
                          <a:solidFill>
                            <a:schemeClr val="tx1"/>
                          </a:solidFill>
                          <a:effectLst/>
                          <a:latin typeface="Verdana" panose="020B0604030504040204" pitchFamily="34" charset="0"/>
                          <a:ea typeface="Verdana" panose="020B0604030504040204" pitchFamily="34" charset="0"/>
                        </a:rPr>
                        <a:t>contraints</a:t>
                      </a:r>
                      <a:r>
                        <a:rPr lang="en-US" sz="1100" b="0" i="0" u="none" strike="noStrike">
                          <a:solidFill>
                            <a:schemeClr val="tx1"/>
                          </a:solidFill>
                          <a:effectLst/>
                          <a:latin typeface="Verdana" panose="020B0604030504040204" pitchFamily="34" charset="0"/>
                          <a:ea typeface="Verdana" panose="020B0604030504040204" pitchFamily="34" charset="0"/>
                        </a:rPr>
                        <a:t> on third party software to be used during the project</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tc>
                  <a:txBody>
                    <a:bodyPr/>
                    <a:lstStyle>
                      <a:lvl1pPr marL="0">
                        <a:defRPr>
                          <a:solidFill>
                            <a:schemeClr val="dk1"/>
                          </a:solidFill>
                          <a:latin typeface="Verdana"/>
                        </a:defRPr>
                      </a:lvl1pPr>
                      <a:lvl2pPr marL="457200">
                        <a:defRPr>
                          <a:solidFill>
                            <a:schemeClr val="dk1"/>
                          </a:solidFill>
                          <a:latin typeface="Verdana"/>
                        </a:defRPr>
                      </a:lvl2pPr>
                      <a:lvl3pPr marL="914400">
                        <a:defRPr>
                          <a:solidFill>
                            <a:schemeClr val="dk1"/>
                          </a:solidFill>
                          <a:latin typeface="Verdana"/>
                        </a:defRPr>
                      </a:lvl3pPr>
                      <a:lvl4pPr marL="1371600">
                        <a:defRPr>
                          <a:solidFill>
                            <a:schemeClr val="dk1"/>
                          </a:solidFill>
                          <a:latin typeface="Verdana"/>
                        </a:defRPr>
                      </a:lvl4pPr>
                      <a:lvl5pPr marL="1828800">
                        <a:defRPr>
                          <a:solidFill>
                            <a:schemeClr val="dk1"/>
                          </a:solidFill>
                          <a:latin typeface="Verdana"/>
                        </a:defRPr>
                      </a:lvl5pPr>
                      <a:lvl6pPr marL="2286000">
                        <a:defRPr>
                          <a:solidFill>
                            <a:schemeClr val="dk1"/>
                          </a:solidFill>
                          <a:latin typeface="Verdana"/>
                        </a:defRPr>
                      </a:lvl6pPr>
                      <a:lvl7pPr marL="2743200">
                        <a:defRPr>
                          <a:solidFill>
                            <a:schemeClr val="dk1"/>
                          </a:solidFill>
                          <a:latin typeface="Verdana"/>
                        </a:defRPr>
                      </a:lvl7pPr>
                      <a:lvl8pPr marL="3200400">
                        <a:defRPr>
                          <a:solidFill>
                            <a:schemeClr val="dk1"/>
                          </a:solidFill>
                          <a:latin typeface="Verdana"/>
                        </a:defRPr>
                      </a:lvl8pPr>
                      <a:lvl9pPr marL="3657600">
                        <a:defRPr>
                          <a:solidFill>
                            <a:schemeClr val="dk1"/>
                          </a:solidFill>
                          <a:latin typeface="Verdana"/>
                        </a:defRPr>
                      </a:lvl9pPr>
                    </a:lstStyle>
                    <a:p>
                      <a:pPr lvl="0" algn="l">
                        <a:buNone/>
                      </a:pPr>
                      <a:r>
                        <a:rPr lang="en-AU" sz="1100" b="1" i="0" u="none" strike="noStrike">
                          <a:solidFill>
                            <a:schemeClr val="tx1"/>
                          </a:solidFill>
                          <a:effectLst/>
                          <a:latin typeface="Verdana" panose="020B0604030504040204" pitchFamily="34" charset="0"/>
                          <a:ea typeface="Verdana" panose="020B0604030504040204" pitchFamily="34" charset="0"/>
                          <a:cs typeface="+mn-cs"/>
                        </a:rPr>
                        <a:t>It is assumed that </a:t>
                      </a:r>
                      <a:r>
                        <a:rPr lang="en-AU" sz="1100" b="1" i="0" u="none" strike="noStrike" err="1">
                          <a:solidFill>
                            <a:schemeClr val="tx1"/>
                          </a:solidFill>
                          <a:effectLst/>
                          <a:latin typeface="Verdana" panose="020B0604030504040204" pitchFamily="34" charset="0"/>
                          <a:ea typeface="Verdana" panose="020B0604030504040204" pitchFamily="34" charset="0"/>
                          <a:cs typeface="+mn-cs"/>
                        </a:rPr>
                        <a:t>Mulesoft</a:t>
                      </a:r>
                      <a:r>
                        <a:rPr lang="en-AU" sz="1100" b="1" i="0" u="none" strike="noStrike">
                          <a:solidFill>
                            <a:schemeClr val="tx1"/>
                          </a:solidFill>
                          <a:effectLst/>
                          <a:latin typeface="Verdana" panose="020B0604030504040204" pitchFamily="34" charset="0"/>
                          <a:ea typeface="Verdana" panose="020B0604030504040204" pitchFamily="34" charset="0"/>
                          <a:cs typeface="+mn-cs"/>
                        </a:rPr>
                        <a:t>, GitHub, Jenkins and DataLoader.io are already available to Marelli.</a:t>
                      </a:r>
                    </a:p>
                    <a:p>
                      <a:pPr lvl="0" algn="l">
                        <a:buNone/>
                      </a:pPr>
                      <a:r>
                        <a:rPr lang="en-AU" sz="1100" b="1" i="0" u="none" strike="noStrike">
                          <a:solidFill>
                            <a:schemeClr val="tx1"/>
                          </a:solidFill>
                          <a:effectLst/>
                          <a:latin typeface="Verdana" panose="020B0604030504040204" pitchFamily="34" charset="0"/>
                          <a:ea typeface="Verdana" panose="020B0604030504040204" pitchFamily="34" charset="0"/>
                          <a:cs typeface="+mn-cs"/>
                        </a:rPr>
                        <a:t>Project Management software (e.g. Microsoft Project) will be supplied by Capgemini to Capgemini resources</a:t>
                      </a:r>
                    </a:p>
                  </a:txBody>
                  <a:tcPr marL="3893" marR="3893" marT="3893"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AD">
                        <a:tint val="20000"/>
                      </a:srgbClr>
                    </a:solidFill>
                  </a:tcPr>
                </a:tc>
                <a:extLst>
                  <a:ext uri="{0D108BD9-81ED-4DB2-BD59-A6C34878D82A}">
                    <a16:rowId xmlns:a16="http://schemas.microsoft.com/office/drawing/2014/main" val="1068631343"/>
                  </a:ext>
                </a:extLst>
              </a:tr>
            </a:tbl>
          </a:graphicData>
        </a:graphic>
      </p:graphicFrame>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101485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a:t>Clarification requests received on October 15</a:t>
            </a:r>
            <a:r>
              <a:rPr lang="en-US" sz="2600" kern="0" spc="-10" baseline="30000"/>
              <a:t>th</a:t>
            </a:r>
            <a:r>
              <a:rPr lang="en-US" sz="2600" kern="0" spc="-10"/>
              <a:t> and 16</a:t>
            </a:r>
            <a:r>
              <a:rPr lang="en-US" sz="2600" kern="0" spc="-10" baseline="30000"/>
              <a:t>th</a:t>
            </a:r>
            <a:r>
              <a:rPr lang="en-US" sz="2600" kern="0" spc="-10"/>
              <a:t> </a:t>
            </a:r>
            <a:endParaRPr lang="en-US" sz="2600" kern="0"/>
          </a:p>
        </p:txBody>
      </p:sp>
    </p:spTree>
    <p:extLst>
      <p:ext uri="{BB962C8B-B14F-4D97-AF65-F5344CB8AC3E}">
        <p14:creationId xmlns:p14="http://schemas.microsoft.com/office/powerpoint/2010/main" val="36427821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8</a:t>
            </a:fld>
            <a:endParaRPr sz="800">
              <a:latin typeface="Verdana"/>
              <a:cs typeface="Verdana"/>
            </a:endParaRPr>
          </a:p>
        </p:txBody>
      </p:sp>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101485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dirty="0"/>
              <a:t>MARC Integrations: Solution Approach</a:t>
            </a:r>
            <a:endParaRPr lang="en-US" sz="2600" kern="0" dirty="0"/>
          </a:p>
        </p:txBody>
      </p:sp>
      <p:sp>
        <p:nvSpPr>
          <p:cNvPr id="8" name="TextBox 7">
            <a:extLst>
              <a:ext uri="{FF2B5EF4-FFF2-40B4-BE49-F238E27FC236}">
                <a16:creationId xmlns:a16="http://schemas.microsoft.com/office/drawing/2014/main" id="{1453F045-EF1A-49CA-9FA0-FCD6494F41AB}"/>
              </a:ext>
            </a:extLst>
          </p:cNvPr>
          <p:cNvSpPr txBox="1"/>
          <p:nvPr/>
        </p:nvSpPr>
        <p:spPr>
          <a:xfrm>
            <a:off x="214680" y="914400"/>
            <a:ext cx="11523664" cy="6324808"/>
          </a:xfrm>
          <a:prstGeom prst="rect">
            <a:avLst/>
          </a:prstGeom>
          <a:noFill/>
        </p:spPr>
        <p:txBody>
          <a:bodyPr wrap="square" lIns="91440" tIns="45720" rIns="91440" bIns="45720" rtlCol="0" anchor="t">
            <a:spAutoFit/>
          </a:bodyPr>
          <a:lstStyle/>
          <a:p>
            <a:pPr algn="just"/>
            <a:r>
              <a:rPr lang="en-AU" sz="1500" dirty="0">
                <a:latin typeface="Verdana" panose="020B0604030504040204" pitchFamily="34" charset="0"/>
                <a:ea typeface="Verdana" panose="020B0604030504040204" pitchFamily="34" charset="0"/>
              </a:rPr>
              <a:t>After the request from Marelli to introduce MARC in the overall architecture, the solution proposal has been reviewed with the following approach:</a:t>
            </a:r>
          </a:p>
          <a:p>
            <a:pPr algn="just"/>
            <a:endParaRPr lang="en-AU" sz="1500"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en-AU" sz="1500" dirty="0">
                <a:latin typeface="Verdana" panose="020B0604030504040204" pitchFamily="34" charset="0"/>
                <a:ea typeface="Verdana" panose="020B0604030504040204" pitchFamily="34" charset="0"/>
              </a:rPr>
              <a:t>As discussed during Q&amp;A, the project team will collaborate with Marelli and MARC system integrator teams for project activities that require interactions. The project team SPOC will be the solution architect, supported by the integration expert when needed.</a:t>
            </a:r>
          </a:p>
          <a:p>
            <a:pPr marL="285750" indent="-285750" algn="just">
              <a:buFont typeface="Arial" panose="020B0604020202020204" pitchFamily="34" charset="0"/>
              <a:buChar char="•"/>
            </a:pPr>
            <a:endParaRPr lang="en-AU" sz="1500"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en-AU" sz="1500" dirty="0">
                <a:latin typeface="Verdana" panose="020B0604030504040204" pitchFamily="34" charset="0"/>
                <a:ea typeface="Verdana" panose="020B0604030504040204" pitchFamily="34" charset="0"/>
              </a:rPr>
              <a:t>The archiving solution will leverage APIs managed by MARC (that will either call standard SFDC API and/or develop ad-hoc APIs where needed, e.g. APIs to read and delete SFDC entities, APIs to select relevant entities for archiving based on retention times and save them on external data storage, etc.). Capgemini project team will be in charge of performing functional analysis and testing activities related to archiving on Salesforce side and support to the first archiving run in production, while technical design activities and API implementations related to archiving will be in charge to MARC team.</a:t>
            </a:r>
          </a:p>
          <a:p>
            <a:pPr algn="just"/>
            <a:endParaRPr lang="en-AU" sz="1500"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en-AU" sz="1500" dirty="0">
                <a:latin typeface="Verdana"/>
                <a:ea typeface="Verdana"/>
                <a:cs typeface="Verdana"/>
              </a:rPr>
              <a:t>Review Activities where the involvement of the Integration Expert had been foreseen, by reducing its involvement. The integration expert will still be involved in s</a:t>
            </a:r>
            <a:r>
              <a:rPr lang="en-AU" sz="1500" dirty="0">
                <a:latin typeface="Verdana" panose="020B0604030504040204" pitchFamily="34" charset="0"/>
                <a:ea typeface="Verdana" panose="020B0604030504040204" pitchFamily="34" charset="0"/>
              </a:rPr>
              <a:t>upporting the Senior Solution Architect and to Marelli/MARC reference SPOCs for integration topics (e.g. analysis, tests organization and execution, etc.)</a:t>
            </a:r>
          </a:p>
          <a:p>
            <a:pPr marL="742950" lvl="1" indent="-285750" algn="just">
              <a:buFont typeface="Arial" panose="020B0604020202020204" pitchFamily="34" charset="0"/>
              <a:buChar char="•"/>
            </a:pPr>
            <a:endParaRPr lang="en-AU" sz="1500"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en-AU" sz="1500" dirty="0">
                <a:latin typeface="Verdana" panose="020B0604030504040204" pitchFamily="34" charset="0"/>
                <a:ea typeface="Verdana" panose="020B0604030504040204" pitchFamily="34" charset="0"/>
              </a:rPr>
              <a:t>Slide 112 has been reviewed according to the new approach and solution architecture</a:t>
            </a:r>
          </a:p>
          <a:p>
            <a:pPr marL="285750" indent="-285750" algn="just">
              <a:buFont typeface="Arial" panose="020B0604020202020204" pitchFamily="34" charset="0"/>
              <a:buChar char="•"/>
            </a:pPr>
            <a:endParaRPr lang="en-AU" sz="1500"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en-AU" sz="1500" dirty="0">
                <a:latin typeface="Verdana" panose="020B0604030504040204" pitchFamily="34" charset="0"/>
                <a:ea typeface="Verdana" panose="020B0604030504040204" pitchFamily="34" charset="0"/>
              </a:rPr>
              <a:t>In wave 2 rollouts, it was already assumed to reuse interfaces developed in wave 1 rollouts (see slide 115). As a consequence, it has been assumed that MARC introduction will have a limited impact on effort estimates for wave 2 rollouts.</a:t>
            </a:r>
          </a:p>
          <a:p>
            <a:pPr algn="just"/>
            <a:endParaRPr lang="en-AU" sz="1500" dirty="0">
              <a:latin typeface="Verdana" panose="020B0604030504040204" pitchFamily="34" charset="0"/>
              <a:ea typeface="Verdana" panose="020B0604030504040204" pitchFamily="34" charset="0"/>
            </a:endParaRPr>
          </a:p>
          <a:p>
            <a:pPr algn="just"/>
            <a:r>
              <a:rPr lang="en-AU" sz="1500" dirty="0">
                <a:latin typeface="Verdana" panose="020B0604030504040204" pitchFamily="34" charset="0"/>
                <a:ea typeface="Verdana" panose="020B0604030504040204" pitchFamily="34" charset="0"/>
              </a:rPr>
              <a:t>Next slides report the detailed effort per phase, by considering also the above-mentioned assumptions</a:t>
            </a:r>
          </a:p>
          <a:p>
            <a:pPr marL="285750" indent="-285750" algn="just">
              <a:buFont typeface="Arial" panose="020B0604020202020204" pitchFamily="34" charset="0"/>
              <a:buChar char="•"/>
            </a:pPr>
            <a:endParaRPr lang="en-AU" sz="1500" dirty="0">
              <a:latin typeface="Verdana" panose="020B0604030504040204" pitchFamily="34" charset="0"/>
              <a:ea typeface="Verdana" panose="020B0604030504040204" pitchFamily="34" charset="0"/>
            </a:endParaRPr>
          </a:p>
          <a:p>
            <a:pPr algn="just"/>
            <a:endParaRPr lang="en-AU" sz="15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72982906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49</a:t>
            </a:fld>
            <a:endParaRPr sz="800">
              <a:latin typeface="Verdana"/>
              <a:cs typeface="Verdana"/>
            </a:endParaRPr>
          </a:p>
        </p:txBody>
      </p:sp>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101485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a:t>Wave 1 – technical effort breakdown</a:t>
            </a:r>
            <a:endParaRPr lang="en-US" sz="2600" kern="0"/>
          </a:p>
        </p:txBody>
      </p:sp>
      <p:sp>
        <p:nvSpPr>
          <p:cNvPr id="8" name="TextBox 7">
            <a:extLst>
              <a:ext uri="{FF2B5EF4-FFF2-40B4-BE49-F238E27FC236}">
                <a16:creationId xmlns:a16="http://schemas.microsoft.com/office/drawing/2014/main" id="{1453F045-EF1A-49CA-9FA0-FCD6494F41AB}"/>
              </a:ext>
            </a:extLst>
          </p:cNvPr>
          <p:cNvSpPr txBox="1"/>
          <p:nvPr/>
        </p:nvSpPr>
        <p:spPr>
          <a:xfrm>
            <a:off x="214680" y="914400"/>
            <a:ext cx="11139120" cy="323165"/>
          </a:xfrm>
          <a:prstGeom prst="rect">
            <a:avLst/>
          </a:prstGeom>
          <a:noFill/>
        </p:spPr>
        <p:txBody>
          <a:bodyPr wrap="square" rtlCol="0">
            <a:spAutoFit/>
          </a:bodyPr>
          <a:lstStyle/>
          <a:p>
            <a:r>
              <a:rPr lang="en-AU" sz="1500">
                <a:latin typeface="Verdana" panose="020B0604030504040204" pitchFamily="34" charset="0"/>
                <a:ea typeface="Verdana" panose="020B0604030504040204" pitchFamily="34" charset="0"/>
              </a:rPr>
              <a:t>The following table summarizes roles and efforts foreseen for wave 1 activities: </a:t>
            </a:r>
          </a:p>
        </p:txBody>
      </p:sp>
      <p:sp>
        <p:nvSpPr>
          <p:cNvPr id="12" name="TextBox 11">
            <a:extLst>
              <a:ext uri="{FF2B5EF4-FFF2-40B4-BE49-F238E27FC236}">
                <a16:creationId xmlns:a16="http://schemas.microsoft.com/office/drawing/2014/main" id="{7C6059E8-BE45-471D-B324-C52287CD9291}"/>
              </a:ext>
            </a:extLst>
          </p:cNvPr>
          <p:cNvSpPr txBox="1"/>
          <p:nvPr/>
        </p:nvSpPr>
        <p:spPr>
          <a:xfrm>
            <a:off x="6096000" y="1237565"/>
            <a:ext cx="5791200" cy="5309146"/>
          </a:xfrm>
          <a:prstGeom prst="rect">
            <a:avLst/>
          </a:prstGeom>
          <a:noFill/>
        </p:spPr>
        <p:txBody>
          <a:bodyPr wrap="square" rtlCol="0">
            <a:spAutoFit/>
          </a:bodyPr>
          <a:lstStyle/>
          <a:p>
            <a:pPr algn="just"/>
            <a:r>
              <a:rPr lang="en-AU" sz="1500" b="1" dirty="0">
                <a:latin typeface="Verdana" panose="020B0604030504040204" pitchFamily="34" charset="0"/>
                <a:ea typeface="Verdana" panose="020B0604030504040204" pitchFamily="34" charset="0"/>
              </a:rPr>
              <a:t>Main highlights and assumptions:</a:t>
            </a:r>
          </a:p>
          <a:p>
            <a:pPr marL="285750" indent="-285750" algn="just">
              <a:buFont typeface="Arial" panose="020B0604020202020204" pitchFamily="34" charset="0"/>
              <a:buChar char="•"/>
            </a:pPr>
            <a:r>
              <a:rPr lang="en-AU" sz="1350" b="1" dirty="0">
                <a:latin typeface="Verdana" panose="020B0604030504040204" pitchFamily="34" charset="0"/>
                <a:ea typeface="Verdana" panose="020B0604030504040204" pitchFamily="34" charset="0"/>
              </a:rPr>
              <a:t>Platform optimization </a:t>
            </a:r>
            <a:r>
              <a:rPr lang="en-AU" sz="1350" dirty="0">
                <a:latin typeface="Verdana" panose="020B0604030504040204" pitchFamily="34" charset="0"/>
                <a:ea typeface="Verdana" panose="020B0604030504040204" pitchFamily="34" charset="0"/>
              </a:rPr>
              <a:t>activities include not only the application of Salesforce recommendations on the objects outcome of that analysis, but also a discovery and impacts evaluation on the other objects available in the system</a:t>
            </a:r>
          </a:p>
          <a:p>
            <a:pPr marL="285750" indent="-285750" algn="just">
              <a:buFont typeface="Arial" panose="020B0604020202020204" pitchFamily="34" charset="0"/>
              <a:buChar char="•"/>
            </a:pPr>
            <a:r>
              <a:rPr lang="en-AU" sz="1350" b="1" dirty="0">
                <a:latin typeface="Verdana" panose="020B0604030504040204" pitchFamily="34" charset="0"/>
                <a:ea typeface="Verdana" panose="020B0604030504040204" pitchFamily="34" charset="0"/>
              </a:rPr>
              <a:t>Data Migration </a:t>
            </a:r>
            <a:r>
              <a:rPr lang="en-AU" sz="1350" dirty="0">
                <a:latin typeface="Verdana" panose="020B0604030504040204" pitchFamily="34" charset="0"/>
                <a:ea typeface="Verdana" panose="020B0604030504040204" pitchFamily="34" charset="0"/>
              </a:rPr>
              <a:t>activities have to be run mainly in wave 1 during rollouts, by implementing data migration procedures (to be reused during subsequent rollouts) and performing migration tests: during wave 2 rollout s</a:t>
            </a:r>
          </a:p>
          <a:p>
            <a:pPr marL="285750" indent="-285750" algn="just">
              <a:buFont typeface="Arial" panose="020B0604020202020204" pitchFamily="34" charset="0"/>
              <a:buChar char="•"/>
            </a:pPr>
            <a:r>
              <a:rPr lang="en-AU" sz="1350" b="1" dirty="0">
                <a:latin typeface="Verdana" panose="020B0604030504040204" pitchFamily="34" charset="0"/>
                <a:ea typeface="Verdana" panose="020B0604030504040204" pitchFamily="34" charset="0"/>
              </a:rPr>
              <a:t>Wave 1 – CRM Functionalities </a:t>
            </a:r>
            <a:r>
              <a:rPr lang="en-AU" sz="1350" dirty="0">
                <a:latin typeface="Verdana" panose="020B0604030504040204" pitchFamily="34" charset="0"/>
                <a:ea typeface="Verdana" panose="020B0604030504040204" pitchFamily="34" charset="0"/>
              </a:rPr>
              <a:t>effort has been reduced based on what discussed during meeting on Oct. 19th (i.e. no migration for historical data needed, but simply the activation of standard features, e.g. for attachments)</a:t>
            </a:r>
          </a:p>
          <a:p>
            <a:pPr marL="285750" indent="-285750" algn="just">
              <a:buFont typeface="Arial" panose="020B0604020202020204" pitchFamily="34" charset="0"/>
              <a:buChar char="•"/>
            </a:pPr>
            <a:r>
              <a:rPr lang="en-AU" sz="1350" b="1" dirty="0">
                <a:latin typeface="Verdana" panose="020B0604030504040204" pitchFamily="34" charset="0"/>
                <a:ea typeface="Verdana" panose="020B0604030504040204" pitchFamily="34" charset="0"/>
              </a:rPr>
              <a:t>Wave 1 – integration </a:t>
            </a:r>
            <a:r>
              <a:rPr lang="en-AU" sz="1350" dirty="0">
                <a:latin typeface="Verdana" panose="020B0604030504040204" pitchFamily="34" charset="0"/>
                <a:ea typeface="Verdana" panose="020B0604030504040204" pitchFamily="34" charset="0"/>
              </a:rPr>
              <a:t>activities include:</a:t>
            </a:r>
          </a:p>
          <a:p>
            <a:pPr marL="742950" lvl="1" indent="-285750" algn="just">
              <a:buFont typeface="Arial" panose="020B0604020202020204" pitchFamily="34" charset="0"/>
              <a:buChar char="•"/>
            </a:pPr>
            <a:r>
              <a:rPr lang="en-AU" sz="1350" dirty="0">
                <a:latin typeface="Verdana" panose="020B0604030504040204" pitchFamily="34" charset="0"/>
                <a:ea typeface="Verdana" panose="020B0604030504040204" pitchFamily="34" charset="0"/>
              </a:rPr>
              <a:t>Design, build and testing activities related to </a:t>
            </a:r>
            <a:r>
              <a:rPr lang="en-AU" sz="1350" b="1" dirty="0">
                <a:latin typeface="Verdana" panose="020B0604030504040204" pitchFamily="34" charset="0"/>
                <a:ea typeface="Verdana" panose="020B0604030504040204" pitchFamily="34" charset="0"/>
              </a:rPr>
              <a:t>interfaces</a:t>
            </a:r>
            <a:r>
              <a:rPr lang="en-AU" sz="1350" dirty="0">
                <a:latin typeface="Verdana" panose="020B0604030504040204" pitchFamily="34" charset="0"/>
                <a:ea typeface="Verdana" panose="020B0604030504040204" pitchFamily="34" charset="0"/>
              </a:rPr>
              <a:t> (see slide 111 for details about assumptions on the objects in scope) </a:t>
            </a:r>
          </a:p>
          <a:p>
            <a:pPr marL="742950" lvl="1" indent="-285750" algn="just">
              <a:buFont typeface="Arial" panose="020B0604020202020204" pitchFamily="34" charset="0"/>
              <a:buChar char="•"/>
            </a:pPr>
            <a:r>
              <a:rPr lang="en-AU" sz="1350" dirty="0">
                <a:latin typeface="Verdana" panose="020B0604030504040204" pitchFamily="34" charset="0"/>
                <a:ea typeface="Verdana" panose="020B0604030504040204" pitchFamily="34" charset="0"/>
              </a:rPr>
              <a:t>Design, build test activities on Salesforce side for </a:t>
            </a:r>
            <a:r>
              <a:rPr lang="en-AU" sz="1350" b="1" dirty="0">
                <a:latin typeface="Verdana" panose="020B0604030504040204" pitchFamily="34" charset="0"/>
                <a:ea typeface="Verdana" panose="020B0604030504040204" pitchFamily="34" charset="0"/>
              </a:rPr>
              <a:t>data archival procedures</a:t>
            </a:r>
            <a:r>
              <a:rPr lang="en-AU" sz="1350" dirty="0">
                <a:latin typeface="Verdana" panose="020B0604030504040204" pitchFamily="34" charset="0"/>
                <a:ea typeface="Verdana" panose="020B0604030504040204" pitchFamily="34" charset="0"/>
              </a:rPr>
              <a:t>. After Q&amp;A discussions, it has been assumed to perform data archival for up to 8 entities with no need to perform data transformations during archival (i.e. only read/delete APIs and no need to perform data changes) </a:t>
            </a:r>
            <a:r>
              <a:rPr lang="it-IT" sz="1350" dirty="0">
                <a:latin typeface="Verdana" panose="020B0604030504040204" pitchFamily="34" charset="0"/>
                <a:ea typeface="Verdana" panose="020B0604030504040204" pitchFamily="34" charset="0"/>
              </a:rPr>
              <a:t>and </a:t>
            </a:r>
            <a:r>
              <a:rPr lang="it-IT" sz="1350" dirty="0" err="1">
                <a:latin typeface="Verdana" panose="020B0604030504040204" pitchFamily="34" charset="0"/>
                <a:ea typeface="Verdana" panose="020B0604030504040204" pitchFamily="34" charset="0"/>
              </a:rPr>
              <a:t>that</a:t>
            </a:r>
            <a:r>
              <a:rPr lang="it-IT" sz="1350" dirty="0">
                <a:latin typeface="Verdana" panose="020B0604030504040204" pitchFamily="34" charset="0"/>
                <a:ea typeface="Verdana" panose="020B0604030504040204" pitchFamily="34" charset="0"/>
              </a:rPr>
              <a:t> MARC </a:t>
            </a:r>
            <a:r>
              <a:rPr lang="it-IT" sz="1350" dirty="0" err="1">
                <a:latin typeface="Verdana" panose="020B0604030504040204" pitchFamily="34" charset="0"/>
                <a:ea typeface="Verdana" panose="020B0604030504040204" pitchFamily="34" charset="0"/>
              </a:rPr>
              <a:t>APIs</a:t>
            </a:r>
            <a:r>
              <a:rPr lang="it-IT" sz="1350" dirty="0">
                <a:latin typeface="Verdana" panose="020B0604030504040204" pitchFamily="34" charset="0"/>
                <a:ea typeface="Verdana" panose="020B0604030504040204" pitchFamily="34" charset="0"/>
              </a:rPr>
              <a:t> </a:t>
            </a:r>
            <a:r>
              <a:rPr lang="it-IT" sz="1350" dirty="0" err="1">
                <a:latin typeface="Verdana" panose="020B0604030504040204" pitchFamily="34" charset="0"/>
                <a:ea typeface="Verdana" panose="020B0604030504040204" pitchFamily="34" charset="0"/>
              </a:rPr>
              <a:t>will</a:t>
            </a:r>
            <a:r>
              <a:rPr lang="it-IT" sz="1350" dirty="0">
                <a:latin typeface="Verdana" panose="020B0604030504040204" pitchFamily="34" charset="0"/>
                <a:ea typeface="Verdana" panose="020B0604030504040204" pitchFamily="34" charset="0"/>
              </a:rPr>
              <a:t> be </a:t>
            </a:r>
            <a:r>
              <a:rPr lang="it-IT" sz="1350" dirty="0" err="1">
                <a:latin typeface="Verdana" panose="020B0604030504040204" pitchFamily="34" charset="0"/>
                <a:ea typeface="Verdana" panose="020B0604030504040204" pitchFamily="34" charset="0"/>
              </a:rPr>
              <a:t>leveraged</a:t>
            </a:r>
            <a:r>
              <a:rPr lang="it-IT" sz="1350" dirty="0">
                <a:latin typeface="Verdana" panose="020B0604030504040204" pitchFamily="34" charset="0"/>
                <a:ea typeface="Verdana" panose="020B0604030504040204" pitchFamily="34" charset="0"/>
              </a:rPr>
              <a:t> for </a:t>
            </a:r>
            <a:r>
              <a:rPr lang="it-IT" sz="1350" dirty="0" err="1">
                <a:latin typeface="Verdana" panose="020B0604030504040204" pitchFamily="34" charset="0"/>
                <a:ea typeface="Verdana" panose="020B0604030504040204" pitchFamily="34" charset="0"/>
              </a:rPr>
              <a:t>archiving</a:t>
            </a:r>
            <a:r>
              <a:rPr lang="it-IT" sz="1350" dirty="0">
                <a:latin typeface="Verdana" panose="020B0604030504040204" pitchFamily="34" charset="0"/>
                <a:ea typeface="Verdana" panose="020B0604030504040204" pitchFamily="34" charset="0"/>
              </a:rPr>
              <a:t> </a:t>
            </a:r>
            <a:r>
              <a:rPr lang="it-IT" sz="1350" dirty="0" err="1">
                <a:latin typeface="Verdana" panose="020B0604030504040204" pitchFamily="34" charset="0"/>
                <a:ea typeface="Verdana" panose="020B0604030504040204" pitchFamily="34" charset="0"/>
              </a:rPr>
              <a:t>purposes</a:t>
            </a:r>
            <a:r>
              <a:rPr lang="it-IT" sz="1350" dirty="0">
                <a:latin typeface="Verdana" panose="020B0604030504040204" pitchFamily="34" charset="0"/>
                <a:ea typeface="Verdana" panose="020B0604030504040204" pitchFamily="34" charset="0"/>
              </a:rPr>
              <a:t>, with the </a:t>
            </a:r>
            <a:r>
              <a:rPr lang="it-IT" sz="1350" dirty="0" err="1">
                <a:latin typeface="Verdana" panose="020B0604030504040204" pitchFamily="34" charset="0"/>
                <a:ea typeface="Verdana" panose="020B0604030504040204" pitchFamily="34" charset="0"/>
              </a:rPr>
              <a:t>approach</a:t>
            </a:r>
            <a:r>
              <a:rPr lang="it-IT" sz="1350" dirty="0">
                <a:latin typeface="Verdana" panose="020B0604030504040204" pitchFamily="34" charset="0"/>
                <a:ea typeface="Verdana" panose="020B0604030504040204" pitchFamily="34" charset="0"/>
              </a:rPr>
              <a:t> </a:t>
            </a:r>
            <a:r>
              <a:rPr lang="it-IT" sz="1350" dirty="0" err="1">
                <a:latin typeface="Verdana" panose="020B0604030504040204" pitchFamily="34" charset="0"/>
                <a:ea typeface="Verdana" panose="020B0604030504040204" pitchFamily="34" charset="0"/>
              </a:rPr>
              <a:t>described</a:t>
            </a:r>
            <a:r>
              <a:rPr lang="it-IT" sz="1350" dirty="0">
                <a:latin typeface="Verdana" panose="020B0604030504040204" pitchFamily="34" charset="0"/>
                <a:ea typeface="Verdana" panose="020B0604030504040204" pitchFamily="34" charset="0"/>
              </a:rPr>
              <a:t> in slide 148</a:t>
            </a:r>
            <a:endParaRPr lang="en-AU" sz="1350" dirty="0">
              <a:latin typeface="Verdana" panose="020B0604030504040204" pitchFamily="34" charset="0"/>
              <a:ea typeface="Verdana" panose="020B0604030504040204" pitchFamily="34" charset="0"/>
            </a:endParaRPr>
          </a:p>
        </p:txBody>
      </p:sp>
      <p:pic>
        <p:nvPicPr>
          <p:cNvPr id="6" name="Picture 5">
            <a:extLst>
              <a:ext uri="{FF2B5EF4-FFF2-40B4-BE49-F238E27FC236}">
                <a16:creationId xmlns:a16="http://schemas.microsoft.com/office/drawing/2014/main" id="{EE767FAB-04AD-4A2E-B1BF-337DE1AA50A9}"/>
              </a:ext>
            </a:extLst>
          </p:cNvPr>
          <p:cNvPicPr>
            <a:picLocks noChangeAspect="1"/>
          </p:cNvPicPr>
          <p:nvPr/>
        </p:nvPicPr>
        <p:blipFill>
          <a:blip r:embed="rId2"/>
          <a:stretch>
            <a:fillRect/>
          </a:stretch>
        </p:blipFill>
        <p:spPr>
          <a:xfrm>
            <a:off x="304800" y="2118981"/>
            <a:ext cx="5712206" cy="3841213"/>
          </a:xfrm>
          <a:prstGeom prst="rect">
            <a:avLst/>
          </a:prstGeom>
        </p:spPr>
      </p:pic>
    </p:spTree>
    <p:extLst>
      <p:ext uri="{BB962C8B-B14F-4D97-AF65-F5344CB8AC3E}">
        <p14:creationId xmlns:p14="http://schemas.microsoft.com/office/powerpoint/2010/main" val="12645771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709916" y="1533144"/>
            <a:ext cx="1434465" cy="1356360"/>
          </a:xfrm>
          <a:custGeom>
            <a:avLst/>
            <a:gdLst/>
            <a:ahLst/>
            <a:cxnLst/>
            <a:rect l="l" t="t" r="r" b="b"/>
            <a:pathLst>
              <a:path w="1434465" h="1356360">
                <a:moveTo>
                  <a:pt x="717041" y="0"/>
                </a:moveTo>
                <a:lnTo>
                  <a:pt x="669599" y="2511"/>
                </a:lnTo>
                <a:lnTo>
                  <a:pt x="622763" y="7920"/>
                </a:lnTo>
                <a:lnTo>
                  <a:pt x="576660" y="16137"/>
                </a:lnTo>
                <a:lnTo>
                  <a:pt x="531415" y="27073"/>
                </a:lnTo>
                <a:lnTo>
                  <a:pt x="487154" y="40636"/>
                </a:lnTo>
                <a:lnTo>
                  <a:pt x="444001" y="56737"/>
                </a:lnTo>
                <a:lnTo>
                  <a:pt x="402084" y="75285"/>
                </a:lnTo>
                <a:lnTo>
                  <a:pt x="361526" y="96190"/>
                </a:lnTo>
                <a:lnTo>
                  <a:pt x="322454" y="119363"/>
                </a:lnTo>
                <a:lnTo>
                  <a:pt x="284993" y="144712"/>
                </a:lnTo>
                <a:lnTo>
                  <a:pt x="249269" y="172148"/>
                </a:lnTo>
                <a:lnTo>
                  <a:pt x="215407" y="201580"/>
                </a:lnTo>
                <a:lnTo>
                  <a:pt x="183533" y="232919"/>
                </a:lnTo>
                <a:lnTo>
                  <a:pt x="153772" y="266074"/>
                </a:lnTo>
                <a:lnTo>
                  <a:pt x="126250" y="300955"/>
                </a:lnTo>
                <a:lnTo>
                  <a:pt x="101091" y="337471"/>
                </a:lnTo>
                <a:lnTo>
                  <a:pt x="78423" y="375534"/>
                </a:lnTo>
                <a:lnTo>
                  <a:pt x="58370" y="415051"/>
                </a:lnTo>
                <a:lnTo>
                  <a:pt x="41057" y="455934"/>
                </a:lnTo>
                <a:lnTo>
                  <a:pt x="26611" y="498092"/>
                </a:lnTo>
                <a:lnTo>
                  <a:pt x="15157" y="541435"/>
                </a:lnTo>
                <a:lnTo>
                  <a:pt x="6820" y="585873"/>
                </a:lnTo>
                <a:lnTo>
                  <a:pt x="1725" y="631315"/>
                </a:lnTo>
                <a:lnTo>
                  <a:pt x="0" y="677671"/>
                </a:lnTo>
                <a:lnTo>
                  <a:pt x="1489" y="724167"/>
                </a:lnTo>
                <a:lnTo>
                  <a:pt x="5915" y="770033"/>
                </a:lnTo>
                <a:lnTo>
                  <a:pt x="13214" y="815137"/>
                </a:lnTo>
                <a:lnTo>
                  <a:pt x="23322" y="859349"/>
                </a:lnTo>
                <a:lnTo>
                  <a:pt x="36174" y="902539"/>
                </a:lnTo>
                <a:lnTo>
                  <a:pt x="51708" y="944576"/>
                </a:lnTo>
                <a:lnTo>
                  <a:pt x="69860" y="985329"/>
                </a:lnTo>
                <a:lnTo>
                  <a:pt x="90565" y="1024668"/>
                </a:lnTo>
                <a:lnTo>
                  <a:pt x="113759" y="1062463"/>
                </a:lnTo>
                <a:lnTo>
                  <a:pt x="139380" y="1098582"/>
                </a:lnTo>
                <a:lnTo>
                  <a:pt x="167362" y="1132895"/>
                </a:lnTo>
                <a:lnTo>
                  <a:pt x="197643" y="1165272"/>
                </a:lnTo>
                <a:lnTo>
                  <a:pt x="230159" y="1195582"/>
                </a:lnTo>
                <a:lnTo>
                  <a:pt x="264844" y="1223694"/>
                </a:lnTo>
                <a:lnTo>
                  <a:pt x="301637" y="1249478"/>
                </a:lnTo>
                <a:lnTo>
                  <a:pt x="340472" y="1272803"/>
                </a:lnTo>
                <a:lnTo>
                  <a:pt x="381287" y="1293539"/>
                </a:lnTo>
                <a:lnTo>
                  <a:pt x="424017" y="1311554"/>
                </a:lnTo>
                <a:lnTo>
                  <a:pt x="468598" y="1326719"/>
                </a:lnTo>
                <a:lnTo>
                  <a:pt x="514967" y="1338903"/>
                </a:lnTo>
                <a:lnTo>
                  <a:pt x="563059" y="1347976"/>
                </a:lnTo>
                <a:lnTo>
                  <a:pt x="612812" y="1353806"/>
                </a:lnTo>
                <a:lnTo>
                  <a:pt x="664161" y="1356263"/>
                </a:lnTo>
                <a:lnTo>
                  <a:pt x="717041" y="1355216"/>
                </a:lnTo>
                <a:lnTo>
                  <a:pt x="757668" y="1350560"/>
                </a:lnTo>
                <a:lnTo>
                  <a:pt x="799202" y="1343101"/>
                </a:lnTo>
                <a:lnTo>
                  <a:pt x="841393" y="1332920"/>
                </a:lnTo>
                <a:lnTo>
                  <a:pt x="883987" y="1320093"/>
                </a:lnTo>
                <a:lnTo>
                  <a:pt x="926732" y="1304699"/>
                </a:lnTo>
                <a:lnTo>
                  <a:pt x="969376" y="1286816"/>
                </a:lnTo>
                <a:lnTo>
                  <a:pt x="1011665" y="1266523"/>
                </a:lnTo>
                <a:lnTo>
                  <a:pt x="1053348" y="1243896"/>
                </a:lnTo>
                <a:lnTo>
                  <a:pt x="1094172" y="1219015"/>
                </a:lnTo>
                <a:lnTo>
                  <a:pt x="1133884" y="1191957"/>
                </a:lnTo>
                <a:lnTo>
                  <a:pt x="1172232" y="1162801"/>
                </a:lnTo>
                <a:lnTo>
                  <a:pt x="1208963" y="1131624"/>
                </a:lnTo>
                <a:lnTo>
                  <a:pt x="1243825" y="1098505"/>
                </a:lnTo>
                <a:lnTo>
                  <a:pt x="1276565" y="1063522"/>
                </a:lnTo>
                <a:lnTo>
                  <a:pt x="1306931" y="1026753"/>
                </a:lnTo>
                <a:lnTo>
                  <a:pt x="1334670" y="988276"/>
                </a:lnTo>
                <a:lnTo>
                  <a:pt x="1359530" y="948169"/>
                </a:lnTo>
                <a:lnTo>
                  <a:pt x="1381258" y="906510"/>
                </a:lnTo>
                <a:lnTo>
                  <a:pt x="1399602" y="863377"/>
                </a:lnTo>
                <a:lnTo>
                  <a:pt x="1414309" y="818849"/>
                </a:lnTo>
                <a:lnTo>
                  <a:pt x="1425126" y="773003"/>
                </a:lnTo>
                <a:lnTo>
                  <a:pt x="1431802" y="725918"/>
                </a:lnTo>
                <a:lnTo>
                  <a:pt x="1434083" y="677671"/>
                </a:lnTo>
                <a:lnTo>
                  <a:pt x="1432573" y="631264"/>
                </a:lnTo>
                <a:lnTo>
                  <a:pt x="1428088" y="585676"/>
                </a:lnTo>
                <a:lnTo>
                  <a:pt x="1420697" y="541013"/>
                </a:lnTo>
                <a:lnTo>
                  <a:pt x="1410470" y="497378"/>
                </a:lnTo>
                <a:lnTo>
                  <a:pt x="1397477" y="454874"/>
                </a:lnTo>
                <a:lnTo>
                  <a:pt x="1381785" y="413605"/>
                </a:lnTo>
                <a:lnTo>
                  <a:pt x="1363466" y="373674"/>
                </a:lnTo>
                <a:lnTo>
                  <a:pt x="1342587" y="335185"/>
                </a:lnTo>
                <a:lnTo>
                  <a:pt x="1319219" y="298242"/>
                </a:lnTo>
                <a:lnTo>
                  <a:pt x="1293430" y="262949"/>
                </a:lnTo>
                <a:lnTo>
                  <a:pt x="1265290" y="229407"/>
                </a:lnTo>
                <a:lnTo>
                  <a:pt x="1234868" y="197723"/>
                </a:lnTo>
                <a:lnTo>
                  <a:pt x="1202234" y="167998"/>
                </a:lnTo>
                <a:lnTo>
                  <a:pt x="1167456" y="140336"/>
                </a:lnTo>
                <a:lnTo>
                  <a:pt x="1130604" y="114842"/>
                </a:lnTo>
                <a:lnTo>
                  <a:pt x="1091748" y="91618"/>
                </a:lnTo>
                <a:lnTo>
                  <a:pt x="1050956" y="70769"/>
                </a:lnTo>
                <a:lnTo>
                  <a:pt x="1008298" y="52397"/>
                </a:lnTo>
                <a:lnTo>
                  <a:pt x="963843" y="36606"/>
                </a:lnTo>
                <a:lnTo>
                  <a:pt x="917661" y="23501"/>
                </a:lnTo>
                <a:lnTo>
                  <a:pt x="869820" y="13184"/>
                </a:lnTo>
                <a:lnTo>
                  <a:pt x="820391" y="5759"/>
                </a:lnTo>
                <a:lnTo>
                  <a:pt x="769441" y="1330"/>
                </a:lnTo>
                <a:lnTo>
                  <a:pt x="717041" y="0"/>
                </a:lnTo>
                <a:close/>
              </a:path>
            </a:pathLst>
          </a:custGeom>
          <a:solidFill>
            <a:srgbClr val="F1F1F1"/>
          </a:solidFill>
        </p:spPr>
        <p:txBody>
          <a:bodyPr wrap="square" lIns="0" tIns="0" rIns="0" bIns="0" rtlCol="0"/>
          <a:lstStyle/>
          <a:p>
            <a:endParaRPr/>
          </a:p>
        </p:txBody>
      </p:sp>
      <p:sp>
        <p:nvSpPr>
          <p:cNvPr id="3" name="object 3"/>
          <p:cNvSpPr/>
          <p:nvPr/>
        </p:nvSpPr>
        <p:spPr>
          <a:xfrm>
            <a:off x="8410702" y="1572133"/>
            <a:ext cx="236220" cy="343535"/>
          </a:xfrm>
          <a:custGeom>
            <a:avLst/>
            <a:gdLst/>
            <a:ahLst/>
            <a:cxnLst/>
            <a:rect l="l" t="t" r="r" b="b"/>
            <a:pathLst>
              <a:path w="236220" h="343535">
                <a:moveTo>
                  <a:pt x="0" y="0"/>
                </a:moveTo>
                <a:lnTo>
                  <a:pt x="0" y="320675"/>
                </a:lnTo>
                <a:lnTo>
                  <a:pt x="30259" y="322099"/>
                </a:lnTo>
                <a:lnTo>
                  <a:pt x="60150" y="326358"/>
                </a:lnTo>
                <a:lnTo>
                  <a:pt x="89493" y="333426"/>
                </a:lnTo>
                <a:lnTo>
                  <a:pt x="118109" y="343280"/>
                </a:lnTo>
                <a:lnTo>
                  <a:pt x="236093" y="45084"/>
                </a:lnTo>
                <a:lnTo>
                  <a:pt x="190483" y="28984"/>
                </a:lnTo>
                <a:lnTo>
                  <a:pt x="143862" y="16376"/>
                </a:lnTo>
                <a:lnTo>
                  <a:pt x="96436" y="7311"/>
                </a:lnTo>
                <a:lnTo>
                  <a:pt x="48413" y="1835"/>
                </a:lnTo>
                <a:lnTo>
                  <a:pt x="0" y="0"/>
                </a:lnTo>
                <a:close/>
              </a:path>
            </a:pathLst>
          </a:custGeom>
          <a:solidFill>
            <a:srgbClr val="006FAC"/>
          </a:solidFill>
        </p:spPr>
        <p:txBody>
          <a:bodyPr wrap="square" lIns="0" tIns="0" rIns="0" bIns="0" rtlCol="0"/>
          <a:lstStyle/>
          <a:p>
            <a:endParaRPr/>
          </a:p>
        </p:txBody>
      </p:sp>
      <p:sp>
        <p:nvSpPr>
          <p:cNvPr id="4" name="object 4"/>
          <p:cNvSpPr/>
          <p:nvPr/>
        </p:nvSpPr>
        <p:spPr>
          <a:xfrm>
            <a:off x="7800847" y="1617217"/>
            <a:ext cx="1251585" cy="1238250"/>
          </a:xfrm>
          <a:custGeom>
            <a:avLst/>
            <a:gdLst/>
            <a:ahLst/>
            <a:cxnLst/>
            <a:rect l="l" t="t" r="r" b="b"/>
            <a:pathLst>
              <a:path w="1251584" h="1238250">
                <a:moveTo>
                  <a:pt x="304926" y="695325"/>
                </a:moveTo>
                <a:lnTo>
                  <a:pt x="0" y="794512"/>
                </a:lnTo>
                <a:lnTo>
                  <a:pt x="16465" y="839481"/>
                </a:lnTo>
                <a:lnTo>
                  <a:pt x="35901" y="882482"/>
                </a:lnTo>
                <a:lnTo>
                  <a:pt x="58152" y="923435"/>
                </a:lnTo>
                <a:lnTo>
                  <a:pt x="83062" y="962258"/>
                </a:lnTo>
                <a:lnTo>
                  <a:pt x="110473" y="998874"/>
                </a:lnTo>
                <a:lnTo>
                  <a:pt x="140231" y="1033202"/>
                </a:lnTo>
                <a:lnTo>
                  <a:pt x="172180" y="1065162"/>
                </a:lnTo>
                <a:lnTo>
                  <a:pt x="206162" y="1094675"/>
                </a:lnTo>
                <a:lnTo>
                  <a:pt x="242023" y="1121661"/>
                </a:lnTo>
                <a:lnTo>
                  <a:pt x="279605" y="1146040"/>
                </a:lnTo>
                <a:lnTo>
                  <a:pt x="318754" y="1167733"/>
                </a:lnTo>
                <a:lnTo>
                  <a:pt x="359312" y="1186659"/>
                </a:lnTo>
                <a:lnTo>
                  <a:pt x="401124" y="1202740"/>
                </a:lnTo>
                <a:lnTo>
                  <a:pt x="444034" y="1215895"/>
                </a:lnTo>
                <a:lnTo>
                  <a:pt x="487885" y="1226044"/>
                </a:lnTo>
                <a:lnTo>
                  <a:pt x="532522" y="1233109"/>
                </a:lnTo>
                <a:lnTo>
                  <a:pt x="577789" y="1237009"/>
                </a:lnTo>
                <a:lnTo>
                  <a:pt x="623529" y="1237664"/>
                </a:lnTo>
                <a:lnTo>
                  <a:pt x="669586" y="1234995"/>
                </a:lnTo>
                <a:lnTo>
                  <a:pt x="715804" y="1228922"/>
                </a:lnTo>
                <a:lnTo>
                  <a:pt x="762028" y="1219366"/>
                </a:lnTo>
                <a:lnTo>
                  <a:pt x="808101" y="1206246"/>
                </a:lnTo>
                <a:lnTo>
                  <a:pt x="853070" y="1189779"/>
                </a:lnTo>
                <a:lnTo>
                  <a:pt x="896071" y="1170341"/>
                </a:lnTo>
                <a:lnTo>
                  <a:pt x="937024" y="1148087"/>
                </a:lnTo>
                <a:lnTo>
                  <a:pt x="975847" y="1123173"/>
                </a:lnTo>
                <a:lnTo>
                  <a:pt x="1012463" y="1095757"/>
                </a:lnTo>
                <a:lnTo>
                  <a:pt x="1046791" y="1065993"/>
                </a:lnTo>
                <a:lnTo>
                  <a:pt x="1078751" y="1034039"/>
                </a:lnTo>
                <a:lnTo>
                  <a:pt x="1108264" y="1000051"/>
                </a:lnTo>
                <a:lnTo>
                  <a:pt x="1135250" y="964185"/>
                </a:lnTo>
                <a:lnTo>
                  <a:pt x="1159629" y="926597"/>
                </a:lnTo>
                <a:lnTo>
                  <a:pt x="1165230" y="916488"/>
                </a:lnTo>
                <a:lnTo>
                  <a:pt x="628508" y="916488"/>
                </a:lnTo>
                <a:lnTo>
                  <a:pt x="582954" y="915910"/>
                </a:lnTo>
                <a:lnTo>
                  <a:pt x="537193" y="908661"/>
                </a:lnTo>
                <a:lnTo>
                  <a:pt x="491871" y="894461"/>
                </a:lnTo>
                <a:lnTo>
                  <a:pt x="449210" y="873809"/>
                </a:lnTo>
                <a:lnTo>
                  <a:pt x="410468" y="847405"/>
                </a:lnTo>
                <a:lnTo>
                  <a:pt x="376158" y="815800"/>
                </a:lnTo>
                <a:lnTo>
                  <a:pt x="346789" y="779549"/>
                </a:lnTo>
                <a:lnTo>
                  <a:pt x="322875" y="739206"/>
                </a:lnTo>
                <a:lnTo>
                  <a:pt x="304926" y="695325"/>
                </a:lnTo>
                <a:close/>
              </a:path>
              <a:path w="1251584" h="1238250">
                <a:moveTo>
                  <a:pt x="845947" y="0"/>
                </a:moveTo>
                <a:lnTo>
                  <a:pt x="727963" y="298196"/>
                </a:lnTo>
                <a:lnTo>
                  <a:pt x="770724" y="318861"/>
                </a:lnTo>
                <a:lnTo>
                  <a:pt x="809044" y="344890"/>
                </a:lnTo>
                <a:lnTo>
                  <a:pt x="842643" y="375640"/>
                </a:lnTo>
                <a:lnTo>
                  <a:pt x="871243" y="410468"/>
                </a:lnTo>
                <a:lnTo>
                  <a:pt x="894565" y="448730"/>
                </a:lnTo>
                <a:lnTo>
                  <a:pt x="912331" y="489782"/>
                </a:lnTo>
                <a:lnTo>
                  <a:pt x="924261" y="532980"/>
                </a:lnTo>
                <a:lnTo>
                  <a:pt x="930077" y="577683"/>
                </a:lnTo>
                <a:lnTo>
                  <a:pt x="929499" y="623245"/>
                </a:lnTo>
                <a:lnTo>
                  <a:pt x="922250" y="669023"/>
                </a:lnTo>
                <a:lnTo>
                  <a:pt x="908050" y="714375"/>
                </a:lnTo>
                <a:lnTo>
                  <a:pt x="887382" y="757135"/>
                </a:lnTo>
                <a:lnTo>
                  <a:pt x="861345" y="795455"/>
                </a:lnTo>
                <a:lnTo>
                  <a:pt x="830584" y="829054"/>
                </a:lnTo>
                <a:lnTo>
                  <a:pt x="795745" y="857654"/>
                </a:lnTo>
                <a:lnTo>
                  <a:pt x="757472" y="880976"/>
                </a:lnTo>
                <a:lnTo>
                  <a:pt x="716412" y="898742"/>
                </a:lnTo>
                <a:lnTo>
                  <a:pt x="673209" y="910672"/>
                </a:lnTo>
                <a:lnTo>
                  <a:pt x="628508" y="916488"/>
                </a:lnTo>
                <a:lnTo>
                  <a:pt x="1165230" y="916488"/>
                </a:lnTo>
                <a:lnTo>
                  <a:pt x="1200248" y="846881"/>
                </a:lnTo>
                <a:lnTo>
                  <a:pt x="1216329" y="805066"/>
                </a:lnTo>
                <a:lnTo>
                  <a:pt x="1229484" y="762155"/>
                </a:lnTo>
                <a:lnTo>
                  <a:pt x="1239633" y="718303"/>
                </a:lnTo>
                <a:lnTo>
                  <a:pt x="1246698" y="673668"/>
                </a:lnTo>
                <a:lnTo>
                  <a:pt x="1250598" y="628404"/>
                </a:lnTo>
                <a:lnTo>
                  <a:pt x="1251253" y="582670"/>
                </a:lnTo>
                <a:lnTo>
                  <a:pt x="1248584" y="536620"/>
                </a:lnTo>
                <a:lnTo>
                  <a:pt x="1242511" y="490412"/>
                </a:lnTo>
                <a:lnTo>
                  <a:pt x="1232955" y="444201"/>
                </a:lnTo>
                <a:lnTo>
                  <a:pt x="1219834" y="398145"/>
                </a:lnTo>
                <a:lnTo>
                  <a:pt x="1201823" y="349466"/>
                </a:lnTo>
                <a:lnTo>
                  <a:pt x="1180113" y="302749"/>
                </a:lnTo>
                <a:lnTo>
                  <a:pt x="1154872" y="258170"/>
                </a:lnTo>
                <a:lnTo>
                  <a:pt x="1126267" y="215910"/>
                </a:lnTo>
                <a:lnTo>
                  <a:pt x="1094466" y="176147"/>
                </a:lnTo>
                <a:lnTo>
                  <a:pt x="1059638" y="139059"/>
                </a:lnTo>
                <a:lnTo>
                  <a:pt x="1021949" y="104825"/>
                </a:lnTo>
                <a:lnTo>
                  <a:pt x="981568" y="73623"/>
                </a:lnTo>
                <a:lnTo>
                  <a:pt x="938662" y="45632"/>
                </a:lnTo>
                <a:lnTo>
                  <a:pt x="893399" y="21032"/>
                </a:lnTo>
                <a:lnTo>
                  <a:pt x="845947" y="0"/>
                </a:lnTo>
                <a:close/>
              </a:path>
            </a:pathLst>
          </a:custGeom>
          <a:solidFill>
            <a:srgbClr val="12ABDB"/>
          </a:solidFill>
        </p:spPr>
        <p:txBody>
          <a:bodyPr wrap="square" lIns="0" tIns="0" rIns="0" bIns="0" rtlCol="0"/>
          <a:lstStyle/>
          <a:p>
            <a:endParaRPr/>
          </a:p>
        </p:txBody>
      </p:sp>
      <p:sp>
        <p:nvSpPr>
          <p:cNvPr id="5" name="object 5"/>
          <p:cNvSpPr/>
          <p:nvPr/>
        </p:nvSpPr>
        <p:spPr>
          <a:xfrm>
            <a:off x="7769422" y="1836547"/>
            <a:ext cx="382270" cy="575310"/>
          </a:xfrm>
          <a:custGeom>
            <a:avLst/>
            <a:gdLst/>
            <a:ahLst/>
            <a:cxnLst/>
            <a:rect l="l" t="t" r="r" b="b"/>
            <a:pathLst>
              <a:path w="382270" h="575310">
                <a:moveTo>
                  <a:pt x="122484" y="0"/>
                </a:moveTo>
                <a:lnTo>
                  <a:pt x="94135" y="42482"/>
                </a:lnTo>
                <a:lnTo>
                  <a:pt x="69437" y="86721"/>
                </a:lnTo>
                <a:lnTo>
                  <a:pt x="48427" y="132484"/>
                </a:lnTo>
                <a:lnTo>
                  <a:pt x="31143" y="179545"/>
                </a:lnTo>
                <a:lnTo>
                  <a:pt x="17621" y="227672"/>
                </a:lnTo>
                <a:lnTo>
                  <a:pt x="7898" y="276637"/>
                </a:lnTo>
                <a:lnTo>
                  <a:pt x="2012" y="326211"/>
                </a:lnTo>
                <a:lnTo>
                  <a:pt x="0" y="376164"/>
                </a:lnTo>
                <a:lnTo>
                  <a:pt x="1897" y="426267"/>
                </a:lnTo>
                <a:lnTo>
                  <a:pt x="7743" y="476291"/>
                </a:lnTo>
                <a:lnTo>
                  <a:pt x="17573" y="526006"/>
                </a:lnTo>
                <a:lnTo>
                  <a:pt x="31425" y="575182"/>
                </a:lnTo>
                <a:lnTo>
                  <a:pt x="336352" y="475995"/>
                </a:lnTo>
                <a:lnTo>
                  <a:pt x="324516" y="426598"/>
                </a:lnTo>
                <a:lnTo>
                  <a:pt x="320656" y="376559"/>
                </a:lnTo>
                <a:lnTo>
                  <a:pt x="324620" y="326802"/>
                </a:lnTo>
                <a:lnTo>
                  <a:pt x="336258" y="278252"/>
                </a:lnTo>
                <a:lnTo>
                  <a:pt x="355417" y="231832"/>
                </a:lnTo>
                <a:lnTo>
                  <a:pt x="381945" y="188467"/>
                </a:lnTo>
                <a:lnTo>
                  <a:pt x="122484" y="0"/>
                </a:lnTo>
                <a:close/>
              </a:path>
            </a:pathLst>
          </a:custGeom>
          <a:solidFill>
            <a:srgbClr val="D22138"/>
          </a:solidFill>
        </p:spPr>
        <p:txBody>
          <a:bodyPr wrap="square" lIns="0" tIns="0" rIns="0" bIns="0" rtlCol="0"/>
          <a:lstStyle/>
          <a:p>
            <a:endParaRPr/>
          </a:p>
        </p:txBody>
      </p:sp>
      <p:sp>
        <p:nvSpPr>
          <p:cNvPr id="6" name="object 6"/>
          <p:cNvSpPr/>
          <p:nvPr/>
        </p:nvSpPr>
        <p:spPr>
          <a:xfrm>
            <a:off x="7891906" y="1572133"/>
            <a:ext cx="518795" cy="453390"/>
          </a:xfrm>
          <a:custGeom>
            <a:avLst/>
            <a:gdLst/>
            <a:ahLst/>
            <a:cxnLst/>
            <a:rect l="l" t="t" r="r" b="b"/>
            <a:pathLst>
              <a:path w="518795" h="453389">
                <a:moveTo>
                  <a:pt x="518795" y="0"/>
                </a:moveTo>
                <a:lnTo>
                  <a:pt x="467778" y="2030"/>
                </a:lnTo>
                <a:lnTo>
                  <a:pt x="417483" y="8050"/>
                </a:lnTo>
                <a:lnTo>
                  <a:pt x="368117" y="17954"/>
                </a:lnTo>
                <a:lnTo>
                  <a:pt x="319889" y="31637"/>
                </a:lnTo>
                <a:lnTo>
                  <a:pt x="273007" y="48992"/>
                </a:lnTo>
                <a:lnTo>
                  <a:pt x="227679" y="69913"/>
                </a:lnTo>
                <a:lnTo>
                  <a:pt x="184113" y="94295"/>
                </a:lnTo>
                <a:lnTo>
                  <a:pt x="142517" y="122032"/>
                </a:lnTo>
                <a:lnTo>
                  <a:pt x="103100" y="153019"/>
                </a:lnTo>
                <a:lnTo>
                  <a:pt x="66069" y="187148"/>
                </a:lnTo>
                <a:lnTo>
                  <a:pt x="31633" y="224315"/>
                </a:lnTo>
                <a:lnTo>
                  <a:pt x="0" y="264413"/>
                </a:lnTo>
                <a:lnTo>
                  <a:pt x="259461" y="452881"/>
                </a:lnTo>
                <a:lnTo>
                  <a:pt x="292490" y="414249"/>
                </a:lnTo>
                <a:lnTo>
                  <a:pt x="330703" y="381691"/>
                </a:lnTo>
                <a:lnTo>
                  <a:pt x="373268" y="355631"/>
                </a:lnTo>
                <a:lnTo>
                  <a:pt x="419358" y="336493"/>
                </a:lnTo>
                <a:lnTo>
                  <a:pt x="468143" y="324700"/>
                </a:lnTo>
                <a:lnTo>
                  <a:pt x="518795" y="320675"/>
                </a:lnTo>
                <a:lnTo>
                  <a:pt x="518795" y="0"/>
                </a:lnTo>
                <a:close/>
              </a:path>
            </a:pathLst>
          </a:custGeom>
          <a:solidFill>
            <a:srgbClr val="421F5D"/>
          </a:solidFill>
        </p:spPr>
        <p:txBody>
          <a:bodyPr wrap="square" lIns="0" tIns="0" rIns="0" bIns="0" rtlCol="0"/>
          <a:lstStyle/>
          <a:p>
            <a:endParaRPr/>
          </a:p>
        </p:txBody>
      </p:sp>
      <p:sp>
        <p:nvSpPr>
          <p:cNvPr id="7" name="object 7"/>
          <p:cNvSpPr txBox="1"/>
          <p:nvPr/>
        </p:nvSpPr>
        <p:spPr>
          <a:xfrm>
            <a:off x="8427211" y="1635379"/>
            <a:ext cx="200025" cy="132080"/>
          </a:xfrm>
          <a:prstGeom prst="rect">
            <a:avLst/>
          </a:prstGeom>
        </p:spPr>
        <p:txBody>
          <a:bodyPr vert="horz" wrap="square" lIns="0" tIns="12065" rIns="0" bIns="0" rtlCol="0">
            <a:spAutoFit/>
          </a:bodyPr>
          <a:lstStyle/>
          <a:p>
            <a:pPr marL="12700">
              <a:lnSpc>
                <a:spcPct val="100000"/>
              </a:lnSpc>
              <a:spcBef>
                <a:spcPts val="95"/>
              </a:spcBef>
            </a:pPr>
            <a:r>
              <a:rPr sz="700" b="1" spc="-10">
                <a:solidFill>
                  <a:srgbClr val="FFFFFF"/>
                </a:solidFill>
                <a:latin typeface="Verdana"/>
                <a:cs typeface="Verdana"/>
              </a:rPr>
              <a:t>6%</a:t>
            </a:r>
            <a:endParaRPr sz="700">
              <a:latin typeface="Verdana"/>
              <a:cs typeface="Verdana"/>
            </a:endParaRPr>
          </a:p>
        </p:txBody>
      </p:sp>
      <p:sp>
        <p:nvSpPr>
          <p:cNvPr id="8" name="object 8"/>
          <p:cNvSpPr txBox="1"/>
          <p:nvPr/>
        </p:nvSpPr>
        <p:spPr>
          <a:xfrm>
            <a:off x="8635365" y="2507995"/>
            <a:ext cx="262890" cy="132080"/>
          </a:xfrm>
          <a:prstGeom prst="rect">
            <a:avLst/>
          </a:prstGeom>
        </p:spPr>
        <p:txBody>
          <a:bodyPr vert="horz" wrap="square" lIns="0" tIns="12065" rIns="0" bIns="0" rtlCol="0">
            <a:spAutoFit/>
          </a:bodyPr>
          <a:lstStyle/>
          <a:p>
            <a:pPr marL="12700">
              <a:lnSpc>
                <a:spcPct val="100000"/>
              </a:lnSpc>
              <a:spcBef>
                <a:spcPts val="95"/>
              </a:spcBef>
            </a:pPr>
            <a:r>
              <a:rPr sz="700" b="1" spc="-10">
                <a:solidFill>
                  <a:srgbClr val="FFFFFF"/>
                </a:solidFill>
                <a:latin typeface="Verdana"/>
                <a:cs typeface="Verdana"/>
              </a:rPr>
              <a:t>64%</a:t>
            </a:r>
            <a:endParaRPr sz="700">
              <a:latin typeface="Verdana"/>
              <a:cs typeface="Verdana"/>
            </a:endParaRPr>
          </a:p>
        </p:txBody>
      </p:sp>
      <p:sp>
        <p:nvSpPr>
          <p:cNvPr id="9" name="object 9"/>
          <p:cNvSpPr txBox="1"/>
          <p:nvPr/>
        </p:nvSpPr>
        <p:spPr>
          <a:xfrm>
            <a:off x="7805166" y="2073655"/>
            <a:ext cx="262890" cy="132080"/>
          </a:xfrm>
          <a:prstGeom prst="rect">
            <a:avLst/>
          </a:prstGeom>
        </p:spPr>
        <p:txBody>
          <a:bodyPr vert="horz" wrap="square" lIns="0" tIns="12065" rIns="0" bIns="0" rtlCol="0">
            <a:spAutoFit/>
          </a:bodyPr>
          <a:lstStyle/>
          <a:p>
            <a:pPr marL="12700">
              <a:lnSpc>
                <a:spcPct val="100000"/>
              </a:lnSpc>
              <a:spcBef>
                <a:spcPts val="95"/>
              </a:spcBef>
            </a:pPr>
            <a:r>
              <a:rPr sz="700" b="1" spc="-10">
                <a:solidFill>
                  <a:srgbClr val="FFFFFF"/>
                </a:solidFill>
                <a:latin typeface="Verdana"/>
                <a:cs typeface="Verdana"/>
              </a:rPr>
              <a:t>15%</a:t>
            </a:r>
            <a:endParaRPr sz="700">
              <a:latin typeface="Verdana"/>
              <a:cs typeface="Verdana"/>
            </a:endParaRPr>
          </a:p>
        </p:txBody>
      </p:sp>
      <p:sp>
        <p:nvSpPr>
          <p:cNvPr id="10" name="object 10"/>
          <p:cNvSpPr txBox="1"/>
          <p:nvPr/>
        </p:nvSpPr>
        <p:spPr>
          <a:xfrm>
            <a:off x="8062086" y="1720087"/>
            <a:ext cx="262890" cy="132080"/>
          </a:xfrm>
          <a:prstGeom prst="rect">
            <a:avLst/>
          </a:prstGeom>
        </p:spPr>
        <p:txBody>
          <a:bodyPr vert="horz" wrap="square" lIns="0" tIns="12065" rIns="0" bIns="0" rtlCol="0">
            <a:spAutoFit/>
          </a:bodyPr>
          <a:lstStyle/>
          <a:p>
            <a:pPr marL="12700">
              <a:lnSpc>
                <a:spcPct val="100000"/>
              </a:lnSpc>
              <a:spcBef>
                <a:spcPts val="95"/>
              </a:spcBef>
            </a:pPr>
            <a:r>
              <a:rPr sz="700" b="1" spc="-10">
                <a:solidFill>
                  <a:srgbClr val="FFFFFF"/>
                </a:solidFill>
                <a:latin typeface="Verdana"/>
                <a:cs typeface="Verdana"/>
              </a:rPr>
              <a:t>15%</a:t>
            </a:r>
            <a:endParaRPr sz="700">
              <a:latin typeface="Verdana"/>
              <a:cs typeface="Verdana"/>
            </a:endParaRPr>
          </a:p>
        </p:txBody>
      </p:sp>
      <p:sp>
        <p:nvSpPr>
          <p:cNvPr id="11" name="object 11"/>
          <p:cNvSpPr txBox="1">
            <a:spLocks noGrp="1"/>
          </p:cNvSpPr>
          <p:nvPr>
            <p:ph type="title"/>
          </p:nvPr>
        </p:nvSpPr>
        <p:spPr>
          <a:xfrm>
            <a:off x="214680" y="44576"/>
            <a:ext cx="3923665" cy="422275"/>
          </a:xfrm>
          <a:prstGeom prst="rect">
            <a:avLst/>
          </a:prstGeom>
        </p:spPr>
        <p:txBody>
          <a:bodyPr vert="horz" wrap="square" lIns="0" tIns="12700" rIns="0" bIns="0" rtlCol="0">
            <a:spAutoFit/>
          </a:bodyPr>
          <a:lstStyle/>
          <a:p>
            <a:pPr marL="12700">
              <a:lnSpc>
                <a:spcPct val="100000"/>
              </a:lnSpc>
              <a:spcBef>
                <a:spcPts val="100"/>
              </a:spcBef>
            </a:pPr>
            <a:r>
              <a:rPr sz="2600" spc="-5"/>
              <a:t>Capgemini </a:t>
            </a:r>
            <a:r>
              <a:rPr sz="2600"/>
              <a:t>at a</a:t>
            </a:r>
            <a:r>
              <a:rPr sz="2600" spc="-55"/>
              <a:t> </a:t>
            </a:r>
            <a:r>
              <a:rPr sz="2600" spc="-5"/>
              <a:t>Glance:</a:t>
            </a:r>
            <a:endParaRPr sz="2600"/>
          </a:p>
        </p:txBody>
      </p:sp>
      <p:sp>
        <p:nvSpPr>
          <p:cNvPr id="12" name="object 12"/>
          <p:cNvSpPr txBox="1"/>
          <p:nvPr/>
        </p:nvSpPr>
        <p:spPr>
          <a:xfrm>
            <a:off x="214680" y="410337"/>
            <a:ext cx="8604885" cy="605155"/>
          </a:xfrm>
          <a:prstGeom prst="rect">
            <a:avLst/>
          </a:prstGeom>
        </p:spPr>
        <p:txBody>
          <a:bodyPr vert="horz" wrap="square" lIns="0" tIns="47625" rIns="0" bIns="0" rtlCol="0">
            <a:spAutoFit/>
          </a:bodyPr>
          <a:lstStyle/>
          <a:p>
            <a:pPr marL="12700" marR="5080">
              <a:lnSpc>
                <a:spcPts val="2160"/>
              </a:lnSpc>
              <a:spcBef>
                <a:spcPts val="375"/>
              </a:spcBef>
            </a:pPr>
            <a:r>
              <a:rPr sz="2000" spc="-5">
                <a:solidFill>
                  <a:srgbClr val="12ABDB"/>
                </a:solidFill>
                <a:latin typeface="Verdana"/>
                <a:cs typeface="Verdana"/>
              </a:rPr>
              <a:t>Capgemini Group is one </a:t>
            </a:r>
            <a:r>
              <a:rPr sz="2000">
                <a:solidFill>
                  <a:srgbClr val="12ABDB"/>
                </a:solidFill>
                <a:latin typeface="Verdana"/>
                <a:cs typeface="Verdana"/>
              </a:rPr>
              <a:t>of </a:t>
            </a:r>
            <a:r>
              <a:rPr sz="2000" spc="-5">
                <a:solidFill>
                  <a:srgbClr val="12ABDB"/>
                </a:solidFill>
                <a:latin typeface="Verdana"/>
                <a:cs typeface="Verdana"/>
              </a:rPr>
              <a:t>the </a:t>
            </a:r>
            <a:r>
              <a:rPr sz="2000" spc="-30">
                <a:solidFill>
                  <a:srgbClr val="12ABDB"/>
                </a:solidFill>
                <a:latin typeface="Verdana"/>
                <a:cs typeface="Verdana"/>
              </a:rPr>
              <a:t>World’s </a:t>
            </a:r>
            <a:r>
              <a:rPr sz="2000" spc="-5">
                <a:solidFill>
                  <a:srgbClr val="12ABDB"/>
                </a:solidFill>
                <a:latin typeface="Verdana"/>
                <a:cs typeface="Verdana"/>
              </a:rPr>
              <a:t>Largest </a:t>
            </a:r>
            <a:r>
              <a:rPr sz="2000">
                <a:solidFill>
                  <a:srgbClr val="12ABDB"/>
                </a:solidFill>
                <a:latin typeface="Verdana"/>
                <a:cs typeface="Verdana"/>
              </a:rPr>
              <a:t>Management and IT  </a:t>
            </a:r>
            <a:r>
              <a:rPr sz="2000" spc="-5">
                <a:solidFill>
                  <a:srgbClr val="12ABDB"/>
                </a:solidFill>
                <a:latin typeface="Verdana"/>
                <a:cs typeface="Verdana"/>
              </a:rPr>
              <a:t>Consulting</a:t>
            </a:r>
            <a:r>
              <a:rPr sz="2000" spc="-20">
                <a:solidFill>
                  <a:srgbClr val="12ABDB"/>
                </a:solidFill>
                <a:latin typeface="Verdana"/>
                <a:cs typeface="Verdana"/>
              </a:rPr>
              <a:t> </a:t>
            </a:r>
            <a:r>
              <a:rPr sz="2000" spc="-5">
                <a:solidFill>
                  <a:srgbClr val="12ABDB"/>
                </a:solidFill>
                <a:latin typeface="Verdana"/>
                <a:cs typeface="Verdana"/>
              </a:rPr>
              <a:t>Companies</a:t>
            </a:r>
            <a:endParaRPr sz="2000">
              <a:latin typeface="Verdana"/>
              <a:cs typeface="Verdana"/>
            </a:endParaRPr>
          </a:p>
        </p:txBody>
      </p:sp>
      <p:sp>
        <p:nvSpPr>
          <p:cNvPr id="16" name="object 16"/>
          <p:cNvSpPr txBox="1"/>
          <p:nvPr/>
        </p:nvSpPr>
        <p:spPr>
          <a:xfrm>
            <a:off x="8145906" y="2012695"/>
            <a:ext cx="535305" cy="391795"/>
          </a:xfrm>
          <a:prstGeom prst="rect">
            <a:avLst/>
          </a:prstGeom>
        </p:spPr>
        <p:txBody>
          <a:bodyPr vert="horz" wrap="square" lIns="0" tIns="13335" rIns="0" bIns="0" rtlCol="0">
            <a:spAutoFit/>
          </a:bodyPr>
          <a:lstStyle/>
          <a:p>
            <a:pPr marL="12065" marR="5080" indent="-635" algn="ctr">
              <a:lnSpc>
                <a:spcPct val="100000"/>
              </a:lnSpc>
              <a:spcBef>
                <a:spcPts val="105"/>
              </a:spcBef>
            </a:pPr>
            <a:r>
              <a:rPr sz="800" b="1" spc="-5">
                <a:latin typeface="Verdana"/>
                <a:cs typeface="Verdana"/>
              </a:rPr>
              <a:t>R</a:t>
            </a:r>
            <a:r>
              <a:rPr sz="800" b="1" spc="5">
                <a:latin typeface="Verdana"/>
                <a:cs typeface="Verdana"/>
              </a:rPr>
              <a:t>e</a:t>
            </a:r>
            <a:r>
              <a:rPr sz="800" b="1">
                <a:latin typeface="Verdana"/>
                <a:cs typeface="Verdana"/>
              </a:rPr>
              <a:t>v</a:t>
            </a:r>
            <a:r>
              <a:rPr sz="800" b="1" spc="5">
                <a:latin typeface="Verdana"/>
                <a:cs typeface="Verdana"/>
              </a:rPr>
              <a:t>e</a:t>
            </a:r>
            <a:r>
              <a:rPr sz="800" b="1">
                <a:latin typeface="Verdana"/>
                <a:cs typeface="Verdana"/>
              </a:rPr>
              <a:t>nue  </a:t>
            </a:r>
            <a:r>
              <a:rPr sz="800" b="1" spc="-5">
                <a:latin typeface="Verdana"/>
                <a:cs typeface="Verdana"/>
              </a:rPr>
              <a:t>by   </a:t>
            </a:r>
            <a:r>
              <a:rPr sz="800" b="1">
                <a:latin typeface="Verdana"/>
                <a:cs typeface="Verdana"/>
              </a:rPr>
              <a:t>Busin</a:t>
            </a:r>
            <a:r>
              <a:rPr sz="800" b="1" spc="5">
                <a:latin typeface="Verdana"/>
                <a:cs typeface="Verdana"/>
              </a:rPr>
              <a:t>e</a:t>
            </a:r>
            <a:r>
              <a:rPr sz="800" b="1">
                <a:latin typeface="Verdana"/>
                <a:cs typeface="Verdana"/>
              </a:rPr>
              <a:t>ss</a:t>
            </a:r>
            <a:endParaRPr sz="800">
              <a:latin typeface="Verdana"/>
              <a:cs typeface="Verdana"/>
            </a:endParaRPr>
          </a:p>
        </p:txBody>
      </p:sp>
      <p:sp>
        <p:nvSpPr>
          <p:cNvPr id="17" name="object 17"/>
          <p:cNvSpPr/>
          <p:nvPr/>
        </p:nvSpPr>
        <p:spPr>
          <a:xfrm>
            <a:off x="7501128" y="3450335"/>
            <a:ext cx="91440" cy="91440"/>
          </a:xfrm>
          <a:custGeom>
            <a:avLst/>
            <a:gdLst/>
            <a:ahLst/>
            <a:cxnLst/>
            <a:rect l="l" t="t" r="r" b="b"/>
            <a:pathLst>
              <a:path w="91440" h="91439">
                <a:moveTo>
                  <a:pt x="0" y="91439"/>
                </a:moveTo>
                <a:lnTo>
                  <a:pt x="91440" y="91439"/>
                </a:lnTo>
                <a:lnTo>
                  <a:pt x="91440" y="0"/>
                </a:lnTo>
                <a:lnTo>
                  <a:pt x="0" y="0"/>
                </a:lnTo>
                <a:lnTo>
                  <a:pt x="0" y="91439"/>
                </a:lnTo>
                <a:close/>
              </a:path>
            </a:pathLst>
          </a:custGeom>
          <a:solidFill>
            <a:srgbClr val="421F5D"/>
          </a:solidFill>
        </p:spPr>
        <p:txBody>
          <a:bodyPr wrap="square" lIns="0" tIns="0" rIns="0" bIns="0" rtlCol="0"/>
          <a:lstStyle/>
          <a:p>
            <a:endParaRPr/>
          </a:p>
        </p:txBody>
      </p:sp>
      <p:sp>
        <p:nvSpPr>
          <p:cNvPr id="18" name="object 18"/>
          <p:cNvSpPr/>
          <p:nvPr/>
        </p:nvSpPr>
        <p:spPr>
          <a:xfrm>
            <a:off x="7501128" y="3275076"/>
            <a:ext cx="91440" cy="91440"/>
          </a:xfrm>
          <a:custGeom>
            <a:avLst/>
            <a:gdLst/>
            <a:ahLst/>
            <a:cxnLst/>
            <a:rect l="l" t="t" r="r" b="b"/>
            <a:pathLst>
              <a:path w="91440" h="91439">
                <a:moveTo>
                  <a:pt x="0" y="91439"/>
                </a:moveTo>
                <a:lnTo>
                  <a:pt x="91440" y="91439"/>
                </a:lnTo>
                <a:lnTo>
                  <a:pt x="91440" y="0"/>
                </a:lnTo>
                <a:lnTo>
                  <a:pt x="0" y="0"/>
                </a:lnTo>
                <a:lnTo>
                  <a:pt x="0" y="91439"/>
                </a:lnTo>
                <a:close/>
              </a:path>
            </a:pathLst>
          </a:custGeom>
          <a:solidFill>
            <a:srgbClr val="D22138"/>
          </a:solidFill>
        </p:spPr>
        <p:txBody>
          <a:bodyPr wrap="square" lIns="0" tIns="0" rIns="0" bIns="0" rtlCol="0"/>
          <a:lstStyle/>
          <a:p>
            <a:endParaRPr/>
          </a:p>
        </p:txBody>
      </p:sp>
      <p:sp>
        <p:nvSpPr>
          <p:cNvPr id="19" name="object 19"/>
          <p:cNvSpPr/>
          <p:nvPr/>
        </p:nvSpPr>
        <p:spPr>
          <a:xfrm>
            <a:off x="7501128" y="3119627"/>
            <a:ext cx="91440" cy="91440"/>
          </a:xfrm>
          <a:custGeom>
            <a:avLst/>
            <a:gdLst/>
            <a:ahLst/>
            <a:cxnLst/>
            <a:rect l="l" t="t" r="r" b="b"/>
            <a:pathLst>
              <a:path w="91440" h="91439">
                <a:moveTo>
                  <a:pt x="0" y="91439"/>
                </a:moveTo>
                <a:lnTo>
                  <a:pt x="91440" y="91439"/>
                </a:lnTo>
                <a:lnTo>
                  <a:pt x="91440" y="0"/>
                </a:lnTo>
                <a:lnTo>
                  <a:pt x="0" y="0"/>
                </a:lnTo>
                <a:lnTo>
                  <a:pt x="0" y="91439"/>
                </a:lnTo>
                <a:close/>
              </a:path>
            </a:pathLst>
          </a:custGeom>
          <a:solidFill>
            <a:srgbClr val="12ABDB"/>
          </a:solidFill>
        </p:spPr>
        <p:txBody>
          <a:bodyPr wrap="square" lIns="0" tIns="0" rIns="0" bIns="0" rtlCol="0"/>
          <a:lstStyle/>
          <a:p>
            <a:endParaRPr/>
          </a:p>
        </p:txBody>
      </p:sp>
      <p:sp>
        <p:nvSpPr>
          <p:cNvPr id="20" name="object 20"/>
          <p:cNvSpPr txBox="1"/>
          <p:nvPr/>
        </p:nvSpPr>
        <p:spPr>
          <a:xfrm>
            <a:off x="7657845" y="2899892"/>
            <a:ext cx="1941195" cy="669290"/>
          </a:xfrm>
          <a:prstGeom prst="rect">
            <a:avLst/>
          </a:prstGeom>
        </p:spPr>
        <p:txBody>
          <a:bodyPr vert="horz" wrap="square" lIns="0" tIns="46355" rIns="0" bIns="0" rtlCol="0">
            <a:spAutoFit/>
          </a:bodyPr>
          <a:lstStyle/>
          <a:p>
            <a:pPr marL="12700">
              <a:lnSpc>
                <a:spcPct val="100000"/>
              </a:lnSpc>
              <a:spcBef>
                <a:spcPts val="365"/>
              </a:spcBef>
            </a:pPr>
            <a:r>
              <a:rPr sz="800" spc="-5">
                <a:latin typeface="Verdana"/>
                <a:cs typeface="Verdana"/>
              </a:rPr>
              <a:t>Consulting</a:t>
            </a:r>
            <a:r>
              <a:rPr sz="800" spc="25">
                <a:latin typeface="Verdana"/>
                <a:cs typeface="Verdana"/>
              </a:rPr>
              <a:t> </a:t>
            </a:r>
            <a:r>
              <a:rPr sz="800">
                <a:latin typeface="Verdana"/>
                <a:cs typeface="Verdana"/>
              </a:rPr>
              <a:t>Services</a:t>
            </a:r>
          </a:p>
          <a:p>
            <a:pPr marL="12700">
              <a:lnSpc>
                <a:spcPct val="100000"/>
              </a:lnSpc>
              <a:spcBef>
                <a:spcPts val="270"/>
              </a:spcBef>
            </a:pPr>
            <a:r>
              <a:rPr sz="800">
                <a:latin typeface="Verdana"/>
                <a:cs typeface="Verdana"/>
              </a:rPr>
              <a:t>Technology </a:t>
            </a:r>
            <a:r>
              <a:rPr sz="800" spc="-5">
                <a:latin typeface="Verdana"/>
                <a:cs typeface="Verdana"/>
              </a:rPr>
              <a:t>and Engineering</a:t>
            </a:r>
            <a:r>
              <a:rPr sz="800" spc="5">
                <a:latin typeface="Verdana"/>
                <a:cs typeface="Verdana"/>
              </a:rPr>
              <a:t> </a:t>
            </a:r>
            <a:r>
              <a:rPr sz="800">
                <a:latin typeface="Verdana"/>
                <a:cs typeface="Verdana"/>
              </a:rPr>
              <a:t>Services</a:t>
            </a:r>
          </a:p>
          <a:p>
            <a:pPr marL="12700">
              <a:lnSpc>
                <a:spcPct val="100000"/>
              </a:lnSpc>
              <a:spcBef>
                <a:spcPts val="270"/>
              </a:spcBef>
            </a:pPr>
            <a:r>
              <a:rPr sz="800" spc="-5">
                <a:latin typeface="Verdana"/>
                <a:cs typeface="Verdana"/>
              </a:rPr>
              <a:t>Other Managed</a:t>
            </a:r>
            <a:r>
              <a:rPr sz="800" spc="-20">
                <a:latin typeface="Verdana"/>
                <a:cs typeface="Verdana"/>
              </a:rPr>
              <a:t> </a:t>
            </a:r>
            <a:r>
              <a:rPr sz="800">
                <a:latin typeface="Verdana"/>
                <a:cs typeface="Verdana"/>
              </a:rPr>
              <a:t>Services</a:t>
            </a:r>
          </a:p>
          <a:p>
            <a:pPr marL="12700">
              <a:lnSpc>
                <a:spcPct val="100000"/>
              </a:lnSpc>
              <a:spcBef>
                <a:spcPts val="420"/>
              </a:spcBef>
            </a:pPr>
            <a:r>
              <a:rPr sz="800" spc="-5">
                <a:latin typeface="Verdana"/>
                <a:cs typeface="Verdana"/>
              </a:rPr>
              <a:t>Application</a:t>
            </a:r>
            <a:r>
              <a:rPr sz="800" spc="5">
                <a:latin typeface="Verdana"/>
                <a:cs typeface="Verdana"/>
              </a:rPr>
              <a:t> </a:t>
            </a:r>
            <a:r>
              <a:rPr sz="800">
                <a:latin typeface="Verdana"/>
                <a:cs typeface="Verdana"/>
              </a:rPr>
              <a:t>Services</a:t>
            </a:r>
          </a:p>
        </p:txBody>
      </p:sp>
      <p:sp>
        <p:nvSpPr>
          <p:cNvPr id="21" name="object 21"/>
          <p:cNvSpPr/>
          <p:nvPr/>
        </p:nvSpPr>
        <p:spPr>
          <a:xfrm>
            <a:off x="7501128" y="2962655"/>
            <a:ext cx="91440" cy="91440"/>
          </a:xfrm>
          <a:custGeom>
            <a:avLst/>
            <a:gdLst/>
            <a:ahLst/>
            <a:cxnLst/>
            <a:rect l="l" t="t" r="r" b="b"/>
            <a:pathLst>
              <a:path w="91440" h="91439">
                <a:moveTo>
                  <a:pt x="0" y="91439"/>
                </a:moveTo>
                <a:lnTo>
                  <a:pt x="91440" y="91439"/>
                </a:lnTo>
                <a:lnTo>
                  <a:pt x="91440" y="0"/>
                </a:lnTo>
                <a:lnTo>
                  <a:pt x="0" y="0"/>
                </a:lnTo>
                <a:lnTo>
                  <a:pt x="0" y="91439"/>
                </a:lnTo>
                <a:close/>
              </a:path>
            </a:pathLst>
          </a:custGeom>
          <a:solidFill>
            <a:srgbClr val="006FAC"/>
          </a:solidFill>
        </p:spPr>
        <p:txBody>
          <a:bodyPr wrap="square" lIns="0" tIns="0" rIns="0" bIns="0" rtlCol="0"/>
          <a:lstStyle/>
          <a:p>
            <a:endParaRPr/>
          </a:p>
        </p:txBody>
      </p:sp>
      <p:sp>
        <p:nvSpPr>
          <p:cNvPr id="25" name="object 25"/>
          <p:cNvSpPr/>
          <p:nvPr/>
        </p:nvSpPr>
        <p:spPr>
          <a:xfrm>
            <a:off x="7435595" y="1123188"/>
            <a:ext cx="2174875" cy="332740"/>
          </a:xfrm>
          <a:custGeom>
            <a:avLst/>
            <a:gdLst/>
            <a:ahLst/>
            <a:cxnLst/>
            <a:rect l="l" t="t" r="r" b="b"/>
            <a:pathLst>
              <a:path w="2174875" h="332740">
                <a:moveTo>
                  <a:pt x="2119376" y="0"/>
                </a:moveTo>
                <a:lnTo>
                  <a:pt x="55372" y="0"/>
                </a:lnTo>
                <a:lnTo>
                  <a:pt x="33807" y="4347"/>
                </a:lnTo>
                <a:lnTo>
                  <a:pt x="16208" y="16208"/>
                </a:lnTo>
                <a:lnTo>
                  <a:pt x="4347" y="33807"/>
                </a:lnTo>
                <a:lnTo>
                  <a:pt x="0" y="55372"/>
                </a:lnTo>
                <a:lnTo>
                  <a:pt x="0" y="276860"/>
                </a:lnTo>
                <a:lnTo>
                  <a:pt x="4347" y="298424"/>
                </a:lnTo>
                <a:lnTo>
                  <a:pt x="16208" y="316023"/>
                </a:lnTo>
                <a:lnTo>
                  <a:pt x="33807" y="327884"/>
                </a:lnTo>
                <a:lnTo>
                  <a:pt x="55372" y="332232"/>
                </a:lnTo>
                <a:lnTo>
                  <a:pt x="2119376" y="332232"/>
                </a:lnTo>
                <a:lnTo>
                  <a:pt x="2140940" y="327884"/>
                </a:lnTo>
                <a:lnTo>
                  <a:pt x="2158539" y="316023"/>
                </a:lnTo>
                <a:lnTo>
                  <a:pt x="2170400" y="298424"/>
                </a:lnTo>
                <a:lnTo>
                  <a:pt x="2174748" y="276860"/>
                </a:lnTo>
                <a:lnTo>
                  <a:pt x="2174748" y="55372"/>
                </a:lnTo>
                <a:lnTo>
                  <a:pt x="2170400" y="33807"/>
                </a:lnTo>
                <a:lnTo>
                  <a:pt x="2158539" y="16208"/>
                </a:lnTo>
                <a:lnTo>
                  <a:pt x="2140940" y="4347"/>
                </a:lnTo>
                <a:lnTo>
                  <a:pt x="2119376" y="0"/>
                </a:lnTo>
                <a:close/>
              </a:path>
            </a:pathLst>
          </a:custGeom>
          <a:solidFill>
            <a:srgbClr val="12ABDB"/>
          </a:solidFill>
        </p:spPr>
        <p:txBody>
          <a:bodyPr wrap="square" lIns="0" tIns="0" rIns="0" bIns="0" rtlCol="0"/>
          <a:lstStyle/>
          <a:p>
            <a:endParaRPr/>
          </a:p>
        </p:txBody>
      </p:sp>
      <p:sp>
        <p:nvSpPr>
          <p:cNvPr id="26" name="object 26"/>
          <p:cNvSpPr txBox="1"/>
          <p:nvPr/>
        </p:nvSpPr>
        <p:spPr>
          <a:xfrm>
            <a:off x="4879340" y="1195578"/>
            <a:ext cx="4220210" cy="186690"/>
          </a:xfrm>
          <a:prstGeom prst="rect">
            <a:avLst/>
          </a:prstGeom>
        </p:spPr>
        <p:txBody>
          <a:bodyPr vert="horz" wrap="square" lIns="0" tIns="13335" rIns="0" bIns="0" rtlCol="0">
            <a:spAutoFit/>
          </a:bodyPr>
          <a:lstStyle/>
          <a:p>
            <a:pPr marL="12700">
              <a:lnSpc>
                <a:spcPct val="100000"/>
              </a:lnSpc>
              <a:spcBef>
                <a:spcPts val="105"/>
              </a:spcBef>
              <a:tabLst>
                <a:tab pos="3082925" algn="l"/>
              </a:tabLst>
            </a:pPr>
            <a:r>
              <a:rPr sz="1050" b="1">
                <a:solidFill>
                  <a:srgbClr val="FFFFFF"/>
                </a:solidFill>
                <a:latin typeface="Verdana"/>
                <a:cs typeface="Verdana"/>
              </a:rPr>
              <a:t>ONE</a:t>
            </a:r>
            <a:r>
              <a:rPr sz="1050" b="1" spc="-35">
                <a:solidFill>
                  <a:srgbClr val="FFFFFF"/>
                </a:solidFill>
                <a:latin typeface="Verdana"/>
                <a:cs typeface="Verdana"/>
              </a:rPr>
              <a:t> </a:t>
            </a:r>
            <a:r>
              <a:rPr sz="1050" b="1">
                <a:solidFill>
                  <a:srgbClr val="FFFFFF"/>
                </a:solidFill>
                <a:latin typeface="Verdana"/>
                <a:cs typeface="Verdana"/>
              </a:rPr>
              <a:t>TEAM	OUR</a:t>
            </a:r>
            <a:r>
              <a:rPr sz="1050" b="1" spc="-50">
                <a:solidFill>
                  <a:srgbClr val="FFFFFF"/>
                </a:solidFill>
                <a:latin typeface="Verdana"/>
                <a:cs typeface="Verdana"/>
              </a:rPr>
              <a:t> </a:t>
            </a:r>
            <a:r>
              <a:rPr sz="1050" b="1" spc="-5">
                <a:solidFill>
                  <a:srgbClr val="FFFFFF"/>
                </a:solidFill>
                <a:latin typeface="Verdana"/>
                <a:cs typeface="Verdana"/>
              </a:rPr>
              <a:t>SERVICES</a:t>
            </a:r>
            <a:endParaRPr sz="1050">
              <a:latin typeface="Verdana"/>
              <a:cs typeface="Verdana"/>
            </a:endParaRPr>
          </a:p>
        </p:txBody>
      </p:sp>
      <p:sp>
        <p:nvSpPr>
          <p:cNvPr id="27" name="object 27"/>
          <p:cNvSpPr/>
          <p:nvPr/>
        </p:nvSpPr>
        <p:spPr>
          <a:xfrm>
            <a:off x="9805416" y="1123188"/>
            <a:ext cx="2113915" cy="332740"/>
          </a:xfrm>
          <a:custGeom>
            <a:avLst/>
            <a:gdLst/>
            <a:ahLst/>
            <a:cxnLst/>
            <a:rect l="l" t="t" r="r" b="b"/>
            <a:pathLst>
              <a:path w="2113915" h="332740">
                <a:moveTo>
                  <a:pt x="2058415" y="0"/>
                </a:moveTo>
                <a:lnTo>
                  <a:pt x="55372" y="0"/>
                </a:lnTo>
                <a:lnTo>
                  <a:pt x="33807" y="4347"/>
                </a:lnTo>
                <a:lnTo>
                  <a:pt x="16208" y="16208"/>
                </a:lnTo>
                <a:lnTo>
                  <a:pt x="4347" y="33807"/>
                </a:lnTo>
                <a:lnTo>
                  <a:pt x="0" y="55372"/>
                </a:lnTo>
                <a:lnTo>
                  <a:pt x="0" y="276860"/>
                </a:lnTo>
                <a:lnTo>
                  <a:pt x="4347" y="298424"/>
                </a:lnTo>
                <a:lnTo>
                  <a:pt x="16208" y="316023"/>
                </a:lnTo>
                <a:lnTo>
                  <a:pt x="33807" y="327884"/>
                </a:lnTo>
                <a:lnTo>
                  <a:pt x="55372" y="332232"/>
                </a:lnTo>
                <a:lnTo>
                  <a:pt x="2058415" y="332232"/>
                </a:lnTo>
                <a:lnTo>
                  <a:pt x="2079980" y="327884"/>
                </a:lnTo>
                <a:lnTo>
                  <a:pt x="2097579" y="316023"/>
                </a:lnTo>
                <a:lnTo>
                  <a:pt x="2109440" y="298424"/>
                </a:lnTo>
                <a:lnTo>
                  <a:pt x="2113787" y="276860"/>
                </a:lnTo>
                <a:lnTo>
                  <a:pt x="2113787" y="55372"/>
                </a:lnTo>
                <a:lnTo>
                  <a:pt x="2109440" y="33807"/>
                </a:lnTo>
                <a:lnTo>
                  <a:pt x="2097579" y="16208"/>
                </a:lnTo>
                <a:lnTo>
                  <a:pt x="2079980" y="4347"/>
                </a:lnTo>
                <a:lnTo>
                  <a:pt x="2058415" y="0"/>
                </a:lnTo>
                <a:close/>
              </a:path>
            </a:pathLst>
          </a:custGeom>
          <a:solidFill>
            <a:srgbClr val="12ABDB"/>
          </a:solidFill>
        </p:spPr>
        <p:txBody>
          <a:bodyPr wrap="square" lIns="0" tIns="0" rIns="0" bIns="0" rtlCol="0"/>
          <a:lstStyle/>
          <a:p>
            <a:endParaRPr/>
          </a:p>
        </p:txBody>
      </p:sp>
      <p:sp>
        <p:nvSpPr>
          <p:cNvPr id="28" name="object 28"/>
          <p:cNvSpPr txBox="1"/>
          <p:nvPr/>
        </p:nvSpPr>
        <p:spPr>
          <a:xfrm>
            <a:off x="9916794" y="1115314"/>
            <a:ext cx="1892935" cy="346710"/>
          </a:xfrm>
          <a:prstGeom prst="rect">
            <a:avLst/>
          </a:prstGeom>
        </p:spPr>
        <p:txBody>
          <a:bodyPr vert="horz" wrap="square" lIns="0" tIns="13335" rIns="0" bIns="0" rtlCol="0">
            <a:spAutoFit/>
          </a:bodyPr>
          <a:lstStyle/>
          <a:p>
            <a:pPr marL="12700" marR="5080" indent="53340">
              <a:lnSpc>
                <a:spcPct val="100000"/>
              </a:lnSpc>
              <a:spcBef>
                <a:spcPts val="105"/>
              </a:spcBef>
            </a:pPr>
            <a:r>
              <a:rPr sz="1050" b="1">
                <a:solidFill>
                  <a:srgbClr val="FFFFFF"/>
                </a:solidFill>
                <a:latin typeface="Verdana"/>
                <a:cs typeface="Verdana"/>
              </a:rPr>
              <a:t>BROAD EXPERIENCE IN  KEY INDUSTRY</a:t>
            </a:r>
            <a:r>
              <a:rPr sz="1050" b="1" spc="-105">
                <a:solidFill>
                  <a:srgbClr val="FFFFFF"/>
                </a:solidFill>
                <a:latin typeface="Verdana"/>
                <a:cs typeface="Verdana"/>
              </a:rPr>
              <a:t> </a:t>
            </a:r>
            <a:r>
              <a:rPr sz="1050" b="1">
                <a:solidFill>
                  <a:srgbClr val="FFFFFF"/>
                </a:solidFill>
                <a:latin typeface="Verdana"/>
                <a:cs typeface="Verdana"/>
              </a:rPr>
              <a:t>SECTORS</a:t>
            </a:r>
            <a:endParaRPr sz="1050">
              <a:latin typeface="Verdana"/>
              <a:cs typeface="Verdana"/>
            </a:endParaRPr>
          </a:p>
        </p:txBody>
      </p:sp>
      <p:sp>
        <p:nvSpPr>
          <p:cNvPr id="29" name="object 29"/>
          <p:cNvSpPr/>
          <p:nvPr/>
        </p:nvSpPr>
        <p:spPr>
          <a:xfrm>
            <a:off x="9707880" y="1123188"/>
            <a:ext cx="0" cy="2468880"/>
          </a:xfrm>
          <a:custGeom>
            <a:avLst/>
            <a:gdLst/>
            <a:ahLst/>
            <a:cxnLst/>
            <a:rect l="l" t="t" r="r" b="b"/>
            <a:pathLst>
              <a:path h="2468879">
                <a:moveTo>
                  <a:pt x="0" y="0"/>
                </a:moveTo>
                <a:lnTo>
                  <a:pt x="0" y="2468879"/>
                </a:lnTo>
              </a:path>
            </a:pathLst>
          </a:custGeom>
          <a:ln w="12192">
            <a:solidFill>
              <a:srgbClr val="A6A6A6"/>
            </a:solidFill>
            <a:prstDash val="sysDash"/>
          </a:ln>
        </p:spPr>
        <p:txBody>
          <a:bodyPr wrap="square" lIns="0" tIns="0" rIns="0" bIns="0" rtlCol="0"/>
          <a:lstStyle/>
          <a:p>
            <a:endParaRPr/>
          </a:p>
        </p:txBody>
      </p:sp>
      <p:sp>
        <p:nvSpPr>
          <p:cNvPr id="32" name="object 32"/>
          <p:cNvSpPr/>
          <p:nvPr/>
        </p:nvSpPr>
        <p:spPr>
          <a:xfrm>
            <a:off x="4954523" y="3814571"/>
            <a:ext cx="6964680" cy="330835"/>
          </a:xfrm>
          <a:custGeom>
            <a:avLst/>
            <a:gdLst/>
            <a:ahLst/>
            <a:cxnLst/>
            <a:rect l="l" t="t" r="r" b="b"/>
            <a:pathLst>
              <a:path w="6964680" h="330835">
                <a:moveTo>
                  <a:pt x="6909561" y="0"/>
                </a:moveTo>
                <a:lnTo>
                  <a:pt x="55117" y="0"/>
                </a:lnTo>
                <a:lnTo>
                  <a:pt x="33647" y="4325"/>
                </a:lnTo>
                <a:lnTo>
                  <a:pt x="16128" y="16129"/>
                </a:lnTo>
                <a:lnTo>
                  <a:pt x="4325" y="33647"/>
                </a:lnTo>
                <a:lnTo>
                  <a:pt x="0" y="55117"/>
                </a:lnTo>
                <a:lnTo>
                  <a:pt x="0" y="275589"/>
                </a:lnTo>
                <a:lnTo>
                  <a:pt x="4325" y="297060"/>
                </a:lnTo>
                <a:lnTo>
                  <a:pt x="16128" y="314579"/>
                </a:lnTo>
                <a:lnTo>
                  <a:pt x="33647" y="326382"/>
                </a:lnTo>
                <a:lnTo>
                  <a:pt x="55117" y="330707"/>
                </a:lnTo>
                <a:lnTo>
                  <a:pt x="6909561" y="330707"/>
                </a:lnTo>
                <a:lnTo>
                  <a:pt x="6931032" y="326382"/>
                </a:lnTo>
                <a:lnTo>
                  <a:pt x="6948551" y="314579"/>
                </a:lnTo>
                <a:lnTo>
                  <a:pt x="6960354" y="297060"/>
                </a:lnTo>
                <a:lnTo>
                  <a:pt x="6964680" y="275589"/>
                </a:lnTo>
                <a:lnTo>
                  <a:pt x="6964680" y="55117"/>
                </a:lnTo>
                <a:lnTo>
                  <a:pt x="6960354" y="33647"/>
                </a:lnTo>
                <a:lnTo>
                  <a:pt x="6948551" y="16129"/>
                </a:lnTo>
                <a:lnTo>
                  <a:pt x="6931032" y="4325"/>
                </a:lnTo>
                <a:lnTo>
                  <a:pt x="6909561" y="0"/>
                </a:lnTo>
                <a:close/>
              </a:path>
            </a:pathLst>
          </a:custGeom>
          <a:solidFill>
            <a:srgbClr val="12ABDB"/>
          </a:solidFill>
        </p:spPr>
        <p:txBody>
          <a:bodyPr wrap="square" lIns="0" tIns="0" rIns="0" bIns="0" rtlCol="0"/>
          <a:lstStyle/>
          <a:p>
            <a:endParaRPr/>
          </a:p>
        </p:txBody>
      </p:sp>
      <p:sp>
        <p:nvSpPr>
          <p:cNvPr id="33" name="object 33"/>
          <p:cNvSpPr txBox="1"/>
          <p:nvPr/>
        </p:nvSpPr>
        <p:spPr>
          <a:xfrm>
            <a:off x="2690495" y="6360363"/>
            <a:ext cx="7882890" cy="186690"/>
          </a:xfrm>
          <a:prstGeom prst="rect">
            <a:avLst/>
          </a:prstGeom>
        </p:spPr>
        <p:txBody>
          <a:bodyPr vert="horz" wrap="square" lIns="0" tIns="13335" rIns="0" bIns="0" rtlCol="0">
            <a:spAutoFit/>
          </a:bodyPr>
          <a:lstStyle/>
          <a:p>
            <a:pPr marL="38100">
              <a:lnSpc>
                <a:spcPct val="100000"/>
              </a:lnSpc>
              <a:spcBef>
                <a:spcPts val="105"/>
              </a:spcBef>
            </a:pPr>
            <a:r>
              <a:rPr sz="1050" b="1">
                <a:latin typeface="Verdana"/>
                <a:cs typeface="Verdana"/>
              </a:rPr>
              <a:t>Ethics </a:t>
            </a:r>
            <a:r>
              <a:rPr sz="1050" b="1" spc="5">
                <a:latin typeface="Verdana"/>
                <a:cs typeface="Verdana"/>
              </a:rPr>
              <a:t>and </a:t>
            </a:r>
            <a:r>
              <a:rPr sz="1050" b="1">
                <a:latin typeface="Verdana"/>
                <a:cs typeface="Verdana"/>
              </a:rPr>
              <a:t>values: </a:t>
            </a:r>
            <a:r>
              <a:rPr sz="1050" spc="-5">
                <a:latin typeface="Verdana"/>
                <a:cs typeface="Verdana"/>
              </a:rPr>
              <a:t>Recognized </a:t>
            </a:r>
            <a:r>
              <a:rPr sz="1050">
                <a:latin typeface="Verdana"/>
                <a:cs typeface="Verdana"/>
              </a:rPr>
              <a:t>in 2019 as one </a:t>
            </a:r>
            <a:r>
              <a:rPr sz="1050" spc="-5">
                <a:latin typeface="Verdana"/>
                <a:cs typeface="Verdana"/>
              </a:rPr>
              <a:t>of </a:t>
            </a:r>
            <a:r>
              <a:rPr sz="1050">
                <a:latin typeface="Verdana"/>
                <a:cs typeface="Verdana"/>
              </a:rPr>
              <a:t>the </a:t>
            </a:r>
            <a:r>
              <a:rPr sz="1050" b="1">
                <a:latin typeface="Verdana"/>
                <a:cs typeface="Verdana"/>
              </a:rPr>
              <a:t>World’s </a:t>
            </a:r>
            <a:r>
              <a:rPr sz="1050" b="1" spc="-5">
                <a:latin typeface="Verdana"/>
                <a:cs typeface="Verdana"/>
              </a:rPr>
              <a:t>Most </a:t>
            </a:r>
            <a:r>
              <a:rPr sz="1050" b="1">
                <a:latin typeface="Verdana"/>
                <a:cs typeface="Verdana"/>
              </a:rPr>
              <a:t>Ethical companies</a:t>
            </a:r>
            <a:r>
              <a:rPr sz="1050" b="1" baseline="23809">
                <a:latin typeface="Verdana"/>
                <a:cs typeface="Verdana"/>
              </a:rPr>
              <a:t>® </a:t>
            </a:r>
            <a:r>
              <a:rPr sz="1050">
                <a:latin typeface="Verdana"/>
                <a:cs typeface="Verdana"/>
              </a:rPr>
              <a:t>for the </a:t>
            </a:r>
            <a:r>
              <a:rPr sz="1050" spc="-5">
                <a:latin typeface="Verdana"/>
                <a:cs typeface="Verdana"/>
              </a:rPr>
              <a:t>7</a:t>
            </a:r>
            <a:r>
              <a:rPr sz="1050" spc="-7" baseline="23809">
                <a:latin typeface="Verdana"/>
                <a:cs typeface="Verdana"/>
              </a:rPr>
              <a:t>th </a:t>
            </a:r>
            <a:r>
              <a:rPr sz="1050">
                <a:latin typeface="Verdana"/>
                <a:cs typeface="Verdana"/>
              </a:rPr>
              <a:t>year in a</a:t>
            </a:r>
            <a:r>
              <a:rPr sz="1050" spc="-120">
                <a:latin typeface="Verdana"/>
                <a:cs typeface="Verdana"/>
              </a:rPr>
              <a:t> </a:t>
            </a:r>
            <a:r>
              <a:rPr sz="1050">
                <a:latin typeface="Verdana"/>
                <a:cs typeface="Verdana"/>
              </a:rPr>
              <a:t>row</a:t>
            </a:r>
          </a:p>
        </p:txBody>
      </p:sp>
      <p:sp>
        <p:nvSpPr>
          <p:cNvPr id="34" name="object 34"/>
          <p:cNvSpPr/>
          <p:nvPr/>
        </p:nvSpPr>
        <p:spPr>
          <a:xfrm>
            <a:off x="2025439" y="6289598"/>
            <a:ext cx="611051" cy="342798"/>
          </a:xfrm>
          <a:prstGeom prst="rect">
            <a:avLst/>
          </a:prstGeom>
          <a:blipFill>
            <a:blip r:embed="rId2" cstate="print"/>
            <a:stretch>
              <a:fillRect/>
            </a:stretch>
          </a:blipFill>
        </p:spPr>
        <p:txBody>
          <a:bodyPr wrap="square" lIns="0" tIns="0" rIns="0" bIns="0" rtlCol="0"/>
          <a:lstStyle/>
          <a:p>
            <a:endParaRPr/>
          </a:p>
        </p:txBody>
      </p:sp>
      <p:sp>
        <p:nvSpPr>
          <p:cNvPr id="35" name="object 35"/>
          <p:cNvSpPr/>
          <p:nvPr/>
        </p:nvSpPr>
        <p:spPr>
          <a:xfrm>
            <a:off x="245339" y="4326635"/>
            <a:ext cx="1449397" cy="225551"/>
          </a:xfrm>
          <a:prstGeom prst="rect">
            <a:avLst/>
          </a:prstGeom>
          <a:blipFill>
            <a:blip r:embed="rId3" cstate="print"/>
            <a:stretch>
              <a:fillRect/>
            </a:stretch>
          </a:blipFill>
        </p:spPr>
        <p:txBody>
          <a:bodyPr wrap="square" lIns="0" tIns="0" rIns="0" bIns="0" rtlCol="0"/>
          <a:lstStyle/>
          <a:p>
            <a:endParaRPr/>
          </a:p>
        </p:txBody>
      </p:sp>
      <p:sp>
        <p:nvSpPr>
          <p:cNvPr id="36" name="object 36"/>
          <p:cNvSpPr/>
          <p:nvPr/>
        </p:nvSpPr>
        <p:spPr>
          <a:xfrm>
            <a:off x="3605784" y="4863084"/>
            <a:ext cx="882396" cy="457199"/>
          </a:xfrm>
          <a:prstGeom prst="rect">
            <a:avLst/>
          </a:prstGeom>
          <a:blipFill>
            <a:blip r:embed="rId4" cstate="print"/>
            <a:stretch>
              <a:fillRect/>
            </a:stretch>
          </a:blipFill>
        </p:spPr>
        <p:txBody>
          <a:bodyPr wrap="square" lIns="0" tIns="0" rIns="0" bIns="0" rtlCol="0"/>
          <a:lstStyle/>
          <a:p>
            <a:endParaRPr/>
          </a:p>
        </p:txBody>
      </p:sp>
      <p:sp>
        <p:nvSpPr>
          <p:cNvPr id="37" name="object 37"/>
          <p:cNvSpPr/>
          <p:nvPr/>
        </p:nvSpPr>
        <p:spPr>
          <a:xfrm>
            <a:off x="10849296" y="4314284"/>
            <a:ext cx="998347" cy="315809"/>
          </a:xfrm>
          <a:prstGeom prst="rect">
            <a:avLst/>
          </a:prstGeom>
          <a:blipFill>
            <a:blip r:embed="rId5" cstate="print"/>
            <a:stretch>
              <a:fillRect/>
            </a:stretch>
          </a:blipFill>
        </p:spPr>
        <p:txBody>
          <a:bodyPr wrap="square" lIns="0" tIns="0" rIns="0" bIns="0" rtlCol="0"/>
          <a:lstStyle/>
          <a:p>
            <a:endParaRPr/>
          </a:p>
        </p:txBody>
      </p:sp>
      <p:sp>
        <p:nvSpPr>
          <p:cNvPr id="38" name="object 38"/>
          <p:cNvSpPr/>
          <p:nvPr/>
        </p:nvSpPr>
        <p:spPr>
          <a:xfrm>
            <a:off x="222504" y="3794759"/>
            <a:ext cx="4438015" cy="330835"/>
          </a:xfrm>
          <a:custGeom>
            <a:avLst/>
            <a:gdLst/>
            <a:ahLst/>
            <a:cxnLst/>
            <a:rect l="l" t="t" r="r" b="b"/>
            <a:pathLst>
              <a:path w="4438015" h="330835">
                <a:moveTo>
                  <a:pt x="4382770" y="0"/>
                </a:moveTo>
                <a:lnTo>
                  <a:pt x="55118" y="0"/>
                </a:lnTo>
                <a:lnTo>
                  <a:pt x="33663" y="4325"/>
                </a:lnTo>
                <a:lnTo>
                  <a:pt x="16143" y="16129"/>
                </a:lnTo>
                <a:lnTo>
                  <a:pt x="4331" y="33647"/>
                </a:lnTo>
                <a:lnTo>
                  <a:pt x="0" y="55117"/>
                </a:lnTo>
                <a:lnTo>
                  <a:pt x="0" y="275589"/>
                </a:lnTo>
                <a:lnTo>
                  <a:pt x="4331" y="297060"/>
                </a:lnTo>
                <a:lnTo>
                  <a:pt x="16143" y="314579"/>
                </a:lnTo>
                <a:lnTo>
                  <a:pt x="33663" y="326382"/>
                </a:lnTo>
                <a:lnTo>
                  <a:pt x="55118" y="330707"/>
                </a:lnTo>
                <a:lnTo>
                  <a:pt x="4382770" y="330707"/>
                </a:lnTo>
                <a:lnTo>
                  <a:pt x="4404240" y="326382"/>
                </a:lnTo>
                <a:lnTo>
                  <a:pt x="4421759" y="314579"/>
                </a:lnTo>
                <a:lnTo>
                  <a:pt x="4433562" y="297060"/>
                </a:lnTo>
                <a:lnTo>
                  <a:pt x="4437888" y="275589"/>
                </a:lnTo>
                <a:lnTo>
                  <a:pt x="4437888" y="55117"/>
                </a:lnTo>
                <a:lnTo>
                  <a:pt x="4433562" y="33647"/>
                </a:lnTo>
                <a:lnTo>
                  <a:pt x="4421759" y="16129"/>
                </a:lnTo>
                <a:lnTo>
                  <a:pt x="4404240" y="4325"/>
                </a:lnTo>
                <a:lnTo>
                  <a:pt x="4382770" y="0"/>
                </a:lnTo>
                <a:close/>
              </a:path>
            </a:pathLst>
          </a:custGeom>
          <a:solidFill>
            <a:srgbClr val="12ABDB"/>
          </a:solidFill>
        </p:spPr>
        <p:txBody>
          <a:bodyPr wrap="square" lIns="0" tIns="0" rIns="0" bIns="0" rtlCol="0"/>
          <a:lstStyle/>
          <a:p>
            <a:endParaRPr/>
          </a:p>
        </p:txBody>
      </p:sp>
      <p:sp>
        <p:nvSpPr>
          <p:cNvPr id="39" name="object 39"/>
          <p:cNvSpPr/>
          <p:nvPr/>
        </p:nvSpPr>
        <p:spPr>
          <a:xfrm>
            <a:off x="4977384" y="4735067"/>
            <a:ext cx="548639" cy="694944"/>
          </a:xfrm>
          <a:prstGeom prst="rect">
            <a:avLst/>
          </a:prstGeom>
          <a:blipFill>
            <a:blip r:embed="rId6" cstate="print"/>
            <a:stretch>
              <a:fillRect/>
            </a:stretch>
          </a:blipFill>
        </p:spPr>
        <p:txBody>
          <a:bodyPr wrap="square" lIns="0" tIns="0" rIns="0" bIns="0" rtlCol="0"/>
          <a:lstStyle/>
          <a:p>
            <a:endParaRPr/>
          </a:p>
        </p:txBody>
      </p:sp>
      <p:sp>
        <p:nvSpPr>
          <p:cNvPr id="40" name="object 40"/>
          <p:cNvSpPr/>
          <p:nvPr/>
        </p:nvSpPr>
        <p:spPr>
          <a:xfrm>
            <a:off x="5907023" y="4735067"/>
            <a:ext cx="548639" cy="774191"/>
          </a:xfrm>
          <a:prstGeom prst="rect">
            <a:avLst/>
          </a:prstGeom>
          <a:blipFill>
            <a:blip r:embed="rId7" cstate="print"/>
            <a:stretch>
              <a:fillRect/>
            </a:stretch>
          </a:blipFill>
        </p:spPr>
        <p:txBody>
          <a:bodyPr wrap="square" lIns="0" tIns="0" rIns="0" bIns="0" rtlCol="0"/>
          <a:lstStyle/>
          <a:p>
            <a:endParaRPr/>
          </a:p>
        </p:txBody>
      </p:sp>
      <p:sp>
        <p:nvSpPr>
          <p:cNvPr id="41" name="object 41"/>
          <p:cNvSpPr/>
          <p:nvPr/>
        </p:nvSpPr>
        <p:spPr>
          <a:xfrm>
            <a:off x="7769234" y="4734972"/>
            <a:ext cx="548820" cy="777341"/>
          </a:xfrm>
          <a:prstGeom prst="rect">
            <a:avLst/>
          </a:prstGeom>
          <a:blipFill>
            <a:blip r:embed="rId8" cstate="print"/>
            <a:stretch>
              <a:fillRect/>
            </a:stretch>
          </a:blipFill>
        </p:spPr>
        <p:txBody>
          <a:bodyPr wrap="square" lIns="0" tIns="0" rIns="0" bIns="0" rtlCol="0"/>
          <a:lstStyle/>
          <a:p>
            <a:endParaRPr/>
          </a:p>
        </p:txBody>
      </p:sp>
      <p:sp>
        <p:nvSpPr>
          <p:cNvPr id="42" name="object 42"/>
          <p:cNvSpPr/>
          <p:nvPr/>
        </p:nvSpPr>
        <p:spPr>
          <a:xfrm>
            <a:off x="6838188" y="4735067"/>
            <a:ext cx="548640" cy="775716"/>
          </a:xfrm>
          <a:prstGeom prst="rect">
            <a:avLst/>
          </a:prstGeom>
          <a:blipFill>
            <a:blip r:embed="rId9" cstate="print"/>
            <a:stretch>
              <a:fillRect/>
            </a:stretch>
          </a:blipFill>
        </p:spPr>
        <p:txBody>
          <a:bodyPr wrap="square" lIns="0" tIns="0" rIns="0" bIns="0" rtlCol="0"/>
          <a:lstStyle/>
          <a:p>
            <a:endParaRPr/>
          </a:p>
        </p:txBody>
      </p:sp>
      <p:sp>
        <p:nvSpPr>
          <p:cNvPr id="43" name="object 43"/>
          <p:cNvSpPr/>
          <p:nvPr/>
        </p:nvSpPr>
        <p:spPr>
          <a:xfrm>
            <a:off x="8697402" y="4732787"/>
            <a:ext cx="552611" cy="778022"/>
          </a:xfrm>
          <a:prstGeom prst="rect">
            <a:avLst/>
          </a:prstGeom>
          <a:blipFill>
            <a:blip r:embed="rId10" cstate="print"/>
            <a:stretch>
              <a:fillRect/>
            </a:stretch>
          </a:blipFill>
        </p:spPr>
        <p:txBody>
          <a:bodyPr wrap="square" lIns="0" tIns="0" rIns="0" bIns="0" rtlCol="0"/>
          <a:lstStyle/>
          <a:p>
            <a:endParaRPr/>
          </a:p>
        </p:txBody>
      </p:sp>
      <p:sp>
        <p:nvSpPr>
          <p:cNvPr id="44" name="object 44"/>
          <p:cNvSpPr/>
          <p:nvPr/>
        </p:nvSpPr>
        <p:spPr>
          <a:xfrm>
            <a:off x="9630156" y="4735067"/>
            <a:ext cx="548640" cy="775716"/>
          </a:xfrm>
          <a:prstGeom prst="rect">
            <a:avLst/>
          </a:prstGeom>
          <a:blipFill>
            <a:blip r:embed="rId11" cstate="print"/>
            <a:stretch>
              <a:fillRect/>
            </a:stretch>
          </a:blipFill>
        </p:spPr>
        <p:txBody>
          <a:bodyPr wrap="square" lIns="0" tIns="0" rIns="0" bIns="0" rtlCol="0"/>
          <a:lstStyle/>
          <a:p>
            <a:endParaRPr/>
          </a:p>
        </p:txBody>
      </p:sp>
      <p:sp>
        <p:nvSpPr>
          <p:cNvPr id="45" name="object 45"/>
          <p:cNvSpPr/>
          <p:nvPr/>
        </p:nvSpPr>
        <p:spPr>
          <a:xfrm>
            <a:off x="6373367" y="5070002"/>
            <a:ext cx="548948" cy="776086"/>
          </a:xfrm>
          <a:prstGeom prst="rect">
            <a:avLst/>
          </a:prstGeom>
          <a:blipFill>
            <a:blip r:embed="rId12" cstate="print"/>
            <a:stretch>
              <a:fillRect/>
            </a:stretch>
          </a:blipFill>
        </p:spPr>
        <p:txBody>
          <a:bodyPr wrap="square" lIns="0" tIns="0" rIns="0" bIns="0" rtlCol="0"/>
          <a:lstStyle/>
          <a:p>
            <a:endParaRPr/>
          </a:p>
        </p:txBody>
      </p:sp>
      <p:sp>
        <p:nvSpPr>
          <p:cNvPr id="46" name="object 46"/>
          <p:cNvSpPr/>
          <p:nvPr/>
        </p:nvSpPr>
        <p:spPr>
          <a:xfrm>
            <a:off x="5442152" y="5205652"/>
            <a:ext cx="0" cy="7620"/>
          </a:xfrm>
          <a:custGeom>
            <a:avLst/>
            <a:gdLst/>
            <a:ahLst/>
            <a:cxnLst/>
            <a:rect l="l" t="t" r="r" b="b"/>
            <a:pathLst>
              <a:path h="7620">
                <a:moveTo>
                  <a:pt x="0" y="0"/>
                </a:moveTo>
                <a:lnTo>
                  <a:pt x="0" y="7474"/>
                </a:lnTo>
              </a:path>
            </a:pathLst>
          </a:custGeom>
          <a:ln w="3175">
            <a:solidFill>
              <a:srgbClr val="EC245C"/>
            </a:solidFill>
          </a:ln>
        </p:spPr>
        <p:txBody>
          <a:bodyPr wrap="square" lIns="0" tIns="0" rIns="0" bIns="0" rtlCol="0"/>
          <a:lstStyle/>
          <a:p>
            <a:endParaRPr/>
          </a:p>
        </p:txBody>
      </p:sp>
      <p:sp>
        <p:nvSpPr>
          <p:cNvPr id="47" name="object 47"/>
          <p:cNvSpPr/>
          <p:nvPr/>
        </p:nvSpPr>
        <p:spPr>
          <a:xfrm>
            <a:off x="5442203" y="5070002"/>
            <a:ext cx="548640" cy="776605"/>
          </a:xfrm>
          <a:custGeom>
            <a:avLst/>
            <a:gdLst/>
            <a:ahLst/>
            <a:cxnLst/>
            <a:rect l="l" t="t" r="r" b="b"/>
            <a:pathLst>
              <a:path w="548639" h="776604">
                <a:moveTo>
                  <a:pt x="0" y="776086"/>
                </a:moveTo>
                <a:lnTo>
                  <a:pt x="548534" y="776086"/>
                </a:lnTo>
                <a:lnTo>
                  <a:pt x="548534" y="0"/>
                </a:lnTo>
                <a:lnTo>
                  <a:pt x="0" y="0"/>
                </a:lnTo>
                <a:lnTo>
                  <a:pt x="0" y="776086"/>
                </a:lnTo>
                <a:close/>
              </a:path>
            </a:pathLst>
          </a:custGeom>
          <a:solidFill>
            <a:srgbClr val="E7E7E7"/>
          </a:solidFill>
        </p:spPr>
        <p:txBody>
          <a:bodyPr wrap="square" lIns="0" tIns="0" rIns="0" bIns="0" rtlCol="0"/>
          <a:lstStyle/>
          <a:p>
            <a:endParaRPr/>
          </a:p>
        </p:txBody>
      </p:sp>
      <p:sp>
        <p:nvSpPr>
          <p:cNvPr id="48" name="object 48"/>
          <p:cNvSpPr/>
          <p:nvPr/>
        </p:nvSpPr>
        <p:spPr>
          <a:xfrm>
            <a:off x="5708593" y="5756901"/>
            <a:ext cx="4445" cy="4445"/>
          </a:xfrm>
          <a:custGeom>
            <a:avLst/>
            <a:gdLst/>
            <a:ahLst/>
            <a:cxnLst/>
            <a:rect l="l" t="t" r="r" b="b"/>
            <a:pathLst>
              <a:path w="4445" h="4445">
                <a:moveTo>
                  <a:pt x="2487" y="0"/>
                </a:moveTo>
                <a:lnTo>
                  <a:pt x="0" y="1866"/>
                </a:lnTo>
                <a:lnTo>
                  <a:pt x="1934" y="4355"/>
                </a:lnTo>
                <a:lnTo>
                  <a:pt x="4349" y="2419"/>
                </a:lnTo>
                <a:lnTo>
                  <a:pt x="2487" y="0"/>
                </a:lnTo>
                <a:close/>
              </a:path>
            </a:pathLst>
          </a:custGeom>
          <a:solidFill>
            <a:srgbClr val="E7E7E7"/>
          </a:solidFill>
        </p:spPr>
        <p:txBody>
          <a:bodyPr wrap="square" lIns="0" tIns="0" rIns="0" bIns="0" rtlCol="0"/>
          <a:lstStyle/>
          <a:p>
            <a:endParaRPr/>
          </a:p>
        </p:txBody>
      </p:sp>
      <p:sp>
        <p:nvSpPr>
          <p:cNvPr id="49" name="object 49"/>
          <p:cNvSpPr/>
          <p:nvPr/>
        </p:nvSpPr>
        <p:spPr>
          <a:xfrm>
            <a:off x="5705414" y="5753373"/>
            <a:ext cx="3810" cy="3810"/>
          </a:xfrm>
          <a:custGeom>
            <a:avLst/>
            <a:gdLst/>
            <a:ahLst/>
            <a:cxnLst/>
            <a:rect l="l" t="t" r="r" b="b"/>
            <a:pathLst>
              <a:path w="3810" h="3810">
                <a:moveTo>
                  <a:pt x="829" y="0"/>
                </a:moveTo>
                <a:lnTo>
                  <a:pt x="0" y="2974"/>
                </a:lnTo>
                <a:lnTo>
                  <a:pt x="2966" y="3804"/>
                </a:lnTo>
                <a:lnTo>
                  <a:pt x="3796" y="831"/>
                </a:lnTo>
                <a:lnTo>
                  <a:pt x="829" y="0"/>
                </a:lnTo>
                <a:close/>
              </a:path>
            </a:pathLst>
          </a:custGeom>
          <a:solidFill>
            <a:srgbClr val="E7E7E7"/>
          </a:solidFill>
        </p:spPr>
        <p:txBody>
          <a:bodyPr wrap="square" lIns="0" tIns="0" rIns="0" bIns="0" rtlCol="0"/>
          <a:lstStyle/>
          <a:p>
            <a:endParaRPr/>
          </a:p>
        </p:txBody>
      </p:sp>
      <p:sp>
        <p:nvSpPr>
          <p:cNvPr id="50" name="object 50"/>
          <p:cNvSpPr/>
          <p:nvPr/>
        </p:nvSpPr>
        <p:spPr>
          <a:xfrm>
            <a:off x="5481048" y="5216094"/>
            <a:ext cx="321058" cy="78755"/>
          </a:xfrm>
          <a:prstGeom prst="rect">
            <a:avLst/>
          </a:prstGeom>
          <a:blipFill>
            <a:blip r:embed="rId13" cstate="print"/>
            <a:stretch>
              <a:fillRect/>
            </a:stretch>
          </a:blipFill>
        </p:spPr>
        <p:txBody>
          <a:bodyPr wrap="square" lIns="0" tIns="0" rIns="0" bIns="0" rtlCol="0"/>
          <a:lstStyle/>
          <a:p>
            <a:endParaRPr/>
          </a:p>
        </p:txBody>
      </p:sp>
      <p:sp>
        <p:nvSpPr>
          <p:cNvPr id="51" name="object 51"/>
          <p:cNvSpPr/>
          <p:nvPr/>
        </p:nvSpPr>
        <p:spPr>
          <a:xfrm>
            <a:off x="5442203" y="5337577"/>
            <a:ext cx="215305" cy="326818"/>
          </a:xfrm>
          <a:prstGeom prst="rect">
            <a:avLst/>
          </a:prstGeom>
          <a:blipFill>
            <a:blip r:embed="rId14" cstate="print"/>
            <a:stretch>
              <a:fillRect/>
            </a:stretch>
          </a:blipFill>
        </p:spPr>
        <p:txBody>
          <a:bodyPr wrap="square" lIns="0" tIns="0" rIns="0" bIns="0" rtlCol="0"/>
          <a:lstStyle/>
          <a:p>
            <a:endParaRPr/>
          </a:p>
        </p:txBody>
      </p:sp>
      <p:sp>
        <p:nvSpPr>
          <p:cNvPr id="52" name="object 52"/>
          <p:cNvSpPr/>
          <p:nvPr/>
        </p:nvSpPr>
        <p:spPr>
          <a:xfrm>
            <a:off x="5868807" y="5583502"/>
            <a:ext cx="78105" cy="44450"/>
          </a:xfrm>
          <a:custGeom>
            <a:avLst/>
            <a:gdLst/>
            <a:ahLst/>
            <a:cxnLst/>
            <a:rect l="l" t="t" r="r" b="b"/>
            <a:pathLst>
              <a:path w="78104" h="44450">
                <a:moveTo>
                  <a:pt x="64701" y="0"/>
                </a:moveTo>
                <a:lnTo>
                  <a:pt x="25025" y="6700"/>
                </a:lnTo>
                <a:lnTo>
                  <a:pt x="16732" y="22119"/>
                </a:lnTo>
                <a:lnTo>
                  <a:pt x="13342" y="22119"/>
                </a:lnTo>
                <a:lnTo>
                  <a:pt x="0" y="33391"/>
                </a:lnTo>
                <a:lnTo>
                  <a:pt x="40505" y="43833"/>
                </a:lnTo>
                <a:lnTo>
                  <a:pt x="66977" y="27585"/>
                </a:lnTo>
                <a:lnTo>
                  <a:pt x="78043" y="9188"/>
                </a:lnTo>
                <a:lnTo>
                  <a:pt x="64701" y="0"/>
                </a:lnTo>
                <a:close/>
              </a:path>
            </a:pathLst>
          </a:custGeom>
          <a:solidFill>
            <a:srgbClr val="E7E7E7"/>
          </a:solidFill>
        </p:spPr>
        <p:txBody>
          <a:bodyPr wrap="square" lIns="0" tIns="0" rIns="0" bIns="0" rtlCol="0"/>
          <a:lstStyle/>
          <a:p>
            <a:endParaRPr/>
          </a:p>
        </p:txBody>
      </p:sp>
      <p:sp>
        <p:nvSpPr>
          <p:cNvPr id="53" name="object 53"/>
          <p:cNvSpPr/>
          <p:nvPr/>
        </p:nvSpPr>
        <p:spPr>
          <a:xfrm>
            <a:off x="5700991" y="5522394"/>
            <a:ext cx="272415" cy="109855"/>
          </a:xfrm>
          <a:custGeom>
            <a:avLst/>
            <a:gdLst/>
            <a:ahLst/>
            <a:cxnLst/>
            <a:rect l="l" t="t" r="r" b="b"/>
            <a:pathLst>
              <a:path w="272414" h="109854">
                <a:moveTo>
                  <a:pt x="109868" y="0"/>
                </a:moveTo>
                <a:lnTo>
                  <a:pt x="63245" y="260"/>
                </a:lnTo>
                <a:lnTo>
                  <a:pt x="25154" y="20177"/>
                </a:lnTo>
                <a:lnTo>
                  <a:pt x="6422" y="55854"/>
                </a:lnTo>
                <a:lnTo>
                  <a:pt x="3796" y="58896"/>
                </a:lnTo>
                <a:lnTo>
                  <a:pt x="0" y="62693"/>
                </a:lnTo>
                <a:lnTo>
                  <a:pt x="667" y="92319"/>
                </a:lnTo>
                <a:lnTo>
                  <a:pt x="755" y="99061"/>
                </a:lnTo>
                <a:lnTo>
                  <a:pt x="1999" y="102591"/>
                </a:lnTo>
                <a:lnTo>
                  <a:pt x="3123" y="105946"/>
                </a:lnTo>
                <a:lnTo>
                  <a:pt x="3178" y="107292"/>
                </a:lnTo>
                <a:lnTo>
                  <a:pt x="6422" y="109707"/>
                </a:lnTo>
                <a:lnTo>
                  <a:pt x="16723" y="109707"/>
                </a:lnTo>
                <a:lnTo>
                  <a:pt x="16856" y="105946"/>
                </a:lnTo>
                <a:lnTo>
                  <a:pt x="18719" y="96936"/>
                </a:lnTo>
                <a:lnTo>
                  <a:pt x="24509" y="86086"/>
                </a:lnTo>
                <a:lnTo>
                  <a:pt x="36423" y="76803"/>
                </a:lnTo>
                <a:lnTo>
                  <a:pt x="51053" y="73311"/>
                </a:lnTo>
                <a:lnTo>
                  <a:pt x="216986" y="73311"/>
                </a:lnTo>
                <a:lnTo>
                  <a:pt x="267105" y="73273"/>
                </a:lnTo>
                <a:lnTo>
                  <a:pt x="267006" y="73135"/>
                </a:lnTo>
                <a:lnTo>
                  <a:pt x="263615" y="66361"/>
                </a:lnTo>
                <a:lnTo>
                  <a:pt x="259702" y="59872"/>
                </a:lnTo>
                <a:lnTo>
                  <a:pt x="251382" y="52314"/>
                </a:lnTo>
                <a:lnTo>
                  <a:pt x="236012" y="46144"/>
                </a:lnTo>
                <a:lnTo>
                  <a:pt x="210947" y="43817"/>
                </a:lnTo>
                <a:lnTo>
                  <a:pt x="208373" y="42551"/>
                </a:lnTo>
                <a:lnTo>
                  <a:pt x="202126" y="39385"/>
                </a:lnTo>
                <a:lnTo>
                  <a:pt x="194415" y="35275"/>
                </a:lnTo>
                <a:lnTo>
                  <a:pt x="187451" y="31172"/>
                </a:lnTo>
                <a:lnTo>
                  <a:pt x="169222" y="19364"/>
                </a:lnTo>
                <a:lnTo>
                  <a:pt x="159460" y="13204"/>
                </a:lnTo>
                <a:lnTo>
                  <a:pt x="124961" y="260"/>
                </a:lnTo>
                <a:lnTo>
                  <a:pt x="109868" y="0"/>
                </a:lnTo>
                <a:close/>
              </a:path>
              <a:path w="272414" h="109854">
                <a:moveTo>
                  <a:pt x="216986" y="73311"/>
                </a:moveTo>
                <a:lnTo>
                  <a:pt x="51053" y="73311"/>
                </a:lnTo>
                <a:lnTo>
                  <a:pt x="62757" y="75270"/>
                </a:lnTo>
                <a:lnTo>
                  <a:pt x="70521" y="79083"/>
                </a:lnTo>
                <a:lnTo>
                  <a:pt x="86262" y="109707"/>
                </a:lnTo>
                <a:lnTo>
                  <a:pt x="182264" y="109707"/>
                </a:lnTo>
                <a:lnTo>
                  <a:pt x="182672" y="104325"/>
                </a:lnTo>
                <a:lnTo>
                  <a:pt x="186256" y="92319"/>
                </a:lnTo>
                <a:lnTo>
                  <a:pt x="196553" y="79899"/>
                </a:lnTo>
                <a:lnTo>
                  <a:pt x="216986" y="73311"/>
                </a:lnTo>
                <a:close/>
              </a:path>
              <a:path w="272414" h="109854">
                <a:moveTo>
                  <a:pt x="267105" y="73273"/>
                </a:moveTo>
                <a:lnTo>
                  <a:pt x="217102" y="73273"/>
                </a:lnTo>
                <a:lnTo>
                  <a:pt x="229782" y="75612"/>
                </a:lnTo>
                <a:lnTo>
                  <a:pt x="240897" y="82338"/>
                </a:lnTo>
                <a:lnTo>
                  <a:pt x="248927" y="93640"/>
                </a:lnTo>
                <a:lnTo>
                  <a:pt x="252355" y="109707"/>
                </a:lnTo>
                <a:lnTo>
                  <a:pt x="268462" y="109707"/>
                </a:lnTo>
                <a:lnTo>
                  <a:pt x="272055" y="84407"/>
                </a:lnTo>
                <a:lnTo>
                  <a:pt x="271979" y="79083"/>
                </a:lnTo>
                <a:lnTo>
                  <a:pt x="271705" y="76591"/>
                </a:lnTo>
                <a:lnTo>
                  <a:pt x="269844" y="75559"/>
                </a:lnTo>
                <a:lnTo>
                  <a:pt x="268047" y="74591"/>
                </a:lnTo>
                <a:lnTo>
                  <a:pt x="267105" y="73273"/>
                </a:lnTo>
                <a:close/>
              </a:path>
            </a:pathLst>
          </a:custGeom>
          <a:solidFill>
            <a:srgbClr val="251242"/>
          </a:solidFill>
        </p:spPr>
        <p:txBody>
          <a:bodyPr wrap="square" lIns="0" tIns="0" rIns="0" bIns="0" rtlCol="0"/>
          <a:lstStyle/>
          <a:p>
            <a:endParaRPr/>
          </a:p>
        </p:txBody>
      </p:sp>
      <p:sp>
        <p:nvSpPr>
          <p:cNvPr id="54" name="object 54"/>
          <p:cNvSpPr/>
          <p:nvPr/>
        </p:nvSpPr>
        <p:spPr>
          <a:xfrm>
            <a:off x="5723381" y="5603825"/>
            <a:ext cx="57785" cy="57785"/>
          </a:xfrm>
          <a:custGeom>
            <a:avLst/>
            <a:gdLst/>
            <a:ahLst/>
            <a:cxnLst/>
            <a:rect l="l" t="t" r="r" b="b"/>
            <a:pathLst>
              <a:path w="57785" h="57785">
                <a:moveTo>
                  <a:pt x="28683" y="0"/>
                </a:moveTo>
                <a:lnTo>
                  <a:pt x="17523" y="2246"/>
                </a:lnTo>
                <a:lnTo>
                  <a:pt x="8405" y="8375"/>
                </a:lnTo>
                <a:lnTo>
                  <a:pt x="2255" y="17473"/>
                </a:lnTo>
                <a:lnTo>
                  <a:pt x="0" y="28626"/>
                </a:lnTo>
                <a:lnTo>
                  <a:pt x="2255" y="39789"/>
                </a:lnTo>
                <a:lnTo>
                  <a:pt x="8405" y="48909"/>
                </a:lnTo>
                <a:lnTo>
                  <a:pt x="17523" y="55061"/>
                </a:lnTo>
                <a:lnTo>
                  <a:pt x="28683" y="57317"/>
                </a:lnTo>
                <a:lnTo>
                  <a:pt x="39843" y="55061"/>
                </a:lnTo>
                <a:lnTo>
                  <a:pt x="48961" y="48909"/>
                </a:lnTo>
                <a:lnTo>
                  <a:pt x="55111" y="39789"/>
                </a:lnTo>
                <a:lnTo>
                  <a:pt x="57367" y="28626"/>
                </a:lnTo>
                <a:lnTo>
                  <a:pt x="55111" y="17473"/>
                </a:lnTo>
                <a:lnTo>
                  <a:pt x="48961" y="8375"/>
                </a:lnTo>
                <a:lnTo>
                  <a:pt x="39843" y="2246"/>
                </a:lnTo>
                <a:lnTo>
                  <a:pt x="28683" y="0"/>
                </a:lnTo>
                <a:close/>
              </a:path>
            </a:pathLst>
          </a:custGeom>
          <a:solidFill>
            <a:srgbClr val="251242"/>
          </a:solidFill>
        </p:spPr>
        <p:txBody>
          <a:bodyPr wrap="square" lIns="0" tIns="0" rIns="0" bIns="0" rtlCol="0"/>
          <a:lstStyle/>
          <a:p>
            <a:endParaRPr/>
          </a:p>
        </p:txBody>
      </p:sp>
      <p:sp>
        <p:nvSpPr>
          <p:cNvPr id="55" name="object 55"/>
          <p:cNvSpPr/>
          <p:nvPr/>
        </p:nvSpPr>
        <p:spPr>
          <a:xfrm>
            <a:off x="5891483" y="5603825"/>
            <a:ext cx="57785" cy="57785"/>
          </a:xfrm>
          <a:custGeom>
            <a:avLst/>
            <a:gdLst/>
            <a:ahLst/>
            <a:cxnLst/>
            <a:rect l="l" t="t" r="r" b="b"/>
            <a:pathLst>
              <a:path w="57785" h="57785">
                <a:moveTo>
                  <a:pt x="28609" y="0"/>
                </a:moveTo>
                <a:lnTo>
                  <a:pt x="17465" y="2246"/>
                </a:lnTo>
                <a:lnTo>
                  <a:pt x="8372" y="8375"/>
                </a:lnTo>
                <a:lnTo>
                  <a:pt x="2245" y="17473"/>
                </a:lnTo>
                <a:lnTo>
                  <a:pt x="0" y="28626"/>
                </a:lnTo>
                <a:lnTo>
                  <a:pt x="2245" y="39789"/>
                </a:lnTo>
                <a:lnTo>
                  <a:pt x="8372" y="48909"/>
                </a:lnTo>
                <a:lnTo>
                  <a:pt x="17465" y="55061"/>
                </a:lnTo>
                <a:lnTo>
                  <a:pt x="28609" y="57317"/>
                </a:lnTo>
                <a:lnTo>
                  <a:pt x="39771" y="55061"/>
                </a:lnTo>
                <a:lnTo>
                  <a:pt x="48892" y="48909"/>
                </a:lnTo>
                <a:lnTo>
                  <a:pt x="55045" y="39789"/>
                </a:lnTo>
                <a:lnTo>
                  <a:pt x="57302" y="28626"/>
                </a:lnTo>
                <a:lnTo>
                  <a:pt x="55045" y="17473"/>
                </a:lnTo>
                <a:lnTo>
                  <a:pt x="48892" y="8375"/>
                </a:lnTo>
                <a:lnTo>
                  <a:pt x="39771" y="2246"/>
                </a:lnTo>
                <a:lnTo>
                  <a:pt x="28609" y="0"/>
                </a:lnTo>
                <a:close/>
              </a:path>
            </a:pathLst>
          </a:custGeom>
          <a:solidFill>
            <a:srgbClr val="251242"/>
          </a:solidFill>
        </p:spPr>
        <p:txBody>
          <a:bodyPr wrap="square" lIns="0" tIns="0" rIns="0" bIns="0" rtlCol="0"/>
          <a:lstStyle/>
          <a:p>
            <a:endParaRPr/>
          </a:p>
        </p:txBody>
      </p:sp>
      <p:sp>
        <p:nvSpPr>
          <p:cNvPr id="56" name="object 56"/>
          <p:cNvSpPr/>
          <p:nvPr/>
        </p:nvSpPr>
        <p:spPr>
          <a:xfrm>
            <a:off x="5541458" y="5439485"/>
            <a:ext cx="5715" cy="5715"/>
          </a:xfrm>
          <a:custGeom>
            <a:avLst/>
            <a:gdLst/>
            <a:ahLst/>
            <a:cxnLst/>
            <a:rect l="l" t="t" r="r" b="b"/>
            <a:pathLst>
              <a:path w="5714" h="5714">
                <a:moveTo>
                  <a:pt x="0" y="5327"/>
                </a:moveTo>
                <a:lnTo>
                  <a:pt x="5325" y="5327"/>
                </a:lnTo>
                <a:lnTo>
                  <a:pt x="5325" y="0"/>
                </a:lnTo>
                <a:lnTo>
                  <a:pt x="0" y="0"/>
                </a:lnTo>
                <a:lnTo>
                  <a:pt x="0" y="5327"/>
                </a:lnTo>
                <a:close/>
              </a:path>
            </a:pathLst>
          </a:custGeom>
          <a:solidFill>
            <a:srgbClr val="46BD77"/>
          </a:solidFill>
        </p:spPr>
        <p:txBody>
          <a:bodyPr wrap="square" lIns="0" tIns="0" rIns="0" bIns="0" rtlCol="0"/>
          <a:lstStyle/>
          <a:p>
            <a:endParaRPr/>
          </a:p>
        </p:txBody>
      </p:sp>
      <p:sp>
        <p:nvSpPr>
          <p:cNvPr id="57" name="object 57"/>
          <p:cNvSpPr/>
          <p:nvPr/>
        </p:nvSpPr>
        <p:spPr>
          <a:xfrm>
            <a:off x="5546092" y="5607217"/>
            <a:ext cx="8890" cy="8890"/>
          </a:xfrm>
          <a:custGeom>
            <a:avLst/>
            <a:gdLst/>
            <a:ahLst/>
            <a:cxnLst/>
            <a:rect l="l" t="t" r="r" b="b"/>
            <a:pathLst>
              <a:path w="8889" h="8889">
                <a:moveTo>
                  <a:pt x="0" y="8571"/>
                </a:moveTo>
                <a:lnTo>
                  <a:pt x="8633" y="8571"/>
                </a:lnTo>
                <a:lnTo>
                  <a:pt x="8633" y="0"/>
                </a:lnTo>
                <a:lnTo>
                  <a:pt x="0" y="0"/>
                </a:lnTo>
                <a:lnTo>
                  <a:pt x="0" y="8571"/>
                </a:lnTo>
                <a:close/>
              </a:path>
            </a:pathLst>
          </a:custGeom>
          <a:solidFill>
            <a:srgbClr val="E7E7E7"/>
          </a:solidFill>
        </p:spPr>
        <p:txBody>
          <a:bodyPr wrap="square" lIns="0" tIns="0" rIns="0" bIns="0" rtlCol="0"/>
          <a:lstStyle/>
          <a:p>
            <a:endParaRPr/>
          </a:p>
        </p:txBody>
      </p:sp>
      <p:sp>
        <p:nvSpPr>
          <p:cNvPr id="58" name="object 58"/>
          <p:cNvSpPr/>
          <p:nvPr/>
        </p:nvSpPr>
        <p:spPr>
          <a:xfrm>
            <a:off x="5537524" y="5598645"/>
            <a:ext cx="8890" cy="8890"/>
          </a:xfrm>
          <a:custGeom>
            <a:avLst/>
            <a:gdLst/>
            <a:ahLst/>
            <a:cxnLst/>
            <a:rect l="l" t="t" r="r" b="b"/>
            <a:pathLst>
              <a:path w="8889" h="8889">
                <a:moveTo>
                  <a:pt x="0" y="8571"/>
                </a:moveTo>
                <a:lnTo>
                  <a:pt x="8569" y="8571"/>
                </a:lnTo>
                <a:lnTo>
                  <a:pt x="8569" y="0"/>
                </a:lnTo>
                <a:lnTo>
                  <a:pt x="0" y="0"/>
                </a:lnTo>
                <a:lnTo>
                  <a:pt x="0" y="8571"/>
                </a:lnTo>
                <a:close/>
              </a:path>
            </a:pathLst>
          </a:custGeom>
          <a:solidFill>
            <a:srgbClr val="EC245C"/>
          </a:solidFill>
        </p:spPr>
        <p:txBody>
          <a:bodyPr wrap="square" lIns="0" tIns="0" rIns="0" bIns="0" rtlCol="0"/>
          <a:lstStyle/>
          <a:p>
            <a:endParaRPr/>
          </a:p>
        </p:txBody>
      </p:sp>
      <p:sp>
        <p:nvSpPr>
          <p:cNvPr id="59" name="object 59"/>
          <p:cNvSpPr/>
          <p:nvPr/>
        </p:nvSpPr>
        <p:spPr>
          <a:xfrm>
            <a:off x="5774390" y="5510010"/>
            <a:ext cx="5080" cy="5080"/>
          </a:xfrm>
          <a:custGeom>
            <a:avLst/>
            <a:gdLst/>
            <a:ahLst/>
            <a:cxnLst/>
            <a:rect l="l" t="t" r="r" b="b"/>
            <a:pathLst>
              <a:path w="5079" h="5079">
                <a:moveTo>
                  <a:pt x="0" y="4838"/>
                </a:moveTo>
                <a:lnTo>
                  <a:pt x="4911" y="4838"/>
                </a:lnTo>
                <a:lnTo>
                  <a:pt x="4911" y="0"/>
                </a:lnTo>
                <a:lnTo>
                  <a:pt x="0" y="0"/>
                </a:lnTo>
                <a:lnTo>
                  <a:pt x="0" y="4838"/>
                </a:lnTo>
                <a:close/>
              </a:path>
            </a:pathLst>
          </a:custGeom>
          <a:solidFill>
            <a:srgbClr val="F05430"/>
          </a:solidFill>
        </p:spPr>
        <p:txBody>
          <a:bodyPr wrap="square" lIns="0" tIns="0" rIns="0" bIns="0" rtlCol="0"/>
          <a:lstStyle/>
          <a:p>
            <a:endParaRPr/>
          </a:p>
        </p:txBody>
      </p:sp>
      <p:sp>
        <p:nvSpPr>
          <p:cNvPr id="60" name="object 60"/>
          <p:cNvSpPr/>
          <p:nvPr/>
        </p:nvSpPr>
        <p:spPr>
          <a:xfrm>
            <a:off x="5712048" y="5555226"/>
            <a:ext cx="7620" cy="7620"/>
          </a:xfrm>
          <a:custGeom>
            <a:avLst/>
            <a:gdLst/>
            <a:ahLst/>
            <a:cxnLst/>
            <a:rect l="l" t="t" r="r" b="b"/>
            <a:pathLst>
              <a:path w="7620" h="7620">
                <a:moveTo>
                  <a:pt x="0" y="7391"/>
                </a:moveTo>
                <a:lnTo>
                  <a:pt x="7463" y="7391"/>
                </a:lnTo>
                <a:lnTo>
                  <a:pt x="7463" y="0"/>
                </a:lnTo>
                <a:lnTo>
                  <a:pt x="0" y="0"/>
                </a:lnTo>
                <a:lnTo>
                  <a:pt x="0" y="7391"/>
                </a:lnTo>
                <a:close/>
              </a:path>
            </a:pathLst>
          </a:custGeom>
          <a:solidFill>
            <a:srgbClr val="E7E7E7"/>
          </a:solidFill>
        </p:spPr>
        <p:txBody>
          <a:bodyPr wrap="square" lIns="0" tIns="0" rIns="0" bIns="0" rtlCol="0"/>
          <a:lstStyle/>
          <a:p>
            <a:endParaRPr/>
          </a:p>
        </p:txBody>
      </p:sp>
      <p:sp>
        <p:nvSpPr>
          <p:cNvPr id="61" name="object 61"/>
          <p:cNvSpPr/>
          <p:nvPr/>
        </p:nvSpPr>
        <p:spPr>
          <a:xfrm>
            <a:off x="5706860" y="5557715"/>
            <a:ext cx="12700" cy="11430"/>
          </a:xfrm>
          <a:custGeom>
            <a:avLst/>
            <a:gdLst/>
            <a:ahLst/>
            <a:cxnLst/>
            <a:rect l="l" t="t" r="r" b="b"/>
            <a:pathLst>
              <a:path w="12700" h="11429">
                <a:moveTo>
                  <a:pt x="0" y="11124"/>
                </a:moveTo>
                <a:lnTo>
                  <a:pt x="12650" y="11124"/>
                </a:lnTo>
                <a:lnTo>
                  <a:pt x="12650" y="0"/>
                </a:lnTo>
                <a:lnTo>
                  <a:pt x="0" y="0"/>
                </a:lnTo>
                <a:lnTo>
                  <a:pt x="0" y="11124"/>
                </a:lnTo>
                <a:close/>
              </a:path>
            </a:pathLst>
          </a:custGeom>
          <a:solidFill>
            <a:srgbClr val="E7E7E7"/>
          </a:solidFill>
        </p:spPr>
        <p:txBody>
          <a:bodyPr wrap="square" lIns="0" tIns="0" rIns="0" bIns="0" rtlCol="0"/>
          <a:lstStyle/>
          <a:p>
            <a:endParaRPr/>
          </a:p>
        </p:txBody>
      </p:sp>
      <p:sp>
        <p:nvSpPr>
          <p:cNvPr id="62" name="object 62"/>
          <p:cNvSpPr/>
          <p:nvPr/>
        </p:nvSpPr>
        <p:spPr>
          <a:xfrm>
            <a:off x="5708657" y="5567530"/>
            <a:ext cx="17145" cy="7620"/>
          </a:xfrm>
          <a:custGeom>
            <a:avLst/>
            <a:gdLst/>
            <a:ahLst/>
            <a:cxnLst/>
            <a:rect l="l" t="t" r="r" b="b"/>
            <a:pathLst>
              <a:path w="17145" h="7620">
                <a:moveTo>
                  <a:pt x="0" y="7465"/>
                </a:moveTo>
                <a:lnTo>
                  <a:pt x="17009" y="7465"/>
                </a:lnTo>
                <a:lnTo>
                  <a:pt x="17009" y="0"/>
                </a:lnTo>
                <a:lnTo>
                  <a:pt x="0" y="0"/>
                </a:lnTo>
                <a:lnTo>
                  <a:pt x="0" y="7465"/>
                </a:lnTo>
                <a:close/>
              </a:path>
            </a:pathLst>
          </a:custGeom>
          <a:solidFill>
            <a:srgbClr val="E7E7E7"/>
          </a:solidFill>
        </p:spPr>
        <p:txBody>
          <a:bodyPr wrap="square" lIns="0" tIns="0" rIns="0" bIns="0" rtlCol="0"/>
          <a:lstStyle/>
          <a:p>
            <a:endParaRPr/>
          </a:p>
        </p:txBody>
      </p:sp>
      <p:sp>
        <p:nvSpPr>
          <p:cNvPr id="63" name="object 63"/>
          <p:cNvSpPr/>
          <p:nvPr/>
        </p:nvSpPr>
        <p:spPr>
          <a:xfrm>
            <a:off x="5697535" y="5574996"/>
            <a:ext cx="23495" cy="8890"/>
          </a:xfrm>
          <a:custGeom>
            <a:avLst/>
            <a:gdLst/>
            <a:ahLst/>
            <a:cxnLst/>
            <a:rect l="l" t="t" r="r" b="b"/>
            <a:pathLst>
              <a:path w="23495" h="8889">
                <a:moveTo>
                  <a:pt x="0" y="8294"/>
                </a:moveTo>
                <a:lnTo>
                  <a:pt x="23016" y="8294"/>
                </a:lnTo>
                <a:lnTo>
                  <a:pt x="23016" y="0"/>
                </a:lnTo>
                <a:lnTo>
                  <a:pt x="0" y="0"/>
                </a:lnTo>
                <a:lnTo>
                  <a:pt x="0" y="8294"/>
                </a:lnTo>
                <a:close/>
              </a:path>
            </a:pathLst>
          </a:custGeom>
          <a:solidFill>
            <a:srgbClr val="E7E7E7"/>
          </a:solidFill>
        </p:spPr>
        <p:txBody>
          <a:bodyPr wrap="square" lIns="0" tIns="0" rIns="0" bIns="0" rtlCol="0"/>
          <a:lstStyle/>
          <a:p>
            <a:endParaRPr/>
          </a:p>
        </p:txBody>
      </p:sp>
      <p:sp>
        <p:nvSpPr>
          <p:cNvPr id="64" name="object 64"/>
          <p:cNvSpPr/>
          <p:nvPr/>
        </p:nvSpPr>
        <p:spPr>
          <a:xfrm>
            <a:off x="5699471" y="5582949"/>
            <a:ext cx="38100" cy="8890"/>
          </a:xfrm>
          <a:custGeom>
            <a:avLst/>
            <a:gdLst/>
            <a:ahLst/>
            <a:cxnLst/>
            <a:rect l="l" t="t" r="r" b="b"/>
            <a:pathLst>
              <a:path w="38100" h="8889">
                <a:moveTo>
                  <a:pt x="0" y="8294"/>
                </a:moveTo>
                <a:lnTo>
                  <a:pt x="37667" y="8294"/>
                </a:lnTo>
                <a:lnTo>
                  <a:pt x="37667" y="0"/>
                </a:lnTo>
                <a:lnTo>
                  <a:pt x="0" y="0"/>
                </a:lnTo>
                <a:lnTo>
                  <a:pt x="0" y="8294"/>
                </a:lnTo>
                <a:close/>
              </a:path>
            </a:pathLst>
          </a:custGeom>
          <a:solidFill>
            <a:srgbClr val="E7E7E7"/>
          </a:solidFill>
        </p:spPr>
        <p:txBody>
          <a:bodyPr wrap="square" lIns="0" tIns="0" rIns="0" bIns="0" rtlCol="0"/>
          <a:lstStyle/>
          <a:p>
            <a:endParaRPr/>
          </a:p>
        </p:txBody>
      </p:sp>
      <p:sp>
        <p:nvSpPr>
          <p:cNvPr id="65" name="object 65"/>
          <p:cNvSpPr/>
          <p:nvPr/>
        </p:nvSpPr>
        <p:spPr>
          <a:xfrm>
            <a:off x="5693242" y="5591244"/>
            <a:ext cx="27305" cy="11430"/>
          </a:xfrm>
          <a:custGeom>
            <a:avLst/>
            <a:gdLst/>
            <a:ahLst/>
            <a:cxnLst/>
            <a:rect l="l" t="t" r="r" b="b"/>
            <a:pathLst>
              <a:path w="27304" h="11429">
                <a:moveTo>
                  <a:pt x="0" y="10921"/>
                </a:moveTo>
                <a:lnTo>
                  <a:pt x="27310" y="10921"/>
                </a:lnTo>
                <a:lnTo>
                  <a:pt x="27310" y="0"/>
                </a:lnTo>
                <a:lnTo>
                  <a:pt x="0" y="0"/>
                </a:lnTo>
                <a:lnTo>
                  <a:pt x="0" y="10921"/>
                </a:lnTo>
                <a:close/>
              </a:path>
            </a:pathLst>
          </a:custGeom>
          <a:solidFill>
            <a:srgbClr val="E7E7E7"/>
          </a:solidFill>
        </p:spPr>
        <p:txBody>
          <a:bodyPr wrap="square" lIns="0" tIns="0" rIns="0" bIns="0" rtlCol="0"/>
          <a:lstStyle/>
          <a:p>
            <a:endParaRPr/>
          </a:p>
        </p:txBody>
      </p:sp>
      <p:sp>
        <p:nvSpPr>
          <p:cNvPr id="66" name="object 66"/>
          <p:cNvSpPr/>
          <p:nvPr/>
        </p:nvSpPr>
        <p:spPr>
          <a:xfrm>
            <a:off x="5715227" y="5550314"/>
            <a:ext cx="7620" cy="7620"/>
          </a:xfrm>
          <a:custGeom>
            <a:avLst/>
            <a:gdLst/>
            <a:ahLst/>
            <a:cxnLst/>
            <a:rect l="l" t="t" r="r" b="b"/>
            <a:pathLst>
              <a:path w="7620" h="7620">
                <a:moveTo>
                  <a:pt x="0" y="7400"/>
                </a:moveTo>
                <a:lnTo>
                  <a:pt x="7463" y="7400"/>
                </a:lnTo>
                <a:lnTo>
                  <a:pt x="7463" y="0"/>
                </a:lnTo>
                <a:lnTo>
                  <a:pt x="0" y="0"/>
                </a:lnTo>
                <a:lnTo>
                  <a:pt x="0" y="7400"/>
                </a:lnTo>
                <a:close/>
              </a:path>
            </a:pathLst>
          </a:custGeom>
          <a:solidFill>
            <a:srgbClr val="E7E7E7"/>
          </a:solidFill>
        </p:spPr>
        <p:txBody>
          <a:bodyPr wrap="square" lIns="0" tIns="0" rIns="0" bIns="0" rtlCol="0"/>
          <a:lstStyle/>
          <a:p>
            <a:endParaRPr/>
          </a:p>
        </p:txBody>
      </p:sp>
      <p:sp>
        <p:nvSpPr>
          <p:cNvPr id="67" name="object 67"/>
          <p:cNvSpPr/>
          <p:nvPr/>
        </p:nvSpPr>
        <p:spPr>
          <a:xfrm>
            <a:off x="5752894" y="5580802"/>
            <a:ext cx="10795" cy="10795"/>
          </a:xfrm>
          <a:custGeom>
            <a:avLst/>
            <a:gdLst/>
            <a:ahLst/>
            <a:cxnLst/>
            <a:rect l="l" t="t" r="r" b="b"/>
            <a:pathLst>
              <a:path w="10795" h="10795">
                <a:moveTo>
                  <a:pt x="5878" y="0"/>
                </a:moveTo>
                <a:lnTo>
                  <a:pt x="0" y="4562"/>
                </a:lnTo>
                <a:lnTo>
                  <a:pt x="4634" y="10442"/>
                </a:lnTo>
                <a:lnTo>
                  <a:pt x="10439" y="5880"/>
                </a:lnTo>
                <a:lnTo>
                  <a:pt x="5878" y="0"/>
                </a:lnTo>
                <a:close/>
              </a:path>
            </a:pathLst>
          </a:custGeom>
          <a:solidFill>
            <a:srgbClr val="251242"/>
          </a:solidFill>
        </p:spPr>
        <p:txBody>
          <a:bodyPr wrap="square" lIns="0" tIns="0" rIns="0" bIns="0" rtlCol="0"/>
          <a:lstStyle/>
          <a:p>
            <a:endParaRPr/>
          </a:p>
        </p:txBody>
      </p:sp>
      <p:sp>
        <p:nvSpPr>
          <p:cNvPr id="68" name="object 68"/>
          <p:cNvSpPr/>
          <p:nvPr/>
        </p:nvSpPr>
        <p:spPr>
          <a:xfrm>
            <a:off x="5745228" y="5572295"/>
            <a:ext cx="9525" cy="9525"/>
          </a:xfrm>
          <a:custGeom>
            <a:avLst/>
            <a:gdLst/>
            <a:ahLst/>
            <a:cxnLst/>
            <a:rect l="l" t="t" r="r" b="b"/>
            <a:pathLst>
              <a:path w="9525" h="9525">
                <a:moveTo>
                  <a:pt x="2073" y="0"/>
                </a:moveTo>
                <a:lnTo>
                  <a:pt x="0" y="7198"/>
                </a:lnTo>
                <a:lnTo>
                  <a:pt x="7113" y="9198"/>
                </a:lnTo>
                <a:lnTo>
                  <a:pt x="9186" y="2082"/>
                </a:lnTo>
                <a:lnTo>
                  <a:pt x="2073" y="0"/>
                </a:lnTo>
                <a:close/>
              </a:path>
            </a:pathLst>
          </a:custGeom>
          <a:solidFill>
            <a:srgbClr val="251242"/>
          </a:solidFill>
        </p:spPr>
        <p:txBody>
          <a:bodyPr wrap="square" lIns="0" tIns="0" rIns="0" bIns="0" rtlCol="0"/>
          <a:lstStyle/>
          <a:p>
            <a:endParaRPr/>
          </a:p>
        </p:txBody>
      </p:sp>
      <p:sp>
        <p:nvSpPr>
          <p:cNvPr id="69" name="object 69"/>
          <p:cNvSpPr/>
          <p:nvPr/>
        </p:nvSpPr>
        <p:spPr>
          <a:xfrm>
            <a:off x="5718203" y="5544369"/>
            <a:ext cx="17145" cy="7620"/>
          </a:xfrm>
          <a:custGeom>
            <a:avLst/>
            <a:gdLst/>
            <a:ahLst/>
            <a:cxnLst/>
            <a:rect l="l" t="t" r="r" b="b"/>
            <a:pathLst>
              <a:path w="17145" h="7620">
                <a:moveTo>
                  <a:pt x="0" y="7465"/>
                </a:moveTo>
                <a:lnTo>
                  <a:pt x="16649" y="7465"/>
                </a:lnTo>
                <a:lnTo>
                  <a:pt x="16649" y="0"/>
                </a:lnTo>
                <a:lnTo>
                  <a:pt x="0" y="0"/>
                </a:lnTo>
                <a:lnTo>
                  <a:pt x="0" y="7465"/>
                </a:lnTo>
                <a:close/>
              </a:path>
            </a:pathLst>
          </a:custGeom>
          <a:solidFill>
            <a:srgbClr val="E7E7E7"/>
          </a:solidFill>
        </p:spPr>
        <p:txBody>
          <a:bodyPr wrap="square" lIns="0" tIns="0" rIns="0" bIns="0" rtlCol="0"/>
          <a:lstStyle/>
          <a:p>
            <a:endParaRPr/>
          </a:p>
        </p:txBody>
      </p:sp>
      <p:sp>
        <p:nvSpPr>
          <p:cNvPr id="70" name="object 70"/>
          <p:cNvSpPr/>
          <p:nvPr/>
        </p:nvSpPr>
        <p:spPr>
          <a:xfrm>
            <a:off x="5725666" y="5533097"/>
            <a:ext cx="20320" cy="7620"/>
          </a:xfrm>
          <a:custGeom>
            <a:avLst/>
            <a:gdLst/>
            <a:ahLst/>
            <a:cxnLst/>
            <a:rect l="l" t="t" r="r" b="b"/>
            <a:pathLst>
              <a:path w="20320" h="7620">
                <a:moveTo>
                  <a:pt x="0" y="7400"/>
                </a:moveTo>
                <a:lnTo>
                  <a:pt x="19764" y="7400"/>
                </a:lnTo>
                <a:lnTo>
                  <a:pt x="19764" y="0"/>
                </a:lnTo>
                <a:lnTo>
                  <a:pt x="0" y="0"/>
                </a:lnTo>
                <a:lnTo>
                  <a:pt x="0" y="7400"/>
                </a:lnTo>
                <a:close/>
              </a:path>
            </a:pathLst>
          </a:custGeom>
          <a:solidFill>
            <a:srgbClr val="E7E7E7"/>
          </a:solidFill>
        </p:spPr>
        <p:txBody>
          <a:bodyPr wrap="square" lIns="0" tIns="0" rIns="0" bIns="0" rtlCol="0"/>
          <a:lstStyle/>
          <a:p>
            <a:endParaRPr/>
          </a:p>
        </p:txBody>
      </p:sp>
      <p:sp>
        <p:nvSpPr>
          <p:cNvPr id="71" name="object 71"/>
          <p:cNvSpPr/>
          <p:nvPr/>
        </p:nvSpPr>
        <p:spPr>
          <a:xfrm>
            <a:off x="5668640" y="5623880"/>
            <a:ext cx="6350" cy="6350"/>
          </a:xfrm>
          <a:custGeom>
            <a:avLst/>
            <a:gdLst/>
            <a:ahLst/>
            <a:cxnLst/>
            <a:rect l="l" t="t" r="r" b="b"/>
            <a:pathLst>
              <a:path w="6350" h="6350">
                <a:moveTo>
                  <a:pt x="0" y="6009"/>
                </a:moveTo>
                <a:lnTo>
                  <a:pt x="5943" y="6009"/>
                </a:lnTo>
                <a:lnTo>
                  <a:pt x="5943" y="0"/>
                </a:lnTo>
                <a:lnTo>
                  <a:pt x="0" y="0"/>
                </a:lnTo>
                <a:lnTo>
                  <a:pt x="0" y="6009"/>
                </a:lnTo>
                <a:close/>
              </a:path>
            </a:pathLst>
          </a:custGeom>
          <a:solidFill>
            <a:srgbClr val="ACD91A"/>
          </a:solidFill>
        </p:spPr>
        <p:txBody>
          <a:bodyPr wrap="square" lIns="0" tIns="0" rIns="0" bIns="0" rtlCol="0"/>
          <a:lstStyle/>
          <a:p>
            <a:endParaRPr/>
          </a:p>
        </p:txBody>
      </p:sp>
      <p:sp>
        <p:nvSpPr>
          <p:cNvPr id="72" name="object 72"/>
          <p:cNvSpPr/>
          <p:nvPr/>
        </p:nvSpPr>
        <p:spPr>
          <a:xfrm>
            <a:off x="5701470" y="5650700"/>
            <a:ext cx="5715" cy="5715"/>
          </a:xfrm>
          <a:custGeom>
            <a:avLst/>
            <a:gdLst/>
            <a:ahLst/>
            <a:cxnLst/>
            <a:rect l="l" t="t" r="r" b="b"/>
            <a:pathLst>
              <a:path w="5714" h="5714">
                <a:moveTo>
                  <a:pt x="0" y="5465"/>
                </a:moveTo>
                <a:lnTo>
                  <a:pt x="5390" y="5465"/>
                </a:lnTo>
                <a:lnTo>
                  <a:pt x="5390" y="0"/>
                </a:lnTo>
                <a:lnTo>
                  <a:pt x="0" y="0"/>
                </a:lnTo>
                <a:lnTo>
                  <a:pt x="0" y="5465"/>
                </a:lnTo>
                <a:close/>
              </a:path>
            </a:pathLst>
          </a:custGeom>
          <a:solidFill>
            <a:srgbClr val="ACD91A"/>
          </a:solidFill>
        </p:spPr>
        <p:txBody>
          <a:bodyPr wrap="square" lIns="0" tIns="0" rIns="0" bIns="0" rtlCol="0"/>
          <a:lstStyle/>
          <a:p>
            <a:endParaRPr/>
          </a:p>
        </p:txBody>
      </p:sp>
      <p:sp>
        <p:nvSpPr>
          <p:cNvPr id="73" name="object 73"/>
          <p:cNvSpPr/>
          <p:nvPr/>
        </p:nvSpPr>
        <p:spPr>
          <a:xfrm>
            <a:off x="5704925" y="5560756"/>
            <a:ext cx="3810" cy="3810"/>
          </a:xfrm>
          <a:custGeom>
            <a:avLst/>
            <a:gdLst/>
            <a:ahLst/>
            <a:cxnLst/>
            <a:rect l="l" t="t" r="r" b="b"/>
            <a:pathLst>
              <a:path w="3810" h="3810">
                <a:moveTo>
                  <a:pt x="0" y="3658"/>
                </a:moveTo>
                <a:lnTo>
                  <a:pt x="3667" y="3658"/>
                </a:lnTo>
                <a:lnTo>
                  <a:pt x="3667" y="0"/>
                </a:lnTo>
                <a:lnTo>
                  <a:pt x="0" y="0"/>
                </a:lnTo>
                <a:lnTo>
                  <a:pt x="0" y="3658"/>
                </a:lnTo>
                <a:close/>
              </a:path>
            </a:pathLst>
          </a:custGeom>
          <a:solidFill>
            <a:srgbClr val="ACD91A"/>
          </a:solidFill>
        </p:spPr>
        <p:txBody>
          <a:bodyPr wrap="square" lIns="0" tIns="0" rIns="0" bIns="0" rtlCol="0"/>
          <a:lstStyle/>
          <a:p>
            <a:endParaRPr/>
          </a:p>
        </p:txBody>
      </p:sp>
      <p:sp>
        <p:nvSpPr>
          <p:cNvPr id="74" name="object 74"/>
          <p:cNvSpPr/>
          <p:nvPr/>
        </p:nvSpPr>
        <p:spPr>
          <a:xfrm>
            <a:off x="5715779" y="5507171"/>
            <a:ext cx="4445" cy="4445"/>
          </a:xfrm>
          <a:custGeom>
            <a:avLst/>
            <a:gdLst/>
            <a:ahLst/>
            <a:cxnLst/>
            <a:rect l="l" t="t" r="r" b="b"/>
            <a:pathLst>
              <a:path w="4445" h="4445">
                <a:moveTo>
                  <a:pt x="0" y="4147"/>
                </a:moveTo>
                <a:lnTo>
                  <a:pt x="4146" y="4147"/>
                </a:lnTo>
                <a:lnTo>
                  <a:pt x="4146" y="0"/>
                </a:lnTo>
                <a:lnTo>
                  <a:pt x="0" y="0"/>
                </a:lnTo>
                <a:lnTo>
                  <a:pt x="0" y="4147"/>
                </a:lnTo>
                <a:close/>
              </a:path>
            </a:pathLst>
          </a:custGeom>
          <a:solidFill>
            <a:srgbClr val="ACD91A"/>
          </a:solidFill>
        </p:spPr>
        <p:txBody>
          <a:bodyPr wrap="square" lIns="0" tIns="0" rIns="0" bIns="0" rtlCol="0"/>
          <a:lstStyle/>
          <a:p>
            <a:endParaRPr/>
          </a:p>
        </p:txBody>
      </p:sp>
      <p:sp>
        <p:nvSpPr>
          <p:cNvPr id="75" name="object 75"/>
          <p:cNvSpPr/>
          <p:nvPr/>
        </p:nvSpPr>
        <p:spPr>
          <a:xfrm>
            <a:off x="5679144" y="5520378"/>
            <a:ext cx="4445" cy="4445"/>
          </a:xfrm>
          <a:custGeom>
            <a:avLst/>
            <a:gdLst/>
            <a:ahLst/>
            <a:cxnLst/>
            <a:rect l="l" t="t" r="r" b="b"/>
            <a:pathLst>
              <a:path w="4445" h="4445">
                <a:moveTo>
                  <a:pt x="0" y="4147"/>
                </a:moveTo>
                <a:lnTo>
                  <a:pt x="4146" y="4147"/>
                </a:lnTo>
                <a:lnTo>
                  <a:pt x="4146" y="0"/>
                </a:lnTo>
                <a:lnTo>
                  <a:pt x="0" y="0"/>
                </a:lnTo>
                <a:lnTo>
                  <a:pt x="0" y="4147"/>
                </a:lnTo>
                <a:close/>
              </a:path>
            </a:pathLst>
          </a:custGeom>
          <a:solidFill>
            <a:srgbClr val="7ECA28"/>
          </a:solidFill>
        </p:spPr>
        <p:txBody>
          <a:bodyPr wrap="square" lIns="0" tIns="0" rIns="0" bIns="0" rtlCol="0"/>
          <a:lstStyle/>
          <a:p>
            <a:endParaRPr/>
          </a:p>
        </p:txBody>
      </p:sp>
      <p:sp>
        <p:nvSpPr>
          <p:cNvPr id="76" name="object 76"/>
          <p:cNvSpPr/>
          <p:nvPr/>
        </p:nvSpPr>
        <p:spPr>
          <a:xfrm>
            <a:off x="5600207" y="5376702"/>
            <a:ext cx="5080" cy="5080"/>
          </a:xfrm>
          <a:custGeom>
            <a:avLst/>
            <a:gdLst/>
            <a:ahLst/>
            <a:cxnLst/>
            <a:rect l="l" t="t" r="r" b="b"/>
            <a:pathLst>
              <a:path w="5079" h="5079">
                <a:moveTo>
                  <a:pt x="0" y="4847"/>
                </a:moveTo>
                <a:lnTo>
                  <a:pt x="4846" y="4847"/>
                </a:lnTo>
                <a:lnTo>
                  <a:pt x="4846" y="0"/>
                </a:lnTo>
                <a:lnTo>
                  <a:pt x="0" y="0"/>
                </a:lnTo>
                <a:lnTo>
                  <a:pt x="0" y="4847"/>
                </a:lnTo>
                <a:close/>
              </a:path>
            </a:pathLst>
          </a:custGeom>
          <a:solidFill>
            <a:srgbClr val="ACD91A"/>
          </a:solidFill>
        </p:spPr>
        <p:txBody>
          <a:bodyPr wrap="square" lIns="0" tIns="0" rIns="0" bIns="0" rtlCol="0"/>
          <a:lstStyle/>
          <a:p>
            <a:endParaRPr/>
          </a:p>
        </p:txBody>
      </p:sp>
      <p:sp>
        <p:nvSpPr>
          <p:cNvPr id="77" name="object 77"/>
          <p:cNvSpPr/>
          <p:nvPr/>
        </p:nvSpPr>
        <p:spPr>
          <a:xfrm>
            <a:off x="5781789" y="5478480"/>
            <a:ext cx="4445" cy="4445"/>
          </a:xfrm>
          <a:custGeom>
            <a:avLst/>
            <a:gdLst/>
            <a:ahLst/>
            <a:cxnLst/>
            <a:rect l="l" t="t" r="r" b="b"/>
            <a:pathLst>
              <a:path w="4445" h="4445">
                <a:moveTo>
                  <a:pt x="3943" y="3935"/>
                </a:moveTo>
                <a:lnTo>
                  <a:pt x="0" y="3935"/>
                </a:lnTo>
                <a:lnTo>
                  <a:pt x="0" y="0"/>
                </a:lnTo>
                <a:lnTo>
                  <a:pt x="3943" y="0"/>
                </a:lnTo>
                <a:lnTo>
                  <a:pt x="3943" y="3935"/>
                </a:lnTo>
                <a:close/>
              </a:path>
            </a:pathLst>
          </a:custGeom>
          <a:solidFill>
            <a:srgbClr val="F05430"/>
          </a:solidFill>
        </p:spPr>
        <p:txBody>
          <a:bodyPr wrap="square" lIns="0" tIns="0" rIns="0" bIns="0" rtlCol="0"/>
          <a:lstStyle/>
          <a:p>
            <a:endParaRPr/>
          </a:p>
        </p:txBody>
      </p:sp>
      <p:sp>
        <p:nvSpPr>
          <p:cNvPr id="78" name="object 78"/>
          <p:cNvSpPr/>
          <p:nvPr/>
        </p:nvSpPr>
        <p:spPr>
          <a:xfrm>
            <a:off x="5560881" y="5605484"/>
            <a:ext cx="8890" cy="8890"/>
          </a:xfrm>
          <a:custGeom>
            <a:avLst/>
            <a:gdLst/>
            <a:ahLst/>
            <a:cxnLst/>
            <a:rect l="l" t="t" r="r" b="b"/>
            <a:pathLst>
              <a:path w="8889" h="8889">
                <a:moveTo>
                  <a:pt x="0" y="8571"/>
                </a:moveTo>
                <a:lnTo>
                  <a:pt x="8642" y="8571"/>
                </a:lnTo>
                <a:lnTo>
                  <a:pt x="8642" y="0"/>
                </a:lnTo>
                <a:lnTo>
                  <a:pt x="0" y="0"/>
                </a:lnTo>
                <a:lnTo>
                  <a:pt x="0" y="8571"/>
                </a:lnTo>
                <a:close/>
              </a:path>
            </a:pathLst>
          </a:custGeom>
          <a:solidFill>
            <a:srgbClr val="245569"/>
          </a:solidFill>
        </p:spPr>
        <p:txBody>
          <a:bodyPr wrap="square" lIns="0" tIns="0" rIns="0" bIns="0" rtlCol="0"/>
          <a:lstStyle/>
          <a:p>
            <a:endParaRPr/>
          </a:p>
        </p:txBody>
      </p:sp>
      <p:sp>
        <p:nvSpPr>
          <p:cNvPr id="79" name="object 79"/>
          <p:cNvSpPr/>
          <p:nvPr/>
        </p:nvSpPr>
        <p:spPr>
          <a:xfrm>
            <a:off x="5620460" y="5579419"/>
            <a:ext cx="5080" cy="5080"/>
          </a:xfrm>
          <a:custGeom>
            <a:avLst/>
            <a:gdLst/>
            <a:ahLst/>
            <a:cxnLst/>
            <a:rect l="l" t="t" r="r" b="b"/>
            <a:pathLst>
              <a:path w="5079" h="5079">
                <a:moveTo>
                  <a:pt x="0" y="4912"/>
                </a:moveTo>
                <a:lnTo>
                  <a:pt x="4911" y="4912"/>
                </a:lnTo>
                <a:lnTo>
                  <a:pt x="4911" y="0"/>
                </a:lnTo>
                <a:lnTo>
                  <a:pt x="0" y="0"/>
                </a:lnTo>
                <a:lnTo>
                  <a:pt x="0" y="4912"/>
                </a:lnTo>
                <a:close/>
              </a:path>
            </a:pathLst>
          </a:custGeom>
          <a:solidFill>
            <a:srgbClr val="245569"/>
          </a:solidFill>
        </p:spPr>
        <p:txBody>
          <a:bodyPr wrap="square" lIns="0" tIns="0" rIns="0" bIns="0" rtlCol="0"/>
          <a:lstStyle/>
          <a:p>
            <a:endParaRPr/>
          </a:p>
        </p:txBody>
      </p:sp>
      <p:sp>
        <p:nvSpPr>
          <p:cNvPr id="80" name="object 80"/>
          <p:cNvSpPr/>
          <p:nvPr/>
        </p:nvSpPr>
        <p:spPr>
          <a:xfrm>
            <a:off x="5556597" y="5426628"/>
            <a:ext cx="4445" cy="4445"/>
          </a:xfrm>
          <a:custGeom>
            <a:avLst/>
            <a:gdLst/>
            <a:ahLst/>
            <a:cxnLst/>
            <a:rect l="l" t="t" r="r" b="b"/>
            <a:pathLst>
              <a:path w="4445" h="4445">
                <a:moveTo>
                  <a:pt x="0" y="4285"/>
                </a:moveTo>
                <a:lnTo>
                  <a:pt x="4284" y="4285"/>
                </a:lnTo>
                <a:lnTo>
                  <a:pt x="4284" y="0"/>
                </a:lnTo>
                <a:lnTo>
                  <a:pt x="0" y="0"/>
                </a:lnTo>
                <a:lnTo>
                  <a:pt x="0" y="4285"/>
                </a:lnTo>
                <a:close/>
              </a:path>
            </a:pathLst>
          </a:custGeom>
          <a:solidFill>
            <a:srgbClr val="5B5BB1"/>
          </a:solidFill>
        </p:spPr>
        <p:txBody>
          <a:bodyPr wrap="square" lIns="0" tIns="0" rIns="0" bIns="0" rtlCol="0"/>
          <a:lstStyle/>
          <a:p>
            <a:endParaRPr/>
          </a:p>
        </p:txBody>
      </p:sp>
      <p:sp>
        <p:nvSpPr>
          <p:cNvPr id="81" name="object 81"/>
          <p:cNvSpPr/>
          <p:nvPr/>
        </p:nvSpPr>
        <p:spPr>
          <a:xfrm>
            <a:off x="5601663" y="5591383"/>
            <a:ext cx="5715" cy="5715"/>
          </a:xfrm>
          <a:custGeom>
            <a:avLst/>
            <a:gdLst/>
            <a:ahLst/>
            <a:cxnLst/>
            <a:rect l="l" t="t" r="r" b="b"/>
            <a:pathLst>
              <a:path w="5714" h="5714">
                <a:moveTo>
                  <a:pt x="0" y="5327"/>
                </a:moveTo>
                <a:lnTo>
                  <a:pt x="5390" y="5327"/>
                </a:lnTo>
                <a:lnTo>
                  <a:pt x="5390" y="0"/>
                </a:lnTo>
                <a:lnTo>
                  <a:pt x="0" y="0"/>
                </a:lnTo>
                <a:lnTo>
                  <a:pt x="0" y="5327"/>
                </a:lnTo>
                <a:close/>
              </a:path>
            </a:pathLst>
          </a:custGeom>
          <a:solidFill>
            <a:srgbClr val="ACD91A"/>
          </a:solidFill>
        </p:spPr>
        <p:txBody>
          <a:bodyPr wrap="square" lIns="0" tIns="0" rIns="0" bIns="0" rtlCol="0"/>
          <a:lstStyle/>
          <a:p>
            <a:endParaRPr/>
          </a:p>
        </p:txBody>
      </p:sp>
      <p:sp>
        <p:nvSpPr>
          <p:cNvPr id="82" name="object 82"/>
          <p:cNvSpPr/>
          <p:nvPr/>
        </p:nvSpPr>
        <p:spPr>
          <a:xfrm>
            <a:off x="5706934" y="5582949"/>
            <a:ext cx="5715" cy="5715"/>
          </a:xfrm>
          <a:custGeom>
            <a:avLst/>
            <a:gdLst/>
            <a:ahLst/>
            <a:cxnLst/>
            <a:rect l="l" t="t" r="r" b="b"/>
            <a:pathLst>
              <a:path w="5714" h="5714">
                <a:moveTo>
                  <a:pt x="0" y="5391"/>
                </a:moveTo>
                <a:lnTo>
                  <a:pt x="5390" y="5391"/>
                </a:lnTo>
                <a:lnTo>
                  <a:pt x="5390" y="0"/>
                </a:lnTo>
                <a:lnTo>
                  <a:pt x="0" y="0"/>
                </a:lnTo>
                <a:lnTo>
                  <a:pt x="0" y="5391"/>
                </a:lnTo>
                <a:close/>
              </a:path>
            </a:pathLst>
          </a:custGeom>
          <a:solidFill>
            <a:srgbClr val="251242"/>
          </a:solidFill>
        </p:spPr>
        <p:txBody>
          <a:bodyPr wrap="square" lIns="0" tIns="0" rIns="0" bIns="0" rtlCol="0"/>
          <a:lstStyle/>
          <a:p>
            <a:endParaRPr/>
          </a:p>
        </p:txBody>
      </p:sp>
      <p:sp>
        <p:nvSpPr>
          <p:cNvPr id="83" name="object 83"/>
          <p:cNvSpPr/>
          <p:nvPr/>
        </p:nvSpPr>
        <p:spPr>
          <a:xfrm>
            <a:off x="5633322" y="5645935"/>
            <a:ext cx="6350" cy="6350"/>
          </a:xfrm>
          <a:custGeom>
            <a:avLst/>
            <a:gdLst/>
            <a:ahLst/>
            <a:cxnLst/>
            <a:rect l="l" t="t" r="r" b="b"/>
            <a:pathLst>
              <a:path w="6350" h="6350">
                <a:moveTo>
                  <a:pt x="0" y="5870"/>
                </a:moveTo>
                <a:lnTo>
                  <a:pt x="5869" y="5870"/>
                </a:lnTo>
                <a:lnTo>
                  <a:pt x="5869" y="0"/>
                </a:lnTo>
                <a:lnTo>
                  <a:pt x="0" y="0"/>
                </a:lnTo>
                <a:lnTo>
                  <a:pt x="0" y="5870"/>
                </a:lnTo>
                <a:close/>
              </a:path>
            </a:pathLst>
          </a:custGeom>
          <a:solidFill>
            <a:srgbClr val="251242"/>
          </a:solidFill>
        </p:spPr>
        <p:txBody>
          <a:bodyPr wrap="square" lIns="0" tIns="0" rIns="0" bIns="0" rtlCol="0"/>
          <a:lstStyle/>
          <a:p>
            <a:endParaRPr/>
          </a:p>
        </p:txBody>
      </p:sp>
      <p:sp>
        <p:nvSpPr>
          <p:cNvPr id="84" name="object 84"/>
          <p:cNvSpPr/>
          <p:nvPr/>
        </p:nvSpPr>
        <p:spPr>
          <a:xfrm>
            <a:off x="5651778" y="5503300"/>
            <a:ext cx="5080" cy="5080"/>
          </a:xfrm>
          <a:custGeom>
            <a:avLst/>
            <a:gdLst/>
            <a:ahLst/>
            <a:cxnLst/>
            <a:rect l="l" t="t" r="r" b="b"/>
            <a:pathLst>
              <a:path w="5079" h="5079">
                <a:moveTo>
                  <a:pt x="0" y="4700"/>
                </a:moveTo>
                <a:lnTo>
                  <a:pt x="4625" y="4700"/>
                </a:lnTo>
                <a:lnTo>
                  <a:pt x="4625" y="0"/>
                </a:lnTo>
                <a:lnTo>
                  <a:pt x="0" y="0"/>
                </a:lnTo>
                <a:lnTo>
                  <a:pt x="0" y="4700"/>
                </a:lnTo>
                <a:close/>
              </a:path>
            </a:pathLst>
          </a:custGeom>
          <a:solidFill>
            <a:srgbClr val="79186C"/>
          </a:solidFill>
        </p:spPr>
        <p:txBody>
          <a:bodyPr wrap="square" lIns="0" tIns="0" rIns="0" bIns="0" rtlCol="0"/>
          <a:lstStyle/>
          <a:p>
            <a:endParaRPr/>
          </a:p>
        </p:txBody>
      </p:sp>
      <p:sp>
        <p:nvSpPr>
          <p:cNvPr id="85" name="object 85"/>
          <p:cNvSpPr/>
          <p:nvPr/>
        </p:nvSpPr>
        <p:spPr>
          <a:xfrm>
            <a:off x="5805977" y="5617106"/>
            <a:ext cx="8890" cy="8890"/>
          </a:xfrm>
          <a:custGeom>
            <a:avLst/>
            <a:gdLst/>
            <a:ahLst/>
            <a:cxnLst/>
            <a:rect l="l" t="t" r="r" b="b"/>
            <a:pathLst>
              <a:path w="8889" h="8889">
                <a:moveTo>
                  <a:pt x="0" y="8571"/>
                </a:moveTo>
                <a:lnTo>
                  <a:pt x="8578" y="8571"/>
                </a:lnTo>
                <a:lnTo>
                  <a:pt x="8578" y="0"/>
                </a:lnTo>
                <a:lnTo>
                  <a:pt x="0" y="0"/>
                </a:lnTo>
                <a:lnTo>
                  <a:pt x="0" y="8571"/>
                </a:lnTo>
                <a:close/>
              </a:path>
            </a:pathLst>
          </a:custGeom>
          <a:solidFill>
            <a:srgbClr val="E7E7E7"/>
          </a:solidFill>
        </p:spPr>
        <p:txBody>
          <a:bodyPr wrap="square" lIns="0" tIns="0" rIns="0" bIns="0" rtlCol="0"/>
          <a:lstStyle/>
          <a:p>
            <a:endParaRPr/>
          </a:p>
        </p:txBody>
      </p:sp>
      <p:sp>
        <p:nvSpPr>
          <p:cNvPr id="86" name="object 86"/>
          <p:cNvSpPr/>
          <p:nvPr/>
        </p:nvSpPr>
        <p:spPr>
          <a:xfrm>
            <a:off x="5713153" y="5588544"/>
            <a:ext cx="5080" cy="5080"/>
          </a:xfrm>
          <a:custGeom>
            <a:avLst/>
            <a:gdLst/>
            <a:ahLst/>
            <a:cxnLst/>
            <a:rect l="l" t="t" r="r" b="b"/>
            <a:pathLst>
              <a:path w="5079" h="5079">
                <a:moveTo>
                  <a:pt x="0" y="4700"/>
                </a:moveTo>
                <a:lnTo>
                  <a:pt x="4772" y="4700"/>
                </a:lnTo>
                <a:lnTo>
                  <a:pt x="4772" y="0"/>
                </a:lnTo>
                <a:lnTo>
                  <a:pt x="0" y="0"/>
                </a:lnTo>
                <a:lnTo>
                  <a:pt x="0" y="4700"/>
                </a:lnTo>
                <a:close/>
              </a:path>
            </a:pathLst>
          </a:custGeom>
          <a:solidFill>
            <a:srgbClr val="F05430"/>
          </a:solidFill>
        </p:spPr>
        <p:txBody>
          <a:bodyPr wrap="square" lIns="0" tIns="0" rIns="0" bIns="0" rtlCol="0"/>
          <a:lstStyle/>
          <a:p>
            <a:endParaRPr/>
          </a:p>
        </p:txBody>
      </p:sp>
      <p:sp>
        <p:nvSpPr>
          <p:cNvPr id="87" name="object 87"/>
          <p:cNvSpPr/>
          <p:nvPr/>
        </p:nvSpPr>
        <p:spPr>
          <a:xfrm>
            <a:off x="5818839" y="5637355"/>
            <a:ext cx="8890" cy="8890"/>
          </a:xfrm>
          <a:custGeom>
            <a:avLst/>
            <a:gdLst/>
            <a:ahLst/>
            <a:cxnLst/>
            <a:rect l="l" t="t" r="r" b="b"/>
            <a:pathLst>
              <a:path w="8889" h="8889">
                <a:moveTo>
                  <a:pt x="0" y="8580"/>
                </a:moveTo>
                <a:lnTo>
                  <a:pt x="8633" y="8580"/>
                </a:lnTo>
                <a:lnTo>
                  <a:pt x="8633" y="0"/>
                </a:lnTo>
                <a:lnTo>
                  <a:pt x="0" y="0"/>
                </a:lnTo>
                <a:lnTo>
                  <a:pt x="0" y="8580"/>
                </a:lnTo>
                <a:close/>
              </a:path>
            </a:pathLst>
          </a:custGeom>
          <a:solidFill>
            <a:srgbClr val="ACD91A"/>
          </a:solidFill>
        </p:spPr>
        <p:txBody>
          <a:bodyPr wrap="square" lIns="0" tIns="0" rIns="0" bIns="0" rtlCol="0"/>
          <a:lstStyle/>
          <a:p>
            <a:endParaRPr/>
          </a:p>
        </p:txBody>
      </p:sp>
      <p:sp>
        <p:nvSpPr>
          <p:cNvPr id="88" name="object 88"/>
          <p:cNvSpPr/>
          <p:nvPr/>
        </p:nvSpPr>
        <p:spPr>
          <a:xfrm>
            <a:off x="5701470" y="5621392"/>
            <a:ext cx="9525" cy="11430"/>
          </a:xfrm>
          <a:custGeom>
            <a:avLst/>
            <a:gdLst/>
            <a:ahLst/>
            <a:cxnLst/>
            <a:rect l="l" t="t" r="r" b="b"/>
            <a:pathLst>
              <a:path w="9525" h="11429">
                <a:moveTo>
                  <a:pt x="0" y="11059"/>
                </a:moveTo>
                <a:lnTo>
                  <a:pt x="9472" y="11059"/>
                </a:lnTo>
                <a:lnTo>
                  <a:pt x="9472" y="0"/>
                </a:lnTo>
                <a:lnTo>
                  <a:pt x="0" y="0"/>
                </a:lnTo>
                <a:lnTo>
                  <a:pt x="0" y="11059"/>
                </a:lnTo>
                <a:close/>
              </a:path>
            </a:pathLst>
          </a:custGeom>
          <a:solidFill>
            <a:srgbClr val="E7E7E7"/>
          </a:solidFill>
        </p:spPr>
        <p:txBody>
          <a:bodyPr wrap="square" lIns="0" tIns="0" rIns="0" bIns="0" rtlCol="0"/>
          <a:lstStyle/>
          <a:p>
            <a:endParaRPr/>
          </a:p>
        </p:txBody>
      </p:sp>
      <p:sp>
        <p:nvSpPr>
          <p:cNvPr id="89" name="object 89"/>
          <p:cNvSpPr/>
          <p:nvPr/>
        </p:nvSpPr>
        <p:spPr>
          <a:xfrm>
            <a:off x="5701267" y="5612332"/>
            <a:ext cx="7620" cy="9525"/>
          </a:xfrm>
          <a:custGeom>
            <a:avLst/>
            <a:gdLst/>
            <a:ahLst/>
            <a:cxnLst/>
            <a:rect l="l" t="t" r="r" b="b"/>
            <a:pathLst>
              <a:path w="7620" h="9525">
                <a:moveTo>
                  <a:pt x="0" y="9059"/>
                </a:moveTo>
                <a:lnTo>
                  <a:pt x="7389" y="9059"/>
                </a:lnTo>
                <a:lnTo>
                  <a:pt x="7389" y="0"/>
                </a:lnTo>
                <a:lnTo>
                  <a:pt x="0" y="0"/>
                </a:lnTo>
                <a:lnTo>
                  <a:pt x="0" y="9059"/>
                </a:lnTo>
                <a:close/>
              </a:path>
            </a:pathLst>
          </a:custGeom>
          <a:solidFill>
            <a:srgbClr val="E7E7E7"/>
          </a:solidFill>
        </p:spPr>
        <p:txBody>
          <a:bodyPr wrap="square" lIns="0" tIns="0" rIns="0" bIns="0" rtlCol="0"/>
          <a:lstStyle/>
          <a:p>
            <a:endParaRPr/>
          </a:p>
        </p:txBody>
      </p:sp>
      <p:sp>
        <p:nvSpPr>
          <p:cNvPr id="90" name="object 90"/>
          <p:cNvSpPr/>
          <p:nvPr/>
        </p:nvSpPr>
        <p:spPr>
          <a:xfrm>
            <a:off x="5764439" y="5528259"/>
            <a:ext cx="7620" cy="7620"/>
          </a:xfrm>
          <a:custGeom>
            <a:avLst/>
            <a:gdLst/>
            <a:ahLst/>
            <a:cxnLst/>
            <a:rect l="l" t="t" r="r" b="b"/>
            <a:pathLst>
              <a:path w="7620" h="7620">
                <a:moveTo>
                  <a:pt x="0" y="7465"/>
                </a:moveTo>
                <a:lnTo>
                  <a:pt x="7398" y="7465"/>
                </a:lnTo>
                <a:lnTo>
                  <a:pt x="7398" y="0"/>
                </a:lnTo>
                <a:lnTo>
                  <a:pt x="0" y="0"/>
                </a:lnTo>
                <a:lnTo>
                  <a:pt x="0" y="7465"/>
                </a:lnTo>
                <a:close/>
              </a:path>
            </a:pathLst>
          </a:custGeom>
          <a:solidFill>
            <a:srgbClr val="251242"/>
          </a:solidFill>
        </p:spPr>
        <p:txBody>
          <a:bodyPr wrap="square" lIns="0" tIns="0" rIns="0" bIns="0" rtlCol="0"/>
          <a:lstStyle/>
          <a:p>
            <a:endParaRPr/>
          </a:p>
        </p:txBody>
      </p:sp>
      <p:sp>
        <p:nvSpPr>
          <p:cNvPr id="91" name="object 91"/>
          <p:cNvSpPr/>
          <p:nvPr/>
        </p:nvSpPr>
        <p:spPr>
          <a:xfrm>
            <a:off x="5735756" y="5525973"/>
            <a:ext cx="22860" cy="7620"/>
          </a:xfrm>
          <a:custGeom>
            <a:avLst/>
            <a:gdLst/>
            <a:ahLst/>
            <a:cxnLst/>
            <a:rect l="l" t="t" r="r" b="b"/>
            <a:pathLst>
              <a:path w="22860" h="7620">
                <a:moveTo>
                  <a:pt x="0" y="7400"/>
                </a:moveTo>
                <a:lnTo>
                  <a:pt x="22390" y="7400"/>
                </a:lnTo>
                <a:lnTo>
                  <a:pt x="22390" y="0"/>
                </a:lnTo>
                <a:lnTo>
                  <a:pt x="0" y="0"/>
                </a:lnTo>
                <a:lnTo>
                  <a:pt x="0" y="7400"/>
                </a:lnTo>
                <a:close/>
              </a:path>
            </a:pathLst>
          </a:custGeom>
          <a:solidFill>
            <a:srgbClr val="251242"/>
          </a:solidFill>
        </p:spPr>
        <p:txBody>
          <a:bodyPr wrap="square" lIns="0" tIns="0" rIns="0" bIns="0" rtlCol="0"/>
          <a:lstStyle/>
          <a:p>
            <a:endParaRPr/>
          </a:p>
        </p:txBody>
      </p:sp>
      <p:sp>
        <p:nvSpPr>
          <p:cNvPr id="92" name="object 92"/>
          <p:cNvSpPr/>
          <p:nvPr/>
        </p:nvSpPr>
        <p:spPr>
          <a:xfrm>
            <a:off x="5734853" y="5524526"/>
            <a:ext cx="15240" cy="9525"/>
          </a:xfrm>
          <a:custGeom>
            <a:avLst/>
            <a:gdLst/>
            <a:ahLst/>
            <a:cxnLst/>
            <a:rect l="l" t="t" r="r" b="b"/>
            <a:pathLst>
              <a:path w="15239" h="9525">
                <a:moveTo>
                  <a:pt x="0" y="9262"/>
                </a:moveTo>
                <a:lnTo>
                  <a:pt x="15000" y="9262"/>
                </a:lnTo>
                <a:lnTo>
                  <a:pt x="15000" y="0"/>
                </a:lnTo>
                <a:lnTo>
                  <a:pt x="0" y="0"/>
                </a:lnTo>
                <a:lnTo>
                  <a:pt x="0" y="9262"/>
                </a:lnTo>
                <a:close/>
              </a:path>
            </a:pathLst>
          </a:custGeom>
          <a:solidFill>
            <a:srgbClr val="E7E7E7"/>
          </a:solidFill>
        </p:spPr>
        <p:txBody>
          <a:bodyPr wrap="square" lIns="0" tIns="0" rIns="0" bIns="0" rtlCol="0"/>
          <a:lstStyle/>
          <a:p>
            <a:endParaRPr/>
          </a:p>
        </p:txBody>
      </p:sp>
      <p:sp>
        <p:nvSpPr>
          <p:cNvPr id="93" name="object 93"/>
          <p:cNvSpPr/>
          <p:nvPr/>
        </p:nvSpPr>
        <p:spPr>
          <a:xfrm>
            <a:off x="5830587" y="5436508"/>
            <a:ext cx="3175" cy="3810"/>
          </a:xfrm>
          <a:custGeom>
            <a:avLst/>
            <a:gdLst/>
            <a:ahLst/>
            <a:cxnLst/>
            <a:rect l="l" t="t" r="r" b="b"/>
            <a:pathLst>
              <a:path w="3175" h="3810">
                <a:moveTo>
                  <a:pt x="3178" y="3391"/>
                </a:moveTo>
                <a:lnTo>
                  <a:pt x="0" y="3391"/>
                </a:lnTo>
                <a:lnTo>
                  <a:pt x="0" y="0"/>
                </a:lnTo>
                <a:lnTo>
                  <a:pt x="3178" y="0"/>
                </a:lnTo>
                <a:lnTo>
                  <a:pt x="3178" y="3391"/>
                </a:lnTo>
                <a:close/>
              </a:path>
            </a:pathLst>
          </a:custGeom>
          <a:solidFill>
            <a:srgbClr val="ACD91A"/>
          </a:solidFill>
        </p:spPr>
        <p:txBody>
          <a:bodyPr wrap="square" lIns="0" tIns="0" rIns="0" bIns="0" rtlCol="0"/>
          <a:lstStyle/>
          <a:p>
            <a:endParaRPr/>
          </a:p>
        </p:txBody>
      </p:sp>
      <p:sp>
        <p:nvSpPr>
          <p:cNvPr id="94" name="object 94"/>
          <p:cNvSpPr/>
          <p:nvPr/>
        </p:nvSpPr>
        <p:spPr>
          <a:xfrm>
            <a:off x="5754414" y="5373596"/>
            <a:ext cx="4445" cy="4445"/>
          </a:xfrm>
          <a:custGeom>
            <a:avLst/>
            <a:gdLst/>
            <a:ahLst/>
            <a:cxnLst/>
            <a:rect l="l" t="t" r="r" b="b"/>
            <a:pathLst>
              <a:path w="4445" h="4445">
                <a:moveTo>
                  <a:pt x="0" y="4211"/>
                </a:moveTo>
                <a:lnTo>
                  <a:pt x="4081" y="4211"/>
                </a:lnTo>
                <a:lnTo>
                  <a:pt x="4081" y="0"/>
                </a:lnTo>
                <a:lnTo>
                  <a:pt x="0" y="0"/>
                </a:lnTo>
                <a:lnTo>
                  <a:pt x="0" y="4211"/>
                </a:lnTo>
                <a:close/>
              </a:path>
            </a:pathLst>
          </a:custGeom>
          <a:solidFill>
            <a:srgbClr val="ACD91A"/>
          </a:solidFill>
        </p:spPr>
        <p:txBody>
          <a:bodyPr wrap="square" lIns="0" tIns="0" rIns="0" bIns="0" rtlCol="0"/>
          <a:lstStyle/>
          <a:p>
            <a:endParaRPr/>
          </a:p>
        </p:txBody>
      </p:sp>
      <p:sp>
        <p:nvSpPr>
          <p:cNvPr id="95" name="object 95"/>
          <p:cNvSpPr/>
          <p:nvPr/>
        </p:nvSpPr>
        <p:spPr>
          <a:xfrm>
            <a:off x="5692348" y="5449439"/>
            <a:ext cx="5715" cy="5715"/>
          </a:xfrm>
          <a:custGeom>
            <a:avLst/>
            <a:gdLst/>
            <a:ahLst/>
            <a:cxnLst/>
            <a:rect l="l" t="t" r="r" b="b"/>
            <a:pathLst>
              <a:path w="5714" h="5714">
                <a:moveTo>
                  <a:pt x="0" y="5391"/>
                </a:moveTo>
                <a:lnTo>
                  <a:pt x="5463" y="5391"/>
                </a:lnTo>
                <a:lnTo>
                  <a:pt x="5463" y="0"/>
                </a:lnTo>
                <a:lnTo>
                  <a:pt x="0" y="0"/>
                </a:lnTo>
                <a:lnTo>
                  <a:pt x="0" y="5391"/>
                </a:lnTo>
                <a:close/>
              </a:path>
            </a:pathLst>
          </a:custGeom>
          <a:solidFill>
            <a:srgbClr val="ACD91A"/>
          </a:solidFill>
        </p:spPr>
        <p:txBody>
          <a:bodyPr wrap="square" lIns="0" tIns="0" rIns="0" bIns="0" rtlCol="0"/>
          <a:lstStyle/>
          <a:p>
            <a:endParaRPr/>
          </a:p>
        </p:txBody>
      </p:sp>
      <p:sp>
        <p:nvSpPr>
          <p:cNvPr id="96" name="object 96"/>
          <p:cNvSpPr/>
          <p:nvPr/>
        </p:nvSpPr>
        <p:spPr>
          <a:xfrm>
            <a:off x="5685714" y="5455180"/>
            <a:ext cx="5715" cy="5715"/>
          </a:xfrm>
          <a:custGeom>
            <a:avLst/>
            <a:gdLst/>
            <a:ahLst/>
            <a:cxnLst/>
            <a:rect l="l" t="t" r="r" b="b"/>
            <a:pathLst>
              <a:path w="5714" h="5714">
                <a:moveTo>
                  <a:pt x="0" y="5391"/>
                </a:moveTo>
                <a:lnTo>
                  <a:pt x="5390" y="5529"/>
                </a:lnTo>
                <a:lnTo>
                  <a:pt x="5454" y="138"/>
                </a:lnTo>
                <a:lnTo>
                  <a:pt x="64" y="0"/>
                </a:lnTo>
                <a:lnTo>
                  <a:pt x="0" y="5391"/>
                </a:lnTo>
                <a:close/>
              </a:path>
            </a:pathLst>
          </a:custGeom>
          <a:solidFill>
            <a:srgbClr val="79186C"/>
          </a:solidFill>
        </p:spPr>
        <p:txBody>
          <a:bodyPr wrap="square" lIns="0" tIns="0" rIns="0" bIns="0" rtlCol="0"/>
          <a:lstStyle/>
          <a:p>
            <a:endParaRPr/>
          </a:p>
        </p:txBody>
      </p:sp>
      <p:sp>
        <p:nvSpPr>
          <p:cNvPr id="97" name="object 97"/>
          <p:cNvSpPr/>
          <p:nvPr/>
        </p:nvSpPr>
        <p:spPr>
          <a:xfrm>
            <a:off x="5716120" y="5543742"/>
            <a:ext cx="6985" cy="6985"/>
          </a:xfrm>
          <a:custGeom>
            <a:avLst/>
            <a:gdLst/>
            <a:ahLst/>
            <a:cxnLst/>
            <a:rect l="l" t="t" r="r" b="b"/>
            <a:pathLst>
              <a:path w="6985" h="6985">
                <a:moveTo>
                  <a:pt x="0" y="6433"/>
                </a:moveTo>
                <a:lnTo>
                  <a:pt x="6431" y="6571"/>
                </a:lnTo>
                <a:lnTo>
                  <a:pt x="6569" y="73"/>
                </a:lnTo>
                <a:lnTo>
                  <a:pt x="73" y="0"/>
                </a:lnTo>
                <a:lnTo>
                  <a:pt x="0" y="6433"/>
                </a:lnTo>
                <a:close/>
              </a:path>
            </a:pathLst>
          </a:custGeom>
          <a:solidFill>
            <a:srgbClr val="79186C"/>
          </a:solidFill>
        </p:spPr>
        <p:txBody>
          <a:bodyPr wrap="square" lIns="0" tIns="0" rIns="0" bIns="0" rtlCol="0"/>
          <a:lstStyle/>
          <a:p>
            <a:endParaRPr/>
          </a:p>
        </p:txBody>
      </p:sp>
      <p:sp>
        <p:nvSpPr>
          <p:cNvPr id="98" name="object 98"/>
          <p:cNvSpPr/>
          <p:nvPr/>
        </p:nvSpPr>
        <p:spPr>
          <a:xfrm>
            <a:off x="5695739" y="5616203"/>
            <a:ext cx="5715" cy="5715"/>
          </a:xfrm>
          <a:custGeom>
            <a:avLst/>
            <a:gdLst/>
            <a:ahLst/>
            <a:cxnLst/>
            <a:rect l="l" t="t" r="r" b="b"/>
            <a:pathLst>
              <a:path w="5714" h="5714">
                <a:moveTo>
                  <a:pt x="0" y="5115"/>
                </a:moveTo>
                <a:lnTo>
                  <a:pt x="5113" y="5188"/>
                </a:lnTo>
                <a:lnTo>
                  <a:pt x="5252" y="64"/>
                </a:lnTo>
                <a:lnTo>
                  <a:pt x="64" y="0"/>
                </a:lnTo>
                <a:lnTo>
                  <a:pt x="0" y="5115"/>
                </a:lnTo>
                <a:close/>
              </a:path>
            </a:pathLst>
          </a:custGeom>
          <a:solidFill>
            <a:srgbClr val="46BD77"/>
          </a:solidFill>
        </p:spPr>
        <p:txBody>
          <a:bodyPr wrap="square" lIns="0" tIns="0" rIns="0" bIns="0" rtlCol="0"/>
          <a:lstStyle/>
          <a:p>
            <a:endParaRPr/>
          </a:p>
        </p:txBody>
      </p:sp>
      <p:sp>
        <p:nvSpPr>
          <p:cNvPr id="99" name="object 99"/>
          <p:cNvSpPr/>
          <p:nvPr/>
        </p:nvSpPr>
        <p:spPr>
          <a:xfrm>
            <a:off x="5699471" y="5484074"/>
            <a:ext cx="5080" cy="5080"/>
          </a:xfrm>
          <a:custGeom>
            <a:avLst/>
            <a:gdLst/>
            <a:ahLst/>
            <a:cxnLst/>
            <a:rect l="l" t="t" r="r" b="b"/>
            <a:pathLst>
              <a:path w="5079" h="5079">
                <a:moveTo>
                  <a:pt x="0" y="4571"/>
                </a:moveTo>
                <a:lnTo>
                  <a:pt x="4487" y="4635"/>
                </a:lnTo>
                <a:lnTo>
                  <a:pt x="4560" y="73"/>
                </a:lnTo>
                <a:lnTo>
                  <a:pt x="64" y="0"/>
                </a:lnTo>
                <a:lnTo>
                  <a:pt x="0" y="4571"/>
                </a:lnTo>
                <a:close/>
              </a:path>
            </a:pathLst>
          </a:custGeom>
          <a:solidFill>
            <a:srgbClr val="97DDF0"/>
          </a:solidFill>
        </p:spPr>
        <p:txBody>
          <a:bodyPr wrap="square" lIns="0" tIns="0" rIns="0" bIns="0" rtlCol="0"/>
          <a:lstStyle/>
          <a:p>
            <a:endParaRPr/>
          </a:p>
        </p:txBody>
      </p:sp>
      <p:sp>
        <p:nvSpPr>
          <p:cNvPr id="100" name="object 100"/>
          <p:cNvSpPr/>
          <p:nvPr/>
        </p:nvSpPr>
        <p:spPr>
          <a:xfrm>
            <a:off x="5697259" y="5594839"/>
            <a:ext cx="8255" cy="8255"/>
          </a:xfrm>
          <a:custGeom>
            <a:avLst/>
            <a:gdLst/>
            <a:ahLst/>
            <a:cxnLst/>
            <a:rect l="l" t="t" r="r" b="b"/>
            <a:pathLst>
              <a:path w="8254" h="8254">
                <a:moveTo>
                  <a:pt x="276" y="0"/>
                </a:moveTo>
                <a:lnTo>
                  <a:pt x="0" y="7400"/>
                </a:lnTo>
                <a:lnTo>
                  <a:pt x="7389" y="7677"/>
                </a:lnTo>
                <a:lnTo>
                  <a:pt x="7666" y="276"/>
                </a:lnTo>
                <a:lnTo>
                  <a:pt x="276" y="0"/>
                </a:lnTo>
                <a:close/>
              </a:path>
            </a:pathLst>
          </a:custGeom>
          <a:solidFill>
            <a:srgbClr val="E7E7E7"/>
          </a:solidFill>
        </p:spPr>
        <p:txBody>
          <a:bodyPr wrap="square" lIns="0" tIns="0" rIns="0" bIns="0" rtlCol="0"/>
          <a:lstStyle/>
          <a:p>
            <a:endParaRPr/>
          </a:p>
        </p:txBody>
      </p:sp>
      <p:sp>
        <p:nvSpPr>
          <p:cNvPr id="101" name="object 101"/>
          <p:cNvSpPr/>
          <p:nvPr/>
        </p:nvSpPr>
        <p:spPr>
          <a:xfrm>
            <a:off x="5734097" y="5527152"/>
            <a:ext cx="6350" cy="6350"/>
          </a:xfrm>
          <a:custGeom>
            <a:avLst/>
            <a:gdLst/>
            <a:ahLst/>
            <a:cxnLst/>
            <a:rect l="l" t="t" r="r" b="b"/>
            <a:pathLst>
              <a:path w="6350" h="6350">
                <a:moveTo>
                  <a:pt x="0" y="5944"/>
                </a:moveTo>
                <a:lnTo>
                  <a:pt x="5943" y="5944"/>
                </a:lnTo>
                <a:lnTo>
                  <a:pt x="5943" y="0"/>
                </a:lnTo>
                <a:lnTo>
                  <a:pt x="0" y="0"/>
                </a:lnTo>
                <a:lnTo>
                  <a:pt x="0" y="5944"/>
                </a:lnTo>
                <a:close/>
              </a:path>
            </a:pathLst>
          </a:custGeom>
          <a:solidFill>
            <a:srgbClr val="ACD91A"/>
          </a:solidFill>
        </p:spPr>
        <p:txBody>
          <a:bodyPr wrap="square" lIns="0" tIns="0" rIns="0" bIns="0" rtlCol="0"/>
          <a:lstStyle/>
          <a:p>
            <a:endParaRPr/>
          </a:p>
        </p:txBody>
      </p:sp>
      <p:sp>
        <p:nvSpPr>
          <p:cNvPr id="102" name="object 102"/>
          <p:cNvSpPr/>
          <p:nvPr/>
        </p:nvSpPr>
        <p:spPr>
          <a:xfrm>
            <a:off x="5734374" y="5614820"/>
            <a:ext cx="35560" cy="35560"/>
          </a:xfrm>
          <a:custGeom>
            <a:avLst/>
            <a:gdLst/>
            <a:ahLst/>
            <a:cxnLst/>
            <a:rect l="l" t="t" r="r" b="b"/>
            <a:pathLst>
              <a:path w="35560" h="35560">
                <a:moveTo>
                  <a:pt x="27439" y="0"/>
                </a:moveTo>
                <a:lnTo>
                  <a:pt x="7951" y="0"/>
                </a:lnTo>
                <a:lnTo>
                  <a:pt x="0" y="7880"/>
                </a:lnTo>
                <a:lnTo>
                  <a:pt x="0" y="27382"/>
                </a:lnTo>
                <a:lnTo>
                  <a:pt x="7951" y="35327"/>
                </a:lnTo>
                <a:lnTo>
                  <a:pt x="27439" y="35327"/>
                </a:lnTo>
                <a:lnTo>
                  <a:pt x="35391" y="27382"/>
                </a:lnTo>
                <a:lnTo>
                  <a:pt x="35391" y="7880"/>
                </a:lnTo>
                <a:lnTo>
                  <a:pt x="27439" y="0"/>
                </a:lnTo>
                <a:close/>
              </a:path>
            </a:pathLst>
          </a:custGeom>
          <a:solidFill>
            <a:srgbClr val="E7E7E7"/>
          </a:solidFill>
        </p:spPr>
        <p:txBody>
          <a:bodyPr wrap="square" lIns="0" tIns="0" rIns="0" bIns="0" rtlCol="0"/>
          <a:lstStyle/>
          <a:p>
            <a:endParaRPr/>
          </a:p>
        </p:txBody>
      </p:sp>
      <p:sp>
        <p:nvSpPr>
          <p:cNvPr id="103" name="object 103"/>
          <p:cNvSpPr/>
          <p:nvPr/>
        </p:nvSpPr>
        <p:spPr>
          <a:xfrm>
            <a:off x="5902476" y="5614820"/>
            <a:ext cx="35560" cy="35560"/>
          </a:xfrm>
          <a:custGeom>
            <a:avLst/>
            <a:gdLst/>
            <a:ahLst/>
            <a:cxnLst/>
            <a:rect l="l" t="t" r="r" b="b"/>
            <a:pathLst>
              <a:path w="35560" h="35560">
                <a:moveTo>
                  <a:pt x="27439" y="0"/>
                </a:moveTo>
                <a:lnTo>
                  <a:pt x="7878" y="0"/>
                </a:lnTo>
                <a:lnTo>
                  <a:pt x="0" y="7880"/>
                </a:lnTo>
                <a:lnTo>
                  <a:pt x="0" y="27382"/>
                </a:lnTo>
                <a:lnTo>
                  <a:pt x="7878" y="35327"/>
                </a:lnTo>
                <a:lnTo>
                  <a:pt x="27439" y="35327"/>
                </a:lnTo>
                <a:lnTo>
                  <a:pt x="35317" y="27382"/>
                </a:lnTo>
                <a:lnTo>
                  <a:pt x="35317" y="7880"/>
                </a:lnTo>
                <a:lnTo>
                  <a:pt x="27439" y="0"/>
                </a:lnTo>
                <a:close/>
              </a:path>
            </a:pathLst>
          </a:custGeom>
          <a:solidFill>
            <a:srgbClr val="E7E7E7"/>
          </a:solidFill>
        </p:spPr>
        <p:txBody>
          <a:bodyPr wrap="square" lIns="0" tIns="0" rIns="0" bIns="0" rtlCol="0"/>
          <a:lstStyle/>
          <a:p>
            <a:endParaRPr/>
          </a:p>
        </p:txBody>
      </p:sp>
      <p:sp>
        <p:nvSpPr>
          <p:cNvPr id="104" name="object 104"/>
          <p:cNvSpPr/>
          <p:nvPr/>
        </p:nvSpPr>
        <p:spPr>
          <a:xfrm>
            <a:off x="5733885" y="5534618"/>
            <a:ext cx="144780" cy="35560"/>
          </a:xfrm>
          <a:custGeom>
            <a:avLst/>
            <a:gdLst/>
            <a:ahLst/>
            <a:cxnLst/>
            <a:rect l="l" t="t" r="r" b="b"/>
            <a:pathLst>
              <a:path w="144779" h="35560">
                <a:moveTo>
                  <a:pt x="42025" y="0"/>
                </a:moveTo>
                <a:lnTo>
                  <a:pt x="31456" y="967"/>
                </a:lnTo>
                <a:lnTo>
                  <a:pt x="18732" y="8156"/>
                </a:lnTo>
                <a:lnTo>
                  <a:pt x="10854" y="13760"/>
                </a:lnTo>
                <a:lnTo>
                  <a:pt x="6505" y="19916"/>
                </a:lnTo>
                <a:lnTo>
                  <a:pt x="2073" y="26064"/>
                </a:lnTo>
                <a:lnTo>
                  <a:pt x="0" y="29105"/>
                </a:lnTo>
                <a:lnTo>
                  <a:pt x="835" y="32082"/>
                </a:lnTo>
                <a:lnTo>
                  <a:pt x="1455" y="34497"/>
                </a:lnTo>
                <a:lnTo>
                  <a:pt x="4634" y="35124"/>
                </a:lnTo>
                <a:lnTo>
                  <a:pt x="138589" y="35124"/>
                </a:lnTo>
                <a:lnTo>
                  <a:pt x="143564" y="34082"/>
                </a:lnTo>
                <a:lnTo>
                  <a:pt x="143564" y="30147"/>
                </a:lnTo>
                <a:lnTo>
                  <a:pt x="144329" y="28211"/>
                </a:lnTo>
                <a:lnTo>
                  <a:pt x="106100" y="5327"/>
                </a:lnTo>
                <a:lnTo>
                  <a:pt x="80800" y="120"/>
                </a:lnTo>
                <a:lnTo>
                  <a:pt x="69290" y="120"/>
                </a:lnTo>
                <a:lnTo>
                  <a:pt x="42025" y="0"/>
                </a:lnTo>
                <a:close/>
              </a:path>
              <a:path w="144779" h="35560">
                <a:moveTo>
                  <a:pt x="79490" y="73"/>
                </a:moveTo>
                <a:lnTo>
                  <a:pt x="69290" y="120"/>
                </a:lnTo>
                <a:lnTo>
                  <a:pt x="80800" y="120"/>
                </a:lnTo>
                <a:lnTo>
                  <a:pt x="79490" y="73"/>
                </a:lnTo>
                <a:close/>
              </a:path>
            </a:pathLst>
          </a:custGeom>
          <a:solidFill>
            <a:srgbClr val="E7E7E7"/>
          </a:solidFill>
        </p:spPr>
        <p:txBody>
          <a:bodyPr wrap="square" lIns="0" tIns="0" rIns="0" bIns="0" rtlCol="0"/>
          <a:lstStyle/>
          <a:p>
            <a:endParaRPr/>
          </a:p>
        </p:txBody>
      </p:sp>
      <p:sp>
        <p:nvSpPr>
          <p:cNvPr id="105" name="object 105"/>
          <p:cNvSpPr/>
          <p:nvPr/>
        </p:nvSpPr>
        <p:spPr>
          <a:xfrm>
            <a:off x="5483952" y="5717078"/>
            <a:ext cx="10795" cy="15875"/>
          </a:xfrm>
          <a:custGeom>
            <a:avLst/>
            <a:gdLst/>
            <a:ahLst/>
            <a:cxnLst/>
            <a:rect l="l" t="t" r="r" b="b"/>
            <a:pathLst>
              <a:path w="10795" h="15875">
                <a:moveTo>
                  <a:pt x="6220" y="0"/>
                </a:moveTo>
                <a:lnTo>
                  <a:pt x="2765" y="0"/>
                </a:lnTo>
                <a:lnTo>
                  <a:pt x="621" y="202"/>
                </a:lnTo>
                <a:lnTo>
                  <a:pt x="0" y="341"/>
                </a:lnTo>
                <a:lnTo>
                  <a:pt x="0" y="15419"/>
                </a:lnTo>
                <a:lnTo>
                  <a:pt x="2143" y="15419"/>
                </a:lnTo>
                <a:lnTo>
                  <a:pt x="2143" y="9751"/>
                </a:lnTo>
                <a:lnTo>
                  <a:pt x="4907" y="9751"/>
                </a:lnTo>
                <a:lnTo>
                  <a:pt x="5874" y="9677"/>
                </a:lnTo>
                <a:lnTo>
                  <a:pt x="6774" y="9474"/>
                </a:lnTo>
                <a:lnTo>
                  <a:pt x="7603" y="9336"/>
                </a:lnTo>
                <a:lnTo>
                  <a:pt x="8363" y="9059"/>
                </a:lnTo>
                <a:lnTo>
                  <a:pt x="8916" y="8645"/>
                </a:lnTo>
                <a:lnTo>
                  <a:pt x="9538" y="8294"/>
                </a:lnTo>
                <a:lnTo>
                  <a:pt x="9794" y="7953"/>
                </a:lnTo>
                <a:lnTo>
                  <a:pt x="2143" y="7953"/>
                </a:lnTo>
                <a:lnTo>
                  <a:pt x="2143" y="1935"/>
                </a:lnTo>
                <a:lnTo>
                  <a:pt x="2626" y="1861"/>
                </a:lnTo>
                <a:lnTo>
                  <a:pt x="9961" y="1861"/>
                </a:lnTo>
                <a:lnTo>
                  <a:pt x="7879" y="414"/>
                </a:lnTo>
                <a:lnTo>
                  <a:pt x="6220" y="0"/>
                </a:lnTo>
                <a:close/>
              </a:path>
              <a:path w="10795" h="15875">
                <a:moveTo>
                  <a:pt x="9961" y="1861"/>
                </a:moveTo>
                <a:lnTo>
                  <a:pt x="4838" y="1861"/>
                </a:lnTo>
                <a:lnTo>
                  <a:pt x="6428" y="2073"/>
                </a:lnTo>
                <a:lnTo>
                  <a:pt x="7672" y="2691"/>
                </a:lnTo>
                <a:lnTo>
                  <a:pt x="7949" y="3041"/>
                </a:lnTo>
                <a:lnTo>
                  <a:pt x="8432" y="3797"/>
                </a:lnTo>
                <a:lnTo>
                  <a:pt x="8432" y="5944"/>
                </a:lnTo>
                <a:lnTo>
                  <a:pt x="8156" y="6359"/>
                </a:lnTo>
                <a:lnTo>
                  <a:pt x="7949" y="6774"/>
                </a:lnTo>
                <a:lnTo>
                  <a:pt x="4492" y="7953"/>
                </a:lnTo>
                <a:lnTo>
                  <a:pt x="9794" y="7953"/>
                </a:lnTo>
                <a:lnTo>
                  <a:pt x="10327" y="7050"/>
                </a:lnTo>
                <a:lnTo>
                  <a:pt x="10575" y="6497"/>
                </a:lnTo>
                <a:lnTo>
                  <a:pt x="10724" y="5944"/>
                </a:lnTo>
                <a:lnTo>
                  <a:pt x="10680" y="3041"/>
                </a:lnTo>
                <a:lnTo>
                  <a:pt x="10160" y="1999"/>
                </a:lnTo>
                <a:lnTo>
                  <a:pt x="9961" y="1861"/>
                </a:lnTo>
                <a:close/>
              </a:path>
            </a:pathLst>
          </a:custGeom>
          <a:solidFill>
            <a:srgbClr val="251242"/>
          </a:solidFill>
        </p:spPr>
        <p:txBody>
          <a:bodyPr wrap="square" lIns="0" tIns="0" rIns="0" bIns="0" rtlCol="0"/>
          <a:lstStyle/>
          <a:p>
            <a:endParaRPr/>
          </a:p>
        </p:txBody>
      </p:sp>
      <p:sp>
        <p:nvSpPr>
          <p:cNvPr id="106" name="object 106"/>
          <p:cNvSpPr/>
          <p:nvPr/>
        </p:nvSpPr>
        <p:spPr>
          <a:xfrm>
            <a:off x="5496877" y="5721013"/>
            <a:ext cx="9525" cy="12065"/>
          </a:xfrm>
          <a:custGeom>
            <a:avLst/>
            <a:gdLst/>
            <a:ahLst/>
            <a:cxnLst/>
            <a:rect l="l" t="t" r="r" b="b"/>
            <a:pathLst>
              <a:path w="9525" h="12064">
                <a:moveTo>
                  <a:pt x="2004" y="0"/>
                </a:moveTo>
                <a:lnTo>
                  <a:pt x="0" y="0"/>
                </a:lnTo>
                <a:lnTo>
                  <a:pt x="69" y="7953"/>
                </a:lnTo>
                <a:lnTo>
                  <a:pt x="2488" y="11345"/>
                </a:lnTo>
                <a:lnTo>
                  <a:pt x="3041" y="11622"/>
                </a:lnTo>
                <a:lnTo>
                  <a:pt x="3801" y="11760"/>
                </a:lnTo>
                <a:lnTo>
                  <a:pt x="5667" y="11760"/>
                </a:lnTo>
                <a:lnTo>
                  <a:pt x="6565" y="11686"/>
                </a:lnTo>
                <a:lnTo>
                  <a:pt x="8156" y="11410"/>
                </a:lnTo>
                <a:lnTo>
                  <a:pt x="8778" y="11271"/>
                </a:lnTo>
                <a:lnTo>
                  <a:pt x="9192" y="11133"/>
                </a:lnTo>
                <a:lnTo>
                  <a:pt x="9192" y="9963"/>
                </a:lnTo>
                <a:lnTo>
                  <a:pt x="3870" y="9963"/>
                </a:lnTo>
                <a:lnTo>
                  <a:pt x="3110" y="9612"/>
                </a:lnTo>
                <a:lnTo>
                  <a:pt x="2211" y="8442"/>
                </a:lnTo>
                <a:lnTo>
                  <a:pt x="2114" y="7953"/>
                </a:lnTo>
                <a:lnTo>
                  <a:pt x="2004" y="0"/>
                </a:lnTo>
                <a:close/>
              </a:path>
              <a:path w="9525" h="12064">
                <a:moveTo>
                  <a:pt x="9192" y="0"/>
                </a:moveTo>
                <a:lnTo>
                  <a:pt x="7188" y="0"/>
                </a:lnTo>
                <a:lnTo>
                  <a:pt x="7119" y="9751"/>
                </a:lnTo>
                <a:lnTo>
                  <a:pt x="6980" y="9751"/>
                </a:lnTo>
                <a:lnTo>
                  <a:pt x="6842" y="9824"/>
                </a:lnTo>
                <a:lnTo>
                  <a:pt x="6220" y="9824"/>
                </a:lnTo>
                <a:lnTo>
                  <a:pt x="6013" y="9889"/>
                </a:lnTo>
                <a:lnTo>
                  <a:pt x="5598" y="9889"/>
                </a:lnTo>
                <a:lnTo>
                  <a:pt x="5322" y="9963"/>
                </a:lnTo>
                <a:lnTo>
                  <a:pt x="9192" y="9963"/>
                </a:lnTo>
                <a:lnTo>
                  <a:pt x="9192" y="0"/>
                </a:lnTo>
                <a:close/>
              </a:path>
            </a:pathLst>
          </a:custGeom>
          <a:solidFill>
            <a:srgbClr val="251242"/>
          </a:solidFill>
        </p:spPr>
        <p:txBody>
          <a:bodyPr wrap="square" lIns="0" tIns="0" rIns="0" bIns="0" rtlCol="0"/>
          <a:lstStyle/>
          <a:p>
            <a:endParaRPr/>
          </a:p>
        </p:txBody>
      </p:sp>
      <p:sp>
        <p:nvSpPr>
          <p:cNvPr id="107" name="object 107"/>
          <p:cNvSpPr/>
          <p:nvPr/>
        </p:nvSpPr>
        <p:spPr>
          <a:xfrm>
            <a:off x="5509250" y="5717493"/>
            <a:ext cx="6985" cy="15875"/>
          </a:xfrm>
          <a:custGeom>
            <a:avLst/>
            <a:gdLst/>
            <a:ahLst/>
            <a:cxnLst/>
            <a:rect l="l" t="t" r="r" b="b"/>
            <a:pathLst>
              <a:path w="6985" h="15875">
                <a:moveTo>
                  <a:pt x="2004" y="0"/>
                </a:moveTo>
                <a:lnTo>
                  <a:pt x="0" y="341"/>
                </a:lnTo>
                <a:lnTo>
                  <a:pt x="82" y="12377"/>
                </a:lnTo>
                <a:lnTo>
                  <a:pt x="244" y="13069"/>
                </a:lnTo>
                <a:lnTo>
                  <a:pt x="483" y="13686"/>
                </a:lnTo>
                <a:lnTo>
                  <a:pt x="1105" y="14451"/>
                </a:lnTo>
                <a:lnTo>
                  <a:pt x="1520" y="14792"/>
                </a:lnTo>
                <a:lnTo>
                  <a:pt x="2004" y="14930"/>
                </a:lnTo>
                <a:lnTo>
                  <a:pt x="2556" y="15142"/>
                </a:lnTo>
                <a:lnTo>
                  <a:pt x="3178" y="15281"/>
                </a:lnTo>
                <a:lnTo>
                  <a:pt x="4631" y="15281"/>
                </a:lnTo>
                <a:lnTo>
                  <a:pt x="5183" y="15207"/>
                </a:lnTo>
                <a:lnTo>
                  <a:pt x="5736" y="15004"/>
                </a:lnTo>
                <a:lnTo>
                  <a:pt x="6220" y="14866"/>
                </a:lnTo>
                <a:lnTo>
                  <a:pt x="6773" y="14654"/>
                </a:lnTo>
                <a:lnTo>
                  <a:pt x="6538" y="13483"/>
                </a:lnTo>
                <a:lnTo>
                  <a:pt x="3800" y="13483"/>
                </a:lnTo>
                <a:lnTo>
                  <a:pt x="3178" y="13345"/>
                </a:lnTo>
                <a:lnTo>
                  <a:pt x="2971" y="13207"/>
                </a:lnTo>
                <a:lnTo>
                  <a:pt x="2695" y="13069"/>
                </a:lnTo>
                <a:lnTo>
                  <a:pt x="2556" y="12857"/>
                </a:lnTo>
                <a:lnTo>
                  <a:pt x="2349" y="12654"/>
                </a:lnTo>
                <a:lnTo>
                  <a:pt x="2211" y="12377"/>
                </a:lnTo>
                <a:lnTo>
                  <a:pt x="2004" y="11133"/>
                </a:lnTo>
                <a:lnTo>
                  <a:pt x="2004" y="5253"/>
                </a:lnTo>
                <a:lnTo>
                  <a:pt x="6358" y="5253"/>
                </a:lnTo>
                <a:lnTo>
                  <a:pt x="6358" y="3520"/>
                </a:lnTo>
                <a:lnTo>
                  <a:pt x="2004" y="3520"/>
                </a:lnTo>
                <a:lnTo>
                  <a:pt x="2004" y="0"/>
                </a:lnTo>
                <a:close/>
              </a:path>
              <a:path w="6985" h="15875">
                <a:moveTo>
                  <a:pt x="6427" y="12930"/>
                </a:moveTo>
                <a:lnTo>
                  <a:pt x="6013" y="13133"/>
                </a:lnTo>
                <a:lnTo>
                  <a:pt x="5252" y="13410"/>
                </a:lnTo>
                <a:lnTo>
                  <a:pt x="4769" y="13483"/>
                </a:lnTo>
                <a:lnTo>
                  <a:pt x="6538" y="13483"/>
                </a:lnTo>
                <a:lnTo>
                  <a:pt x="6427" y="12930"/>
                </a:lnTo>
                <a:close/>
              </a:path>
            </a:pathLst>
          </a:custGeom>
          <a:solidFill>
            <a:srgbClr val="251242"/>
          </a:solidFill>
        </p:spPr>
        <p:txBody>
          <a:bodyPr wrap="square" lIns="0" tIns="0" rIns="0" bIns="0" rtlCol="0"/>
          <a:lstStyle/>
          <a:p>
            <a:endParaRPr/>
          </a:p>
        </p:txBody>
      </p:sp>
      <p:sp>
        <p:nvSpPr>
          <p:cNvPr id="108" name="object 108"/>
          <p:cNvSpPr/>
          <p:nvPr/>
        </p:nvSpPr>
        <p:spPr>
          <a:xfrm>
            <a:off x="5517683" y="5717493"/>
            <a:ext cx="6985" cy="15875"/>
          </a:xfrm>
          <a:custGeom>
            <a:avLst/>
            <a:gdLst/>
            <a:ahLst/>
            <a:cxnLst/>
            <a:rect l="l" t="t" r="r" b="b"/>
            <a:pathLst>
              <a:path w="6985" h="15875">
                <a:moveTo>
                  <a:pt x="2073" y="0"/>
                </a:moveTo>
                <a:lnTo>
                  <a:pt x="0" y="341"/>
                </a:lnTo>
                <a:lnTo>
                  <a:pt x="62" y="11963"/>
                </a:lnTo>
                <a:lnTo>
                  <a:pt x="237" y="12857"/>
                </a:lnTo>
                <a:lnTo>
                  <a:pt x="2073" y="14930"/>
                </a:lnTo>
                <a:lnTo>
                  <a:pt x="2556" y="15142"/>
                </a:lnTo>
                <a:lnTo>
                  <a:pt x="3178" y="15281"/>
                </a:lnTo>
                <a:lnTo>
                  <a:pt x="4631" y="15281"/>
                </a:lnTo>
                <a:lnTo>
                  <a:pt x="5252" y="15207"/>
                </a:lnTo>
                <a:lnTo>
                  <a:pt x="5736" y="15004"/>
                </a:lnTo>
                <a:lnTo>
                  <a:pt x="6289" y="14866"/>
                </a:lnTo>
                <a:lnTo>
                  <a:pt x="6842" y="14654"/>
                </a:lnTo>
                <a:lnTo>
                  <a:pt x="6560" y="13483"/>
                </a:lnTo>
                <a:lnTo>
                  <a:pt x="3800" y="13483"/>
                </a:lnTo>
                <a:lnTo>
                  <a:pt x="3247" y="13345"/>
                </a:lnTo>
                <a:lnTo>
                  <a:pt x="2073" y="5253"/>
                </a:lnTo>
                <a:lnTo>
                  <a:pt x="6358" y="5253"/>
                </a:lnTo>
                <a:lnTo>
                  <a:pt x="6358" y="3520"/>
                </a:lnTo>
                <a:lnTo>
                  <a:pt x="2073" y="3520"/>
                </a:lnTo>
                <a:lnTo>
                  <a:pt x="2073" y="0"/>
                </a:lnTo>
                <a:close/>
              </a:path>
              <a:path w="6985" h="15875">
                <a:moveTo>
                  <a:pt x="6427" y="12930"/>
                </a:moveTo>
                <a:lnTo>
                  <a:pt x="6013" y="13133"/>
                </a:lnTo>
                <a:lnTo>
                  <a:pt x="5252" y="13410"/>
                </a:lnTo>
                <a:lnTo>
                  <a:pt x="4769" y="13483"/>
                </a:lnTo>
                <a:lnTo>
                  <a:pt x="6560" y="13483"/>
                </a:lnTo>
                <a:lnTo>
                  <a:pt x="6427" y="12930"/>
                </a:lnTo>
                <a:close/>
              </a:path>
            </a:pathLst>
          </a:custGeom>
          <a:solidFill>
            <a:srgbClr val="251242"/>
          </a:solidFill>
        </p:spPr>
        <p:txBody>
          <a:bodyPr wrap="square" lIns="0" tIns="0" rIns="0" bIns="0" rtlCol="0"/>
          <a:lstStyle/>
          <a:p>
            <a:endParaRPr/>
          </a:p>
        </p:txBody>
      </p:sp>
      <p:sp>
        <p:nvSpPr>
          <p:cNvPr id="109" name="object 109"/>
          <p:cNvSpPr/>
          <p:nvPr/>
        </p:nvSpPr>
        <p:spPr>
          <a:xfrm>
            <a:off x="5526115" y="5716248"/>
            <a:ext cx="3175" cy="16510"/>
          </a:xfrm>
          <a:custGeom>
            <a:avLst/>
            <a:gdLst/>
            <a:ahLst/>
            <a:cxnLst/>
            <a:rect l="l" t="t" r="r" b="b"/>
            <a:pathLst>
              <a:path w="3175" h="16510">
                <a:moveTo>
                  <a:pt x="2350" y="4764"/>
                </a:moveTo>
                <a:lnTo>
                  <a:pt x="276" y="4764"/>
                </a:lnTo>
                <a:lnTo>
                  <a:pt x="276" y="16248"/>
                </a:lnTo>
                <a:lnTo>
                  <a:pt x="2350" y="16248"/>
                </a:lnTo>
                <a:lnTo>
                  <a:pt x="2350" y="4764"/>
                </a:lnTo>
                <a:close/>
              </a:path>
              <a:path w="3175" h="16510">
                <a:moveTo>
                  <a:pt x="1659" y="0"/>
                </a:moveTo>
                <a:lnTo>
                  <a:pt x="968" y="0"/>
                </a:lnTo>
                <a:lnTo>
                  <a:pt x="621" y="138"/>
                </a:lnTo>
                <a:lnTo>
                  <a:pt x="414" y="414"/>
                </a:lnTo>
                <a:lnTo>
                  <a:pt x="138" y="617"/>
                </a:lnTo>
                <a:lnTo>
                  <a:pt x="0" y="967"/>
                </a:lnTo>
                <a:lnTo>
                  <a:pt x="0" y="1797"/>
                </a:lnTo>
                <a:lnTo>
                  <a:pt x="138" y="2138"/>
                </a:lnTo>
                <a:lnTo>
                  <a:pt x="414" y="2350"/>
                </a:lnTo>
                <a:lnTo>
                  <a:pt x="621" y="2626"/>
                </a:lnTo>
                <a:lnTo>
                  <a:pt x="968" y="2691"/>
                </a:lnTo>
                <a:lnTo>
                  <a:pt x="1659" y="2691"/>
                </a:lnTo>
                <a:lnTo>
                  <a:pt x="2004" y="2626"/>
                </a:lnTo>
                <a:lnTo>
                  <a:pt x="2488" y="2138"/>
                </a:lnTo>
                <a:lnTo>
                  <a:pt x="2626" y="1797"/>
                </a:lnTo>
                <a:lnTo>
                  <a:pt x="2626" y="967"/>
                </a:lnTo>
                <a:lnTo>
                  <a:pt x="2488" y="617"/>
                </a:lnTo>
                <a:lnTo>
                  <a:pt x="2004" y="138"/>
                </a:lnTo>
                <a:lnTo>
                  <a:pt x="1659" y="0"/>
                </a:lnTo>
                <a:close/>
              </a:path>
            </a:pathLst>
          </a:custGeom>
          <a:solidFill>
            <a:srgbClr val="251242"/>
          </a:solidFill>
        </p:spPr>
        <p:txBody>
          <a:bodyPr wrap="square" lIns="0" tIns="0" rIns="0" bIns="0" rtlCol="0"/>
          <a:lstStyle/>
          <a:p>
            <a:endParaRPr/>
          </a:p>
        </p:txBody>
      </p:sp>
      <p:sp>
        <p:nvSpPr>
          <p:cNvPr id="110" name="object 110"/>
          <p:cNvSpPr/>
          <p:nvPr/>
        </p:nvSpPr>
        <p:spPr>
          <a:xfrm>
            <a:off x="5531645" y="5720811"/>
            <a:ext cx="9525" cy="12065"/>
          </a:xfrm>
          <a:custGeom>
            <a:avLst/>
            <a:gdLst/>
            <a:ahLst/>
            <a:cxnLst/>
            <a:rect l="l" t="t" r="r" b="b"/>
            <a:pathLst>
              <a:path w="9525" h="12064">
                <a:moveTo>
                  <a:pt x="5463" y="0"/>
                </a:moveTo>
                <a:lnTo>
                  <a:pt x="3529" y="0"/>
                </a:lnTo>
                <a:lnTo>
                  <a:pt x="2626" y="64"/>
                </a:lnTo>
                <a:lnTo>
                  <a:pt x="1105" y="341"/>
                </a:lnTo>
                <a:lnTo>
                  <a:pt x="483" y="414"/>
                </a:lnTo>
                <a:lnTo>
                  <a:pt x="0" y="552"/>
                </a:lnTo>
                <a:lnTo>
                  <a:pt x="0" y="11686"/>
                </a:lnTo>
                <a:lnTo>
                  <a:pt x="2073" y="11686"/>
                </a:lnTo>
                <a:lnTo>
                  <a:pt x="2073" y="1999"/>
                </a:lnTo>
                <a:lnTo>
                  <a:pt x="2280" y="1999"/>
                </a:lnTo>
                <a:lnTo>
                  <a:pt x="2418" y="1935"/>
                </a:lnTo>
                <a:lnTo>
                  <a:pt x="2556" y="1935"/>
                </a:lnTo>
                <a:lnTo>
                  <a:pt x="2764" y="1861"/>
                </a:lnTo>
                <a:lnTo>
                  <a:pt x="3455" y="1861"/>
                </a:lnTo>
                <a:lnTo>
                  <a:pt x="3667" y="1797"/>
                </a:lnTo>
                <a:lnTo>
                  <a:pt x="8544" y="1797"/>
                </a:lnTo>
                <a:lnTo>
                  <a:pt x="7951" y="967"/>
                </a:lnTo>
                <a:lnTo>
                  <a:pt x="7463" y="617"/>
                </a:lnTo>
                <a:lnTo>
                  <a:pt x="6846" y="341"/>
                </a:lnTo>
                <a:lnTo>
                  <a:pt x="6219" y="138"/>
                </a:lnTo>
                <a:lnTo>
                  <a:pt x="5463" y="0"/>
                </a:lnTo>
                <a:close/>
              </a:path>
              <a:path w="9525" h="12064">
                <a:moveTo>
                  <a:pt x="8544" y="1797"/>
                </a:moveTo>
                <a:lnTo>
                  <a:pt x="4911" y="1797"/>
                </a:lnTo>
                <a:lnTo>
                  <a:pt x="5325" y="1861"/>
                </a:lnTo>
                <a:lnTo>
                  <a:pt x="6081" y="2138"/>
                </a:lnTo>
                <a:lnTo>
                  <a:pt x="6357" y="2350"/>
                </a:lnTo>
                <a:lnTo>
                  <a:pt x="6569" y="2691"/>
                </a:lnTo>
                <a:lnTo>
                  <a:pt x="6846" y="2967"/>
                </a:lnTo>
                <a:lnTo>
                  <a:pt x="6984" y="3382"/>
                </a:lnTo>
                <a:lnTo>
                  <a:pt x="7048" y="3870"/>
                </a:lnTo>
                <a:lnTo>
                  <a:pt x="7187" y="4423"/>
                </a:lnTo>
                <a:lnTo>
                  <a:pt x="7187" y="11686"/>
                </a:lnTo>
                <a:lnTo>
                  <a:pt x="9260" y="11686"/>
                </a:lnTo>
                <a:lnTo>
                  <a:pt x="9195" y="3806"/>
                </a:lnTo>
                <a:lnTo>
                  <a:pt x="8919" y="2488"/>
                </a:lnTo>
                <a:lnTo>
                  <a:pt x="8642" y="1935"/>
                </a:lnTo>
                <a:lnTo>
                  <a:pt x="8544" y="1797"/>
                </a:lnTo>
                <a:close/>
              </a:path>
            </a:pathLst>
          </a:custGeom>
          <a:solidFill>
            <a:srgbClr val="251242"/>
          </a:solidFill>
        </p:spPr>
        <p:txBody>
          <a:bodyPr wrap="square" lIns="0" tIns="0" rIns="0" bIns="0" rtlCol="0"/>
          <a:lstStyle/>
          <a:p>
            <a:endParaRPr/>
          </a:p>
        </p:txBody>
      </p:sp>
      <p:sp>
        <p:nvSpPr>
          <p:cNvPr id="111" name="object 111"/>
          <p:cNvSpPr/>
          <p:nvPr/>
        </p:nvSpPr>
        <p:spPr>
          <a:xfrm>
            <a:off x="5543467" y="5720811"/>
            <a:ext cx="10160" cy="15875"/>
          </a:xfrm>
          <a:custGeom>
            <a:avLst/>
            <a:gdLst/>
            <a:ahLst/>
            <a:cxnLst/>
            <a:rect l="l" t="t" r="r" b="b"/>
            <a:pathLst>
              <a:path w="10160" h="15875">
                <a:moveTo>
                  <a:pt x="893" y="13483"/>
                </a:moveTo>
                <a:lnTo>
                  <a:pt x="552" y="15281"/>
                </a:lnTo>
                <a:lnTo>
                  <a:pt x="1031" y="15419"/>
                </a:lnTo>
                <a:lnTo>
                  <a:pt x="2211" y="15695"/>
                </a:lnTo>
                <a:lnTo>
                  <a:pt x="3519" y="15834"/>
                </a:lnTo>
                <a:lnTo>
                  <a:pt x="6081" y="15834"/>
                </a:lnTo>
                <a:lnTo>
                  <a:pt x="7463" y="15419"/>
                </a:lnTo>
                <a:lnTo>
                  <a:pt x="9020" y="14101"/>
                </a:lnTo>
                <a:lnTo>
                  <a:pt x="3657" y="14101"/>
                </a:lnTo>
                <a:lnTo>
                  <a:pt x="3040" y="14036"/>
                </a:lnTo>
                <a:lnTo>
                  <a:pt x="1796" y="13760"/>
                </a:lnTo>
                <a:lnTo>
                  <a:pt x="893" y="13483"/>
                </a:lnTo>
                <a:close/>
              </a:path>
              <a:path w="10160" h="15875">
                <a:moveTo>
                  <a:pt x="9739" y="10580"/>
                </a:moveTo>
                <a:lnTo>
                  <a:pt x="7739" y="10580"/>
                </a:lnTo>
                <a:lnTo>
                  <a:pt x="7739" y="12101"/>
                </a:lnTo>
                <a:lnTo>
                  <a:pt x="7463" y="12857"/>
                </a:lnTo>
                <a:lnTo>
                  <a:pt x="6357" y="13824"/>
                </a:lnTo>
                <a:lnTo>
                  <a:pt x="5528" y="14101"/>
                </a:lnTo>
                <a:lnTo>
                  <a:pt x="9020" y="14101"/>
                </a:lnTo>
                <a:lnTo>
                  <a:pt x="9260" y="13898"/>
                </a:lnTo>
                <a:lnTo>
                  <a:pt x="9638" y="12857"/>
                </a:lnTo>
                <a:lnTo>
                  <a:pt x="9739" y="10580"/>
                </a:lnTo>
                <a:close/>
              </a:path>
              <a:path w="10160" h="15875">
                <a:moveTo>
                  <a:pt x="6422" y="0"/>
                </a:moveTo>
                <a:lnTo>
                  <a:pt x="4560" y="0"/>
                </a:lnTo>
                <a:lnTo>
                  <a:pt x="3796" y="138"/>
                </a:lnTo>
                <a:lnTo>
                  <a:pt x="0" y="4147"/>
                </a:lnTo>
                <a:lnTo>
                  <a:pt x="0" y="7539"/>
                </a:lnTo>
                <a:lnTo>
                  <a:pt x="2966" y="10921"/>
                </a:lnTo>
                <a:lnTo>
                  <a:pt x="3593" y="11198"/>
                </a:lnTo>
                <a:lnTo>
                  <a:pt x="4210" y="11271"/>
                </a:lnTo>
                <a:lnTo>
                  <a:pt x="5592" y="11271"/>
                </a:lnTo>
                <a:lnTo>
                  <a:pt x="6219" y="11198"/>
                </a:lnTo>
                <a:lnTo>
                  <a:pt x="6698" y="10995"/>
                </a:lnTo>
                <a:lnTo>
                  <a:pt x="7187" y="10857"/>
                </a:lnTo>
                <a:lnTo>
                  <a:pt x="7527" y="10645"/>
                </a:lnTo>
                <a:lnTo>
                  <a:pt x="7739" y="10580"/>
                </a:lnTo>
                <a:lnTo>
                  <a:pt x="9739" y="10580"/>
                </a:lnTo>
                <a:lnTo>
                  <a:pt x="9739" y="9539"/>
                </a:lnTo>
                <a:lnTo>
                  <a:pt x="4699" y="9539"/>
                </a:lnTo>
                <a:lnTo>
                  <a:pt x="4349" y="9474"/>
                </a:lnTo>
                <a:lnTo>
                  <a:pt x="3934" y="9262"/>
                </a:lnTo>
                <a:lnTo>
                  <a:pt x="3593" y="9124"/>
                </a:lnTo>
                <a:lnTo>
                  <a:pt x="1999" y="4562"/>
                </a:lnTo>
                <a:lnTo>
                  <a:pt x="2349" y="3594"/>
                </a:lnTo>
                <a:lnTo>
                  <a:pt x="3519" y="2138"/>
                </a:lnTo>
                <a:lnTo>
                  <a:pt x="4349" y="1797"/>
                </a:lnTo>
                <a:lnTo>
                  <a:pt x="9739" y="1797"/>
                </a:lnTo>
                <a:lnTo>
                  <a:pt x="9739" y="552"/>
                </a:lnTo>
                <a:lnTo>
                  <a:pt x="9260" y="479"/>
                </a:lnTo>
                <a:lnTo>
                  <a:pt x="7251" y="64"/>
                </a:lnTo>
                <a:lnTo>
                  <a:pt x="6422" y="0"/>
                </a:lnTo>
                <a:close/>
              </a:path>
              <a:path w="10160" h="15875">
                <a:moveTo>
                  <a:pt x="9739" y="1797"/>
                </a:moveTo>
                <a:lnTo>
                  <a:pt x="6495" y="1797"/>
                </a:lnTo>
                <a:lnTo>
                  <a:pt x="7463" y="1999"/>
                </a:lnTo>
                <a:lnTo>
                  <a:pt x="7666" y="2073"/>
                </a:lnTo>
                <a:lnTo>
                  <a:pt x="7666" y="8783"/>
                </a:lnTo>
                <a:lnTo>
                  <a:pt x="7463" y="8921"/>
                </a:lnTo>
                <a:lnTo>
                  <a:pt x="7048" y="9124"/>
                </a:lnTo>
                <a:lnTo>
                  <a:pt x="6634" y="9262"/>
                </a:lnTo>
                <a:lnTo>
                  <a:pt x="6145" y="9474"/>
                </a:lnTo>
                <a:lnTo>
                  <a:pt x="5666" y="9539"/>
                </a:lnTo>
                <a:lnTo>
                  <a:pt x="9739" y="9539"/>
                </a:lnTo>
                <a:lnTo>
                  <a:pt x="9739" y="1797"/>
                </a:lnTo>
                <a:close/>
              </a:path>
            </a:pathLst>
          </a:custGeom>
          <a:solidFill>
            <a:srgbClr val="251242"/>
          </a:solidFill>
        </p:spPr>
        <p:txBody>
          <a:bodyPr wrap="square" lIns="0" tIns="0" rIns="0" bIns="0" rtlCol="0"/>
          <a:lstStyle/>
          <a:p>
            <a:endParaRPr/>
          </a:p>
        </p:txBody>
      </p:sp>
      <p:sp>
        <p:nvSpPr>
          <p:cNvPr id="112" name="object 112"/>
          <p:cNvSpPr/>
          <p:nvPr/>
        </p:nvSpPr>
        <p:spPr>
          <a:xfrm>
            <a:off x="5561172" y="5720737"/>
            <a:ext cx="9525" cy="12065"/>
          </a:xfrm>
          <a:custGeom>
            <a:avLst/>
            <a:gdLst/>
            <a:ahLst/>
            <a:cxnLst/>
            <a:rect l="l" t="t" r="r" b="b"/>
            <a:pathLst>
              <a:path w="9525" h="12064">
                <a:moveTo>
                  <a:pt x="5034" y="4774"/>
                </a:moveTo>
                <a:lnTo>
                  <a:pt x="4205" y="4774"/>
                </a:lnTo>
                <a:lnTo>
                  <a:pt x="3579" y="4847"/>
                </a:lnTo>
                <a:lnTo>
                  <a:pt x="2408" y="5124"/>
                </a:lnTo>
                <a:lnTo>
                  <a:pt x="1856" y="5327"/>
                </a:lnTo>
                <a:lnTo>
                  <a:pt x="1441" y="5603"/>
                </a:lnTo>
                <a:lnTo>
                  <a:pt x="953" y="5880"/>
                </a:lnTo>
                <a:lnTo>
                  <a:pt x="612" y="6294"/>
                </a:lnTo>
                <a:lnTo>
                  <a:pt x="123" y="7198"/>
                </a:lnTo>
                <a:lnTo>
                  <a:pt x="0" y="9059"/>
                </a:lnTo>
                <a:lnTo>
                  <a:pt x="123" y="9612"/>
                </a:lnTo>
                <a:lnTo>
                  <a:pt x="3790" y="12036"/>
                </a:lnTo>
                <a:lnTo>
                  <a:pt x="4896" y="12036"/>
                </a:lnTo>
                <a:lnTo>
                  <a:pt x="5375" y="11963"/>
                </a:lnTo>
                <a:lnTo>
                  <a:pt x="5790" y="11963"/>
                </a:lnTo>
                <a:lnTo>
                  <a:pt x="6278" y="11898"/>
                </a:lnTo>
                <a:lnTo>
                  <a:pt x="6693" y="11898"/>
                </a:lnTo>
                <a:lnTo>
                  <a:pt x="7108" y="11824"/>
                </a:lnTo>
                <a:lnTo>
                  <a:pt x="7522" y="11824"/>
                </a:lnTo>
                <a:lnTo>
                  <a:pt x="8490" y="11622"/>
                </a:lnTo>
                <a:lnTo>
                  <a:pt x="8766" y="11622"/>
                </a:lnTo>
                <a:lnTo>
                  <a:pt x="8904" y="11548"/>
                </a:lnTo>
                <a:lnTo>
                  <a:pt x="8904" y="10304"/>
                </a:lnTo>
                <a:lnTo>
                  <a:pt x="3855" y="10304"/>
                </a:lnTo>
                <a:lnTo>
                  <a:pt x="3238" y="10165"/>
                </a:lnTo>
                <a:lnTo>
                  <a:pt x="2270" y="9612"/>
                </a:lnTo>
                <a:lnTo>
                  <a:pt x="2058" y="9059"/>
                </a:lnTo>
                <a:lnTo>
                  <a:pt x="2132" y="7612"/>
                </a:lnTo>
                <a:lnTo>
                  <a:pt x="2335" y="7400"/>
                </a:lnTo>
                <a:lnTo>
                  <a:pt x="2547" y="7124"/>
                </a:lnTo>
                <a:lnTo>
                  <a:pt x="2749" y="6921"/>
                </a:lnTo>
                <a:lnTo>
                  <a:pt x="3099" y="6783"/>
                </a:lnTo>
                <a:lnTo>
                  <a:pt x="3376" y="6645"/>
                </a:lnTo>
                <a:lnTo>
                  <a:pt x="3993" y="6506"/>
                </a:lnTo>
                <a:lnTo>
                  <a:pt x="4343" y="6506"/>
                </a:lnTo>
                <a:lnTo>
                  <a:pt x="4684" y="6433"/>
                </a:lnTo>
                <a:lnTo>
                  <a:pt x="8904" y="6433"/>
                </a:lnTo>
                <a:lnTo>
                  <a:pt x="8904" y="5124"/>
                </a:lnTo>
                <a:lnTo>
                  <a:pt x="6896" y="5124"/>
                </a:lnTo>
                <a:lnTo>
                  <a:pt x="6619" y="5050"/>
                </a:lnTo>
                <a:lnTo>
                  <a:pt x="6481" y="4986"/>
                </a:lnTo>
                <a:lnTo>
                  <a:pt x="6278" y="4986"/>
                </a:lnTo>
                <a:lnTo>
                  <a:pt x="6066" y="4912"/>
                </a:lnTo>
                <a:lnTo>
                  <a:pt x="5864" y="4912"/>
                </a:lnTo>
                <a:lnTo>
                  <a:pt x="5652" y="4847"/>
                </a:lnTo>
                <a:lnTo>
                  <a:pt x="5237" y="4847"/>
                </a:lnTo>
                <a:lnTo>
                  <a:pt x="5034" y="4774"/>
                </a:lnTo>
                <a:close/>
              </a:path>
              <a:path w="9525" h="12064">
                <a:moveTo>
                  <a:pt x="8904" y="6433"/>
                </a:moveTo>
                <a:lnTo>
                  <a:pt x="5449" y="6433"/>
                </a:lnTo>
                <a:lnTo>
                  <a:pt x="6205" y="6571"/>
                </a:lnTo>
                <a:lnTo>
                  <a:pt x="6555" y="6571"/>
                </a:lnTo>
                <a:lnTo>
                  <a:pt x="6896" y="6709"/>
                </a:lnTo>
                <a:lnTo>
                  <a:pt x="6896" y="10165"/>
                </a:lnTo>
                <a:lnTo>
                  <a:pt x="6693" y="10239"/>
                </a:lnTo>
                <a:lnTo>
                  <a:pt x="6002" y="10239"/>
                </a:lnTo>
                <a:lnTo>
                  <a:pt x="5587" y="10304"/>
                </a:lnTo>
                <a:lnTo>
                  <a:pt x="8904" y="10304"/>
                </a:lnTo>
                <a:lnTo>
                  <a:pt x="8904" y="6433"/>
                </a:lnTo>
                <a:close/>
              </a:path>
              <a:path w="9525" h="12064">
                <a:moveTo>
                  <a:pt x="8370" y="1797"/>
                </a:moveTo>
                <a:lnTo>
                  <a:pt x="4896" y="1797"/>
                </a:lnTo>
                <a:lnTo>
                  <a:pt x="5311" y="1870"/>
                </a:lnTo>
                <a:lnTo>
                  <a:pt x="5652" y="2009"/>
                </a:lnTo>
                <a:lnTo>
                  <a:pt x="6896" y="5124"/>
                </a:lnTo>
                <a:lnTo>
                  <a:pt x="8904" y="5124"/>
                </a:lnTo>
                <a:lnTo>
                  <a:pt x="8831" y="3179"/>
                </a:lnTo>
                <a:lnTo>
                  <a:pt x="8623" y="2350"/>
                </a:lnTo>
                <a:lnTo>
                  <a:pt x="8511" y="2009"/>
                </a:lnTo>
                <a:lnTo>
                  <a:pt x="8370" y="1797"/>
                </a:lnTo>
                <a:close/>
              </a:path>
              <a:path w="9525" h="12064">
                <a:moveTo>
                  <a:pt x="5311" y="0"/>
                </a:moveTo>
                <a:lnTo>
                  <a:pt x="3790" y="0"/>
                </a:lnTo>
                <a:lnTo>
                  <a:pt x="3099" y="73"/>
                </a:lnTo>
                <a:lnTo>
                  <a:pt x="2473" y="211"/>
                </a:lnTo>
                <a:lnTo>
                  <a:pt x="1856" y="276"/>
                </a:lnTo>
                <a:lnTo>
                  <a:pt x="1441" y="414"/>
                </a:lnTo>
                <a:lnTo>
                  <a:pt x="1164" y="552"/>
                </a:lnTo>
                <a:lnTo>
                  <a:pt x="1441" y="2211"/>
                </a:lnTo>
                <a:lnTo>
                  <a:pt x="2058" y="2009"/>
                </a:lnTo>
                <a:lnTo>
                  <a:pt x="2547" y="1935"/>
                </a:lnTo>
                <a:lnTo>
                  <a:pt x="3099" y="1797"/>
                </a:lnTo>
                <a:lnTo>
                  <a:pt x="8370" y="1797"/>
                </a:lnTo>
                <a:lnTo>
                  <a:pt x="8278" y="1658"/>
                </a:lnTo>
                <a:lnTo>
                  <a:pt x="7587" y="829"/>
                </a:lnTo>
                <a:lnTo>
                  <a:pt x="7172" y="552"/>
                </a:lnTo>
                <a:lnTo>
                  <a:pt x="6002" y="138"/>
                </a:lnTo>
                <a:lnTo>
                  <a:pt x="5311" y="0"/>
                </a:lnTo>
                <a:close/>
              </a:path>
            </a:pathLst>
          </a:custGeom>
          <a:solidFill>
            <a:srgbClr val="251242"/>
          </a:solidFill>
        </p:spPr>
        <p:txBody>
          <a:bodyPr wrap="square" lIns="0" tIns="0" rIns="0" bIns="0" rtlCol="0"/>
          <a:lstStyle/>
          <a:p>
            <a:endParaRPr/>
          </a:p>
        </p:txBody>
      </p:sp>
      <p:sp>
        <p:nvSpPr>
          <p:cNvPr id="113" name="object 113"/>
          <p:cNvSpPr/>
          <p:nvPr/>
        </p:nvSpPr>
        <p:spPr>
          <a:xfrm>
            <a:off x="5573044" y="5721013"/>
            <a:ext cx="9525" cy="12065"/>
          </a:xfrm>
          <a:custGeom>
            <a:avLst/>
            <a:gdLst/>
            <a:ahLst/>
            <a:cxnLst/>
            <a:rect l="l" t="t" r="r" b="b"/>
            <a:pathLst>
              <a:path w="9525" h="12064">
                <a:moveTo>
                  <a:pt x="2008" y="0"/>
                </a:moveTo>
                <a:lnTo>
                  <a:pt x="0" y="0"/>
                </a:lnTo>
                <a:lnTo>
                  <a:pt x="73" y="7953"/>
                </a:lnTo>
                <a:lnTo>
                  <a:pt x="350" y="9271"/>
                </a:lnTo>
                <a:lnTo>
                  <a:pt x="589" y="9751"/>
                </a:lnTo>
                <a:lnTo>
                  <a:pt x="764" y="9963"/>
                </a:lnTo>
                <a:lnTo>
                  <a:pt x="1041" y="10239"/>
                </a:lnTo>
                <a:lnTo>
                  <a:pt x="1382" y="10718"/>
                </a:lnTo>
                <a:lnTo>
                  <a:pt x="1870" y="11069"/>
                </a:lnTo>
                <a:lnTo>
                  <a:pt x="2487" y="11345"/>
                </a:lnTo>
                <a:lnTo>
                  <a:pt x="3040" y="11622"/>
                </a:lnTo>
                <a:lnTo>
                  <a:pt x="3805" y="11760"/>
                </a:lnTo>
                <a:lnTo>
                  <a:pt x="5740" y="11760"/>
                </a:lnTo>
                <a:lnTo>
                  <a:pt x="6643" y="11686"/>
                </a:lnTo>
                <a:lnTo>
                  <a:pt x="8163" y="11410"/>
                </a:lnTo>
                <a:lnTo>
                  <a:pt x="8781" y="11271"/>
                </a:lnTo>
                <a:lnTo>
                  <a:pt x="9269" y="11133"/>
                </a:lnTo>
                <a:lnTo>
                  <a:pt x="9269" y="9963"/>
                </a:lnTo>
                <a:lnTo>
                  <a:pt x="3869" y="9963"/>
                </a:lnTo>
                <a:lnTo>
                  <a:pt x="3114" y="9612"/>
                </a:lnTo>
                <a:lnTo>
                  <a:pt x="2211" y="8442"/>
                </a:lnTo>
                <a:lnTo>
                  <a:pt x="2116" y="7953"/>
                </a:lnTo>
                <a:lnTo>
                  <a:pt x="2008" y="0"/>
                </a:lnTo>
                <a:close/>
              </a:path>
              <a:path w="9525" h="12064">
                <a:moveTo>
                  <a:pt x="9269" y="0"/>
                </a:moveTo>
                <a:lnTo>
                  <a:pt x="7196" y="0"/>
                </a:lnTo>
                <a:lnTo>
                  <a:pt x="7122" y="9751"/>
                </a:lnTo>
                <a:lnTo>
                  <a:pt x="6984" y="9751"/>
                </a:lnTo>
                <a:lnTo>
                  <a:pt x="6846" y="9824"/>
                </a:lnTo>
                <a:lnTo>
                  <a:pt x="6293" y="9824"/>
                </a:lnTo>
                <a:lnTo>
                  <a:pt x="6081" y="9889"/>
                </a:lnTo>
                <a:lnTo>
                  <a:pt x="5602" y="9889"/>
                </a:lnTo>
                <a:lnTo>
                  <a:pt x="5390" y="9963"/>
                </a:lnTo>
                <a:lnTo>
                  <a:pt x="9269" y="9963"/>
                </a:lnTo>
                <a:lnTo>
                  <a:pt x="9269" y="0"/>
                </a:lnTo>
                <a:close/>
              </a:path>
            </a:pathLst>
          </a:custGeom>
          <a:solidFill>
            <a:srgbClr val="251242"/>
          </a:solidFill>
        </p:spPr>
        <p:txBody>
          <a:bodyPr wrap="square" lIns="0" tIns="0" rIns="0" bIns="0" rtlCol="0"/>
          <a:lstStyle/>
          <a:p>
            <a:endParaRPr/>
          </a:p>
        </p:txBody>
      </p:sp>
      <p:sp>
        <p:nvSpPr>
          <p:cNvPr id="114" name="object 114"/>
          <p:cNvSpPr/>
          <p:nvPr/>
        </p:nvSpPr>
        <p:spPr>
          <a:xfrm>
            <a:off x="5585418" y="5717493"/>
            <a:ext cx="6985" cy="15875"/>
          </a:xfrm>
          <a:custGeom>
            <a:avLst/>
            <a:gdLst/>
            <a:ahLst/>
            <a:cxnLst/>
            <a:rect l="l" t="t" r="r" b="b"/>
            <a:pathLst>
              <a:path w="6985" h="15875">
                <a:moveTo>
                  <a:pt x="2008" y="0"/>
                </a:moveTo>
                <a:lnTo>
                  <a:pt x="0" y="341"/>
                </a:lnTo>
                <a:lnTo>
                  <a:pt x="30" y="11612"/>
                </a:lnTo>
                <a:lnTo>
                  <a:pt x="138" y="12580"/>
                </a:lnTo>
                <a:lnTo>
                  <a:pt x="2008" y="14930"/>
                </a:lnTo>
                <a:lnTo>
                  <a:pt x="2561" y="15142"/>
                </a:lnTo>
                <a:lnTo>
                  <a:pt x="3178" y="15281"/>
                </a:lnTo>
                <a:lnTo>
                  <a:pt x="4634" y="15281"/>
                </a:lnTo>
                <a:lnTo>
                  <a:pt x="5187" y="15207"/>
                </a:lnTo>
                <a:lnTo>
                  <a:pt x="5740" y="15004"/>
                </a:lnTo>
                <a:lnTo>
                  <a:pt x="6219" y="14866"/>
                </a:lnTo>
                <a:lnTo>
                  <a:pt x="6846" y="14654"/>
                </a:lnTo>
                <a:lnTo>
                  <a:pt x="6564" y="13483"/>
                </a:lnTo>
                <a:lnTo>
                  <a:pt x="3805" y="13483"/>
                </a:lnTo>
                <a:lnTo>
                  <a:pt x="3455" y="13410"/>
                </a:lnTo>
                <a:lnTo>
                  <a:pt x="3252" y="13345"/>
                </a:lnTo>
                <a:lnTo>
                  <a:pt x="2764" y="13069"/>
                </a:lnTo>
                <a:lnTo>
                  <a:pt x="2349" y="12654"/>
                </a:lnTo>
                <a:lnTo>
                  <a:pt x="2285" y="12377"/>
                </a:lnTo>
                <a:lnTo>
                  <a:pt x="2146" y="11963"/>
                </a:lnTo>
                <a:lnTo>
                  <a:pt x="2035" y="11336"/>
                </a:lnTo>
                <a:lnTo>
                  <a:pt x="2008" y="5253"/>
                </a:lnTo>
                <a:lnTo>
                  <a:pt x="6357" y="5253"/>
                </a:lnTo>
                <a:lnTo>
                  <a:pt x="6357" y="3520"/>
                </a:lnTo>
                <a:lnTo>
                  <a:pt x="2008" y="3520"/>
                </a:lnTo>
                <a:lnTo>
                  <a:pt x="2008" y="0"/>
                </a:lnTo>
                <a:close/>
              </a:path>
              <a:path w="6985" h="15875">
                <a:moveTo>
                  <a:pt x="6431" y="12930"/>
                </a:moveTo>
                <a:lnTo>
                  <a:pt x="6016" y="13133"/>
                </a:lnTo>
                <a:lnTo>
                  <a:pt x="5252" y="13410"/>
                </a:lnTo>
                <a:lnTo>
                  <a:pt x="4772" y="13483"/>
                </a:lnTo>
                <a:lnTo>
                  <a:pt x="6564" y="13483"/>
                </a:lnTo>
                <a:lnTo>
                  <a:pt x="6431" y="12930"/>
                </a:lnTo>
                <a:close/>
              </a:path>
            </a:pathLst>
          </a:custGeom>
          <a:solidFill>
            <a:srgbClr val="251242"/>
          </a:solidFill>
        </p:spPr>
        <p:txBody>
          <a:bodyPr wrap="square" lIns="0" tIns="0" rIns="0" bIns="0" rtlCol="0"/>
          <a:lstStyle/>
          <a:p>
            <a:endParaRPr/>
          </a:p>
        </p:txBody>
      </p:sp>
      <p:sp>
        <p:nvSpPr>
          <p:cNvPr id="115" name="object 115"/>
          <p:cNvSpPr/>
          <p:nvPr/>
        </p:nvSpPr>
        <p:spPr>
          <a:xfrm>
            <a:off x="5593295" y="5720737"/>
            <a:ext cx="10795" cy="12065"/>
          </a:xfrm>
          <a:custGeom>
            <a:avLst/>
            <a:gdLst/>
            <a:ahLst/>
            <a:cxnLst/>
            <a:rect l="l" t="t" r="r" b="b"/>
            <a:pathLst>
              <a:path w="10795" h="12064">
                <a:moveTo>
                  <a:pt x="6156" y="0"/>
                </a:moveTo>
                <a:lnTo>
                  <a:pt x="4562" y="0"/>
                </a:lnTo>
                <a:lnTo>
                  <a:pt x="3871" y="138"/>
                </a:lnTo>
                <a:lnTo>
                  <a:pt x="0" y="7336"/>
                </a:lnTo>
                <a:lnTo>
                  <a:pt x="74" y="7751"/>
                </a:lnTo>
                <a:lnTo>
                  <a:pt x="627" y="9271"/>
                </a:lnTo>
                <a:lnTo>
                  <a:pt x="968" y="9889"/>
                </a:lnTo>
                <a:lnTo>
                  <a:pt x="1457" y="10377"/>
                </a:lnTo>
                <a:lnTo>
                  <a:pt x="1936" y="10930"/>
                </a:lnTo>
                <a:lnTo>
                  <a:pt x="2489" y="11345"/>
                </a:lnTo>
                <a:lnTo>
                  <a:pt x="3871" y="11898"/>
                </a:lnTo>
                <a:lnTo>
                  <a:pt x="4562" y="12036"/>
                </a:lnTo>
                <a:lnTo>
                  <a:pt x="6156" y="12036"/>
                </a:lnTo>
                <a:lnTo>
                  <a:pt x="6847" y="11898"/>
                </a:lnTo>
                <a:lnTo>
                  <a:pt x="7464" y="11622"/>
                </a:lnTo>
                <a:lnTo>
                  <a:pt x="8155" y="11345"/>
                </a:lnTo>
                <a:lnTo>
                  <a:pt x="8708" y="10930"/>
                </a:lnTo>
                <a:lnTo>
                  <a:pt x="9335" y="10239"/>
                </a:lnTo>
                <a:lnTo>
                  <a:pt x="4359" y="10239"/>
                </a:lnTo>
                <a:lnTo>
                  <a:pt x="3530" y="9889"/>
                </a:lnTo>
                <a:lnTo>
                  <a:pt x="2424" y="8368"/>
                </a:lnTo>
                <a:lnTo>
                  <a:pt x="2074" y="7336"/>
                </a:lnTo>
                <a:lnTo>
                  <a:pt x="2074" y="4774"/>
                </a:lnTo>
                <a:lnTo>
                  <a:pt x="2424" y="3741"/>
                </a:lnTo>
                <a:lnTo>
                  <a:pt x="3530" y="2211"/>
                </a:lnTo>
                <a:lnTo>
                  <a:pt x="4359" y="1797"/>
                </a:lnTo>
                <a:lnTo>
                  <a:pt x="9318" y="1797"/>
                </a:lnTo>
                <a:lnTo>
                  <a:pt x="8708" y="1105"/>
                </a:lnTo>
                <a:lnTo>
                  <a:pt x="8155" y="764"/>
                </a:lnTo>
                <a:lnTo>
                  <a:pt x="7464" y="414"/>
                </a:lnTo>
                <a:lnTo>
                  <a:pt x="6847" y="138"/>
                </a:lnTo>
                <a:lnTo>
                  <a:pt x="6156" y="0"/>
                </a:lnTo>
                <a:close/>
              </a:path>
              <a:path w="10795" h="12064">
                <a:moveTo>
                  <a:pt x="9318" y="1797"/>
                </a:moveTo>
                <a:lnTo>
                  <a:pt x="6358" y="1797"/>
                </a:lnTo>
                <a:lnTo>
                  <a:pt x="7123" y="2211"/>
                </a:lnTo>
                <a:lnTo>
                  <a:pt x="7741" y="2976"/>
                </a:lnTo>
                <a:lnTo>
                  <a:pt x="8293" y="3741"/>
                </a:lnTo>
                <a:lnTo>
                  <a:pt x="8441" y="4294"/>
                </a:lnTo>
                <a:lnTo>
                  <a:pt x="8459" y="7751"/>
                </a:lnTo>
                <a:lnTo>
                  <a:pt x="8293" y="8368"/>
                </a:lnTo>
                <a:lnTo>
                  <a:pt x="7628" y="9271"/>
                </a:lnTo>
                <a:lnTo>
                  <a:pt x="7123" y="9889"/>
                </a:lnTo>
                <a:lnTo>
                  <a:pt x="6358" y="10239"/>
                </a:lnTo>
                <a:lnTo>
                  <a:pt x="9335" y="10239"/>
                </a:lnTo>
                <a:lnTo>
                  <a:pt x="9685" y="9889"/>
                </a:lnTo>
                <a:lnTo>
                  <a:pt x="10026" y="9271"/>
                </a:lnTo>
                <a:lnTo>
                  <a:pt x="10579" y="7751"/>
                </a:lnTo>
                <a:lnTo>
                  <a:pt x="10653" y="7336"/>
                </a:lnTo>
                <a:lnTo>
                  <a:pt x="10579" y="4294"/>
                </a:lnTo>
                <a:lnTo>
                  <a:pt x="10026" y="2838"/>
                </a:lnTo>
                <a:lnTo>
                  <a:pt x="9685" y="2211"/>
                </a:lnTo>
                <a:lnTo>
                  <a:pt x="9318" y="1797"/>
                </a:lnTo>
                <a:close/>
              </a:path>
            </a:pathLst>
          </a:custGeom>
          <a:solidFill>
            <a:srgbClr val="251242"/>
          </a:solidFill>
        </p:spPr>
        <p:txBody>
          <a:bodyPr wrap="square" lIns="0" tIns="0" rIns="0" bIns="0" rtlCol="0"/>
          <a:lstStyle/>
          <a:p>
            <a:endParaRPr/>
          </a:p>
        </p:txBody>
      </p:sp>
      <p:sp>
        <p:nvSpPr>
          <p:cNvPr id="116" name="object 116"/>
          <p:cNvSpPr/>
          <p:nvPr/>
        </p:nvSpPr>
        <p:spPr>
          <a:xfrm>
            <a:off x="5606638" y="5720811"/>
            <a:ext cx="15875" cy="12065"/>
          </a:xfrm>
          <a:custGeom>
            <a:avLst/>
            <a:gdLst/>
            <a:ahLst/>
            <a:cxnLst/>
            <a:rect l="l" t="t" r="r" b="b"/>
            <a:pathLst>
              <a:path w="15875" h="12064">
                <a:moveTo>
                  <a:pt x="5252" y="0"/>
                </a:moveTo>
                <a:lnTo>
                  <a:pt x="3529" y="0"/>
                </a:lnTo>
                <a:lnTo>
                  <a:pt x="2626" y="64"/>
                </a:lnTo>
                <a:lnTo>
                  <a:pt x="1105" y="341"/>
                </a:lnTo>
                <a:lnTo>
                  <a:pt x="488" y="414"/>
                </a:lnTo>
                <a:lnTo>
                  <a:pt x="0" y="552"/>
                </a:lnTo>
                <a:lnTo>
                  <a:pt x="0" y="11686"/>
                </a:lnTo>
                <a:lnTo>
                  <a:pt x="2008" y="11686"/>
                </a:lnTo>
                <a:lnTo>
                  <a:pt x="2008" y="1999"/>
                </a:lnTo>
                <a:lnTo>
                  <a:pt x="2211" y="1999"/>
                </a:lnTo>
                <a:lnTo>
                  <a:pt x="2423" y="1935"/>
                </a:lnTo>
                <a:lnTo>
                  <a:pt x="2561" y="1935"/>
                </a:lnTo>
                <a:lnTo>
                  <a:pt x="2764" y="1861"/>
                </a:lnTo>
                <a:lnTo>
                  <a:pt x="3390" y="1861"/>
                </a:lnTo>
                <a:lnTo>
                  <a:pt x="3667" y="1797"/>
                </a:lnTo>
                <a:lnTo>
                  <a:pt x="14986" y="1797"/>
                </a:lnTo>
                <a:lnTo>
                  <a:pt x="14788" y="1446"/>
                </a:lnTo>
                <a:lnTo>
                  <a:pt x="14591" y="1170"/>
                </a:lnTo>
                <a:lnTo>
                  <a:pt x="7601" y="1170"/>
                </a:lnTo>
                <a:lnTo>
                  <a:pt x="7325" y="755"/>
                </a:lnTo>
                <a:lnTo>
                  <a:pt x="6910" y="479"/>
                </a:lnTo>
                <a:lnTo>
                  <a:pt x="6357" y="276"/>
                </a:lnTo>
                <a:lnTo>
                  <a:pt x="5878" y="64"/>
                </a:lnTo>
                <a:lnTo>
                  <a:pt x="5252" y="0"/>
                </a:lnTo>
                <a:close/>
              </a:path>
              <a:path w="15875" h="12064">
                <a:moveTo>
                  <a:pt x="10365" y="1797"/>
                </a:moveTo>
                <a:lnTo>
                  <a:pt x="4772" y="1797"/>
                </a:lnTo>
                <a:lnTo>
                  <a:pt x="5187" y="1861"/>
                </a:lnTo>
                <a:lnTo>
                  <a:pt x="5528" y="1999"/>
                </a:lnTo>
                <a:lnTo>
                  <a:pt x="6772" y="11686"/>
                </a:lnTo>
                <a:lnTo>
                  <a:pt x="8781" y="11686"/>
                </a:lnTo>
                <a:lnTo>
                  <a:pt x="8703" y="3806"/>
                </a:lnTo>
                <a:lnTo>
                  <a:pt x="8580" y="3041"/>
                </a:lnTo>
                <a:lnTo>
                  <a:pt x="8501" y="2764"/>
                </a:lnTo>
                <a:lnTo>
                  <a:pt x="8529" y="2488"/>
                </a:lnTo>
                <a:lnTo>
                  <a:pt x="9813" y="1861"/>
                </a:lnTo>
                <a:lnTo>
                  <a:pt x="10365" y="1797"/>
                </a:lnTo>
                <a:close/>
              </a:path>
              <a:path w="15875" h="12064">
                <a:moveTo>
                  <a:pt x="14986" y="1797"/>
                </a:moveTo>
                <a:lnTo>
                  <a:pt x="11545" y="1797"/>
                </a:lnTo>
                <a:lnTo>
                  <a:pt x="11959" y="1861"/>
                </a:lnTo>
                <a:lnTo>
                  <a:pt x="12300" y="1999"/>
                </a:lnTo>
                <a:lnTo>
                  <a:pt x="13544" y="11686"/>
                </a:lnTo>
                <a:lnTo>
                  <a:pt x="15553" y="11686"/>
                </a:lnTo>
                <a:lnTo>
                  <a:pt x="15479" y="3456"/>
                </a:lnTo>
                <a:lnTo>
                  <a:pt x="15276" y="2488"/>
                </a:lnTo>
                <a:lnTo>
                  <a:pt x="15065" y="1935"/>
                </a:lnTo>
                <a:lnTo>
                  <a:pt x="14986" y="1797"/>
                </a:lnTo>
                <a:close/>
              </a:path>
              <a:path w="15875" h="12064">
                <a:moveTo>
                  <a:pt x="12162" y="0"/>
                </a:moveTo>
                <a:lnTo>
                  <a:pt x="10854" y="0"/>
                </a:lnTo>
                <a:lnTo>
                  <a:pt x="9610" y="202"/>
                </a:lnTo>
                <a:lnTo>
                  <a:pt x="8919" y="479"/>
                </a:lnTo>
                <a:lnTo>
                  <a:pt x="8642" y="617"/>
                </a:lnTo>
                <a:lnTo>
                  <a:pt x="8366" y="691"/>
                </a:lnTo>
                <a:lnTo>
                  <a:pt x="8089" y="829"/>
                </a:lnTo>
                <a:lnTo>
                  <a:pt x="7878" y="967"/>
                </a:lnTo>
                <a:lnTo>
                  <a:pt x="7739" y="1105"/>
                </a:lnTo>
                <a:lnTo>
                  <a:pt x="7601" y="1170"/>
                </a:lnTo>
                <a:lnTo>
                  <a:pt x="14591" y="1170"/>
                </a:lnTo>
                <a:lnTo>
                  <a:pt x="14447" y="967"/>
                </a:lnTo>
                <a:lnTo>
                  <a:pt x="14033" y="617"/>
                </a:lnTo>
                <a:lnTo>
                  <a:pt x="13480" y="341"/>
                </a:lnTo>
                <a:lnTo>
                  <a:pt x="12927" y="138"/>
                </a:lnTo>
                <a:lnTo>
                  <a:pt x="12162" y="0"/>
                </a:lnTo>
                <a:close/>
              </a:path>
            </a:pathLst>
          </a:custGeom>
          <a:solidFill>
            <a:srgbClr val="251242"/>
          </a:solidFill>
        </p:spPr>
        <p:txBody>
          <a:bodyPr wrap="square" lIns="0" tIns="0" rIns="0" bIns="0" rtlCol="0"/>
          <a:lstStyle/>
          <a:p>
            <a:endParaRPr/>
          </a:p>
        </p:txBody>
      </p:sp>
      <p:sp>
        <p:nvSpPr>
          <p:cNvPr id="117" name="object 117"/>
          <p:cNvSpPr/>
          <p:nvPr/>
        </p:nvSpPr>
        <p:spPr>
          <a:xfrm>
            <a:off x="5624807" y="5720737"/>
            <a:ext cx="10795" cy="12065"/>
          </a:xfrm>
          <a:custGeom>
            <a:avLst/>
            <a:gdLst/>
            <a:ahLst/>
            <a:cxnLst/>
            <a:rect l="l" t="t" r="r" b="b"/>
            <a:pathLst>
              <a:path w="10795" h="12064">
                <a:moveTo>
                  <a:pt x="6091" y="0"/>
                </a:moveTo>
                <a:lnTo>
                  <a:pt x="4506" y="0"/>
                </a:lnTo>
                <a:lnTo>
                  <a:pt x="3815" y="138"/>
                </a:lnTo>
                <a:lnTo>
                  <a:pt x="3124" y="414"/>
                </a:lnTo>
                <a:lnTo>
                  <a:pt x="1880" y="1105"/>
                </a:lnTo>
                <a:lnTo>
                  <a:pt x="1344" y="1797"/>
                </a:lnTo>
                <a:lnTo>
                  <a:pt x="977" y="2211"/>
                </a:lnTo>
                <a:lnTo>
                  <a:pt x="563" y="2838"/>
                </a:lnTo>
                <a:lnTo>
                  <a:pt x="242" y="3741"/>
                </a:lnTo>
                <a:lnTo>
                  <a:pt x="74" y="4294"/>
                </a:lnTo>
                <a:lnTo>
                  <a:pt x="0" y="7336"/>
                </a:lnTo>
                <a:lnTo>
                  <a:pt x="74" y="7751"/>
                </a:lnTo>
                <a:lnTo>
                  <a:pt x="286" y="8506"/>
                </a:lnTo>
                <a:lnTo>
                  <a:pt x="563" y="9271"/>
                </a:lnTo>
                <a:lnTo>
                  <a:pt x="977" y="9889"/>
                </a:lnTo>
                <a:lnTo>
                  <a:pt x="1466" y="10377"/>
                </a:lnTo>
                <a:lnTo>
                  <a:pt x="1880" y="10930"/>
                </a:lnTo>
                <a:lnTo>
                  <a:pt x="2498" y="11345"/>
                </a:lnTo>
                <a:lnTo>
                  <a:pt x="3815" y="11898"/>
                </a:lnTo>
                <a:lnTo>
                  <a:pt x="4506" y="12036"/>
                </a:lnTo>
                <a:lnTo>
                  <a:pt x="6091" y="12036"/>
                </a:lnTo>
                <a:lnTo>
                  <a:pt x="6782" y="11898"/>
                </a:lnTo>
                <a:lnTo>
                  <a:pt x="8100" y="11345"/>
                </a:lnTo>
                <a:lnTo>
                  <a:pt x="8717" y="10930"/>
                </a:lnTo>
                <a:lnTo>
                  <a:pt x="9317" y="10239"/>
                </a:lnTo>
                <a:lnTo>
                  <a:pt x="4294" y="10239"/>
                </a:lnTo>
                <a:lnTo>
                  <a:pt x="3539" y="9889"/>
                </a:lnTo>
                <a:lnTo>
                  <a:pt x="2912" y="9133"/>
                </a:lnTo>
                <a:lnTo>
                  <a:pt x="2360" y="8368"/>
                </a:lnTo>
                <a:lnTo>
                  <a:pt x="2194" y="7751"/>
                </a:lnTo>
                <a:lnTo>
                  <a:pt x="2083" y="4774"/>
                </a:lnTo>
                <a:lnTo>
                  <a:pt x="2360" y="3741"/>
                </a:lnTo>
                <a:lnTo>
                  <a:pt x="3026" y="2838"/>
                </a:lnTo>
                <a:lnTo>
                  <a:pt x="3539" y="2211"/>
                </a:lnTo>
                <a:lnTo>
                  <a:pt x="4294" y="1797"/>
                </a:lnTo>
                <a:lnTo>
                  <a:pt x="9309" y="1797"/>
                </a:lnTo>
                <a:lnTo>
                  <a:pt x="8717" y="1105"/>
                </a:lnTo>
                <a:lnTo>
                  <a:pt x="7473" y="414"/>
                </a:lnTo>
                <a:lnTo>
                  <a:pt x="6782" y="138"/>
                </a:lnTo>
                <a:lnTo>
                  <a:pt x="6091" y="0"/>
                </a:lnTo>
                <a:close/>
              </a:path>
              <a:path w="10795" h="12064">
                <a:moveTo>
                  <a:pt x="9309" y="1797"/>
                </a:moveTo>
                <a:lnTo>
                  <a:pt x="6303" y="1797"/>
                </a:lnTo>
                <a:lnTo>
                  <a:pt x="7059" y="2211"/>
                </a:lnTo>
                <a:lnTo>
                  <a:pt x="7685" y="2976"/>
                </a:lnTo>
                <a:lnTo>
                  <a:pt x="8238" y="3741"/>
                </a:lnTo>
                <a:lnTo>
                  <a:pt x="8386" y="4294"/>
                </a:lnTo>
                <a:lnTo>
                  <a:pt x="8403" y="7751"/>
                </a:lnTo>
                <a:lnTo>
                  <a:pt x="8238" y="8368"/>
                </a:lnTo>
                <a:lnTo>
                  <a:pt x="7571" y="9271"/>
                </a:lnTo>
                <a:lnTo>
                  <a:pt x="7059" y="9889"/>
                </a:lnTo>
                <a:lnTo>
                  <a:pt x="6303" y="10239"/>
                </a:lnTo>
                <a:lnTo>
                  <a:pt x="9317" y="10239"/>
                </a:lnTo>
                <a:lnTo>
                  <a:pt x="10589" y="7336"/>
                </a:lnTo>
                <a:lnTo>
                  <a:pt x="10514" y="4294"/>
                </a:lnTo>
                <a:lnTo>
                  <a:pt x="10311" y="3594"/>
                </a:lnTo>
                <a:lnTo>
                  <a:pt x="10035" y="2838"/>
                </a:lnTo>
                <a:lnTo>
                  <a:pt x="9620" y="2211"/>
                </a:lnTo>
                <a:lnTo>
                  <a:pt x="9309" y="1797"/>
                </a:lnTo>
                <a:close/>
              </a:path>
            </a:pathLst>
          </a:custGeom>
          <a:solidFill>
            <a:srgbClr val="251242"/>
          </a:solidFill>
        </p:spPr>
        <p:txBody>
          <a:bodyPr wrap="square" lIns="0" tIns="0" rIns="0" bIns="0" rtlCol="0"/>
          <a:lstStyle/>
          <a:p>
            <a:endParaRPr/>
          </a:p>
        </p:txBody>
      </p:sp>
      <p:sp>
        <p:nvSpPr>
          <p:cNvPr id="118" name="object 118"/>
          <p:cNvSpPr/>
          <p:nvPr/>
        </p:nvSpPr>
        <p:spPr>
          <a:xfrm>
            <a:off x="5637948" y="5717493"/>
            <a:ext cx="6985" cy="15875"/>
          </a:xfrm>
          <a:custGeom>
            <a:avLst/>
            <a:gdLst/>
            <a:ahLst/>
            <a:cxnLst/>
            <a:rect l="l" t="t" r="r" b="b"/>
            <a:pathLst>
              <a:path w="6985" h="15875">
                <a:moveTo>
                  <a:pt x="2073" y="0"/>
                </a:moveTo>
                <a:lnTo>
                  <a:pt x="0" y="341"/>
                </a:lnTo>
                <a:lnTo>
                  <a:pt x="73" y="12027"/>
                </a:lnTo>
                <a:lnTo>
                  <a:pt x="317" y="13069"/>
                </a:lnTo>
                <a:lnTo>
                  <a:pt x="552" y="13686"/>
                </a:lnTo>
                <a:lnTo>
                  <a:pt x="1179" y="14451"/>
                </a:lnTo>
                <a:lnTo>
                  <a:pt x="1594" y="14792"/>
                </a:lnTo>
                <a:lnTo>
                  <a:pt x="2073" y="14930"/>
                </a:lnTo>
                <a:lnTo>
                  <a:pt x="2626" y="15142"/>
                </a:lnTo>
                <a:lnTo>
                  <a:pt x="3252" y="15281"/>
                </a:lnTo>
                <a:lnTo>
                  <a:pt x="4699" y="15281"/>
                </a:lnTo>
                <a:lnTo>
                  <a:pt x="5252" y="15207"/>
                </a:lnTo>
                <a:lnTo>
                  <a:pt x="5804" y="15004"/>
                </a:lnTo>
                <a:lnTo>
                  <a:pt x="6293" y="14866"/>
                </a:lnTo>
                <a:lnTo>
                  <a:pt x="6846" y="14654"/>
                </a:lnTo>
                <a:lnTo>
                  <a:pt x="6608" y="13483"/>
                </a:lnTo>
                <a:lnTo>
                  <a:pt x="3869" y="13483"/>
                </a:lnTo>
                <a:lnTo>
                  <a:pt x="3252" y="13345"/>
                </a:lnTo>
                <a:lnTo>
                  <a:pt x="3040" y="13207"/>
                </a:lnTo>
                <a:lnTo>
                  <a:pt x="2764" y="13069"/>
                </a:lnTo>
                <a:lnTo>
                  <a:pt x="2626" y="12857"/>
                </a:lnTo>
                <a:lnTo>
                  <a:pt x="2423" y="12654"/>
                </a:lnTo>
                <a:lnTo>
                  <a:pt x="2285" y="12377"/>
                </a:lnTo>
                <a:lnTo>
                  <a:pt x="2107" y="11336"/>
                </a:lnTo>
                <a:lnTo>
                  <a:pt x="2073" y="5253"/>
                </a:lnTo>
                <a:lnTo>
                  <a:pt x="6431" y="5253"/>
                </a:lnTo>
                <a:lnTo>
                  <a:pt x="6431" y="3520"/>
                </a:lnTo>
                <a:lnTo>
                  <a:pt x="2073" y="3520"/>
                </a:lnTo>
                <a:lnTo>
                  <a:pt x="2073" y="0"/>
                </a:lnTo>
                <a:close/>
              </a:path>
              <a:path w="6985" h="15875">
                <a:moveTo>
                  <a:pt x="6495" y="12930"/>
                </a:moveTo>
                <a:lnTo>
                  <a:pt x="6081" y="13133"/>
                </a:lnTo>
                <a:lnTo>
                  <a:pt x="5325" y="13410"/>
                </a:lnTo>
                <a:lnTo>
                  <a:pt x="4837" y="13483"/>
                </a:lnTo>
                <a:lnTo>
                  <a:pt x="6608" y="13483"/>
                </a:lnTo>
                <a:lnTo>
                  <a:pt x="6495" y="12930"/>
                </a:lnTo>
                <a:close/>
              </a:path>
            </a:pathLst>
          </a:custGeom>
          <a:solidFill>
            <a:srgbClr val="251242"/>
          </a:solidFill>
        </p:spPr>
        <p:txBody>
          <a:bodyPr wrap="square" lIns="0" tIns="0" rIns="0" bIns="0" rtlCol="0"/>
          <a:lstStyle/>
          <a:p>
            <a:endParaRPr/>
          </a:p>
        </p:txBody>
      </p:sp>
      <p:sp>
        <p:nvSpPr>
          <p:cNvPr id="119" name="object 119"/>
          <p:cNvSpPr/>
          <p:nvPr/>
        </p:nvSpPr>
        <p:spPr>
          <a:xfrm>
            <a:off x="5646517" y="5716248"/>
            <a:ext cx="3175" cy="16510"/>
          </a:xfrm>
          <a:custGeom>
            <a:avLst/>
            <a:gdLst/>
            <a:ahLst/>
            <a:cxnLst/>
            <a:rect l="l" t="t" r="r" b="b"/>
            <a:pathLst>
              <a:path w="3175" h="16510">
                <a:moveTo>
                  <a:pt x="2285" y="4764"/>
                </a:moveTo>
                <a:lnTo>
                  <a:pt x="211" y="4764"/>
                </a:lnTo>
                <a:lnTo>
                  <a:pt x="211" y="16248"/>
                </a:lnTo>
                <a:lnTo>
                  <a:pt x="2285" y="16248"/>
                </a:lnTo>
                <a:lnTo>
                  <a:pt x="2285" y="4764"/>
                </a:lnTo>
                <a:close/>
              </a:path>
              <a:path w="3175" h="16510">
                <a:moveTo>
                  <a:pt x="1594" y="0"/>
                </a:moveTo>
                <a:lnTo>
                  <a:pt x="829" y="0"/>
                </a:lnTo>
                <a:lnTo>
                  <a:pt x="552" y="138"/>
                </a:lnTo>
                <a:lnTo>
                  <a:pt x="276" y="414"/>
                </a:lnTo>
                <a:lnTo>
                  <a:pt x="0" y="617"/>
                </a:lnTo>
                <a:lnTo>
                  <a:pt x="0" y="2138"/>
                </a:lnTo>
                <a:lnTo>
                  <a:pt x="276" y="2350"/>
                </a:lnTo>
                <a:lnTo>
                  <a:pt x="552" y="2626"/>
                </a:lnTo>
                <a:lnTo>
                  <a:pt x="829" y="2691"/>
                </a:lnTo>
                <a:lnTo>
                  <a:pt x="1594" y="2691"/>
                </a:lnTo>
                <a:lnTo>
                  <a:pt x="1944" y="2626"/>
                </a:lnTo>
                <a:lnTo>
                  <a:pt x="2146" y="2350"/>
                </a:lnTo>
                <a:lnTo>
                  <a:pt x="2423" y="2138"/>
                </a:lnTo>
                <a:lnTo>
                  <a:pt x="2561" y="1797"/>
                </a:lnTo>
                <a:lnTo>
                  <a:pt x="2561" y="967"/>
                </a:lnTo>
                <a:lnTo>
                  <a:pt x="2423" y="617"/>
                </a:lnTo>
                <a:lnTo>
                  <a:pt x="2146" y="414"/>
                </a:lnTo>
                <a:lnTo>
                  <a:pt x="1944" y="138"/>
                </a:lnTo>
                <a:lnTo>
                  <a:pt x="1594" y="0"/>
                </a:lnTo>
                <a:close/>
              </a:path>
            </a:pathLst>
          </a:custGeom>
          <a:solidFill>
            <a:srgbClr val="251242"/>
          </a:solidFill>
        </p:spPr>
        <p:txBody>
          <a:bodyPr wrap="square" lIns="0" tIns="0" rIns="0" bIns="0" rtlCol="0"/>
          <a:lstStyle/>
          <a:p>
            <a:endParaRPr/>
          </a:p>
        </p:txBody>
      </p:sp>
      <p:sp>
        <p:nvSpPr>
          <p:cNvPr id="120" name="object 120"/>
          <p:cNvSpPr/>
          <p:nvPr/>
        </p:nvSpPr>
        <p:spPr>
          <a:xfrm>
            <a:off x="5650673" y="5721013"/>
            <a:ext cx="10795" cy="12065"/>
          </a:xfrm>
          <a:custGeom>
            <a:avLst/>
            <a:gdLst/>
            <a:ahLst/>
            <a:cxnLst/>
            <a:rect l="l" t="t" r="r" b="b"/>
            <a:pathLst>
              <a:path w="10795" h="12064">
                <a:moveTo>
                  <a:pt x="2211" y="0"/>
                </a:moveTo>
                <a:lnTo>
                  <a:pt x="0" y="0"/>
                </a:lnTo>
                <a:lnTo>
                  <a:pt x="552" y="2147"/>
                </a:lnTo>
                <a:lnTo>
                  <a:pt x="1243" y="4221"/>
                </a:lnTo>
                <a:lnTo>
                  <a:pt x="2058" y="6368"/>
                </a:lnTo>
                <a:lnTo>
                  <a:pt x="2828" y="8165"/>
                </a:lnTo>
                <a:lnTo>
                  <a:pt x="3519" y="9963"/>
                </a:lnTo>
                <a:lnTo>
                  <a:pt x="4284" y="11483"/>
                </a:lnTo>
                <a:lnTo>
                  <a:pt x="6145" y="11483"/>
                </a:lnTo>
                <a:lnTo>
                  <a:pt x="6836" y="9963"/>
                </a:lnTo>
                <a:lnTo>
                  <a:pt x="7221" y="9059"/>
                </a:lnTo>
                <a:lnTo>
                  <a:pt x="5252" y="9059"/>
                </a:lnTo>
                <a:lnTo>
                  <a:pt x="4975" y="8506"/>
                </a:lnTo>
                <a:lnTo>
                  <a:pt x="4099" y="6230"/>
                </a:lnTo>
                <a:lnTo>
                  <a:pt x="3317" y="3944"/>
                </a:lnTo>
                <a:lnTo>
                  <a:pt x="3105" y="3179"/>
                </a:lnTo>
                <a:lnTo>
                  <a:pt x="2828" y="2350"/>
                </a:lnTo>
                <a:lnTo>
                  <a:pt x="2626" y="1520"/>
                </a:lnTo>
                <a:lnTo>
                  <a:pt x="2211" y="0"/>
                </a:lnTo>
                <a:close/>
              </a:path>
              <a:path w="10795" h="12064">
                <a:moveTo>
                  <a:pt x="10365" y="0"/>
                </a:moveTo>
                <a:lnTo>
                  <a:pt x="8218" y="0"/>
                </a:lnTo>
                <a:lnTo>
                  <a:pt x="8080" y="764"/>
                </a:lnTo>
                <a:lnTo>
                  <a:pt x="7878" y="1520"/>
                </a:lnTo>
                <a:lnTo>
                  <a:pt x="7601" y="2350"/>
                </a:lnTo>
                <a:lnTo>
                  <a:pt x="7389" y="3179"/>
                </a:lnTo>
                <a:lnTo>
                  <a:pt x="6284" y="6368"/>
                </a:lnTo>
                <a:lnTo>
                  <a:pt x="5252" y="9059"/>
                </a:lnTo>
                <a:lnTo>
                  <a:pt x="7221" y="9059"/>
                </a:lnTo>
                <a:lnTo>
                  <a:pt x="7601" y="8165"/>
                </a:lnTo>
                <a:lnTo>
                  <a:pt x="9214" y="3944"/>
                </a:lnTo>
                <a:lnTo>
                  <a:pt x="9813" y="2147"/>
                </a:lnTo>
                <a:lnTo>
                  <a:pt x="10365" y="0"/>
                </a:lnTo>
                <a:close/>
              </a:path>
            </a:pathLst>
          </a:custGeom>
          <a:solidFill>
            <a:srgbClr val="251242"/>
          </a:solidFill>
        </p:spPr>
        <p:txBody>
          <a:bodyPr wrap="square" lIns="0" tIns="0" rIns="0" bIns="0" rtlCol="0"/>
          <a:lstStyle/>
          <a:p>
            <a:endParaRPr/>
          </a:p>
        </p:txBody>
      </p:sp>
      <p:sp>
        <p:nvSpPr>
          <p:cNvPr id="121" name="object 121"/>
          <p:cNvSpPr/>
          <p:nvPr/>
        </p:nvSpPr>
        <p:spPr>
          <a:xfrm>
            <a:off x="5662006" y="5720737"/>
            <a:ext cx="10160" cy="12065"/>
          </a:xfrm>
          <a:custGeom>
            <a:avLst/>
            <a:gdLst/>
            <a:ahLst/>
            <a:cxnLst/>
            <a:rect l="l" t="t" r="r" b="b"/>
            <a:pathLst>
              <a:path w="10160" h="12064">
                <a:moveTo>
                  <a:pt x="6772" y="0"/>
                </a:moveTo>
                <a:lnTo>
                  <a:pt x="4560" y="0"/>
                </a:lnTo>
                <a:lnTo>
                  <a:pt x="3934" y="138"/>
                </a:lnTo>
                <a:lnTo>
                  <a:pt x="3317" y="414"/>
                </a:lnTo>
                <a:lnTo>
                  <a:pt x="2626" y="626"/>
                </a:lnTo>
                <a:lnTo>
                  <a:pt x="0" y="6921"/>
                </a:lnTo>
                <a:lnTo>
                  <a:pt x="156" y="7815"/>
                </a:lnTo>
                <a:lnTo>
                  <a:pt x="4763" y="12036"/>
                </a:lnTo>
                <a:lnTo>
                  <a:pt x="6560" y="12036"/>
                </a:lnTo>
                <a:lnTo>
                  <a:pt x="7251" y="11963"/>
                </a:lnTo>
                <a:lnTo>
                  <a:pt x="8495" y="11686"/>
                </a:lnTo>
                <a:lnTo>
                  <a:pt x="8983" y="11548"/>
                </a:lnTo>
                <a:lnTo>
                  <a:pt x="9195" y="11410"/>
                </a:lnTo>
                <a:lnTo>
                  <a:pt x="9007" y="10239"/>
                </a:lnTo>
                <a:lnTo>
                  <a:pt x="4699" y="10239"/>
                </a:lnTo>
                <a:lnTo>
                  <a:pt x="3796" y="9889"/>
                </a:lnTo>
                <a:lnTo>
                  <a:pt x="3178" y="9336"/>
                </a:lnTo>
                <a:lnTo>
                  <a:pt x="2552" y="8718"/>
                </a:lnTo>
                <a:lnTo>
                  <a:pt x="2211" y="7815"/>
                </a:lnTo>
                <a:lnTo>
                  <a:pt x="2137" y="6571"/>
                </a:lnTo>
                <a:lnTo>
                  <a:pt x="10024" y="6571"/>
                </a:lnTo>
                <a:lnTo>
                  <a:pt x="10024" y="4912"/>
                </a:lnTo>
                <a:lnTo>
                  <a:pt x="2211" y="4912"/>
                </a:lnTo>
                <a:lnTo>
                  <a:pt x="2211" y="4571"/>
                </a:lnTo>
                <a:lnTo>
                  <a:pt x="4763" y="1732"/>
                </a:lnTo>
                <a:lnTo>
                  <a:pt x="9014" y="1732"/>
                </a:lnTo>
                <a:lnTo>
                  <a:pt x="7942" y="488"/>
                </a:lnTo>
                <a:lnTo>
                  <a:pt x="6772" y="0"/>
                </a:lnTo>
                <a:close/>
              </a:path>
              <a:path w="10160" h="12064">
                <a:moveTo>
                  <a:pt x="8919" y="9686"/>
                </a:moveTo>
                <a:lnTo>
                  <a:pt x="8707" y="9824"/>
                </a:lnTo>
                <a:lnTo>
                  <a:pt x="8292" y="9889"/>
                </a:lnTo>
                <a:lnTo>
                  <a:pt x="7325" y="10165"/>
                </a:lnTo>
                <a:lnTo>
                  <a:pt x="6698" y="10239"/>
                </a:lnTo>
                <a:lnTo>
                  <a:pt x="9007" y="10239"/>
                </a:lnTo>
                <a:lnTo>
                  <a:pt x="8919" y="9686"/>
                </a:lnTo>
                <a:close/>
              </a:path>
              <a:path w="10160" h="12064">
                <a:moveTo>
                  <a:pt x="9014" y="1732"/>
                </a:moveTo>
                <a:lnTo>
                  <a:pt x="6007" y="1732"/>
                </a:lnTo>
                <a:lnTo>
                  <a:pt x="6698" y="2073"/>
                </a:lnTo>
                <a:lnTo>
                  <a:pt x="7187" y="2626"/>
                </a:lnTo>
                <a:lnTo>
                  <a:pt x="7666" y="3253"/>
                </a:lnTo>
                <a:lnTo>
                  <a:pt x="7801" y="3741"/>
                </a:lnTo>
                <a:lnTo>
                  <a:pt x="7878" y="4912"/>
                </a:lnTo>
                <a:lnTo>
                  <a:pt x="10024" y="4912"/>
                </a:lnTo>
                <a:lnTo>
                  <a:pt x="9985" y="3741"/>
                </a:lnTo>
                <a:lnTo>
                  <a:pt x="9610" y="2423"/>
                </a:lnTo>
                <a:lnTo>
                  <a:pt x="9014" y="1732"/>
                </a:lnTo>
                <a:close/>
              </a:path>
            </a:pathLst>
          </a:custGeom>
          <a:solidFill>
            <a:srgbClr val="251242"/>
          </a:solidFill>
        </p:spPr>
        <p:txBody>
          <a:bodyPr wrap="square" lIns="0" tIns="0" rIns="0" bIns="0" rtlCol="0"/>
          <a:lstStyle/>
          <a:p>
            <a:endParaRPr/>
          </a:p>
        </p:txBody>
      </p:sp>
      <p:sp>
        <p:nvSpPr>
          <p:cNvPr id="122" name="object 122"/>
          <p:cNvSpPr/>
          <p:nvPr/>
        </p:nvSpPr>
        <p:spPr>
          <a:xfrm>
            <a:off x="5680185" y="5720811"/>
            <a:ext cx="15875" cy="12065"/>
          </a:xfrm>
          <a:custGeom>
            <a:avLst/>
            <a:gdLst/>
            <a:ahLst/>
            <a:cxnLst/>
            <a:rect l="l" t="t" r="r" b="b"/>
            <a:pathLst>
              <a:path w="15875" h="12064">
                <a:moveTo>
                  <a:pt x="5316" y="0"/>
                </a:moveTo>
                <a:lnTo>
                  <a:pt x="3519" y="0"/>
                </a:lnTo>
                <a:lnTo>
                  <a:pt x="2626" y="64"/>
                </a:lnTo>
                <a:lnTo>
                  <a:pt x="1105" y="341"/>
                </a:lnTo>
                <a:lnTo>
                  <a:pt x="479" y="414"/>
                </a:lnTo>
                <a:lnTo>
                  <a:pt x="0" y="552"/>
                </a:lnTo>
                <a:lnTo>
                  <a:pt x="0" y="11686"/>
                </a:lnTo>
                <a:lnTo>
                  <a:pt x="2073" y="11686"/>
                </a:lnTo>
                <a:lnTo>
                  <a:pt x="2073" y="1999"/>
                </a:lnTo>
                <a:lnTo>
                  <a:pt x="2275" y="1999"/>
                </a:lnTo>
                <a:lnTo>
                  <a:pt x="2414" y="1935"/>
                </a:lnTo>
                <a:lnTo>
                  <a:pt x="2626" y="1935"/>
                </a:lnTo>
                <a:lnTo>
                  <a:pt x="2764" y="1861"/>
                </a:lnTo>
                <a:lnTo>
                  <a:pt x="3455" y="1861"/>
                </a:lnTo>
                <a:lnTo>
                  <a:pt x="3657" y="1797"/>
                </a:lnTo>
                <a:lnTo>
                  <a:pt x="15039" y="1797"/>
                </a:lnTo>
                <a:lnTo>
                  <a:pt x="14788" y="1446"/>
                </a:lnTo>
                <a:lnTo>
                  <a:pt x="14629" y="1170"/>
                </a:lnTo>
                <a:lnTo>
                  <a:pt x="7666" y="1170"/>
                </a:lnTo>
                <a:lnTo>
                  <a:pt x="7325" y="755"/>
                </a:lnTo>
                <a:lnTo>
                  <a:pt x="6910" y="479"/>
                </a:lnTo>
                <a:lnTo>
                  <a:pt x="5943" y="64"/>
                </a:lnTo>
                <a:lnTo>
                  <a:pt x="5316" y="0"/>
                </a:lnTo>
                <a:close/>
              </a:path>
              <a:path w="15875" h="12064">
                <a:moveTo>
                  <a:pt x="10430" y="1797"/>
                </a:moveTo>
                <a:lnTo>
                  <a:pt x="4837" y="1797"/>
                </a:lnTo>
                <a:lnTo>
                  <a:pt x="5252" y="1861"/>
                </a:lnTo>
                <a:lnTo>
                  <a:pt x="5528" y="1999"/>
                </a:lnTo>
                <a:lnTo>
                  <a:pt x="5869" y="2211"/>
                </a:lnTo>
                <a:lnTo>
                  <a:pt x="6081" y="2414"/>
                </a:lnTo>
                <a:lnTo>
                  <a:pt x="6284" y="2764"/>
                </a:lnTo>
                <a:lnTo>
                  <a:pt x="6439" y="2967"/>
                </a:lnTo>
                <a:lnTo>
                  <a:pt x="6517" y="3105"/>
                </a:lnTo>
                <a:lnTo>
                  <a:pt x="6634" y="3456"/>
                </a:lnTo>
                <a:lnTo>
                  <a:pt x="6684" y="3806"/>
                </a:lnTo>
                <a:lnTo>
                  <a:pt x="6772" y="11686"/>
                </a:lnTo>
                <a:lnTo>
                  <a:pt x="8845" y="11686"/>
                </a:lnTo>
                <a:lnTo>
                  <a:pt x="8768" y="3806"/>
                </a:lnTo>
                <a:lnTo>
                  <a:pt x="8645" y="3041"/>
                </a:lnTo>
                <a:lnTo>
                  <a:pt x="8566" y="2764"/>
                </a:lnTo>
                <a:lnTo>
                  <a:pt x="8633" y="2414"/>
                </a:lnTo>
                <a:lnTo>
                  <a:pt x="8983" y="2276"/>
                </a:lnTo>
                <a:lnTo>
                  <a:pt x="9877" y="1861"/>
                </a:lnTo>
                <a:lnTo>
                  <a:pt x="10430" y="1797"/>
                </a:lnTo>
                <a:close/>
              </a:path>
              <a:path w="15875" h="12064">
                <a:moveTo>
                  <a:pt x="15039" y="1797"/>
                </a:moveTo>
                <a:lnTo>
                  <a:pt x="11609" y="1797"/>
                </a:lnTo>
                <a:lnTo>
                  <a:pt x="12024" y="1861"/>
                </a:lnTo>
                <a:lnTo>
                  <a:pt x="12365" y="1999"/>
                </a:lnTo>
                <a:lnTo>
                  <a:pt x="12918" y="2414"/>
                </a:lnTo>
                <a:lnTo>
                  <a:pt x="13056" y="2764"/>
                </a:lnTo>
                <a:lnTo>
                  <a:pt x="13211" y="2967"/>
                </a:lnTo>
                <a:lnTo>
                  <a:pt x="13289" y="3105"/>
                </a:lnTo>
                <a:lnTo>
                  <a:pt x="13406" y="3456"/>
                </a:lnTo>
                <a:lnTo>
                  <a:pt x="13456" y="3806"/>
                </a:lnTo>
                <a:lnTo>
                  <a:pt x="13544" y="11686"/>
                </a:lnTo>
                <a:lnTo>
                  <a:pt x="15617" y="11686"/>
                </a:lnTo>
                <a:lnTo>
                  <a:pt x="15553" y="3806"/>
                </a:lnTo>
                <a:lnTo>
                  <a:pt x="15374" y="2764"/>
                </a:lnTo>
                <a:lnTo>
                  <a:pt x="15263" y="2276"/>
                </a:lnTo>
                <a:lnTo>
                  <a:pt x="15138" y="1935"/>
                </a:lnTo>
                <a:lnTo>
                  <a:pt x="15039" y="1797"/>
                </a:lnTo>
                <a:close/>
              </a:path>
              <a:path w="15875" h="12064">
                <a:moveTo>
                  <a:pt x="12227" y="0"/>
                </a:moveTo>
                <a:lnTo>
                  <a:pt x="10845" y="0"/>
                </a:lnTo>
                <a:lnTo>
                  <a:pt x="9674" y="202"/>
                </a:lnTo>
                <a:lnTo>
                  <a:pt x="8633" y="617"/>
                </a:lnTo>
                <a:lnTo>
                  <a:pt x="8357" y="691"/>
                </a:lnTo>
                <a:lnTo>
                  <a:pt x="7942" y="967"/>
                </a:lnTo>
                <a:lnTo>
                  <a:pt x="7804" y="1105"/>
                </a:lnTo>
                <a:lnTo>
                  <a:pt x="7666" y="1170"/>
                </a:lnTo>
                <a:lnTo>
                  <a:pt x="14629" y="1170"/>
                </a:lnTo>
                <a:lnTo>
                  <a:pt x="14512" y="967"/>
                </a:lnTo>
                <a:lnTo>
                  <a:pt x="14033" y="617"/>
                </a:lnTo>
                <a:lnTo>
                  <a:pt x="13480" y="341"/>
                </a:lnTo>
                <a:lnTo>
                  <a:pt x="12918" y="138"/>
                </a:lnTo>
                <a:lnTo>
                  <a:pt x="12227" y="0"/>
                </a:lnTo>
                <a:close/>
              </a:path>
            </a:pathLst>
          </a:custGeom>
          <a:solidFill>
            <a:srgbClr val="251242"/>
          </a:solidFill>
        </p:spPr>
        <p:txBody>
          <a:bodyPr wrap="square" lIns="0" tIns="0" rIns="0" bIns="0" rtlCol="0"/>
          <a:lstStyle/>
          <a:p>
            <a:endParaRPr/>
          </a:p>
        </p:txBody>
      </p:sp>
      <p:sp>
        <p:nvSpPr>
          <p:cNvPr id="123" name="object 123"/>
          <p:cNvSpPr/>
          <p:nvPr/>
        </p:nvSpPr>
        <p:spPr>
          <a:xfrm>
            <a:off x="5698153" y="5720737"/>
            <a:ext cx="8890" cy="12065"/>
          </a:xfrm>
          <a:custGeom>
            <a:avLst/>
            <a:gdLst/>
            <a:ahLst/>
            <a:cxnLst/>
            <a:rect l="l" t="t" r="r" b="b"/>
            <a:pathLst>
              <a:path w="8889" h="12064">
                <a:moveTo>
                  <a:pt x="4975" y="4774"/>
                </a:moveTo>
                <a:lnTo>
                  <a:pt x="4081" y="4774"/>
                </a:lnTo>
                <a:lnTo>
                  <a:pt x="3455" y="4847"/>
                </a:lnTo>
                <a:lnTo>
                  <a:pt x="0" y="9612"/>
                </a:lnTo>
                <a:lnTo>
                  <a:pt x="276" y="10027"/>
                </a:lnTo>
                <a:lnTo>
                  <a:pt x="488" y="10516"/>
                </a:lnTo>
                <a:lnTo>
                  <a:pt x="3731" y="12036"/>
                </a:lnTo>
                <a:lnTo>
                  <a:pt x="4837" y="12036"/>
                </a:lnTo>
                <a:lnTo>
                  <a:pt x="5252" y="11963"/>
                </a:lnTo>
                <a:lnTo>
                  <a:pt x="5740" y="11963"/>
                </a:lnTo>
                <a:lnTo>
                  <a:pt x="6219" y="11898"/>
                </a:lnTo>
                <a:lnTo>
                  <a:pt x="6634" y="11898"/>
                </a:lnTo>
                <a:lnTo>
                  <a:pt x="7048" y="11824"/>
                </a:lnTo>
                <a:lnTo>
                  <a:pt x="7463" y="11824"/>
                </a:lnTo>
                <a:lnTo>
                  <a:pt x="8430" y="11622"/>
                </a:lnTo>
                <a:lnTo>
                  <a:pt x="8642" y="11622"/>
                </a:lnTo>
                <a:lnTo>
                  <a:pt x="8845" y="11548"/>
                </a:lnTo>
                <a:lnTo>
                  <a:pt x="8845" y="10304"/>
                </a:lnTo>
                <a:lnTo>
                  <a:pt x="3805" y="10304"/>
                </a:lnTo>
                <a:lnTo>
                  <a:pt x="3178" y="10165"/>
                </a:lnTo>
                <a:lnTo>
                  <a:pt x="2211" y="9612"/>
                </a:lnTo>
                <a:lnTo>
                  <a:pt x="2008" y="9059"/>
                </a:lnTo>
                <a:lnTo>
                  <a:pt x="2073" y="7612"/>
                </a:lnTo>
                <a:lnTo>
                  <a:pt x="2285" y="7400"/>
                </a:lnTo>
                <a:lnTo>
                  <a:pt x="2487" y="7124"/>
                </a:lnTo>
                <a:lnTo>
                  <a:pt x="2699" y="6921"/>
                </a:lnTo>
                <a:lnTo>
                  <a:pt x="3252" y="6645"/>
                </a:lnTo>
                <a:lnTo>
                  <a:pt x="3943" y="6506"/>
                </a:lnTo>
                <a:lnTo>
                  <a:pt x="4284" y="6506"/>
                </a:lnTo>
                <a:lnTo>
                  <a:pt x="4634" y="6433"/>
                </a:lnTo>
                <a:lnTo>
                  <a:pt x="8845" y="6433"/>
                </a:lnTo>
                <a:lnTo>
                  <a:pt x="8845" y="5124"/>
                </a:lnTo>
                <a:lnTo>
                  <a:pt x="6846" y="5124"/>
                </a:lnTo>
                <a:lnTo>
                  <a:pt x="6495" y="5050"/>
                </a:lnTo>
                <a:lnTo>
                  <a:pt x="6357" y="4986"/>
                </a:lnTo>
                <a:lnTo>
                  <a:pt x="6219" y="4986"/>
                </a:lnTo>
                <a:lnTo>
                  <a:pt x="6016" y="4912"/>
                </a:lnTo>
                <a:lnTo>
                  <a:pt x="5804" y="4912"/>
                </a:lnTo>
                <a:lnTo>
                  <a:pt x="5602" y="4847"/>
                </a:lnTo>
                <a:lnTo>
                  <a:pt x="5187" y="4847"/>
                </a:lnTo>
                <a:lnTo>
                  <a:pt x="4975" y="4774"/>
                </a:lnTo>
                <a:close/>
              </a:path>
              <a:path w="8889" h="12064">
                <a:moveTo>
                  <a:pt x="8845" y="6433"/>
                </a:moveTo>
                <a:lnTo>
                  <a:pt x="5390" y="6433"/>
                </a:lnTo>
                <a:lnTo>
                  <a:pt x="6155" y="6571"/>
                </a:lnTo>
                <a:lnTo>
                  <a:pt x="6431" y="6571"/>
                </a:lnTo>
                <a:lnTo>
                  <a:pt x="6707" y="6645"/>
                </a:lnTo>
                <a:lnTo>
                  <a:pt x="6846" y="6709"/>
                </a:lnTo>
                <a:lnTo>
                  <a:pt x="6846" y="10165"/>
                </a:lnTo>
                <a:lnTo>
                  <a:pt x="6569" y="10239"/>
                </a:lnTo>
                <a:lnTo>
                  <a:pt x="5878" y="10239"/>
                </a:lnTo>
                <a:lnTo>
                  <a:pt x="5528" y="10304"/>
                </a:lnTo>
                <a:lnTo>
                  <a:pt x="8845" y="10304"/>
                </a:lnTo>
                <a:lnTo>
                  <a:pt x="8845" y="6433"/>
                </a:lnTo>
                <a:close/>
              </a:path>
              <a:path w="8889" h="12064">
                <a:moveTo>
                  <a:pt x="8320" y="1797"/>
                </a:moveTo>
                <a:lnTo>
                  <a:pt x="4772" y="1797"/>
                </a:lnTo>
                <a:lnTo>
                  <a:pt x="5187" y="1870"/>
                </a:lnTo>
                <a:lnTo>
                  <a:pt x="5878" y="2147"/>
                </a:lnTo>
                <a:lnTo>
                  <a:pt x="6846" y="5124"/>
                </a:lnTo>
                <a:lnTo>
                  <a:pt x="8845" y="5124"/>
                </a:lnTo>
                <a:lnTo>
                  <a:pt x="8781" y="3179"/>
                </a:lnTo>
                <a:lnTo>
                  <a:pt x="8523" y="2147"/>
                </a:lnTo>
                <a:lnTo>
                  <a:pt x="8320" y="1797"/>
                </a:lnTo>
                <a:close/>
              </a:path>
              <a:path w="8889" h="12064">
                <a:moveTo>
                  <a:pt x="5252" y="0"/>
                </a:moveTo>
                <a:lnTo>
                  <a:pt x="3731" y="0"/>
                </a:lnTo>
                <a:lnTo>
                  <a:pt x="3040" y="73"/>
                </a:lnTo>
                <a:lnTo>
                  <a:pt x="2423" y="211"/>
                </a:lnTo>
                <a:lnTo>
                  <a:pt x="1796" y="276"/>
                </a:lnTo>
                <a:lnTo>
                  <a:pt x="1382" y="414"/>
                </a:lnTo>
                <a:lnTo>
                  <a:pt x="1105" y="552"/>
                </a:lnTo>
                <a:lnTo>
                  <a:pt x="1382" y="2211"/>
                </a:lnTo>
                <a:lnTo>
                  <a:pt x="2008" y="2009"/>
                </a:lnTo>
                <a:lnTo>
                  <a:pt x="2487" y="1935"/>
                </a:lnTo>
                <a:lnTo>
                  <a:pt x="2976" y="1797"/>
                </a:lnTo>
                <a:lnTo>
                  <a:pt x="8320" y="1797"/>
                </a:lnTo>
                <a:lnTo>
                  <a:pt x="8228" y="1658"/>
                </a:lnTo>
                <a:lnTo>
                  <a:pt x="7537" y="829"/>
                </a:lnTo>
                <a:lnTo>
                  <a:pt x="7048" y="552"/>
                </a:lnTo>
                <a:lnTo>
                  <a:pt x="5943" y="138"/>
                </a:lnTo>
                <a:lnTo>
                  <a:pt x="5252" y="0"/>
                </a:lnTo>
                <a:close/>
              </a:path>
            </a:pathLst>
          </a:custGeom>
          <a:solidFill>
            <a:srgbClr val="251242"/>
          </a:solidFill>
        </p:spPr>
        <p:txBody>
          <a:bodyPr wrap="square" lIns="0" tIns="0" rIns="0" bIns="0" rtlCol="0"/>
          <a:lstStyle/>
          <a:p>
            <a:endParaRPr/>
          </a:p>
        </p:txBody>
      </p:sp>
      <p:sp>
        <p:nvSpPr>
          <p:cNvPr id="124" name="object 124"/>
          <p:cNvSpPr/>
          <p:nvPr/>
        </p:nvSpPr>
        <p:spPr>
          <a:xfrm>
            <a:off x="5710113" y="5720811"/>
            <a:ext cx="9525" cy="12065"/>
          </a:xfrm>
          <a:custGeom>
            <a:avLst/>
            <a:gdLst/>
            <a:ahLst/>
            <a:cxnLst/>
            <a:rect l="l" t="t" r="r" b="b"/>
            <a:pathLst>
              <a:path w="9525" h="12064">
                <a:moveTo>
                  <a:pt x="5454" y="0"/>
                </a:moveTo>
                <a:lnTo>
                  <a:pt x="3519" y="0"/>
                </a:lnTo>
                <a:lnTo>
                  <a:pt x="2626" y="64"/>
                </a:lnTo>
                <a:lnTo>
                  <a:pt x="1105" y="341"/>
                </a:lnTo>
                <a:lnTo>
                  <a:pt x="479" y="414"/>
                </a:lnTo>
                <a:lnTo>
                  <a:pt x="0" y="552"/>
                </a:lnTo>
                <a:lnTo>
                  <a:pt x="0" y="11686"/>
                </a:lnTo>
                <a:lnTo>
                  <a:pt x="2073" y="11686"/>
                </a:lnTo>
                <a:lnTo>
                  <a:pt x="2073" y="1999"/>
                </a:lnTo>
                <a:lnTo>
                  <a:pt x="2211" y="1999"/>
                </a:lnTo>
                <a:lnTo>
                  <a:pt x="2414" y="1935"/>
                </a:lnTo>
                <a:lnTo>
                  <a:pt x="2552" y="1935"/>
                </a:lnTo>
                <a:lnTo>
                  <a:pt x="2764" y="1861"/>
                </a:lnTo>
                <a:lnTo>
                  <a:pt x="3381" y="1861"/>
                </a:lnTo>
                <a:lnTo>
                  <a:pt x="3657" y="1797"/>
                </a:lnTo>
                <a:lnTo>
                  <a:pt x="8543" y="1797"/>
                </a:lnTo>
                <a:lnTo>
                  <a:pt x="6219" y="138"/>
                </a:lnTo>
                <a:lnTo>
                  <a:pt x="5454" y="0"/>
                </a:lnTo>
                <a:close/>
              </a:path>
              <a:path w="9525" h="12064">
                <a:moveTo>
                  <a:pt x="8543" y="1797"/>
                </a:moveTo>
                <a:lnTo>
                  <a:pt x="4901" y="1797"/>
                </a:lnTo>
                <a:lnTo>
                  <a:pt x="5316" y="1861"/>
                </a:lnTo>
                <a:lnTo>
                  <a:pt x="6081" y="2138"/>
                </a:lnTo>
                <a:lnTo>
                  <a:pt x="6357" y="2350"/>
                </a:lnTo>
                <a:lnTo>
                  <a:pt x="6569" y="2691"/>
                </a:lnTo>
                <a:lnTo>
                  <a:pt x="6772" y="2967"/>
                </a:lnTo>
                <a:lnTo>
                  <a:pt x="6984" y="3382"/>
                </a:lnTo>
                <a:lnTo>
                  <a:pt x="7048" y="3870"/>
                </a:lnTo>
                <a:lnTo>
                  <a:pt x="7187" y="4423"/>
                </a:lnTo>
                <a:lnTo>
                  <a:pt x="7187" y="11686"/>
                </a:lnTo>
                <a:lnTo>
                  <a:pt x="9260" y="11686"/>
                </a:lnTo>
                <a:lnTo>
                  <a:pt x="9195" y="3806"/>
                </a:lnTo>
                <a:lnTo>
                  <a:pt x="8919" y="2488"/>
                </a:lnTo>
                <a:lnTo>
                  <a:pt x="8642" y="1935"/>
                </a:lnTo>
                <a:lnTo>
                  <a:pt x="8543" y="1797"/>
                </a:lnTo>
                <a:close/>
              </a:path>
            </a:pathLst>
          </a:custGeom>
          <a:solidFill>
            <a:srgbClr val="251242"/>
          </a:solidFill>
        </p:spPr>
        <p:txBody>
          <a:bodyPr wrap="square" lIns="0" tIns="0" rIns="0" bIns="0" rtlCol="0"/>
          <a:lstStyle/>
          <a:p>
            <a:endParaRPr/>
          </a:p>
        </p:txBody>
      </p:sp>
      <p:sp>
        <p:nvSpPr>
          <p:cNvPr id="125" name="object 125"/>
          <p:cNvSpPr/>
          <p:nvPr/>
        </p:nvSpPr>
        <p:spPr>
          <a:xfrm>
            <a:off x="5722275" y="5721013"/>
            <a:ext cx="9525" cy="12065"/>
          </a:xfrm>
          <a:custGeom>
            <a:avLst/>
            <a:gdLst/>
            <a:ahLst/>
            <a:cxnLst/>
            <a:rect l="l" t="t" r="r" b="b"/>
            <a:pathLst>
              <a:path w="9525" h="12064">
                <a:moveTo>
                  <a:pt x="2073" y="0"/>
                </a:moveTo>
                <a:lnTo>
                  <a:pt x="0" y="0"/>
                </a:lnTo>
                <a:lnTo>
                  <a:pt x="28" y="7400"/>
                </a:lnTo>
                <a:lnTo>
                  <a:pt x="3869" y="11760"/>
                </a:lnTo>
                <a:lnTo>
                  <a:pt x="5740" y="11760"/>
                </a:lnTo>
                <a:lnTo>
                  <a:pt x="6634" y="11686"/>
                </a:lnTo>
                <a:lnTo>
                  <a:pt x="8228" y="11410"/>
                </a:lnTo>
                <a:lnTo>
                  <a:pt x="8845" y="11271"/>
                </a:lnTo>
                <a:lnTo>
                  <a:pt x="9260" y="11133"/>
                </a:lnTo>
                <a:lnTo>
                  <a:pt x="9260" y="9963"/>
                </a:lnTo>
                <a:lnTo>
                  <a:pt x="3943" y="9963"/>
                </a:lnTo>
                <a:lnTo>
                  <a:pt x="3178" y="9612"/>
                </a:lnTo>
                <a:lnTo>
                  <a:pt x="2285" y="8442"/>
                </a:lnTo>
                <a:lnTo>
                  <a:pt x="2073" y="7400"/>
                </a:lnTo>
                <a:lnTo>
                  <a:pt x="2073" y="0"/>
                </a:lnTo>
                <a:close/>
              </a:path>
              <a:path w="9525" h="12064">
                <a:moveTo>
                  <a:pt x="9260" y="0"/>
                </a:moveTo>
                <a:lnTo>
                  <a:pt x="7260" y="0"/>
                </a:lnTo>
                <a:lnTo>
                  <a:pt x="7187" y="9751"/>
                </a:lnTo>
                <a:lnTo>
                  <a:pt x="7048" y="9751"/>
                </a:lnTo>
                <a:lnTo>
                  <a:pt x="6846" y="9824"/>
                </a:lnTo>
                <a:lnTo>
                  <a:pt x="6293" y="9824"/>
                </a:lnTo>
                <a:lnTo>
                  <a:pt x="6081" y="9889"/>
                </a:lnTo>
                <a:lnTo>
                  <a:pt x="5666" y="9889"/>
                </a:lnTo>
                <a:lnTo>
                  <a:pt x="5390" y="9963"/>
                </a:lnTo>
                <a:lnTo>
                  <a:pt x="9260" y="9963"/>
                </a:lnTo>
                <a:lnTo>
                  <a:pt x="9260" y="0"/>
                </a:lnTo>
                <a:close/>
              </a:path>
            </a:pathLst>
          </a:custGeom>
          <a:solidFill>
            <a:srgbClr val="251242"/>
          </a:solidFill>
        </p:spPr>
        <p:txBody>
          <a:bodyPr wrap="square" lIns="0" tIns="0" rIns="0" bIns="0" rtlCol="0"/>
          <a:lstStyle/>
          <a:p>
            <a:endParaRPr/>
          </a:p>
        </p:txBody>
      </p:sp>
      <p:sp>
        <p:nvSpPr>
          <p:cNvPr id="126" name="object 126"/>
          <p:cNvSpPr/>
          <p:nvPr/>
        </p:nvSpPr>
        <p:spPr>
          <a:xfrm>
            <a:off x="5734788" y="5715419"/>
            <a:ext cx="6985" cy="17145"/>
          </a:xfrm>
          <a:custGeom>
            <a:avLst/>
            <a:gdLst/>
            <a:ahLst/>
            <a:cxnLst/>
            <a:rect l="l" t="t" r="r" b="b"/>
            <a:pathLst>
              <a:path w="6985" h="17145">
                <a:moveTo>
                  <a:pt x="5602" y="0"/>
                </a:moveTo>
                <a:lnTo>
                  <a:pt x="2902" y="0"/>
                </a:lnTo>
                <a:lnTo>
                  <a:pt x="1796" y="414"/>
                </a:lnTo>
                <a:lnTo>
                  <a:pt x="0" y="17078"/>
                </a:lnTo>
                <a:lnTo>
                  <a:pt x="1999" y="17078"/>
                </a:lnTo>
                <a:lnTo>
                  <a:pt x="1999" y="7327"/>
                </a:lnTo>
                <a:lnTo>
                  <a:pt x="6431" y="7327"/>
                </a:lnTo>
                <a:lnTo>
                  <a:pt x="6431" y="5594"/>
                </a:lnTo>
                <a:lnTo>
                  <a:pt x="1999" y="5594"/>
                </a:lnTo>
                <a:lnTo>
                  <a:pt x="1999" y="3732"/>
                </a:lnTo>
                <a:lnTo>
                  <a:pt x="2211" y="3041"/>
                </a:lnTo>
                <a:lnTo>
                  <a:pt x="2626" y="2552"/>
                </a:lnTo>
                <a:lnTo>
                  <a:pt x="2966" y="1999"/>
                </a:lnTo>
                <a:lnTo>
                  <a:pt x="3657" y="1723"/>
                </a:lnTo>
                <a:lnTo>
                  <a:pt x="6648" y="1723"/>
                </a:lnTo>
                <a:lnTo>
                  <a:pt x="6910" y="341"/>
                </a:lnTo>
                <a:lnTo>
                  <a:pt x="6772" y="276"/>
                </a:lnTo>
                <a:lnTo>
                  <a:pt x="6016" y="138"/>
                </a:lnTo>
                <a:lnTo>
                  <a:pt x="5602" y="0"/>
                </a:lnTo>
                <a:close/>
              </a:path>
              <a:path w="6985" h="17145">
                <a:moveTo>
                  <a:pt x="6648" y="1723"/>
                </a:moveTo>
                <a:lnTo>
                  <a:pt x="5049" y="1723"/>
                </a:lnTo>
                <a:lnTo>
                  <a:pt x="6155" y="1935"/>
                </a:lnTo>
                <a:lnTo>
                  <a:pt x="6357" y="1999"/>
                </a:lnTo>
                <a:lnTo>
                  <a:pt x="6569" y="2138"/>
                </a:lnTo>
                <a:lnTo>
                  <a:pt x="6648" y="1723"/>
                </a:lnTo>
                <a:close/>
              </a:path>
            </a:pathLst>
          </a:custGeom>
          <a:solidFill>
            <a:srgbClr val="251242"/>
          </a:solidFill>
        </p:spPr>
        <p:txBody>
          <a:bodyPr wrap="square" lIns="0" tIns="0" rIns="0" bIns="0" rtlCol="0"/>
          <a:lstStyle/>
          <a:p>
            <a:endParaRPr/>
          </a:p>
        </p:txBody>
      </p:sp>
      <p:sp>
        <p:nvSpPr>
          <p:cNvPr id="127" name="object 127"/>
          <p:cNvSpPr/>
          <p:nvPr/>
        </p:nvSpPr>
        <p:spPr>
          <a:xfrm>
            <a:off x="5742063" y="5720737"/>
            <a:ext cx="9525" cy="12065"/>
          </a:xfrm>
          <a:custGeom>
            <a:avLst/>
            <a:gdLst/>
            <a:ahLst/>
            <a:cxnLst/>
            <a:rect l="l" t="t" r="r" b="b"/>
            <a:pathLst>
              <a:path w="9525" h="12064">
                <a:moveTo>
                  <a:pt x="5025" y="4774"/>
                </a:moveTo>
                <a:lnTo>
                  <a:pt x="4196" y="4774"/>
                </a:lnTo>
                <a:lnTo>
                  <a:pt x="3579" y="4847"/>
                </a:lnTo>
                <a:lnTo>
                  <a:pt x="0" y="9059"/>
                </a:lnTo>
                <a:lnTo>
                  <a:pt x="123" y="9612"/>
                </a:lnTo>
                <a:lnTo>
                  <a:pt x="538" y="10516"/>
                </a:lnTo>
                <a:lnTo>
                  <a:pt x="879" y="10930"/>
                </a:lnTo>
                <a:lnTo>
                  <a:pt x="1293" y="11207"/>
                </a:lnTo>
                <a:lnTo>
                  <a:pt x="1644" y="11483"/>
                </a:lnTo>
                <a:lnTo>
                  <a:pt x="2123" y="11686"/>
                </a:lnTo>
                <a:lnTo>
                  <a:pt x="3228" y="11963"/>
                </a:lnTo>
                <a:lnTo>
                  <a:pt x="3855" y="12036"/>
                </a:lnTo>
                <a:lnTo>
                  <a:pt x="4887" y="12036"/>
                </a:lnTo>
                <a:lnTo>
                  <a:pt x="5375" y="11963"/>
                </a:lnTo>
                <a:lnTo>
                  <a:pt x="5854" y="11963"/>
                </a:lnTo>
                <a:lnTo>
                  <a:pt x="6343" y="11898"/>
                </a:lnTo>
                <a:lnTo>
                  <a:pt x="6757" y="11898"/>
                </a:lnTo>
                <a:lnTo>
                  <a:pt x="7098" y="11824"/>
                </a:lnTo>
                <a:lnTo>
                  <a:pt x="7513" y="11824"/>
                </a:lnTo>
                <a:lnTo>
                  <a:pt x="8554" y="11622"/>
                </a:lnTo>
                <a:lnTo>
                  <a:pt x="8757" y="11622"/>
                </a:lnTo>
                <a:lnTo>
                  <a:pt x="8969" y="11548"/>
                </a:lnTo>
                <a:lnTo>
                  <a:pt x="8969" y="10304"/>
                </a:lnTo>
                <a:lnTo>
                  <a:pt x="3919" y="10304"/>
                </a:lnTo>
                <a:lnTo>
                  <a:pt x="3228" y="10165"/>
                </a:lnTo>
                <a:lnTo>
                  <a:pt x="2814" y="9889"/>
                </a:lnTo>
                <a:lnTo>
                  <a:pt x="2335" y="9612"/>
                </a:lnTo>
                <a:lnTo>
                  <a:pt x="2058" y="9059"/>
                </a:lnTo>
                <a:lnTo>
                  <a:pt x="2140" y="7751"/>
                </a:lnTo>
                <a:lnTo>
                  <a:pt x="2196" y="7612"/>
                </a:lnTo>
                <a:lnTo>
                  <a:pt x="2399" y="7400"/>
                </a:lnTo>
                <a:lnTo>
                  <a:pt x="2537" y="7124"/>
                </a:lnTo>
                <a:lnTo>
                  <a:pt x="2814" y="6921"/>
                </a:lnTo>
                <a:lnTo>
                  <a:pt x="3367" y="6645"/>
                </a:lnTo>
                <a:lnTo>
                  <a:pt x="4058" y="6506"/>
                </a:lnTo>
                <a:lnTo>
                  <a:pt x="4408" y="6506"/>
                </a:lnTo>
                <a:lnTo>
                  <a:pt x="4684" y="6433"/>
                </a:lnTo>
                <a:lnTo>
                  <a:pt x="8969" y="6433"/>
                </a:lnTo>
                <a:lnTo>
                  <a:pt x="8969" y="5124"/>
                </a:lnTo>
                <a:lnTo>
                  <a:pt x="6960" y="5124"/>
                </a:lnTo>
                <a:lnTo>
                  <a:pt x="6619" y="5050"/>
                </a:lnTo>
                <a:lnTo>
                  <a:pt x="6481" y="4986"/>
                </a:lnTo>
                <a:lnTo>
                  <a:pt x="6343" y="4986"/>
                </a:lnTo>
                <a:lnTo>
                  <a:pt x="6131" y="4912"/>
                </a:lnTo>
                <a:lnTo>
                  <a:pt x="5928" y="4912"/>
                </a:lnTo>
                <a:lnTo>
                  <a:pt x="5716" y="4847"/>
                </a:lnTo>
                <a:lnTo>
                  <a:pt x="5237" y="4847"/>
                </a:lnTo>
                <a:lnTo>
                  <a:pt x="5025" y="4774"/>
                </a:lnTo>
                <a:close/>
              </a:path>
              <a:path w="9525" h="12064">
                <a:moveTo>
                  <a:pt x="8969" y="6433"/>
                </a:moveTo>
                <a:lnTo>
                  <a:pt x="5514" y="6433"/>
                </a:lnTo>
                <a:lnTo>
                  <a:pt x="6205" y="6571"/>
                </a:lnTo>
                <a:lnTo>
                  <a:pt x="6546" y="6571"/>
                </a:lnTo>
                <a:lnTo>
                  <a:pt x="6960" y="6709"/>
                </a:lnTo>
                <a:lnTo>
                  <a:pt x="6960" y="10165"/>
                </a:lnTo>
                <a:lnTo>
                  <a:pt x="6684" y="10239"/>
                </a:lnTo>
                <a:lnTo>
                  <a:pt x="5993" y="10239"/>
                </a:lnTo>
                <a:lnTo>
                  <a:pt x="5652" y="10304"/>
                </a:lnTo>
                <a:lnTo>
                  <a:pt x="8969" y="10304"/>
                </a:lnTo>
                <a:lnTo>
                  <a:pt x="8969" y="6433"/>
                </a:lnTo>
                <a:close/>
              </a:path>
              <a:path w="9525" h="12064">
                <a:moveTo>
                  <a:pt x="8413" y="1797"/>
                </a:moveTo>
                <a:lnTo>
                  <a:pt x="4887" y="1797"/>
                </a:lnTo>
                <a:lnTo>
                  <a:pt x="5302" y="1870"/>
                </a:lnTo>
                <a:lnTo>
                  <a:pt x="5993" y="2147"/>
                </a:lnTo>
                <a:lnTo>
                  <a:pt x="6269" y="2350"/>
                </a:lnTo>
                <a:lnTo>
                  <a:pt x="6407" y="2626"/>
                </a:lnTo>
                <a:lnTo>
                  <a:pt x="6619" y="2903"/>
                </a:lnTo>
                <a:lnTo>
                  <a:pt x="6757" y="3179"/>
                </a:lnTo>
                <a:lnTo>
                  <a:pt x="6874" y="3741"/>
                </a:lnTo>
                <a:lnTo>
                  <a:pt x="6960" y="5124"/>
                </a:lnTo>
                <a:lnTo>
                  <a:pt x="8969" y="5124"/>
                </a:lnTo>
                <a:lnTo>
                  <a:pt x="8895" y="3179"/>
                </a:lnTo>
                <a:lnTo>
                  <a:pt x="8692" y="2626"/>
                </a:lnTo>
                <a:lnTo>
                  <a:pt x="8573" y="2147"/>
                </a:lnTo>
                <a:lnTo>
                  <a:pt x="8413" y="1797"/>
                </a:lnTo>
                <a:close/>
              </a:path>
              <a:path w="9525" h="12064">
                <a:moveTo>
                  <a:pt x="5375" y="0"/>
                </a:moveTo>
                <a:lnTo>
                  <a:pt x="3781" y="0"/>
                </a:lnTo>
                <a:lnTo>
                  <a:pt x="3164" y="73"/>
                </a:lnTo>
                <a:lnTo>
                  <a:pt x="2537" y="211"/>
                </a:lnTo>
                <a:lnTo>
                  <a:pt x="1920" y="276"/>
                </a:lnTo>
                <a:lnTo>
                  <a:pt x="1432" y="414"/>
                </a:lnTo>
                <a:lnTo>
                  <a:pt x="1229" y="552"/>
                </a:lnTo>
                <a:lnTo>
                  <a:pt x="1432" y="2211"/>
                </a:lnTo>
                <a:lnTo>
                  <a:pt x="1708" y="2147"/>
                </a:lnTo>
                <a:lnTo>
                  <a:pt x="2058" y="2009"/>
                </a:lnTo>
                <a:lnTo>
                  <a:pt x="2611" y="1935"/>
                </a:lnTo>
                <a:lnTo>
                  <a:pt x="3090" y="1797"/>
                </a:lnTo>
                <a:lnTo>
                  <a:pt x="8413" y="1797"/>
                </a:lnTo>
                <a:lnTo>
                  <a:pt x="8342" y="1658"/>
                </a:lnTo>
                <a:lnTo>
                  <a:pt x="7651" y="829"/>
                </a:lnTo>
                <a:lnTo>
                  <a:pt x="7172" y="552"/>
                </a:lnTo>
                <a:lnTo>
                  <a:pt x="6066" y="138"/>
                </a:lnTo>
                <a:lnTo>
                  <a:pt x="5375" y="0"/>
                </a:lnTo>
                <a:close/>
              </a:path>
            </a:pathLst>
          </a:custGeom>
          <a:solidFill>
            <a:srgbClr val="251242"/>
          </a:solidFill>
        </p:spPr>
        <p:txBody>
          <a:bodyPr wrap="square" lIns="0" tIns="0" rIns="0" bIns="0" rtlCol="0"/>
          <a:lstStyle/>
          <a:p>
            <a:endParaRPr/>
          </a:p>
        </p:txBody>
      </p:sp>
      <p:sp>
        <p:nvSpPr>
          <p:cNvPr id="128" name="object 128"/>
          <p:cNvSpPr/>
          <p:nvPr/>
        </p:nvSpPr>
        <p:spPr>
          <a:xfrm>
            <a:off x="5753504" y="5720737"/>
            <a:ext cx="8890" cy="12065"/>
          </a:xfrm>
          <a:custGeom>
            <a:avLst/>
            <a:gdLst/>
            <a:ahLst/>
            <a:cxnLst/>
            <a:rect l="l" t="t" r="r" b="b"/>
            <a:pathLst>
              <a:path w="8889" h="12064">
                <a:moveTo>
                  <a:pt x="5959" y="0"/>
                </a:moveTo>
                <a:lnTo>
                  <a:pt x="4642" y="0"/>
                </a:lnTo>
                <a:lnTo>
                  <a:pt x="3886" y="138"/>
                </a:lnTo>
                <a:lnTo>
                  <a:pt x="3195" y="488"/>
                </a:lnTo>
                <a:lnTo>
                  <a:pt x="2504" y="764"/>
                </a:lnTo>
                <a:lnTo>
                  <a:pt x="1951" y="1179"/>
                </a:lnTo>
                <a:lnTo>
                  <a:pt x="984" y="2285"/>
                </a:lnTo>
                <a:lnTo>
                  <a:pt x="634" y="2903"/>
                </a:lnTo>
                <a:lnTo>
                  <a:pt x="357" y="3668"/>
                </a:lnTo>
                <a:lnTo>
                  <a:pt x="81" y="4359"/>
                </a:lnTo>
                <a:lnTo>
                  <a:pt x="0" y="7262"/>
                </a:lnTo>
                <a:lnTo>
                  <a:pt x="81" y="7751"/>
                </a:lnTo>
                <a:lnTo>
                  <a:pt x="293" y="8506"/>
                </a:lnTo>
                <a:lnTo>
                  <a:pt x="4642" y="12036"/>
                </a:lnTo>
                <a:lnTo>
                  <a:pt x="6162" y="12036"/>
                </a:lnTo>
                <a:lnTo>
                  <a:pt x="6512" y="11963"/>
                </a:lnTo>
                <a:lnTo>
                  <a:pt x="6853" y="11963"/>
                </a:lnTo>
                <a:lnTo>
                  <a:pt x="7406" y="11824"/>
                </a:lnTo>
                <a:lnTo>
                  <a:pt x="7683" y="11824"/>
                </a:lnTo>
                <a:lnTo>
                  <a:pt x="7959" y="11760"/>
                </a:lnTo>
                <a:lnTo>
                  <a:pt x="8374" y="11622"/>
                </a:lnTo>
                <a:lnTo>
                  <a:pt x="8659" y="11483"/>
                </a:lnTo>
                <a:lnTo>
                  <a:pt x="8454" y="10239"/>
                </a:lnTo>
                <a:lnTo>
                  <a:pt x="5195" y="10239"/>
                </a:lnTo>
                <a:lnTo>
                  <a:pt x="4577" y="10165"/>
                </a:lnTo>
                <a:lnTo>
                  <a:pt x="3674" y="9751"/>
                </a:lnTo>
                <a:lnTo>
                  <a:pt x="3260" y="9474"/>
                </a:lnTo>
                <a:lnTo>
                  <a:pt x="2983" y="9059"/>
                </a:lnTo>
                <a:lnTo>
                  <a:pt x="2707" y="8718"/>
                </a:lnTo>
                <a:lnTo>
                  <a:pt x="2430" y="8304"/>
                </a:lnTo>
                <a:lnTo>
                  <a:pt x="2154" y="7262"/>
                </a:lnTo>
                <a:lnTo>
                  <a:pt x="2197" y="4359"/>
                </a:lnTo>
                <a:lnTo>
                  <a:pt x="2430" y="3594"/>
                </a:lnTo>
                <a:lnTo>
                  <a:pt x="3057" y="2903"/>
                </a:lnTo>
                <a:lnTo>
                  <a:pt x="3610" y="2211"/>
                </a:lnTo>
                <a:lnTo>
                  <a:pt x="4504" y="1797"/>
                </a:lnTo>
                <a:lnTo>
                  <a:pt x="8150" y="1797"/>
                </a:lnTo>
                <a:lnTo>
                  <a:pt x="8447" y="552"/>
                </a:lnTo>
                <a:lnTo>
                  <a:pt x="8033" y="350"/>
                </a:lnTo>
                <a:lnTo>
                  <a:pt x="7544" y="211"/>
                </a:lnTo>
                <a:lnTo>
                  <a:pt x="5959" y="0"/>
                </a:lnTo>
                <a:close/>
              </a:path>
              <a:path w="8889" h="12064">
                <a:moveTo>
                  <a:pt x="8374" y="9751"/>
                </a:moveTo>
                <a:lnTo>
                  <a:pt x="8097" y="9889"/>
                </a:lnTo>
                <a:lnTo>
                  <a:pt x="7756" y="9963"/>
                </a:lnTo>
                <a:lnTo>
                  <a:pt x="7342" y="10101"/>
                </a:lnTo>
                <a:lnTo>
                  <a:pt x="6374" y="10239"/>
                </a:lnTo>
                <a:lnTo>
                  <a:pt x="8454" y="10239"/>
                </a:lnTo>
                <a:lnTo>
                  <a:pt x="8374" y="9751"/>
                </a:lnTo>
                <a:close/>
              </a:path>
              <a:path w="8889" h="12064">
                <a:moveTo>
                  <a:pt x="8150" y="1797"/>
                </a:moveTo>
                <a:lnTo>
                  <a:pt x="6098" y="1797"/>
                </a:lnTo>
                <a:lnTo>
                  <a:pt x="6927" y="1935"/>
                </a:lnTo>
                <a:lnTo>
                  <a:pt x="7342" y="2073"/>
                </a:lnTo>
                <a:lnTo>
                  <a:pt x="7683" y="2147"/>
                </a:lnTo>
                <a:lnTo>
                  <a:pt x="8033" y="2285"/>
                </a:lnTo>
                <a:lnTo>
                  <a:pt x="8150" y="1797"/>
                </a:lnTo>
                <a:close/>
              </a:path>
            </a:pathLst>
          </a:custGeom>
          <a:solidFill>
            <a:srgbClr val="251242"/>
          </a:solidFill>
        </p:spPr>
        <p:txBody>
          <a:bodyPr wrap="square" lIns="0" tIns="0" rIns="0" bIns="0" rtlCol="0"/>
          <a:lstStyle/>
          <a:p>
            <a:endParaRPr/>
          </a:p>
        </p:txBody>
      </p:sp>
      <p:sp>
        <p:nvSpPr>
          <p:cNvPr id="129" name="object 129"/>
          <p:cNvSpPr/>
          <p:nvPr/>
        </p:nvSpPr>
        <p:spPr>
          <a:xfrm>
            <a:off x="5763960" y="5717493"/>
            <a:ext cx="6985" cy="15875"/>
          </a:xfrm>
          <a:custGeom>
            <a:avLst/>
            <a:gdLst/>
            <a:ahLst/>
            <a:cxnLst/>
            <a:rect l="l" t="t" r="r" b="b"/>
            <a:pathLst>
              <a:path w="6985" h="15875">
                <a:moveTo>
                  <a:pt x="1999" y="0"/>
                </a:moveTo>
                <a:lnTo>
                  <a:pt x="0" y="341"/>
                </a:lnTo>
                <a:lnTo>
                  <a:pt x="58" y="11963"/>
                </a:lnTo>
                <a:lnTo>
                  <a:pt x="362" y="13410"/>
                </a:lnTo>
                <a:lnTo>
                  <a:pt x="479" y="13686"/>
                </a:lnTo>
                <a:lnTo>
                  <a:pt x="1105" y="14451"/>
                </a:lnTo>
                <a:lnTo>
                  <a:pt x="1520" y="14792"/>
                </a:lnTo>
                <a:lnTo>
                  <a:pt x="2073" y="14930"/>
                </a:lnTo>
                <a:lnTo>
                  <a:pt x="2552" y="15142"/>
                </a:lnTo>
                <a:lnTo>
                  <a:pt x="3178" y="15281"/>
                </a:lnTo>
                <a:lnTo>
                  <a:pt x="4625" y="15281"/>
                </a:lnTo>
                <a:lnTo>
                  <a:pt x="5252" y="15207"/>
                </a:lnTo>
                <a:lnTo>
                  <a:pt x="5731" y="15004"/>
                </a:lnTo>
                <a:lnTo>
                  <a:pt x="6284" y="14866"/>
                </a:lnTo>
                <a:lnTo>
                  <a:pt x="6836" y="14654"/>
                </a:lnTo>
                <a:lnTo>
                  <a:pt x="6555" y="13483"/>
                </a:lnTo>
                <a:lnTo>
                  <a:pt x="3796" y="13483"/>
                </a:lnTo>
                <a:lnTo>
                  <a:pt x="3243" y="13345"/>
                </a:lnTo>
                <a:lnTo>
                  <a:pt x="1999" y="5253"/>
                </a:lnTo>
                <a:lnTo>
                  <a:pt x="6357" y="5253"/>
                </a:lnTo>
                <a:lnTo>
                  <a:pt x="6357" y="3520"/>
                </a:lnTo>
                <a:lnTo>
                  <a:pt x="1999" y="3520"/>
                </a:lnTo>
                <a:lnTo>
                  <a:pt x="1999" y="0"/>
                </a:lnTo>
                <a:close/>
              </a:path>
              <a:path w="6985" h="15875">
                <a:moveTo>
                  <a:pt x="6422" y="12930"/>
                </a:moveTo>
                <a:lnTo>
                  <a:pt x="6007" y="13133"/>
                </a:lnTo>
                <a:lnTo>
                  <a:pt x="5252" y="13410"/>
                </a:lnTo>
                <a:lnTo>
                  <a:pt x="4763" y="13483"/>
                </a:lnTo>
                <a:lnTo>
                  <a:pt x="6555" y="13483"/>
                </a:lnTo>
                <a:lnTo>
                  <a:pt x="6422" y="12930"/>
                </a:lnTo>
                <a:close/>
              </a:path>
            </a:pathLst>
          </a:custGeom>
          <a:solidFill>
            <a:srgbClr val="251242"/>
          </a:solidFill>
        </p:spPr>
        <p:txBody>
          <a:bodyPr wrap="square" lIns="0" tIns="0" rIns="0" bIns="0" rtlCol="0"/>
          <a:lstStyle/>
          <a:p>
            <a:endParaRPr/>
          </a:p>
        </p:txBody>
      </p:sp>
      <p:sp>
        <p:nvSpPr>
          <p:cNvPr id="130" name="object 130"/>
          <p:cNvSpPr/>
          <p:nvPr/>
        </p:nvSpPr>
        <p:spPr>
          <a:xfrm>
            <a:off x="5772391" y="5721013"/>
            <a:ext cx="9525" cy="12065"/>
          </a:xfrm>
          <a:custGeom>
            <a:avLst/>
            <a:gdLst/>
            <a:ahLst/>
            <a:cxnLst/>
            <a:rect l="l" t="t" r="r" b="b"/>
            <a:pathLst>
              <a:path w="9525" h="12064">
                <a:moveTo>
                  <a:pt x="2073" y="0"/>
                </a:moveTo>
                <a:lnTo>
                  <a:pt x="0" y="0"/>
                </a:lnTo>
                <a:lnTo>
                  <a:pt x="64" y="7953"/>
                </a:lnTo>
                <a:lnTo>
                  <a:pt x="276" y="8580"/>
                </a:lnTo>
                <a:lnTo>
                  <a:pt x="414" y="9271"/>
                </a:lnTo>
                <a:lnTo>
                  <a:pt x="691" y="9824"/>
                </a:lnTo>
                <a:lnTo>
                  <a:pt x="1031" y="10239"/>
                </a:lnTo>
                <a:lnTo>
                  <a:pt x="1382" y="10718"/>
                </a:lnTo>
                <a:lnTo>
                  <a:pt x="1934" y="11069"/>
                </a:lnTo>
                <a:lnTo>
                  <a:pt x="2487" y="11345"/>
                </a:lnTo>
                <a:lnTo>
                  <a:pt x="3105" y="11622"/>
                </a:lnTo>
                <a:lnTo>
                  <a:pt x="3869" y="11760"/>
                </a:lnTo>
                <a:lnTo>
                  <a:pt x="5731" y="11760"/>
                </a:lnTo>
                <a:lnTo>
                  <a:pt x="6634" y="11686"/>
                </a:lnTo>
                <a:lnTo>
                  <a:pt x="8154" y="11410"/>
                </a:lnTo>
                <a:lnTo>
                  <a:pt x="8771" y="11271"/>
                </a:lnTo>
                <a:lnTo>
                  <a:pt x="9260" y="11133"/>
                </a:lnTo>
                <a:lnTo>
                  <a:pt x="9260" y="9963"/>
                </a:lnTo>
                <a:lnTo>
                  <a:pt x="3934" y="9963"/>
                </a:lnTo>
                <a:lnTo>
                  <a:pt x="3178" y="9612"/>
                </a:lnTo>
                <a:lnTo>
                  <a:pt x="2690" y="9059"/>
                </a:lnTo>
                <a:lnTo>
                  <a:pt x="2275" y="8442"/>
                </a:lnTo>
                <a:lnTo>
                  <a:pt x="2180" y="7953"/>
                </a:lnTo>
                <a:lnTo>
                  <a:pt x="2073" y="0"/>
                </a:lnTo>
                <a:close/>
              </a:path>
              <a:path w="9525" h="12064">
                <a:moveTo>
                  <a:pt x="9260" y="0"/>
                </a:moveTo>
                <a:lnTo>
                  <a:pt x="7251" y="0"/>
                </a:lnTo>
                <a:lnTo>
                  <a:pt x="7251" y="9686"/>
                </a:lnTo>
                <a:lnTo>
                  <a:pt x="7113" y="9751"/>
                </a:lnTo>
                <a:lnTo>
                  <a:pt x="6836" y="9824"/>
                </a:lnTo>
                <a:lnTo>
                  <a:pt x="6284" y="9824"/>
                </a:lnTo>
                <a:lnTo>
                  <a:pt x="6081" y="9889"/>
                </a:lnTo>
                <a:lnTo>
                  <a:pt x="5666" y="9889"/>
                </a:lnTo>
                <a:lnTo>
                  <a:pt x="5390" y="9963"/>
                </a:lnTo>
                <a:lnTo>
                  <a:pt x="9260" y="9963"/>
                </a:lnTo>
                <a:lnTo>
                  <a:pt x="9260" y="0"/>
                </a:lnTo>
                <a:close/>
              </a:path>
            </a:pathLst>
          </a:custGeom>
          <a:solidFill>
            <a:srgbClr val="251242"/>
          </a:solidFill>
        </p:spPr>
        <p:txBody>
          <a:bodyPr wrap="square" lIns="0" tIns="0" rIns="0" bIns="0" rtlCol="0"/>
          <a:lstStyle/>
          <a:p>
            <a:endParaRPr/>
          </a:p>
        </p:txBody>
      </p:sp>
      <p:sp>
        <p:nvSpPr>
          <p:cNvPr id="131" name="object 131"/>
          <p:cNvSpPr/>
          <p:nvPr/>
        </p:nvSpPr>
        <p:spPr>
          <a:xfrm>
            <a:off x="5784830" y="5720811"/>
            <a:ext cx="6985" cy="12065"/>
          </a:xfrm>
          <a:custGeom>
            <a:avLst/>
            <a:gdLst/>
            <a:ahLst/>
            <a:cxnLst/>
            <a:rect l="l" t="t" r="r" b="b"/>
            <a:pathLst>
              <a:path w="6985" h="12064">
                <a:moveTo>
                  <a:pt x="4837" y="0"/>
                </a:moveTo>
                <a:lnTo>
                  <a:pt x="3390" y="0"/>
                </a:lnTo>
                <a:lnTo>
                  <a:pt x="2561" y="64"/>
                </a:lnTo>
                <a:lnTo>
                  <a:pt x="1105" y="341"/>
                </a:lnTo>
                <a:lnTo>
                  <a:pt x="488" y="552"/>
                </a:lnTo>
                <a:lnTo>
                  <a:pt x="0" y="691"/>
                </a:lnTo>
                <a:lnTo>
                  <a:pt x="0" y="11686"/>
                </a:lnTo>
                <a:lnTo>
                  <a:pt x="2073" y="11686"/>
                </a:lnTo>
                <a:lnTo>
                  <a:pt x="2073" y="2073"/>
                </a:lnTo>
                <a:lnTo>
                  <a:pt x="2211" y="1999"/>
                </a:lnTo>
                <a:lnTo>
                  <a:pt x="2423" y="1999"/>
                </a:lnTo>
                <a:lnTo>
                  <a:pt x="2837" y="1861"/>
                </a:lnTo>
                <a:lnTo>
                  <a:pt x="3178" y="1797"/>
                </a:lnTo>
                <a:lnTo>
                  <a:pt x="6275" y="1797"/>
                </a:lnTo>
                <a:lnTo>
                  <a:pt x="6498" y="691"/>
                </a:lnTo>
                <a:lnTo>
                  <a:pt x="6495" y="276"/>
                </a:lnTo>
                <a:lnTo>
                  <a:pt x="6357" y="276"/>
                </a:lnTo>
                <a:lnTo>
                  <a:pt x="6155" y="202"/>
                </a:lnTo>
                <a:lnTo>
                  <a:pt x="5943" y="202"/>
                </a:lnTo>
                <a:lnTo>
                  <a:pt x="5740" y="138"/>
                </a:lnTo>
                <a:lnTo>
                  <a:pt x="5528" y="138"/>
                </a:lnTo>
                <a:lnTo>
                  <a:pt x="5325" y="64"/>
                </a:lnTo>
                <a:lnTo>
                  <a:pt x="5113" y="64"/>
                </a:lnTo>
                <a:lnTo>
                  <a:pt x="4837" y="0"/>
                </a:lnTo>
                <a:close/>
              </a:path>
              <a:path w="6985" h="12064">
                <a:moveTo>
                  <a:pt x="6275" y="1797"/>
                </a:moveTo>
                <a:lnTo>
                  <a:pt x="5049" y="1797"/>
                </a:lnTo>
                <a:lnTo>
                  <a:pt x="5390" y="1861"/>
                </a:lnTo>
                <a:lnTo>
                  <a:pt x="6016" y="2073"/>
                </a:lnTo>
                <a:lnTo>
                  <a:pt x="6219" y="2073"/>
                </a:lnTo>
                <a:lnTo>
                  <a:pt x="6275" y="1797"/>
                </a:lnTo>
                <a:close/>
              </a:path>
            </a:pathLst>
          </a:custGeom>
          <a:solidFill>
            <a:srgbClr val="251242"/>
          </a:solidFill>
        </p:spPr>
        <p:txBody>
          <a:bodyPr wrap="square" lIns="0" tIns="0" rIns="0" bIns="0" rtlCol="0"/>
          <a:lstStyle/>
          <a:p>
            <a:endParaRPr/>
          </a:p>
        </p:txBody>
      </p:sp>
      <p:sp>
        <p:nvSpPr>
          <p:cNvPr id="132" name="object 132"/>
          <p:cNvSpPr/>
          <p:nvPr/>
        </p:nvSpPr>
        <p:spPr>
          <a:xfrm>
            <a:off x="5792393" y="5720737"/>
            <a:ext cx="10160" cy="12065"/>
          </a:xfrm>
          <a:custGeom>
            <a:avLst/>
            <a:gdLst/>
            <a:ahLst/>
            <a:cxnLst/>
            <a:rect l="l" t="t" r="r" b="b"/>
            <a:pathLst>
              <a:path w="10160" h="12064">
                <a:moveTo>
                  <a:pt x="6672" y="0"/>
                </a:moveTo>
                <a:lnTo>
                  <a:pt x="4461" y="0"/>
                </a:lnTo>
                <a:lnTo>
                  <a:pt x="3770" y="138"/>
                </a:lnTo>
                <a:lnTo>
                  <a:pt x="3153" y="414"/>
                </a:lnTo>
                <a:lnTo>
                  <a:pt x="2526" y="626"/>
                </a:lnTo>
                <a:lnTo>
                  <a:pt x="0" y="7815"/>
                </a:lnTo>
                <a:lnTo>
                  <a:pt x="250" y="8442"/>
                </a:lnTo>
                <a:lnTo>
                  <a:pt x="453" y="9198"/>
                </a:lnTo>
                <a:lnTo>
                  <a:pt x="4673" y="12036"/>
                </a:lnTo>
                <a:lnTo>
                  <a:pt x="6470" y="12036"/>
                </a:lnTo>
                <a:lnTo>
                  <a:pt x="7161" y="11963"/>
                </a:lnTo>
                <a:lnTo>
                  <a:pt x="8405" y="11686"/>
                </a:lnTo>
                <a:lnTo>
                  <a:pt x="8884" y="11548"/>
                </a:lnTo>
                <a:lnTo>
                  <a:pt x="9096" y="11410"/>
                </a:lnTo>
                <a:lnTo>
                  <a:pt x="8908" y="10239"/>
                </a:lnTo>
                <a:lnTo>
                  <a:pt x="4599" y="10239"/>
                </a:lnTo>
                <a:lnTo>
                  <a:pt x="3632" y="9889"/>
                </a:lnTo>
                <a:lnTo>
                  <a:pt x="2462" y="8718"/>
                </a:lnTo>
                <a:lnTo>
                  <a:pt x="2111" y="7815"/>
                </a:lnTo>
                <a:lnTo>
                  <a:pt x="2047" y="6571"/>
                </a:lnTo>
                <a:lnTo>
                  <a:pt x="9851" y="6571"/>
                </a:lnTo>
                <a:lnTo>
                  <a:pt x="9925" y="4912"/>
                </a:lnTo>
                <a:lnTo>
                  <a:pt x="2047" y="4912"/>
                </a:lnTo>
                <a:lnTo>
                  <a:pt x="2185" y="4156"/>
                </a:lnTo>
                <a:lnTo>
                  <a:pt x="2462" y="3391"/>
                </a:lnTo>
                <a:lnTo>
                  <a:pt x="2664" y="3041"/>
                </a:lnTo>
                <a:lnTo>
                  <a:pt x="2941" y="2764"/>
                </a:lnTo>
                <a:lnTo>
                  <a:pt x="3153" y="2488"/>
                </a:lnTo>
                <a:lnTo>
                  <a:pt x="3493" y="2211"/>
                </a:lnTo>
                <a:lnTo>
                  <a:pt x="3844" y="2009"/>
                </a:lnTo>
                <a:lnTo>
                  <a:pt x="4599" y="1732"/>
                </a:lnTo>
                <a:lnTo>
                  <a:pt x="8918" y="1732"/>
                </a:lnTo>
                <a:lnTo>
                  <a:pt x="7852" y="488"/>
                </a:lnTo>
                <a:lnTo>
                  <a:pt x="6672" y="0"/>
                </a:lnTo>
                <a:close/>
              </a:path>
              <a:path w="10160" h="12064">
                <a:moveTo>
                  <a:pt x="8819" y="9686"/>
                </a:moveTo>
                <a:lnTo>
                  <a:pt x="8543" y="9824"/>
                </a:lnTo>
                <a:lnTo>
                  <a:pt x="8193" y="9889"/>
                </a:lnTo>
                <a:lnTo>
                  <a:pt x="7225" y="10165"/>
                </a:lnTo>
                <a:lnTo>
                  <a:pt x="6608" y="10239"/>
                </a:lnTo>
                <a:lnTo>
                  <a:pt x="8908" y="10239"/>
                </a:lnTo>
                <a:lnTo>
                  <a:pt x="8819" y="9686"/>
                </a:lnTo>
                <a:close/>
              </a:path>
              <a:path w="10160" h="12064">
                <a:moveTo>
                  <a:pt x="8918" y="1732"/>
                </a:moveTo>
                <a:lnTo>
                  <a:pt x="5917" y="1732"/>
                </a:lnTo>
                <a:lnTo>
                  <a:pt x="6608" y="2073"/>
                </a:lnTo>
                <a:lnTo>
                  <a:pt x="7195" y="2764"/>
                </a:lnTo>
                <a:lnTo>
                  <a:pt x="7575" y="3253"/>
                </a:lnTo>
                <a:lnTo>
                  <a:pt x="7741" y="3880"/>
                </a:lnTo>
                <a:lnTo>
                  <a:pt x="7778" y="4912"/>
                </a:lnTo>
                <a:lnTo>
                  <a:pt x="9925" y="4912"/>
                </a:lnTo>
                <a:lnTo>
                  <a:pt x="9925" y="3880"/>
                </a:lnTo>
                <a:lnTo>
                  <a:pt x="9510" y="2423"/>
                </a:lnTo>
                <a:lnTo>
                  <a:pt x="8918" y="1732"/>
                </a:lnTo>
                <a:close/>
              </a:path>
            </a:pathLst>
          </a:custGeom>
          <a:solidFill>
            <a:srgbClr val="251242"/>
          </a:solidFill>
        </p:spPr>
        <p:txBody>
          <a:bodyPr wrap="square" lIns="0" tIns="0" rIns="0" bIns="0" rtlCol="0"/>
          <a:lstStyle/>
          <a:p>
            <a:endParaRPr/>
          </a:p>
        </p:txBody>
      </p:sp>
      <p:sp>
        <p:nvSpPr>
          <p:cNvPr id="133" name="object 133"/>
          <p:cNvSpPr/>
          <p:nvPr/>
        </p:nvSpPr>
        <p:spPr>
          <a:xfrm>
            <a:off x="5804944" y="5720811"/>
            <a:ext cx="6985" cy="12065"/>
          </a:xfrm>
          <a:custGeom>
            <a:avLst/>
            <a:gdLst/>
            <a:ahLst/>
            <a:cxnLst/>
            <a:rect l="l" t="t" r="r" b="b"/>
            <a:pathLst>
              <a:path w="6985" h="12064">
                <a:moveTo>
                  <a:pt x="4837" y="0"/>
                </a:moveTo>
                <a:lnTo>
                  <a:pt x="3317" y="0"/>
                </a:lnTo>
                <a:lnTo>
                  <a:pt x="2487" y="64"/>
                </a:lnTo>
                <a:lnTo>
                  <a:pt x="1031" y="341"/>
                </a:lnTo>
                <a:lnTo>
                  <a:pt x="479" y="552"/>
                </a:lnTo>
                <a:lnTo>
                  <a:pt x="0" y="691"/>
                </a:lnTo>
                <a:lnTo>
                  <a:pt x="0" y="11686"/>
                </a:lnTo>
                <a:lnTo>
                  <a:pt x="1999" y="11686"/>
                </a:lnTo>
                <a:lnTo>
                  <a:pt x="1999" y="2073"/>
                </a:lnTo>
                <a:lnTo>
                  <a:pt x="2137" y="1999"/>
                </a:lnTo>
                <a:lnTo>
                  <a:pt x="2414" y="1999"/>
                </a:lnTo>
                <a:lnTo>
                  <a:pt x="2764" y="1861"/>
                </a:lnTo>
                <a:lnTo>
                  <a:pt x="3114" y="1797"/>
                </a:lnTo>
                <a:lnTo>
                  <a:pt x="6209" y="1797"/>
                </a:lnTo>
                <a:lnTo>
                  <a:pt x="6427" y="691"/>
                </a:lnTo>
                <a:lnTo>
                  <a:pt x="6431" y="276"/>
                </a:lnTo>
                <a:lnTo>
                  <a:pt x="6293" y="276"/>
                </a:lnTo>
                <a:lnTo>
                  <a:pt x="6081" y="202"/>
                </a:lnTo>
                <a:lnTo>
                  <a:pt x="5943" y="202"/>
                </a:lnTo>
                <a:lnTo>
                  <a:pt x="5740" y="138"/>
                </a:lnTo>
                <a:lnTo>
                  <a:pt x="5463" y="138"/>
                </a:lnTo>
                <a:lnTo>
                  <a:pt x="5252" y="64"/>
                </a:lnTo>
                <a:lnTo>
                  <a:pt x="5049" y="64"/>
                </a:lnTo>
                <a:lnTo>
                  <a:pt x="4837" y="0"/>
                </a:lnTo>
                <a:close/>
              </a:path>
              <a:path w="6985" h="12064">
                <a:moveTo>
                  <a:pt x="6209" y="1797"/>
                </a:moveTo>
                <a:lnTo>
                  <a:pt x="4975" y="1797"/>
                </a:lnTo>
                <a:lnTo>
                  <a:pt x="5325" y="1861"/>
                </a:lnTo>
                <a:lnTo>
                  <a:pt x="6016" y="2073"/>
                </a:lnTo>
                <a:lnTo>
                  <a:pt x="6155" y="2073"/>
                </a:lnTo>
                <a:lnTo>
                  <a:pt x="6209" y="1797"/>
                </a:lnTo>
                <a:close/>
              </a:path>
            </a:pathLst>
          </a:custGeom>
          <a:solidFill>
            <a:srgbClr val="251242"/>
          </a:solidFill>
        </p:spPr>
        <p:txBody>
          <a:bodyPr wrap="square" lIns="0" tIns="0" rIns="0" bIns="0" rtlCol="0"/>
          <a:lstStyle/>
          <a:p>
            <a:endParaRPr/>
          </a:p>
        </p:txBody>
      </p:sp>
      <p:sp>
        <p:nvSpPr>
          <p:cNvPr id="134" name="object 134"/>
          <p:cNvSpPr/>
          <p:nvPr/>
        </p:nvSpPr>
        <p:spPr>
          <a:xfrm>
            <a:off x="5812546" y="5720737"/>
            <a:ext cx="8255" cy="12065"/>
          </a:xfrm>
          <a:custGeom>
            <a:avLst/>
            <a:gdLst/>
            <a:ahLst/>
            <a:cxnLst/>
            <a:rect l="l" t="t" r="r" b="b"/>
            <a:pathLst>
              <a:path w="8254" h="12064">
                <a:moveTo>
                  <a:pt x="350" y="9612"/>
                </a:moveTo>
                <a:lnTo>
                  <a:pt x="0" y="11410"/>
                </a:lnTo>
                <a:lnTo>
                  <a:pt x="552" y="11622"/>
                </a:lnTo>
                <a:lnTo>
                  <a:pt x="1179" y="11760"/>
                </a:lnTo>
                <a:lnTo>
                  <a:pt x="1732" y="11963"/>
                </a:lnTo>
                <a:lnTo>
                  <a:pt x="2561" y="12036"/>
                </a:lnTo>
                <a:lnTo>
                  <a:pt x="4975" y="12036"/>
                </a:lnTo>
                <a:lnTo>
                  <a:pt x="6155" y="11760"/>
                </a:lnTo>
                <a:lnTo>
                  <a:pt x="7675" y="10654"/>
                </a:lnTo>
                <a:lnTo>
                  <a:pt x="7865" y="10304"/>
                </a:lnTo>
                <a:lnTo>
                  <a:pt x="2699" y="10304"/>
                </a:lnTo>
                <a:lnTo>
                  <a:pt x="2008" y="10239"/>
                </a:lnTo>
                <a:lnTo>
                  <a:pt x="1520" y="10027"/>
                </a:lnTo>
                <a:lnTo>
                  <a:pt x="967" y="9889"/>
                </a:lnTo>
                <a:lnTo>
                  <a:pt x="626" y="9751"/>
                </a:lnTo>
                <a:lnTo>
                  <a:pt x="350" y="9612"/>
                </a:lnTo>
                <a:close/>
              </a:path>
              <a:path w="8254" h="12064">
                <a:moveTo>
                  <a:pt x="4975" y="0"/>
                </a:moveTo>
                <a:lnTo>
                  <a:pt x="3040" y="0"/>
                </a:lnTo>
                <a:lnTo>
                  <a:pt x="2073" y="350"/>
                </a:lnTo>
                <a:lnTo>
                  <a:pt x="1317" y="903"/>
                </a:lnTo>
                <a:lnTo>
                  <a:pt x="552" y="1520"/>
                </a:lnTo>
                <a:lnTo>
                  <a:pt x="253" y="2073"/>
                </a:lnTo>
                <a:lnTo>
                  <a:pt x="188" y="4018"/>
                </a:lnTo>
                <a:lnTo>
                  <a:pt x="414" y="4635"/>
                </a:lnTo>
                <a:lnTo>
                  <a:pt x="2211" y="6156"/>
                </a:lnTo>
                <a:lnTo>
                  <a:pt x="2561" y="6368"/>
                </a:lnTo>
                <a:lnTo>
                  <a:pt x="3040" y="6571"/>
                </a:lnTo>
                <a:lnTo>
                  <a:pt x="3455" y="6709"/>
                </a:lnTo>
                <a:lnTo>
                  <a:pt x="4358" y="7124"/>
                </a:lnTo>
                <a:lnTo>
                  <a:pt x="5049" y="7400"/>
                </a:lnTo>
                <a:lnTo>
                  <a:pt x="5390" y="7751"/>
                </a:lnTo>
                <a:lnTo>
                  <a:pt x="5804" y="8027"/>
                </a:lnTo>
                <a:lnTo>
                  <a:pt x="5890" y="9612"/>
                </a:lnTo>
                <a:lnTo>
                  <a:pt x="5804" y="9751"/>
                </a:lnTo>
                <a:lnTo>
                  <a:pt x="4975" y="10165"/>
                </a:lnTo>
                <a:lnTo>
                  <a:pt x="4358" y="10304"/>
                </a:lnTo>
                <a:lnTo>
                  <a:pt x="7865" y="10304"/>
                </a:lnTo>
                <a:lnTo>
                  <a:pt x="8015" y="10027"/>
                </a:lnTo>
                <a:lnTo>
                  <a:pt x="7977" y="7751"/>
                </a:lnTo>
                <a:lnTo>
                  <a:pt x="7813" y="7474"/>
                </a:lnTo>
                <a:lnTo>
                  <a:pt x="7675" y="7059"/>
                </a:lnTo>
                <a:lnTo>
                  <a:pt x="7463" y="6783"/>
                </a:lnTo>
                <a:lnTo>
                  <a:pt x="7122" y="6506"/>
                </a:lnTo>
                <a:lnTo>
                  <a:pt x="6846" y="6230"/>
                </a:lnTo>
                <a:lnTo>
                  <a:pt x="6495" y="6018"/>
                </a:lnTo>
                <a:lnTo>
                  <a:pt x="6081" y="5815"/>
                </a:lnTo>
                <a:lnTo>
                  <a:pt x="4634" y="5188"/>
                </a:lnTo>
                <a:lnTo>
                  <a:pt x="3805" y="4912"/>
                </a:lnTo>
                <a:lnTo>
                  <a:pt x="2976" y="4497"/>
                </a:lnTo>
                <a:lnTo>
                  <a:pt x="2487" y="4018"/>
                </a:lnTo>
                <a:lnTo>
                  <a:pt x="2349" y="3806"/>
                </a:lnTo>
                <a:lnTo>
                  <a:pt x="2211" y="3391"/>
                </a:lnTo>
                <a:lnTo>
                  <a:pt x="2211" y="2700"/>
                </a:lnTo>
                <a:lnTo>
                  <a:pt x="2423" y="2285"/>
                </a:lnTo>
                <a:lnTo>
                  <a:pt x="2837" y="2073"/>
                </a:lnTo>
                <a:lnTo>
                  <a:pt x="3317" y="1870"/>
                </a:lnTo>
                <a:lnTo>
                  <a:pt x="3805" y="1732"/>
                </a:lnTo>
                <a:lnTo>
                  <a:pt x="7231" y="1732"/>
                </a:lnTo>
                <a:lnTo>
                  <a:pt x="7463" y="552"/>
                </a:lnTo>
                <a:lnTo>
                  <a:pt x="7187" y="414"/>
                </a:lnTo>
                <a:lnTo>
                  <a:pt x="6772" y="276"/>
                </a:lnTo>
                <a:lnTo>
                  <a:pt x="6495" y="276"/>
                </a:lnTo>
                <a:lnTo>
                  <a:pt x="5943" y="138"/>
                </a:lnTo>
                <a:lnTo>
                  <a:pt x="5666" y="138"/>
                </a:lnTo>
                <a:lnTo>
                  <a:pt x="4975" y="0"/>
                </a:lnTo>
                <a:close/>
              </a:path>
              <a:path w="8254" h="12064">
                <a:moveTo>
                  <a:pt x="7231" y="1732"/>
                </a:moveTo>
                <a:lnTo>
                  <a:pt x="5049" y="1732"/>
                </a:lnTo>
                <a:lnTo>
                  <a:pt x="5602" y="1797"/>
                </a:lnTo>
                <a:lnTo>
                  <a:pt x="6495" y="2073"/>
                </a:lnTo>
                <a:lnTo>
                  <a:pt x="6846" y="2147"/>
                </a:lnTo>
                <a:lnTo>
                  <a:pt x="7122" y="2285"/>
                </a:lnTo>
                <a:lnTo>
                  <a:pt x="7231" y="1732"/>
                </a:lnTo>
                <a:close/>
              </a:path>
            </a:pathLst>
          </a:custGeom>
          <a:solidFill>
            <a:srgbClr val="251242"/>
          </a:solidFill>
        </p:spPr>
        <p:txBody>
          <a:bodyPr wrap="square" lIns="0" tIns="0" rIns="0" bIns="0" rtlCol="0"/>
          <a:lstStyle/>
          <a:p>
            <a:endParaRPr/>
          </a:p>
        </p:txBody>
      </p:sp>
      <p:sp>
        <p:nvSpPr>
          <p:cNvPr id="135" name="object 135"/>
          <p:cNvSpPr/>
          <p:nvPr/>
        </p:nvSpPr>
        <p:spPr>
          <a:xfrm>
            <a:off x="5828164" y="5716248"/>
            <a:ext cx="3175" cy="16510"/>
          </a:xfrm>
          <a:custGeom>
            <a:avLst/>
            <a:gdLst/>
            <a:ahLst/>
            <a:cxnLst/>
            <a:rect l="l" t="t" r="r" b="b"/>
            <a:pathLst>
              <a:path w="3175" h="16510">
                <a:moveTo>
                  <a:pt x="2349" y="4764"/>
                </a:moveTo>
                <a:lnTo>
                  <a:pt x="350" y="4764"/>
                </a:lnTo>
                <a:lnTo>
                  <a:pt x="350" y="16248"/>
                </a:lnTo>
                <a:lnTo>
                  <a:pt x="2349" y="16248"/>
                </a:lnTo>
                <a:lnTo>
                  <a:pt x="2349" y="4764"/>
                </a:lnTo>
                <a:close/>
              </a:path>
              <a:path w="3175" h="16510">
                <a:moveTo>
                  <a:pt x="1658" y="0"/>
                </a:moveTo>
                <a:lnTo>
                  <a:pt x="967" y="0"/>
                </a:lnTo>
                <a:lnTo>
                  <a:pt x="626" y="138"/>
                </a:lnTo>
                <a:lnTo>
                  <a:pt x="414" y="414"/>
                </a:lnTo>
                <a:lnTo>
                  <a:pt x="138" y="617"/>
                </a:lnTo>
                <a:lnTo>
                  <a:pt x="0" y="967"/>
                </a:lnTo>
                <a:lnTo>
                  <a:pt x="0" y="1797"/>
                </a:lnTo>
                <a:lnTo>
                  <a:pt x="138" y="2138"/>
                </a:lnTo>
                <a:lnTo>
                  <a:pt x="414" y="2350"/>
                </a:lnTo>
                <a:lnTo>
                  <a:pt x="626" y="2626"/>
                </a:lnTo>
                <a:lnTo>
                  <a:pt x="967" y="2691"/>
                </a:lnTo>
                <a:lnTo>
                  <a:pt x="1658" y="2691"/>
                </a:lnTo>
                <a:lnTo>
                  <a:pt x="2008" y="2626"/>
                </a:lnTo>
                <a:lnTo>
                  <a:pt x="2487" y="2138"/>
                </a:lnTo>
                <a:lnTo>
                  <a:pt x="2626" y="1797"/>
                </a:lnTo>
                <a:lnTo>
                  <a:pt x="2626" y="967"/>
                </a:lnTo>
                <a:lnTo>
                  <a:pt x="2487" y="617"/>
                </a:lnTo>
                <a:lnTo>
                  <a:pt x="2008" y="138"/>
                </a:lnTo>
                <a:lnTo>
                  <a:pt x="1658" y="0"/>
                </a:lnTo>
                <a:close/>
              </a:path>
            </a:pathLst>
          </a:custGeom>
          <a:solidFill>
            <a:srgbClr val="251242"/>
          </a:solidFill>
        </p:spPr>
        <p:txBody>
          <a:bodyPr wrap="square" lIns="0" tIns="0" rIns="0" bIns="0" rtlCol="0"/>
          <a:lstStyle/>
          <a:p>
            <a:endParaRPr/>
          </a:p>
        </p:txBody>
      </p:sp>
      <p:sp>
        <p:nvSpPr>
          <p:cNvPr id="136" name="object 136"/>
          <p:cNvSpPr/>
          <p:nvPr/>
        </p:nvSpPr>
        <p:spPr>
          <a:xfrm>
            <a:off x="5833702" y="5720811"/>
            <a:ext cx="9525" cy="12065"/>
          </a:xfrm>
          <a:custGeom>
            <a:avLst/>
            <a:gdLst/>
            <a:ahLst/>
            <a:cxnLst/>
            <a:rect l="l" t="t" r="r" b="b"/>
            <a:pathLst>
              <a:path w="9525" h="12064">
                <a:moveTo>
                  <a:pt x="5454" y="0"/>
                </a:moveTo>
                <a:lnTo>
                  <a:pt x="3593" y="0"/>
                </a:lnTo>
                <a:lnTo>
                  <a:pt x="2690" y="64"/>
                </a:lnTo>
                <a:lnTo>
                  <a:pt x="1105" y="341"/>
                </a:lnTo>
                <a:lnTo>
                  <a:pt x="479" y="414"/>
                </a:lnTo>
                <a:lnTo>
                  <a:pt x="0" y="552"/>
                </a:lnTo>
                <a:lnTo>
                  <a:pt x="0" y="11686"/>
                </a:lnTo>
                <a:lnTo>
                  <a:pt x="2073" y="11686"/>
                </a:lnTo>
                <a:lnTo>
                  <a:pt x="2073" y="1999"/>
                </a:lnTo>
                <a:lnTo>
                  <a:pt x="2275" y="1999"/>
                </a:lnTo>
                <a:lnTo>
                  <a:pt x="2414" y="1935"/>
                </a:lnTo>
                <a:lnTo>
                  <a:pt x="2626" y="1935"/>
                </a:lnTo>
                <a:lnTo>
                  <a:pt x="2764" y="1861"/>
                </a:lnTo>
                <a:lnTo>
                  <a:pt x="3455" y="1861"/>
                </a:lnTo>
                <a:lnTo>
                  <a:pt x="3657" y="1797"/>
                </a:lnTo>
                <a:lnTo>
                  <a:pt x="8534" y="1797"/>
                </a:lnTo>
                <a:lnTo>
                  <a:pt x="7942" y="967"/>
                </a:lnTo>
                <a:lnTo>
                  <a:pt x="7463" y="617"/>
                </a:lnTo>
                <a:lnTo>
                  <a:pt x="6836" y="341"/>
                </a:lnTo>
                <a:lnTo>
                  <a:pt x="6219" y="138"/>
                </a:lnTo>
                <a:lnTo>
                  <a:pt x="5454" y="0"/>
                </a:lnTo>
                <a:close/>
              </a:path>
              <a:path w="9525" h="12064">
                <a:moveTo>
                  <a:pt x="8534" y="1797"/>
                </a:moveTo>
                <a:lnTo>
                  <a:pt x="4901" y="1797"/>
                </a:lnTo>
                <a:lnTo>
                  <a:pt x="5316" y="1861"/>
                </a:lnTo>
                <a:lnTo>
                  <a:pt x="6081" y="2138"/>
                </a:lnTo>
                <a:lnTo>
                  <a:pt x="6357" y="2350"/>
                </a:lnTo>
                <a:lnTo>
                  <a:pt x="6836" y="2967"/>
                </a:lnTo>
                <a:lnTo>
                  <a:pt x="6975" y="3382"/>
                </a:lnTo>
                <a:lnTo>
                  <a:pt x="7048" y="3870"/>
                </a:lnTo>
                <a:lnTo>
                  <a:pt x="7187" y="4423"/>
                </a:lnTo>
                <a:lnTo>
                  <a:pt x="7187" y="11686"/>
                </a:lnTo>
                <a:lnTo>
                  <a:pt x="9260" y="11686"/>
                </a:lnTo>
                <a:lnTo>
                  <a:pt x="9186" y="3806"/>
                </a:lnTo>
                <a:lnTo>
                  <a:pt x="8910" y="2488"/>
                </a:lnTo>
                <a:lnTo>
                  <a:pt x="8633" y="1935"/>
                </a:lnTo>
                <a:lnTo>
                  <a:pt x="8534" y="1797"/>
                </a:lnTo>
                <a:close/>
              </a:path>
            </a:pathLst>
          </a:custGeom>
          <a:solidFill>
            <a:srgbClr val="251242"/>
          </a:solidFill>
        </p:spPr>
        <p:txBody>
          <a:bodyPr wrap="square" lIns="0" tIns="0" rIns="0" bIns="0" rtlCol="0"/>
          <a:lstStyle/>
          <a:p>
            <a:endParaRPr/>
          </a:p>
        </p:txBody>
      </p:sp>
      <p:sp>
        <p:nvSpPr>
          <p:cNvPr id="137" name="object 137"/>
          <p:cNvSpPr/>
          <p:nvPr/>
        </p:nvSpPr>
        <p:spPr>
          <a:xfrm>
            <a:off x="5851457" y="5717493"/>
            <a:ext cx="6985" cy="15875"/>
          </a:xfrm>
          <a:custGeom>
            <a:avLst/>
            <a:gdLst/>
            <a:ahLst/>
            <a:cxnLst/>
            <a:rect l="l" t="t" r="r" b="b"/>
            <a:pathLst>
              <a:path w="6985" h="15875">
                <a:moveTo>
                  <a:pt x="2073" y="0"/>
                </a:moveTo>
                <a:lnTo>
                  <a:pt x="0" y="341"/>
                </a:lnTo>
                <a:lnTo>
                  <a:pt x="29" y="11612"/>
                </a:lnTo>
                <a:lnTo>
                  <a:pt x="155" y="12377"/>
                </a:lnTo>
                <a:lnTo>
                  <a:pt x="2073" y="14930"/>
                </a:lnTo>
                <a:lnTo>
                  <a:pt x="2561" y="15142"/>
                </a:lnTo>
                <a:lnTo>
                  <a:pt x="3252" y="15281"/>
                </a:lnTo>
                <a:lnTo>
                  <a:pt x="4634" y="15281"/>
                </a:lnTo>
                <a:lnTo>
                  <a:pt x="5261" y="15207"/>
                </a:lnTo>
                <a:lnTo>
                  <a:pt x="5740" y="15004"/>
                </a:lnTo>
                <a:lnTo>
                  <a:pt x="6293" y="14866"/>
                </a:lnTo>
                <a:lnTo>
                  <a:pt x="6846" y="14654"/>
                </a:lnTo>
                <a:lnTo>
                  <a:pt x="6564" y="13483"/>
                </a:lnTo>
                <a:lnTo>
                  <a:pt x="3805" y="13483"/>
                </a:lnTo>
                <a:lnTo>
                  <a:pt x="3252" y="13345"/>
                </a:lnTo>
                <a:lnTo>
                  <a:pt x="2220" y="11963"/>
                </a:lnTo>
                <a:lnTo>
                  <a:pt x="2073" y="11612"/>
                </a:lnTo>
                <a:lnTo>
                  <a:pt x="2073" y="5253"/>
                </a:lnTo>
                <a:lnTo>
                  <a:pt x="6431" y="5253"/>
                </a:lnTo>
                <a:lnTo>
                  <a:pt x="6431" y="3520"/>
                </a:lnTo>
                <a:lnTo>
                  <a:pt x="2073" y="3520"/>
                </a:lnTo>
                <a:lnTo>
                  <a:pt x="2073" y="0"/>
                </a:lnTo>
                <a:close/>
              </a:path>
              <a:path w="6985" h="15875">
                <a:moveTo>
                  <a:pt x="6431" y="12930"/>
                </a:moveTo>
                <a:lnTo>
                  <a:pt x="6016" y="13133"/>
                </a:lnTo>
                <a:lnTo>
                  <a:pt x="5261" y="13410"/>
                </a:lnTo>
                <a:lnTo>
                  <a:pt x="4772" y="13483"/>
                </a:lnTo>
                <a:lnTo>
                  <a:pt x="6564" y="13483"/>
                </a:lnTo>
                <a:lnTo>
                  <a:pt x="6431" y="12930"/>
                </a:lnTo>
                <a:close/>
              </a:path>
            </a:pathLst>
          </a:custGeom>
          <a:solidFill>
            <a:srgbClr val="251242"/>
          </a:solidFill>
        </p:spPr>
        <p:txBody>
          <a:bodyPr wrap="square" lIns="0" tIns="0" rIns="0" bIns="0" rtlCol="0"/>
          <a:lstStyle/>
          <a:p>
            <a:endParaRPr/>
          </a:p>
        </p:txBody>
      </p:sp>
      <p:sp>
        <p:nvSpPr>
          <p:cNvPr id="138" name="object 138"/>
          <p:cNvSpPr/>
          <p:nvPr/>
        </p:nvSpPr>
        <p:spPr>
          <a:xfrm>
            <a:off x="5860238" y="5715419"/>
            <a:ext cx="9525" cy="17145"/>
          </a:xfrm>
          <a:custGeom>
            <a:avLst/>
            <a:gdLst/>
            <a:ahLst/>
            <a:cxnLst/>
            <a:rect l="l" t="t" r="r" b="b"/>
            <a:pathLst>
              <a:path w="9525" h="17145">
                <a:moveTo>
                  <a:pt x="2008" y="0"/>
                </a:moveTo>
                <a:lnTo>
                  <a:pt x="0" y="341"/>
                </a:lnTo>
                <a:lnTo>
                  <a:pt x="0" y="17078"/>
                </a:lnTo>
                <a:lnTo>
                  <a:pt x="2008" y="17078"/>
                </a:lnTo>
                <a:lnTo>
                  <a:pt x="2073" y="7529"/>
                </a:lnTo>
                <a:lnTo>
                  <a:pt x="2211" y="7465"/>
                </a:lnTo>
                <a:lnTo>
                  <a:pt x="2423" y="7465"/>
                </a:lnTo>
                <a:lnTo>
                  <a:pt x="2561" y="7391"/>
                </a:lnTo>
                <a:lnTo>
                  <a:pt x="2764" y="7391"/>
                </a:lnTo>
                <a:lnTo>
                  <a:pt x="2976" y="7327"/>
                </a:lnTo>
                <a:lnTo>
                  <a:pt x="3178" y="7327"/>
                </a:lnTo>
                <a:lnTo>
                  <a:pt x="3390" y="7253"/>
                </a:lnTo>
                <a:lnTo>
                  <a:pt x="3667" y="7253"/>
                </a:lnTo>
                <a:lnTo>
                  <a:pt x="3869" y="7188"/>
                </a:lnTo>
                <a:lnTo>
                  <a:pt x="8525" y="7188"/>
                </a:lnTo>
                <a:lnTo>
                  <a:pt x="8228" y="6838"/>
                </a:lnTo>
                <a:lnTo>
                  <a:pt x="7878" y="6359"/>
                </a:lnTo>
                <a:lnTo>
                  <a:pt x="7398" y="6009"/>
                </a:lnTo>
                <a:lnTo>
                  <a:pt x="7085" y="5870"/>
                </a:lnTo>
                <a:lnTo>
                  <a:pt x="2008" y="5870"/>
                </a:lnTo>
                <a:lnTo>
                  <a:pt x="2008" y="0"/>
                </a:lnTo>
                <a:close/>
              </a:path>
              <a:path w="9525" h="17145">
                <a:moveTo>
                  <a:pt x="8525" y="7188"/>
                </a:moveTo>
                <a:lnTo>
                  <a:pt x="4837" y="7188"/>
                </a:lnTo>
                <a:lnTo>
                  <a:pt x="5325" y="7253"/>
                </a:lnTo>
                <a:lnTo>
                  <a:pt x="6081" y="7529"/>
                </a:lnTo>
                <a:lnTo>
                  <a:pt x="6357" y="7741"/>
                </a:lnTo>
                <a:lnTo>
                  <a:pt x="6569" y="8082"/>
                </a:lnTo>
                <a:lnTo>
                  <a:pt x="6772" y="8359"/>
                </a:lnTo>
                <a:lnTo>
                  <a:pt x="7029" y="9198"/>
                </a:lnTo>
                <a:lnTo>
                  <a:pt x="7127" y="9889"/>
                </a:lnTo>
                <a:lnTo>
                  <a:pt x="7187" y="17078"/>
                </a:lnTo>
                <a:lnTo>
                  <a:pt x="9260" y="17078"/>
                </a:lnTo>
                <a:lnTo>
                  <a:pt x="9195" y="9198"/>
                </a:lnTo>
                <a:lnTo>
                  <a:pt x="8983" y="8497"/>
                </a:lnTo>
                <a:lnTo>
                  <a:pt x="8794" y="7741"/>
                </a:lnTo>
                <a:lnTo>
                  <a:pt x="8693" y="7465"/>
                </a:lnTo>
                <a:lnTo>
                  <a:pt x="8580" y="7253"/>
                </a:lnTo>
                <a:close/>
              </a:path>
              <a:path w="9525" h="17145">
                <a:moveTo>
                  <a:pt x="5463" y="5391"/>
                </a:moveTo>
                <a:lnTo>
                  <a:pt x="3667" y="5391"/>
                </a:lnTo>
                <a:lnTo>
                  <a:pt x="3252" y="5529"/>
                </a:lnTo>
                <a:lnTo>
                  <a:pt x="2423" y="5668"/>
                </a:lnTo>
                <a:lnTo>
                  <a:pt x="2008" y="5870"/>
                </a:lnTo>
                <a:lnTo>
                  <a:pt x="7085" y="5870"/>
                </a:lnTo>
                <a:lnTo>
                  <a:pt x="6772" y="5732"/>
                </a:lnTo>
                <a:lnTo>
                  <a:pt x="6219" y="5529"/>
                </a:lnTo>
                <a:lnTo>
                  <a:pt x="5463" y="5391"/>
                </a:lnTo>
                <a:close/>
              </a:path>
            </a:pathLst>
          </a:custGeom>
          <a:solidFill>
            <a:srgbClr val="251242"/>
          </a:solidFill>
        </p:spPr>
        <p:txBody>
          <a:bodyPr wrap="square" lIns="0" tIns="0" rIns="0" bIns="0" rtlCol="0"/>
          <a:lstStyle/>
          <a:p>
            <a:endParaRPr/>
          </a:p>
        </p:txBody>
      </p:sp>
      <p:sp>
        <p:nvSpPr>
          <p:cNvPr id="139" name="object 139"/>
          <p:cNvSpPr/>
          <p:nvPr/>
        </p:nvSpPr>
        <p:spPr>
          <a:xfrm>
            <a:off x="5871922" y="5720737"/>
            <a:ext cx="10160" cy="12065"/>
          </a:xfrm>
          <a:custGeom>
            <a:avLst/>
            <a:gdLst/>
            <a:ahLst/>
            <a:cxnLst/>
            <a:rect l="l" t="t" r="r" b="b"/>
            <a:pathLst>
              <a:path w="10160" h="12064">
                <a:moveTo>
                  <a:pt x="6772" y="0"/>
                </a:moveTo>
                <a:lnTo>
                  <a:pt x="4560" y="0"/>
                </a:lnTo>
                <a:lnTo>
                  <a:pt x="3934" y="138"/>
                </a:lnTo>
                <a:lnTo>
                  <a:pt x="3317" y="414"/>
                </a:lnTo>
                <a:lnTo>
                  <a:pt x="2626" y="626"/>
                </a:lnTo>
                <a:lnTo>
                  <a:pt x="0" y="6921"/>
                </a:lnTo>
                <a:lnTo>
                  <a:pt x="156" y="7815"/>
                </a:lnTo>
                <a:lnTo>
                  <a:pt x="4772" y="12036"/>
                </a:lnTo>
                <a:lnTo>
                  <a:pt x="6569" y="12036"/>
                </a:lnTo>
                <a:lnTo>
                  <a:pt x="7260" y="11963"/>
                </a:lnTo>
                <a:lnTo>
                  <a:pt x="8504" y="11686"/>
                </a:lnTo>
                <a:lnTo>
                  <a:pt x="8983" y="11548"/>
                </a:lnTo>
                <a:lnTo>
                  <a:pt x="9195" y="11410"/>
                </a:lnTo>
                <a:lnTo>
                  <a:pt x="9007" y="10239"/>
                </a:lnTo>
                <a:lnTo>
                  <a:pt x="4699" y="10239"/>
                </a:lnTo>
                <a:lnTo>
                  <a:pt x="3796" y="9889"/>
                </a:lnTo>
                <a:lnTo>
                  <a:pt x="3178" y="9336"/>
                </a:lnTo>
                <a:lnTo>
                  <a:pt x="2552" y="8718"/>
                </a:lnTo>
                <a:lnTo>
                  <a:pt x="2211" y="7815"/>
                </a:lnTo>
                <a:lnTo>
                  <a:pt x="2137" y="6571"/>
                </a:lnTo>
                <a:lnTo>
                  <a:pt x="10024" y="6571"/>
                </a:lnTo>
                <a:lnTo>
                  <a:pt x="10024" y="4912"/>
                </a:lnTo>
                <a:lnTo>
                  <a:pt x="2211" y="4912"/>
                </a:lnTo>
                <a:lnTo>
                  <a:pt x="2211" y="4571"/>
                </a:lnTo>
                <a:lnTo>
                  <a:pt x="4699" y="1732"/>
                </a:lnTo>
                <a:lnTo>
                  <a:pt x="9017" y="1732"/>
                </a:lnTo>
                <a:lnTo>
                  <a:pt x="7951" y="488"/>
                </a:lnTo>
                <a:lnTo>
                  <a:pt x="6772" y="0"/>
                </a:lnTo>
                <a:close/>
              </a:path>
              <a:path w="10160" h="12064">
                <a:moveTo>
                  <a:pt x="8919" y="9686"/>
                </a:moveTo>
                <a:lnTo>
                  <a:pt x="8707" y="9824"/>
                </a:lnTo>
                <a:lnTo>
                  <a:pt x="8292" y="9889"/>
                </a:lnTo>
                <a:lnTo>
                  <a:pt x="7325" y="10165"/>
                </a:lnTo>
                <a:lnTo>
                  <a:pt x="6707" y="10239"/>
                </a:lnTo>
                <a:lnTo>
                  <a:pt x="9007" y="10239"/>
                </a:lnTo>
                <a:lnTo>
                  <a:pt x="8919" y="9686"/>
                </a:lnTo>
                <a:close/>
              </a:path>
              <a:path w="10160" h="12064">
                <a:moveTo>
                  <a:pt x="9017" y="1732"/>
                </a:moveTo>
                <a:lnTo>
                  <a:pt x="6016" y="1732"/>
                </a:lnTo>
                <a:lnTo>
                  <a:pt x="6707" y="2073"/>
                </a:lnTo>
                <a:lnTo>
                  <a:pt x="7187" y="2626"/>
                </a:lnTo>
                <a:lnTo>
                  <a:pt x="7675" y="3253"/>
                </a:lnTo>
                <a:lnTo>
                  <a:pt x="7804" y="3741"/>
                </a:lnTo>
                <a:lnTo>
                  <a:pt x="7878" y="4912"/>
                </a:lnTo>
                <a:lnTo>
                  <a:pt x="10024" y="4912"/>
                </a:lnTo>
                <a:lnTo>
                  <a:pt x="9985" y="3741"/>
                </a:lnTo>
                <a:lnTo>
                  <a:pt x="9610" y="2423"/>
                </a:lnTo>
                <a:lnTo>
                  <a:pt x="9017" y="1732"/>
                </a:lnTo>
                <a:close/>
              </a:path>
            </a:pathLst>
          </a:custGeom>
          <a:solidFill>
            <a:srgbClr val="251242"/>
          </a:solidFill>
        </p:spPr>
        <p:txBody>
          <a:bodyPr wrap="square" lIns="0" tIns="0" rIns="0" bIns="0" rtlCol="0"/>
          <a:lstStyle/>
          <a:p>
            <a:endParaRPr/>
          </a:p>
        </p:txBody>
      </p:sp>
      <p:sp>
        <p:nvSpPr>
          <p:cNvPr id="140" name="object 140"/>
          <p:cNvSpPr/>
          <p:nvPr/>
        </p:nvSpPr>
        <p:spPr>
          <a:xfrm>
            <a:off x="5889198" y="5715419"/>
            <a:ext cx="10795" cy="17780"/>
          </a:xfrm>
          <a:custGeom>
            <a:avLst/>
            <a:gdLst/>
            <a:ahLst/>
            <a:cxnLst/>
            <a:rect l="l" t="t" r="r" b="b"/>
            <a:pathLst>
              <a:path w="10795" h="17779">
                <a:moveTo>
                  <a:pt x="5666" y="5253"/>
                </a:moveTo>
                <a:lnTo>
                  <a:pt x="4358" y="5253"/>
                </a:lnTo>
                <a:lnTo>
                  <a:pt x="3667" y="5391"/>
                </a:lnTo>
                <a:lnTo>
                  <a:pt x="2349" y="5944"/>
                </a:lnTo>
                <a:lnTo>
                  <a:pt x="1796" y="6359"/>
                </a:lnTo>
                <a:lnTo>
                  <a:pt x="1382" y="6912"/>
                </a:lnTo>
                <a:lnTo>
                  <a:pt x="967" y="7391"/>
                </a:lnTo>
                <a:lnTo>
                  <a:pt x="571" y="8221"/>
                </a:lnTo>
                <a:lnTo>
                  <a:pt x="350" y="8774"/>
                </a:lnTo>
                <a:lnTo>
                  <a:pt x="138" y="9539"/>
                </a:lnTo>
                <a:lnTo>
                  <a:pt x="0" y="10442"/>
                </a:lnTo>
                <a:lnTo>
                  <a:pt x="0" y="12304"/>
                </a:lnTo>
                <a:lnTo>
                  <a:pt x="3529" y="16940"/>
                </a:lnTo>
                <a:lnTo>
                  <a:pt x="4220" y="17216"/>
                </a:lnTo>
                <a:lnTo>
                  <a:pt x="5113" y="17354"/>
                </a:lnTo>
                <a:lnTo>
                  <a:pt x="7325" y="17354"/>
                </a:lnTo>
                <a:lnTo>
                  <a:pt x="8154" y="17216"/>
                </a:lnTo>
                <a:lnTo>
                  <a:pt x="8569" y="17216"/>
                </a:lnTo>
                <a:lnTo>
                  <a:pt x="9748" y="17004"/>
                </a:lnTo>
                <a:lnTo>
                  <a:pt x="10163" y="16866"/>
                </a:lnTo>
                <a:lnTo>
                  <a:pt x="10789" y="16728"/>
                </a:lnTo>
                <a:lnTo>
                  <a:pt x="10789" y="14589"/>
                </a:lnTo>
                <a:lnTo>
                  <a:pt x="5187" y="14589"/>
                </a:lnTo>
                <a:lnTo>
                  <a:pt x="4496" y="14239"/>
                </a:lnTo>
                <a:lnTo>
                  <a:pt x="3593" y="13069"/>
                </a:lnTo>
                <a:lnTo>
                  <a:pt x="3406" y="12304"/>
                </a:lnTo>
                <a:lnTo>
                  <a:pt x="3390" y="9059"/>
                </a:lnTo>
                <a:lnTo>
                  <a:pt x="4146" y="8018"/>
                </a:lnTo>
                <a:lnTo>
                  <a:pt x="10789" y="8018"/>
                </a:lnTo>
                <a:lnTo>
                  <a:pt x="10789" y="5732"/>
                </a:lnTo>
                <a:lnTo>
                  <a:pt x="7537" y="5732"/>
                </a:lnTo>
                <a:lnTo>
                  <a:pt x="6772" y="5456"/>
                </a:lnTo>
                <a:lnTo>
                  <a:pt x="5666" y="5253"/>
                </a:lnTo>
                <a:close/>
              </a:path>
              <a:path w="10795" h="17779">
                <a:moveTo>
                  <a:pt x="10789" y="8018"/>
                </a:moveTo>
                <a:lnTo>
                  <a:pt x="6016" y="8018"/>
                </a:lnTo>
                <a:lnTo>
                  <a:pt x="7048" y="8221"/>
                </a:lnTo>
                <a:lnTo>
                  <a:pt x="7325" y="8359"/>
                </a:lnTo>
                <a:lnTo>
                  <a:pt x="7537" y="8497"/>
                </a:lnTo>
                <a:lnTo>
                  <a:pt x="7537" y="14451"/>
                </a:lnTo>
                <a:lnTo>
                  <a:pt x="7325" y="14516"/>
                </a:lnTo>
                <a:lnTo>
                  <a:pt x="6910" y="14516"/>
                </a:lnTo>
                <a:lnTo>
                  <a:pt x="6634" y="14589"/>
                </a:lnTo>
                <a:lnTo>
                  <a:pt x="10789" y="14589"/>
                </a:lnTo>
                <a:lnTo>
                  <a:pt x="10789" y="8018"/>
                </a:lnTo>
                <a:close/>
              </a:path>
              <a:path w="10795" h="17779">
                <a:moveTo>
                  <a:pt x="10789" y="0"/>
                </a:moveTo>
                <a:lnTo>
                  <a:pt x="7537" y="479"/>
                </a:lnTo>
                <a:lnTo>
                  <a:pt x="7537" y="5732"/>
                </a:lnTo>
                <a:lnTo>
                  <a:pt x="10789" y="5732"/>
                </a:lnTo>
                <a:lnTo>
                  <a:pt x="10789" y="0"/>
                </a:lnTo>
                <a:close/>
              </a:path>
            </a:pathLst>
          </a:custGeom>
          <a:solidFill>
            <a:srgbClr val="127ABB"/>
          </a:solidFill>
        </p:spPr>
        <p:txBody>
          <a:bodyPr wrap="square" lIns="0" tIns="0" rIns="0" bIns="0" rtlCol="0"/>
          <a:lstStyle/>
          <a:p>
            <a:endParaRPr/>
          </a:p>
        </p:txBody>
      </p:sp>
      <p:sp>
        <p:nvSpPr>
          <p:cNvPr id="141" name="object 141"/>
          <p:cNvSpPr/>
          <p:nvPr/>
        </p:nvSpPr>
        <p:spPr>
          <a:xfrm>
            <a:off x="5902540" y="5715622"/>
            <a:ext cx="4445" cy="17145"/>
          </a:xfrm>
          <a:custGeom>
            <a:avLst/>
            <a:gdLst/>
            <a:ahLst/>
            <a:cxnLst/>
            <a:rect l="l" t="t" r="r" b="b"/>
            <a:pathLst>
              <a:path w="4445" h="17145">
                <a:moveTo>
                  <a:pt x="3593" y="5253"/>
                </a:moveTo>
                <a:lnTo>
                  <a:pt x="350" y="5253"/>
                </a:lnTo>
                <a:lnTo>
                  <a:pt x="350" y="16875"/>
                </a:lnTo>
                <a:lnTo>
                  <a:pt x="3593" y="16875"/>
                </a:lnTo>
                <a:lnTo>
                  <a:pt x="3593" y="5253"/>
                </a:lnTo>
                <a:close/>
              </a:path>
              <a:path w="4445" h="17145">
                <a:moveTo>
                  <a:pt x="2487" y="0"/>
                </a:moveTo>
                <a:lnTo>
                  <a:pt x="1455" y="0"/>
                </a:lnTo>
                <a:lnTo>
                  <a:pt x="967" y="138"/>
                </a:lnTo>
                <a:lnTo>
                  <a:pt x="552" y="488"/>
                </a:lnTo>
                <a:lnTo>
                  <a:pt x="211" y="829"/>
                </a:lnTo>
                <a:lnTo>
                  <a:pt x="0" y="1317"/>
                </a:lnTo>
                <a:lnTo>
                  <a:pt x="0" y="2562"/>
                </a:lnTo>
                <a:lnTo>
                  <a:pt x="211" y="3041"/>
                </a:lnTo>
                <a:lnTo>
                  <a:pt x="552" y="3391"/>
                </a:lnTo>
                <a:lnTo>
                  <a:pt x="967" y="3732"/>
                </a:lnTo>
                <a:lnTo>
                  <a:pt x="1455" y="3870"/>
                </a:lnTo>
                <a:lnTo>
                  <a:pt x="2487" y="3870"/>
                </a:lnTo>
                <a:lnTo>
                  <a:pt x="2902" y="3732"/>
                </a:lnTo>
                <a:lnTo>
                  <a:pt x="3731" y="3041"/>
                </a:lnTo>
                <a:lnTo>
                  <a:pt x="3943" y="2562"/>
                </a:lnTo>
                <a:lnTo>
                  <a:pt x="3943" y="1317"/>
                </a:lnTo>
                <a:lnTo>
                  <a:pt x="3731" y="829"/>
                </a:lnTo>
                <a:lnTo>
                  <a:pt x="2902" y="138"/>
                </a:lnTo>
                <a:lnTo>
                  <a:pt x="2487" y="0"/>
                </a:lnTo>
                <a:close/>
              </a:path>
            </a:pathLst>
          </a:custGeom>
          <a:solidFill>
            <a:srgbClr val="127ABB"/>
          </a:solidFill>
        </p:spPr>
        <p:txBody>
          <a:bodyPr wrap="square" lIns="0" tIns="0" rIns="0" bIns="0" rtlCol="0"/>
          <a:lstStyle/>
          <a:p>
            <a:endParaRPr/>
          </a:p>
        </p:txBody>
      </p:sp>
      <p:sp>
        <p:nvSpPr>
          <p:cNvPr id="142" name="object 142"/>
          <p:cNvSpPr/>
          <p:nvPr/>
        </p:nvSpPr>
        <p:spPr>
          <a:xfrm>
            <a:off x="5908389" y="5720672"/>
            <a:ext cx="10795" cy="16510"/>
          </a:xfrm>
          <a:custGeom>
            <a:avLst/>
            <a:gdLst/>
            <a:ahLst/>
            <a:cxnLst/>
            <a:rect l="l" t="t" r="r" b="b"/>
            <a:pathLst>
              <a:path w="10795" h="16510">
                <a:moveTo>
                  <a:pt x="1061" y="12516"/>
                </a:moveTo>
                <a:lnTo>
                  <a:pt x="509" y="15281"/>
                </a:lnTo>
                <a:lnTo>
                  <a:pt x="1752" y="15695"/>
                </a:lnTo>
                <a:lnTo>
                  <a:pt x="2444" y="15834"/>
                </a:lnTo>
                <a:lnTo>
                  <a:pt x="3899" y="15972"/>
                </a:lnTo>
                <a:lnTo>
                  <a:pt x="6590" y="15972"/>
                </a:lnTo>
                <a:lnTo>
                  <a:pt x="8046" y="15557"/>
                </a:lnTo>
                <a:lnTo>
                  <a:pt x="9013" y="14589"/>
                </a:lnTo>
                <a:lnTo>
                  <a:pt x="9981" y="13686"/>
                </a:lnTo>
                <a:lnTo>
                  <a:pt x="10147" y="13207"/>
                </a:lnTo>
                <a:lnTo>
                  <a:pt x="3899" y="13207"/>
                </a:lnTo>
                <a:lnTo>
                  <a:pt x="3273" y="13133"/>
                </a:lnTo>
                <a:lnTo>
                  <a:pt x="2720" y="12995"/>
                </a:lnTo>
                <a:lnTo>
                  <a:pt x="2103" y="12930"/>
                </a:lnTo>
                <a:lnTo>
                  <a:pt x="1614" y="12718"/>
                </a:lnTo>
                <a:lnTo>
                  <a:pt x="1061" y="12516"/>
                </a:lnTo>
                <a:close/>
              </a:path>
              <a:path w="10795" h="16510">
                <a:moveTo>
                  <a:pt x="10460" y="10580"/>
                </a:moveTo>
                <a:lnTo>
                  <a:pt x="7216" y="10580"/>
                </a:lnTo>
                <a:lnTo>
                  <a:pt x="7216" y="11612"/>
                </a:lnTo>
                <a:lnTo>
                  <a:pt x="7004" y="12165"/>
                </a:lnTo>
                <a:lnTo>
                  <a:pt x="6590" y="12580"/>
                </a:lnTo>
                <a:lnTo>
                  <a:pt x="6249" y="12995"/>
                </a:lnTo>
                <a:lnTo>
                  <a:pt x="5558" y="13207"/>
                </a:lnTo>
                <a:lnTo>
                  <a:pt x="10147" y="13207"/>
                </a:lnTo>
                <a:lnTo>
                  <a:pt x="10364" y="12580"/>
                </a:lnTo>
                <a:lnTo>
                  <a:pt x="10460" y="10580"/>
                </a:lnTo>
                <a:close/>
              </a:path>
              <a:path w="10795" h="16510">
                <a:moveTo>
                  <a:pt x="7078" y="0"/>
                </a:moveTo>
                <a:lnTo>
                  <a:pt x="4931" y="0"/>
                </a:lnTo>
                <a:lnTo>
                  <a:pt x="4102" y="138"/>
                </a:lnTo>
                <a:lnTo>
                  <a:pt x="3346" y="414"/>
                </a:lnTo>
                <a:lnTo>
                  <a:pt x="2582" y="617"/>
                </a:lnTo>
                <a:lnTo>
                  <a:pt x="0" y="7539"/>
                </a:lnTo>
                <a:lnTo>
                  <a:pt x="370" y="8709"/>
                </a:lnTo>
                <a:lnTo>
                  <a:pt x="1200" y="9677"/>
                </a:lnTo>
                <a:lnTo>
                  <a:pt x="2029" y="10580"/>
                </a:lnTo>
                <a:lnTo>
                  <a:pt x="3273" y="11059"/>
                </a:lnTo>
                <a:lnTo>
                  <a:pt x="5761" y="11059"/>
                </a:lnTo>
                <a:lnTo>
                  <a:pt x="6111" y="10921"/>
                </a:lnTo>
                <a:lnTo>
                  <a:pt x="6452" y="10857"/>
                </a:lnTo>
                <a:lnTo>
                  <a:pt x="7216" y="10580"/>
                </a:lnTo>
                <a:lnTo>
                  <a:pt x="10460" y="10580"/>
                </a:lnTo>
                <a:lnTo>
                  <a:pt x="10460" y="8433"/>
                </a:lnTo>
                <a:lnTo>
                  <a:pt x="4038" y="8433"/>
                </a:lnTo>
                <a:lnTo>
                  <a:pt x="3273" y="7539"/>
                </a:lnTo>
                <a:lnTo>
                  <a:pt x="3273" y="4774"/>
                </a:lnTo>
                <a:lnTo>
                  <a:pt x="3485" y="4082"/>
                </a:lnTo>
                <a:lnTo>
                  <a:pt x="3899" y="3456"/>
                </a:lnTo>
                <a:lnTo>
                  <a:pt x="4314" y="2903"/>
                </a:lnTo>
                <a:lnTo>
                  <a:pt x="5005" y="2626"/>
                </a:lnTo>
                <a:lnTo>
                  <a:pt x="10460" y="2626"/>
                </a:lnTo>
                <a:lnTo>
                  <a:pt x="10460" y="617"/>
                </a:lnTo>
                <a:lnTo>
                  <a:pt x="9492" y="414"/>
                </a:lnTo>
                <a:lnTo>
                  <a:pt x="9078" y="276"/>
                </a:lnTo>
                <a:lnTo>
                  <a:pt x="8737" y="202"/>
                </a:lnTo>
                <a:lnTo>
                  <a:pt x="8322" y="202"/>
                </a:lnTo>
                <a:lnTo>
                  <a:pt x="7078" y="0"/>
                </a:lnTo>
                <a:close/>
              </a:path>
              <a:path w="10795" h="16510">
                <a:moveTo>
                  <a:pt x="10460" y="2626"/>
                </a:moveTo>
                <a:lnTo>
                  <a:pt x="6664" y="2626"/>
                </a:lnTo>
                <a:lnTo>
                  <a:pt x="6866" y="2691"/>
                </a:lnTo>
                <a:lnTo>
                  <a:pt x="7004" y="2691"/>
                </a:lnTo>
                <a:lnTo>
                  <a:pt x="7216" y="2764"/>
                </a:lnTo>
                <a:lnTo>
                  <a:pt x="7216" y="7953"/>
                </a:lnTo>
                <a:lnTo>
                  <a:pt x="7004" y="8092"/>
                </a:lnTo>
                <a:lnTo>
                  <a:pt x="6728" y="8230"/>
                </a:lnTo>
                <a:lnTo>
                  <a:pt x="5834" y="8433"/>
                </a:lnTo>
                <a:lnTo>
                  <a:pt x="10460" y="8433"/>
                </a:lnTo>
                <a:lnTo>
                  <a:pt x="10460" y="2626"/>
                </a:lnTo>
                <a:close/>
              </a:path>
            </a:pathLst>
          </a:custGeom>
          <a:solidFill>
            <a:srgbClr val="127ABB"/>
          </a:solidFill>
        </p:spPr>
        <p:txBody>
          <a:bodyPr wrap="square" lIns="0" tIns="0" rIns="0" bIns="0" rtlCol="0"/>
          <a:lstStyle/>
          <a:p>
            <a:endParaRPr/>
          </a:p>
        </p:txBody>
      </p:sp>
      <p:sp>
        <p:nvSpPr>
          <p:cNvPr id="143" name="object 143"/>
          <p:cNvSpPr/>
          <p:nvPr/>
        </p:nvSpPr>
        <p:spPr>
          <a:xfrm>
            <a:off x="5921411" y="5715622"/>
            <a:ext cx="4445" cy="17145"/>
          </a:xfrm>
          <a:custGeom>
            <a:avLst/>
            <a:gdLst/>
            <a:ahLst/>
            <a:cxnLst/>
            <a:rect l="l" t="t" r="r" b="b"/>
            <a:pathLst>
              <a:path w="4445" h="17145">
                <a:moveTo>
                  <a:pt x="3593" y="5253"/>
                </a:moveTo>
                <a:lnTo>
                  <a:pt x="340" y="5253"/>
                </a:lnTo>
                <a:lnTo>
                  <a:pt x="340" y="16875"/>
                </a:lnTo>
                <a:lnTo>
                  <a:pt x="3593" y="16875"/>
                </a:lnTo>
                <a:lnTo>
                  <a:pt x="3593" y="5253"/>
                </a:lnTo>
                <a:close/>
              </a:path>
              <a:path w="4445" h="17145">
                <a:moveTo>
                  <a:pt x="2487" y="0"/>
                </a:moveTo>
                <a:lnTo>
                  <a:pt x="1455" y="0"/>
                </a:lnTo>
                <a:lnTo>
                  <a:pt x="967" y="138"/>
                </a:lnTo>
                <a:lnTo>
                  <a:pt x="552" y="488"/>
                </a:lnTo>
                <a:lnTo>
                  <a:pt x="202" y="829"/>
                </a:lnTo>
                <a:lnTo>
                  <a:pt x="0" y="1317"/>
                </a:lnTo>
                <a:lnTo>
                  <a:pt x="0" y="2562"/>
                </a:lnTo>
                <a:lnTo>
                  <a:pt x="202" y="3041"/>
                </a:lnTo>
                <a:lnTo>
                  <a:pt x="552" y="3391"/>
                </a:lnTo>
                <a:lnTo>
                  <a:pt x="967" y="3732"/>
                </a:lnTo>
                <a:lnTo>
                  <a:pt x="1455" y="3870"/>
                </a:lnTo>
                <a:lnTo>
                  <a:pt x="2487" y="3870"/>
                </a:lnTo>
                <a:lnTo>
                  <a:pt x="2976" y="3732"/>
                </a:lnTo>
                <a:lnTo>
                  <a:pt x="3317" y="3391"/>
                </a:lnTo>
                <a:lnTo>
                  <a:pt x="3731" y="3041"/>
                </a:lnTo>
                <a:lnTo>
                  <a:pt x="3943" y="2562"/>
                </a:lnTo>
                <a:lnTo>
                  <a:pt x="3943" y="1317"/>
                </a:lnTo>
                <a:lnTo>
                  <a:pt x="3731" y="829"/>
                </a:lnTo>
                <a:lnTo>
                  <a:pt x="3317" y="488"/>
                </a:lnTo>
                <a:lnTo>
                  <a:pt x="2976" y="138"/>
                </a:lnTo>
                <a:lnTo>
                  <a:pt x="2487" y="0"/>
                </a:lnTo>
                <a:close/>
              </a:path>
            </a:pathLst>
          </a:custGeom>
          <a:solidFill>
            <a:srgbClr val="127ABB"/>
          </a:solidFill>
        </p:spPr>
        <p:txBody>
          <a:bodyPr wrap="square" lIns="0" tIns="0" rIns="0" bIns="0" rtlCol="0"/>
          <a:lstStyle/>
          <a:p>
            <a:endParaRPr/>
          </a:p>
        </p:txBody>
      </p:sp>
      <p:sp>
        <p:nvSpPr>
          <p:cNvPr id="144" name="object 144"/>
          <p:cNvSpPr/>
          <p:nvPr/>
        </p:nvSpPr>
        <p:spPr>
          <a:xfrm>
            <a:off x="5927768" y="5717493"/>
            <a:ext cx="8255" cy="15875"/>
          </a:xfrm>
          <a:custGeom>
            <a:avLst/>
            <a:gdLst/>
            <a:ahLst/>
            <a:cxnLst/>
            <a:rect l="l" t="t" r="r" b="b"/>
            <a:pathLst>
              <a:path w="8254" h="15875">
                <a:moveTo>
                  <a:pt x="3252" y="0"/>
                </a:moveTo>
                <a:lnTo>
                  <a:pt x="0" y="552"/>
                </a:lnTo>
                <a:lnTo>
                  <a:pt x="118" y="11889"/>
                </a:lnTo>
                <a:lnTo>
                  <a:pt x="350" y="12930"/>
                </a:lnTo>
                <a:lnTo>
                  <a:pt x="3667" y="15281"/>
                </a:lnTo>
                <a:lnTo>
                  <a:pt x="5252" y="15281"/>
                </a:lnTo>
                <a:lnTo>
                  <a:pt x="6357" y="15142"/>
                </a:lnTo>
                <a:lnTo>
                  <a:pt x="7260" y="14866"/>
                </a:lnTo>
                <a:lnTo>
                  <a:pt x="7675" y="14654"/>
                </a:lnTo>
                <a:lnTo>
                  <a:pt x="7266" y="12516"/>
                </a:lnTo>
                <a:lnTo>
                  <a:pt x="4358" y="12516"/>
                </a:lnTo>
                <a:lnTo>
                  <a:pt x="3869" y="12304"/>
                </a:lnTo>
                <a:lnTo>
                  <a:pt x="3593" y="11889"/>
                </a:lnTo>
                <a:lnTo>
                  <a:pt x="3390" y="11474"/>
                </a:lnTo>
                <a:lnTo>
                  <a:pt x="3287" y="11059"/>
                </a:lnTo>
                <a:lnTo>
                  <a:pt x="3252" y="6147"/>
                </a:lnTo>
                <a:lnTo>
                  <a:pt x="7187" y="6147"/>
                </a:lnTo>
                <a:lnTo>
                  <a:pt x="7187" y="3382"/>
                </a:lnTo>
                <a:lnTo>
                  <a:pt x="3252" y="3382"/>
                </a:lnTo>
                <a:lnTo>
                  <a:pt x="3252" y="0"/>
                </a:lnTo>
                <a:close/>
              </a:path>
              <a:path w="8254" h="15875">
                <a:moveTo>
                  <a:pt x="7187" y="12101"/>
                </a:moveTo>
                <a:lnTo>
                  <a:pt x="6910" y="12239"/>
                </a:lnTo>
                <a:lnTo>
                  <a:pt x="6569" y="12377"/>
                </a:lnTo>
                <a:lnTo>
                  <a:pt x="6155" y="12377"/>
                </a:lnTo>
                <a:lnTo>
                  <a:pt x="5463" y="12516"/>
                </a:lnTo>
                <a:lnTo>
                  <a:pt x="7266" y="12516"/>
                </a:lnTo>
                <a:lnTo>
                  <a:pt x="7187" y="12101"/>
                </a:lnTo>
                <a:close/>
              </a:path>
            </a:pathLst>
          </a:custGeom>
          <a:solidFill>
            <a:srgbClr val="127ABB"/>
          </a:solidFill>
        </p:spPr>
        <p:txBody>
          <a:bodyPr wrap="square" lIns="0" tIns="0" rIns="0" bIns="0" rtlCol="0"/>
          <a:lstStyle/>
          <a:p>
            <a:endParaRPr/>
          </a:p>
        </p:txBody>
      </p:sp>
      <p:sp>
        <p:nvSpPr>
          <p:cNvPr id="145" name="object 145"/>
          <p:cNvSpPr/>
          <p:nvPr/>
        </p:nvSpPr>
        <p:spPr>
          <a:xfrm>
            <a:off x="5936752" y="5720599"/>
            <a:ext cx="10160" cy="12700"/>
          </a:xfrm>
          <a:custGeom>
            <a:avLst/>
            <a:gdLst/>
            <a:ahLst/>
            <a:cxnLst/>
            <a:rect l="l" t="t" r="r" b="b"/>
            <a:pathLst>
              <a:path w="10160" h="12700">
                <a:moveTo>
                  <a:pt x="5602" y="4709"/>
                </a:moveTo>
                <a:lnTo>
                  <a:pt x="4146" y="4709"/>
                </a:lnTo>
                <a:lnTo>
                  <a:pt x="3529" y="4774"/>
                </a:lnTo>
                <a:lnTo>
                  <a:pt x="2976" y="4912"/>
                </a:lnTo>
                <a:lnTo>
                  <a:pt x="2349" y="4986"/>
                </a:lnTo>
                <a:lnTo>
                  <a:pt x="0" y="9612"/>
                </a:lnTo>
                <a:lnTo>
                  <a:pt x="276" y="10101"/>
                </a:lnTo>
                <a:lnTo>
                  <a:pt x="488" y="10580"/>
                </a:lnTo>
                <a:lnTo>
                  <a:pt x="4146" y="12175"/>
                </a:lnTo>
                <a:lnTo>
                  <a:pt x="6081" y="12175"/>
                </a:lnTo>
                <a:lnTo>
                  <a:pt x="7048" y="12101"/>
                </a:lnTo>
                <a:lnTo>
                  <a:pt x="8781" y="11824"/>
                </a:lnTo>
                <a:lnTo>
                  <a:pt x="9407" y="11686"/>
                </a:lnTo>
                <a:lnTo>
                  <a:pt x="9886" y="11548"/>
                </a:lnTo>
                <a:lnTo>
                  <a:pt x="9886" y="9612"/>
                </a:lnTo>
                <a:lnTo>
                  <a:pt x="4496" y="9612"/>
                </a:lnTo>
                <a:lnTo>
                  <a:pt x="4008" y="9548"/>
                </a:lnTo>
                <a:lnTo>
                  <a:pt x="3317" y="9133"/>
                </a:lnTo>
                <a:lnTo>
                  <a:pt x="3317" y="7612"/>
                </a:lnTo>
                <a:lnTo>
                  <a:pt x="3455" y="7400"/>
                </a:lnTo>
                <a:lnTo>
                  <a:pt x="3593" y="7262"/>
                </a:lnTo>
                <a:lnTo>
                  <a:pt x="3805" y="7198"/>
                </a:lnTo>
                <a:lnTo>
                  <a:pt x="4008" y="7059"/>
                </a:lnTo>
                <a:lnTo>
                  <a:pt x="4284" y="6986"/>
                </a:lnTo>
                <a:lnTo>
                  <a:pt x="4560" y="6986"/>
                </a:lnTo>
                <a:lnTo>
                  <a:pt x="4837" y="6921"/>
                </a:lnTo>
                <a:lnTo>
                  <a:pt x="9886" y="6921"/>
                </a:lnTo>
                <a:lnTo>
                  <a:pt x="9886" y="4912"/>
                </a:lnTo>
                <a:lnTo>
                  <a:pt x="6707" y="4912"/>
                </a:lnTo>
                <a:lnTo>
                  <a:pt x="6293" y="4774"/>
                </a:lnTo>
                <a:lnTo>
                  <a:pt x="5943" y="4774"/>
                </a:lnTo>
                <a:lnTo>
                  <a:pt x="5602" y="4709"/>
                </a:lnTo>
                <a:close/>
              </a:path>
              <a:path w="10160" h="12700">
                <a:moveTo>
                  <a:pt x="9886" y="6921"/>
                </a:moveTo>
                <a:lnTo>
                  <a:pt x="6155" y="6921"/>
                </a:lnTo>
                <a:lnTo>
                  <a:pt x="6431" y="6986"/>
                </a:lnTo>
                <a:lnTo>
                  <a:pt x="6569" y="6986"/>
                </a:lnTo>
                <a:lnTo>
                  <a:pt x="6707" y="7059"/>
                </a:lnTo>
                <a:lnTo>
                  <a:pt x="6707" y="9548"/>
                </a:lnTo>
                <a:lnTo>
                  <a:pt x="6569" y="9548"/>
                </a:lnTo>
                <a:lnTo>
                  <a:pt x="6293" y="9612"/>
                </a:lnTo>
                <a:lnTo>
                  <a:pt x="9886" y="9612"/>
                </a:lnTo>
                <a:lnTo>
                  <a:pt x="9886" y="6921"/>
                </a:lnTo>
                <a:close/>
              </a:path>
              <a:path w="10160" h="12700">
                <a:moveTo>
                  <a:pt x="9610" y="2764"/>
                </a:moveTo>
                <a:lnTo>
                  <a:pt x="5325" y="2764"/>
                </a:lnTo>
                <a:lnTo>
                  <a:pt x="5878" y="2903"/>
                </a:lnTo>
                <a:lnTo>
                  <a:pt x="6569" y="3594"/>
                </a:lnTo>
                <a:lnTo>
                  <a:pt x="6707" y="4018"/>
                </a:lnTo>
                <a:lnTo>
                  <a:pt x="6707" y="4912"/>
                </a:lnTo>
                <a:lnTo>
                  <a:pt x="9886" y="4912"/>
                </a:lnTo>
                <a:lnTo>
                  <a:pt x="9822" y="3391"/>
                </a:lnTo>
                <a:lnTo>
                  <a:pt x="9610" y="2764"/>
                </a:lnTo>
                <a:close/>
              </a:path>
              <a:path w="10160" h="12700">
                <a:moveTo>
                  <a:pt x="5804" y="0"/>
                </a:moveTo>
                <a:lnTo>
                  <a:pt x="4081" y="0"/>
                </a:lnTo>
                <a:lnTo>
                  <a:pt x="3731" y="73"/>
                </a:lnTo>
                <a:lnTo>
                  <a:pt x="3317" y="73"/>
                </a:lnTo>
                <a:lnTo>
                  <a:pt x="2626" y="211"/>
                </a:lnTo>
                <a:lnTo>
                  <a:pt x="2285" y="211"/>
                </a:lnTo>
                <a:lnTo>
                  <a:pt x="1382" y="414"/>
                </a:lnTo>
                <a:lnTo>
                  <a:pt x="967" y="552"/>
                </a:lnTo>
                <a:lnTo>
                  <a:pt x="1382" y="3179"/>
                </a:lnTo>
                <a:lnTo>
                  <a:pt x="2285" y="2903"/>
                </a:lnTo>
                <a:lnTo>
                  <a:pt x="3317" y="2764"/>
                </a:lnTo>
                <a:lnTo>
                  <a:pt x="9610" y="2764"/>
                </a:lnTo>
                <a:lnTo>
                  <a:pt x="9472" y="2211"/>
                </a:lnTo>
                <a:lnTo>
                  <a:pt x="9195" y="1658"/>
                </a:lnTo>
                <a:lnTo>
                  <a:pt x="8440" y="903"/>
                </a:lnTo>
                <a:lnTo>
                  <a:pt x="7878" y="552"/>
                </a:lnTo>
                <a:lnTo>
                  <a:pt x="6634" y="138"/>
                </a:lnTo>
                <a:lnTo>
                  <a:pt x="5804" y="0"/>
                </a:lnTo>
                <a:close/>
              </a:path>
            </a:pathLst>
          </a:custGeom>
          <a:solidFill>
            <a:srgbClr val="127ABB"/>
          </a:solidFill>
        </p:spPr>
        <p:txBody>
          <a:bodyPr wrap="square" lIns="0" tIns="0" rIns="0" bIns="0" rtlCol="0"/>
          <a:lstStyle/>
          <a:p>
            <a:endParaRPr/>
          </a:p>
        </p:txBody>
      </p:sp>
      <p:sp>
        <p:nvSpPr>
          <p:cNvPr id="146" name="object 146"/>
          <p:cNvSpPr/>
          <p:nvPr/>
        </p:nvSpPr>
        <p:spPr>
          <a:xfrm>
            <a:off x="5949339" y="5715419"/>
            <a:ext cx="5715" cy="17780"/>
          </a:xfrm>
          <a:custGeom>
            <a:avLst/>
            <a:gdLst/>
            <a:ahLst/>
            <a:cxnLst/>
            <a:rect l="l" t="t" r="r" b="b"/>
            <a:pathLst>
              <a:path w="5714" h="17779">
                <a:moveTo>
                  <a:pt x="3317" y="0"/>
                </a:moveTo>
                <a:lnTo>
                  <a:pt x="0" y="479"/>
                </a:lnTo>
                <a:lnTo>
                  <a:pt x="103" y="14589"/>
                </a:lnTo>
                <a:lnTo>
                  <a:pt x="340" y="15419"/>
                </a:lnTo>
                <a:lnTo>
                  <a:pt x="3657" y="17281"/>
                </a:lnTo>
                <a:lnTo>
                  <a:pt x="4625" y="17281"/>
                </a:lnTo>
                <a:lnTo>
                  <a:pt x="5113" y="14589"/>
                </a:lnTo>
                <a:lnTo>
                  <a:pt x="4699" y="14589"/>
                </a:lnTo>
                <a:lnTo>
                  <a:pt x="4349" y="14516"/>
                </a:lnTo>
                <a:lnTo>
                  <a:pt x="4146" y="14377"/>
                </a:lnTo>
                <a:lnTo>
                  <a:pt x="3934" y="14313"/>
                </a:lnTo>
                <a:lnTo>
                  <a:pt x="3731" y="14175"/>
                </a:lnTo>
                <a:lnTo>
                  <a:pt x="3593" y="14036"/>
                </a:lnTo>
                <a:lnTo>
                  <a:pt x="3503" y="13898"/>
                </a:lnTo>
                <a:lnTo>
                  <a:pt x="3381" y="13410"/>
                </a:lnTo>
                <a:lnTo>
                  <a:pt x="3317" y="0"/>
                </a:lnTo>
                <a:close/>
              </a:path>
            </a:pathLst>
          </a:custGeom>
          <a:solidFill>
            <a:srgbClr val="127ABB"/>
          </a:solidFill>
        </p:spPr>
        <p:txBody>
          <a:bodyPr wrap="square" lIns="0" tIns="0" rIns="0" bIns="0" rtlCol="0"/>
          <a:lstStyle/>
          <a:p>
            <a:endParaRPr/>
          </a:p>
        </p:txBody>
      </p:sp>
      <p:sp>
        <p:nvSpPr>
          <p:cNvPr id="147" name="object 147"/>
          <p:cNvSpPr/>
          <p:nvPr/>
        </p:nvSpPr>
        <p:spPr>
          <a:xfrm>
            <a:off x="5483537" y="5742175"/>
            <a:ext cx="4445" cy="17145"/>
          </a:xfrm>
          <a:custGeom>
            <a:avLst/>
            <a:gdLst/>
            <a:ahLst/>
            <a:cxnLst/>
            <a:rect l="l" t="t" r="r" b="b"/>
            <a:pathLst>
              <a:path w="4445" h="17145">
                <a:moveTo>
                  <a:pt x="3663" y="5253"/>
                </a:moveTo>
                <a:lnTo>
                  <a:pt x="345" y="5253"/>
                </a:lnTo>
                <a:lnTo>
                  <a:pt x="345" y="16869"/>
                </a:lnTo>
                <a:lnTo>
                  <a:pt x="3663" y="16869"/>
                </a:lnTo>
                <a:lnTo>
                  <a:pt x="3663" y="5253"/>
                </a:lnTo>
                <a:close/>
              </a:path>
              <a:path w="4445" h="17145">
                <a:moveTo>
                  <a:pt x="2488" y="0"/>
                </a:moveTo>
                <a:lnTo>
                  <a:pt x="1451" y="0"/>
                </a:lnTo>
                <a:lnTo>
                  <a:pt x="967" y="138"/>
                </a:lnTo>
                <a:lnTo>
                  <a:pt x="621" y="479"/>
                </a:lnTo>
                <a:lnTo>
                  <a:pt x="207" y="829"/>
                </a:lnTo>
                <a:lnTo>
                  <a:pt x="0" y="1308"/>
                </a:lnTo>
                <a:lnTo>
                  <a:pt x="0" y="2552"/>
                </a:lnTo>
                <a:lnTo>
                  <a:pt x="207" y="3041"/>
                </a:lnTo>
                <a:lnTo>
                  <a:pt x="621" y="3382"/>
                </a:lnTo>
                <a:lnTo>
                  <a:pt x="967" y="3732"/>
                </a:lnTo>
                <a:lnTo>
                  <a:pt x="1451" y="3870"/>
                </a:lnTo>
                <a:lnTo>
                  <a:pt x="2488" y="3870"/>
                </a:lnTo>
                <a:lnTo>
                  <a:pt x="2972" y="3732"/>
                </a:lnTo>
                <a:lnTo>
                  <a:pt x="3387" y="3382"/>
                </a:lnTo>
                <a:lnTo>
                  <a:pt x="3732" y="3041"/>
                </a:lnTo>
                <a:lnTo>
                  <a:pt x="3939" y="2552"/>
                </a:lnTo>
                <a:lnTo>
                  <a:pt x="3939" y="1308"/>
                </a:lnTo>
                <a:lnTo>
                  <a:pt x="3732" y="829"/>
                </a:lnTo>
                <a:lnTo>
                  <a:pt x="3387" y="479"/>
                </a:lnTo>
                <a:lnTo>
                  <a:pt x="2972" y="138"/>
                </a:lnTo>
                <a:lnTo>
                  <a:pt x="2488" y="0"/>
                </a:lnTo>
                <a:close/>
              </a:path>
            </a:pathLst>
          </a:custGeom>
          <a:solidFill>
            <a:srgbClr val="127ABB"/>
          </a:solidFill>
        </p:spPr>
        <p:txBody>
          <a:bodyPr wrap="square" lIns="0" tIns="0" rIns="0" bIns="0" rtlCol="0"/>
          <a:lstStyle/>
          <a:p>
            <a:endParaRPr/>
          </a:p>
        </p:txBody>
      </p:sp>
      <p:sp>
        <p:nvSpPr>
          <p:cNvPr id="148" name="object 148"/>
          <p:cNvSpPr/>
          <p:nvPr/>
        </p:nvSpPr>
        <p:spPr>
          <a:xfrm>
            <a:off x="5490034" y="5747225"/>
            <a:ext cx="10160" cy="12065"/>
          </a:xfrm>
          <a:custGeom>
            <a:avLst/>
            <a:gdLst/>
            <a:ahLst/>
            <a:cxnLst/>
            <a:rect l="l" t="t" r="r" b="b"/>
            <a:pathLst>
              <a:path w="10160" h="12064">
                <a:moveTo>
                  <a:pt x="5875" y="0"/>
                </a:moveTo>
                <a:lnTo>
                  <a:pt x="3939" y="0"/>
                </a:lnTo>
                <a:lnTo>
                  <a:pt x="3041" y="64"/>
                </a:lnTo>
                <a:lnTo>
                  <a:pt x="1244" y="341"/>
                </a:lnTo>
                <a:lnTo>
                  <a:pt x="553" y="479"/>
                </a:lnTo>
                <a:lnTo>
                  <a:pt x="0" y="617"/>
                </a:lnTo>
                <a:lnTo>
                  <a:pt x="0" y="11818"/>
                </a:lnTo>
                <a:lnTo>
                  <a:pt x="3248" y="11818"/>
                </a:lnTo>
                <a:lnTo>
                  <a:pt x="3248" y="2903"/>
                </a:lnTo>
                <a:lnTo>
                  <a:pt x="3456" y="2829"/>
                </a:lnTo>
                <a:lnTo>
                  <a:pt x="4009" y="2829"/>
                </a:lnTo>
                <a:lnTo>
                  <a:pt x="4216" y="2764"/>
                </a:lnTo>
                <a:lnTo>
                  <a:pt x="9665" y="2764"/>
                </a:lnTo>
                <a:lnTo>
                  <a:pt x="9608" y="2488"/>
                </a:lnTo>
                <a:lnTo>
                  <a:pt x="9332" y="1935"/>
                </a:lnTo>
                <a:lnTo>
                  <a:pt x="8916" y="1446"/>
                </a:lnTo>
                <a:lnTo>
                  <a:pt x="8570" y="967"/>
                </a:lnTo>
                <a:lnTo>
                  <a:pt x="8018" y="617"/>
                </a:lnTo>
                <a:lnTo>
                  <a:pt x="7396" y="341"/>
                </a:lnTo>
                <a:lnTo>
                  <a:pt x="6705" y="138"/>
                </a:lnTo>
                <a:lnTo>
                  <a:pt x="5875" y="0"/>
                </a:lnTo>
                <a:close/>
              </a:path>
              <a:path w="10160" h="12064">
                <a:moveTo>
                  <a:pt x="9665" y="2764"/>
                </a:moveTo>
                <a:lnTo>
                  <a:pt x="5461" y="2764"/>
                </a:lnTo>
                <a:lnTo>
                  <a:pt x="6014" y="2967"/>
                </a:lnTo>
                <a:lnTo>
                  <a:pt x="6290" y="3456"/>
                </a:lnTo>
                <a:lnTo>
                  <a:pt x="6566" y="3870"/>
                </a:lnTo>
                <a:lnTo>
                  <a:pt x="6679" y="4488"/>
                </a:lnTo>
                <a:lnTo>
                  <a:pt x="6705" y="11818"/>
                </a:lnTo>
                <a:lnTo>
                  <a:pt x="10023" y="11818"/>
                </a:lnTo>
                <a:lnTo>
                  <a:pt x="10023" y="4488"/>
                </a:lnTo>
                <a:lnTo>
                  <a:pt x="9665" y="2764"/>
                </a:lnTo>
                <a:close/>
              </a:path>
            </a:pathLst>
          </a:custGeom>
          <a:solidFill>
            <a:srgbClr val="127ABB"/>
          </a:solidFill>
        </p:spPr>
        <p:txBody>
          <a:bodyPr wrap="square" lIns="0" tIns="0" rIns="0" bIns="0" rtlCol="0"/>
          <a:lstStyle/>
          <a:p>
            <a:endParaRPr/>
          </a:p>
        </p:txBody>
      </p:sp>
      <p:sp>
        <p:nvSpPr>
          <p:cNvPr id="149" name="object 149"/>
          <p:cNvSpPr/>
          <p:nvPr/>
        </p:nvSpPr>
        <p:spPr>
          <a:xfrm>
            <a:off x="5502338" y="5741963"/>
            <a:ext cx="10795" cy="17780"/>
          </a:xfrm>
          <a:custGeom>
            <a:avLst/>
            <a:gdLst/>
            <a:ahLst/>
            <a:cxnLst/>
            <a:rect l="l" t="t" r="r" b="b"/>
            <a:pathLst>
              <a:path w="10795" h="17779">
                <a:moveTo>
                  <a:pt x="5529" y="5262"/>
                </a:moveTo>
                <a:lnTo>
                  <a:pt x="4216" y="5262"/>
                </a:lnTo>
                <a:lnTo>
                  <a:pt x="3525" y="5400"/>
                </a:lnTo>
                <a:lnTo>
                  <a:pt x="2903" y="5677"/>
                </a:lnTo>
                <a:lnTo>
                  <a:pt x="2212" y="5953"/>
                </a:lnTo>
                <a:lnTo>
                  <a:pt x="1728" y="6368"/>
                </a:lnTo>
                <a:lnTo>
                  <a:pt x="829" y="7400"/>
                </a:lnTo>
                <a:lnTo>
                  <a:pt x="515" y="8027"/>
                </a:lnTo>
                <a:lnTo>
                  <a:pt x="0" y="9548"/>
                </a:lnTo>
                <a:lnTo>
                  <a:pt x="0" y="13140"/>
                </a:lnTo>
                <a:lnTo>
                  <a:pt x="4976" y="17357"/>
                </a:lnTo>
                <a:lnTo>
                  <a:pt x="7188" y="17357"/>
                </a:lnTo>
                <a:lnTo>
                  <a:pt x="8018" y="17219"/>
                </a:lnTo>
                <a:lnTo>
                  <a:pt x="8432" y="17219"/>
                </a:lnTo>
                <a:lnTo>
                  <a:pt x="9676" y="17011"/>
                </a:lnTo>
                <a:lnTo>
                  <a:pt x="10022" y="16873"/>
                </a:lnTo>
                <a:lnTo>
                  <a:pt x="10644" y="16735"/>
                </a:lnTo>
                <a:lnTo>
                  <a:pt x="10644" y="14592"/>
                </a:lnTo>
                <a:lnTo>
                  <a:pt x="5045" y="14592"/>
                </a:lnTo>
                <a:lnTo>
                  <a:pt x="4354" y="14246"/>
                </a:lnTo>
                <a:lnTo>
                  <a:pt x="3456" y="13070"/>
                </a:lnTo>
                <a:lnTo>
                  <a:pt x="3266" y="12310"/>
                </a:lnTo>
                <a:lnTo>
                  <a:pt x="3248" y="9059"/>
                </a:lnTo>
                <a:lnTo>
                  <a:pt x="4009" y="8027"/>
                </a:lnTo>
                <a:lnTo>
                  <a:pt x="10644" y="8027"/>
                </a:lnTo>
                <a:lnTo>
                  <a:pt x="10644" y="5741"/>
                </a:lnTo>
                <a:lnTo>
                  <a:pt x="7396" y="5741"/>
                </a:lnTo>
                <a:lnTo>
                  <a:pt x="6635" y="5465"/>
                </a:lnTo>
                <a:lnTo>
                  <a:pt x="5529" y="5262"/>
                </a:lnTo>
                <a:close/>
              </a:path>
              <a:path w="10795" h="17779">
                <a:moveTo>
                  <a:pt x="10644" y="8027"/>
                </a:moveTo>
                <a:lnTo>
                  <a:pt x="5944" y="8027"/>
                </a:lnTo>
                <a:lnTo>
                  <a:pt x="6912" y="8230"/>
                </a:lnTo>
                <a:lnTo>
                  <a:pt x="7188" y="8368"/>
                </a:lnTo>
                <a:lnTo>
                  <a:pt x="7396" y="8506"/>
                </a:lnTo>
                <a:lnTo>
                  <a:pt x="7396" y="14453"/>
                </a:lnTo>
                <a:lnTo>
                  <a:pt x="7257" y="14522"/>
                </a:lnTo>
                <a:lnTo>
                  <a:pt x="6774" y="14522"/>
                </a:lnTo>
                <a:lnTo>
                  <a:pt x="6497" y="14592"/>
                </a:lnTo>
                <a:lnTo>
                  <a:pt x="10644" y="14592"/>
                </a:lnTo>
                <a:lnTo>
                  <a:pt x="10644" y="8027"/>
                </a:lnTo>
                <a:close/>
              </a:path>
              <a:path w="10795" h="17779">
                <a:moveTo>
                  <a:pt x="10644" y="0"/>
                </a:moveTo>
                <a:lnTo>
                  <a:pt x="7396" y="488"/>
                </a:lnTo>
                <a:lnTo>
                  <a:pt x="7396" y="5741"/>
                </a:lnTo>
                <a:lnTo>
                  <a:pt x="10644" y="5741"/>
                </a:lnTo>
                <a:lnTo>
                  <a:pt x="10644" y="0"/>
                </a:lnTo>
                <a:close/>
              </a:path>
            </a:pathLst>
          </a:custGeom>
          <a:solidFill>
            <a:srgbClr val="127ABB"/>
          </a:solidFill>
        </p:spPr>
        <p:txBody>
          <a:bodyPr wrap="square" lIns="0" tIns="0" rIns="0" bIns="0" rtlCol="0"/>
          <a:lstStyle/>
          <a:p>
            <a:endParaRPr/>
          </a:p>
        </p:txBody>
      </p:sp>
      <p:sp>
        <p:nvSpPr>
          <p:cNvPr id="150" name="object 150"/>
          <p:cNvSpPr/>
          <p:nvPr/>
        </p:nvSpPr>
        <p:spPr>
          <a:xfrm>
            <a:off x="5515747" y="5747428"/>
            <a:ext cx="10160" cy="12065"/>
          </a:xfrm>
          <a:custGeom>
            <a:avLst/>
            <a:gdLst/>
            <a:ahLst/>
            <a:cxnLst/>
            <a:rect l="l" t="t" r="r" b="b"/>
            <a:pathLst>
              <a:path w="10160" h="12064">
                <a:moveTo>
                  <a:pt x="3317" y="0"/>
                </a:moveTo>
                <a:lnTo>
                  <a:pt x="0" y="0"/>
                </a:lnTo>
                <a:lnTo>
                  <a:pt x="62" y="7951"/>
                </a:lnTo>
                <a:lnTo>
                  <a:pt x="307" y="8849"/>
                </a:lnTo>
                <a:lnTo>
                  <a:pt x="414" y="9333"/>
                </a:lnTo>
                <a:lnTo>
                  <a:pt x="691" y="9887"/>
                </a:lnTo>
                <a:lnTo>
                  <a:pt x="1105" y="10371"/>
                </a:lnTo>
                <a:lnTo>
                  <a:pt x="1451" y="10855"/>
                </a:lnTo>
                <a:lnTo>
                  <a:pt x="2004" y="11269"/>
                </a:lnTo>
                <a:lnTo>
                  <a:pt x="2626" y="11477"/>
                </a:lnTo>
                <a:lnTo>
                  <a:pt x="3317" y="11753"/>
                </a:lnTo>
                <a:lnTo>
                  <a:pt x="4078" y="11892"/>
                </a:lnTo>
                <a:lnTo>
                  <a:pt x="6082" y="11892"/>
                </a:lnTo>
                <a:lnTo>
                  <a:pt x="6981" y="11822"/>
                </a:lnTo>
                <a:lnTo>
                  <a:pt x="8778" y="11546"/>
                </a:lnTo>
                <a:lnTo>
                  <a:pt x="9469" y="11408"/>
                </a:lnTo>
                <a:lnTo>
                  <a:pt x="10022" y="11269"/>
                </a:lnTo>
                <a:lnTo>
                  <a:pt x="10022" y="9127"/>
                </a:lnTo>
                <a:lnTo>
                  <a:pt x="4492" y="9127"/>
                </a:lnTo>
                <a:lnTo>
                  <a:pt x="4009" y="8849"/>
                </a:lnTo>
                <a:lnTo>
                  <a:pt x="3732" y="8365"/>
                </a:lnTo>
                <a:lnTo>
                  <a:pt x="3456" y="7951"/>
                </a:lnTo>
                <a:lnTo>
                  <a:pt x="3330" y="7259"/>
                </a:lnTo>
                <a:lnTo>
                  <a:pt x="3317" y="0"/>
                </a:lnTo>
                <a:close/>
              </a:path>
              <a:path w="10160" h="12064">
                <a:moveTo>
                  <a:pt x="10022" y="0"/>
                </a:moveTo>
                <a:lnTo>
                  <a:pt x="6774" y="0"/>
                </a:lnTo>
                <a:lnTo>
                  <a:pt x="6774" y="8987"/>
                </a:lnTo>
                <a:lnTo>
                  <a:pt x="6566" y="8987"/>
                </a:lnTo>
                <a:lnTo>
                  <a:pt x="6289" y="9057"/>
                </a:lnTo>
                <a:lnTo>
                  <a:pt x="5805" y="9057"/>
                </a:lnTo>
                <a:lnTo>
                  <a:pt x="5529" y="9127"/>
                </a:lnTo>
                <a:lnTo>
                  <a:pt x="10022" y="9127"/>
                </a:lnTo>
                <a:lnTo>
                  <a:pt x="10022" y="0"/>
                </a:lnTo>
                <a:close/>
              </a:path>
            </a:pathLst>
          </a:custGeom>
          <a:solidFill>
            <a:srgbClr val="127ABB"/>
          </a:solidFill>
        </p:spPr>
        <p:txBody>
          <a:bodyPr wrap="square" lIns="0" tIns="0" rIns="0" bIns="0" rtlCol="0"/>
          <a:lstStyle/>
          <a:p>
            <a:endParaRPr/>
          </a:p>
        </p:txBody>
      </p:sp>
      <p:sp>
        <p:nvSpPr>
          <p:cNvPr id="151" name="object 151"/>
          <p:cNvSpPr/>
          <p:nvPr/>
        </p:nvSpPr>
        <p:spPr>
          <a:xfrm>
            <a:off x="5527981" y="5747151"/>
            <a:ext cx="9525" cy="12700"/>
          </a:xfrm>
          <a:custGeom>
            <a:avLst/>
            <a:gdLst/>
            <a:ahLst/>
            <a:cxnLst/>
            <a:rect l="l" t="t" r="r" b="b"/>
            <a:pathLst>
              <a:path w="9525" h="12700">
                <a:moveTo>
                  <a:pt x="552" y="8849"/>
                </a:moveTo>
                <a:lnTo>
                  <a:pt x="0" y="11546"/>
                </a:lnTo>
                <a:lnTo>
                  <a:pt x="1382" y="11961"/>
                </a:lnTo>
                <a:lnTo>
                  <a:pt x="2902" y="12237"/>
                </a:lnTo>
                <a:lnTo>
                  <a:pt x="5529" y="12237"/>
                </a:lnTo>
                <a:lnTo>
                  <a:pt x="6777" y="11892"/>
                </a:lnTo>
                <a:lnTo>
                  <a:pt x="8500" y="10717"/>
                </a:lnTo>
                <a:lnTo>
                  <a:pt x="8915" y="9887"/>
                </a:lnTo>
                <a:lnTo>
                  <a:pt x="8915" y="9540"/>
                </a:lnTo>
                <a:lnTo>
                  <a:pt x="3387" y="9540"/>
                </a:lnTo>
                <a:lnTo>
                  <a:pt x="2833" y="9471"/>
                </a:lnTo>
                <a:lnTo>
                  <a:pt x="2211" y="9333"/>
                </a:lnTo>
                <a:lnTo>
                  <a:pt x="1658" y="9264"/>
                </a:lnTo>
                <a:lnTo>
                  <a:pt x="552" y="8849"/>
                </a:lnTo>
                <a:close/>
              </a:path>
              <a:path w="9525" h="12700">
                <a:moveTo>
                  <a:pt x="5529" y="0"/>
                </a:moveTo>
                <a:lnTo>
                  <a:pt x="3387" y="0"/>
                </a:lnTo>
                <a:lnTo>
                  <a:pt x="2280" y="350"/>
                </a:lnTo>
                <a:lnTo>
                  <a:pt x="1520" y="967"/>
                </a:lnTo>
                <a:lnTo>
                  <a:pt x="691" y="1594"/>
                </a:lnTo>
                <a:lnTo>
                  <a:pt x="276" y="2423"/>
                </a:lnTo>
                <a:lnTo>
                  <a:pt x="305" y="4285"/>
                </a:lnTo>
                <a:lnTo>
                  <a:pt x="414" y="4700"/>
                </a:lnTo>
                <a:lnTo>
                  <a:pt x="552" y="4976"/>
                </a:lnTo>
                <a:lnTo>
                  <a:pt x="691" y="5391"/>
                </a:lnTo>
                <a:lnTo>
                  <a:pt x="4838" y="7812"/>
                </a:lnTo>
                <a:lnTo>
                  <a:pt x="5183" y="8020"/>
                </a:lnTo>
                <a:lnTo>
                  <a:pt x="5460" y="8227"/>
                </a:lnTo>
                <a:lnTo>
                  <a:pt x="5667" y="8434"/>
                </a:lnTo>
                <a:lnTo>
                  <a:pt x="5667" y="9057"/>
                </a:lnTo>
                <a:lnTo>
                  <a:pt x="5529" y="9264"/>
                </a:lnTo>
                <a:lnTo>
                  <a:pt x="5252" y="9403"/>
                </a:lnTo>
                <a:lnTo>
                  <a:pt x="5045" y="9471"/>
                </a:lnTo>
                <a:lnTo>
                  <a:pt x="4561" y="9540"/>
                </a:lnTo>
                <a:lnTo>
                  <a:pt x="8915" y="9540"/>
                </a:lnTo>
                <a:lnTo>
                  <a:pt x="8851" y="7812"/>
                </a:lnTo>
                <a:lnTo>
                  <a:pt x="8712" y="7467"/>
                </a:lnTo>
                <a:lnTo>
                  <a:pt x="8639" y="7121"/>
                </a:lnTo>
                <a:lnTo>
                  <a:pt x="4907" y="4700"/>
                </a:lnTo>
                <a:lnTo>
                  <a:pt x="4631" y="4562"/>
                </a:lnTo>
                <a:lnTo>
                  <a:pt x="4423" y="4497"/>
                </a:lnTo>
                <a:lnTo>
                  <a:pt x="4009" y="4285"/>
                </a:lnTo>
                <a:lnTo>
                  <a:pt x="3870" y="4147"/>
                </a:lnTo>
                <a:lnTo>
                  <a:pt x="3732" y="4082"/>
                </a:lnTo>
                <a:lnTo>
                  <a:pt x="3663" y="3944"/>
                </a:lnTo>
                <a:lnTo>
                  <a:pt x="3638" y="2838"/>
                </a:lnTo>
                <a:lnTo>
                  <a:pt x="4009" y="2626"/>
                </a:lnTo>
                <a:lnTo>
                  <a:pt x="7929" y="2626"/>
                </a:lnTo>
                <a:lnTo>
                  <a:pt x="8362" y="626"/>
                </a:lnTo>
                <a:lnTo>
                  <a:pt x="8021" y="414"/>
                </a:lnTo>
                <a:lnTo>
                  <a:pt x="7468" y="350"/>
                </a:lnTo>
                <a:lnTo>
                  <a:pt x="6220" y="73"/>
                </a:lnTo>
                <a:lnTo>
                  <a:pt x="5529" y="0"/>
                </a:lnTo>
                <a:close/>
              </a:path>
              <a:path w="9525" h="12700">
                <a:moveTo>
                  <a:pt x="7929" y="2626"/>
                </a:moveTo>
                <a:lnTo>
                  <a:pt x="5598" y="2626"/>
                </a:lnTo>
                <a:lnTo>
                  <a:pt x="6151" y="2700"/>
                </a:lnTo>
                <a:lnTo>
                  <a:pt x="6565" y="2838"/>
                </a:lnTo>
                <a:lnTo>
                  <a:pt x="7054" y="2903"/>
                </a:lnTo>
                <a:lnTo>
                  <a:pt x="7809" y="3179"/>
                </a:lnTo>
                <a:lnTo>
                  <a:pt x="7929" y="2626"/>
                </a:lnTo>
                <a:close/>
              </a:path>
            </a:pathLst>
          </a:custGeom>
          <a:solidFill>
            <a:srgbClr val="127ABB"/>
          </a:solidFill>
        </p:spPr>
        <p:txBody>
          <a:bodyPr wrap="square" lIns="0" tIns="0" rIns="0" bIns="0" rtlCol="0"/>
          <a:lstStyle/>
          <a:p>
            <a:endParaRPr/>
          </a:p>
        </p:txBody>
      </p:sp>
      <p:sp>
        <p:nvSpPr>
          <p:cNvPr id="152" name="object 152"/>
          <p:cNvSpPr/>
          <p:nvPr/>
        </p:nvSpPr>
        <p:spPr>
          <a:xfrm>
            <a:off x="5538970" y="5744036"/>
            <a:ext cx="8255" cy="15875"/>
          </a:xfrm>
          <a:custGeom>
            <a:avLst/>
            <a:gdLst/>
            <a:ahLst/>
            <a:cxnLst/>
            <a:rect l="l" t="t" r="r" b="b"/>
            <a:pathLst>
              <a:path w="8254" h="15875">
                <a:moveTo>
                  <a:pt x="3252" y="0"/>
                </a:moveTo>
                <a:lnTo>
                  <a:pt x="0" y="552"/>
                </a:lnTo>
                <a:lnTo>
                  <a:pt x="119" y="11895"/>
                </a:lnTo>
                <a:lnTo>
                  <a:pt x="350" y="12933"/>
                </a:lnTo>
                <a:lnTo>
                  <a:pt x="3667" y="15283"/>
                </a:lnTo>
                <a:lnTo>
                  <a:pt x="5252" y="15283"/>
                </a:lnTo>
                <a:lnTo>
                  <a:pt x="6357" y="15145"/>
                </a:lnTo>
                <a:lnTo>
                  <a:pt x="7260" y="14869"/>
                </a:lnTo>
                <a:lnTo>
                  <a:pt x="7675" y="14661"/>
                </a:lnTo>
                <a:lnTo>
                  <a:pt x="7266" y="12518"/>
                </a:lnTo>
                <a:lnTo>
                  <a:pt x="4358" y="12518"/>
                </a:lnTo>
                <a:lnTo>
                  <a:pt x="3869" y="12310"/>
                </a:lnTo>
                <a:lnTo>
                  <a:pt x="3593" y="11895"/>
                </a:lnTo>
                <a:lnTo>
                  <a:pt x="3390" y="11481"/>
                </a:lnTo>
                <a:lnTo>
                  <a:pt x="3287" y="11066"/>
                </a:lnTo>
                <a:lnTo>
                  <a:pt x="3252" y="6156"/>
                </a:lnTo>
                <a:lnTo>
                  <a:pt x="7187" y="6156"/>
                </a:lnTo>
                <a:lnTo>
                  <a:pt x="7187" y="3391"/>
                </a:lnTo>
                <a:lnTo>
                  <a:pt x="3252" y="3391"/>
                </a:lnTo>
                <a:lnTo>
                  <a:pt x="3252" y="0"/>
                </a:lnTo>
                <a:close/>
              </a:path>
              <a:path w="8254" h="15875">
                <a:moveTo>
                  <a:pt x="7187" y="12103"/>
                </a:moveTo>
                <a:lnTo>
                  <a:pt x="6910" y="12241"/>
                </a:lnTo>
                <a:lnTo>
                  <a:pt x="6569" y="12379"/>
                </a:lnTo>
                <a:lnTo>
                  <a:pt x="6155" y="12379"/>
                </a:lnTo>
                <a:lnTo>
                  <a:pt x="5463" y="12518"/>
                </a:lnTo>
                <a:lnTo>
                  <a:pt x="7266" y="12518"/>
                </a:lnTo>
                <a:lnTo>
                  <a:pt x="7187" y="12103"/>
                </a:lnTo>
                <a:close/>
              </a:path>
            </a:pathLst>
          </a:custGeom>
          <a:solidFill>
            <a:srgbClr val="127ABB"/>
          </a:solidFill>
        </p:spPr>
        <p:txBody>
          <a:bodyPr wrap="square" lIns="0" tIns="0" rIns="0" bIns="0" rtlCol="0"/>
          <a:lstStyle/>
          <a:p>
            <a:endParaRPr/>
          </a:p>
        </p:txBody>
      </p:sp>
      <p:sp>
        <p:nvSpPr>
          <p:cNvPr id="153" name="object 153"/>
          <p:cNvSpPr/>
          <p:nvPr/>
        </p:nvSpPr>
        <p:spPr>
          <a:xfrm>
            <a:off x="5548580" y="5747225"/>
            <a:ext cx="7620" cy="12065"/>
          </a:xfrm>
          <a:custGeom>
            <a:avLst/>
            <a:gdLst/>
            <a:ahLst/>
            <a:cxnLst/>
            <a:rect l="l" t="t" r="r" b="b"/>
            <a:pathLst>
              <a:path w="7620" h="12064">
                <a:moveTo>
                  <a:pt x="5390" y="0"/>
                </a:moveTo>
                <a:lnTo>
                  <a:pt x="3796" y="0"/>
                </a:lnTo>
                <a:lnTo>
                  <a:pt x="2902" y="64"/>
                </a:lnTo>
                <a:lnTo>
                  <a:pt x="1308" y="479"/>
                </a:lnTo>
                <a:lnTo>
                  <a:pt x="617" y="617"/>
                </a:lnTo>
                <a:lnTo>
                  <a:pt x="0" y="829"/>
                </a:lnTo>
                <a:lnTo>
                  <a:pt x="0" y="11818"/>
                </a:lnTo>
                <a:lnTo>
                  <a:pt x="3317" y="11818"/>
                </a:lnTo>
                <a:lnTo>
                  <a:pt x="3317" y="2967"/>
                </a:lnTo>
                <a:lnTo>
                  <a:pt x="3455" y="2903"/>
                </a:lnTo>
                <a:lnTo>
                  <a:pt x="3657" y="2903"/>
                </a:lnTo>
                <a:lnTo>
                  <a:pt x="3934" y="2829"/>
                </a:lnTo>
                <a:lnTo>
                  <a:pt x="4210" y="2829"/>
                </a:lnTo>
                <a:lnTo>
                  <a:pt x="4487" y="2764"/>
                </a:lnTo>
                <a:lnTo>
                  <a:pt x="7058" y="2764"/>
                </a:lnTo>
                <a:lnTo>
                  <a:pt x="7527" y="414"/>
                </a:lnTo>
                <a:lnTo>
                  <a:pt x="7389" y="341"/>
                </a:lnTo>
                <a:lnTo>
                  <a:pt x="7187" y="276"/>
                </a:lnTo>
                <a:lnTo>
                  <a:pt x="6910" y="276"/>
                </a:lnTo>
                <a:lnTo>
                  <a:pt x="6422" y="138"/>
                </a:lnTo>
                <a:lnTo>
                  <a:pt x="6145" y="138"/>
                </a:lnTo>
                <a:lnTo>
                  <a:pt x="5943" y="64"/>
                </a:lnTo>
                <a:lnTo>
                  <a:pt x="5666" y="64"/>
                </a:lnTo>
                <a:lnTo>
                  <a:pt x="5390" y="0"/>
                </a:lnTo>
                <a:close/>
              </a:path>
              <a:path w="7620" h="12064">
                <a:moveTo>
                  <a:pt x="7058" y="2764"/>
                </a:moveTo>
                <a:lnTo>
                  <a:pt x="5113" y="2764"/>
                </a:lnTo>
                <a:lnTo>
                  <a:pt x="5592" y="2829"/>
                </a:lnTo>
                <a:lnTo>
                  <a:pt x="6357" y="2967"/>
                </a:lnTo>
                <a:lnTo>
                  <a:pt x="6698" y="3105"/>
                </a:lnTo>
                <a:lnTo>
                  <a:pt x="6975" y="3179"/>
                </a:lnTo>
                <a:lnTo>
                  <a:pt x="7058" y="2764"/>
                </a:lnTo>
                <a:close/>
              </a:path>
            </a:pathLst>
          </a:custGeom>
          <a:solidFill>
            <a:srgbClr val="127ABB"/>
          </a:solidFill>
        </p:spPr>
        <p:txBody>
          <a:bodyPr wrap="square" lIns="0" tIns="0" rIns="0" bIns="0" rtlCol="0"/>
          <a:lstStyle/>
          <a:p>
            <a:endParaRPr/>
          </a:p>
        </p:txBody>
      </p:sp>
      <p:sp>
        <p:nvSpPr>
          <p:cNvPr id="154" name="object 154"/>
          <p:cNvSpPr/>
          <p:nvPr/>
        </p:nvSpPr>
        <p:spPr>
          <a:xfrm>
            <a:off x="5557426" y="5742175"/>
            <a:ext cx="4445" cy="17145"/>
          </a:xfrm>
          <a:custGeom>
            <a:avLst/>
            <a:gdLst/>
            <a:ahLst/>
            <a:cxnLst/>
            <a:rect l="l" t="t" r="r" b="b"/>
            <a:pathLst>
              <a:path w="4445" h="17145">
                <a:moveTo>
                  <a:pt x="3593" y="5253"/>
                </a:moveTo>
                <a:lnTo>
                  <a:pt x="276" y="5253"/>
                </a:lnTo>
                <a:lnTo>
                  <a:pt x="276" y="16869"/>
                </a:lnTo>
                <a:lnTo>
                  <a:pt x="3593" y="16869"/>
                </a:lnTo>
                <a:lnTo>
                  <a:pt x="3593" y="5253"/>
                </a:lnTo>
                <a:close/>
              </a:path>
              <a:path w="4445" h="17145">
                <a:moveTo>
                  <a:pt x="2487" y="0"/>
                </a:moveTo>
                <a:lnTo>
                  <a:pt x="1382" y="0"/>
                </a:lnTo>
                <a:lnTo>
                  <a:pt x="967" y="138"/>
                </a:lnTo>
                <a:lnTo>
                  <a:pt x="138" y="829"/>
                </a:lnTo>
                <a:lnTo>
                  <a:pt x="0" y="1308"/>
                </a:lnTo>
                <a:lnTo>
                  <a:pt x="0" y="2552"/>
                </a:lnTo>
                <a:lnTo>
                  <a:pt x="138" y="3041"/>
                </a:lnTo>
                <a:lnTo>
                  <a:pt x="967" y="3732"/>
                </a:lnTo>
                <a:lnTo>
                  <a:pt x="1382" y="3870"/>
                </a:lnTo>
                <a:lnTo>
                  <a:pt x="2487" y="3870"/>
                </a:lnTo>
                <a:lnTo>
                  <a:pt x="2902" y="3732"/>
                </a:lnTo>
                <a:lnTo>
                  <a:pt x="3317" y="3382"/>
                </a:lnTo>
                <a:lnTo>
                  <a:pt x="3667" y="3041"/>
                </a:lnTo>
                <a:lnTo>
                  <a:pt x="3869" y="2552"/>
                </a:lnTo>
                <a:lnTo>
                  <a:pt x="3869" y="1308"/>
                </a:lnTo>
                <a:lnTo>
                  <a:pt x="3667" y="829"/>
                </a:lnTo>
                <a:lnTo>
                  <a:pt x="3317" y="479"/>
                </a:lnTo>
                <a:lnTo>
                  <a:pt x="2902" y="138"/>
                </a:lnTo>
                <a:lnTo>
                  <a:pt x="2487" y="0"/>
                </a:lnTo>
                <a:close/>
              </a:path>
            </a:pathLst>
          </a:custGeom>
          <a:solidFill>
            <a:srgbClr val="127ABB"/>
          </a:solidFill>
        </p:spPr>
        <p:txBody>
          <a:bodyPr wrap="square" lIns="0" tIns="0" rIns="0" bIns="0" rtlCol="0"/>
          <a:lstStyle/>
          <a:p>
            <a:endParaRPr/>
          </a:p>
        </p:txBody>
      </p:sp>
      <p:sp>
        <p:nvSpPr>
          <p:cNvPr id="155" name="object 155"/>
          <p:cNvSpPr/>
          <p:nvPr/>
        </p:nvSpPr>
        <p:spPr>
          <a:xfrm>
            <a:off x="5563166" y="5747151"/>
            <a:ext cx="10160" cy="12700"/>
          </a:xfrm>
          <a:custGeom>
            <a:avLst/>
            <a:gdLst/>
            <a:ahLst/>
            <a:cxnLst/>
            <a:rect l="l" t="t" r="r" b="b"/>
            <a:pathLst>
              <a:path w="10160" h="12700">
                <a:moveTo>
                  <a:pt x="5592" y="4700"/>
                </a:moveTo>
                <a:lnTo>
                  <a:pt x="4146" y="4700"/>
                </a:lnTo>
                <a:lnTo>
                  <a:pt x="3593" y="4774"/>
                </a:lnTo>
                <a:lnTo>
                  <a:pt x="2966" y="4912"/>
                </a:lnTo>
                <a:lnTo>
                  <a:pt x="2414" y="4976"/>
                </a:lnTo>
                <a:lnTo>
                  <a:pt x="0" y="9610"/>
                </a:lnTo>
                <a:lnTo>
                  <a:pt x="276" y="10094"/>
                </a:lnTo>
                <a:lnTo>
                  <a:pt x="479" y="10578"/>
                </a:lnTo>
                <a:lnTo>
                  <a:pt x="829" y="10993"/>
                </a:lnTo>
                <a:lnTo>
                  <a:pt x="1308" y="11269"/>
                </a:lnTo>
                <a:lnTo>
                  <a:pt x="1723" y="11615"/>
                </a:lnTo>
                <a:lnTo>
                  <a:pt x="2275" y="11822"/>
                </a:lnTo>
                <a:lnTo>
                  <a:pt x="3455" y="12099"/>
                </a:lnTo>
                <a:lnTo>
                  <a:pt x="4146" y="12168"/>
                </a:lnTo>
                <a:lnTo>
                  <a:pt x="6081" y="12168"/>
                </a:lnTo>
                <a:lnTo>
                  <a:pt x="7113" y="12099"/>
                </a:lnTo>
                <a:lnTo>
                  <a:pt x="8771" y="11822"/>
                </a:lnTo>
                <a:lnTo>
                  <a:pt x="9398" y="11684"/>
                </a:lnTo>
                <a:lnTo>
                  <a:pt x="9877" y="11546"/>
                </a:lnTo>
                <a:lnTo>
                  <a:pt x="9877" y="9610"/>
                </a:lnTo>
                <a:lnTo>
                  <a:pt x="4487" y="9610"/>
                </a:lnTo>
                <a:lnTo>
                  <a:pt x="4008" y="9540"/>
                </a:lnTo>
                <a:lnTo>
                  <a:pt x="3317" y="9126"/>
                </a:lnTo>
                <a:lnTo>
                  <a:pt x="3381" y="7605"/>
                </a:lnTo>
                <a:lnTo>
                  <a:pt x="3455" y="7398"/>
                </a:lnTo>
                <a:lnTo>
                  <a:pt x="3657" y="7259"/>
                </a:lnTo>
                <a:lnTo>
                  <a:pt x="3869" y="7190"/>
                </a:lnTo>
                <a:lnTo>
                  <a:pt x="4072" y="7052"/>
                </a:lnTo>
                <a:lnTo>
                  <a:pt x="4284" y="6983"/>
                </a:lnTo>
                <a:lnTo>
                  <a:pt x="4560" y="6983"/>
                </a:lnTo>
                <a:lnTo>
                  <a:pt x="4837" y="6914"/>
                </a:lnTo>
                <a:lnTo>
                  <a:pt x="9877" y="6914"/>
                </a:lnTo>
                <a:lnTo>
                  <a:pt x="9877" y="4912"/>
                </a:lnTo>
                <a:lnTo>
                  <a:pt x="6772" y="4912"/>
                </a:lnTo>
                <a:lnTo>
                  <a:pt x="6560" y="4838"/>
                </a:lnTo>
                <a:lnTo>
                  <a:pt x="6284" y="4774"/>
                </a:lnTo>
                <a:lnTo>
                  <a:pt x="5943" y="4774"/>
                </a:lnTo>
                <a:lnTo>
                  <a:pt x="5592" y="4700"/>
                </a:lnTo>
                <a:close/>
              </a:path>
              <a:path w="10160" h="12700">
                <a:moveTo>
                  <a:pt x="9877" y="6914"/>
                </a:moveTo>
                <a:lnTo>
                  <a:pt x="6145" y="6914"/>
                </a:lnTo>
                <a:lnTo>
                  <a:pt x="6422" y="6983"/>
                </a:lnTo>
                <a:lnTo>
                  <a:pt x="6634" y="6983"/>
                </a:lnTo>
                <a:lnTo>
                  <a:pt x="6772" y="7052"/>
                </a:lnTo>
                <a:lnTo>
                  <a:pt x="6772" y="9540"/>
                </a:lnTo>
                <a:lnTo>
                  <a:pt x="6560" y="9540"/>
                </a:lnTo>
                <a:lnTo>
                  <a:pt x="6357" y="9610"/>
                </a:lnTo>
                <a:lnTo>
                  <a:pt x="9877" y="9610"/>
                </a:lnTo>
                <a:lnTo>
                  <a:pt x="9877" y="6914"/>
                </a:lnTo>
                <a:close/>
              </a:path>
              <a:path w="10160" h="12700">
                <a:moveTo>
                  <a:pt x="9674" y="2764"/>
                </a:moveTo>
                <a:lnTo>
                  <a:pt x="5316" y="2764"/>
                </a:lnTo>
                <a:lnTo>
                  <a:pt x="5869" y="2903"/>
                </a:lnTo>
                <a:lnTo>
                  <a:pt x="6560" y="3594"/>
                </a:lnTo>
                <a:lnTo>
                  <a:pt x="6772" y="4009"/>
                </a:lnTo>
                <a:lnTo>
                  <a:pt x="6772" y="4912"/>
                </a:lnTo>
                <a:lnTo>
                  <a:pt x="9877" y="4912"/>
                </a:lnTo>
                <a:lnTo>
                  <a:pt x="9766" y="3179"/>
                </a:lnTo>
                <a:lnTo>
                  <a:pt x="9674" y="2764"/>
                </a:lnTo>
                <a:close/>
              </a:path>
              <a:path w="10160" h="12700">
                <a:moveTo>
                  <a:pt x="5804" y="0"/>
                </a:moveTo>
                <a:lnTo>
                  <a:pt x="4072" y="0"/>
                </a:lnTo>
                <a:lnTo>
                  <a:pt x="3731" y="73"/>
                </a:lnTo>
                <a:lnTo>
                  <a:pt x="3317" y="73"/>
                </a:lnTo>
                <a:lnTo>
                  <a:pt x="2626" y="211"/>
                </a:lnTo>
                <a:lnTo>
                  <a:pt x="2275" y="211"/>
                </a:lnTo>
                <a:lnTo>
                  <a:pt x="967" y="552"/>
                </a:lnTo>
                <a:lnTo>
                  <a:pt x="1382" y="3179"/>
                </a:lnTo>
                <a:lnTo>
                  <a:pt x="2275" y="2903"/>
                </a:lnTo>
                <a:lnTo>
                  <a:pt x="3381" y="2764"/>
                </a:lnTo>
                <a:lnTo>
                  <a:pt x="9674" y="2764"/>
                </a:lnTo>
                <a:lnTo>
                  <a:pt x="9462" y="2211"/>
                </a:lnTo>
                <a:lnTo>
                  <a:pt x="9186" y="1658"/>
                </a:lnTo>
                <a:lnTo>
                  <a:pt x="8430" y="903"/>
                </a:lnTo>
                <a:lnTo>
                  <a:pt x="7942" y="552"/>
                </a:lnTo>
                <a:lnTo>
                  <a:pt x="7251" y="350"/>
                </a:lnTo>
                <a:lnTo>
                  <a:pt x="6634" y="138"/>
                </a:lnTo>
                <a:lnTo>
                  <a:pt x="5804" y="0"/>
                </a:lnTo>
                <a:close/>
              </a:path>
            </a:pathLst>
          </a:custGeom>
          <a:solidFill>
            <a:srgbClr val="127ABB"/>
          </a:solidFill>
        </p:spPr>
        <p:txBody>
          <a:bodyPr wrap="square" lIns="0" tIns="0" rIns="0" bIns="0" rtlCol="0"/>
          <a:lstStyle/>
          <a:p>
            <a:endParaRPr/>
          </a:p>
        </p:txBody>
      </p:sp>
      <p:sp>
        <p:nvSpPr>
          <p:cNvPr id="156" name="object 156"/>
          <p:cNvSpPr/>
          <p:nvPr/>
        </p:nvSpPr>
        <p:spPr>
          <a:xfrm>
            <a:off x="5575744" y="5741963"/>
            <a:ext cx="5715" cy="17780"/>
          </a:xfrm>
          <a:custGeom>
            <a:avLst/>
            <a:gdLst/>
            <a:ahLst/>
            <a:cxnLst/>
            <a:rect l="l" t="t" r="r" b="b"/>
            <a:pathLst>
              <a:path w="5714" h="17779">
                <a:moveTo>
                  <a:pt x="3317" y="0"/>
                </a:moveTo>
                <a:lnTo>
                  <a:pt x="0" y="488"/>
                </a:lnTo>
                <a:lnTo>
                  <a:pt x="104" y="14592"/>
                </a:lnTo>
                <a:lnTo>
                  <a:pt x="340" y="15422"/>
                </a:lnTo>
                <a:lnTo>
                  <a:pt x="3731" y="17288"/>
                </a:lnTo>
                <a:lnTo>
                  <a:pt x="4634" y="17288"/>
                </a:lnTo>
                <a:lnTo>
                  <a:pt x="5113" y="14592"/>
                </a:lnTo>
                <a:lnTo>
                  <a:pt x="4699" y="14592"/>
                </a:lnTo>
                <a:lnTo>
                  <a:pt x="4422" y="14522"/>
                </a:lnTo>
                <a:lnTo>
                  <a:pt x="4146" y="14384"/>
                </a:lnTo>
                <a:lnTo>
                  <a:pt x="3943" y="14315"/>
                </a:lnTo>
                <a:lnTo>
                  <a:pt x="3731" y="14176"/>
                </a:lnTo>
                <a:lnTo>
                  <a:pt x="3667" y="14038"/>
                </a:lnTo>
                <a:lnTo>
                  <a:pt x="3519" y="13831"/>
                </a:lnTo>
                <a:lnTo>
                  <a:pt x="3317" y="13209"/>
                </a:lnTo>
                <a:lnTo>
                  <a:pt x="3317" y="0"/>
                </a:lnTo>
                <a:close/>
              </a:path>
            </a:pathLst>
          </a:custGeom>
          <a:solidFill>
            <a:srgbClr val="127ABB"/>
          </a:solidFill>
        </p:spPr>
        <p:txBody>
          <a:bodyPr wrap="square" lIns="0" tIns="0" rIns="0" bIns="0" rtlCol="0"/>
          <a:lstStyle/>
          <a:p>
            <a:endParaRPr/>
          </a:p>
        </p:txBody>
      </p:sp>
      <p:sp>
        <p:nvSpPr>
          <p:cNvPr id="157" name="object 157"/>
          <p:cNvSpPr/>
          <p:nvPr/>
        </p:nvSpPr>
        <p:spPr>
          <a:xfrm>
            <a:off x="5588182" y="5747225"/>
            <a:ext cx="7620" cy="12065"/>
          </a:xfrm>
          <a:custGeom>
            <a:avLst/>
            <a:gdLst/>
            <a:ahLst/>
            <a:cxnLst/>
            <a:rect l="l" t="t" r="r" b="b"/>
            <a:pathLst>
              <a:path w="7620" h="12064">
                <a:moveTo>
                  <a:pt x="5390" y="0"/>
                </a:moveTo>
                <a:lnTo>
                  <a:pt x="3731" y="0"/>
                </a:lnTo>
                <a:lnTo>
                  <a:pt x="2837" y="64"/>
                </a:lnTo>
                <a:lnTo>
                  <a:pt x="1243" y="479"/>
                </a:lnTo>
                <a:lnTo>
                  <a:pt x="552" y="617"/>
                </a:lnTo>
                <a:lnTo>
                  <a:pt x="0" y="829"/>
                </a:lnTo>
                <a:lnTo>
                  <a:pt x="0" y="11818"/>
                </a:lnTo>
                <a:lnTo>
                  <a:pt x="3252" y="11818"/>
                </a:lnTo>
                <a:lnTo>
                  <a:pt x="3252" y="2967"/>
                </a:lnTo>
                <a:lnTo>
                  <a:pt x="3390" y="2903"/>
                </a:lnTo>
                <a:lnTo>
                  <a:pt x="3593" y="2903"/>
                </a:lnTo>
                <a:lnTo>
                  <a:pt x="3943" y="2829"/>
                </a:lnTo>
                <a:lnTo>
                  <a:pt x="4220" y="2829"/>
                </a:lnTo>
                <a:lnTo>
                  <a:pt x="4422" y="2764"/>
                </a:lnTo>
                <a:lnTo>
                  <a:pt x="7067" y="2764"/>
                </a:lnTo>
                <a:lnTo>
                  <a:pt x="7537" y="414"/>
                </a:lnTo>
                <a:lnTo>
                  <a:pt x="7122" y="276"/>
                </a:lnTo>
                <a:lnTo>
                  <a:pt x="6846" y="276"/>
                </a:lnTo>
                <a:lnTo>
                  <a:pt x="6634" y="202"/>
                </a:lnTo>
                <a:lnTo>
                  <a:pt x="6357" y="138"/>
                </a:lnTo>
                <a:lnTo>
                  <a:pt x="6155" y="138"/>
                </a:lnTo>
                <a:lnTo>
                  <a:pt x="5878" y="64"/>
                </a:lnTo>
                <a:lnTo>
                  <a:pt x="5602" y="64"/>
                </a:lnTo>
                <a:lnTo>
                  <a:pt x="5390" y="0"/>
                </a:lnTo>
                <a:close/>
              </a:path>
              <a:path w="7620" h="12064">
                <a:moveTo>
                  <a:pt x="7067" y="2764"/>
                </a:moveTo>
                <a:lnTo>
                  <a:pt x="5113" y="2764"/>
                </a:lnTo>
                <a:lnTo>
                  <a:pt x="6293" y="2967"/>
                </a:lnTo>
                <a:lnTo>
                  <a:pt x="6634" y="3105"/>
                </a:lnTo>
                <a:lnTo>
                  <a:pt x="6984" y="3179"/>
                </a:lnTo>
                <a:lnTo>
                  <a:pt x="7067" y="2764"/>
                </a:lnTo>
                <a:close/>
              </a:path>
            </a:pathLst>
          </a:custGeom>
          <a:solidFill>
            <a:srgbClr val="127ABB"/>
          </a:solidFill>
        </p:spPr>
        <p:txBody>
          <a:bodyPr wrap="square" lIns="0" tIns="0" rIns="0" bIns="0" rtlCol="0"/>
          <a:lstStyle/>
          <a:p>
            <a:endParaRPr/>
          </a:p>
        </p:txBody>
      </p:sp>
      <p:sp>
        <p:nvSpPr>
          <p:cNvPr id="158" name="object 158"/>
          <p:cNvSpPr/>
          <p:nvPr/>
        </p:nvSpPr>
        <p:spPr>
          <a:xfrm>
            <a:off x="5596639" y="5747151"/>
            <a:ext cx="10795" cy="12700"/>
          </a:xfrm>
          <a:custGeom>
            <a:avLst/>
            <a:gdLst/>
            <a:ahLst/>
            <a:cxnLst/>
            <a:rect l="l" t="t" r="r" b="b"/>
            <a:pathLst>
              <a:path w="10795" h="12700">
                <a:moveTo>
                  <a:pt x="7097" y="0"/>
                </a:moveTo>
                <a:lnTo>
                  <a:pt x="4747" y="0"/>
                </a:lnTo>
                <a:lnTo>
                  <a:pt x="4056" y="138"/>
                </a:lnTo>
                <a:lnTo>
                  <a:pt x="0" y="7881"/>
                </a:lnTo>
                <a:lnTo>
                  <a:pt x="309" y="8780"/>
                </a:lnTo>
                <a:lnTo>
                  <a:pt x="405" y="9126"/>
                </a:lnTo>
                <a:lnTo>
                  <a:pt x="4950" y="12237"/>
                </a:lnTo>
                <a:lnTo>
                  <a:pt x="6406" y="12237"/>
                </a:lnTo>
                <a:lnTo>
                  <a:pt x="6820" y="12168"/>
                </a:lnTo>
                <a:lnTo>
                  <a:pt x="7235" y="12168"/>
                </a:lnTo>
                <a:lnTo>
                  <a:pt x="8064" y="12030"/>
                </a:lnTo>
                <a:lnTo>
                  <a:pt x="9658" y="11684"/>
                </a:lnTo>
                <a:lnTo>
                  <a:pt x="10073" y="11477"/>
                </a:lnTo>
                <a:lnTo>
                  <a:pt x="9746" y="9403"/>
                </a:lnTo>
                <a:lnTo>
                  <a:pt x="5503" y="9403"/>
                </a:lnTo>
                <a:lnTo>
                  <a:pt x="4747" y="9195"/>
                </a:lnTo>
                <a:lnTo>
                  <a:pt x="4194" y="8780"/>
                </a:lnTo>
                <a:lnTo>
                  <a:pt x="3642" y="8434"/>
                </a:lnTo>
                <a:lnTo>
                  <a:pt x="3291" y="7881"/>
                </a:lnTo>
                <a:lnTo>
                  <a:pt x="3227" y="7190"/>
                </a:lnTo>
                <a:lnTo>
                  <a:pt x="10690" y="7190"/>
                </a:lnTo>
                <a:lnTo>
                  <a:pt x="10764" y="4912"/>
                </a:lnTo>
                <a:lnTo>
                  <a:pt x="3227" y="4912"/>
                </a:lnTo>
                <a:lnTo>
                  <a:pt x="3380" y="4285"/>
                </a:lnTo>
                <a:lnTo>
                  <a:pt x="5088" y="2700"/>
                </a:lnTo>
                <a:lnTo>
                  <a:pt x="10344" y="2700"/>
                </a:lnTo>
                <a:lnTo>
                  <a:pt x="10276" y="2488"/>
                </a:lnTo>
                <a:lnTo>
                  <a:pt x="9308" y="1520"/>
                </a:lnTo>
                <a:lnTo>
                  <a:pt x="8414" y="488"/>
                </a:lnTo>
                <a:lnTo>
                  <a:pt x="7097" y="0"/>
                </a:lnTo>
                <a:close/>
              </a:path>
              <a:path w="10795" h="12700">
                <a:moveTo>
                  <a:pt x="9658" y="8849"/>
                </a:moveTo>
                <a:lnTo>
                  <a:pt x="9308" y="8987"/>
                </a:lnTo>
                <a:lnTo>
                  <a:pt x="8829" y="9126"/>
                </a:lnTo>
                <a:lnTo>
                  <a:pt x="8203" y="9264"/>
                </a:lnTo>
                <a:lnTo>
                  <a:pt x="7032" y="9403"/>
                </a:lnTo>
                <a:lnTo>
                  <a:pt x="9746" y="9403"/>
                </a:lnTo>
                <a:lnTo>
                  <a:pt x="9658" y="8849"/>
                </a:lnTo>
                <a:close/>
              </a:path>
              <a:path w="10795" h="12700">
                <a:moveTo>
                  <a:pt x="10344" y="2700"/>
                </a:moveTo>
                <a:lnTo>
                  <a:pt x="5853" y="2700"/>
                </a:lnTo>
                <a:lnTo>
                  <a:pt x="6203" y="2764"/>
                </a:lnTo>
                <a:lnTo>
                  <a:pt x="6406" y="2903"/>
                </a:lnTo>
                <a:lnTo>
                  <a:pt x="7585" y="4912"/>
                </a:lnTo>
                <a:lnTo>
                  <a:pt x="10764" y="4912"/>
                </a:lnTo>
                <a:lnTo>
                  <a:pt x="10720" y="3870"/>
                </a:lnTo>
                <a:lnTo>
                  <a:pt x="10344" y="2700"/>
                </a:lnTo>
                <a:close/>
              </a:path>
            </a:pathLst>
          </a:custGeom>
          <a:solidFill>
            <a:srgbClr val="127ABB"/>
          </a:solidFill>
        </p:spPr>
        <p:txBody>
          <a:bodyPr wrap="square" lIns="0" tIns="0" rIns="0" bIns="0" rtlCol="0"/>
          <a:lstStyle/>
          <a:p>
            <a:endParaRPr/>
          </a:p>
        </p:txBody>
      </p:sp>
      <p:sp>
        <p:nvSpPr>
          <p:cNvPr id="159" name="object 159"/>
          <p:cNvSpPr/>
          <p:nvPr/>
        </p:nvSpPr>
        <p:spPr>
          <a:xfrm>
            <a:off x="5608159" y="5747428"/>
            <a:ext cx="12065" cy="12065"/>
          </a:xfrm>
          <a:custGeom>
            <a:avLst/>
            <a:gdLst/>
            <a:ahLst/>
            <a:cxnLst/>
            <a:rect l="l" t="t" r="r" b="b"/>
            <a:pathLst>
              <a:path w="12064" h="12064">
                <a:moveTo>
                  <a:pt x="3455" y="0"/>
                </a:moveTo>
                <a:lnTo>
                  <a:pt x="0" y="0"/>
                </a:lnTo>
                <a:lnTo>
                  <a:pt x="759" y="2562"/>
                </a:lnTo>
                <a:lnTo>
                  <a:pt x="1434" y="4635"/>
                </a:lnTo>
                <a:lnTo>
                  <a:pt x="2146" y="6499"/>
                </a:lnTo>
                <a:lnTo>
                  <a:pt x="3731" y="10164"/>
                </a:lnTo>
                <a:lnTo>
                  <a:pt x="4422" y="11615"/>
                </a:lnTo>
                <a:lnTo>
                  <a:pt x="7187" y="11615"/>
                </a:lnTo>
                <a:lnTo>
                  <a:pt x="7951" y="10164"/>
                </a:lnTo>
                <a:lnTo>
                  <a:pt x="8707" y="8434"/>
                </a:lnTo>
                <a:lnTo>
                  <a:pt x="9007" y="7674"/>
                </a:lnTo>
                <a:lnTo>
                  <a:pt x="5878" y="7674"/>
                </a:lnTo>
                <a:lnTo>
                  <a:pt x="5666" y="7190"/>
                </a:lnTo>
                <a:lnTo>
                  <a:pt x="5252" y="5944"/>
                </a:lnTo>
                <a:lnTo>
                  <a:pt x="5049" y="5253"/>
                </a:lnTo>
                <a:lnTo>
                  <a:pt x="4782" y="4497"/>
                </a:lnTo>
                <a:lnTo>
                  <a:pt x="4560" y="3944"/>
                </a:lnTo>
                <a:lnTo>
                  <a:pt x="4146" y="2562"/>
                </a:lnTo>
                <a:lnTo>
                  <a:pt x="4008" y="1870"/>
                </a:lnTo>
                <a:lnTo>
                  <a:pt x="3593" y="626"/>
                </a:lnTo>
                <a:lnTo>
                  <a:pt x="3455" y="0"/>
                </a:lnTo>
                <a:close/>
              </a:path>
              <a:path w="12064" h="12064">
                <a:moveTo>
                  <a:pt x="11683" y="0"/>
                </a:moveTo>
                <a:lnTo>
                  <a:pt x="8292" y="0"/>
                </a:lnTo>
                <a:lnTo>
                  <a:pt x="8089" y="626"/>
                </a:lnTo>
                <a:lnTo>
                  <a:pt x="7951" y="1244"/>
                </a:lnTo>
                <a:lnTo>
                  <a:pt x="6900" y="4635"/>
                </a:lnTo>
                <a:lnTo>
                  <a:pt x="6081" y="7190"/>
                </a:lnTo>
                <a:lnTo>
                  <a:pt x="5878" y="7674"/>
                </a:lnTo>
                <a:lnTo>
                  <a:pt x="9007" y="7674"/>
                </a:lnTo>
                <a:lnTo>
                  <a:pt x="10227" y="4497"/>
                </a:lnTo>
                <a:lnTo>
                  <a:pt x="10992" y="2350"/>
                </a:lnTo>
                <a:lnTo>
                  <a:pt x="11683" y="0"/>
                </a:lnTo>
                <a:close/>
              </a:path>
            </a:pathLst>
          </a:custGeom>
          <a:solidFill>
            <a:srgbClr val="127ABB"/>
          </a:solidFill>
        </p:spPr>
        <p:txBody>
          <a:bodyPr wrap="square" lIns="0" tIns="0" rIns="0" bIns="0" rtlCol="0"/>
          <a:lstStyle/>
          <a:p>
            <a:endParaRPr/>
          </a:p>
        </p:txBody>
      </p:sp>
      <p:sp>
        <p:nvSpPr>
          <p:cNvPr id="160" name="object 160"/>
          <p:cNvSpPr/>
          <p:nvPr/>
        </p:nvSpPr>
        <p:spPr>
          <a:xfrm>
            <a:off x="5620483" y="5747151"/>
            <a:ext cx="11430" cy="12700"/>
          </a:xfrm>
          <a:custGeom>
            <a:avLst/>
            <a:gdLst/>
            <a:ahLst/>
            <a:cxnLst/>
            <a:rect l="l" t="t" r="r" b="b"/>
            <a:pathLst>
              <a:path w="11429" h="12700">
                <a:moveTo>
                  <a:pt x="6546" y="0"/>
                </a:moveTo>
                <a:lnTo>
                  <a:pt x="4888" y="0"/>
                </a:lnTo>
                <a:lnTo>
                  <a:pt x="4123" y="138"/>
                </a:lnTo>
                <a:lnTo>
                  <a:pt x="0" y="7121"/>
                </a:lnTo>
                <a:lnTo>
                  <a:pt x="115" y="7812"/>
                </a:lnTo>
                <a:lnTo>
                  <a:pt x="465" y="8573"/>
                </a:lnTo>
                <a:lnTo>
                  <a:pt x="776" y="9403"/>
                </a:lnTo>
                <a:lnTo>
                  <a:pt x="1082" y="10025"/>
                </a:lnTo>
                <a:lnTo>
                  <a:pt x="2123" y="11062"/>
                </a:lnTo>
                <a:lnTo>
                  <a:pt x="2676" y="11477"/>
                </a:lnTo>
                <a:lnTo>
                  <a:pt x="3367" y="11753"/>
                </a:lnTo>
                <a:lnTo>
                  <a:pt x="4123" y="12099"/>
                </a:lnTo>
                <a:lnTo>
                  <a:pt x="4888" y="12237"/>
                </a:lnTo>
                <a:lnTo>
                  <a:pt x="6620" y="12237"/>
                </a:lnTo>
                <a:lnTo>
                  <a:pt x="7375" y="12099"/>
                </a:lnTo>
                <a:lnTo>
                  <a:pt x="8066" y="11753"/>
                </a:lnTo>
                <a:lnTo>
                  <a:pt x="8758" y="11477"/>
                </a:lnTo>
                <a:lnTo>
                  <a:pt x="9384" y="11062"/>
                </a:lnTo>
                <a:lnTo>
                  <a:pt x="9863" y="10509"/>
                </a:lnTo>
                <a:lnTo>
                  <a:pt x="10352" y="10025"/>
                </a:lnTo>
                <a:lnTo>
                  <a:pt x="10724" y="9403"/>
                </a:lnTo>
                <a:lnTo>
                  <a:pt x="4961" y="9403"/>
                </a:lnTo>
                <a:lnTo>
                  <a:pt x="4399" y="9126"/>
                </a:lnTo>
                <a:lnTo>
                  <a:pt x="3570" y="7881"/>
                </a:lnTo>
                <a:lnTo>
                  <a:pt x="3367" y="7121"/>
                </a:lnTo>
                <a:lnTo>
                  <a:pt x="3367" y="5050"/>
                </a:lnTo>
                <a:lnTo>
                  <a:pt x="3570" y="4285"/>
                </a:lnTo>
                <a:lnTo>
                  <a:pt x="3985" y="3668"/>
                </a:lnTo>
                <a:lnTo>
                  <a:pt x="4399" y="3115"/>
                </a:lnTo>
                <a:lnTo>
                  <a:pt x="4961" y="2838"/>
                </a:lnTo>
                <a:lnTo>
                  <a:pt x="10692" y="2838"/>
                </a:lnTo>
                <a:lnTo>
                  <a:pt x="10352" y="2211"/>
                </a:lnTo>
                <a:lnTo>
                  <a:pt x="9310" y="1179"/>
                </a:lnTo>
                <a:lnTo>
                  <a:pt x="8758" y="764"/>
                </a:lnTo>
                <a:lnTo>
                  <a:pt x="8002" y="414"/>
                </a:lnTo>
                <a:lnTo>
                  <a:pt x="7311" y="138"/>
                </a:lnTo>
                <a:lnTo>
                  <a:pt x="6546" y="0"/>
                </a:lnTo>
                <a:close/>
              </a:path>
              <a:path w="11429" h="12700">
                <a:moveTo>
                  <a:pt x="10692" y="2838"/>
                </a:moveTo>
                <a:lnTo>
                  <a:pt x="6482" y="2838"/>
                </a:lnTo>
                <a:lnTo>
                  <a:pt x="7034" y="3115"/>
                </a:lnTo>
                <a:lnTo>
                  <a:pt x="7449" y="3668"/>
                </a:lnTo>
                <a:lnTo>
                  <a:pt x="7864" y="4285"/>
                </a:lnTo>
                <a:lnTo>
                  <a:pt x="8066" y="5050"/>
                </a:lnTo>
                <a:lnTo>
                  <a:pt x="8066" y="7121"/>
                </a:lnTo>
                <a:lnTo>
                  <a:pt x="7864" y="7881"/>
                </a:lnTo>
                <a:lnTo>
                  <a:pt x="7034" y="9126"/>
                </a:lnTo>
                <a:lnTo>
                  <a:pt x="6482" y="9403"/>
                </a:lnTo>
                <a:lnTo>
                  <a:pt x="10724" y="9403"/>
                </a:lnTo>
                <a:lnTo>
                  <a:pt x="11043" y="8573"/>
                </a:lnTo>
                <a:lnTo>
                  <a:pt x="11245" y="7812"/>
                </a:lnTo>
                <a:lnTo>
                  <a:pt x="11360" y="7121"/>
                </a:lnTo>
                <a:lnTo>
                  <a:pt x="11245" y="4359"/>
                </a:lnTo>
                <a:lnTo>
                  <a:pt x="10692" y="2838"/>
                </a:lnTo>
                <a:close/>
              </a:path>
            </a:pathLst>
          </a:custGeom>
          <a:solidFill>
            <a:srgbClr val="127ABB"/>
          </a:solidFill>
        </p:spPr>
        <p:txBody>
          <a:bodyPr wrap="square" lIns="0" tIns="0" rIns="0" bIns="0" rtlCol="0"/>
          <a:lstStyle/>
          <a:p>
            <a:endParaRPr/>
          </a:p>
        </p:txBody>
      </p:sp>
      <p:sp>
        <p:nvSpPr>
          <p:cNvPr id="161" name="object 161"/>
          <p:cNvSpPr/>
          <p:nvPr/>
        </p:nvSpPr>
        <p:spPr>
          <a:xfrm>
            <a:off x="5634152" y="5741963"/>
            <a:ext cx="5080" cy="17780"/>
          </a:xfrm>
          <a:custGeom>
            <a:avLst/>
            <a:gdLst/>
            <a:ahLst/>
            <a:cxnLst/>
            <a:rect l="l" t="t" r="r" b="b"/>
            <a:pathLst>
              <a:path w="5079" h="17779">
                <a:moveTo>
                  <a:pt x="3243" y="0"/>
                </a:moveTo>
                <a:lnTo>
                  <a:pt x="0" y="488"/>
                </a:lnTo>
                <a:lnTo>
                  <a:pt x="39" y="14592"/>
                </a:lnTo>
                <a:lnTo>
                  <a:pt x="276" y="15422"/>
                </a:lnTo>
                <a:lnTo>
                  <a:pt x="3657" y="17288"/>
                </a:lnTo>
                <a:lnTo>
                  <a:pt x="4625" y="17288"/>
                </a:lnTo>
                <a:lnTo>
                  <a:pt x="5040" y="14592"/>
                </a:lnTo>
                <a:lnTo>
                  <a:pt x="4699" y="14592"/>
                </a:lnTo>
                <a:lnTo>
                  <a:pt x="4349" y="14522"/>
                </a:lnTo>
                <a:lnTo>
                  <a:pt x="4146" y="14384"/>
                </a:lnTo>
                <a:lnTo>
                  <a:pt x="3869" y="14315"/>
                </a:lnTo>
                <a:lnTo>
                  <a:pt x="3593" y="14038"/>
                </a:lnTo>
                <a:lnTo>
                  <a:pt x="3455" y="13831"/>
                </a:lnTo>
                <a:lnTo>
                  <a:pt x="3243" y="13209"/>
                </a:lnTo>
                <a:lnTo>
                  <a:pt x="3243" y="0"/>
                </a:lnTo>
                <a:close/>
              </a:path>
            </a:pathLst>
          </a:custGeom>
          <a:solidFill>
            <a:srgbClr val="127ABB"/>
          </a:solidFill>
        </p:spPr>
        <p:txBody>
          <a:bodyPr wrap="square" lIns="0" tIns="0" rIns="0" bIns="0" rtlCol="0"/>
          <a:lstStyle/>
          <a:p>
            <a:endParaRPr/>
          </a:p>
        </p:txBody>
      </p:sp>
      <p:sp>
        <p:nvSpPr>
          <p:cNvPr id="162" name="object 162"/>
          <p:cNvSpPr/>
          <p:nvPr/>
        </p:nvSpPr>
        <p:spPr>
          <a:xfrm>
            <a:off x="5640648" y="5747428"/>
            <a:ext cx="10160" cy="12065"/>
          </a:xfrm>
          <a:custGeom>
            <a:avLst/>
            <a:gdLst/>
            <a:ahLst/>
            <a:cxnLst/>
            <a:rect l="l" t="t" r="r" b="b"/>
            <a:pathLst>
              <a:path w="10160" h="12064">
                <a:moveTo>
                  <a:pt x="3317" y="0"/>
                </a:moveTo>
                <a:lnTo>
                  <a:pt x="0" y="0"/>
                </a:lnTo>
                <a:lnTo>
                  <a:pt x="58" y="7951"/>
                </a:lnTo>
                <a:lnTo>
                  <a:pt x="307" y="8849"/>
                </a:lnTo>
                <a:lnTo>
                  <a:pt x="414" y="9333"/>
                </a:lnTo>
                <a:lnTo>
                  <a:pt x="691" y="9887"/>
                </a:lnTo>
                <a:lnTo>
                  <a:pt x="1105" y="10371"/>
                </a:lnTo>
                <a:lnTo>
                  <a:pt x="1446" y="10855"/>
                </a:lnTo>
                <a:lnTo>
                  <a:pt x="1999" y="11269"/>
                </a:lnTo>
                <a:lnTo>
                  <a:pt x="2626" y="11477"/>
                </a:lnTo>
                <a:lnTo>
                  <a:pt x="3317" y="11753"/>
                </a:lnTo>
                <a:lnTo>
                  <a:pt x="4072" y="11892"/>
                </a:lnTo>
                <a:lnTo>
                  <a:pt x="6081" y="11892"/>
                </a:lnTo>
                <a:lnTo>
                  <a:pt x="6975" y="11822"/>
                </a:lnTo>
                <a:lnTo>
                  <a:pt x="8781" y="11546"/>
                </a:lnTo>
                <a:lnTo>
                  <a:pt x="9472" y="11408"/>
                </a:lnTo>
                <a:lnTo>
                  <a:pt x="10024" y="11269"/>
                </a:lnTo>
                <a:lnTo>
                  <a:pt x="10024" y="9127"/>
                </a:lnTo>
                <a:lnTo>
                  <a:pt x="4487" y="9127"/>
                </a:lnTo>
                <a:lnTo>
                  <a:pt x="4008" y="8849"/>
                </a:lnTo>
                <a:lnTo>
                  <a:pt x="3731" y="8365"/>
                </a:lnTo>
                <a:lnTo>
                  <a:pt x="3455" y="7951"/>
                </a:lnTo>
                <a:lnTo>
                  <a:pt x="3329" y="7259"/>
                </a:lnTo>
                <a:lnTo>
                  <a:pt x="3317" y="0"/>
                </a:lnTo>
                <a:close/>
              </a:path>
              <a:path w="10160" h="12064">
                <a:moveTo>
                  <a:pt x="10024" y="0"/>
                </a:moveTo>
                <a:lnTo>
                  <a:pt x="6772" y="0"/>
                </a:lnTo>
                <a:lnTo>
                  <a:pt x="6772" y="8987"/>
                </a:lnTo>
                <a:lnTo>
                  <a:pt x="6560" y="8987"/>
                </a:lnTo>
                <a:lnTo>
                  <a:pt x="6284" y="9057"/>
                </a:lnTo>
                <a:lnTo>
                  <a:pt x="5804" y="9057"/>
                </a:lnTo>
                <a:lnTo>
                  <a:pt x="5528" y="9127"/>
                </a:lnTo>
                <a:lnTo>
                  <a:pt x="10024" y="9127"/>
                </a:lnTo>
                <a:lnTo>
                  <a:pt x="10024" y="0"/>
                </a:lnTo>
                <a:close/>
              </a:path>
            </a:pathLst>
          </a:custGeom>
          <a:solidFill>
            <a:srgbClr val="127ABB"/>
          </a:solidFill>
        </p:spPr>
        <p:txBody>
          <a:bodyPr wrap="square" lIns="0" tIns="0" rIns="0" bIns="0" rtlCol="0"/>
          <a:lstStyle/>
          <a:p>
            <a:endParaRPr/>
          </a:p>
        </p:txBody>
      </p:sp>
      <p:sp>
        <p:nvSpPr>
          <p:cNvPr id="163" name="object 163"/>
          <p:cNvSpPr/>
          <p:nvPr/>
        </p:nvSpPr>
        <p:spPr>
          <a:xfrm>
            <a:off x="5653437" y="5744036"/>
            <a:ext cx="8255" cy="15875"/>
          </a:xfrm>
          <a:custGeom>
            <a:avLst/>
            <a:gdLst/>
            <a:ahLst/>
            <a:cxnLst/>
            <a:rect l="l" t="t" r="r" b="b"/>
            <a:pathLst>
              <a:path w="8254" h="15875">
                <a:moveTo>
                  <a:pt x="3317" y="0"/>
                </a:moveTo>
                <a:lnTo>
                  <a:pt x="0" y="552"/>
                </a:lnTo>
                <a:lnTo>
                  <a:pt x="110" y="11895"/>
                </a:lnTo>
                <a:lnTo>
                  <a:pt x="340" y="12933"/>
                </a:lnTo>
                <a:lnTo>
                  <a:pt x="3731" y="15283"/>
                </a:lnTo>
                <a:lnTo>
                  <a:pt x="5316" y="15283"/>
                </a:lnTo>
                <a:lnTo>
                  <a:pt x="6357" y="15145"/>
                </a:lnTo>
                <a:lnTo>
                  <a:pt x="7325" y="14869"/>
                </a:lnTo>
                <a:lnTo>
                  <a:pt x="7739" y="14661"/>
                </a:lnTo>
                <a:lnTo>
                  <a:pt x="7330" y="12518"/>
                </a:lnTo>
                <a:lnTo>
                  <a:pt x="4422" y="12518"/>
                </a:lnTo>
                <a:lnTo>
                  <a:pt x="3934" y="12310"/>
                </a:lnTo>
                <a:lnTo>
                  <a:pt x="3657" y="11895"/>
                </a:lnTo>
                <a:lnTo>
                  <a:pt x="3455" y="11481"/>
                </a:lnTo>
                <a:lnTo>
                  <a:pt x="3351" y="11066"/>
                </a:lnTo>
                <a:lnTo>
                  <a:pt x="3317" y="6156"/>
                </a:lnTo>
                <a:lnTo>
                  <a:pt x="7251" y="6156"/>
                </a:lnTo>
                <a:lnTo>
                  <a:pt x="7251" y="3391"/>
                </a:lnTo>
                <a:lnTo>
                  <a:pt x="3317" y="3391"/>
                </a:lnTo>
                <a:lnTo>
                  <a:pt x="3317" y="0"/>
                </a:lnTo>
                <a:close/>
              </a:path>
              <a:path w="8254" h="15875">
                <a:moveTo>
                  <a:pt x="7251" y="12103"/>
                </a:moveTo>
                <a:lnTo>
                  <a:pt x="6560" y="12379"/>
                </a:lnTo>
                <a:lnTo>
                  <a:pt x="6219" y="12379"/>
                </a:lnTo>
                <a:lnTo>
                  <a:pt x="5454" y="12518"/>
                </a:lnTo>
                <a:lnTo>
                  <a:pt x="7330" y="12518"/>
                </a:lnTo>
                <a:lnTo>
                  <a:pt x="7251" y="12103"/>
                </a:lnTo>
                <a:close/>
              </a:path>
            </a:pathLst>
          </a:custGeom>
          <a:solidFill>
            <a:srgbClr val="127ABB"/>
          </a:solidFill>
        </p:spPr>
        <p:txBody>
          <a:bodyPr wrap="square" lIns="0" tIns="0" rIns="0" bIns="0" rtlCol="0"/>
          <a:lstStyle/>
          <a:p>
            <a:endParaRPr/>
          </a:p>
        </p:txBody>
      </p:sp>
      <p:sp>
        <p:nvSpPr>
          <p:cNvPr id="164" name="object 164"/>
          <p:cNvSpPr/>
          <p:nvPr/>
        </p:nvSpPr>
        <p:spPr>
          <a:xfrm>
            <a:off x="5662762" y="5742175"/>
            <a:ext cx="4445" cy="17145"/>
          </a:xfrm>
          <a:custGeom>
            <a:avLst/>
            <a:gdLst/>
            <a:ahLst/>
            <a:cxnLst/>
            <a:rect l="l" t="t" r="r" b="b"/>
            <a:pathLst>
              <a:path w="4445" h="17145">
                <a:moveTo>
                  <a:pt x="3593" y="5253"/>
                </a:moveTo>
                <a:lnTo>
                  <a:pt x="276" y="5253"/>
                </a:lnTo>
                <a:lnTo>
                  <a:pt x="276" y="16869"/>
                </a:lnTo>
                <a:lnTo>
                  <a:pt x="3593" y="16869"/>
                </a:lnTo>
                <a:lnTo>
                  <a:pt x="3593" y="5253"/>
                </a:lnTo>
                <a:close/>
              </a:path>
              <a:path w="4445" h="17145">
                <a:moveTo>
                  <a:pt x="2487" y="0"/>
                </a:moveTo>
                <a:lnTo>
                  <a:pt x="1382" y="0"/>
                </a:lnTo>
                <a:lnTo>
                  <a:pt x="967" y="138"/>
                </a:lnTo>
                <a:lnTo>
                  <a:pt x="138" y="829"/>
                </a:lnTo>
                <a:lnTo>
                  <a:pt x="0" y="1308"/>
                </a:lnTo>
                <a:lnTo>
                  <a:pt x="0" y="2552"/>
                </a:lnTo>
                <a:lnTo>
                  <a:pt x="138" y="3041"/>
                </a:lnTo>
                <a:lnTo>
                  <a:pt x="967" y="3732"/>
                </a:lnTo>
                <a:lnTo>
                  <a:pt x="1382" y="3870"/>
                </a:lnTo>
                <a:lnTo>
                  <a:pt x="2487" y="3870"/>
                </a:lnTo>
                <a:lnTo>
                  <a:pt x="2902" y="3732"/>
                </a:lnTo>
                <a:lnTo>
                  <a:pt x="3731" y="3041"/>
                </a:lnTo>
                <a:lnTo>
                  <a:pt x="3869" y="2552"/>
                </a:lnTo>
                <a:lnTo>
                  <a:pt x="3869" y="1308"/>
                </a:lnTo>
                <a:lnTo>
                  <a:pt x="3731" y="829"/>
                </a:lnTo>
                <a:lnTo>
                  <a:pt x="2902" y="138"/>
                </a:lnTo>
                <a:lnTo>
                  <a:pt x="2487" y="0"/>
                </a:lnTo>
                <a:close/>
              </a:path>
            </a:pathLst>
          </a:custGeom>
          <a:solidFill>
            <a:srgbClr val="127ABB"/>
          </a:solidFill>
        </p:spPr>
        <p:txBody>
          <a:bodyPr wrap="square" lIns="0" tIns="0" rIns="0" bIns="0" rtlCol="0"/>
          <a:lstStyle/>
          <a:p>
            <a:endParaRPr/>
          </a:p>
        </p:txBody>
      </p:sp>
      <p:sp>
        <p:nvSpPr>
          <p:cNvPr id="165" name="object 165"/>
          <p:cNvSpPr/>
          <p:nvPr/>
        </p:nvSpPr>
        <p:spPr>
          <a:xfrm>
            <a:off x="5668590" y="5747151"/>
            <a:ext cx="11430" cy="12700"/>
          </a:xfrm>
          <a:custGeom>
            <a:avLst/>
            <a:gdLst/>
            <a:ahLst/>
            <a:cxnLst/>
            <a:rect l="l" t="t" r="r" b="b"/>
            <a:pathLst>
              <a:path w="11429" h="12700">
                <a:moveTo>
                  <a:pt x="6546" y="0"/>
                </a:moveTo>
                <a:lnTo>
                  <a:pt x="4888" y="0"/>
                </a:lnTo>
                <a:lnTo>
                  <a:pt x="4132" y="138"/>
                </a:lnTo>
                <a:lnTo>
                  <a:pt x="0" y="7121"/>
                </a:lnTo>
                <a:lnTo>
                  <a:pt x="140" y="7881"/>
                </a:lnTo>
                <a:lnTo>
                  <a:pt x="709" y="9403"/>
                </a:lnTo>
                <a:lnTo>
                  <a:pt x="1082" y="10025"/>
                </a:lnTo>
                <a:lnTo>
                  <a:pt x="1571" y="10509"/>
                </a:lnTo>
                <a:lnTo>
                  <a:pt x="2050" y="11062"/>
                </a:lnTo>
                <a:lnTo>
                  <a:pt x="2676" y="11477"/>
                </a:lnTo>
                <a:lnTo>
                  <a:pt x="3367" y="11753"/>
                </a:lnTo>
                <a:lnTo>
                  <a:pt x="4058" y="12099"/>
                </a:lnTo>
                <a:lnTo>
                  <a:pt x="4823" y="12237"/>
                </a:lnTo>
                <a:lnTo>
                  <a:pt x="6546" y="12237"/>
                </a:lnTo>
                <a:lnTo>
                  <a:pt x="7375" y="12099"/>
                </a:lnTo>
                <a:lnTo>
                  <a:pt x="8066" y="11753"/>
                </a:lnTo>
                <a:lnTo>
                  <a:pt x="8758" y="11477"/>
                </a:lnTo>
                <a:lnTo>
                  <a:pt x="9384" y="11062"/>
                </a:lnTo>
                <a:lnTo>
                  <a:pt x="9863" y="10509"/>
                </a:lnTo>
                <a:lnTo>
                  <a:pt x="10352" y="10025"/>
                </a:lnTo>
                <a:lnTo>
                  <a:pt x="10724" y="9403"/>
                </a:lnTo>
                <a:lnTo>
                  <a:pt x="4961" y="9403"/>
                </a:lnTo>
                <a:lnTo>
                  <a:pt x="4408" y="9126"/>
                </a:lnTo>
                <a:lnTo>
                  <a:pt x="3579" y="7881"/>
                </a:lnTo>
                <a:lnTo>
                  <a:pt x="3367" y="7121"/>
                </a:lnTo>
                <a:lnTo>
                  <a:pt x="3367" y="5050"/>
                </a:lnTo>
                <a:lnTo>
                  <a:pt x="3579" y="4285"/>
                </a:lnTo>
                <a:lnTo>
                  <a:pt x="4049" y="3594"/>
                </a:lnTo>
                <a:lnTo>
                  <a:pt x="4408" y="3115"/>
                </a:lnTo>
                <a:lnTo>
                  <a:pt x="4961" y="2838"/>
                </a:lnTo>
                <a:lnTo>
                  <a:pt x="10692" y="2838"/>
                </a:lnTo>
                <a:lnTo>
                  <a:pt x="10278" y="2211"/>
                </a:lnTo>
                <a:lnTo>
                  <a:pt x="7311" y="138"/>
                </a:lnTo>
                <a:lnTo>
                  <a:pt x="6546" y="0"/>
                </a:lnTo>
                <a:close/>
              </a:path>
              <a:path w="11429" h="12700">
                <a:moveTo>
                  <a:pt x="10692" y="2838"/>
                </a:moveTo>
                <a:lnTo>
                  <a:pt x="6482" y="2838"/>
                </a:lnTo>
                <a:lnTo>
                  <a:pt x="7034" y="3115"/>
                </a:lnTo>
                <a:lnTo>
                  <a:pt x="7449" y="3668"/>
                </a:lnTo>
                <a:lnTo>
                  <a:pt x="7864" y="4285"/>
                </a:lnTo>
                <a:lnTo>
                  <a:pt x="8066" y="5050"/>
                </a:lnTo>
                <a:lnTo>
                  <a:pt x="8066" y="7121"/>
                </a:lnTo>
                <a:lnTo>
                  <a:pt x="7864" y="7881"/>
                </a:lnTo>
                <a:lnTo>
                  <a:pt x="7034" y="9126"/>
                </a:lnTo>
                <a:lnTo>
                  <a:pt x="6482" y="9403"/>
                </a:lnTo>
                <a:lnTo>
                  <a:pt x="10724" y="9403"/>
                </a:lnTo>
                <a:lnTo>
                  <a:pt x="10821" y="9126"/>
                </a:lnTo>
                <a:lnTo>
                  <a:pt x="10969" y="8573"/>
                </a:lnTo>
                <a:lnTo>
                  <a:pt x="11245" y="7812"/>
                </a:lnTo>
                <a:lnTo>
                  <a:pt x="11360" y="7121"/>
                </a:lnTo>
                <a:lnTo>
                  <a:pt x="11245" y="4359"/>
                </a:lnTo>
                <a:lnTo>
                  <a:pt x="10692" y="2838"/>
                </a:lnTo>
                <a:close/>
              </a:path>
            </a:pathLst>
          </a:custGeom>
          <a:solidFill>
            <a:srgbClr val="127ABB"/>
          </a:solidFill>
        </p:spPr>
        <p:txBody>
          <a:bodyPr wrap="square" lIns="0" tIns="0" rIns="0" bIns="0" rtlCol="0"/>
          <a:lstStyle/>
          <a:p>
            <a:endParaRPr/>
          </a:p>
        </p:txBody>
      </p:sp>
      <p:sp>
        <p:nvSpPr>
          <p:cNvPr id="166" name="object 166"/>
          <p:cNvSpPr/>
          <p:nvPr/>
        </p:nvSpPr>
        <p:spPr>
          <a:xfrm>
            <a:off x="5682258" y="5747225"/>
            <a:ext cx="10160" cy="12065"/>
          </a:xfrm>
          <a:custGeom>
            <a:avLst/>
            <a:gdLst/>
            <a:ahLst/>
            <a:cxnLst/>
            <a:rect l="l" t="t" r="r" b="b"/>
            <a:pathLst>
              <a:path w="10160" h="12064">
                <a:moveTo>
                  <a:pt x="5869" y="0"/>
                </a:moveTo>
                <a:lnTo>
                  <a:pt x="3934" y="0"/>
                </a:lnTo>
                <a:lnTo>
                  <a:pt x="3040" y="64"/>
                </a:lnTo>
                <a:lnTo>
                  <a:pt x="1243" y="341"/>
                </a:lnTo>
                <a:lnTo>
                  <a:pt x="552" y="479"/>
                </a:lnTo>
                <a:lnTo>
                  <a:pt x="0" y="617"/>
                </a:lnTo>
                <a:lnTo>
                  <a:pt x="0" y="11818"/>
                </a:lnTo>
                <a:lnTo>
                  <a:pt x="3243" y="11818"/>
                </a:lnTo>
                <a:lnTo>
                  <a:pt x="3243" y="2903"/>
                </a:lnTo>
                <a:lnTo>
                  <a:pt x="3455" y="2829"/>
                </a:lnTo>
                <a:lnTo>
                  <a:pt x="3934" y="2829"/>
                </a:lnTo>
                <a:lnTo>
                  <a:pt x="4210" y="2764"/>
                </a:lnTo>
                <a:lnTo>
                  <a:pt x="9659" y="2764"/>
                </a:lnTo>
                <a:lnTo>
                  <a:pt x="9601" y="2488"/>
                </a:lnTo>
                <a:lnTo>
                  <a:pt x="9324" y="1935"/>
                </a:lnTo>
                <a:lnTo>
                  <a:pt x="8910" y="1446"/>
                </a:lnTo>
                <a:lnTo>
                  <a:pt x="8569" y="967"/>
                </a:lnTo>
                <a:lnTo>
                  <a:pt x="8016" y="617"/>
                </a:lnTo>
                <a:lnTo>
                  <a:pt x="7389" y="341"/>
                </a:lnTo>
                <a:lnTo>
                  <a:pt x="6698" y="138"/>
                </a:lnTo>
                <a:lnTo>
                  <a:pt x="5869" y="0"/>
                </a:lnTo>
                <a:close/>
              </a:path>
              <a:path w="10160" h="12064">
                <a:moveTo>
                  <a:pt x="9659" y="2764"/>
                </a:moveTo>
                <a:lnTo>
                  <a:pt x="5454" y="2764"/>
                </a:lnTo>
                <a:lnTo>
                  <a:pt x="6007" y="2967"/>
                </a:lnTo>
                <a:lnTo>
                  <a:pt x="6284" y="3456"/>
                </a:lnTo>
                <a:lnTo>
                  <a:pt x="6560" y="3870"/>
                </a:lnTo>
                <a:lnTo>
                  <a:pt x="6673" y="4488"/>
                </a:lnTo>
                <a:lnTo>
                  <a:pt x="6698" y="11818"/>
                </a:lnTo>
                <a:lnTo>
                  <a:pt x="9951" y="11818"/>
                </a:lnTo>
                <a:lnTo>
                  <a:pt x="9877" y="3797"/>
                </a:lnTo>
                <a:lnTo>
                  <a:pt x="9659" y="2764"/>
                </a:lnTo>
                <a:close/>
              </a:path>
            </a:pathLst>
          </a:custGeom>
          <a:solidFill>
            <a:srgbClr val="127ABB"/>
          </a:solidFill>
        </p:spPr>
        <p:txBody>
          <a:bodyPr wrap="square" lIns="0" tIns="0" rIns="0" bIns="0" rtlCol="0"/>
          <a:lstStyle/>
          <a:p>
            <a:endParaRPr/>
          </a:p>
        </p:txBody>
      </p:sp>
      <p:sp>
        <p:nvSpPr>
          <p:cNvPr id="167" name="object 167"/>
          <p:cNvSpPr/>
          <p:nvPr/>
        </p:nvSpPr>
        <p:spPr>
          <a:xfrm>
            <a:off x="5700093" y="5741963"/>
            <a:ext cx="10160" cy="17780"/>
          </a:xfrm>
          <a:custGeom>
            <a:avLst/>
            <a:gdLst/>
            <a:ahLst/>
            <a:cxnLst/>
            <a:rect l="l" t="t" r="r" b="b"/>
            <a:pathLst>
              <a:path w="10160" h="17779">
                <a:moveTo>
                  <a:pt x="5800" y="5400"/>
                </a:moveTo>
                <a:lnTo>
                  <a:pt x="4279" y="5400"/>
                </a:lnTo>
                <a:lnTo>
                  <a:pt x="3588" y="5539"/>
                </a:lnTo>
                <a:lnTo>
                  <a:pt x="2897" y="5815"/>
                </a:lnTo>
                <a:lnTo>
                  <a:pt x="2280" y="6092"/>
                </a:lnTo>
                <a:lnTo>
                  <a:pt x="1727" y="6506"/>
                </a:lnTo>
                <a:lnTo>
                  <a:pt x="1313" y="7059"/>
                </a:lnTo>
                <a:lnTo>
                  <a:pt x="824" y="7539"/>
                </a:lnTo>
                <a:lnTo>
                  <a:pt x="271" y="8921"/>
                </a:lnTo>
                <a:lnTo>
                  <a:pt x="69" y="9686"/>
                </a:lnTo>
                <a:lnTo>
                  <a:pt x="0" y="12725"/>
                </a:lnTo>
                <a:lnTo>
                  <a:pt x="69" y="13140"/>
                </a:lnTo>
                <a:lnTo>
                  <a:pt x="4832" y="17357"/>
                </a:lnTo>
                <a:lnTo>
                  <a:pt x="6629" y="17357"/>
                </a:lnTo>
                <a:lnTo>
                  <a:pt x="7532" y="17288"/>
                </a:lnTo>
                <a:lnTo>
                  <a:pt x="9605" y="16873"/>
                </a:lnTo>
                <a:lnTo>
                  <a:pt x="10020" y="16735"/>
                </a:lnTo>
                <a:lnTo>
                  <a:pt x="10020" y="15560"/>
                </a:lnTo>
                <a:lnTo>
                  <a:pt x="4630" y="15560"/>
                </a:lnTo>
                <a:lnTo>
                  <a:pt x="3727" y="15214"/>
                </a:lnTo>
                <a:lnTo>
                  <a:pt x="3109" y="14453"/>
                </a:lnTo>
                <a:lnTo>
                  <a:pt x="2418" y="13762"/>
                </a:lnTo>
                <a:lnTo>
                  <a:pt x="2068" y="12725"/>
                </a:lnTo>
                <a:lnTo>
                  <a:pt x="4768" y="7198"/>
                </a:lnTo>
                <a:lnTo>
                  <a:pt x="10020" y="7198"/>
                </a:lnTo>
                <a:lnTo>
                  <a:pt x="10020" y="6156"/>
                </a:lnTo>
                <a:lnTo>
                  <a:pt x="8011" y="6156"/>
                </a:lnTo>
                <a:lnTo>
                  <a:pt x="7735" y="5953"/>
                </a:lnTo>
                <a:lnTo>
                  <a:pt x="6841" y="5603"/>
                </a:lnTo>
                <a:lnTo>
                  <a:pt x="6353" y="5465"/>
                </a:lnTo>
                <a:lnTo>
                  <a:pt x="5800" y="5400"/>
                </a:lnTo>
                <a:close/>
              </a:path>
              <a:path w="10160" h="17779">
                <a:moveTo>
                  <a:pt x="10020" y="7198"/>
                </a:moveTo>
                <a:lnTo>
                  <a:pt x="5938" y="7198"/>
                </a:lnTo>
                <a:lnTo>
                  <a:pt x="6426" y="7262"/>
                </a:lnTo>
                <a:lnTo>
                  <a:pt x="7735" y="7815"/>
                </a:lnTo>
                <a:lnTo>
                  <a:pt x="8011" y="8027"/>
                </a:lnTo>
                <a:lnTo>
                  <a:pt x="8011" y="15283"/>
                </a:lnTo>
                <a:lnTo>
                  <a:pt x="7532" y="15422"/>
                </a:lnTo>
                <a:lnTo>
                  <a:pt x="6767" y="15560"/>
                </a:lnTo>
                <a:lnTo>
                  <a:pt x="10020" y="15560"/>
                </a:lnTo>
                <a:lnTo>
                  <a:pt x="10020" y="7198"/>
                </a:lnTo>
                <a:close/>
              </a:path>
              <a:path w="10160" h="17779">
                <a:moveTo>
                  <a:pt x="10020" y="0"/>
                </a:moveTo>
                <a:lnTo>
                  <a:pt x="8011" y="350"/>
                </a:lnTo>
                <a:lnTo>
                  <a:pt x="8011" y="6156"/>
                </a:lnTo>
                <a:lnTo>
                  <a:pt x="10020" y="6156"/>
                </a:lnTo>
                <a:lnTo>
                  <a:pt x="10020" y="0"/>
                </a:lnTo>
                <a:close/>
              </a:path>
            </a:pathLst>
          </a:custGeom>
          <a:solidFill>
            <a:srgbClr val="251242"/>
          </a:solidFill>
        </p:spPr>
        <p:txBody>
          <a:bodyPr wrap="square" lIns="0" tIns="0" rIns="0" bIns="0" rtlCol="0"/>
          <a:lstStyle/>
          <a:p>
            <a:endParaRPr/>
          </a:p>
        </p:txBody>
      </p:sp>
      <p:sp>
        <p:nvSpPr>
          <p:cNvPr id="168" name="object 168"/>
          <p:cNvSpPr/>
          <p:nvPr/>
        </p:nvSpPr>
        <p:spPr>
          <a:xfrm>
            <a:off x="5713356" y="5747363"/>
            <a:ext cx="6985" cy="12065"/>
          </a:xfrm>
          <a:custGeom>
            <a:avLst/>
            <a:gdLst/>
            <a:ahLst/>
            <a:cxnLst/>
            <a:rect l="l" t="t" r="r" b="b"/>
            <a:pathLst>
              <a:path w="6985" h="12064">
                <a:moveTo>
                  <a:pt x="4846" y="0"/>
                </a:moveTo>
                <a:lnTo>
                  <a:pt x="3326" y="0"/>
                </a:lnTo>
                <a:lnTo>
                  <a:pt x="2487" y="64"/>
                </a:lnTo>
                <a:lnTo>
                  <a:pt x="1041" y="341"/>
                </a:lnTo>
                <a:lnTo>
                  <a:pt x="488" y="552"/>
                </a:lnTo>
                <a:lnTo>
                  <a:pt x="0" y="691"/>
                </a:lnTo>
                <a:lnTo>
                  <a:pt x="0" y="11680"/>
                </a:lnTo>
                <a:lnTo>
                  <a:pt x="2008" y="11680"/>
                </a:lnTo>
                <a:lnTo>
                  <a:pt x="2008" y="2073"/>
                </a:lnTo>
                <a:lnTo>
                  <a:pt x="2146" y="1999"/>
                </a:lnTo>
                <a:lnTo>
                  <a:pt x="2423" y="1999"/>
                </a:lnTo>
                <a:lnTo>
                  <a:pt x="2764" y="1861"/>
                </a:lnTo>
                <a:lnTo>
                  <a:pt x="3114" y="1797"/>
                </a:lnTo>
                <a:lnTo>
                  <a:pt x="6210" y="1797"/>
                </a:lnTo>
                <a:lnTo>
                  <a:pt x="6434" y="691"/>
                </a:lnTo>
                <a:lnTo>
                  <a:pt x="6431" y="276"/>
                </a:lnTo>
                <a:lnTo>
                  <a:pt x="6293" y="276"/>
                </a:lnTo>
                <a:lnTo>
                  <a:pt x="6090" y="202"/>
                </a:lnTo>
                <a:lnTo>
                  <a:pt x="5952" y="202"/>
                </a:lnTo>
                <a:lnTo>
                  <a:pt x="5740" y="138"/>
                </a:lnTo>
                <a:lnTo>
                  <a:pt x="5463" y="138"/>
                </a:lnTo>
                <a:lnTo>
                  <a:pt x="5261" y="64"/>
                </a:lnTo>
                <a:lnTo>
                  <a:pt x="5049" y="64"/>
                </a:lnTo>
                <a:lnTo>
                  <a:pt x="4846" y="0"/>
                </a:lnTo>
                <a:close/>
              </a:path>
              <a:path w="6985" h="12064">
                <a:moveTo>
                  <a:pt x="6210" y="1797"/>
                </a:moveTo>
                <a:lnTo>
                  <a:pt x="4984" y="1797"/>
                </a:lnTo>
                <a:lnTo>
                  <a:pt x="5325" y="1861"/>
                </a:lnTo>
                <a:lnTo>
                  <a:pt x="6016" y="2073"/>
                </a:lnTo>
                <a:lnTo>
                  <a:pt x="6155" y="2073"/>
                </a:lnTo>
                <a:lnTo>
                  <a:pt x="6210" y="1797"/>
                </a:lnTo>
                <a:close/>
              </a:path>
            </a:pathLst>
          </a:custGeom>
          <a:solidFill>
            <a:srgbClr val="251242"/>
          </a:solidFill>
        </p:spPr>
        <p:txBody>
          <a:bodyPr wrap="square" lIns="0" tIns="0" rIns="0" bIns="0" rtlCol="0"/>
          <a:lstStyle/>
          <a:p>
            <a:endParaRPr/>
          </a:p>
        </p:txBody>
      </p:sp>
      <p:sp>
        <p:nvSpPr>
          <p:cNvPr id="169" name="object 169"/>
          <p:cNvSpPr/>
          <p:nvPr/>
        </p:nvSpPr>
        <p:spPr>
          <a:xfrm>
            <a:off x="5721382" y="5742792"/>
            <a:ext cx="3175" cy="16510"/>
          </a:xfrm>
          <a:custGeom>
            <a:avLst/>
            <a:gdLst/>
            <a:ahLst/>
            <a:cxnLst/>
            <a:rect l="l" t="t" r="r" b="b"/>
            <a:pathLst>
              <a:path w="3175" h="16510">
                <a:moveTo>
                  <a:pt x="2349" y="4774"/>
                </a:moveTo>
                <a:lnTo>
                  <a:pt x="340" y="4774"/>
                </a:lnTo>
                <a:lnTo>
                  <a:pt x="340" y="16251"/>
                </a:lnTo>
                <a:lnTo>
                  <a:pt x="2349" y="16251"/>
                </a:lnTo>
                <a:lnTo>
                  <a:pt x="2349" y="4774"/>
                </a:lnTo>
                <a:close/>
              </a:path>
              <a:path w="3175" h="16510">
                <a:moveTo>
                  <a:pt x="1723" y="0"/>
                </a:moveTo>
                <a:lnTo>
                  <a:pt x="967" y="0"/>
                </a:lnTo>
                <a:lnTo>
                  <a:pt x="617" y="138"/>
                </a:lnTo>
                <a:lnTo>
                  <a:pt x="414" y="414"/>
                </a:lnTo>
                <a:lnTo>
                  <a:pt x="138" y="626"/>
                </a:lnTo>
                <a:lnTo>
                  <a:pt x="0" y="967"/>
                </a:lnTo>
                <a:lnTo>
                  <a:pt x="0" y="1797"/>
                </a:lnTo>
                <a:lnTo>
                  <a:pt x="138" y="2147"/>
                </a:lnTo>
                <a:lnTo>
                  <a:pt x="414" y="2350"/>
                </a:lnTo>
                <a:lnTo>
                  <a:pt x="617" y="2626"/>
                </a:lnTo>
                <a:lnTo>
                  <a:pt x="967" y="2700"/>
                </a:lnTo>
                <a:lnTo>
                  <a:pt x="1723" y="2700"/>
                </a:lnTo>
                <a:lnTo>
                  <a:pt x="1999" y="2626"/>
                </a:lnTo>
                <a:lnTo>
                  <a:pt x="2275" y="2350"/>
                </a:lnTo>
                <a:lnTo>
                  <a:pt x="2552" y="2147"/>
                </a:lnTo>
                <a:lnTo>
                  <a:pt x="2552" y="626"/>
                </a:lnTo>
                <a:lnTo>
                  <a:pt x="2275" y="414"/>
                </a:lnTo>
                <a:lnTo>
                  <a:pt x="1999" y="138"/>
                </a:lnTo>
                <a:lnTo>
                  <a:pt x="1723" y="0"/>
                </a:lnTo>
                <a:close/>
              </a:path>
            </a:pathLst>
          </a:custGeom>
          <a:solidFill>
            <a:srgbClr val="251242"/>
          </a:solidFill>
        </p:spPr>
        <p:txBody>
          <a:bodyPr wrap="square" lIns="0" tIns="0" rIns="0" bIns="0" rtlCol="0"/>
          <a:lstStyle/>
          <a:p>
            <a:endParaRPr/>
          </a:p>
        </p:txBody>
      </p:sp>
      <p:sp>
        <p:nvSpPr>
          <p:cNvPr id="170" name="object 170"/>
          <p:cNvSpPr/>
          <p:nvPr/>
        </p:nvSpPr>
        <p:spPr>
          <a:xfrm>
            <a:off x="5725666" y="5747566"/>
            <a:ext cx="10795" cy="12065"/>
          </a:xfrm>
          <a:custGeom>
            <a:avLst/>
            <a:gdLst/>
            <a:ahLst/>
            <a:cxnLst/>
            <a:rect l="l" t="t" r="r" b="b"/>
            <a:pathLst>
              <a:path w="10795" h="12064">
                <a:moveTo>
                  <a:pt x="2211" y="0"/>
                </a:moveTo>
                <a:lnTo>
                  <a:pt x="0" y="0"/>
                </a:lnTo>
                <a:lnTo>
                  <a:pt x="552" y="2147"/>
                </a:lnTo>
                <a:lnTo>
                  <a:pt x="4210" y="11477"/>
                </a:lnTo>
                <a:lnTo>
                  <a:pt x="6081" y="11477"/>
                </a:lnTo>
                <a:lnTo>
                  <a:pt x="6772" y="9956"/>
                </a:lnTo>
                <a:lnTo>
                  <a:pt x="7150" y="9057"/>
                </a:lnTo>
                <a:lnTo>
                  <a:pt x="5178" y="9057"/>
                </a:lnTo>
                <a:lnTo>
                  <a:pt x="4097" y="6221"/>
                </a:lnTo>
                <a:lnTo>
                  <a:pt x="3040" y="3179"/>
                </a:lnTo>
                <a:lnTo>
                  <a:pt x="2761" y="2147"/>
                </a:lnTo>
                <a:lnTo>
                  <a:pt x="2552" y="1520"/>
                </a:lnTo>
                <a:lnTo>
                  <a:pt x="2349" y="764"/>
                </a:lnTo>
                <a:lnTo>
                  <a:pt x="2211" y="0"/>
                </a:lnTo>
                <a:close/>
              </a:path>
              <a:path w="10795" h="12064">
                <a:moveTo>
                  <a:pt x="10365" y="0"/>
                </a:moveTo>
                <a:lnTo>
                  <a:pt x="8218" y="0"/>
                </a:lnTo>
                <a:lnTo>
                  <a:pt x="7601" y="2350"/>
                </a:lnTo>
                <a:lnTo>
                  <a:pt x="7325" y="3179"/>
                </a:lnTo>
                <a:lnTo>
                  <a:pt x="7113" y="3944"/>
                </a:lnTo>
                <a:lnTo>
                  <a:pt x="6284" y="6361"/>
                </a:lnTo>
                <a:lnTo>
                  <a:pt x="5454" y="8504"/>
                </a:lnTo>
                <a:lnTo>
                  <a:pt x="5178" y="9057"/>
                </a:lnTo>
                <a:lnTo>
                  <a:pt x="7150" y="9057"/>
                </a:lnTo>
                <a:lnTo>
                  <a:pt x="7527" y="8158"/>
                </a:lnTo>
                <a:lnTo>
                  <a:pt x="8292" y="6221"/>
                </a:lnTo>
                <a:lnTo>
                  <a:pt x="9121" y="4221"/>
                </a:lnTo>
                <a:lnTo>
                  <a:pt x="10365" y="0"/>
                </a:lnTo>
                <a:close/>
              </a:path>
            </a:pathLst>
          </a:custGeom>
          <a:solidFill>
            <a:srgbClr val="251242"/>
          </a:solidFill>
        </p:spPr>
        <p:txBody>
          <a:bodyPr wrap="square" lIns="0" tIns="0" rIns="0" bIns="0" rtlCol="0"/>
          <a:lstStyle/>
          <a:p>
            <a:endParaRPr/>
          </a:p>
        </p:txBody>
      </p:sp>
      <p:sp>
        <p:nvSpPr>
          <p:cNvPr id="171" name="object 171"/>
          <p:cNvSpPr/>
          <p:nvPr/>
        </p:nvSpPr>
        <p:spPr>
          <a:xfrm>
            <a:off x="5737617" y="5742792"/>
            <a:ext cx="3175" cy="16510"/>
          </a:xfrm>
          <a:custGeom>
            <a:avLst/>
            <a:gdLst/>
            <a:ahLst/>
            <a:cxnLst/>
            <a:rect l="l" t="t" r="r" b="b"/>
            <a:pathLst>
              <a:path w="3175" h="16510">
                <a:moveTo>
                  <a:pt x="2358" y="4774"/>
                </a:moveTo>
                <a:lnTo>
                  <a:pt x="276" y="4774"/>
                </a:lnTo>
                <a:lnTo>
                  <a:pt x="276" y="16251"/>
                </a:lnTo>
                <a:lnTo>
                  <a:pt x="2358" y="16251"/>
                </a:lnTo>
                <a:lnTo>
                  <a:pt x="2358" y="4774"/>
                </a:lnTo>
                <a:close/>
              </a:path>
              <a:path w="3175" h="16510">
                <a:moveTo>
                  <a:pt x="1658" y="0"/>
                </a:moveTo>
                <a:lnTo>
                  <a:pt x="967" y="0"/>
                </a:lnTo>
                <a:lnTo>
                  <a:pt x="626" y="138"/>
                </a:lnTo>
                <a:lnTo>
                  <a:pt x="138" y="626"/>
                </a:lnTo>
                <a:lnTo>
                  <a:pt x="0" y="967"/>
                </a:lnTo>
                <a:lnTo>
                  <a:pt x="0" y="1797"/>
                </a:lnTo>
                <a:lnTo>
                  <a:pt x="138" y="2147"/>
                </a:lnTo>
                <a:lnTo>
                  <a:pt x="626" y="2626"/>
                </a:lnTo>
                <a:lnTo>
                  <a:pt x="967" y="2700"/>
                </a:lnTo>
                <a:lnTo>
                  <a:pt x="1658" y="2700"/>
                </a:lnTo>
                <a:lnTo>
                  <a:pt x="2008" y="2626"/>
                </a:lnTo>
                <a:lnTo>
                  <a:pt x="2220" y="2350"/>
                </a:lnTo>
                <a:lnTo>
                  <a:pt x="2497" y="2147"/>
                </a:lnTo>
                <a:lnTo>
                  <a:pt x="2635" y="1797"/>
                </a:lnTo>
                <a:lnTo>
                  <a:pt x="2635" y="967"/>
                </a:lnTo>
                <a:lnTo>
                  <a:pt x="2497" y="626"/>
                </a:lnTo>
                <a:lnTo>
                  <a:pt x="2220" y="414"/>
                </a:lnTo>
                <a:lnTo>
                  <a:pt x="2008" y="138"/>
                </a:lnTo>
                <a:lnTo>
                  <a:pt x="1658" y="0"/>
                </a:lnTo>
                <a:close/>
              </a:path>
            </a:pathLst>
          </a:custGeom>
          <a:solidFill>
            <a:srgbClr val="251242"/>
          </a:solidFill>
        </p:spPr>
        <p:txBody>
          <a:bodyPr wrap="square" lIns="0" tIns="0" rIns="0" bIns="0" rtlCol="0"/>
          <a:lstStyle/>
          <a:p>
            <a:endParaRPr/>
          </a:p>
        </p:txBody>
      </p:sp>
      <p:sp>
        <p:nvSpPr>
          <p:cNvPr id="172" name="object 172"/>
          <p:cNvSpPr/>
          <p:nvPr/>
        </p:nvSpPr>
        <p:spPr>
          <a:xfrm>
            <a:off x="5743155" y="5747363"/>
            <a:ext cx="9525" cy="12065"/>
          </a:xfrm>
          <a:custGeom>
            <a:avLst/>
            <a:gdLst/>
            <a:ahLst/>
            <a:cxnLst/>
            <a:rect l="l" t="t" r="r" b="b"/>
            <a:pathLst>
              <a:path w="9525" h="12064">
                <a:moveTo>
                  <a:pt x="5454" y="0"/>
                </a:moveTo>
                <a:lnTo>
                  <a:pt x="3519" y="0"/>
                </a:lnTo>
                <a:lnTo>
                  <a:pt x="2626" y="64"/>
                </a:lnTo>
                <a:lnTo>
                  <a:pt x="1105" y="341"/>
                </a:lnTo>
                <a:lnTo>
                  <a:pt x="479" y="414"/>
                </a:lnTo>
                <a:lnTo>
                  <a:pt x="0" y="552"/>
                </a:lnTo>
                <a:lnTo>
                  <a:pt x="0" y="11680"/>
                </a:lnTo>
                <a:lnTo>
                  <a:pt x="1999" y="11680"/>
                </a:lnTo>
                <a:lnTo>
                  <a:pt x="1999" y="1999"/>
                </a:lnTo>
                <a:lnTo>
                  <a:pt x="2211" y="1999"/>
                </a:lnTo>
                <a:lnTo>
                  <a:pt x="2414" y="1935"/>
                </a:lnTo>
                <a:lnTo>
                  <a:pt x="2552" y="1935"/>
                </a:lnTo>
                <a:lnTo>
                  <a:pt x="2764" y="1861"/>
                </a:lnTo>
                <a:lnTo>
                  <a:pt x="3381" y="1861"/>
                </a:lnTo>
                <a:lnTo>
                  <a:pt x="3657" y="1797"/>
                </a:lnTo>
                <a:lnTo>
                  <a:pt x="8516" y="1797"/>
                </a:lnTo>
                <a:lnTo>
                  <a:pt x="8218" y="1446"/>
                </a:lnTo>
                <a:lnTo>
                  <a:pt x="7878" y="967"/>
                </a:lnTo>
                <a:lnTo>
                  <a:pt x="7389" y="617"/>
                </a:lnTo>
                <a:lnTo>
                  <a:pt x="6836" y="341"/>
                </a:lnTo>
                <a:lnTo>
                  <a:pt x="6219" y="138"/>
                </a:lnTo>
                <a:lnTo>
                  <a:pt x="5454" y="0"/>
                </a:lnTo>
                <a:close/>
              </a:path>
              <a:path w="9525" h="12064">
                <a:moveTo>
                  <a:pt x="8516" y="1797"/>
                </a:moveTo>
                <a:lnTo>
                  <a:pt x="4837" y="1797"/>
                </a:lnTo>
                <a:lnTo>
                  <a:pt x="5316" y="1861"/>
                </a:lnTo>
                <a:lnTo>
                  <a:pt x="6081" y="2138"/>
                </a:lnTo>
                <a:lnTo>
                  <a:pt x="6357" y="2350"/>
                </a:lnTo>
                <a:lnTo>
                  <a:pt x="6560" y="2691"/>
                </a:lnTo>
                <a:lnTo>
                  <a:pt x="6772" y="2967"/>
                </a:lnTo>
                <a:lnTo>
                  <a:pt x="6975" y="3382"/>
                </a:lnTo>
                <a:lnTo>
                  <a:pt x="7122" y="4488"/>
                </a:lnTo>
                <a:lnTo>
                  <a:pt x="7187" y="11680"/>
                </a:lnTo>
                <a:lnTo>
                  <a:pt x="9260" y="11680"/>
                </a:lnTo>
                <a:lnTo>
                  <a:pt x="9186" y="3797"/>
                </a:lnTo>
                <a:lnTo>
                  <a:pt x="9002" y="2967"/>
                </a:lnTo>
                <a:lnTo>
                  <a:pt x="8633" y="1935"/>
                </a:lnTo>
                <a:lnTo>
                  <a:pt x="8516" y="1797"/>
                </a:lnTo>
                <a:close/>
              </a:path>
            </a:pathLst>
          </a:custGeom>
          <a:solidFill>
            <a:srgbClr val="251242"/>
          </a:solidFill>
        </p:spPr>
        <p:txBody>
          <a:bodyPr wrap="square" lIns="0" tIns="0" rIns="0" bIns="0" rtlCol="0"/>
          <a:lstStyle/>
          <a:p>
            <a:endParaRPr/>
          </a:p>
        </p:txBody>
      </p:sp>
      <p:sp>
        <p:nvSpPr>
          <p:cNvPr id="173" name="object 173"/>
          <p:cNvSpPr/>
          <p:nvPr/>
        </p:nvSpPr>
        <p:spPr>
          <a:xfrm>
            <a:off x="5754875" y="5747363"/>
            <a:ext cx="10160" cy="15875"/>
          </a:xfrm>
          <a:custGeom>
            <a:avLst/>
            <a:gdLst/>
            <a:ahLst/>
            <a:cxnLst/>
            <a:rect l="l" t="t" r="r" b="b"/>
            <a:pathLst>
              <a:path w="10160" h="15875">
                <a:moveTo>
                  <a:pt x="995" y="13477"/>
                </a:moveTo>
                <a:lnTo>
                  <a:pt x="580" y="15275"/>
                </a:lnTo>
                <a:lnTo>
                  <a:pt x="1059" y="15413"/>
                </a:lnTo>
                <a:lnTo>
                  <a:pt x="2239" y="15690"/>
                </a:lnTo>
                <a:lnTo>
                  <a:pt x="3547" y="15828"/>
                </a:lnTo>
                <a:lnTo>
                  <a:pt x="6173" y="15828"/>
                </a:lnTo>
                <a:lnTo>
                  <a:pt x="7564" y="15413"/>
                </a:lnTo>
                <a:lnTo>
                  <a:pt x="9116" y="14100"/>
                </a:lnTo>
                <a:lnTo>
                  <a:pt x="3685" y="14100"/>
                </a:lnTo>
                <a:lnTo>
                  <a:pt x="3068" y="14031"/>
                </a:lnTo>
                <a:lnTo>
                  <a:pt x="1888" y="13753"/>
                </a:lnTo>
                <a:lnTo>
                  <a:pt x="995" y="13477"/>
                </a:lnTo>
                <a:close/>
              </a:path>
              <a:path w="10160" h="15875">
                <a:moveTo>
                  <a:pt x="9840" y="10574"/>
                </a:moveTo>
                <a:lnTo>
                  <a:pt x="7767" y="10574"/>
                </a:lnTo>
                <a:lnTo>
                  <a:pt x="7767" y="12094"/>
                </a:lnTo>
                <a:lnTo>
                  <a:pt x="7491" y="12855"/>
                </a:lnTo>
                <a:lnTo>
                  <a:pt x="7002" y="13339"/>
                </a:lnTo>
                <a:lnTo>
                  <a:pt x="6449" y="13823"/>
                </a:lnTo>
                <a:lnTo>
                  <a:pt x="5556" y="14100"/>
                </a:lnTo>
                <a:lnTo>
                  <a:pt x="9116" y="14100"/>
                </a:lnTo>
                <a:lnTo>
                  <a:pt x="9361" y="13893"/>
                </a:lnTo>
                <a:lnTo>
                  <a:pt x="9739" y="12855"/>
                </a:lnTo>
                <a:lnTo>
                  <a:pt x="9840" y="10574"/>
                </a:lnTo>
                <a:close/>
              </a:path>
              <a:path w="10160" h="15875">
                <a:moveTo>
                  <a:pt x="6449" y="0"/>
                </a:moveTo>
                <a:lnTo>
                  <a:pt x="4653" y="0"/>
                </a:lnTo>
                <a:lnTo>
                  <a:pt x="3897" y="138"/>
                </a:lnTo>
                <a:lnTo>
                  <a:pt x="0" y="6978"/>
                </a:lnTo>
                <a:lnTo>
                  <a:pt x="92" y="7531"/>
                </a:lnTo>
                <a:lnTo>
                  <a:pt x="3068" y="10919"/>
                </a:lnTo>
                <a:lnTo>
                  <a:pt x="3621" y="11196"/>
                </a:lnTo>
                <a:lnTo>
                  <a:pt x="4312" y="11265"/>
                </a:lnTo>
                <a:lnTo>
                  <a:pt x="5694" y="11265"/>
                </a:lnTo>
                <a:lnTo>
                  <a:pt x="6247" y="11196"/>
                </a:lnTo>
                <a:lnTo>
                  <a:pt x="6726" y="10988"/>
                </a:lnTo>
                <a:lnTo>
                  <a:pt x="7288" y="10850"/>
                </a:lnTo>
                <a:lnTo>
                  <a:pt x="7767" y="10574"/>
                </a:lnTo>
                <a:lnTo>
                  <a:pt x="9840" y="10574"/>
                </a:lnTo>
                <a:lnTo>
                  <a:pt x="9840" y="9537"/>
                </a:lnTo>
                <a:lnTo>
                  <a:pt x="4791" y="9537"/>
                </a:lnTo>
                <a:lnTo>
                  <a:pt x="4376" y="9467"/>
                </a:lnTo>
                <a:lnTo>
                  <a:pt x="4035" y="9259"/>
                </a:lnTo>
                <a:lnTo>
                  <a:pt x="3621" y="9121"/>
                </a:lnTo>
                <a:lnTo>
                  <a:pt x="3344" y="8914"/>
                </a:lnTo>
                <a:lnTo>
                  <a:pt x="2718" y="8292"/>
                </a:lnTo>
                <a:lnTo>
                  <a:pt x="2515" y="7946"/>
                </a:lnTo>
                <a:lnTo>
                  <a:pt x="2377" y="7462"/>
                </a:lnTo>
                <a:lnTo>
                  <a:pt x="2165" y="6978"/>
                </a:lnTo>
                <a:lnTo>
                  <a:pt x="2219" y="4147"/>
                </a:lnTo>
                <a:lnTo>
                  <a:pt x="2377" y="3594"/>
                </a:lnTo>
                <a:lnTo>
                  <a:pt x="2994" y="2903"/>
                </a:lnTo>
                <a:lnTo>
                  <a:pt x="3547" y="2138"/>
                </a:lnTo>
                <a:lnTo>
                  <a:pt x="4450" y="1797"/>
                </a:lnTo>
                <a:lnTo>
                  <a:pt x="9840" y="1797"/>
                </a:lnTo>
                <a:lnTo>
                  <a:pt x="9840" y="552"/>
                </a:lnTo>
                <a:lnTo>
                  <a:pt x="9361" y="479"/>
                </a:lnTo>
                <a:lnTo>
                  <a:pt x="7288" y="64"/>
                </a:lnTo>
                <a:lnTo>
                  <a:pt x="6449" y="0"/>
                </a:lnTo>
                <a:close/>
              </a:path>
              <a:path w="10160" h="15875">
                <a:moveTo>
                  <a:pt x="9840" y="1797"/>
                </a:moveTo>
                <a:lnTo>
                  <a:pt x="6588" y="1797"/>
                </a:lnTo>
                <a:lnTo>
                  <a:pt x="7564" y="1999"/>
                </a:lnTo>
                <a:lnTo>
                  <a:pt x="7767" y="2073"/>
                </a:lnTo>
                <a:lnTo>
                  <a:pt x="7767" y="8775"/>
                </a:lnTo>
                <a:lnTo>
                  <a:pt x="7140" y="9121"/>
                </a:lnTo>
                <a:lnTo>
                  <a:pt x="6661" y="9259"/>
                </a:lnTo>
                <a:lnTo>
                  <a:pt x="6247" y="9467"/>
                </a:lnTo>
                <a:lnTo>
                  <a:pt x="5694" y="9537"/>
                </a:lnTo>
                <a:lnTo>
                  <a:pt x="9840" y="9537"/>
                </a:lnTo>
                <a:lnTo>
                  <a:pt x="9840" y="1797"/>
                </a:lnTo>
                <a:close/>
              </a:path>
            </a:pathLst>
          </a:custGeom>
          <a:solidFill>
            <a:srgbClr val="251242"/>
          </a:solidFill>
        </p:spPr>
        <p:txBody>
          <a:bodyPr wrap="square" lIns="0" tIns="0" rIns="0" bIns="0" rtlCol="0"/>
          <a:lstStyle/>
          <a:p>
            <a:endParaRPr/>
          </a:p>
        </p:txBody>
      </p:sp>
      <p:sp>
        <p:nvSpPr>
          <p:cNvPr id="174" name="object 174"/>
          <p:cNvSpPr/>
          <p:nvPr/>
        </p:nvSpPr>
        <p:spPr>
          <a:xfrm>
            <a:off x="5772529" y="5747290"/>
            <a:ext cx="8255" cy="12065"/>
          </a:xfrm>
          <a:custGeom>
            <a:avLst/>
            <a:gdLst/>
            <a:ahLst/>
            <a:cxnLst/>
            <a:rect l="l" t="t" r="r" b="b"/>
            <a:pathLst>
              <a:path w="8254" h="12064">
                <a:moveTo>
                  <a:pt x="414" y="9611"/>
                </a:moveTo>
                <a:lnTo>
                  <a:pt x="0" y="11408"/>
                </a:lnTo>
                <a:lnTo>
                  <a:pt x="617" y="11615"/>
                </a:lnTo>
                <a:lnTo>
                  <a:pt x="1170" y="11753"/>
                </a:lnTo>
                <a:lnTo>
                  <a:pt x="1796" y="11961"/>
                </a:lnTo>
                <a:lnTo>
                  <a:pt x="2552" y="12030"/>
                </a:lnTo>
                <a:lnTo>
                  <a:pt x="5040" y="12030"/>
                </a:lnTo>
                <a:lnTo>
                  <a:pt x="6145" y="11753"/>
                </a:lnTo>
                <a:lnTo>
                  <a:pt x="6910" y="11200"/>
                </a:lnTo>
                <a:lnTo>
                  <a:pt x="7739" y="10647"/>
                </a:lnTo>
                <a:lnTo>
                  <a:pt x="7894" y="10302"/>
                </a:lnTo>
                <a:lnTo>
                  <a:pt x="2690" y="10302"/>
                </a:lnTo>
                <a:lnTo>
                  <a:pt x="1999" y="10233"/>
                </a:lnTo>
                <a:lnTo>
                  <a:pt x="1520" y="10025"/>
                </a:lnTo>
                <a:lnTo>
                  <a:pt x="617" y="9749"/>
                </a:lnTo>
                <a:lnTo>
                  <a:pt x="414" y="9611"/>
                </a:lnTo>
                <a:close/>
              </a:path>
              <a:path w="8254" h="12064">
                <a:moveTo>
                  <a:pt x="5040" y="0"/>
                </a:moveTo>
                <a:lnTo>
                  <a:pt x="3105" y="0"/>
                </a:lnTo>
                <a:lnTo>
                  <a:pt x="2073" y="350"/>
                </a:lnTo>
                <a:lnTo>
                  <a:pt x="1308" y="903"/>
                </a:lnTo>
                <a:lnTo>
                  <a:pt x="552" y="1520"/>
                </a:lnTo>
                <a:lnTo>
                  <a:pt x="426" y="1797"/>
                </a:lnTo>
                <a:lnTo>
                  <a:pt x="319" y="4359"/>
                </a:lnTo>
                <a:lnTo>
                  <a:pt x="479" y="4635"/>
                </a:lnTo>
                <a:lnTo>
                  <a:pt x="617" y="4976"/>
                </a:lnTo>
                <a:lnTo>
                  <a:pt x="1446" y="5806"/>
                </a:lnTo>
                <a:lnTo>
                  <a:pt x="1796" y="6018"/>
                </a:lnTo>
                <a:lnTo>
                  <a:pt x="2211" y="6156"/>
                </a:lnTo>
                <a:lnTo>
                  <a:pt x="3040" y="6571"/>
                </a:lnTo>
                <a:lnTo>
                  <a:pt x="3455" y="6706"/>
                </a:lnTo>
                <a:lnTo>
                  <a:pt x="5040" y="7398"/>
                </a:lnTo>
                <a:lnTo>
                  <a:pt x="5558" y="7812"/>
                </a:lnTo>
                <a:lnTo>
                  <a:pt x="5869" y="8020"/>
                </a:lnTo>
                <a:lnTo>
                  <a:pt x="5924" y="9611"/>
                </a:lnTo>
                <a:lnTo>
                  <a:pt x="5869" y="9749"/>
                </a:lnTo>
                <a:lnTo>
                  <a:pt x="5040" y="10164"/>
                </a:lnTo>
                <a:lnTo>
                  <a:pt x="4422" y="10302"/>
                </a:lnTo>
                <a:lnTo>
                  <a:pt x="7894" y="10302"/>
                </a:lnTo>
                <a:lnTo>
                  <a:pt x="8018" y="10025"/>
                </a:lnTo>
                <a:lnTo>
                  <a:pt x="7991" y="7743"/>
                </a:lnTo>
                <a:lnTo>
                  <a:pt x="7739" y="7052"/>
                </a:lnTo>
                <a:lnTo>
                  <a:pt x="6910" y="6221"/>
                </a:lnTo>
                <a:lnTo>
                  <a:pt x="6081" y="5806"/>
                </a:lnTo>
                <a:lnTo>
                  <a:pt x="5178" y="5391"/>
                </a:lnTo>
                <a:lnTo>
                  <a:pt x="3869" y="4912"/>
                </a:lnTo>
                <a:lnTo>
                  <a:pt x="3593" y="4774"/>
                </a:lnTo>
                <a:lnTo>
                  <a:pt x="3243" y="4635"/>
                </a:lnTo>
                <a:lnTo>
                  <a:pt x="2828" y="4359"/>
                </a:lnTo>
                <a:lnTo>
                  <a:pt x="2487" y="4009"/>
                </a:lnTo>
                <a:lnTo>
                  <a:pt x="2414" y="3806"/>
                </a:lnTo>
                <a:lnTo>
                  <a:pt x="2275" y="3594"/>
                </a:lnTo>
                <a:lnTo>
                  <a:pt x="2275" y="2700"/>
                </a:lnTo>
                <a:lnTo>
                  <a:pt x="2487" y="2285"/>
                </a:lnTo>
                <a:lnTo>
                  <a:pt x="3317" y="1870"/>
                </a:lnTo>
                <a:lnTo>
                  <a:pt x="3796" y="1732"/>
                </a:lnTo>
                <a:lnTo>
                  <a:pt x="7245" y="1732"/>
                </a:lnTo>
                <a:lnTo>
                  <a:pt x="7527" y="552"/>
                </a:lnTo>
                <a:lnTo>
                  <a:pt x="7389" y="488"/>
                </a:lnTo>
                <a:lnTo>
                  <a:pt x="6772" y="276"/>
                </a:lnTo>
                <a:lnTo>
                  <a:pt x="6560" y="276"/>
                </a:lnTo>
                <a:lnTo>
                  <a:pt x="6007" y="138"/>
                </a:lnTo>
                <a:lnTo>
                  <a:pt x="5666" y="138"/>
                </a:lnTo>
                <a:lnTo>
                  <a:pt x="5040" y="0"/>
                </a:lnTo>
                <a:close/>
              </a:path>
              <a:path w="8254" h="12064">
                <a:moveTo>
                  <a:pt x="7245" y="1732"/>
                </a:moveTo>
                <a:lnTo>
                  <a:pt x="5040" y="1732"/>
                </a:lnTo>
                <a:lnTo>
                  <a:pt x="5592" y="1797"/>
                </a:lnTo>
                <a:lnTo>
                  <a:pt x="6560" y="2073"/>
                </a:lnTo>
                <a:lnTo>
                  <a:pt x="6910" y="2147"/>
                </a:lnTo>
                <a:lnTo>
                  <a:pt x="7113" y="2285"/>
                </a:lnTo>
                <a:lnTo>
                  <a:pt x="7245" y="1732"/>
                </a:lnTo>
                <a:close/>
              </a:path>
            </a:pathLst>
          </a:custGeom>
          <a:solidFill>
            <a:srgbClr val="251242"/>
          </a:solidFill>
        </p:spPr>
        <p:txBody>
          <a:bodyPr wrap="square" lIns="0" tIns="0" rIns="0" bIns="0" rtlCol="0"/>
          <a:lstStyle/>
          <a:p>
            <a:endParaRPr/>
          </a:p>
        </p:txBody>
      </p:sp>
      <p:sp>
        <p:nvSpPr>
          <p:cNvPr id="175" name="object 175"/>
          <p:cNvSpPr/>
          <p:nvPr/>
        </p:nvSpPr>
        <p:spPr>
          <a:xfrm>
            <a:off x="5782342" y="5747290"/>
            <a:ext cx="10160" cy="12065"/>
          </a:xfrm>
          <a:custGeom>
            <a:avLst/>
            <a:gdLst/>
            <a:ahLst/>
            <a:cxnLst/>
            <a:rect l="l" t="t" r="r" b="b"/>
            <a:pathLst>
              <a:path w="10160" h="12064">
                <a:moveTo>
                  <a:pt x="6772" y="0"/>
                </a:moveTo>
                <a:lnTo>
                  <a:pt x="4560" y="0"/>
                </a:lnTo>
                <a:lnTo>
                  <a:pt x="3943" y="138"/>
                </a:lnTo>
                <a:lnTo>
                  <a:pt x="3317" y="414"/>
                </a:lnTo>
                <a:lnTo>
                  <a:pt x="2690" y="626"/>
                </a:lnTo>
                <a:lnTo>
                  <a:pt x="0" y="6914"/>
                </a:lnTo>
                <a:lnTo>
                  <a:pt x="158" y="7812"/>
                </a:lnTo>
                <a:lnTo>
                  <a:pt x="4837" y="12030"/>
                </a:lnTo>
                <a:lnTo>
                  <a:pt x="6569" y="12030"/>
                </a:lnTo>
                <a:lnTo>
                  <a:pt x="7325" y="11961"/>
                </a:lnTo>
                <a:lnTo>
                  <a:pt x="8569" y="11684"/>
                </a:lnTo>
                <a:lnTo>
                  <a:pt x="8983" y="11546"/>
                </a:lnTo>
                <a:lnTo>
                  <a:pt x="9260" y="11408"/>
                </a:lnTo>
                <a:lnTo>
                  <a:pt x="9072" y="10233"/>
                </a:lnTo>
                <a:lnTo>
                  <a:pt x="4772" y="10233"/>
                </a:lnTo>
                <a:lnTo>
                  <a:pt x="3805" y="9887"/>
                </a:lnTo>
                <a:lnTo>
                  <a:pt x="3178" y="9333"/>
                </a:lnTo>
                <a:lnTo>
                  <a:pt x="2626" y="8711"/>
                </a:lnTo>
                <a:lnTo>
                  <a:pt x="2275" y="7812"/>
                </a:lnTo>
                <a:lnTo>
                  <a:pt x="2137" y="6571"/>
                </a:lnTo>
                <a:lnTo>
                  <a:pt x="10024" y="6571"/>
                </a:lnTo>
                <a:lnTo>
                  <a:pt x="10024" y="4912"/>
                </a:lnTo>
                <a:lnTo>
                  <a:pt x="2211" y="4912"/>
                </a:lnTo>
                <a:lnTo>
                  <a:pt x="2349" y="4147"/>
                </a:lnTo>
                <a:lnTo>
                  <a:pt x="4772" y="1732"/>
                </a:lnTo>
                <a:lnTo>
                  <a:pt x="9017" y="1732"/>
                </a:lnTo>
                <a:lnTo>
                  <a:pt x="7951" y="488"/>
                </a:lnTo>
                <a:lnTo>
                  <a:pt x="6772" y="0"/>
                </a:lnTo>
                <a:close/>
              </a:path>
              <a:path w="10160" h="12064">
                <a:moveTo>
                  <a:pt x="8983" y="9680"/>
                </a:moveTo>
                <a:lnTo>
                  <a:pt x="8707" y="9818"/>
                </a:lnTo>
                <a:lnTo>
                  <a:pt x="8366" y="9887"/>
                </a:lnTo>
                <a:lnTo>
                  <a:pt x="7325" y="10164"/>
                </a:lnTo>
                <a:lnTo>
                  <a:pt x="6772" y="10233"/>
                </a:lnTo>
                <a:lnTo>
                  <a:pt x="9072" y="10233"/>
                </a:lnTo>
                <a:lnTo>
                  <a:pt x="8983" y="9680"/>
                </a:lnTo>
                <a:close/>
              </a:path>
              <a:path w="10160" h="12064">
                <a:moveTo>
                  <a:pt x="9017" y="1732"/>
                </a:moveTo>
                <a:lnTo>
                  <a:pt x="6081" y="1732"/>
                </a:lnTo>
                <a:lnTo>
                  <a:pt x="6707" y="2073"/>
                </a:lnTo>
                <a:lnTo>
                  <a:pt x="7294" y="2764"/>
                </a:lnTo>
                <a:lnTo>
                  <a:pt x="7675" y="3253"/>
                </a:lnTo>
                <a:lnTo>
                  <a:pt x="7901" y="3870"/>
                </a:lnTo>
                <a:lnTo>
                  <a:pt x="7878" y="4912"/>
                </a:lnTo>
                <a:lnTo>
                  <a:pt x="10024" y="4912"/>
                </a:lnTo>
                <a:lnTo>
                  <a:pt x="10024" y="3870"/>
                </a:lnTo>
                <a:lnTo>
                  <a:pt x="9610" y="2423"/>
                </a:lnTo>
                <a:lnTo>
                  <a:pt x="9017" y="1732"/>
                </a:lnTo>
                <a:close/>
              </a:path>
            </a:pathLst>
          </a:custGeom>
          <a:solidFill>
            <a:srgbClr val="251242"/>
          </a:solidFill>
        </p:spPr>
        <p:txBody>
          <a:bodyPr wrap="square" lIns="0" tIns="0" rIns="0" bIns="0" rtlCol="0"/>
          <a:lstStyle/>
          <a:p>
            <a:endParaRPr/>
          </a:p>
        </p:txBody>
      </p:sp>
      <p:sp>
        <p:nvSpPr>
          <p:cNvPr id="176" name="object 176"/>
          <p:cNvSpPr/>
          <p:nvPr/>
        </p:nvSpPr>
        <p:spPr>
          <a:xfrm>
            <a:off x="5794179" y="5747290"/>
            <a:ext cx="8890" cy="12065"/>
          </a:xfrm>
          <a:custGeom>
            <a:avLst/>
            <a:gdLst/>
            <a:ahLst/>
            <a:cxnLst/>
            <a:rect l="l" t="t" r="r" b="b"/>
            <a:pathLst>
              <a:path w="8889" h="12064">
                <a:moveTo>
                  <a:pt x="5024" y="4774"/>
                </a:moveTo>
                <a:lnTo>
                  <a:pt x="4131" y="4774"/>
                </a:lnTo>
                <a:lnTo>
                  <a:pt x="3578" y="4838"/>
                </a:lnTo>
                <a:lnTo>
                  <a:pt x="2398" y="5115"/>
                </a:lnTo>
                <a:lnTo>
                  <a:pt x="1845" y="5327"/>
                </a:lnTo>
                <a:lnTo>
                  <a:pt x="1431" y="5603"/>
                </a:lnTo>
                <a:lnTo>
                  <a:pt x="952" y="5880"/>
                </a:lnTo>
                <a:lnTo>
                  <a:pt x="602" y="6294"/>
                </a:lnTo>
                <a:lnTo>
                  <a:pt x="122" y="7190"/>
                </a:lnTo>
                <a:lnTo>
                  <a:pt x="0" y="9057"/>
                </a:lnTo>
                <a:lnTo>
                  <a:pt x="122" y="9611"/>
                </a:lnTo>
                <a:lnTo>
                  <a:pt x="3780" y="12030"/>
                </a:lnTo>
                <a:lnTo>
                  <a:pt x="4886" y="12030"/>
                </a:lnTo>
                <a:lnTo>
                  <a:pt x="5374" y="11961"/>
                </a:lnTo>
                <a:lnTo>
                  <a:pt x="5789" y="11961"/>
                </a:lnTo>
                <a:lnTo>
                  <a:pt x="6268" y="11892"/>
                </a:lnTo>
                <a:lnTo>
                  <a:pt x="6683" y="11892"/>
                </a:lnTo>
                <a:lnTo>
                  <a:pt x="7097" y="11822"/>
                </a:lnTo>
                <a:lnTo>
                  <a:pt x="7512" y="11822"/>
                </a:lnTo>
                <a:lnTo>
                  <a:pt x="8480" y="11615"/>
                </a:lnTo>
                <a:lnTo>
                  <a:pt x="8756" y="11615"/>
                </a:lnTo>
                <a:lnTo>
                  <a:pt x="8894" y="11546"/>
                </a:lnTo>
                <a:lnTo>
                  <a:pt x="8894" y="10302"/>
                </a:lnTo>
                <a:lnTo>
                  <a:pt x="3854" y="10302"/>
                </a:lnTo>
                <a:lnTo>
                  <a:pt x="3228" y="10164"/>
                </a:lnTo>
                <a:lnTo>
                  <a:pt x="2260" y="9611"/>
                </a:lnTo>
                <a:lnTo>
                  <a:pt x="2057" y="9057"/>
                </a:lnTo>
                <a:lnTo>
                  <a:pt x="2122" y="7605"/>
                </a:lnTo>
                <a:lnTo>
                  <a:pt x="2334" y="7398"/>
                </a:lnTo>
                <a:lnTo>
                  <a:pt x="2536" y="7121"/>
                </a:lnTo>
                <a:lnTo>
                  <a:pt x="2748" y="6914"/>
                </a:lnTo>
                <a:lnTo>
                  <a:pt x="3025" y="6776"/>
                </a:lnTo>
                <a:lnTo>
                  <a:pt x="3366" y="6637"/>
                </a:lnTo>
                <a:lnTo>
                  <a:pt x="3992" y="6497"/>
                </a:lnTo>
                <a:lnTo>
                  <a:pt x="4333" y="6497"/>
                </a:lnTo>
                <a:lnTo>
                  <a:pt x="4683" y="6433"/>
                </a:lnTo>
                <a:lnTo>
                  <a:pt x="8894" y="6433"/>
                </a:lnTo>
                <a:lnTo>
                  <a:pt x="8894" y="5115"/>
                </a:lnTo>
                <a:lnTo>
                  <a:pt x="6895" y="5115"/>
                </a:lnTo>
                <a:lnTo>
                  <a:pt x="6618" y="5050"/>
                </a:lnTo>
                <a:lnTo>
                  <a:pt x="6480" y="4976"/>
                </a:lnTo>
                <a:lnTo>
                  <a:pt x="6268" y="4976"/>
                </a:lnTo>
                <a:lnTo>
                  <a:pt x="6065" y="4912"/>
                </a:lnTo>
                <a:lnTo>
                  <a:pt x="5854" y="4912"/>
                </a:lnTo>
                <a:lnTo>
                  <a:pt x="5651" y="4838"/>
                </a:lnTo>
                <a:lnTo>
                  <a:pt x="5236" y="4838"/>
                </a:lnTo>
                <a:lnTo>
                  <a:pt x="5024" y="4774"/>
                </a:lnTo>
                <a:close/>
              </a:path>
              <a:path w="8889" h="12064">
                <a:moveTo>
                  <a:pt x="8894" y="6433"/>
                </a:moveTo>
                <a:lnTo>
                  <a:pt x="5439" y="6433"/>
                </a:lnTo>
                <a:lnTo>
                  <a:pt x="6204" y="6571"/>
                </a:lnTo>
                <a:lnTo>
                  <a:pt x="6545" y="6571"/>
                </a:lnTo>
                <a:lnTo>
                  <a:pt x="6757" y="6637"/>
                </a:lnTo>
                <a:lnTo>
                  <a:pt x="6895" y="6706"/>
                </a:lnTo>
                <a:lnTo>
                  <a:pt x="6895" y="10164"/>
                </a:lnTo>
                <a:lnTo>
                  <a:pt x="6683" y="10233"/>
                </a:lnTo>
                <a:lnTo>
                  <a:pt x="5992" y="10233"/>
                </a:lnTo>
                <a:lnTo>
                  <a:pt x="5577" y="10302"/>
                </a:lnTo>
                <a:lnTo>
                  <a:pt x="8894" y="10302"/>
                </a:lnTo>
                <a:lnTo>
                  <a:pt x="8894" y="6433"/>
                </a:lnTo>
                <a:close/>
              </a:path>
              <a:path w="8889" h="12064">
                <a:moveTo>
                  <a:pt x="8369" y="1797"/>
                </a:moveTo>
                <a:lnTo>
                  <a:pt x="4822" y="1797"/>
                </a:lnTo>
                <a:lnTo>
                  <a:pt x="5301" y="1870"/>
                </a:lnTo>
                <a:lnTo>
                  <a:pt x="5577" y="2009"/>
                </a:lnTo>
                <a:lnTo>
                  <a:pt x="5927" y="2147"/>
                </a:lnTo>
                <a:lnTo>
                  <a:pt x="6204" y="2350"/>
                </a:lnTo>
                <a:lnTo>
                  <a:pt x="6618" y="2903"/>
                </a:lnTo>
                <a:lnTo>
                  <a:pt x="6683" y="3179"/>
                </a:lnTo>
                <a:lnTo>
                  <a:pt x="6821" y="3529"/>
                </a:lnTo>
                <a:lnTo>
                  <a:pt x="6895" y="5115"/>
                </a:lnTo>
                <a:lnTo>
                  <a:pt x="8894" y="5115"/>
                </a:lnTo>
                <a:lnTo>
                  <a:pt x="8830" y="3179"/>
                </a:lnTo>
                <a:lnTo>
                  <a:pt x="8622" y="2350"/>
                </a:lnTo>
                <a:lnTo>
                  <a:pt x="8510" y="2009"/>
                </a:lnTo>
                <a:lnTo>
                  <a:pt x="8369" y="1797"/>
                </a:lnTo>
                <a:close/>
              </a:path>
              <a:path w="8889" h="12064">
                <a:moveTo>
                  <a:pt x="5301" y="0"/>
                </a:moveTo>
                <a:lnTo>
                  <a:pt x="3780" y="0"/>
                </a:lnTo>
                <a:lnTo>
                  <a:pt x="3089" y="73"/>
                </a:lnTo>
                <a:lnTo>
                  <a:pt x="2472" y="211"/>
                </a:lnTo>
                <a:lnTo>
                  <a:pt x="1845" y="276"/>
                </a:lnTo>
                <a:lnTo>
                  <a:pt x="1431" y="414"/>
                </a:lnTo>
                <a:lnTo>
                  <a:pt x="1154" y="552"/>
                </a:lnTo>
                <a:lnTo>
                  <a:pt x="1431" y="2211"/>
                </a:lnTo>
                <a:lnTo>
                  <a:pt x="2057" y="2009"/>
                </a:lnTo>
                <a:lnTo>
                  <a:pt x="2536" y="1935"/>
                </a:lnTo>
                <a:lnTo>
                  <a:pt x="3025" y="1797"/>
                </a:lnTo>
                <a:lnTo>
                  <a:pt x="8369" y="1797"/>
                </a:lnTo>
                <a:lnTo>
                  <a:pt x="8277" y="1658"/>
                </a:lnTo>
                <a:lnTo>
                  <a:pt x="7586" y="829"/>
                </a:lnTo>
                <a:lnTo>
                  <a:pt x="7171" y="552"/>
                </a:lnTo>
                <a:lnTo>
                  <a:pt x="5992" y="138"/>
                </a:lnTo>
                <a:lnTo>
                  <a:pt x="5301" y="0"/>
                </a:lnTo>
                <a:close/>
              </a:path>
            </a:pathLst>
          </a:custGeom>
          <a:solidFill>
            <a:srgbClr val="251242"/>
          </a:solidFill>
        </p:spPr>
        <p:txBody>
          <a:bodyPr wrap="square" lIns="0" tIns="0" rIns="0" bIns="0" rtlCol="0"/>
          <a:lstStyle/>
          <a:p>
            <a:endParaRPr/>
          </a:p>
        </p:txBody>
      </p:sp>
      <p:sp>
        <p:nvSpPr>
          <p:cNvPr id="177" name="object 177"/>
          <p:cNvSpPr/>
          <p:nvPr/>
        </p:nvSpPr>
        <p:spPr>
          <a:xfrm>
            <a:off x="5806050" y="5744036"/>
            <a:ext cx="6985" cy="15875"/>
          </a:xfrm>
          <a:custGeom>
            <a:avLst/>
            <a:gdLst/>
            <a:ahLst/>
            <a:cxnLst/>
            <a:rect l="l" t="t" r="r" b="b"/>
            <a:pathLst>
              <a:path w="6985" h="15875">
                <a:moveTo>
                  <a:pt x="2073" y="0"/>
                </a:moveTo>
                <a:lnTo>
                  <a:pt x="0" y="350"/>
                </a:lnTo>
                <a:lnTo>
                  <a:pt x="64" y="12034"/>
                </a:lnTo>
                <a:lnTo>
                  <a:pt x="308" y="13071"/>
                </a:lnTo>
                <a:lnTo>
                  <a:pt x="552" y="13693"/>
                </a:lnTo>
                <a:lnTo>
                  <a:pt x="1170" y="14454"/>
                </a:lnTo>
                <a:lnTo>
                  <a:pt x="1584" y="14799"/>
                </a:lnTo>
                <a:lnTo>
                  <a:pt x="2073" y="14938"/>
                </a:lnTo>
                <a:lnTo>
                  <a:pt x="2626" y="15145"/>
                </a:lnTo>
                <a:lnTo>
                  <a:pt x="3252" y="15283"/>
                </a:lnTo>
                <a:lnTo>
                  <a:pt x="4699" y="15283"/>
                </a:lnTo>
                <a:lnTo>
                  <a:pt x="5252" y="15214"/>
                </a:lnTo>
                <a:lnTo>
                  <a:pt x="5804" y="15007"/>
                </a:lnTo>
                <a:lnTo>
                  <a:pt x="6293" y="14869"/>
                </a:lnTo>
                <a:lnTo>
                  <a:pt x="6846" y="14661"/>
                </a:lnTo>
                <a:lnTo>
                  <a:pt x="6607" y="13486"/>
                </a:lnTo>
                <a:lnTo>
                  <a:pt x="3869" y="13486"/>
                </a:lnTo>
                <a:lnTo>
                  <a:pt x="3252" y="13348"/>
                </a:lnTo>
                <a:lnTo>
                  <a:pt x="2764" y="13071"/>
                </a:lnTo>
                <a:lnTo>
                  <a:pt x="2626" y="12864"/>
                </a:lnTo>
                <a:lnTo>
                  <a:pt x="2423" y="12656"/>
                </a:lnTo>
                <a:lnTo>
                  <a:pt x="2285" y="12379"/>
                </a:lnTo>
                <a:lnTo>
                  <a:pt x="2108" y="11342"/>
                </a:lnTo>
                <a:lnTo>
                  <a:pt x="2073" y="5262"/>
                </a:lnTo>
                <a:lnTo>
                  <a:pt x="6431" y="5262"/>
                </a:lnTo>
                <a:lnTo>
                  <a:pt x="6431" y="3529"/>
                </a:lnTo>
                <a:lnTo>
                  <a:pt x="2073" y="3529"/>
                </a:lnTo>
                <a:lnTo>
                  <a:pt x="2073" y="0"/>
                </a:lnTo>
                <a:close/>
              </a:path>
              <a:path w="6985" h="15875">
                <a:moveTo>
                  <a:pt x="6495" y="12933"/>
                </a:moveTo>
                <a:lnTo>
                  <a:pt x="6293" y="13002"/>
                </a:lnTo>
                <a:lnTo>
                  <a:pt x="6081" y="13140"/>
                </a:lnTo>
                <a:lnTo>
                  <a:pt x="5325" y="13417"/>
                </a:lnTo>
                <a:lnTo>
                  <a:pt x="4837" y="13486"/>
                </a:lnTo>
                <a:lnTo>
                  <a:pt x="6607" y="13486"/>
                </a:lnTo>
                <a:lnTo>
                  <a:pt x="6495" y="12933"/>
                </a:lnTo>
                <a:close/>
              </a:path>
            </a:pathLst>
          </a:custGeom>
          <a:solidFill>
            <a:srgbClr val="251242"/>
          </a:solidFill>
        </p:spPr>
        <p:txBody>
          <a:bodyPr wrap="square" lIns="0" tIns="0" rIns="0" bIns="0" rtlCol="0"/>
          <a:lstStyle/>
          <a:p>
            <a:endParaRPr/>
          </a:p>
        </p:txBody>
      </p:sp>
      <p:sp>
        <p:nvSpPr>
          <p:cNvPr id="178" name="object 178"/>
          <p:cNvSpPr/>
          <p:nvPr/>
        </p:nvSpPr>
        <p:spPr>
          <a:xfrm>
            <a:off x="5779301" y="5412314"/>
            <a:ext cx="3175" cy="3810"/>
          </a:xfrm>
          <a:custGeom>
            <a:avLst/>
            <a:gdLst/>
            <a:ahLst/>
            <a:cxnLst/>
            <a:rect l="l" t="t" r="r" b="b"/>
            <a:pathLst>
              <a:path w="3175" h="3810">
                <a:moveTo>
                  <a:pt x="0" y="3244"/>
                </a:moveTo>
                <a:lnTo>
                  <a:pt x="3178" y="3244"/>
                </a:lnTo>
                <a:lnTo>
                  <a:pt x="3178" y="0"/>
                </a:lnTo>
                <a:lnTo>
                  <a:pt x="0" y="0"/>
                </a:lnTo>
                <a:lnTo>
                  <a:pt x="0" y="3244"/>
                </a:lnTo>
                <a:close/>
              </a:path>
            </a:pathLst>
          </a:custGeom>
          <a:solidFill>
            <a:srgbClr val="ACD91A"/>
          </a:solidFill>
        </p:spPr>
        <p:txBody>
          <a:bodyPr wrap="square" lIns="0" tIns="0" rIns="0" bIns="0" rtlCol="0"/>
          <a:lstStyle/>
          <a:p>
            <a:endParaRPr/>
          </a:p>
        </p:txBody>
      </p:sp>
      <p:sp>
        <p:nvSpPr>
          <p:cNvPr id="179" name="object 179"/>
          <p:cNvSpPr/>
          <p:nvPr/>
        </p:nvSpPr>
        <p:spPr>
          <a:xfrm>
            <a:off x="5682738" y="5404499"/>
            <a:ext cx="5715" cy="5715"/>
          </a:xfrm>
          <a:custGeom>
            <a:avLst/>
            <a:gdLst/>
            <a:ahLst/>
            <a:cxnLst/>
            <a:rect l="l" t="t" r="r" b="b"/>
            <a:pathLst>
              <a:path w="5714" h="5714">
                <a:moveTo>
                  <a:pt x="0" y="5529"/>
                </a:moveTo>
                <a:lnTo>
                  <a:pt x="5528" y="5529"/>
                </a:lnTo>
                <a:lnTo>
                  <a:pt x="5528" y="0"/>
                </a:lnTo>
                <a:lnTo>
                  <a:pt x="0" y="0"/>
                </a:lnTo>
                <a:lnTo>
                  <a:pt x="0" y="5529"/>
                </a:lnTo>
                <a:close/>
              </a:path>
            </a:pathLst>
          </a:custGeom>
          <a:solidFill>
            <a:srgbClr val="ACD91A"/>
          </a:solidFill>
        </p:spPr>
        <p:txBody>
          <a:bodyPr wrap="square" lIns="0" tIns="0" rIns="0" bIns="0" rtlCol="0"/>
          <a:lstStyle/>
          <a:p>
            <a:endParaRPr/>
          </a:p>
        </p:txBody>
      </p:sp>
      <p:sp>
        <p:nvSpPr>
          <p:cNvPr id="180" name="object 180"/>
          <p:cNvSpPr/>
          <p:nvPr/>
        </p:nvSpPr>
        <p:spPr>
          <a:xfrm>
            <a:off x="5642997" y="5456701"/>
            <a:ext cx="26034" cy="26034"/>
          </a:xfrm>
          <a:custGeom>
            <a:avLst/>
            <a:gdLst/>
            <a:ahLst/>
            <a:cxnLst/>
            <a:rect l="l" t="t" r="r" b="b"/>
            <a:pathLst>
              <a:path w="26035" h="26035">
                <a:moveTo>
                  <a:pt x="25781" y="25714"/>
                </a:moveTo>
                <a:lnTo>
                  <a:pt x="0" y="25714"/>
                </a:lnTo>
                <a:lnTo>
                  <a:pt x="0" y="0"/>
                </a:lnTo>
                <a:lnTo>
                  <a:pt x="25781" y="0"/>
                </a:lnTo>
                <a:lnTo>
                  <a:pt x="25781" y="25714"/>
                </a:lnTo>
                <a:close/>
              </a:path>
            </a:pathLst>
          </a:custGeom>
          <a:solidFill>
            <a:srgbClr val="251242"/>
          </a:solidFill>
        </p:spPr>
        <p:txBody>
          <a:bodyPr wrap="square" lIns="0" tIns="0" rIns="0" bIns="0" rtlCol="0"/>
          <a:lstStyle/>
          <a:p>
            <a:endParaRPr/>
          </a:p>
        </p:txBody>
      </p:sp>
      <p:sp>
        <p:nvSpPr>
          <p:cNvPr id="181" name="object 181"/>
          <p:cNvSpPr/>
          <p:nvPr/>
        </p:nvSpPr>
        <p:spPr>
          <a:xfrm>
            <a:off x="5648599" y="5452554"/>
            <a:ext cx="1270" cy="5080"/>
          </a:xfrm>
          <a:custGeom>
            <a:avLst/>
            <a:gdLst/>
            <a:ahLst/>
            <a:cxnLst/>
            <a:rect l="l" t="t" r="r" b="b"/>
            <a:pathLst>
              <a:path w="1270" h="5079">
                <a:moveTo>
                  <a:pt x="755" y="0"/>
                </a:moveTo>
                <a:lnTo>
                  <a:pt x="202" y="0"/>
                </a:lnTo>
                <a:lnTo>
                  <a:pt x="0" y="202"/>
                </a:lnTo>
                <a:lnTo>
                  <a:pt x="0" y="4423"/>
                </a:lnTo>
                <a:lnTo>
                  <a:pt x="202" y="4626"/>
                </a:lnTo>
                <a:lnTo>
                  <a:pt x="755" y="4626"/>
                </a:lnTo>
                <a:lnTo>
                  <a:pt x="967" y="4423"/>
                </a:lnTo>
                <a:lnTo>
                  <a:pt x="967" y="202"/>
                </a:lnTo>
                <a:lnTo>
                  <a:pt x="755" y="0"/>
                </a:lnTo>
                <a:close/>
              </a:path>
            </a:pathLst>
          </a:custGeom>
          <a:solidFill>
            <a:srgbClr val="251242"/>
          </a:solidFill>
        </p:spPr>
        <p:txBody>
          <a:bodyPr wrap="square" lIns="0" tIns="0" rIns="0" bIns="0" rtlCol="0"/>
          <a:lstStyle/>
          <a:p>
            <a:endParaRPr/>
          </a:p>
        </p:txBody>
      </p:sp>
      <p:sp>
        <p:nvSpPr>
          <p:cNvPr id="182" name="object 182"/>
          <p:cNvSpPr/>
          <p:nvPr/>
        </p:nvSpPr>
        <p:spPr>
          <a:xfrm>
            <a:off x="5653160" y="5452554"/>
            <a:ext cx="1270" cy="5080"/>
          </a:xfrm>
          <a:custGeom>
            <a:avLst/>
            <a:gdLst/>
            <a:ahLst/>
            <a:cxnLst/>
            <a:rect l="l" t="t" r="r" b="b"/>
            <a:pathLst>
              <a:path w="1270" h="5079">
                <a:moveTo>
                  <a:pt x="755" y="0"/>
                </a:moveTo>
                <a:lnTo>
                  <a:pt x="202" y="0"/>
                </a:lnTo>
                <a:lnTo>
                  <a:pt x="0" y="202"/>
                </a:lnTo>
                <a:lnTo>
                  <a:pt x="0" y="4423"/>
                </a:lnTo>
                <a:lnTo>
                  <a:pt x="202" y="4626"/>
                </a:lnTo>
                <a:lnTo>
                  <a:pt x="755" y="4626"/>
                </a:lnTo>
                <a:lnTo>
                  <a:pt x="967" y="4423"/>
                </a:lnTo>
                <a:lnTo>
                  <a:pt x="967" y="202"/>
                </a:lnTo>
                <a:lnTo>
                  <a:pt x="755" y="0"/>
                </a:lnTo>
                <a:close/>
              </a:path>
            </a:pathLst>
          </a:custGeom>
          <a:solidFill>
            <a:srgbClr val="251242"/>
          </a:solidFill>
        </p:spPr>
        <p:txBody>
          <a:bodyPr wrap="square" lIns="0" tIns="0" rIns="0" bIns="0" rtlCol="0"/>
          <a:lstStyle/>
          <a:p>
            <a:endParaRPr/>
          </a:p>
        </p:txBody>
      </p:sp>
      <p:sp>
        <p:nvSpPr>
          <p:cNvPr id="183" name="object 183"/>
          <p:cNvSpPr/>
          <p:nvPr/>
        </p:nvSpPr>
        <p:spPr>
          <a:xfrm>
            <a:off x="5657722" y="5452554"/>
            <a:ext cx="1270" cy="5080"/>
          </a:xfrm>
          <a:custGeom>
            <a:avLst/>
            <a:gdLst/>
            <a:ahLst/>
            <a:cxnLst/>
            <a:rect l="l" t="t" r="r" b="b"/>
            <a:pathLst>
              <a:path w="1270" h="5079">
                <a:moveTo>
                  <a:pt x="691" y="0"/>
                </a:moveTo>
                <a:lnTo>
                  <a:pt x="202" y="0"/>
                </a:lnTo>
                <a:lnTo>
                  <a:pt x="0" y="202"/>
                </a:lnTo>
                <a:lnTo>
                  <a:pt x="0" y="4423"/>
                </a:lnTo>
                <a:lnTo>
                  <a:pt x="202" y="4626"/>
                </a:lnTo>
                <a:lnTo>
                  <a:pt x="691" y="4626"/>
                </a:lnTo>
                <a:lnTo>
                  <a:pt x="893" y="4423"/>
                </a:lnTo>
                <a:lnTo>
                  <a:pt x="893" y="202"/>
                </a:lnTo>
                <a:lnTo>
                  <a:pt x="691" y="0"/>
                </a:lnTo>
                <a:close/>
              </a:path>
            </a:pathLst>
          </a:custGeom>
          <a:solidFill>
            <a:srgbClr val="251242"/>
          </a:solidFill>
        </p:spPr>
        <p:txBody>
          <a:bodyPr wrap="square" lIns="0" tIns="0" rIns="0" bIns="0" rtlCol="0"/>
          <a:lstStyle/>
          <a:p>
            <a:endParaRPr/>
          </a:p>
        </p:txBody>
      </p:sp>
      <p:sp>
        <p:nvSpPr>
          <p:cNvPr id="184" name="object 184"/>
          <p:cNvSpPr/>
          <p:nvPr/>
        </p:nvSpPr>
        <p:spPr>
          <a:xfrm>
            <a:off x="5662209" y="5452554"/>
            <a:ext cx="1270" cy="5080"/>
          </a:xfrm>
          <a:custGeom>
            <a:avLst/>
            <a:gdLst/>
            <a:ahLst/>
            <a:cxnLst/>
            <a:rect l="l" t="t" r="r" b="b"/>
            <a:pathLst>
              <a:path w="1270" h="5079">
                <a:moveTo>
                  <a:pt x="764" y="0"/>
                </a:moveTo>
                <a:lnTo>
                  <a:pt x="276" y="0"/>
                </a:lnTo>
                <a:lnTo>
                  <a:pt x="0" y="202"/>
                </a:lnTo>
                <a:lnTo>
                  <a:pt x="0" y="4423"/>
                </a:lnTo>
                <a:lnTo>
                  <a:pt x="276" y="4626"/>
                </a:lnTo>
                <a:lnTo>
                  <a:pt x="764" y="4626"/>
                </a:lnTo>
                <a:lnTo>
                  <a:pt x="967" y="4423"/>
                </a:lnTo>
                <a:lnTo>
                  <a:pt x="967" y="202"/>
                </a:lnTo>
                <a:lnTo>
                  <a:pt x="764" y="0"/>
                </a:lnTo>
                <a:close/>
              </a:path>
            </a:pathLst>
          </a:custGeom>
          <a:solidFill>
            <a:srgbClr val="251242"/>
          </a:solidFill>
        </p:spPr>
        <p:txBody>
          <a:bodyPr wrap="square" lIns="0" tIns="0" rIns="0" bIns="0" rtlCol="0"/>
          <a:lstStyle/>
          <a:p>
            <a:endParaRPr/>
          </a:p>
        </p:txBody>
      </p:sp>
      <p:sp>
        <p:nvSpPr>
          <p:cNvPr id="185" name="object 185"/>
          <p:cNvSpPr/>
          <p:nvPr/>
        </p:nvSpPr>
        <p:spPr>
          <a:xfrm>
            <a:off x="5662209" y="5481798"/>
            <a:ext cx="1270" cy="5080"/>
          </a:xfrm>
          <a:custGeom>
            <a:avLst/>
            <a:gdLst/>
            <a:ahLst/>
            <a:cxnLst/>
            <a:rect l="l" t="t" r="r" b="b"/>
            <a:pathLst>
              <a:path w="1270" h="5079">
                <a:moveTo>
                  <a:pt x="764" y="0"/>
                </a:moveTo>
                <a:lnTo>
                  <a:pt x="276" y="0"/>
                </a:lnTo>
                <a:lnTo>
                  <a:pt x="0" y="202"/>
                </a:lnTo>
                <a:lnTo>
                  <a:pt x="0" y="4423"/>
                </a:lnTo>
                <a:lnTo>
                  <a:pt x="276" y="4626"/>
                </a:lnTo>
                <a:lnTo>
                  <a:pt x="764" y="4626"/>
                </a:lnTo>
                <a:lnTo>
                  <a:pt x="967" y="4423"/>
                </a:lnTo>
                <a:lnTo>
                  <a:pt x="967" y="202"/>
                </a:lnTo>
                <a:lnTo>
                  <a:pt x="764" y="0"/>
                </a:lnTo>
                <a:close/>
              </a:path>
            </a:pathLst>
          </a:custGeom>
          <a:solidFill>
            <a:srgbClr val="251242"/>
          </a:solidFill>
        </p:spPr>
        <p:txBody>
          <a:bodyPr wrap="square" lIns="0" tIns="0" rIns="0" bIns="0" rtlCol="0"/>
          <a:lstStyle/>
          <a:p>
            <a:endParaRPr/>
          </a:p>
        </p:txBody>
      </p:sp>
      <p:sp>
        <p:nvSpPr>
          <p:cNvPr id="186" name="object 186"/>
          <p:cNvSpPr/>
          <p:nvPr/>
        </p:nvSpPr>
        <p:spPr>
          <a:xfrm>
            <a:off x="5648599" y="5481936"/>
            <a:ext cx="1270" cy="5080"/>
          </a:xfrm>
          <a:custGeom>
            <a:avLst/>
            <a:gdLst/>
            <a:ahLst/>
            <a:cxnLst/>
            <a:rect l="l" t="t" r="r" b="b"/>
            <a:pathLst>
              <a:path w="1270" h="5079">
                <a:moveTo>
                  <a:pt x="755" y="0"/>
                </a:moveTo>
                <a:lnTo>
                  <a:pt x="202" y="0"/>
                </a:lnTo>
                <a:lnTo>
                  <a:pt x="0" y="202"/>
                </a:lnTo>
                <a:lnTo>
                  <a:pt x="0" y="4423"/>
                </a:lnTo>
                <a:lnTo>
                  <a:pt x="202" y="4626"/>
                </a:lnTo>
                <a:lnTo>
                  <a:pt x="755" y="4626"/>
                </a:lnTo>
                <a:lnTo>
                  <a:pt x="967" y="4423"/>
                </a:lnTo>
                <a:lnTo>
                  <a:pt x="967" y="202"/>
                </a:lnTo>
                <a:lnTo>
                  <a:pt x="755" y="0"/>
                </a:lnTo>
                <a:close/>
              </a:path>
            </a:pathLst>
          </a:custGeom>
          <a:solidFill>
            <a:srgbClr val="251242"/>
          </a:solidFill>
        </p:spPr>
        <p:txBody>
          <a:bodyPr wrap="square" lIns="0" tIns="0" rIns="0" bIns="0" rtlCol="0"/>
          <a:lstStyle/>
          <a:p>
            <a:endParaRPr/>
          </a:p>
        </p:txBody>
      </p:sp>
      <p:sp>
        <p:nvSpPr>
          <p:cNvPr id="187" name="object 187"/>
          <p:cNvSpPr/>
          <p:nvPr/>
        </p:nvSpPr>
        <p:spPr>
          <a:xfrm>
            <a:off x="5653160" y="5481936"/>
            <a:ext cx="1270" cy="5080"/>
          </a:xfrm>
          <a:custGeom>
            <a:avLst/>
            <a:gdLst/>
            <a:ahLst/>
            <a:cxnLst/>
            <a:rect l="l" t="t" r="r" b="b"/>
            <a:pathLst>
              <a:path w="1270" h="5079">
                <a:moveTo>
                  <a:pt x="755" y="0"/>
                </a:moveTo>
                <a:lnTo>
                  <a:pt x="202" y="0"/>
                </a:lnTo>
                <a:lnTo>
                  <a:pt x="0" y="202"/>
                </a:lnTo>
                <a:lnTo>
                  <a:pt x="0" y="4423"/>
                </a:lnTo>
                <a:lnTo>
                  <a:pt x="202" y="4626"/>
                </a:lnTo>
                <a:lnTo>
                  <a:pt x="755" y="4626"/>
                </a:lnTo>
                <a:lnTo>
                  <a:pt x="967" y="4423"/>
                </a:lnTo>
                <a:lnTo>
                  <a:pt x="967" y="202"/>
                </a:lnTo>
                <a:lnTo>
                  <a:pt x="755" y="0"/>
                </a:lnTo>
                <a:close/>
              </a:path>
            </a:pathLst>
          </a:custGeom>
          <a:solidFill>
            <a:srgbClr val="251242"/>
          </a:solidFill>
        </p:spPr>
        <p:txBody>
          <a:bodyPr wrap="square" lIns="0" tIns="0" rIns="0" bIns="0" rtlCol="0"/>
          <a:lstStyle/>
          <a:p>
            <a:endParaRPr/>
          </a:p>
        </p:txBody>
      </p:sp>
      <p:sp>
        <p:nvSpPr>
          <p:cNvPr id="188" name="object 188"/>
          <p:cNvSpPr/>
          <p:nvPr/>
        </p:nvSpPr>
        <p:spPr>
          <a:xfrm>
            <a:off x="5657722" y="5481936"/>
            <a:ext cx="1270" cy="5080"/>
          </a:xfrm>
          <a:custGeom>
            <a:avLst/>
            <a:gdLst/>
            <a:ahLst/>
            <a:cxnLst/>
            <a:rect l="l" t="t" r="r" b="b"/>
            <a:pathLst>
              <a:path w="1270" h="5079">
                <a:moveTo>
                  <a:pt x="691" y="0"/>
                </a:moveTo>
                <a:lnTo>
                  <a:pt x="202" y="0"/>
                </a:lnTo>
                <a:lnTo>
                  <a:pt x="0" y="202"/>
                </a:lnTo>
                <a:lnTo>
                  <a:pt x="0" y="4423"/>
                </a:lnTo>
                <a:lnTo>
                  <a:pt x="202" y="4626"/>
                </a:lnTo>
                <a:lnTo>
                  <a:pt x="691" y="4626"/>
                </a:lnTo>
                <a:lnTo>
                  <a:pt x="893" y="4423"/>
                </a:lnTo>
                <a:lnTo>
                  <a:pt x="893" y="202"/>
                </a:lnTo>
                <a:lnTo>
                  <a:pt x="691" y="0"/>
                </a:lnTo>
                <a:close/>
              </a:path>
            </a:pathLst>
          </a:custGeom>
          <a:solidFill>
            <a:srgbClr val="251242"/>
          </a:solidFill>
        </p:spPr>
        <p:txBody>
          <a:bodyPr wrap="square" lIns="0" tIns="0" rIns="0" bIns="0" rtlCol="0"/>
          <a:lstStyle/>
          <a:p>
            <a:endParaRPr/>
          </a:p>
        </p:txBody>
      </p:sp>
      <p:sp>
        <p:nvSpPr>
          <p:cNvPr id="189" name="object 189"/>
          <p:cNvSpPr/>
          <p:nvPr/>
        </p:nvSpPr>
        <p:spPr>
          <a:xfrm>
            <a:off x="5638851" y="5475918"/>
            <a:ext cx="5080" cy="1270"/>
          </a:xfrm>
          <a:custGeom>
            <a:avLst/>
            <a:gdLst/>
            <a:ahLst/>
            <a:cxnLst/>
            <a:rect l="l" t="t" r="r" b="b"/>
            <a:pathLst>
              <a:path w="5079" h="1270">
                <a:moveTo>
                  <a:pt x="4422" y="0"/>
                </a:moveTo>
                <a:lnTo>
                  <a:pt x="202" y="0"/>
                </a:lnTo>
                <a:lnTo>
                  <a:pt x="0" y="211"/>
                </a:lnTo>
                <a:lnTo>
                  <a:pt x="0" y="764"/>
                </a:lnTo>
                <a:lnTo>
                  <a:pt x="202" y="967"/>
                </a:lnTo>
                <a:lnTo>
                  <a:pt x="4422" y="967"/>
                </a:lnTo>
                <a:lnTo>
                  <a:pt x="4625" y="764"/>
                </a:lnTo>
                <a:lnTo>
                  <a:pt x="4625" y="211"/>
                </a:lnTo>
                <a:lnTo>
                  <a:pt x="4422" y="0"/>
                </a:lnTo>
                <a:close/>
              </a:path>
            </a:pathLst>
          </a:custGeom>
          <a:solidFill>
            <a:srgbClr val="251242"/>
          </a:solidFill>
        </p:spPr>
        <p:txBody>
          <a:bodyPr wrap="square" lIns="0" tIns="0" rIns="0" bIns="0" rtlCol="0"/>
          <a:lstStyle/>
          <a:p>
            <a:endParaRPr/>
          </a:p>
        </p:txBody>
      </p:sp>
      <p:sp>
        <p:nvSpPr>
          <p:cNvPr id="190" name="object 190"/>
          <p:cNvSpPr/>
          <p:nvPr/>
        </p:nvSpPr>
        <p:spPr>
          <a:xfrm>
            <a:off x="5668290" y="5475918"/>
            <a:ext cx="5080" cy="1270"/>
          </a:xfrm>
          <a:custGeom>
            <a:avLst/>
            <a:gdLst/>
            <a:ahLst/>
            <a:cxnLst/>
            <a:rect l="l" t="t" r="r" b="b"/>
            <a:pathLst>
              <a:path w="5079" h="1270">
                <a:moveTo>
                  <a:pt x="4431" y="0"/>
                </a:moveTo>
                <a:lnTo>
                  <a:pt x="211" y="0"/>
                </a:lnTo>
                <a:lnTo>
                  <a:pt x="0" y="211"/>
                </a:lnTo>
                <a:lnTo>
                  <a:pt x="0" y="764"/>
                </a:lnTo>
                <a:lnTo>
                  <a:pt x="211" y="967"/>
                </a:lnTo>
                <a:lnTo>
                  <a:pt x="4431" y="967"/>
                </a:lnTo>
                <a:lnTo>
                  <a:pt x="4634" y="764"/>
                </a:lnTo>
                <a:lnTo>
                  <a:pt x="4634" y="211"/>
                </a:lnTo>
                <a:lnTo>
                  <a:pt x="4431" y="0"/>
                </a:lnTo>
                <a:close/>
              </a:path>
            </a:pathLst>
          </a:custGeom>
          <a:solidFill>
            <a:srgbClr val="251242"/>
          </a:solidFill>
        </p:spPr>
        <p:txBody>
          <a:bodyPr wrap="square" lIns="0" tIns="0" rIns="0" bIns="0" rtlCol="0"/>
          <a:lstStyle/>
          <a:p>
            <a:endParaRPr/>
          </a:p>
        </p:txBody>
      </p:sp>
      <p:sp>
        <p:nvSpPr>
          <p:cNvPr id="191" name="object 191"/>
          <p:cNvSpPr/>
          <p:nvPr/>
        </p:nvSpPr>
        <p:spPr>
          <a:xfrm>
            <a:off x="5638851" y="5471355"/>
            <a:ext cx="5080" cy="1270"/>
          </a:xfrm>
          <a:custGeom>
            <a:avLst/>
            <a:gdLst/>
            <a:ahLst/>
            <a:cxnLst/>
            <a:rect l="l" t="t" r="r" b="b"/>
            <a:pathLst>
              <a:path w="5079" h="1270">
                <a:moveTo>
                  <a:pt x="4422" y="0"/>
                </a:moveTo>
                <a:lnTo>
                  <a:pt x="202" y="0"/>
                </a:lnTo>
                <a:lnTo>
                  <a:pt x="0" y="211"/>
                </a:lnTo>
                <a:lnTo>
                  <a:pt x="0" y="764"/>
                </a:lnTo>
                <a:lnTo>
                  <a:pt x="202" y="967"/>
                </a:lnTo>
                <a:lnTo>
                  <a:pt x="4422" y="967"/>
                </a:lnTo>
                <a:lnTo>
                  <a:pt x="4625" y="764"/>
                </a:lnTo>
                <a:lnTo>
                  <a:pt x="4625" y="211"/>
                </a:lnTo>
                <a:lnTo>
                  <a:pt x="4422" y="0"/>
                </a:lnTo>
                <a:close/>
              </a:path>
            </a:pathLst>
          </a:custGeom>
          <a:solidFill>
            <a:srgbClr val="251242"/>
          </a:solidFill>
        </p:spPr>
        <p:txBody>
          <a:bodyPr wrap="square" lIns="0" tIns="0" rIns="0" bIns="0" rtlCol="0"/>
          <a:lstStyle/>
          <a:p>
            <a:endParaRPr/>
          </a:p>
        </p:txBody>
      </p:sp>
      <p:sp>
        <p:nvSpPr>
          <p:cNvPr id="192" name="object 192"/>
          <p:cNvSpPr/>
          <p:nvPr/>
        </p:nvSpPr>
        <p:spPr>
          <a:xfrm>
            <a:off x="5638851" y="5466793"/>
            <a:ext cx="5080" cy="1270"/>
          </a:xfrm>
          <a:custGeom>
            <a:avLst/>
            <a:gdLst/>
            <a:ahLst/>
            <a:cxnLst/>
            <a:rect l="l" t="t" r="r" b="b"/>
            <a:pathLst>
              <a:path w="5079" h="1270">
                <a:moveTo>
                  <a:pt x="4422" y="0"/>
                </a:moveTo>
                <a:lnTo>
                  <a:pt x="202" y="0"/>
                </a:lnTo>
                <a:lnTo>
                  <a:pt x="0" y="211"/>
                </a:lnTo>
                <a:lnTo>
                  <a:pt x="0" y="764"/>
                </a:lnTo>
                <a:lnTo>
                  <a:pt x="202" y="967"/>
                </a:lnTo>
                <a:lnTo>
                  <a:pt x="4422" y="967"/>
                </a:lnTo>
                <a:lnTo>
                  <a:pt x="4625" y="764"/>
                </a:lnTo>
                <a:lnTo>
                  <a:pt x="4625" y="211"/>
                </a:lnTo>
                <a:lnTo>
                  <a:pt x="4422" y="0"/>
                </a:lnTo>
                <a:close/>
              </a:path>
            </a:pathLst>
          </a:custGeom>
          <a:solidFill>
            <a:srgbClr val="251242"/>
          </a:solidFill>
        </p:spPr>
        <p:txBody>
          <a:bodyPr wrap="square" lIns="0" tIns="0" rIns="0" bIns="0" rtlCol="0"/>
          <a:lstStyle/>
          <a:p>
            <a:endParaRPr/>
          </a:p>
        </p:txBody>
      </p:sp>
      <p:sp>
        <p:nvSpPr>
          <p:cNvPr id="193" name="object 193"/>
          <p:cNvSpPr/>
          <p:nvPr/>
        </p:nvSpPr>
        <p:spPr>
          <a:xfrm>
            <a:off x="5638851" y="5462231"/>
            <a:ext cx="5080" cy="1270"/>
          </a:xfrm>
          <a:custGeom>
            <a:avLst/>
            <a:gdLst/>
            <a:ahLst/>
            <a:cxnLst/>
            <a:rect l="l" t="t" r="r" b="b"/>
            <a:pathLst>
              <a:path w="5079" h="1270">
                <a:moveTo>
                  <a:pt x="4422" y="0"/>
                </a:moveTo>
                <a:lnTo>
                  <a:pt x="202" y="0"/>
                </a:lnTo>
                <a:lnTo>
                  <a:pt x="0" y="276"/>
                </a:lnTo>
                <a:lnTo>
                  <a:pt x="0" y="755"/>
                </a:lnTo>
                <a:lnTo>
                  <a:pt x="202" y="967"/>
                </a:lnTo>
                <a:lnTo>
                  <a:pt x="4422" y="967"/>
                </a:lnTo>
                <a:lnTo>
                  <a:pt x="4625" y="755"/>
                </a:lnTo>
                <a:lnTo>
                  <a:pt x="4625" y="276"/>
                </a:lnTo>
                <a:lnTo>
                  <a:pt x="4422" y="0"/>
                </a:lnTo>
                <a:close/>
              </a:path>
            </a:pathLst>
          </a:custGeom>
          <a:solidFill>
            <a:srgbClr val="251242"/>
          </a:solidFill>
        </p:spPr>
        <p:txBody>
          <a:bodyPr wrap="square" lIns="0" tIns="0" rIns="0" bIns="0" rtlCol="0"/>
          <a:lstStyle/>
          <a:p>
            <a:endParaRPr/>
          </a:p>
        </p:txBody>
      </p:sp>
      <p:sp>
        <p:nvSpPr>
          <p:cNvPr id="194" name="object 194"/>
          <p:cNvSpPr/>
          <p:nvPr/>
        </p:nvSpPr>
        <p:spPr>
          <a:xfrm>
            <a:off x="5668290" y="5471355"/>
            <a:ext cx="5080" cy="1270"/>
          </a:xfrm>
          <a:custGeom>
            <a:avLst/>
            <a:gdLst/>
            <a:ahLst/>
            <a:cxnLst/>
            <a:rect l="l" t="t" r="r" b="b"/>
            <a:pathLst>
              <a:path w="5079" h="1270">
                <a:moveTo>
                  <a:pt x="4431" y="0"/>
                </a:moveTo>
                <a:lnTo>
                  <a:pt x="211" y="0"/>
                </a:lnTo>
                <a:lnTo>
                  <a:pt x="0" y="211"/>
                </a:lnTo>
                <a:lnTo>
                  <a:pt x="0" y="764"/>
                </a:lnTo>
                <a:lnTo>
                  <a:pt x="211" y="967"/>
                </a:lnTo>
                <a:lnTo>
                  <a:pt x="4431" y="967"/>
                </a:lnTo>
                <a:lnTo>
                  <a:pt x="4634" y="764"/>
                </a:lnTo>
                <a:lnTo>
                  <a:pt x="4634" y="211"/>
                </a:lnTo>
                <a:lnTo>
                  <a:pt x="4431" y="0"/>
                </a:lnTo>
                <a:close/>
              </a:path>
            </a:pathLst>
          </a:custGeom>
          <a:solidFill>
            <a:srgbClr val="251242"/>
          </a:solidFill>
        </p:spPr>
        <p:txBody>
          <a:bodyPr wrap="square" lIns="0" tIns="0" rIns="0" bIns="0" rtlCol="0"/>
          <a:lstStyle/>
          <a:p>
            <a:endParaRPr/>
          </a:p>
        </p:txBody>
      </p:sp>
      <p:sp>
        <p:nvSpPr>
          <p:cNvPr id="195" name="object 195"/>
          <p:cNvSpPr/>
          <p:nvPr/>
        </p:nvSpPr>
        <p:spPr>
          <a:xfrm>
            <a:off x="5668290" y="5466793"/>
            <a:ext cx="5080" cy="1270"/>
          </a:xfrm>
          <a:custGeom>
            <a:avLst/>
            <a:gdLst/>
            <a:ahLst/>
            <a:cxnLst/>
            <a:rect l="l" t="t" r="r" b="b"/>
            <a:pathLst>
              <a:path w="5079" h="1270">
                <a:moveTo>
                  <a:pt x="4431" y="0"/>
                </a:moveTo>
                <a:lnTo>
                  <a:pt x="211" y="0"/>
                </a:lnTo>
                <a:lnTo>
                  <a:pt x="0" y="211"/>
                </a:lnTo>
                <a:lnTo>
                  <a:pt x="0" y="764"/>
                </a:lnTo>
                <a:lnTo>
                  <a:pt x="211" y="967"/>
                </a:lnTo>
                <a:lnTo>
                  <a:pt x="4431" y="967"/>
                </a:lnTo>
                <a:lnTo>
                  <a:pt x="4634" y="764"/>
                </a:lnTo>
                <a:lnTo>
                  <a:pt x="4634" y="211"/>
                </a:lnTo>
                <a:lnTo>
                  <a:pt x="4431" y="0"/>
                </a:lnTo>
                <a:close/>
              </a:path>
            </a:pathLst>
          </a:custGeom>
          <a:solidFill>
            <a:srgbClr val="251242"/>
          </a:solidFill>
        </p:spPr>
        <p:txBody>
          <a:bodyPr wrap="square" lIns="0" tIns="0" rIns="0" bIns="0" rtlCol="0"/>
          <a:lstStyle/>
          <a:p>
            <a:endParaRPr/>
          </a:p>
        </p:txBody>
      </p:sp>
      <p:sp>
        <p:nvSpPr>
          <p:cNvPr id="196" name="object 196"/>
          <p:cNvSpPr/>
          <p:nvPr/>
        </p:nvSpPr>
        <p:spPr>
          <a:xfrm>
            <a:off x="5668290" y="5462231"/>
            <a:ext cx="5080" cy="1270"/>
          </a:xfrm>
          <a:custGeom>
            <a:avLst/>
            <a:gdLst/>
            <a:ahLst/>
            <a:cxnLst/>
            <a:rect l="l" t="t" r="r" b="b"/>
            <a:pathLst>
              <a:path w="5079" h="1270">
                <a:moveTo>
                  <a:pt x="4431" y="0"/>
                </a:moveTo>
                <a:lnTo>
                  <a:pt x="211" y="0"/>
                </a:lnTo>
                <a:lnTo>
                  <a:pt x="0" y="276"/>
                </a:lnTo>
                <a:lnTo>
                  <a:pt x="0" y="755"/>
                </a:lnTo>
                <a:lnTo>
                  <a:pt x="211" y="967"/>
                </a:lnTo>
                <a:lnTo>
                  <a:pt x="4431" y="967"/>
                </a:lnTo>
                <a:lnTo>
                  <a:pt x="4634" y="755"/>
                </a:lnTo>
                <a:lnTo>
                  <a:pt x="4634" y="276"/>
                </a:lnTo>
                <a:lnTo>
                  <a:pt x="4431" y="0"/>
                </a:lnTo>
                <a:close/>
              </a:path>
            </a:pathLst>
          </a:custGeom>
          <a:solidFill>
            <a:srgbClr val="251242"/>
          </a:solidFill>
        </p:spPr>
        <p:txBody>
          <a:bodyPr wrap="square" lIns="0" tIns="0" rIns="0" bIns="0" rtlCol="0"/>
          <a:lstStyle/>
          <a:p>
            <a:endParaRPr/>
          </a:p>
        </p:txBody>
      </p:sp>
      <p:sp>
        <p:nvSpPr>
          <p:cNvPr id="197" name="object 197"/>
          <p:cNvSpPr/>
          <p:nvPr/>
        </p:nvSpPr>
        <p:spPr>
          <a:xfrm>
            <a:off x="5647070" y="5460775"/>
            <a:ext cx="17780" cy="17780"/>
          </a:xfrm>
          <a:custGeom>
            <a:avLst/>
            <a:gdLst/>
            <a:ahLst/>
            <a:cxnLst/>
            <a:rect l="l" t="t" r="r" b="b"/>
            <a:pathLst>
              <a:path w="17779" h="17779">
                <a:moveTo>
                  <a:pt x="17626" y="17566"/>
                </a:moveTo>
                <a:lnTo>
                  <a:pt x="0" y="17566"/>
                </a:lnTo>
                <a:lnTo>
                  <a:pt x="0" y="0"/>
                </a:lnTo>
                <a:lnTo>
                  <a:pt x="17626" y="0"/>
                </a:lnTo>
                <a:lnTo>
                  <a:pt x="17626" y="17566"/>
                </a:lnTo>
                <a:close/>
              </a:path>
            </a:pathLst>
          </a:custGeom>
          <a:solidFill>
            <a:srgbClr val="7ECA28"/>
          </a:solidFill>
        </p:spPr>
        <p:txBody>
          <a:bodyPr wrap="square" lIns="0" tIns="0" rIns="0" bIns="0" rtlCol="0"/>
          <a:lstStyle/>
          <a:p>
            <a:endParaRPr/>
          </a:p>
        </p:txBody>
      </p:sp>
      <p:sp>
        <p:nvSpPr>
          <p:cNvPr id="198" name="object 198"/>
          <p:cNvSpPr/>
          <p:nvPr/>
        </p:nvSpPr>
        <p:spPr>
          <a:xfrm>
            <a:off x="5614793" y="5609152"/>
            <a:ext cx="39370" cy="21590"/>
          </a:xfrm>
          <a:custGeom>
            <a:avLst/>
            <a:gdLst/>
            <a:ahLst/>
            <a:cxnLst/>
            <a:rect l="l" t="t" r="r" b="b"/>
            <a:pathLst>
              <a:path w="39370" h="21589">
                <a:moveTo>
                  <a:pt x="39123" y="12442"/>
                </a:moveTo>
                <a:lnTo>
                  <a:pt x="21984" y="12442"/>
                </a:lnTo>
                <a:lnTo>
                  <a:pt x="23090" y="16036"/>
                </a:lnTo>
                <a:lnTo>
                  <a:pt x="24398" y="18525"/>
                </a:lnTo>
                <a:lnTo>
                  <a:pt x="25781" y="21087"/>
                </a:lnTo>
                <a:lnTo>
                  <a:pt x="28407" y="20672"/>
                </a:lnTo>
                <a:lnTo>
                  <a:pt x="39123" y="20672"/>
                </a:lnTo>
                <a:lnTo>
                  <a:pt x="39123" y="12442"/>
                </a:lnTo>
                <a:close/>
              </a:path>
              <a:path w="39370" h="21589">
                <a:moveTo>
                  <a:pt x="35741" y="0"/>
                </a:moveTo>
                <a:lnTo>
                  <a:pt x="0" y="0"/>
                </a:lnTo>
                <a:lnTo>
                  <a:pt x="764" y="4350"/>
                </a:lnTo>
                <a:lnTo>
                  <a:pt x="929" y="12442"/>
                </a:lnTo>
                <a:lnTo>
                  <a:pt x="928" y="16036"/>
                </a:lnTo>
                <a:lnTo>
                  <a:pt x="829" y="20460"/>
                </a:lnTo>
                <a:lnTo>
                  <a:pt x="3455" y="20737"/>
                </a:lnTo>
                <a:lnTo>
                  <a:pt x="10513" y="20810"/>
                </a:lnTo>
                <a:lnTo>
                  <a:pt x="12512" y="20737"/>
                </a:lnTo>
                <a:lnTo>
                  <a:pt x="14521" y="20598"/>
                </a:lnTo>
                <a:lnTo>
                  <a:pt x="15765" y="18460"/>
                </a:lnTo>
                <a:lnTo>
                  <a:pt x="16732" y="16728"/>
                </a:lnTo>
                <a:lnTo>
                  <a:pt x="18179" y="12442"/>
                </a:lnTo>
                <a:lnTo>
                  <a:pt x="39123" y="12442"/>
                </a:lnTo>
                <a:lnTo>
                  <a:pt x="39123" y="64"/>
                </a:lnTo>
                <a:lnTo>
                  <a:pt x="35741" y="0"/>
                </a:lnTo>
                <a:close/>
              </a:path>
            </a:pathLst>
          </a:custGeom>
          <a:solidFill>
            <a:srgbClr val="ACD91A"/>
          </a:solidFill>
        </p:spPr>
        <p:txBody>
          <a:bodyPr wrap="square" lIns="0" tIns="0" rIns="0" bIns="0" rtlCol="0"/>
          <a:lstStyle/>
          <a:p>
            <a:endParaRPr/>
          </a:p>
        </p:txBody>
      </p:sp>
      <p:sp>
        <p:nvSpPr>
          <p:cNvPr id="199" name="object 199"/>
          <p:cNvSpPr/>
          <p:nvPr/>
        </p:nvSpPr>
        <p:spPr>
          <a:xfrm>
            <a:off x="5620672" y="5615023"/>
            <a:ext cx="9525" cy="9525"/>
          </a:xfrm>
          <a:custGeom>
            <a:avLst/>
            <a:gdLst/>
            <a:ahLst/>
            <a:cxnLst/>
            <a:rect l="l" t="t" r="r" b="b"/>
            <a:pathLst>
              <a:path w="9525" h="9525">
                <a:moveTo>
                  <a:pt x="7048" y="0"/>
                </a:moveTo>
                <a:lnTo>
                  <a:pt x="1999" y="0"/>
                </a:lnTo>
                <a:lnTo>
                  <a:pt x="0" y="2009"/>
                </a:lnTo>
                <a:lnTo>
                  <a:pt x="0" y="6986"/>
                </a:lnTo>
                <a:lnTo>
                  <a:pt x="1999" y="9059"/>
                </a:lnTo>
                <a:lnTo>
                  <a:pt x="7048" y="9059"/>
                </a:lnTo>
                <a:lnTo>
                  <a:pt x="9057" y="6986"/>
                </a:lnTo>
                <a:lnTo>
                  <a:pt x="9057" y="2009"/>
                </a:lnTo>
                <a:lnTo>
                  <a:pt x="7048" y="0"/>
                </a:lnTo>
                <a:close/>
              </a:path>
            </a:pathLst>
          </a:custGeom>
          <a:solidFill>
            <a:srgbClr val="E7E7E7"/>
          </a:solidFill>
        </p:spPr>
        <p:txBody>
          <a:bodyPr wrap="square" lIns="0" tIns="0" rIns="0" bIns="0" rtlCol="0"/>
          <a:lstStyle/>
          <a:p>
            <a:endParaRPr/>
          </a:p>
        </p:txBody>
      </p:sp>
      <p:sp>
        <p:nvSpPr>
          <p:cNvPr id="200" name="object 200"/>
          <p:cNvSpPr/>
          <p:nvPr/>
        </p:nvSpPr>
        <p:spPr>
          <a:xfrm>
            <a:off x="5640021" y="5615023"/>
            <a:ext cx="9525" cy="9525"/>
          </a:xfrm>
          <a:custGeom>
            <a:avLst/>
            <a:gdLst/>
            <a:ahLst/>
            <a:cxnLst/>
            <a:rect l="l" t="t" r="r" b="b"/>
            <a:pathLst>
              <a:path w="9525" h="9525">
                <a:moveTo>
                  <a:pt x="6984" y="0"/>
                </a:moveTo>
                <a:lnTo>
                  <a:pt x="2008" y="0"/>
                </a:lnTo>
                <a:lnTo>
                  <a:pt x="0" y="2009"/>
                </a:lnTo>
                <a:lnTo>
                  <a:pt x="0" y="6986"/>
                </a:lnTo>
                <a:lnTo>
                  <a:pt x="2008" y="9059"/>
                </a:lnTo>
                <a:lnTo>
                  <a:pt x="6984" y="9059"/>
                </a:lnTo>
                <a:lnTo>
                  <a:pt x="9057" y="6986"/>
                </a:lnTo>
                <a:lnTo>
                  <a:pt x="9057" y="2009"/>
                </a:lnTo>
                <a:lnTo>
                  <a:pt x="6984" y="0"/>
                </a:lnTo>
                <a:close/>
              </a:path>
            </a:pathLst>
          </a:custGeom>
          <a:solidFill>
            <a:srgbClr val="E7E7E7"/>
          </a:solidFill>
        </p:spPr>
        <p:txBody>
          <a:bodyPr wrap="square" lIns="0" tIns="0" rIns="0" bIns="0" rtlCol="0"/>
          <a:lstStyle/>
          <a:p>
            <a:endParaRPr/>
          </a:p>
        </p:txBody>
      </p:sp>
      <p:sp>
        <p:nvSpPr>
          <p:cNvPr id="201" name="object 201"/>
          <p:cNvSpPr/>
          <p:nvPr/>
        </p:nvSpPr>
        <p:spPr>
          <a:xfrm>
            <a:off x="5611890" y="5614055"/>
            <a:ext cx="2540" cy="10160"/>
          </a:xfrm>
          <a:custGeom>
            <a:avLst/>
            <a:gdLst/>
            <a:ahLst/>
            <a:cxnLst/>
            <a:rect l="l" t="t" r="r" b="b"/>
            <a:pathLst>
              <a:path w="2539" h="10160">
                <a:moveTo>
                  <a:pt x="2487" y="0"/>
                </a:moveTo>
                <a:lnTo>
                  <a:pt x="0" y="0"/>
                </a:lnTo>
                <a:lnTo>
                  <a:pt x="73" y="10027"/>
                </a:lnTo>
                <a:lnTo>
                  <a:pt x="2487" y="10027"/>
                </a:lnTo>
                <a:lnTo>
                  <a:pt x="2487" y="0"/>
                </a:lnTo>
                <a:close/>
              </a:path>
            </a:pathLst>
          </a:custGeom>
          <a:solidFill>
            <a:srgbClr val="ACD91A"/>
          </a:solidFill>
        </p:spPr>
        <p:txBody>
          <a:bodyPr wrap="square" lIns="0" tIns="0" rIns="0" bIns="0" rtlCol="0"/>
          <a:lstStyle/>
          <a:p>
            <a:endParaRPr/>
          </a:p>
        </p:txBody>
      </p:sp>
      <p:sp>
        <p:nvSpPr>
          <p:cNvPr id="202" name="object 202"/>
          <p:cNvSpPr/>
          <p:nvPr/>
        </p:nvSpPr>
        <p:spPr>
          <a:xfrm>
            <a:off x="5655234" y="5614055"/>
            <a:ext cx="3175" cy="10160"/>
          </a:xfrm>
          <a:custGeom>
            <a:avLst/>
            <a:gdLst/>
            <a:ahLst/>
            <a:cxnLst/>
            <a:rect l="l" t="t" r="r" b="b"/>
            <a:pathLst>
              <a:path w="3175" h="10160">
                <a:moveTo>
                  <a:pt x="2552" y="0"/>
                </a:moveTo>
                <a:lnTo>
                  <a:pt x="0" y="0"/>
                </a:lnTo>
                <a:lnTo>
                  <a:pt x="0" y="10027"/>
                </a:lnTo>
                <a:lnTo>
                  <a:pt x="2487" y="10027"/>
                </a:lnTo>
                <a:lnTo>
                  <a:pt x="2552" y="0"/>
                </a:lnTo>
                <a:close/>
              </a:path>
            </a:pathLst>
          </a:custGeom>
          <a:solidFill>
            <a:srgbClr val="ACD91A"/>
          </a:solidFill>
        </p:spPr>
        <p:txBody>
          <a:bodyPr wrap="square" lIns="0" tIns="0" rIns="0" bIns="0" rtlCol="0"/>
          <a:lstStyle/>
          <a:p>
            <a:endParaRPr/>
          </a:p>
        </p:txBody>
      </p:sp>
      <p:sp>
        <p:nvSpPr>
          <p:cNvPr id="203" name="object 203"/>
          <p:cNvSpPr/>
          <p:nvPr/>
        </p:nvSpPr>
        <p:spPr>
          <a:xfrm>
            <a:off x="5749992" y="5458498"/>
            <a:ext cx="6350" cy="6350"/>
          </a:xfrm>
          <a:custGeom>
            <a:avLst/>
            <a:gdLst/>
            <a:ahLst/>
            <a:cxnLst/>
            <a:rect l="l" t="t" r="r" b="b"/>
            <a:pathLst>
              <a:path w="6350" h="6350">
                <a:moveTo>
                  <a:pt x="0" y="6009"/>
                </a:moveTo>
                <a:lnTo>
                  <a:pt x="6081" y="6009"/>
                </a:lnTo>
                <a:lnTo>
                  <a:pt x="6081" y="0"/>
                </a:lnTo>
                <a:lnTo>
                  <a:pt x="0" y="0"/>
                </a:lnTo>
                <a:lnTo>
                  <a:pt x="0" y="6009"/>
                </a:lnTo>
                <a:close/>
              </a:path>
            </a:pathLst>
          </a:custGeom>
          <a:solidFill>
            <a:srgbClr val="E7E7E7"/>
          </a:solidFill>
        </p:spPr>
        <p:txBody>
          <a:bodyPr wrap="square" lIns="0" tIns="0" rIns="0" bIns="0" rtlCol="0"/>
          <a:lstStyle/>
          <a:p>
            <a:endParaRPr/>
          </a:p>
        </p:txBody>
      </p:sp>
      <p:sp>
        <p:nvSpPr>
          <p:cNvPr id="204" name="object 204"/>
          <p:cNvSpPr/>
          <p:nvPr/>
        </p:nvSpPr>
        <p:spPr>
          <a:xfrm>
            <a:off x="5756073" y="5452480"/>
            <a:ext cx="6350" cy="6350"/>
          </a:xfrm>
          <a:custGeom>
            <a:avLst/>
            <a:gdLst/>
            <a:ahLst/>
            <a:cxnLst/>
            <a:rect l="l" t="t" r="r" b="b"/>
            <a:pathLst>
              <a:path w="6350" h="6350">
                <a:moveTo>
                  <a:pt x="0" y="6018"/>
                </a:moveTo>
                <a:lnTo>
                  <a:pt x="6016" y="6018"/>
                </a:lnTo>
                <a:lnTo>
                  <a:pt x="6016" y="0"/>
                </a:lnTo>
                <a:lnTo>
                  <a:pt x="0" y="0"/>
                </a:lnTo>
                <a:lnTo>
                  <a:pt x="0" y="6018"/>
                </a:lnTo>
                <a:close/>
              </a:path>
            </a:pathLst>
          </a:custGeom>
          <a:solidFill>
            <a:srgbClr val="251242"/>
          </a:solidFill>
        </p:spPr>
        <p:txBody>
          <a:bodyPr wrap="square" lIns="0" tIns="0" rIns="0" bIns="0" rtlCol="0"/>
          <a:lstStyle/>
          <a:p>
            <a:endParaRPr/>
          </a:p>
        </p:txBody>
      </p:sp>
      <p:sp>
        <p:nvSpPr>
          <p:cNvPr id="205" name="object 205"/>
          <p:cNvSpPr/>
          <p:nvPr/>
        </p:nvSpPr>
        <p:spPr>
          <a:xfrm>
            <a:off x="5762090" y="5446397"/>
            <a:ext cx="6350" cy="6350"/>
          </a:xfrm>
          <a:custGeom>
            <a:avLst/>
            <a:gdLst/>
            <a:ahLst/>
            <a:cxnLst/>
            <a:rect l="l" t="t" r="r" b="b"/>
            <a:pathLst>
              <a:path w="6350" h="6350">
                <a:moveTo>
                  <a:pt x="0" y="6082"/>
                </a:moveTo>
                <a:lnTo>
                  <a:pt x="6016" y="6082"/>
                </a:lnTo>
                <a:lnTo>
                  <a:pt x="6016" y="0"/>
                </a:lnTo>
                <a:lnTo>
                  <a:pt x="0" y="0"/>
                </a:lnTo>
                <a:lnTo>
                  <a:pt x="0" y="6082"/>
                </a:lnTo>
                <a:close/>
              </a:path>
            </a:pathLst>
          </a:custGeom>
          <a:solidFill>
            <a:srgbClr val="7ECA28"/>
          </a:solidFill>
        </p:spPr>
        <p:txBody>
          <a:bodyPr wrap="square" lIns="0" tIns="0" rIns="0" bIns="0" rtlCol="0"/>
          <a:lstStyle/>
          <a:p>
            <a:endParaRPr/>
          </a:p>
        </p:txBody>
      </p:sp>
      <p:sp>
        <p:nvSpPr>
          <p:cNvPr id="206" name="object 206"/>
          <p:cNvSpPr/>
          <p:nvPr/>
        </p:nvSpPr>
        <p:spPr>
          <a:xfrm>
            <a:off x="5743984" y="5452480"/>
            <a:ext cx="6350" cy="6350"/>
          </a:xfrm>
          <a:custGeom>
            <a:avLst/>
            <a:gdLst/>
            <a:ahLst/>
            <a:cxnLst/>
            <a:rect l="l" t="t" r="r" b="b"/>
            <a:pathLst>
              <a:path w="6350" h="6350">
                <a:moveTo>
                  <a:pt x="0" y="6018"/>
                </a:moveTo>
                <a:lnTo>
                  <a:pt x="6007" y="6018"/>
                </a:lnTo>
                <a:lnTo>
                  <a:pt x="6007" y="0"/>
                </a:lnTo>
                <a:lnTo>
                  <a:pt x="0" y="0"/>
                </a:lnTo>
                <a:lnTo>
                  <a:pt x="0" y="6018"/>
                </a:lnTo>
                <a:close/>
              </a:path>
            </a:pathLst>
          </a:custGeom>
          <a:solidFill>
            <a:srgbClr val="E7E7E7"/>
          </a:solidFill>
        </p:spPr>
        <p:txBody>
          <a:bodyPr wrap="square" lIns="0" tIns="0" rIns="0" bIns="0" rtlCol="0"/>
          <a:lstStyle/>
          <a:p>
            <a:endParaRPr/>
          </a:p>
        </p:txBody>
      </p:sp>
      <p:sp>
        <p:nvSpPr>
          <p:cNvPr id="207" name="object 207"/>
          <p:cNvSpPr/>
          <p:nvPr/>
        </p:nvSpPr>
        <p:spPr>
          <a:xfrm>
            <a:off x="5743984" y="5464508"/>
            <a:ext cx="6350" cy="6350"/>
          </a:xfrm>
          <a:custGeom>
            <a:avLst/>
            <a:gdLst/>
            <a:ahLst/>
            <a:cxnLst/>
            <a:rect l="l" t="t" r="r" b="b"/>
            <a:pathLst>
              <a:path w="6350" h="6350">
                <a:moveTo>
                  <a:pt x="0" y="6092"/>
                </a:moveTo>
                <a:lnTo>
                  <a:pt x="6007" y="6092"/>
                </a:lnTo>
                <a:lnTo>
                  <a:pt x="6007" y="0"/>
                </a:lnTo>
                <a:lnTo>
                  <a:pt x="0" y="0"/>
                </a:lnTo>
                <a:lnTo>
                  <a:pt x="0" y="6092"/>
                </a:lnTo>
                <a:close/>
              </a:path>
            </a:pathLst>
          </a:custGeom>
          <a:solidFill>
            <a:srgbClr val="E7E7E7"/>
          </a:solidFill>
        </p:spPr>
        <p:txBody>
          <a:bodyPr wrap="square" lIns="0" tIns="0" rIns="0" bIns="0" rtlCol="0"/>
          <a:lstStyle/>
          <a:p>
            <a:endParaRPr/>
          </a:p>
        </p:txBody>
      </p:sp>
      <p:sp>
        <p:nvSpPr>
          <p:cNvPr id="208" name="object 208"/>
          <p:cNvSpPr/>
          <p:nvPr/>
        </p:nvSpPr>
        <p:spPr>
          <a:xfrm>
            <a:off x="5559849" y="5492663"/>
            <a:ext cx="21590" cy="43815"/>
          </a:xfrm>
          <a:custGeom>
            <a:avLst/>
            <a:gdLst/>
            <a:ahLst/>
            <a:cxnLst/>
            <a:rect l="l" t="t" r="r" b="b"/>
            <a:pathLst>
              <a:path w="21589" h="43814">
                <a:moveTo>
                  <a:pt x="21422" y="36575"/>
                </a:moveTo>
                <a:lnTo>
                  <a:pt x="10780" y="36575"/>
                </a:lnTo>
                <a:lnTo>
                  <a:pt x="10983" y="36956"/>
                </a:lnTo>
                <a:lnTo>
                  <a:pt x="11195" y="37083"/>
                </a:lnTo>
                <a:lnTo>
                  <a:pt x="11195" y="37464"/>
                </a:lnTo>
                <a:lnTo>
                  <a:pt x="9739" y="38734"/>
                </a:lnTo>
                <a:lnTo>
                  <a:pt x="9674" y="41655"/>
                </a:lnTo>
                <a:lnTo>
                  <a:pt x="12300" y="43687"/>
                </a:lnTo>
                <a:lnTo>
                  <a:pt x="18796" y="43687"/>
                </a:lnTo>
                <a:lnTo>
                  <a:pt x="21422" y="41655"/>
                </a:lnTo>
                <a:lnTo>
                  <a:pt x="21422" y="40512"/>
                </a:lnTo>
                <a:lnTo>
                  <a:pt x="15341" y="40512"/>
                </a:lnTo>
                <a:lnTo>
                  <a:pt x="14788" y="40258"/>
                </a:lnTo>
                <a:lnTo>
                  <a:pt x="14300" y="40004"/>
                </a:lnTo>
                <a:lnTo>
                  <a:pt x="14023" y="39750"/>
                </a:lnTo>
                <a:lnTo>
                  <a:pt x="14063" y="39369"/>
                </a:lnTo>
                <a:lnTo>
                  <a:pt x="14374" y="38988"/>
                </a:lnTo>
                <a:lnTo>
                  <a:pt x="14714" y="38861"/>
                </a:lnTo>
                <a:lnTo>
                  <a:pt x="17118" y="38861"/>
                </a:lnTo>
                <a:lnTo>
                  <a:pt x="17414" y="38480"/>
                </a:lnTo>
                <a:lnTo>
                  <a:pt x="17755" y="38353"/>
                </a:lnTo>
                <a:lnTo>
                  <a:pt x="21422" y="38353"/>
                </a:lnTo>
                <a:lnTo>
                  <a:pt x="21422" y="36575"/>
                </a:lnTo>
                <a:close/>
              </a:path>
              <a:path w="21589" h="43814">
                <a:moveTo>
                  <a:pt x="21422" y="38353"/>
                </a:moveTo>
                <a:lnTo>
                  <a:pt x="17755" y="38353"/>
                </a:lnTo>
                <a:lnTo>
                  <a:pt x="18032" y="38480"/>
                </a:lnTo>
                <a:lnTo>
                  <a:pt x="18308" y="38734"/>
                </a:lnTo>
                <a:lnTo>
                  <a:pt x="18382" y="38988"/>
                </a:lnTo>
                <a:lnTo>
                  <a:pt x="18170" y="39369"/>
                </a:lnTo>
                <a:lnTo>
                  <a:pt x="17617" y="40131"/>
                </a:lnTo>
                <a:lnTo>
                  <a:pt x="16788" y="40512"/>
                </a:lnTo>
                <a:lnTo>
                  <a:pt x="21422" y="40512"/>
                </a:lnTo>
                <a:lnTo>
                  <a:pt x="21422" y="38353"/>
                </a:lnTo>
                <a:close/>
              </a:path>
              <a:path w="21589" h="43814">
                <a:moveTo>
                  <a:pt x="17118" y="38861"/>
                </a:moveTo>
                <a:lnTo>
                  <a:pt x="14714" y="38861"/>
                </a:lnTo>
                <a:lnTo>
                  <a:pt x="14991" y="38988"/>
                </a:lnTo>
                <a:lnTo>
                  <a:pt x="15682" y="39496"/>
                </a:lnTo>
                <a:lnTo>
                  <a:pt x="16723" y="39369"/>
                </a:lnTo>
                <a:lnTo>
                  <a:pt x="17118" y="38861"/>
                </a:lnTo>
                <a:close/>
              </a:path>
              <a:path w="21589" h="43814">
                <a:moveTo>
                  <a:pt x="8430" y="13715"/>
                </a:moveTo>
                <a:lnTo>
                  <a:pt x="5943" y="13715"/>
                </a:lnTo>
                <a:lnTo>
                  <a:pt x="4349" y="14350"/>
                </a:lnTo>
                <a:lnTo>
                  <a:pt x="2902" y="15366"/>
                </a:lnTo>
                <a:lnTo>
                  <a:pt x="1031" y="16890"/>
                </a:lnTo>
                <a:lnTo>
                  <a:pt x="121" y="18795"/>
                </a:lnTo>
                <a:lnTo>
                  <a:pt x="0" y="24637"/>
                </a:lnTo>
                <a:lnTo>
                  <a:pt x="1446" y="27177"/>
                </a:lnTo>
                <a:lnTo>
                  <a:pt x="4146" y="28701"/>
                </a:lnTo>
                <a:lnTo>
                  <a:pt x="4901" y="29082"/>
                </a:lnTo>
                <a:lnTo>
                  <a:pt x="5804" y="29336"/>
                </a:lnTo>
                <a:lnTo>
                  <a:pt x="6975" y="29336"/>
                </a:lnTo>
                <a:lnTo>
                  <a:pt x="7251" y="29590"/>
                </a:lnTo>
                <a:lnTo>
                  <a:pt x="7251" y="30225"/>
                </a:lnTo>
                <a:lnTo>
                  <a:pt x="6975" y="30352"/>
                </a:lnTo>
                <a:lnTo>
                  <a:pt x="4284" y="30352"/>
                </a:lnTo>
                <a:lnTo>
                  <a:pt x="4239" y="34162"/>
                </a:lnTo>
                <a:lnTo>
                  <a:pt x="5731" y="36194"/>
                </a:lnTo>
                <a:lnTo>
                  <a:pt x="8218" y="37337"/>
                </a:lnTo>
                <a:lnTo>
                  <a:pt x="8707" y="37718"/>
                </a:lnTo>
                <a:lnTo>
                  <a:pt x="9260" y="37591"/>
                </a:lnTo>
                <a:lnTo>
                  <a:pt x="10227" y="36829"/>
                </a:lnTo>
                <a:lnTo>
                  <a:pt x="10430" y="36575"/>
                </a:lnTo>
                <a:lnTo>
                  <a:pt x="21422" y="36575"/>
                </a:lnTo>
                <a:lnTo>
                  <a:pt x="21388" y="36194"/>
                </a:lnTo>
                <a:lnTo>
                  <a:pt x="21284" y="35813"/>
                </a:lnTo>
                <a:lnTo>
                  <a:pt x="21146" y="35559"/>
                </a:lnTo>
                <a:lnTo>
                  <a:pt x="20943" y="35305"/>
                </a:lnTo>
                <a:lnTo>
                  <a:pt x="20693" y="34670"/>
                </a:lnTo>
                <a:lnTo>
                  <a:pt x="19211" y="34670"/>
                </a:lnTo>
                <a:lnTo>
                  <a:pt x="18658" y="34162"/>
                </a:lnTo>
                <a:lnTo>
                  <a:pt x="18759" y="33908"/>
                </a:lnTo>
                <a:lnTo>
                  <a:pt x="12503" y="33908"/>
                </a:lnTo>
                <a:lnTo>
                  <a:pt x="12300" y="33781"/>
                </a:lnTo>
                <a:lnTo>
                  <a:pt x="12227" y="33400"/>
                </a:lnTo>
                <a:lnTo>
                  <a:pt x="12088" y="33146"/>
                </a:lnTo>
                <a:lnTo>
                  <a:pt x="12300" y="32765"/>
                </a:lnTo>
                <a:lnTo>
                  <a:pt x="13056" y="32638"/>
                </a:lnTo>
                <a:lnTo>
                  <a:pt x="13406" y="32384"/>
                </a:lnTo>
                <a:lnTo>
                  <a:pt x="13609" y="31876"/>
                </a:lnTo>
                <a:lnTo>
                  <a:pt x="13837" y="31495"/>
                </a:lnTo>
                <a:lnTo>
                  <a:pt x="13806" y="30860"/>
                </a:lnTo>
                <a:lnTo>
                  <a:pt x="13648" y="30352"/>
                </a:lnTo>
                <a:lnTo>
                  <a:pt x="6145" y="30352"/>
                </a:lnTo>
                <a:lnTo>
                  <a:pt x="4763" y="30225"/>
                </a:lnTo>
                <a:lnTo>
                  <a:pt x="13609" y="30225"/>
                </a:lnTo>
                <a:lnTo>
                  <a:pt x="13332" y="29971"/>
                </a:lnTo>
                <a:lnTo>
                  <a:pt x="10983" y="29971"/>
                </a:lnTo>
                <a:lnTo>
                  <a:pt x="10642" y="29844"/>
                </a:lnTo>
                <a:lnTo>
                  <a:pt x="10434" y="29463"/>
                </a:lnTo>
                <a:lnTo>
                  <a:pt x="10430" y="28955"/>
                </a:lnTo>
                <a:lnTo>
                  <a:pt x="10706" y="28828"/>
                </a:lnTo>
                <a:lnTo>
                  <a:pt x="11536" y="28320"/>
                </a:lnTo>
                <a:lnTo>
                  <a:pt x="13332" y="28320"/>
                </a:lnTo>
                <a:lnTo>
                  <a:pt x="13471" y="27685"/>
                </a:lnTo>
                <a:lnTo>
                  <a:pt x="14650" y="25526"/>
                </a:lnTo>
                <a:lnTo>
                  <a:pt x="16861" y="24891"/>
                </a:lnTo>
                <a:lnTo>
                  <a:pt x="21422" y="24891"/>
                </a:lnTo>
                <a:lnTo>
                  <a:pt x="21422" y="24637"/>
                </a:lnTo>
                <a:lnTo>
                  <a:pt x="6560" y="24637"/>
                </a:lnTo>
                <a:lnTo>
                  <a:pt x="5390" y="24256"/>
                </a:lnTo>
                <a:lnTo>
                  <a:pt x="4625" y="23240"/>
                </a:lnTo>
                <a:lnTo>
                  <a:pt x="4516" y="21716"/>
                </a:lnTo>
                <a:lnTo>
                  <a:pt x="4625" y="21081"/>
                </a:lnTo>
                <a:lnTo>
                  <a:pt x="4763" y="20700"/>
                </a:lnTo>
                <a:lnTo>
                  <a:pt x="5454" y="19938"/>
                </a:lnTo>
                <a:lnTo>
                  <a:pt x="11468" y="19938"/>
                </a:lnTo>
                <a:lnTo>
                  <a:pt x="11397" y="18668"/>
                </a:lnTo>
                <a:lnTo>
                  <a:pt x="10918" y="18160"/>
                </a:lnTo>
                <a:lnTo>
                  <a:pt x="9674" y="16001"/>
                </a:lnTo>
                <a:lnTo>
                  <a:pt x="9601" y="15239"/>
                </a:lnTo>
                <a:lnTo>
                  <a:pt x="9739" y="14604"/>
                </a:lnTo>
                <a:lnTo>
                  <a:pt x="9951" y="14096"/>
                </a:lnTo>
                <a:lnTo>
                  <a:pt x="9186" y="13842"/>
                </a:lnTo>
                <a:lnTo>
                  <a:pt x="8430" y="13715"/>
                </a:lnTo>
                <a:close/>
              </a:path>
              <a:path w="21589" h="43814">
                <a:moveTo>
                  <a:pt x="20178" y="34289"/>
                </a:moveTo>
                <a:lnTo>
                  <a:pt x="19837" y="34416"/>
                </a:lnTo>
                <a:lnTo>
                  <a:pt x="19699" y="34543"/>
                </a:lnTo>
                <a:lnTo>
                  <a:pt x="19561" y="34543"/>
                </a:lnTo>
                <a:lnTo>
                  <a:pt x="20693" y="34670"/>
                </a:lnTo>
                <a:lnTo>
                  <a:pt x="20593" y="34416"/>
                </a:lnTo>
                <a:lnTo>
                  <a:pt x="20178" y="34289"/>
                </a:lnTo>
                <a:close/>
              </a:path>
              <a:path w="21589" h="43814">
                <a:moveTo>
                  <a:pt x="16861" y="26161"/>
                </a:moveTo>
                <a:lnTo>
                  <a:pt x="15405" y="26542"/>
                </a:lnTo>
                <a:lnTo>
                  <a:pt x="14788" y="27812"/>
                </a:lnTo>
                <a:lnTo>
                  <a:pt x="14456" y="28320"/>
                </a:lnTo>
                <a:lnTo>
                  <a:pt x="14370" y="29336"/>
                </a:lnTo>
                <a:lnTo>
                  <a:pt x="14788" y="30098"/>
                </a:lnTo>
                <a:lnTo>
                  <a:pt x="14856" y="30352"/>
                </a:lnTo>
                <a:lnTo>
                  <a:pt x="15129" y="30860"/>
                </a:lnTo>
                <a:lnTo>
                  <a:pt x="15111" y="31114"/>
                </a:lnTo>
                <a:lnTo>
                  <a:pt x="14995" y="31876"/>
                </a:lnTo>
                <a:lnTo>
                  <a:pt x="14300" y="33146"/>
                </a:lnTo>
                <a:lnTo>
                  <a:pt x="13682" y="33654"/>
                </a:lnTo>
                <a:lnTo>
                  <a:pt x="12918" y="33908"/>
                </a:lnTo>
                <a:lnTo>
                  <a:pt x="18759" y="33908"/>
                </a:lnTo>
                <a:lnTo>
                  <a:pt x="18861" y="33654"/>
                </a:lnTo>
                <a:lnTo>
                  <a:pt x="19837" y="33273"/>
                </a:lnTo>
                <a:lnTo>
                  <a:pt x="20510" y="32638"/>
                </a:lnTo>
                <a:lnTo>
                  <a:pt x="20869" y="32257"/>
                </a:lnTo>
                <a:lnTo>
                  <a:pt x="20943" y="32003"/>
                </a:lnTo>
                <a:lnTo>
                  <a:pt x="21081" y="31876"/>
                </a:lnTo>
                <a:lnTo>
                  <a:pt x="21284" y="31622"/>
                </a:lnTo>
                <a:lnTo>
                  <a:pt x="21422" y="26923"/>
                </a:lnTo>
                <a:lnTo>
                  <a:pt x="18308" y="26923"/>
                </a:lnTo>
                <a:lnTo>
                  <a:pt x="16861" y="26161"/>
                </a:lnTo>
                <a:close/>
              </a:path>
              <a:path w="21589" h="43814">
                <a:moveTo>
                  <a:pt x="12439" y="29463"/>
                </a:moveTo>
                <a:lnTo>
                  <a:pt x="11812" y="29463"/>
                </a:lnTo>
                <a:lnTo>
                  <a:pt x="11333" y="29717"/>
                </a:lnTo>
                <a:lnTo>
                  <a:pt x="10983" y="29971"/>
                </a:lnTo>
                <a:lnTo>
                  <a:pt x="13332" y="29971"/>
                </a:lnTo>
                <a:lnTo>
                  <a:pt x="12439" y="29463"/>
                </a:lnTo>
                <a:close/>
              </a:path>
              <a:path w="21589" h="43814">
                <a:moveTo>
                  <a:pt x="13332" y="28320"/>
                </a:moveTo>
                <a:lnTo>
                  <a:pt x="12503" y="28320"/>
                </a:lnTo>
                <a:lnTo>
                  <a:pt x="13332" y="28701"/>
                </a:lnTo>
                <a:lnTo>
                  <a:pt x="13332" y="28320"/>
                </a:lnTo>
                <a:close/>
              </a:path>
              <a:path w="21589" h="43814">
                <a:moveTo>
                  <a:pt x="21422" y="24891"/>
                </a:moveTo>
                <a:lnTo>
                  <a:pt x="16861" y="24891"/>
                </a:lnTo>
                <a:lnTo>
                  <a:pt x="18584" y="25780"/>
                </a:lnTo>
                <a:lnTo>
                  <a:pt x="18861" y="26034"/>
                </a:lnTo>
                <a:lnTo>
                  <a:pt x="18999" y="26288"/>
                </a:lnTo>
                <a:lnTo>
                  <a:pt x="18796" y="26542"/>
                </a:lnTo>
                <a:lnTo>
                  <a:pt x="18658" y="26923"/>
                </a:lnTo>
                <a:lnTo>
                  <a:pt x="21422" y="26923"/>
                </a:lnTo>
                <a:lnTo>
                  <a:pt x="21422" y="24891"/>
                </a:lnTo>
                <a:close/>
              </a:path>
              <a:path w="21589" h="43814">
                <a:moveTo>
                  <a:pt x="11468" y="19938"/>
                </a:moveTo>
                <a:lnTo>
                  <a:pt x="5804" y="19938"/>
                </a:lnTo>
                <a:lnTo>
                  <a:pt x="6081" y="20192"/>
                </a:lnTo>
                <a:lnTo>
                  <a:pt x="6284" y="20319"/>
                </a:lnTo>
                <a:lnTo>
                  <a:pt x="6357" y="20700"/>
                </a:lnTo>
                <a:lnTo>
                  <a:pt x="5804" y="21335"/>
                </a:lnTo>
                <a:lnTo>
                  <a:pt x="5731" y="22732"/>
                </a:lnTo>
                <a:lnTo>
                  <a:pt x="6219" y="23240"/>
                </a:lnTo>
                <a:lnTo>
                  <a:pt x="6836" y="23494"/>
                </a:lnTo>
                <a:lnTo>
                  <a:pt x="7113" y="23494"/>
                </a:lnTo>
                <a:lnTo>
                  <a:pt x="7325" y="23875"/>
                </a:lnTo>
                <a:lnTo>
                  <a:pt x="7187" y="24129"/>
                </a:lnTo>
                <a:lnTo>
                  <a:pt x="7113" y="24383"/>
                </a:lnTo>
                <a:lnTo>
                  <a:pt x="6910" y="24637"/>
                </a:lnTo>
                <a:lnTo>
                  <a:pt x="21422" y="24637"/>
                </a:lnTo>
                <a:lnTo>
                  <a:pt x="21422" y="22478"/>
                </a:lnTo>
                <a:lnTo>
                  <a:pt x="10430" y="22478"/>
                </a:lnTo>
                <a:lnTo>
                  <a:pt x="10227" y="21716"/>
                </a:lnTo>
                <a:lnTo>
                  <a:pt x="10430" y="21462"/>
                </a:lnTo>
                <a:lnTo>
                  <a:pt x="10918" y="21081"/>
                </a:lnTo>
                <a:lnTo>
                  <a:pt x="11333" y="20700"/>
                </a:lnTo>
                <a:lnTo>
                  <a:pt x="11397" y="20192"/>
                </a:lnTo>
                <a:lnTo>
                  <a:pt x="11468" y="19938"/>
                </a:lnTo>
                <a:close/>
              </a:path>
              <a:path w="21589" h="43814">
                <a:moveTo>
                  <a:pt x="12088" y="12953"/>
                </a:moveTo>
                <a:lnTo>
                  <a:pt x="10642" y="14350"/>
                </a:lnTo>
                <a:lnTo>
                  <a:pt x="10918" y="16382"/>
                </a:lnTo>
                <a:lnTo>
                  <a:pt x="11195" y="16890"/>
                </a:lnTo>
                <a:lnTo>
                  <a:pt x="11674" y="17271"/>
                </a:lnTo>
                <a:lnTo>
                  <a:pt x="12365" y="17906"/>
                </a:lnTo>
                <a:lnTo>
                  <a:pt x="12523" y="18414"/>
                </a:lnTo>
                <a:lnTo>
                  <a:pt x="12641" y="20700"/>
                </a:lnTo>
                <a:lnTo>
                  <a:pt x="12088" y="21716"/>
                </a:lnTo>
                <a:lnTo>
                  <a:pt x="11121" y="22351"/>
                </a:lnTo>
                <a:lnTo>
                  <a:pt x="21422" y="22478"/>
                </a:lnTo>
                <a:lnTo>
                  <a:pt x="21422" y="19938"/>
                </a:lnTo>
                <a:lnTo>
                  <a:pt x="21146" y="19430"/>
                </a:lnTo>
                <a:lnTo>
                  <a:pt x="20114" y="18414"/>
                </a:lnTo>
                <a:lnTo>
                  <a:pt x="19732" y="18287"/>
                </a:lnTo>
                <a:lnTo>
                  <a:pt x="17691" y="18287"/>
                </a:lnTo>
                <a:lnTo>
                  <a:pt x="17414" y="18033"/>
                </a:lnTo>
                <a:lnTo>
                  <a:pt x="17479" y="17144"/>
                </a:lnTo>
                <a:lnTo>
                  <a:pt x="18105" y="17017"/>
                </a:lnTo>
                <a:lnTo>
                  <a:pt x="19275" y="17017"/>
                </a:lnTo>
                <a:lnTo>
                  <a:pt x="19764" y="16636"/>
                </a:lnTo>
                <a:lnTo>
                  <a:pt x="19976" y="15874"/>
                </a:lnTo>
                <a:lnTo>
                  <a:pt x="20252" y="15366"/>
                </a:lnTo>
                <a:lnTo>
                  <a:pt x="20869" y="14604"/>
                </a:lnTo>
                <a:lnTo>
                  <a:pt x="21220" y="13969"/>
                </a:lnTo>
                <a:lnTo>
                  <a:pt x="14853" y="13969"/>
                </a:lnTo>
                <a:lnTo>
                  <a:pt x="14576" y="13842"/>
                </a:lnTo>
                <a:lnTo>
                  <a:pt x="14374" y="13588"/>
                </a:lnTo>
                <a:lnTo>
                  <a:pt x="14097" y="13461"/>
                </a:lnTo>
                <a:lnTo>
                  <a:pt x="13747" y="13334"/>
                </a:lnTo>
                <a:lnTo>
                  <a:pt x="12088" y="12953"/>
                </a:lnTo>
                <a:close/>
              </a:path>
              <a:path w="21589" h="43814">
                <a:moveTo>
                  <a:pt x="19349" y="18160"/>
                </a:moveTo>
                <a:lnTo>
                  <a:pt x="18243" y="18160"/>
                </a:lnTo>
                <a:lnTo>
                  <a:pt x="17691" y="18287"/>
                </a:lnTo>
                <a:lnTo>
                  <a:pt x="19732" y="18287"/>
                </a:lnTo>
                <a:lnTo>
                  <a:pt x="19349" y="18160"/>
                </a:lnTo>
                <a:close/>
              </a:path>
              <a:path w="21589" h="43814">
                <a:moveTo>
                  <a:pt x="21422" y="12064"/>
                </a:moveTo>
                <a:lnTo>
                  <a:pt x="13609" y="12064"/>
                </a:lnTo>
                <a:lnTo>
                  <a:pt x="14576" y="12318"/>
                </a:lnTo>
                <a:lnTo>
                  <a:pt x="15544" y="13080"/>
                </a:lnTo>
                <a:lnTo>
                  <a:pt x="15514" y="13588"/>
                </a:lnTo>
                <a:lnTo>
                  <a:pt x="15203" y="13969"/>
                </a:lnTo>
                <a:lnTo>
                  <a:pt x="21220" y="13969"/>
                </a:lnTo>
                <a:lnTo>
                  <a:pt x="21341" y="13588"/>
                </a:lnTo>
                <a:lnTo>
                  <a:pt x="21422" y="12064"/>
                </a:lnTo>
                <a:close/>
              </a:path>
              <a:path w="21589" h="43814">
                <a:moveTo>
                  <a:pt x="11259" y="12572"/>
                </a:moveTo>
                <a:lnTo>
                  <a:pt x="8633" y="12572"/>
                </a:lnTo>
                <a:lnTo>
                  <a:pt x="10706" y="13080"/>
                </a:lnTo>
                <a:lnTo>
                  <a:pt x="11259" y="12572"/>
                </a:lnTo>
                <a:close/>
              </a:path>
              <a:path w="21589" h="43814">
                <a:moveTo>
                  <a:pt x="8218" y="6603"/>
                </a:moveTo>
                <a:lnTo>
                  <a:pt x="5804" y="8127"/>
                </a:lnTo>
                <a:lnTo>
                  <a:pt x="4625" y="10032"/>
                </a:lnTo>
                <a:lnTo>
                  <a:pt x="4625" y="12572"/>
                </a:lnTo>
                <a:lnTo>
                  <a:pt x="5113" y="12953"/>
                </a:lnTo>
                <a:lnTo>
                  <a:pt x="5592" y="12826"/>
                </a:lnTo>
                <a:lnTo>
                  <a:pt x="6910" y="12572"/>
                </a:lnTo>
                <a:lnTo>
                  <a:pt x="11259" y="12572"/>
                </a:lnTo>
                <a:lnTo>
                  <a:pt x="11950" y="12318"/>
                </a:lnTo>
                <a:lnTo>
                  <a:pt x="13609" y="12064"/>
                </a:lnTo>
                <a:lnTo>
                  <a:pt x="21422" y="12064"/>
                </a:lnTo>
                <a:lnTo>
                  <a:pt x="21422" y="9143"/>
                </a:lnTo>
                <a:lnTo>
                  <a:pt x="10227" y="9143"/>
                </a:lnTo>
                <a:lnTo>
                  <a:pt x="9601" y="8381"/>
                </a:lnTo>
                <a:lnTo>
                  <a:pt x="9186" y="7746"/>
                </a:lnTo>
                <a:lnTo>
                  <a:pt x="8771" y="6730"/>
                </a:lnTo>
                <a:lnTo>
                  <a:pt x="8218" y="6603"/>
                </a:lnTo>
                <a:close/>
              </a:path>
              <a:path w="21589" h="43814">
                <a:moveTo>
                  <a:pt x="18796" y="0"/>
                </a:moveTo>
                <a:lnTo>
                  <a:pt x="12300" y="0"/>
                </a:lnTo>
                <a:lnTo>
                  <a:pt x="9674" y="2158"/>
                </a:lnTo>
                <a:lnTo>
                  <a:pt x="9798" y="6603"/>
                </a:lnTo>
                <a:lnTo>
                  <a:pt x="10153" y="7365"/>
                </a:lnTo>
                <a:lnTo>
                  <a:pt x="11079" y="8381"/>
                </a:lnTo>
                <a:lnTo>
                  <a:pt x="11195" y="8889"/>
                </a:lnTo>
                <a:lnTo>
                  <a:pt x="10845" y="9143"/>
                </a:lnTo>
                <a:lnTo>
                  <a:pt x="21422" y="9143"/>
                </a:lnTo>
                <a:lnTo>
                  <a:pt x="21422" y="8127"/>
                </a:lnTo>
                <a:lnTo>
                  <a:pt x="17967" y="8127"/>
                </a:lnTo>
                <a:lnTo>
                  <a:pt x="17691" y="8000"/>
                </a:lnTo>
                <a:lnTo>
                  <a:pt x="17460" y="6476"/>
                </a:lnTo>
                <a:lnTo>
                  <a:pt x="17064" y="5968"/>
                </a:lnTo>
                <a:lnTo>
                  <a:pt x="14438" y="5968"/>
                </a:lnTo>
                <a:lnTo>
                  <a:pt x="14235" y="5714"/>
                </a:lnTo>
                <a:lnTo>
                  <a:pt x="14162" y="5079"/>
                </a:lnTo>
                <a:lnTo>
                  <a:pt x="14991" y="4444"/>
                </a:lnTo>
                <a:lnTo>
                  <a:pt x="15756" y="4317"/>
                </a:lnTo>
                <a:lnTo>
                  <a:pt x="21422" y="4317"/>
                </a:lnTo>
                <a:lnTo>
                  <a:pt x="21422" y="2158"/>
                </a:lnTo>
                <a:lnTo>
                  <a:pt x="18796" y="0"/>
                </a:lnTo>
                <a:close/>
              </a:path>
              <a:path w="21589" h="43814">
                <a:moveTo>
                  <a:pt x="21422" y="4317"/>
                </a:moveTo>
                <a:lnTo>
                  <a:pt x="15756" y="4317"/>
                </a:lnTo>
                <a:lnTo>
                  <a:pt x="17202" y="4571"/>
                </a:lnTo>
                <a:lnTo>
                  <a:pt x="17829" y="5079"/>
                </a:lnTo>
                <a:lnTo>
                  <a:pt x="18243" y="5587"/>
                </a:lnTo>
                <a:lnTo>
                  <a:pt x="18658" y="6222"/>
                </a:lnTo>
                <a:lnTo>
                  <a:pt x="18773" y="6984"/>
                </a:lnTo>
                <a:lnTo>
                  <a:pt x="18658" y="7873"/>
                </a:lnTo>
                <a:lnTo>
                  <a:pt x="18382" y="8127"/>
                </a:lnTo>
                <a:lnTo>
                  <a:pt x="21422" y="8127"/>
                </a:lnTo>
                <a:lnTo>
                  <a:pt x="21422" y="4317"/>
                </a:lnTo>
                <a:close/>
              </a:path>
              <a:path w="21589" h="43814">
                <a:moveTo>
                  <a:pt x="15820" y="5460"/>
                </a:moveTo>
                <a:lnTo>
                  <a:pt x="15405" y="5587"/>
                </a:lnTo>
                <a:lnTo>
                  <a:pt x="15065" y="5841"/>
                </a:lnTo>
                <a:lnTo>
                  <a:pt x="14788" y="5968"/>
                </a:lnTo>
                <a:lnTo>
                  <a:pt x="17064" y="5968"/>
                </a:lnTo>
                <a:lnTo>
                  <a:pt x="16649" y="5587"/>
                </a:lnTo>
                <a:lnTo>
                  <a:pt x="15820" y="5460"/>
                </a:lnTo>
                <a:close/>
              </a:path>
            </a:pathLst>
          </a:custGeom>
          <a:solidFill>
            <a:srgbClr val="ACD91A"/>
          </a:solidFill>
        </p:spPr>
        <p:txBody>
          <a:bodyPr wrap="square" lIns="0" tIns="0" rIns="0" bIns="0" rtlCol="0"/>
          <a:lstStyle/>
          <a:p>
            <a:endParaRPr/>
          </a:p>
        </p:txBody>
      </p:sp>
      <p:sp>
        <p:nvSpPr>
          <p:cNvPr id="209" name="object 209"/>
          <p:cNvSpPr/>
          <p:nvPr/>
        </p:nvSpPr>
        <p:spPr>
          <a:xfrm>
            <a:off x="5597166" y="5536139"/>
            <a:ext cx="635" cy="635"/>
          </a:xfrm>
          <a:custGeom>
            <a:avLst/>
            <a:gdLst/>
            <a:ahLst/>
            <a:cxnLst/>
            <a:rect l="l" t="t" r="r" b="b"/>
            <a:pathLst>
              <a:path w="635" h="635">
                <a:moveTo>
                  <a:pt x="138" y="0"/>
                </a:moveTo>
                <a:lnTo>
                  <a:pt x="0" y="0"/>
                </a:lnTo>
                <a:lnTo>
                  <a:pt x="0" y="138"/>
                </a:lnTo>
                <a:lnTo>
                  <a:pt x="138" y="0"/>
                </a:lnTo>
                <a:close/>
              </a:path>
            </a:pathLst>
          </a:custGeom>
          <a:solidFill>
            <a:srgbClr val="EC245C"/>
          </a:solidFill>
        </p:spPr>
        <p:txBody>
          <a:bodyPr wrap="square" lIns="0" tIns="0" rIns="0" bIns="0" rtlCol="0"/>
          <a:lstStyle/>
          <a:p>
            <a:endParaRPr/>
          </a:p>
        </p:txBody>
      </p:sp>
      <p:sp>
        <p:nvSpPr>
          <p:cNvPr id="210" name="object 210"/>
          <p:cNvSpPr/>
          <p:nvPr/>
        </p:nvSpPr>
        <p:spPr>
          <a:xfrm>
            <a:off x="5597166" y="5507789"/>
            <a:ext cx="5715" cy="7620"/>
          </a:xfrm>
          <a:custGeom>
            <a:avLst/>
            <a:gdLst/>
            <a:ahLst/>
            <a:cxnLst/>
            <a:rect l="l" t="t" r="r" b="b"/>
            <a:pathLst>
              <a:path w="5714" h="7620">
                <a:moveTo>
                  <a:pt x="1934" y="0"/>
                </a:moveTo>
                <a:lnTo>
                  <a:pt x="0" y="0"/>
                </a:lnTo>
                <a:lnTo>
                  <a:pt x="0" y="7059"/>
                </a:lnTo>
                <a:lnTo>
                  <a:pt x="5399" y="7059"/>
                </a:lnTo>
                <a:lnTo>
                  <a:pt x="4634" y="6156"/>
                </a:lnTo>
                <a:lnTo>
                  <a:pt x="3731" y="5400"/>
                </a:lnTo>
                <a:lnTo>
                  <a:pt x="2561" y="4847"/>
                </a:lnTo>
                <a:lnTo>
                  <a:pt x="2699" y="4294"/>
                </a:lnTo>
                <a:lnTo>
                  <a:pt x="2764" y="2009"/>
                </a:lnTo>
                <a:lnTo>
                  <a:pt x="2487" y="967"/>
                </a:lnTo>
                <a:lnTo>
                  <a:pt x="1934" y="0"/>
                </a:lnTo>
                <a:close/>
              </a:path>
            </a:pathLst>
          </a:custGeom>
          <a:solidFill>
            <a:srgbClr val="F05430"/>
          </a:solidFill>
        </p:spPr>
        <p:txBody>
          <a:bodyPr wrap="square" lIns="0" tIns="0" rIns="0" bIns="0" rtlCol="0"/>
          <a:lstStyle/>
          <a:p>
            <a:endParaRPr/>
          </a:p>
        </p:txBody>
      </p:sp>
      <p:sp>
        <p:nvSpPr>
          <p:cNvPr id="211" name="object 211"/>
          <p:cNvSpPr/>
          <p:nvPr/>
        </p:nvSpPr>
        <p:spPr>
          <a:xfrm>
            <a:off x="5597166" y="5505650"/>
            <a:ext cx="2540" cy="2540"/>
          </a:xfrm>
          <a:custGeom>
            <a:avLst/>
            <a:gdLst/>
            <a:ahLst/>
            <a:cxnLst/>
            <a:rect l="l" t="t" r="r" b="b"/>
            <a:pathLst>
              <a:path w="2539" h="2539">
                <a:moveTo>
                  <a:pt x="0" y="0"/>
                </a:moveTo>
                <a:lnTo>
                  <a:pt x="0" y="2138"/>
                </a:lnTo>
                <a:lnTo>
                  <a:pt x="1934" y="2138"/>
                </a:lnTo>
                <a:lnTo>
                  <a:pt x="1455" y="1308"/>
                </a:lnTo>
                <a:lnTo>
                  <a:pt x="764" y="617"/>
                </a:lnTo>
                <a:lnTo>
                  <a:pt x="0" y="0"/>
                </a:lnTo>
                <a:close/>
              </a:path>
            </a:pathLst>
          </a:custGeom>
          <a:solidFill>
            <a:srgbClr val="F15F7B"/>
          </a:solidFill>
        </p:spPr>
        <p:txBody>
          <a:bodyPr wrap="square" lIns="0" tIns="0" rIns="0" bIns="0" rtlCol="0"/>
          <a:lstStyle/>
          <a:p>
            <a:endParaRPr/>
          </a:p>
        </p:txBody>
      </p:sp>
      <p:sp>
        <p:nvSpPr>
          <p:cNvPr id="212" name="object 212"/>
          <p:cNvSpPr/>
          <p:nvPr/>
        </p:nvSpPr>
        <p:spPr>
          <a:xfrm>
            <a:off x="5612996" y="5534203"/>
            <a:ext cx="5080" cy="4445"/>
          </a:xfrm>
          <a:custGeom>
            <a:avLst/>
            <a:gdLst/>
            <a:ahLst/>
            <a:cxnLst/>
            <a:rect l="l" t="t" r="r" b="b"/>
            <a:pathLst>
              <a:path w="5079" h="4445">
                <a:moveTo>
                  <a:pt x="4496" y="0"/>
                </a:moveTo>
                <a:lnTo>
                  <a:pt x="0" y="0"/>
                </a:lnTo>
                <a:lnTo>
                  <a:pt x="0" y="4359"/>
                </a:lnTo>
                <a:lnTo>
                  <a:pt x="4496" y="4359"/>
                </a:lnTo>
                <a:lnTo>
                  <a:pt x="4496" y="0"/>
                </a:lnTo>
                <a:close/>
              </a:path>
            </a:pathLst>
          </a:custGeom>
          <a:solidFill>
            <a:srgbClr val="F05430"/>
          </a:solidFill>
        </p:spPr>
        <p:txBody>
          <a:bodyPr wrap="square" lIns="0" tIns="0" rIns="0" bIns="0" rtlCol="0"/>
          <a:lstStyle/>
          <a:p>
            <a:endParaRPr/>
          </a:p>
        </p:txBody>
      </p:sp>
      <p:sp>
        <p:nvSpPr>
          <p:cNvPr id="213" name="object 213"/>
          <p:cNvSpPr/>
          <p:nvPr/>
        </p:nvSpPr>
        <p:spPr>
          <a:xfrm>
            <a:off x="5590191" y="5515678"/>
            <a:ext cx="7620" cy="6985"/>
          </a:xfrm>
          <a:custGeom>
            <a:avLst/>
            <a:gdLst/>
            <a:ahLst/>
            <a:cxnLst/>
            <a:rect l="l" t="t" r="r" b="b"/>
            <a:pathLst>
              <a:path w="7620" h="6985">
                <a:moveTo>
                  <a:pt x="0" y="6838"/>
                </a:moveTo>
                <a:lnTo>
                  <a:pt x="7187" y="6838"/>
                </a:lnTo>
                <a:lnTo>
                  <a:pt x="7187" y="0"/>
                </a:lnTo>
                <a:lnTo>
                  <a:pt x="0" y="0"/>
                </a:lnTo>
                <a:lnTo>
                  <a:pt x="0" y="6838"/>
                </a:lnTo>
                <a:close/>
              </a:path>
            </a:pathLst>
          </a:custGeom>
          <a:solidFill>
            <a:srgbClr val="251242"/>
          </a:solidFill>
        </p:spPr>
        <p:txBody>
          <a:bodyPr wrap="square" lIns="0" tIns="0" rIns="0" bIns="0" rtlCol="0"/>
          <a:lstStyle/>
          <a:p>
            <a:endParaRPr/>
          </a:p>
        </p:txBody>
      </p:sp>
      <p:sp>
        <p:nvSpPr>
          <p:cNvPr id="214" name="object 214"/>
          <p:cNvSpPr/>
          <p:nvPr/>
        </p:nvSpPr>
        <p:spPr>
          <a:xfrm>
            <a:off x="5597378" y="5522517"/>
            <a:ext cx="3175" cy="6985"/>
          </a:xfrm>
          <a:custGeom>
            <a:avLst/>
            <a:gdLst/>
            <a:ahLst/>
            <a:cxnLst/>
            <a:rect l="l" t="t" r="r" b="b"/>
            <a:pathLst>
              <a:path w="3175" h="6985">
                <a:moveTo>
                  <a:pt x="2966" y="0"/>
                </a:moveTo>
                <a:lnTo>
                  <a:pt x="0" y="0"/>
                </a:lnTo>
                <a:lnTo>
                  <a:pt x="0" y="6912"/>
                </a:lnTo>
                <a:lnTo>
                  <a:pt x="138" y="6912"/>
                </a:lnTo>
                <a:lnTo>
                  <a:pt x="1999" y="5668"/>
                </a:lnTo>
                <a:lnTo>
                  <a:pt x="3178" y="3732"/>
                </a:lnTo>
                <a:lnTo>
                  <a:pt x="3178" y="1041"/>
                </a:lnTo>
                <a:lnTo>
                  <a:pt x="3040" y="488"/>
                </a:lnTo>
                <a:lnTo>
                  <a:pt x="2966" y="0"/>
                </a:lnTo>
                <a:close/>
              </a:path>
            </a:pathLst>
          </a:custGeom>
          <a:solidFill>
            <a:srgbClr val="EC245C"/>
          </a:solidFill>
        </p:spPr>
        <p:txBody>
          <a:bodyPr wrap="square" lIns="0" tIns="0" rIns="0" bIns="0" rtlCol="0"/>
          <a:lstStyle/>
          <a:p>
            <a:endParaRPr/>
          </a:p>
        </p:txBody>
      </p:sp>
      <p:sp>
        <p:nvSpPr>
          <p:cNvPr id="215" name="object 215"/>
          <p:cNvSpPr/>
          <p:nvPr/>
        </p:nvSpPr>
        <p:spPr>
          <a:xfrm>
            <a:off x="5583069" y="5501844"/>
            <a:ext cx="7620" cy="6985"/>
          </a:xfrm>
          <a:custGeom>
            <a:avLst/>
            <a:gdLst/>
            <a:ahLst/>
            <a:cxnLst/>
            <a:rect l="l" t="t" r="r" b="b"/>
            <a:pathLst>
              <a:path w="7620" h="6985">
                <a:moveTo>
                  <a:pt x="7122" y="0"/>
                </a:moveTo>
                <a:lnTo>
                  <a:pt x="0" y="0"/>
                </a:lnTo>
                <a:lnTo>
                  <a:pt x="0" y="4497"/>
                </a:lnTo>
                <a:lnTo>
                  <a:pt x="211" y="5188"/>
                </a:lnTo>
                <a:lnTo>
                  <a:pt x="626" y="5806"/>
                </a:lnTo>
                <a:lnTo>
                  <a:pt x="1179" y="6571"/>
                </a:lnTo>
                <a:lnTo>
                  <a:pt x="1317" y="6912"/>
                </a:lnTo>
                <a:lnTo>
                  <a:pt x="7122" y="6912"/>
                </a:lnTo>
                <a:lnTo>
                  <a:pt x="7122" y="0"/>
                </a:lnTo>
                <a:close/>
              </a:path>
            </a:pathLst>
          </a:custGeom>
          <a:solidFill>
            <a:srgbClr val="ACD91A"/>
          </a:solidFill>
        </p:spPr>
        <p:txBody>
          <a:bodyPr wrap="square" lIns="0" tIns="0" rIns="0" bIns="0" rtlCol="0"/>
          <a:lstStyle/>
          <a:p>
            <a:endParaRPr/>
          </a:p>
        </p:txBody>
      </p:sp>
      <p:sp>
        <p:nvSpPr>
          <p:cNvPr id="216" name="object 216"/>
          <p:cNvSpPr/>
          <p:nvPr/>
        </p:nvSpPr>
        <p:spPr>
          <a:xfrm>
            <a:off x="5584036" y="5492581"/>
            <a:ext cx="6350" cy="2540"/>
          </a:xfrm>
          <a:custGeom>
            <a:avLst/>
            <a:gdLst/>
            <a:ahLst/>
            <a:cxnLst/>
            <a:rect l="l" t="t" r="r" b="b"/>
            <a:pathLst>
              <a:path w="6350" h="2539">
                <a:moveTo>
                  <a:pt x="5463" y="0"/>
                </a:moveTo>
                <a:lnTo>
                  <a:pt x="2976" y="0"/>
                </a:lnTo>
                <a:lnTo>
                  <a:pt x="1105" y="967"/>
                </a:lnTo>
                <a:lnTo>
                  <a:pt x="0" y="2350"/>
                </a:lnTo>
                <a:lnTo>
                  <a:pt x="6155" y="2350"/>
                </a:lnTo>
                <a:lnTo>
                  <a:pt x="6155" y="138"/>
                </a:lnTo>
                <a:lnTo>
                  <a:pt x="5463" y="0"/>
                </a:lnTo>
                <a:close/>
              </a:path>
            </a:pathLst>
          </a:custGeom>
          <a:solidFill>
            <a:srgbClr val="C71A8A"/>
          </a:solidFill>
        </p:spPr>
        <p:txBody>
          <a:bodyPr wrap="square" lIns="0" tIns="0" rIns="0" bIns="0" rtlCol="0"/>
          <a:lstStyle/>
          <a:p>
            <a:endParaRPr/>
          </a:p>
        </p:txBody>
      </p:sp>
      <p:sp>
        <p:nvSpPr>
          <p:cNvPr id="217" name="object 217"/>
          <p:cNvSpPr/>
          <p:nvPr/>
        </p:nvSpPr>
        <p:spPr>
          <a:xfrm>
            <a:off x="5590191" y="5522517"/>
            <a:ext cx="7620" cy="6985"/>
          </a:xfrm>
          <a:custGeom>
            <a:avLst/>
            <a:gdLst/>
            <a:ahLst/>
            <a:cxnLst/>
            <a:rect l="l" t="t" r="r" b="b"/>
            <a:pathLst>
              <a:path w="7620" h="6985">
                <a:moveTo>
                  <a:pt x="7187" y="0"/>
                </a:moveTo>
                <a:lnTo>
                  <a:pt x="0" y="0"/>
                </a:lnTo>
                <a:lnTo>
                  <a:pt x="0" y="6912"/>
                </a:lnTo>
                <a:lnTo>
                  <a:pt x="7187" y="6912"/>
                </a:lnTo>
                <a:lnTo>
                  <a:pt x="7187" y="0"/>
                </a:lnTo>
                <a:close/>
              </a:path>
            </a:pathLst>
          </a:custGeom>
          <a:solidFill>
            <a:srgbClr val="C71A8A"/>
          </a:solidFill>
        </p:spPr>
        <p:txBody>
          <a:bodyPr wrap="square" lIns="0" tIns="0" rIns="0" bIns="0" rtlCol="0"/>
          <a:lstStyle/>
          <a:p>
            <a:endParaRPr/>
          </a:p>
        </p:txBody>
      </p:sp>
      <p:sp>
        <p:nvSpPr>
          <p:cNvPr id="218" name="object 218"/>
          <p:cNvSpPr/>
          <p:nvPr/>
        </p:nvSpPr>
        <p:spPr>
          <a:xfrm>
            <a:off x="5590191" y="5508756"/>
            <a:ext cx="7620" cy="6985"/>
          </a:xfrm>
          <a:custGeom>
            <a:avLst/>
            <a:gdLst/>
            <a:ahLst/>
            <a:cxnLst/>
            <a:rect l="l" t="t" r="r" b="b"/>
            <a:pathLst>
              <a:path w="7620" h="6985">
                <a:moveTo>
                  <a:pt x="0" y="6921"/>
                </a:moveTo>
                <a:lnTo>
                  <a:pt x="7187" y="6921"/>
                </a:lnTo>
                <a:lnTo>
                  <a:pt x="7187" y="0"/>
                </a:lnTo>
                <a:lnTo>
                  <a:pt x="0" y="0"/>
                </a:lnTo>
                <a:lnTo>
                  <a:pt x="0" y="6921"/>
                </a:lnTo>
                <a:close/>
              </a:path>
            </a:pathLst>
          </a:custGeom>
          <a:solidFill>
            <a:srgbClr val="33BCE8"/>
          </a:solidFill>
        </p:spPr>
        <p:txBody>
          <a:bodyPr wrap="square" lIns="0" tIns="0" rIns="0" bIns="0" rtlCol="0"/>
          <a:lstStyle/>
          <a:p>
            <a:endParaRPr/>
          </a:p>
        </p:txBody>
      </p:sp>
      <p:sp>
        <p:nvSpPr>
          <p:cNvPr id="219" name="object 219"/>
          <p:cNvSpPr/>
          <p:nvPr/>
        </p:nvSpPr>
        <p:spPr>
          <a:xfrm>
            <a:off x="5583069" y="5529429"/>
            <a:ext cx="7620" cy="6985"/>
          </a:xfrm>
          <a:custGeom>
            <a:avLst/>
            <a:gdLst/>
            <a:ahLst/>
            <a:cxnLst/>
            <a:rect l="l" t="t" r="r" b="b"/>
            <a:pathLst>
              <a:path w="7620" h="6985">
                <a:moveTo>
                  <a:pt x="7122" y="0"/>
                </a:moveTo>
                <a:lnTo>
                  <a:pt x="0" y="0"/>
                </a:lnTo>
                <a:lnTo>
                  <a:pt x="0" y="4635"/>
                </a:lnTo>
                <a:lnTo>
                  <a:pt x="2699" y="6921"/>
                </a:lnTo>
                <a:lnTo>
                  <a:pt x="6772" y="6921"/>
                </a:lnTo>
                <a:lnTo>
                  <a:pt x="7122" y="6847"/>
                </a:lnTo>
                <a:lnTo>
                  <a:pt x="7122" y="0"/>
                </a:lnTo>
                <a:close/>
              </a:path>
            </a:pathLst>
          </a:custGeom>
          <a:solidFill>
            <a:srgbClr val="251242"/>
          </a:solidFill>
        </p:spPr>
        <p:txBody>
          <a:bodyPr wrap="square" lIns="0" tIns="0" rIns="0" bIns="0" rtlCol="0"/>
          <a:lstStyle/>
          <a:p>
            <a:endParaRPr/>
          </a:p>
        </p:txBody>
      </p:sp>
      <p:sp>
        <p:nvSpPr>
          <p:cNvPr id="220" name="object 220"/>
          <p:cNvSpPr/>
          <p:nvPr/>
        </p:nvSpPr>
        <p:spPr>
          <a:xfrm>
            <a:off x="5590191" y="5501844"/>
            <a:ext cx="7620" cy="6985"/>
          </a:xfrm>
          <a:custGeom>
            <a:avLst/>
            <a:gdLst/>
            <a:ahLst/>
            <a:cxnLst/>
            <a:rect l="l" t="t" r="r" b="b"/>
            <a:pathLst>
              <a:path w="7620" h="6985">
                <a:moveTo>
                  <a:pt x="0" y="6912"/>
                </a:moveTo>
                <a:lnTo>
                  <a:pt x="7187" y="6912"/>
                </a:lnTo>
                <a:lnTo>
                  <a:pt x="7187" y="0"/>
                </a:lnTo>
                <a:lnTo>
                  <a:pt x="0" y="0"/>
                </a:lnTo>
                <a:lnTo>
                  <a:pt x="0" y="6912"/>
                </a:lnTo>
                <a:close/>
              </a:path>
            </a:pathLst>
          </a:custGeom>
          <a:solidFill>
            <a:srgbClr val="251242"/>
          </a:solidFill>
        </p:spPr>
        <p:txBody>
          <a:bodyPr wrap="square" lIns="0" tIns="0" rIns="0" bIns="0" rtlCol="0"/>
          <a:lstStyle/>
          <a:p>
            <a:endParaRPr/>
          </a:p>
        </p:txBody>
      </p:sp>
      <p:sp>
        <p:nvSpPr>
          <p:cNvPr id="221" name="object 221"/>
          <p:cNvSpPr/>
          <p:nvPr/>
        </p:nvSpPr>
        <p:spPr>
          <a:xfrm>
            <a:off x="5590191" y="5492720"/>
            <a:ext cx="4445" cy="2540"/>
          </a:xfrm>
          <a:custGeom>
            <a:avLst/>
            <a:gdLst/>
            <a:ahLst/>
            <a:cxnLst/>
            <a:rect l="l" t="t" r="r" b="b"/>
            <a:pathLst>
              <a:path w="4445" h="2539">
                <a:moveTo>
                  <a:pt x="0" y="0"/>
                </a:moveTo>
                <a:lnTo>
                  <a:pt x="0" y="2211"/>
                </a:lnTo>
                <a:lnTo>
                  <a:pt x="4072" y="2211"/>
                </a:lnTo>
                <a:lnTo>
                  <a:pt x="3178" y="1041"/>
                </a:lnTo>
                <a:lnTo>
                  <a:pt x="1723" y="211"/>
                </a:lnTo>
                <a:lnTo>
                  <a:pt x="0" y="0"/>
                </a:lnTo>
                <a:close/>
              </a:path>
            </a:pathLst>
          </a:custGeom>
          <a:solidFill>
            <a:srgbClr val="251242"/>
          </a:solidFill>
        </p:spPr>
        <p:txBody>
          <a:bodyPr wrap="square" lIns="0" tIns="0" rIns="0" bIns="0" rtlCol="0"/>
          <a:lstStyle/>
          <a:p>
            <a:endParaRPr/>
          </a:p>
        </p:txBody>
      </p:sp>
      <p:sp>
        <p:nvSpPr>
          <p:cNvPr id="222" name="object 222"/>
          <p:cNvSpPr/>
          <p:nvPr/>
        </p:nvSpPr>
        <p:spPr>
          <a:xfrm>
            <a:off x="5597378" y="5515678"/>
            <a:ext cx="6985" cy="6985"/>
          </a:xfrm>
          <a:custGeom>
            <a:avLst/>
            <a:gdLst/>
            <a:ahLst/>
            <a:cxnLst/>
            <a:rect l="l" t="t" r="r" b="b"/>
            <a:pathLst>
              <a:path w="6985" h="6985">
                <a:moveTo>
                  <a:pt x="6984" y="0"/>
                </a:moveTo>
                <a:lnTo>
                  <a:pt x="0" y="0"/>
                </a:lnTo>
                <a:lnTo>
                  <a:pt x="0" y="6838"/>
                </a:lnTo>
                <a:lnTo>
                  <a:pt x="2966" y="6838"/>
                </a:lnTo>
                <a:lnTo>
                  <a:pt x="2828" y="6562"/>
                </a:lnTo>
                <a:lnTo>
                  <a:pt x="2690" y="6082"/>
                </a:lnTo>
                <a:lnTo>
                  <a:pt x="5187" y="4700"/>
                </a:lnTo>
                <a:lnTo>
                  <a:pt x="6634" y="2488"/>
                </a:lnTo>
                <a:lnTo>
                  <a:pt x="6984" y="0"/>
                </a:lnTo>
                <a:close/>
              </a:path>
            </a:pathLst>
          </a:custGeom>
          <a:solidFill>
            <a:srgbClr val="127ABB"/>
          </a:solidFill>
        </p:spPr>
        <p:txBody>
          <a:bodyPr wrap="square" lIns="0" tIns="0" rIns="0" bIns="0" rtlCol="0"/>
          <a:lstStyle/>
          <a:p>
            <a:endParaRPr/>
          </a:p>
        </p:txBody>
      </p:sp>
      <p:sp>
        <p:nvSpPr>
          <p:cNvPr id="223" name="object 223"/>
          <p:cNvSpPr/>
          <p:nvPr/>
        </p:nvSpPr>
        <p:spPr>
          <a:xfrm>
            <a:off x="5583069" y="5522517"/>
            <a:ext cx="7620" cy="6985"/>
          </a:xfrm>
          <a:custGeom>
            <a:avLst/>
            <a:gdLst/>
            <a:ahLst/>
            <a:cxnLst/>
            <a:rect l="l" t="t" r="r" b="b"/>
            <a:pathLst>
              <a:path w="7620" h="6985">
                <a:moveTo>
                  <a:pt x="7122" y="0"/>
                </a:moveTo>
                <a:lnTo>
                  <a:pt x="0" y="0"/>
                </a:lnTo>
                <a:lnTo>
                  <a:pt x="0" y="1105"/>
                </a:lnTo>
                <a:lnTo>
                  <a:pt x="138" y="1594"/>
                </a:lnTo>
                <a:lnTo>
                  <a:pt x="414" y="2073"/>
                </a:lnTo>
                <a:lnTo>
                  <a:pt x="967" y="2838"/>
                </a:lnTo>
                <a:lnTo>
                  <a:pt x="967" y="3870"/>
                </a:lnTo>
                <a:lnTo>
                  <a:pt x="350" y="5050"/>
                </a:lnTo>
                <a:lnTo>
                  <a:pt x="138" y="5391"/>
                </a:lnTo>
                <a:lnTo>
                  <a:pt x="0" y="5880"/>
                </a:lnTo>
                <a:lnTo>
                  <a:pt x="0" y="6912"/>
                </a:lnTo>
                <a:lnTo>
                  <a:pt x="7122" y="6912"/>
                </a:lnTo>
                <a:lnTo>
                  <a:pt x="7122" y="0"/>
                </a:lnTo>
                <a:close/>
              </a:path>
            </a:pathLst>
          </a:custGeom>
          <a:solidFill>
            <a:srgbClr val="7ECA28"/>
          </a:solidFill>
        </p:spPr>
        <p:txBody>
          <a:bodyPr wrap="square" lIns="0" tIns="0" rIns="0" bIns="0" rtlCol="0"/>
          <a:lstStyle/>
          <a:p>
            <a:endParaRPr/>
          </a:p>
        </p:txBody>
      </p:sp>
      <p:sp>
        <p:nvSpPr>
          <p:cNvPr id="224" name="object 224"/>
          <p:cNvSpPr/>
          <p:nvPr/>
        </p:nvSpPr>
        <p:spPr>
          <a:xfrm>
            <a:off x="5583069" y="5508756"/>
            <a:ext cx="7620" cy="6985"/>
          </a:xfrm>
          <a:custGeom>
            <a:avLst/>
            <a:gdLst/>
            <a:ahLst/>
            <a:cxnLst/>
            <a:rect l="l" t="t" r="r" b="b"/>
            <a:pathLst>
              <a:path w="7620" h="6985">
                <a:moveTo>
                  <a:pt x="7122" y="0"/>
                </a:moveTo>
                <a:lnTo>
                  <a:pt x="1317" y="0"/>
                </a:lnTo>
                <a:lnTo>
                  <a:pt x="1732" y="764"/>
                </a:lnTo>
                <a:lnTo>
                  <a:pt x="1594" y="1732"/>
                </a:lnTo>
                <a:lnTo>
                  <a:pt x="276" y="3050"/>
                </a:lnTo>
                <a:lnTo>
                  <a:pt x="0" y="3741"/>
                </a:lnTo>
                <a:lnTo>
                  <a:pt x="0" y="6921"/>
                </a:lnTo>
                <a:lnTo>
                  <a:pt x="7122" y="6921"/>
                </a:lnTo>
                <a:lnTo>
                  <a:pt x="7122" y="0"/>
                </a:lnTo>
                <a:close/>
              </a:path>
            </a:pathLst>
          </a:custGeom>
          <a:solidFill>
            <a:srgbClr val="251242"/>
          </a:solidFill>
        </p:spPr>
        <p:txBody>
          <a:bodyPr wrap="square" lIns="0" tIns="0" rIns="0" bIns="0" rtlCol="0"/>
          <a:lstStyle/>
          <a:p>
            <a:endParaRPr/>
          </a:p>
        </p:txBody>
      </p:sp>
      <p:sp>
        <p:nvSpPr>
          <p:cNvPr id="225" name="object 225"/>
          <p:cNvSpPr/>
          <p:nvPr/>
        </p:nvSpPr>
        <p:spPr>
          <a:xfrm>
            <a:off x="5583069" y="5494932"/>
            <a:ext cx="7620" cy="6985"/>
          </a:xfrm>
          <a:custGeom>
            <a:avLst/>
            <a:gdLst/>
            <a:ahLst/>
            <a:cxnLst/>
            <a:rect l="l" t="t" r="r" b="b"/>
            <a:pathLst>
              <a:path w="7620" h="6985">
                <a:moveTo>
                  <a:pt x="7122" y="0"/>
                </a:moveTo>
                <a:lnTo>
                  <a:pt x="967" y="0"/>
                </a:lnTo>
                <a:lnTo>
                  <a:pt x="350" y="764"/>
                </a:lnTo>
                <a:lnTo>
                  <a:pt x="0" y="1732"/>
                </a:lnTo>
                <a:lnTo>
                  <a:pt x="0" y="6912"/>
                </a:lnTo>
                <a:lnTo>
                  <a:pt x="7122" y="6912"/>
                </a:lnTo>
                <a:lnTo>
                  <a:pt x="7122" y="0"/>
                </a:lnTo>
                <a:close/>
              </a:path>
            </a:pathLst>
          </a:custGeom>
          <a:solidFill>
            <a:srgbClr val="251242"/>
          </a:solidFill>
        </p:spPr>
        <p:txBody>
          <a:bodyPr wrap="square" lIns="0" tIns="0" rIns="0" bIns="0" rtlCol="0"/>
          <a:lstStyle/>
          <a:p>
            <a:endParaRPr/>
          </a:p>
        </p:txBody>
      </p:sp>
      <p:sp>
        <p:nvSpPr>
          <p:cNvPr id="226" name="object 226"/>
          <p:cNvSpPr/>
          <p:nvPr/>
        </p:nvSpPr>
        <p:spPr>
          <a:xfrm>
            <a:off x="5590191" y="5529429"/>
            <a:ext cx="7620" cy="6985"/>
          </a:xfrm>
          <a:custGeom>
            <a:avLst/>
            <a:gdLst/>
            <a:ahLst/>
            <a:cxnLst/>
            <a:rect l="l" t="t" r="r" b="b"/>
            <a:pathLst>
              <a:path w="7620" h="6985">
                <a:moveTo>
                  <a:pt x="7187" y="0"/>
                </a:moveTo>
                <a:lnTo>
                  <a:pt x="0" y="0"/>
                </a:lnTo>
                <a:lnTo>
                  <a:pt x="0" y="6847"/>
                </a:lnTo>
                <a:lnTo>
                  <a:pt x="2902" y="6433"/>
                </a:lnTo>
                <a:lnTo>
                  <a:pt x="5113" y="4359"/>
                </a:lnTo>
                <a:lnTo>
                  <a:pt x="5040" y="1179"/>
                </a:lnTo>
                <a:lnTo>
                  <a:pt x="5804" y="903"/>
                </a:lnTo>
                <a:lnTo>
                  <a:pt x="6495" y="552"/>
                </a:lnTo>
                <a:lnTo>
                  <a:pt x="7187" y="138"/>
                </a:lnTo>
                <a:lnTo>
                  <a:pt x="7187" y="0"/>
                </a:lnTo>
                <a:close/>
              </a:path>
            </a:pathLst>
          </a:custGeom>
          <a:solidFill>
            <a:srgbClr val="EC245C"/>
          </a:solidFill>
        </p:spPr>
        <p:txBody>
          <a:bodyPr wrap="square" lIns="0" tIns="0" rIns="0" bIns="0" rtlCol="0"/>
          <a:lstStyle/>
          <a:p>
            <a:endParaRPr/>
          </a:p>
        </p:txBody>
      </p:sp>
      <p:sp>
        <p:nvSpPr>
          <p:cNvPr id="227" name="object 227"/>
          <p:cNvSpPr/>
          <p:nvPr/>
        </p:nvSpPr>
        <p:spPr>
          <a:xfrm>
            <a:off x="5583069" y="5515678"/>
            <a:ext cx="7620" cy="6985"/>
          </a:xfrm>
          <a:custGeom>
            <a:avLst/>
            <a:gdLst/>
            <a:ahLst/>
            <a:cxnLst/>
            <a:rect l="l" t="t" r="r" b="b"/>
            <a:pathLst>
              <a:path w="7620" h="6985">
                <a:moveTo>
                  <a:pt x="7122" y="0"/>
                </a:moveTo>
                <a:lnTo>
                  <a:pt x="0" y="0"/>
                </a:lnTo>
                <a:lnTo>
                  <a:pt x="0" y="6838"/>
                </a:lnTo>
                <a:lnTo>
                  <a:pt x="7122" y="6838"/>
                </a:lnTo>
                <a:lnTo>
                  <a:pt x="7122" y="0"/>
                </a:lnTo>
                <a:close/>
              </a:path>
            </a:pathLst>
          </a:custGeom>
          <a:solidFill>
            <a:srgbClr val="EC245C"/>
          </a:solidFill>
        </p:spPr>
        <p:txBody>
          <a:bodyPr wrap="square" lIns="0" tIns="0" rIns="0" bIns="0" rtlCol="0"/>
          <a:lstStyle/>
          <a:p>
            <a:endParaRPr/>
          </a:p>
        </p:txBody>
      </p:sp>
      <p:sp>
        <p:nvSpPr>
          <p:cNvPr id="228" name="object 228"/>
          <p:cNvSpPr/>
          <p:nvPr/>
        </p:nvSpPr>
        <p:spPr>
          <a:xfrm>
            <a:off x="5597378" y="5508756"/>
            <a:ext cx="7620" cy="6985"/>
          </a:xfrm>
          <a:custGeom>
            <a:avLst/>
            <a:gdLst/>
            <a:ahLst/>
            <a:cxnLst/>
            <a:rect l="l" t="t" r="r" b="b"/>
            <a:pathLst>
              <a:path w="7620" h="6985">
                <a:moveTo>
                  <a:pt x="5252" y="0"/>
                </a:moveTo>
                <a:lnTo>
                  <a:pt x="0" y="0"/>
                </a:lnTo>
                <a:lnTo>
                  <a:pt x="0" y="6921"/>
                </a:lnTo>
                <a:lnTo>
                  <a:pt x="6984" y="6921"/>
                </a:lnTo>
                <a:lnTo>
                  <a:pt x="7122" y="5953"/>
                </a:lnTo>
                <a:lnTo>
                  <a:pt x="7122" y="3391"/>
                </a:lnTo>
                <a:lnTo>
                  <a:pt x="6495" y="1529"/>
                </a:lnTo>
                <a:lnTo>
                  <a:pt x="5252" y="0"/>
                </a:lnTo>
                <a:close/>
              </a:path>
            </a:pathLst>
          </a:custGeom>
          <a:solidFill>
            <a:srgbClr val="EC245C"/>
          </a:solidFill>
        </p:spPr>
        <p:txBody>
          <a:bodyPr wrap="square" lIns="0" tIns="0" rIns="0" bIns="0" rtlCol="0"/>
          <a:lstStyle/>
          <a:p>
            <a:endParaRPr/>
          </a:p>
        </p:txBody>
      </p:sp>
      <p:sp>
        <p:nvSpPr>
          <p:cNvPr id="229" name="object 229"/>
          <p:cNvSpPr/>
          <p:nvPr/>
        </p:nvSpPr>
        <p:spPr>
          <a:xfrm>
            <a:off x="5590191" y="5494932"/>
            <a:ext cx="7620" cy="6985"/>
          </a:xfrm>
          <a:custGeom>
            <a:avLst/>
            <a:gdLst/>
            <a:ahLst/>
            <a:cxnLst/>
            <a:rect l="l" t="t" r="r" b="b"/>
            <a:pathLst>
              <a:path w="7620" h="6985">
                <a:moveTo>
                  <a:pt x="4072" y="0"/>
                </a:moveTo>
                <a:lnTo>
                  <a:pt x="0" y="0"/>
                </a:lnTo>
                <a:lnTo>
                  <a:pt x="0" y="6912"/>
                </a:lnTo>
                <a:lnTo>
                  <a:pt x="7187" y="6912"/>
                </a:lnTo>
                <a:lnTo>
                  <a:pt x="7187" y="4838"/>
                </a:lnTo>
                <a:lnTo>
                  <a:pt x="6495" y="4285"/>
                </a:lnTo>
                <a:lnTo>
                  <a:pt x="5040" y="3594"/>
                </a:lnTo>
                <a:lnTo>
                  <a:pt x="5113" y="1732"/>
                </a:lnTo>
                <a:lnTo>
                  <a:pt x="4699" y="764"/>
                </a:lnTo>
                <a:lnTo>
                  <a:pt x="4072" y="0"/>
                </a:lnTo>
                <a:close/>
              </a:path>
            </a:pathLst>
          </a:custGeom>
          <a:solidFill>
            <a:srgbClr val="EC245C"/>
          </a:solidFill>
        </p:spPr>
        <p:txBody>
          <a:bodyPr wrap="square" lIns="0" tIns="0" rIns="0" bIns="0" rtlCol="0"/>
          <a:lstStyle/>
          <a:p>
            <a:endParaRPr/>
          </a:p>
        </p:txBody>
      </p:sp>
      <p:sp>
        <p:nvSpPr>
          <p:cNvPr id="230" name="object 230"/>
          <p:cNvSpPr/>
          <p:nvPr/>
        </p:nvSpPr>
        <p:spPr>
          <a:xfrm>
            <a:off x="5592403" y="5468037"/>
            <a:ext cx="5080" cy="5080"/>
          </a:xfrm>
          <a:custGeom>
            <a:avLst/>
            <a:gdLst/>
            <a:ahLst/>
            <a:cxnLst/>
            <a:rect l="l" t="t" r="r" b="b"/>
            <a:pathLst>
              <a:path w="5079" h="5079">
                <a:moveTo>
                  <a:pt x="4901" y="0"/>
                </a:moveTo>
                <a:lnTo>
                  <a:pt x="0" y="0"/>
                </a:lnTo>
                <a:lnTo>
                  <a:pt x="0" y="4774"/>
                </a:lnTo>
                <a:lnTo>
                  <a:pt x="4901" y="4774"/>
                </a:lnTo>
                <a:lnTo>
                  <a:pt x="4901" y="0"/>
                </a:lnTo>
                <a:close/>
              </a:path>
            </a:pathLst>
          </a:custGeom>
          <a:solidFill>
            <a:srgbClr val="F15F7B"/>
          </a:solidFill>
        </p:spPr>
        <p:txBody>
          <a:bodyPr wrap="square" lIns="0" tIns="0" rIns="0" bIns="0" rtlCol="0"/>
          <a:lstStyle/>
          <a:p>
            <a:endParaRPr/>
          </a:p>
        </p:txBody>
      </p:sp>
      <p:sp>
        <p:nvSpPr>
          <p:cNvPr id="231" name="object 231"/>
          <p:cNvSpPr/>
          <p:nvPr/>
        </p:nvSpPr>
        <p:spPr>
          <a:xfrm>
            <a:off x="5608850" y="5494176"/>
            <a:ext cx="3810" cy="3810"/>
          </a:xfrm>
          <a:custGeom>
            <a:avLst/>
            <a:gdLst/>
            <a:ahLst/>
            <a:cxnLst/>
            <a:rect l="l" t="t" r="r" b="b"/>
            <a:pathLst>
              <a:path w="3810" h="3810">
                <a:moveTo>
                  <a:pt x="3667" y="0"/>
                </a:moveTo>
                <a:lnTo>
                  <a:pt x="0" y="0"/>
                </a:lnTo>
                <a:lnTo>
                  <a:pt x="0" y="3456"/>
                </a:lnTo>
                <a:lnTo>
                  <a:pt x="3667" y="3456"/>
                </a:lnTo>
                <a:lnTo>
                  <a:pt x="3667" y="0"/>
                </a:lnTo>
                <a:close/>
              </a:path>
            </a:pathLst>
          </a:custGeom>
          <a:solidFill>
            <a:srgbClr val="251242"/>
          </a:solidFill>
        </p:spPr>
        <p:txBody>
          <a:bodyPr wrap="square" lIns="0" tIns="0" rIns="0" bIns="0" rtlCol="0"/>
          <a:lstStyle/>
          <a:p>
            <a:endParaRPr/>
          </a:p>
        </p:txBody>
      </p:sp>
      <p:sp>
        <p:nvSpPr>
          <p:cNvPr id="232" name="object 232"/>
          <p:cNvSpPr/>
          <p:nvPr/>
        </p:nvSpPr>
        <p:spPr>
          <a:xfrm>
            <a:off x="5649079" y="5533586"/>
            <a:ext cx="26034" cy="11430"/>
          </a:xfrm>
          <a:custGeom>
            <a:avLst/>
            <a:gdLst/>
            <a:ahLst/>
            <a:cxnLst/>
            <a:rect l="l" t="t" r="r" b="b"/>
            <a:pathLst>
              <a:path w="26035" h="11429">
                <a:moveTo>
                  <a:pt x="0" y="10921"/>
                </a:moveTo>
                <a:lnTo>
                  <a:pt x="25504" y="10921"/>
                </a:lnTo>
                <a:lnTo>
                  <a:pt x="25504" y="0"/>
                </a:lnTo>
                <a:lnTo>
                  <a:pt x="0" y="0"/>
                </a:lnTo>
                <a:lnTo>
                  <a:pt x="0" y="10921"/>
                </a:lnTo>
                <a:close/>
              </a:path>
            </a:pathLst>
          </a:custGeom>
          <a:solidFill>
            <a:srgbClr val="ACD91A"/>
          </a:solidFill>
        </p:spPr>
        <p:txBody>
          <a:bodyPr wrap="square" lIns="0" tIns="0" rIns="0" bIns="0" rtlCol="0"/>
          <a:lstStyle/>
          <a:p>
            <a:endParaRPr/>
          </a:p>
        </p:txBody>
      </p:sp>
      <p:sp>
        <p:nvSpPr>
          <p:cNvPr id="233" name="object 233"/>
          <p:cNvSpPr/>
          <p:nvPr/>
        </p:nvSpPr>
        <p:spPr>
          <a:xfrm>
            <a:off x="5649079" y="5546996"/>
            <a:ext cx="26034" cy="27940"/>
          </a:xfrm>
          <a:custGeom>
            <a:avLst/>
            <a:gdLst/>
            <a:ahLst/>
            <a:cxnLst/>
            <a:rect l="l" t="t" r="r" b="b"/>
            <a:pathLst>
              <a:path w="26035" h="27939">
                <a:moveTo>
                  <a:pt x="0" y="27861"/>
                </a:moveTo>
                <a:lnTo>
                  <a:pt x="25504" y="27861"/>
                </a:lnTo>
                <a:lnTo>
                  <a:pt x="25504" y="0"/>
                </a:lnTo>
                <a:lnTo>
                  <a:pt x="0" y="0"/>
                </a:lnTo>
                <a:lnTo>
                  <a:pt x="0" y="27861"/>
                </a:lnTo>
                <a:close/>
              </a:path>
            </a:pathLst>
          </a:custGeom>
          <a:solidFill>
            <a:srgbClr val="ACD91A"/>
          </a:solidFill>
        </p:spPr>
        <p:txBody>
          <a:bodyPr wrap="square" lIns="0" tIns="0" rIns="0" bIns="0" rtlCol="0"/>
          <a:lstStyle/>
          <a:p>
            <a:endParaRPr/>
          </a:p>
        </p:txBody>
      </p:sp>
      <p:sp>
        <p:nvSpPr>
          <p:cNvPr id="234" name="object 234"/>
          <p:cNvSpPr/>
          <p:nvPr/>
        </p:nvSpPr>
        <p:spPr>
          <a:xfrm>
            <a:off x="5641892" y="5546996"/>
            <a:ext cx="5080" cy="19050"/>
          </a:xfrm>
          <a:custGeom>
            <a:avLst/>
            <a:gdLst/>
            <a:ahLst/>
            <a:cxnLst/>
            <a:rect l="l" t="t" r="r" b="b"/>
            <a:pathLst>
              <a:path w="5079" h="19050">
                <a:moveTo>
                  <a:pt x="0" y="18875"/>
                </a:moveTo>
                <a:lnTo>
                  <a:pt x="4763" y="18875"/>
                </a:lnTo>
                <a:lnTo>
                  <a:pt x="4763" y="0"/>
                </a:lnTo>
                <a:lnTo>
                  <a:pt x="0" y="0"/>
                </a:lnTo>
                <a:lnTo>
                  <a:pt x="0" y="18875"/>
                </a:lnTo>
                <a:close/>
              </a:path>
            </a:pathLst>
          </a:custGeom>
          <a:solidFill>
            <a:srgbClr val="ACD91A"/>
          </a:solidFill>
        </p:spPr>
        <p:txBody>
          <a:bodyPr wrap="square" lIns="0" tIns="0" rIns="0" bIns="0" rtlCol="0"/>
          <a:lstStyle/>
          <a:p>
            <a:endParaRPr/>
          </a:p>
        </p:txBody>
      </p:sp>
      <p:sp>
        <p:nvSpPr>
          <p:cNvPr id="235" name="object 235"/>
          <p:cNvSpPr/>
          <p:nvPr/>
        </p:nvSpPr>
        <p:spPr>
          <a:xfrm>
            <a:off x="5677209" y="5546996"/>
            <a:ext cx="5080" cy="19050"/>
          </a:xfrm>
          <a:custGeom>
            <a:avLst/>
            <a:gdLst/>
            <a:ahLst/>
            <a:cxnLst/>
            <a:rect l="l" t="t" r="r" b="b"/>
            <a:pathLst>
              <a:path w="5079" h="19050">
                <a:moveTo>
                  <a:pt x="0" y="18875"/>
                </a:moveTo>
                <a:lnTo>
                  <a:pt x="4772" y="18875"/>
                </a:lnTo>
                <a:lnTo>
                  <a:pt x="4772" y="0"/>
                </a:lnTo>
                <a:lnTo>
                  <a:pt x="0" y="0"/>
                </a:lnTo>
                <a:lnTo>
                  <a:pt x="0" y="18875"/>
                </a:lnTo>
                <a:close/>
              </a:path>
            </a:pathLst>
          </a:custGeom>
          <a:solidFill>
            <a:srgbClr val="ACD91A"/>
          </a:solidFill>
        </p:spPr>
        <p:txBody>
          <a:bodyPr wrap="square" lIns="0" tIns="0" rIns="0" bIns="0" rtlCol="0"/>
          <a:lstStyle/>
          <a:p>
            <a:endParaRPr/>
          </a:p>
        </p:txBody>
      </p:sp>
      <p:sp>
        <p:nvSpPr>
          <p:cNvPr id="236" name="object 236"/>
          <p:cNvSpPr/>
          <p:nvPr/>
        </p:nvSpPr>
        <p:spPr>
          <a:xfrm>
            <a:off x="5654469" y="5537042"/>
            <a:ext cx="4445" cy="4445"/>
          </a:xfrm>
          <a:custGeom>
            <a:avLst/>
            <a:gdLst/>
            <a:ahLst/>
            <a:cxnLst/>
            <a:rect l="l" t="t" r="r" b="b"/>
            <a:pathLst>
              <a:path w="4445" h="4445">
                <a:moveTo>
                  <a:pt x="3114" y="0"/>
                </a:moveTo>
                <a:lnTo>
                  <a:pt x="902" y="0"/>
                </a:lnTo>
                <a:lnTo>
                  <a:pt x="0" y="894"/>
                </a:lnTo>
                <a:lnTo>
                  <a:pt x="0" y="3105"/>
                </a:lnTo>
                <a:lnTo>
                  <a:pt x="902" y="4009"/>
                </a:lnTo>
                <a:lnTo>
                  <a:pt x="3114" y="4009"/>
                </a:lnTo>
                <a:lnTo>
                  <a:pt x="4008" y="3105"/>
                </a:lnTo>
                <a:lnTo>
                  <a:pt x="4008" y="894"/>
                </a:lnTo>
                <a:lnTo>
                  <a:pt x="3114" y="0"/>
                </a:lnTo>
                <a:close/>
              </a:path>
            </a:pathLst>
          </a:custGeom>
          <a:solidFill>
            <a:srgbClr val="E7E7E7"/>
          </a:solidFill>
        </p:spPr>
        <p:txBody>
          <a:bodyPr wrap="square" lIns="0" tIns="0" rIns="0" bIns="0" rtlCol="0"/>
          <a:lstStyle/>
          <a:p>
            <a:endParaRPr/>
          </a:p>
        </p:txBody>
      </p:sp>
      <p:sp>
        <p:nvSpPr>
          <p:cNvPr id="237" name="object 237"/>
          <p:cNvSpPr/>
          <p:nvPr/>
        </p:nvSpPr>
        <p:spPr>
          <a:xfrm>
            <a:off x="5665249" y="5537042"/>
            <a:ext cx="4445" cy="4445"/>
          </a:xfrm>
          <a:custGeom>
            <a:avLst/>
            <a:gdLst/>
            <a:ahLst/>
            <a:cxnLst/>
            <a:rect l="l" t="t" r="r" b="b"/>
            <a:pathLst>
              <a:path w="4445" h="4445">
                <a:moveTo>
                  <a:pt x="3040" y="0"/>
                </a:moveTo>
                <a:lnTo>
                  <a:pt x="829" y="0"/>
                </a:lnTo>
                <a:lnTo>
                  <a:pt x="0" y="894"/>
                </a:lnTo>
                <a:lnTo>
                  <a:pt x="0" y="3105"/>
                </a:lnTo>
                <a:lnTo>
                  <a:pt x="829" y="4009"/>
                </a:lnTo>
                <a:lnTo>
                  <a:pt x="3040" y="4009"/>
                </a:lnTo>
                <a:lnTo>
                  <a:pt x="3943" y="3105"/>
                </a:lnTo>
                <a:lnTo>
                  <a:pt x="3943" y="894"/>
                </a:lnTo>
                <a:lnTo>
                  <a:pt x="3040" y="0"/>
                </a:lnTo>
                <a:close/>
              </a:path>
            </a:pathLst>
          </a:custGeom>
          <a:solidFill>
            <a:srgbClr val="E7E7E7"/>
          </a:solidFill>
        </p:spPr>
        <p:txBody>
          <a:bodyPr wrap="square" lIns="0" tIns="0" rIns="0" bIns="0" rtlCol="0"/>
          <a:lstStyle/>
          <a:p>
            <a:endParaRPr/>
          </a:p>
        </p:txBody>
      </p:sp>
      <p:sp>
        <p:nvSpPr>
          <p:cNvPr id="238" name="object 238"/>
          <p:cNvSpPr/>
          <p:nvPr/>
        </p:nvSpPr>
        <p:spPr>
          <a:xfrm>
            <a:off x="5657924" y="5576452"/>
            <a:ext cx="8255" cy="8255"/>
          </a:xfrm>
          <a:custGeom>
            <a:avLst/>
            <a:gdLst/>
            <a:ahLst/>
            <a:cxnLst/>
            <a:rect l="l" t="t" r="r" b="b"/>
            <a:pathLst>
              <a:path w="8254" h="8254">
                <a:moveTo>
                  <a:pt x="6155" y="0"/>
                </a:moveTo>
                <a:lnTo>
                  <a:pt x="1796" y="0"/>
                </a:lnTo>
                <a:lnTo>
                  <a:pt x="0" y="1797"/>
                </a:lnTo>
                <a:lnTo>
                  <a:pt x="0" y="6147"/>
                </a:lnTo>
                <a:lnTo>
                  <a:pt x="1796" y="7944"/>
                </a:lnTo>
                <a:lnTo>
                  <a:pt x="6155" y="7944"/>
                </a:lnTo>
                <a:lnTo>
                  <a:pt x="7878" y="6147"/>
                </a:lnTo>
                <a:lnTo>
                  <a:pt x="7878" y="1797"/>
                </a:lnTo>
                <a:lnTo>
                  <a:pt x="6155" y="0"/>
                </a:lnTo>
                <a:close/>
              </a:path>
            </a:pathLst>
          </a:custGeom>
          <a:solidFill>
            <a:srgbClr val="ACD91A"/>
          </a:solidFill>
        </p:spPr>
        <p:txBody>
          <a:bodyPr wrap="square" lIns="0" tIns="0" rIns="0" bIns="0" rtlCol="0"/>
          <a:lstStyle/>
          <a:p>
            <a:endParaRPr/>
          </a:p>
        </p:txBody>
      </p:sp>
      <p:sp>
        <p:nvSpPr>
          <p:cNvPr id="239" name="object 239"/>
          <p:cNvSpPr/>
          <p:nvPr/>
        </p:nvSpPr>
        <p:spPr>
          <a:xfrm>
            <a:off x="5751862" y="5485254"/>
            <a:ext cx="6985" cy="6985"/>
          </a:xfrm>
          <a:custGeom>
            <a:avLst/>
            <a:gdLst/>
            <a:ahLst/>
            <a:cxnLst/>
            <a:rect l="l" t="t" r="r" b="b"/>
            <a:pathLst>
              <a:path w="6985" h="6985">
                <a:moveTo>
                  <a:pt x="0" y="6912"/>
                </a:moveTo>
                <a:lnTo>
                  <a:pt x="6836" y="6912"/>
                </a:lnTo>
                <a:lnTo>
                  <a:pt x="6836" y="0"/>
                </a:lnTo>
                <a:lnTo>
                  <a:pt x="0" y="0"/>
                </a:lnTo>
                <a:lnTo>
                  <a:pt x="0" y="6912"/>
                </a:lnTo>
                <a:close/>
              </a:path>
            </a:pathLst>
          </a:custGeom>
          <a:solidFill>
            <a:srgbClr val="E7E7E7"/>
          </a:solidFill>
        </p:spPr>
        <p:txBody>
          <a:bodyPr wrap="square" lIns="0" tIns="0" rIns="0" bIns="0" rtlCol="0"/>
          <a:lstStyle/>
          <a:p>
            <a:endParaRPr/>
          </a:p>
        </p:txBody>
      </p:sp>
      <p:sp>
        <p:nvSpPr>
          <p:cNvPr id="240" name="object 240"/>
          <p:cNvSpPr/>
          <p:nvPr/>
        </p:nvSpPr>
        <p:spPr>
          <a:xfrm>
            <a:off x="5758699" y="5478480"/>
            <a:ext cx="6985" cy="6985"/>
          </a:xfrm>
          <a:custGeom>
            <a:avLst/>
            <a:gdLst/>
            <a:ahLst/>
            <a:cxnLst/>
            <a:rect l="l" t="t" r="r" b="b"/>
            <a:pathLst>
              <a:path w="6985" h="6985">
                <a:moveTo>
                  <a:pt x="0" y="6838"/>
                </a:moveTo>
                <a:lnTo>
                  <a:pt x="6919" y="6838"/>
                </a:lnTo>
                <a:lnTo>
                  <a:pt x="6919" y="0"/>
                </a:lnTo>
                <a:lnTo>
                  <a:pt x="0" y="0"/>
                </a:lnTo>
                <a:lnTo>
                  <a:pt x="0" y="6838"/>
                </a:lnTo>
                <a:close/>
              </a:path>
            </a:pathLst>
          </a:custGeom>
          <a:solidFill>
            <a:srgbClr val="E7E7E7"/>
          </a:solidFill>
        </p:spPr>
        <p:txBody>
          <a:bodyPr wrap="square" lIns="0" tIns="0" rIns="0" bIns="0" rtlCol="0"/>
          <a:lstStyle/>
          <a:p>
            <a:endParaRPr/>
          </a:p>
        </p:txBody>
      </p:sp>
      <p:sp>
        <p:nvSpPr>
          <p:cNvPr id="241" name="object 241"/>
          <p:cNvSpPr/>
          <p:nvPr/>
        </p:nvSpPr>
        <p:spPr>
          <a:xfrm>
            <a:off x="5701470" y="5554323"/>
            <a:ext cx="6985" cy="6985"/>
          </a:xfrm>
          <a:custGeom>
            <a:avLst/>
            <a:gdLst/>
            <a:ahLst/>
            <a:cxnLst/>
            <a:rect l="l" t="t" r="r" b="b"/>
            <a:pathLst>
              <a:path w="6985" h="6985">
                <a:moveTo>
                  <a:pt x="0" y="6847"/>
                </a:moveTo>
                <a:lnTo>
                  <a:pt x="6910" y="6847"/>
                </a:lnTo>
                <a:lnTo>
                  <a:pt x="6910" y="0"/>
                </a:lnTo>
                <a:lnTo>
                  <a:pt x="0" y="0"/>
                </a:lnTo>
                <a:lnTo>
                  <a:pt x="0" y="6847"/>
                </a:lnTo>
                <a:close/>
              </a:path>
            </a:pathLst>
          </a:custGeom>
          <a:solidFill>
            <a:srgbClr val="E7E7E7"/>
          </a:solidFill>
        </p:spPr>
        <p:txBody>
          <a:bodyPr wrap="square" lIns="0" tIns="0" rIns="0" bIns="0" rtlCol="0"/>
          <a:lstStyle/>
          <a:p>
            <a:endParaRPr/>
          </a:p>
        </p:txBody>
      </p:sp>
      <p:sp>
        <p:nvSpPr>
          <p:cNvPr id="242" name="object 242"/>
          <p:cNvSpPr/>
          <p:nvPr/>
        </p:nvSpPr>
        <p:spPr>
          <a:xfrm>
            <a:off x="5641615" y="5520996"/>
            <a:ext cx="10160" cy="10160"/>
          </a:xfrm>
          <a:custGeom>
            <a:avLst/>
            <a:gdLst/>
            <a:ahLst/>
            <a:cxnLst/>
            <a:rect l="l" t="t" r="r" b="b"/>
            <a:pathLst>
              <a:path w="10160" h="10160">
                <a:moveTo>
                  <a:pt x="0" y="9824"/>
                </a:moveTo>
                <a:lnTo>
                  <a:pt x="9813" y="9824"/>
                </a:lnTo>
                <a:lnTo>
                  <a:pt x="9813" y="0"/>
                </a:lnTo>
                <a:lnTo>
                  <a:pt x="0" y="0"/>
                </a:lnTo>
                <a:lnTo>
                  <a:pt x="0" y="9824"/>
                </a:lnTo>
                <a:close/>
              </a:path>
            </a:pathLst>
          </a:custGeom>
          <a:solidFill>
            <a:srgbClr val="E7E7E7"/>
          </a:solidFill>
        </p:spPr>
        <p:txBody>
          <a:bodyPr wrap="square" lIns="0" tIns="0" rIns="0" bIns="0" rtlCol="0"/>
          <a:lstStyle/>
          <a:p>
            <a:endParaRPr/>
          </a:p>
        </p:txBody>
      </p:sp>
      <p:sp>
        <p:nvSpPr>
          <p:cNvPr id="243" name="object 243"/>
          <p:cNvSpPr/>
          <p:nvPr/>
        </p:nvSpPr>
        <p:spPr>
          <a:xfrm>
            <a:off x="5617493" y="5539042"/>
            <a:ext cx="6350" cy="6350"/>
          </a:xfrm>
          <a:custGeom>
            <a:avLst/>
            <a:gdLst/>
            <a:ahLst/>
            <a:cxnLst/>
            <a:rect l="l" t="t" r="r" b="b"/>
            <a:pathLst>
              <a:path w="6350" h="6350">
                <a:moveTo>
                  <a:pt x="0" y="5806"/>
                </a:moveTo>
                <a:lnTo>
                  <a:pt x="5869" y="5806"/>
                </a:lnTo>
                <a:lnTo>
                  <a:pt x="5869" y="0"/>
                </a:lnTo>
                <a:lnTo>
                  <a:pt x="0" y="0"/>
                </a:lnTo>
                <a:lnTo>
                  <a:pt x="0" y="5806"/>
                </a:lnTo>
                <a:close/>
              </a:path>
            </a:pathLst>
          </a:custGeom>
          <a:solidFill>
            <a:srgbClr val="7ECA28"/>
          </a:solidFill>
        </p:spPr>
        <p:txBody>
          <a:bodyPr wrap="square" lIns="0" tIns="0" rIns="0" bIns="0" rtlCol="0"/>
          <a:lstStyle/>
          <a:p>
            <a:endParaRPr/>
          </a:p>
        </p:txBody>
      </p:sp>
      <p:sp>
        <p:nvSpPr>
          <p:cNvPr id="244" name="object 244"/>
          <p:cNvSpPr/>
          <p:nvPr/>
        </p:nvSpPr>
        <p:spPr>
          <a:xfrm>
            <a:off x="5597304" y="5501918"/>
            <a:ext cx="7620" cy="7620"/>
          </a:xfrm>
          <a:custGeom>
            <a:avLst/>
            <a:gdLst/>
            <a:ahLst/>
            <a:cxnLst/>
            <a:rect l="l" t="t" r="r" b="b"/>
            <a:pathLst>
              <a:path w="7620" h="7620">
                <a:moveTo>
                  <a:pt x="0" y="7050"/>
                </a:moveTo>
                <a:lnTo>
                  <a:pt x="7334" y="7050"/>
                </a:lnTo>
                <a:lnTo>
                  <a:pt x="7334" y="0"/>
                </a:lnTo>
                <a:lnTo>
                  <a:pt x="0" y="0"/>
                </a:lnTo>
                <a:lnTo>
                  <a:pt x="0" y="7050"/>
                </a:lnTo>
                <a:close/>
              </a:path>
            </a:pathLst>
          </a:custGeom>
          <a:solidFill>
            <a:srgbClr val="E7E7E7"/>
          </a:solidFill>
        </p:spPr>
        <p:txBody>
          <a:bodyPr wrap="square" lIns="0" tIns="0" rIns="0" bIns="0" rtlCol="0"/>
          <a:lstStyle/>
          <a:p>
            <a:endParaRPr/>
          </a:p>
        </p:txBody>
      </p:sp>
      <p:sp>
        <p:nvSpPr>
          <p:cNvPr id="245" name="object 245"/>
          <p:cNvSpPr/>
          <p:nvPr/>
        </p:nvSpPr>
        <p:spPr>
          <a:xfrm>
            <a:off x="5680185" y="5579419"/>
            <a:ext cx="5080" cy="5080"/>
          </a:xfrm>
          <a:custGeom>
            <a:avLst/>
            <a:gdLst/>
            <a:ahLst/>
            <a:cxnLst/>
            <a:rect l="l" t="t" r="r" b="b"/>
            <a:pathLst>
              <a:path w="5079" h="5079">
                <a:moveTo>
                  <a:pt x="0" y="4976"/>
                </a:moveTo>
                <a:lnTo>
                  <a:pt x="4975" y="4976"/>
                </a:lnTo>
                <a:lnTo>
                  <a:pt x="4975" y="0"/>
                </a:lnTo>
                <a:lnTo>
                  <a:pt x="0" y="0"/>
                </a:lnTo>
                <a:lnTo>
                  <a:pt x="0" y="4976"/>
                </a:lnTo>
                <a:close/>
              </a:path>
            </a:pathLst>
          </a:custGeom>
          <a:solidFill>
            <a:srgbClr val="251242"/>
          </a:solidFill>
        </p:spPr>
        <p:txBody>
          <a:bodyPr wrap="square" lIns="0" tIns="0" rIns="0" bIns="0" rtlCol="0"/>
          <a:lstStyle/>
          <a:p>
            <a:endParaRPr/>
          </a:p>
        </p:txBody>
      </p:sp>
      <p:sp>
        <p:nvSpPr>
          <p:cNvPr id="246" name="object 246"/>
          <p:cNvSpPr/>
          <p:nvPr/>
        </p:nvSpPr>
        <p:spPr>
          <a:xfrm>
            <a:off x="5604501" y="5497632"/>
            <a:ext cx="4445" cy="4445"/>
          </a:xfrm>
          <a:custGeom>
            <a:avLst/>
            <a:gdLst/>
            <a:ahLst/>
            <a:cxnLst/>
            <a:rect l="l" t="t" r="r" b="b"/>
            <a:pathLst>
              <a:path w="4445" h="4445">
                <a:moveTo>
                  <a:pt x="4349" y="0"/>
                </a:moveTo>
                <a:lnTo>
                  <a:pt x="0" y="0"/>
                </a:lnTo>
                <a:lnTo>
                  <a:pt x="0" y="4285"/>
                </a:lnTo>
                <a:lnTo>
                  <a:pt x="4349" y="4285"/>
                </a:lnTo>
                <a:lnTo>
                  <a:pt x="4349" y="0"/>
                </a:lnTo>
                <a:close/>
              </a:path>
            </a:pathLst>
          </a:custGeom>
          <a:solidFill>
            <a:srgbClr val="46BD77"/>
          </a:solidFill>
        </p:spPr>
        <p:txBody>
          <a:bodyPr wrap="square" lIns="0" tIns="0" rIns="0" bIns="0" rtlCol="0"/>
          <a:lstStyle/>
          <a:p>
            <a:endParaRPr/>
          </a:p>
        </p:txBody>
      </p:sp>
      <p:sp>
        <p:nvSpPr>
          <p:cNvPr id="247" name="object 247"/>
          <p:cNvSpPr/>
          <p:nvPr/>
        </p:nvSpPr>
        <p:spPr>
          <a:xfrm>
            <a:off x="5611550" y="5131882"/>
            <a:ext cx="17145" cy="14604"/>
          </a:xfrm>
          <a:custGeom>
            <a:avLst/>
            <a:gdLst/>
            <a:ahLst/>
            <a:cxnLst/>
            <a:rect l="l" t="t" r="r" b="b"/>
            <a:pathLst>
              <a:path w="17145" h="14604">
                <a:moveTo>
                  <a:pt x="16170" y="0"/>
                </a:moveTo>
                <a:lnTo>
                  <a:pt x="8845" y="0"/>
                </a:lnTo>
                <a:lnTo>
                  <a:pt x="7601" y="5465"/>
                </a:lnTo>
                <a:lnTo>
                  <a:pt x="4422" y="8986"/>
                </a:lnTo>
                <a:lnTo>
                  <a:pt x="4210" y="10995"/>
                </a:lnTo>
                <a:lnTo>
                  <a:pt x="2349" y="12792"/>
                </a:lnTo>
                <a:lnTo>
                  <a:pt x="0" y="13069"/>
                </a:lnTo>
                <a:lnTo>
                  <a:pt x="552" y="13695"/>
                </a:lnTo>
                <a:lnTo>
                  <a:pt x="1861" y="14036"/>
                </a:lnTo>
                <a:lnTo>
                  <a:pt x="6145" y="14036"/>
                </a:lnTo>
                <a:lnTo>
                  <a:pt x="9462" y="13207"/>
                </a:lnTo>
                <a:lnTo>
                  <a:pt x="11185" y="11483"/>
                </a:lnTo>
                <a:lnTo>
                  <a:pt x="8910" y="11483"/>
                </a:lnTo>
                <a:lnTo>
                  <a:pt x="7389" y="9889"/>
                </a:lnTo>
                <a:lnTo>
                  <a:pt x="7251" y="7815"/>
                </a:lnTo>
                <a:lnTo>
                  <a:pt x="16207" y="7815"/>
                </a:lnTo>
                <a:lnTo>
                  <a:pt x="16861" y="7124"/>
                </a:lnTo>
                <a:lnTo>
                  <a:pt x="16935" y="3944"/>
                </a:lnTo>
                <a:lnTo>
                  <a:pt x="16170" y="0"/>
                </a:lnTo>
                <a:close/>
              </a:path>
              <a:path w="17145" h="14604">
                <a:moveTo>
                  <a:pt x="11259" y="11410"/>
                </a:moveTo>
                <a:lnTo>
                  <a:pt x="8910" y="11483"/>
                </a:lnTo>
                <a:lnTo>
                  <a:pt x="11185" y="11483"/>
                </a:lnTo>
                <a:close/>
              </a:path>
              <a:path w="17145" h="14604">
                <a:moveTo>
                  <a:pt x="16207" y="7815"/>
                </a:moveTo>
                <a:lnTo>
                  <a:pt x="7251" y="7815"/>
                </a:lnTo>
                <a:lnTo>
                  <a:pt x="8357" y="9198"/>
                </a:lnTo>
                <a:lnTo>
                  <a:pt x="9674" y="9751"/>
                </a:lnTo>
                <a:lnTo>
                  <a:pt x="14374" y="9751"/>
                </a:lnTo>
                <a:lnTo>
                  <a:pt x="16207" y="7815"/>
                </a:lnTo>
                <a:close/>
              </a:path>
            </a:pathLst>
          </a:custGeom>
          <a:solidFill>
            <a:srgbClr val="33BCE8"/>
          </a:solidFill>
        </p:spPr>
        <p:txBody>
          <a:bodyPr wrap="square" lIns="0" tIns="0" rIns="0" bIns="0" rtlCol="0"/>
          <a:lstStyle/>
          <a:p>
            <a:endParaRPr/>
          </a:p>
        </p:txBody>
      </p:sp>
      <p:sp>
        <p:nvSpPr>
          <p:cNvPr id="248" name="object 248"/>
          <p:cNvSpPr/>
          <p:nvPr/>
        </p:nvSpPr>
        <p:spPr>
          <a:xfrm>
            <a:off x="5482155" y="5122205"/>
            <a:ext cx="119380" cy="33020"/>
          </a:xfrm>
          <a:custGeom>
            <a:avLst/>
            <a:gdLst/>
            <a:ahLst/>
            <a:cxnLst/>
            <a:rect l="l" t="t" r="r" b="b"/>
            <a:pathLst>
              <a:path w="119379" h="33020">
                <a:moveTo>
                  <a:pt x="53045" y="17631"/>
                </a:moveTo>
                <a:lnTo>
                  <a:pt x="50388" y="17631"/>
                </a:lnTo>
                <a:lnTo>
                  <a:pt x="50526" y="20608"/>
                </a:lnTo>
                <a:lnTo>
                  <a:pt x="47001" y="22267"/>
                </a:lnTo>
                <a:lnTo>
                  <a:pt x="43130" y="23926"/>
                </a:lnTo>
                <a:lnTo>
                  <a:pt x="43130" y="30903"/>
                </a:lnTo>
                <a:lnTo>
                  <a:pt x="44858" y="32774"/>
                </a:lnTo>
                <a:lnTo>
                  <a:pt x="51908" y="32774"/>
                </a:lnTo>
                <a:lnTo>
                  <a:pt x="52403" y="30562"/>
                </a:lnTo>
                <a:lnTo>
                  <a:pt x="46240" y="30562"/>
                </a:lnTo>
                <a:lnTo>
                  <a:pt x="45757" y="29594"/>
                </a:lnTo>
                <a:lnTo>
                  <a:pt x="45757" y="25585"/>
                </a:lnTo>
                <a:lnTo>
                  <a:pt x="47899" y="23990"/>
                </a:lnTo>
                <a:lnTo>
                  <a:pt x="50526" y="22608"/>
                </a:lnTo>
                <a:lnTo>
                  <a:pt x="53083" y="22608"/>
                </a:lnTo>
                <a:lnTo>
                  <a:pt x="53083" y="21437"/>
                </a:lnTo>
                <a:lnTo>
                  <a:pt x="54677" y="20746"/>
                </a:lnTo>
                <a:lnTo>
                  <a:pt x="57229" y="19566"/>
                </a:lnTo>
                <a:lnTo>
                  <a:pt x="66598" y="19566"/>
                </a:lnTo>
                <a:lnTo>
                  <a:pt x="66716" y="19354"/>
                </a:lnTo>
                <a:lnTo>
                  <a:pt x="53083" y="19354"/>
                </a:lnTo>
                <a:lnTo>
                  <a:pt x="53045" y="17631"/>
                </a:lnTo>
                <a:close/>
              </a:path>
              <a:path w="119379" h="33020">
                <a:moveTo>
                  <a:pt x="32900" y="20119"/>
                </a:moveTo>
                <a:lnTo>
                  <a:pt x="30273" y="20119"/>
                </a:lnTo>
                <a:lnTo>
                  <a:pt x="29965" y="27520"/>
                </a:lnTo>
                <a:lnTo>
                  <a:pt x="29651" y="31594"/>
                </a:lnTo>
                <a:lnTo>
                  <a:pt x="33730" y="30700"/>
                </a:lnTo>
                <a:lnTo>
                  <a:pt x="33108" y="28691"/>
                </a:lnTo>
                <a:lnTo>
                  <a:pt x="33016" y="27105"/>
                </a:lnTo>
                <a:lnTo>
                  <a:pt x="32900" y="20119"/>
                </a:lnTo>
                <a:close/>
              </a:path>
              <a:path w="119379" h="33020">
                <a:moveTo>
                  <a:pt x="53083" y="22608"/>
                </a:moveTo>
                <a:lnTo>
                  <a:pt x="50526" y="22608"/>
                </a:lnTo>
                <a:lnTo>
                  <a:pt x="50388" y="29105"/>
                </a:lnTo>
                <a:lnTo>
                  <a:pt x="48936" y="30562"/>
                </a:lnTo>
                <a:lnTo>
                  <a:pt x="52403" y="30562"/>
                </a:lnTo>
                <a:lnTo>
                  <a:pt x="53083" y="27520"/>
                </a:lnTo>
                <a:lnTo>
                  <a:pt x="53083" y="22608"/>
                </a:lnTo>
                <a:close/>
              </a:path>
              <a:path w="119379" h="33020">
                <a:moveTo>
                  <a:pt x="13893" y="0"/>
                </a:moveTo>
                <a:lnTo>
                  <a:pt x="4561" y="0"/>
                </a:lnTo>
                <a:lnTo>
                  <a:pt x="0" y="5253"/>
                </a:lnTo>
                <a:lnTo>
                  <a:pt x="54" y="18801"/>
                </a:lnTo>
                <a:lnTo>
                  <a:pt x="3317" y="22681"/>
                </a:lnTo>
                <a:lnTo>
                  <a:pt x="10989" y="22681"/>
                </a:lnTo>
                <a:lnTo>
                  <a:pt x="13823" y="20949"/>
                </a:lnTo>
                <a:lnTo>
                  <a:pt x="14452" y="19916"/>
                </a:lnTo>
                <a:lnTo>
                  <a:pt x="5736" y="19916"/>
                </a:lnTo>
                <a:lnTo>
                  <a:pt x="3574" y="17419"/>
                </a:lnTo>
                <a:lnTo>
                  <a:pt x="3677" y="6571"/>
                </a:lnTo>
                <a:lnTo>
                  <a:pt x="6427" y="2350"/>
                </a:lnTo>
                <a:lnTo>
                  <a:pt x="15009" y="2350"/>
                </a:lnTo>
                <a:lnTo>
                  <a:pt x="13893" y="0"/>
                </a:lnTo>
                <a:close/>
              </a:path>
              <a:path w="119379" h="33020">
                <a:moveTo>
                  <a:pt x="78137" y="10165"/>
                </a:moveTo>
                <a:lnTo>
                  <a:pt x="75409" y="10165"/>
                </a:lnTo>
                <a:lnTo>
                  <a:pt x="74441" y="22681"/>
                </a:lnTo>
                <a:lnTo>
                  <a:pt x="80522" y="22681"/>
                </a:lnTo>
                <a:lnTo>
                  <a:pt x="80726" y="18110"/>
                </a:lnTo>
                <a:lnTo>
                  <a:pt x="77141" y="18110"/>
                </a:lnTo>
                <a:lnTo>
                  <a:pt x="78137" y="10165"/>
                </a:lnTo>
                <a:close/>
              </a:path>
              <a:path w="119379" h="33020">
                <a:moveTo>
                  <a:pt x="18432" y="17769"/>
                </a:moveTo>
                <a:lnTo>
                  <a:pt x="15758" y="17769"/>
                </a:lnTo>
                <a:lnTo>
                  <a:pt x="16242" y="20608"/>
                </a:lnTo>
                <a:lnTo>
                  <a:pt x="18109" y="21778"/>
                </a:lnTo>
                <a:lnTo>
                  <a:pt x="21772" y="21778"/>
                </a:lnTo>
                <a:lnTo>
                  <a:pt x="23224" y="20257"/>
                </a:lnTo>
                <a:lnTo>
                  <a:pt x="23623" y="19290"/>
                </a:lnTo>
                <a:lnTo>
                  <a:pt x="19076" y="19290"/>
                </a:lnTo>
                <a:lnTo>
                  <a:pt x="18543" y="18460"/>
                </a:lnTo>
                <a:lnTo>
                  <a:pt x="18432" y="17769"/>
                </a:lnTo>
                <a:close/>
              </a:path>
              <a:path w="119379" h="33020">
                <a:moveTo>
                  <a:pt x="26079" y="18248"/>
                </a:moveTo>
                <a:lnTo>
                  <a:pt x="24053" y="18248"/>
                </a:lnTo>
                <a:lnTo>
                  <a:pt x="24488" y="20055"/>
                </a:lnTo>
                <a:lnTo>
                  <a:pt x="24587" y="20331"/>
                </a:lnTo>
                <a:lnTo>
                  <a:pt x="25573" y="21778"/>
                </a:lnTo>
                <a:lnTo>
                  <a:pt x="28615" y="21778"/>
                </a:lnTo>
                <a:lnTo>
                  <a:pt x="29582" y="21087"/>
                </a:lnTo>
                <a:lnTo>
                  <a:pt x="30273" y="20119"/>
                </a:lnTo>
                <a:lnTo>
                  <a:pt x="32900" y="20119"/>
                </a:lnTo>
                <a:lnTo>
                  <a:pt x="32900" y="19566"/>
                </a:lnTo>
                <a:lnTo>
                  <a:pt x="26126" y="19566"/>
                </a:lnTo>
                <a:lnTo>
                  <a:pt x="26079" y="18248"/>
                </a:lnTo>
                <a:close/>
              </a:path>
              <a:path w="119379" h="33020">
                <a:moveTo>
                  <a:pt x="40642" y="9953"/>
                </a:moveTo>
                <a:lnTo>
                  <a:pt x="37462" y="9953"/>
                </a:lnTo>
                <a:lnTo>
                  <a:pt x="37760" y="11198"/>
                </a:lnTo>
                <a:lnTo>
                  <a:pt x="37860" y="14728"/>
                </a:lnTo>
                <a:lnTo>
                  <a:pt x="37734" y="15834"/>
                </a:lnTo>
                <a:lnTo>
                  <a:pt x="37531" y="16589"/>
                </a:lnTo>
                <a:lnTo>
                  <a:pt x="33522" y="19151"/>
                </a:lnTo>
                <a:lnTo>
                  <a:pt x="33522" y="21714"/>
                </a:lnTo>
                <a:lnTo>
                  <a:pt x="34352" y="21778"/>
                </a:lnTo>
                <a:lnTo>
                  <a:pt x="36771" y="21778"/>
                </a:lnTo>
                <a:lnTo>
                  <a:pt x="38844" y="20119"/>
                </a:lnTo>
                <a:lnTo>
                  <a:pt x="40019" y="16866"/>
                </a:lnTo>
                <a:lnTo>
                  <a:pt x="42024" y="15557"/>
                </a:lnTo>
                <a:lnTo>
                  <a:pt x="42922" y="14589"/>
                </a:lnTo>
                <a:lnTo>
                  <a:pt x="45681" y="14589"/>
                </a:lnTo>
                <a:lnTo>
                  <a:pt x="45673" y="14451"/>
                </a:lnTo>
                <a:lnTo>
                  <a:pt x="40573" y="14451"/>
                </a:lnTo>
                <a:lnTo>
                  <a:pt x="40642" y="9953"/>
                </a:lnTo>
                <a:close/>
              </a:path>
              <a:path w="119379" h="33020">
                <a:moveTo>
                  <a:pt x="66598" y="19566"/>
                </a:moveTo>
                <a:lnTo>
                  <a:pt x="57229" y="19566"/>
                </a:lnTo>
                <a:lnTo>
                  <a:pt x="58409" y="21022"/>
                </a:lnTo>
                <a:lnTo>
                  <a:pt x="59993" y="21778"/>
                </a:lnTo>
                <a:lnTo>
                  <a:pt x="64140" y="21778"/>
                </a:lnTo>
                <a:lnTo>
                  <a:pt x="66213" y="20257"/>
                </a:lnTo>
                <a:lnTo>
                  <a:pt x="66598" y="19566"/>
                </a:lnTo>
                <a:close/>
              </a:path>
              <a:path w="119379" h="33020">
                <a:moveTo>
                  <a:pt x="72317" y="17281"/>
                </a:moveTo>
                <a:lnTo>
                  <a:pt x="67872" y="17281"/>
                </a:lnTo>
                <a:lnTo>
                  <a:pt x="68122" y="19354"/>
                </a:lnTo>
                <a:lnTo>
                  <a:pt x="68774" y="21778"/>
                </a:lnTo>
                <a:lnTo>
                  <a:pt x="72156" y="21778"/>
                </a:lnTo>
                <a:lnTo>
                  <a:pt x="72317" y="17281"/>
                </a:lnTo>
                <a:close/>
              </a:path>
              <a:path w="119379" h="33020">
                <a:moveTo>
                  <a:pt x="85863" y="11686"/>
                </a:moveTo>
                <a:lnTo>
                  <a:pt x="83360" y="11686"/>
                </a:lnTo>
                <a:lnTo>
                  <a:pt x="83425" y="21778"/>
                </a:lnTo>
                <a:lnTo>
                  <a:pt x="87986" y="21778"/>
                </a:lnTo>
                <a:lnTo>
                  <a:pt x="89644" y="19916"/>
                </a:lnTo>
                <a:lnTo>
                  <a:pt x="89896" y="18663"/>
                </a:lnTo>
                <a:lnTo>
                  <a:pt x="85636" y="18663"/>
                </a:lnTo>
                <a:lnTo>
                  <a:pt x="85863" y="11686"/>
                </a:lnTo>
                <a:close/>
              </a:path>
              <a:path w="119379" h="33020">
                <a:moveTo>
                  <a:pt x="92621" y="16110"/>
                </a:moveTo>
                <a:lnTo>
                  <a:pt x="90409" y="16110"/>
                </a:lnTo>
                <a:lnTo>
                  <a:pt x="90824" y="18663"/>
                </a:lnTo>
                <a:lnTo>
                  <a:pt x="92068" y="21778"/>
                </a:lnTo>
                <a:lnTo>
                  <a:pt x="96002" y="21778"/>
                </a:lnTo>
                <a:lnTo>
                  <a:pt x="97255" y="20257"/>
                </a:lnTo>
                <a:lnTo>
                  <a:pt x="97776" y="19216"/>
                </a:lnTo>
                <a:lnTo>
                  <a:pt x="92621" y="19216"/>
                </a:lnTo>
                <a:lnTo>
                  <a:pt x="92621" y="16110"/>
                </a:lnTo>
                <a:close/>
              </a:path>
              <a:path w="119379" h="33020">
                <a:moveTo>
                  <a:pt x="102967" y="18322"/>
                </a:moveTo>
                <a:lnTo>
                  <a:pt x="98223" y="18322"/>
                </a:lnTo>
                <a:lnTo>
                  <a:pt x="98489" y="20257"/>
                </a:lnTo>
                <a:lnTo>
                  <a:pt x="99052" y="21778"/>
                </a:lnTo>
                <a:lnTo>
                  <a:pt x="102986" y="21778"/>
                </a:lnTo>
                <a:lnTo>
                  <a:pt x="102967" y="18322"/>
                </a:lnTo>
                <a:close/>
              </a:path>
              <a:path w="119379" h="33020">
                <a:moveTo>
                  <a:pt x="109668" y="10230"/>
                </a:moveTo>
                <a:lnTo>
                  <a:pt x="106930" y="10230"/>
                </a:lnTo>
                <a:lnTo>
                  <a:pt x="106377" y="21778"/>
                </a:lnTo>
                <a:lnTo>
                  <a:pt x="112597" y="21778"/>
                </a:lnTo>
                <a:lnTo>
                  <a:pt x="113457" y="20119"/>
                </a:lnTo>
                <a:lnTo>
                  <a:pt x="113745" y="19151"/>
                </a:lnTo>
                <a:lnTo>
                  <a:pt x="108930" y="19151"/>
                </a:lnTo>
                <a:lnTo>
                  <a:pt x="109668" y="10230"/>
                </a:lnTo>
                <a:close/>
              </a:path>
              <a:path w="119379" h="33020">
                <a:moveTo>
                  <a:pt x="115715" y="17834"/>
                </a:moveTo>
                <a:lnTo>
                  <a:pt x="114117" y="17834"/>
                </a:lnTo>
                <a:lnTo>
                  <a:pt x="114855" y="20949"/>
                </a:lnTo>
                <a:lnTo>
                  <a:pt x="114979" y="21087"/>
                </a:lnTo>
                <a:lnTo>
                  <a:pt x="116117" y="21778"/>
                </a:lnTo>
                <a:lnTo>
                  <a:pt x="117775" y="21778"/>
                </a:lnTo>
                <a:lnTo>
                  <a:pt x="118263" y="21502"/>
                </a:lnTo>
                <a:lnTo>
                  <a:pt x="118881" y="20746"/>
                </a:lnTo>
                <a:lnTo>
                  <a:pt x="115637" y="19290"/>
                </a:lnTo>
                <a:lnTo>
                  <a:pt x="115715" y="17834"/>
                </a:lnTo>
                <a:close/>
              </a:path>
              <a:path w="119379" h="33020">
                <a:moveTo>
                  <a:pt x="45681" y="14589"/>
                </a:moveTo>
                <a:lnTo>
                  <a:pt x="42922" y="14589"/>
                </a:lnTo>
                <a:lnTo>
                  <a:pt x="43021" y="18940"/>
                </a:lnTo>
                <a:lnTo>
                  <a:pt x="44305" y="20746"/>
                </a:lnTo>
                <a:lnTo>
                  <a:pt x="48175" y="20746"/>
                </a:lnTo>
                <a:lnTo>
                  <a:pt x="49489" y="19492"/>
                </a:lnTo>
                <a:lnTo>
                  <a:pt x="50156" y="18110"/>
                </a:lnTo>
                <a:lnTo>
                  <a:pt x="46310" y="18110"/>
                </a:lnTo>
                <a:lnTo>
                  <a:pt x="45826" y="17004"/>
                </a:lnTo>
                <a:lnTo>
                  <a:pt x="45681" y="14589"/>
                </a:lnTo>
                <a:close/>
              </a:path>
              <a:path w="119379" h="33020">
                <a:moveTo>
                  <a:pt x="25228" y="7880"/>
                </a:moveTo>
                <a:lnTo>
                  <a:pt x="20113" y="7880"/>
                </a:lnTo>
                <a:lnTo>
                  <a:pt x="17488" y="10304"/>
                </a:lnTo>
                <a:lnTo>
                  <a:pt x="17362" y="10506"/>
                </a:lnTo>
                <a:lnTo>
                  <a:pt x="15067" y="15972"/>
                </a:lnTo>
                <a:lnTo>
                  <a:pt x="12994" y="19916"/>
                </a:lnTo>
                <a:lnTo>
                  <a:pt x="14452" y="19916"/>
                </a:lnTo>
                <a:lnTo>
                  <a:pt x="15758" y="17769"/>
                </a:lnTo>
                <a:lnTo>
                  <a:pt x="18432" y="17769"/>
                </a:lnTo>
                <a:lnTo>
                  <a:pt x="18247" y="13133"/>
                </a:lnTo>
                <a:lnTo>
                  <a:pt x="21080" y="9059"/>
                </a:lnTo>
                <a:lnTo>
                  <a:pt x="26064" y="9059"/>
                </a:lnTo>
                <a:lnTo>
                  <a:pt x="26126" y="8921"/>
                </a:lnTo>
                <a:lnTo>
                  <a:pt x="25228" y="7880"/>
                </a:lnTo>
                <a:close/>
              </a:path>
              <a:path w="119379" h="33020">
                <a:moveTo>
                  <a:pt x="32486" y="7880"/>
                </a:moveTo>
                <a:lnTo>
                  <a:pt x="31173" y="7880"/>
                </a:lnTo>
                <a:lnTo>
                  <a:pt x="30619" y="7953"/>
                </a:lnTo>
                <a:lnTo>
                  <a:pt x="29997" y="8294"/>
                </a:lnTo>
                <a:lnTo>
                  <a:pt x="30189" y="8921"/>
                </a:lnTo>
                <a:lnTo>
                  <a:pt x="30302" y="9612"/>
                </a:lnTo>
                <a:lnTo>
                  <a:pt x="30412" y="17419"/>
                </a:lnTo>
                <a:lnTo>
                  <a:pt x="29029" y="19566"/>
                </a:lnTo>
                <a:lnTo>
                  <a:pt x="32900" y="19566"/>
                </a:lnTo>
                <a:lnTo>
                  <a:pt x="32900" y="12930"/>
                </a:lnTo>
                <a:lnTo>
                  <a:pt x="34248" y="10165"/>
                </a:lnTo>
                <a:lnTo>
                  <a:pt x="32969" y="10165"/>
                </a:lnTo>
                <a:lnTo>
                  <a:pt x="32762" y="8571"/>
                </a:lnTo>
                <a:lnTo>
                  <a:pt x="32486" y="7880"/>
                </a:lnTo>
                <a:close/>
              </a:path>
              <a:path w="119379" h="33020">
                <a:moveTo>
                  <a:pt x="62970" y="7539"/>
                </a:moveTo>
                <a:lnTo>
                  <a:pt x="57303" y="7539"/>
                </a:lnTo>
                <a:lnTo>
                  <a:pt x="55688" y="10645"/>
                </a:lnTo>
                <a:lnTo>
                  <a:pt x="55580" y="15834"/>
                </a:lnTo>
                <a:lnTo>
                  <a:pt x="55783" y="16801"/>
                </a:lnTo>
                <a:lnTo>
                  <a:pt x="56262" y="17907"/>
                </a:lnTo>
                <a:lnTo>
                  <a:pt x="55156" y="18460"/>
                </a:lnTo>
                <a:lnTo>
                  <a:pt x="53083" y="19354"/>
                </a:lnTo>
                <a:lnTo>
                  <a:pt x="60961" y="19354"/>
                </a:lnTo>
                <a:lnTo>
                  <a:pt x="60205" y="18940"/>
                </a:lnTo>
                <a:lnTo>
                  <a:pt x="59579" y="18248"/>
                </a:lnTo>
                <a:lnTo>
                  <a:pt x="62336" y="16525"/>
                </a:lnTo>
                <a:lnTo>
                  <a:pt x="58685" y="16525"/>
                </a:lnTo>
                <a:lnTo>
                  <a:pt x="57693" y="13760"/>
                </a:lnTo>
                <a:lnTo>
                  <a:pt x="57776" y="12930"/>
                </a:lnTo>
                <a:lnTo>
                  <a:pt x="58409" y="9612"/>
                </a:lnTo>
                <a:lnTo>
                  <a:pt x="64416" y="9612"/>
                </a:lnTo>
                <a:lnTo>
                  <a:pt x="64352" y="8921"/>
                </a:lnTo>
                <a:lnTo>
                  <a:pt x="62970" y="7539"/>
                </a:lnTo>
                <a:close/>
              </a:path>
              <a:path w="119379" h="33020">
                <a:moveTo>
                  <a:pt x="69668" y="6294"/>
                </a:moveTo>
                <a:lnTo>
                  <a:pt x="67733" y="7465"/>
                </a:lnTo>
                <a:lnTo>
                  <a:pt x="68109" y="12239"/>
                </a:lnTo>
                <a:lnTo>
                  <a:pt x="68234" y="15557"/>
                </a:lnTo>
                <a:lnTo>
                  <a:pt x="64766" y="19354"/>
                </a:lnTo>
                <a:lnTo>
                  <a:pt x="66716" y="19354"/>
                </a:lnTo>
                <a:lnTo>
                  <a:pt x="67872" y="17281"/>
                </a:lnTo>
                <a:lnTo>
                  <a:pt x="72317" y="17281"/>
                </a:lnTo>
                <a:lnTo>
                  <a:pt x="72378" y="15557"/>
                </a:lnTo>
                <a:lnTo>
                  <a:pt x="69945" y="15557"/>
                </a:lnTo>
                <a:lnTo>
                  <a:pt x="70044" y="11824"/>
                </a:lnTo>
                <a:lnTo>
                  <a:pt x="70887" y="8294"/>
                </a:lnTo>
                <a:lnTo>
                  <a:pt x="70817" y="7677"/>
                </a:lnTo>
                <a:lnTo>
                  <a:pt x="69668" y="6294"/>
                </a:lnTo>
                <a:close/>
              </a:path>
              <a:path w="119379" h="33020">
                <a:moveTo>
                  <a:pt x="25366" y="11336"/>
                </a:moveTo>
                <a:lnTo>
                  <a:pt x="23638" y="11336"/>
                </a:lnTo>
                <a:lnTo>
                  <a:pt x="23485" y="13345"/>
                </a:lnTo>
                <a:lnTo>
                  <a:pt x="22801" y="16589"/>
                </a:lnTo>
                <a:lnTo>
                  <a:pt x="22677" y="17004"/>
                </a:lnTo>
                <a:lnTo>
                  <a:pt x="21633" y="19290"/>
                </a:lnTo>
                <a:lnTo>
                  <a:pt x="23623" y="19290"/>
                </a:lnTo>
                <a:lnTo>
                  <a:pt x="24053" y="18248"/>
                </a:lnTo>
                <a:lnTo>
                  <a:pt x="26079" y="18248"/>
                </a:lnTo>
                <a:lnTo>
                  <a:pt x="25953" y="14728"/>
                </a:lnTo>
                <a:lnTo>
                  <a:pt x="25781" y="11474"/>
                </a:lnTo>
                <a:lnTo>
                  <a:pt x="25366" y="11336"/>
                </a:lnTo>
                <a:close/>
              </a:path>
              <a:path w="119379" h="33020">
                <a:moveTo>
                  <a:pt x="100020" y="6912"/>
                </a:moveTo>
                <a:lnTo>
                  <a:pt x="98040" y="7677"/>
                </a:lnTo>
                <a:lnTo>
                  <a:pt x="97939" y="15142"/>
                </a:lnTo>
                <a:lnTo>
                  <a:pt x="96555" y="19216"/>
                </a:lnTo>
                <a:lnTo>
                  <a:pt x="97776" y="19216"/>
                </a:lnTo>
                <a:lnTo>
                  <a:pt x="98223" y="18322"/>
                </a:lnTo>
                <a:lnTo>
                  <a:pt x="102967" y="18322"/>
                </a:lnTo>
                <a:lnTo>
                  <a:pt x="102957" y="16589"/>
                </a:lnTo>
                <a:lnTo>
                  <a:pt x="100158" y="16589"/>
                </a:lnTo>
                <a:lnTo>
                  <a:pt x="100252" y="11198"/>
                </a:lnTo>
                <a:lnTo>
                  <a:pt x="100133" y="7465"/>
                </a:lnTo>
                <a:lnTo>
                  <a:pt x="100020" y="6912"/>
                </a:lnTo>
                <a:close/>
              </a:path>
              <a:path w="119379" h="33020">
                <a:moveTo>
                  <a:pt x="115840" y="7880"/>
                </a:moveTo>
                <a:lnTo>
                  <a:pt x="114182" y="7880"/>
                </a:lnTo>
                <a:lnTo>
                  <a:pt x="113491" y="8092"/>
                </a:lnTo>
                <a:lnTo>
                  <a:pt x="113744" y="11686"/>
                </a:lnTo>
                <a:lnTo>
                  <a:pt x="113870" y="14101"/>
                </a:lnTo>
                <a:lnTo>
                  <a:pt x="112597" y="19151"/>
                </a:lnTo>
                <a:lnTo>
                  <a:pt x="113745" y="19151"/>
                </a:lnTo>
                <a:lnTo>
                  <a:pt x="114117" y="17834"/>
                </a:lnTo>
                <a:lnTo>
                  <a:pt x="115715" y="17834"/>
                </a:lnTo>
                <a:lnTo>
                  <a:pt x="115840" y="15483"/>
                </a:lnTo>
                <a:lnTo>
                  <a:pt x="115840" y="7880"/>
                </a:lnTo>
                <a:close/>
              </a:path>
              <a:path w="119379" h="33020">
                <a:moveTo>
                  <a:pt x="92759" y="6847"/>
                </a:moveTo>
                <a:lnTo>
                  <a:pt x="90197" y="7677"/>
                </a:lnTo>
                <a:lnTo>
                  <a:pt x="89851" y="12930"/>
                </a:lnTo>
                <a:lnTo>
                  <a:pt x="89736" y="14101"/>
                </a:lnTo>
                <a:lnTo>
                  <a:pt x="88198" y="18663"/>
                </a:lnTo>
                <a:lnTo>
                  <a:pt x="89896" y="18663"/>
                </a:lnTo>
                <a:lnTo>
                  <a:pt x="90409" y="16110"/>
                </a:lnTo>
                <a:lnTo>
                  <a:pt x="92621" y="16110"/>
                </a:lnTo>
                <a:lnTo>
                  <a:pt x="92759" y="6847"/>
                </a:lnTo>
                <a:close/>
              </a:path>
              <a:path w="119379" h="33020">
                <a:moveTo>
                  <a:pt x="50664" y="9815"/>
                </a:moveTo>
                <a:lnTo>
                  <a:pt x="50111" y="10645"/>
                </a:lnTo>
                <a:lnTo>
                  <a:pt x="49730" y="15419"/>
                </a:lnTo>
                <a:lnTo>
                  <a:pt x="49617" y="15972"/>
                </a:lnTo>
                <a:lnTo>
                  <a:pt x="48383" y="18110"/>
                </a:lnTo>
                <a:lnTo>
                  <a:pt x="50156" y="18110"/>
                </a:lnTo>
                <a:lnTo>
                  <a:pt x="50388" y="17631"/>
                </a:lnTo>
                <a:lnTo>
                  <a:pt x="53045" y="17631"/>
                </a:lnTo>
                <a:lnTo>
                  <a:pt x="52919" y="15483"/>
                </a:lnTo>
                <a:lnTo>
                  <a:pt x="52392" y="10304"/>
                </a:lnTo>
                <a:lnTo>
                  <a:pt x="50664" y="9815"/>
                </a:lnTo>
                <a:close/>
              </a:path>
              <a:path w="119379" h="33020">
                <a:moveTo>
                  <a:pt x="85986" y="7880"/>
                </a:moveTo>
                <a:lnTo>
                  <a:pt x="79767" y="7880"/>
                </a:lnTo>
                <a:lnTo>
                  <a:pt x="78864" y="18110"/>
                </a:lnTo>
                <a:lnTo>
                  <a:pt x="80726" y="18110"/>
                </a:lnTo>
                <a:lnTo>
                  <a:pt x="81011" y="11686"/>
                </a:lnTo>
                <a:lnTo>
                  <a:pt x="85863" y="11686"/>
                </a:lnTo>
                <a:lnTo>
                  <a:pt x="85986" y="7880"/>
                </a:lnTo>
                <a:close/>
              </a:path>
              <a:path w="119379" h="33020">
                <a:moveTo>
                  <a:pt x="109971" y="6571"/>
                </a:moveTo>
                <a:lnTo>
                  <a:pt x="101466" y="6571"/>
                </a:lnTo>
                <a:lnTo>
                  <a:pt x="100913" y="16589"/>
                </a:lnTo>
                <a:lnTo>
                  <a:pt x="102957" y="16589"/>
                </a:lnTo>
                <a:lnTo>
                  <a:pt x="102922" y="10230"/>
                </a:lnTo>
                <a:lnTo>
                  <a:pt x="109668" y="10230"/>
                </a:lnTo>
                <a:lnTo>
                  <a:pt x="109971" y="6571"/>
                </a:lnTo>
                <a:close/>
              </a:path>
              <a:path w="119379" h="33020">
                <a:moveTo>
                  <a:pt x="64416" y="9612"/>
                </a:moveTo>
                <a:lnTo>
                  <a:pt x="61376" y="9612"/>
                </a:lnTo>
                <a:lnTo>
                  <a:pt x="61718" y="10165"/>
                </a:lnTo>
                <a:lnTo>
                  <a:pt x="61841" y="11336"/>
                </a:lnTo>
                <a:lnTo>
                  <a:pt x="61726" y="13345"/>
                </a:lnTo>
                <a:lnTo>
                  <a:pt x="60620" y="15142"/>
                </a:lnTo>
                <a:lnTo>
                  <a:pt x="58685" y="16525"/>
                </a:lnTo>
                <a:lnTo>
                  <a:pt x="62336" y="16525"/>
                </a:lnTo>
                <a:lnTo>
                  <a:pt x="62896" y="16175"/>
                </a:lnTo>
                <a:lnTo>
                  <a:pt x="64416" y="13760"/>
                </a:lnTo>
                <a:lnTo>
                  <a:pt x="64416" y="9612"/>
                </a:lnTo>
                <a:close/>
              </a:path>
              <a:path w="119379" h="33020">
                <a:moveTo>
                  <a:pt x="78588" y="6571"/>
                </a:moveTo>
                <a:lnTo>
                  <a:pt x="72092" y="6571"/>
                </a:lnTo>
                <a:lnTo>
                  <a:pt x="70352" y="14451"/>
                </a:lnTo>
                <a:lnTo>
                  <a:pt x="70157" y="15557"/>
                </a:lnTo>
                <a:lnTo>
                  <a:pt x="72378" y="15557"/>
                </a:lnTo>
                <a:lnTo>
                  <a:pt x="72571" y="10165"/>
                </a:lnTo>
                <a:lnTo>
                  <a:pt x="78137" y="10165"/>
                </a:lnTo>
                <a:lnTo>
                  <a:pt x="78588" y="6571"/>
                </a:lnTo>
                <a:close/>
              </a:path>
              <a:path w="119379" h="33020">
                <a:moveTo>
                  <a:pt x="52392" y="7124"/>
                </a:moveTo>
                <a:lnTo>
                  <a:pt x="47553" y="7124"/>
                </a:lnTo>
                <a:lnTo>
                  <a:pt x="45619" y="8709"/>
                </a:lnTo>
                <a:lnTo>
                  <a:pt x="43199" y="12239"/>
                </a:lnTo>
                <a:lnTo>
                  <a:pt x="41863" y="13345"/>
                </a:lnTo>
                <a:lnTo>
                  <a:pt x="40573" y="14451"/>
                </a:lnTo>
                <a:lnTo>
                  <a:pt x="45673" y="14451"/>
                </a:lnTo>
                <a:lnTo>
                  <a:pt x="45411" y="10092"/>
                </a:lnTo>
                <a:lnTo>
                  <a:pt x="50042" y="8433"/>
                </a:lnTo>
                <a:lnTo>
                  <a:pt x="52794" y="8433"/>
                </a:lnTo>
                <a:lnTo>
                  <a:pt x="52918" y="8092"/>
                </a:lnTo>
                <a:lnTo>
                  <a:pt x="52859" y="7880"/>
                </a:lnTo>
                <a:lnTo>
                  <a:pt x="52392" y="7124"/>
                </a:lnTo>
                <a:close/>
              </a:path>
              <a:path w="119379" h="33020">
                <a:moveTo>
                  <a:pt x="26064" y="9059"/>
                </a:moveTo>
                <a:lnTo>
                  <a:pt x="21080" y="9059"/>
                </a:lnTo>
                <a:lnTo>
                  <a:pt x="25504" y="10304"/>
                </a:lnTo>
                <a:lnTo>
                  <a:pt x="26064" y="9059"/>
                </a:lnTo>
                <a:close/>
              </a:path>
              <a:path w="119379" h="33020">
                <a:moveTo>
                  <a:pt x="38430" y="7539"/>
                </a:moveTo>
                <a:lnTo>
                  <a:pt x="34628" y="7539"/>
                </a:lnTo>
                <a:lnTo>
                  <a:pt x="33591" y="8571"/>
                </a:lnTo>
                <a:lnTo>
                  <a:pt x="32969" y="10165"/>
                </a:lnTo>
                <a:lnTo>
                  <a:pt x="34248" y="10165"/>
                </a:lnTo>
                <a:lnTo>
                  <a:pt x="34352" y="9953"/>
                </a:lnTo>
                <a:lnTo>
                  <a:pt x="40642" y="9953"/>
                </a:lnTo>
                <a:lnTo>
                  <a:pt x="40642" y="9336"/>
                </a:lnTo>
                <a:lnTo>
                  <a:pt x="38430" y="7539"/>
                </a:lnTo>
                <a:close/>
              </a:path>
              <a:path w="119379" h="33020">
                <a:moveTo>
                  <a:pt x="52794" y="8433"/>
                </a:moveTo>
                <a:lnTo>
                  <a:pt x="50042" y="8433"/>
                </a:lnTo>
                <a:lnTo>
                  <a:pt x="52466" y="9336"/>
                </a:lnTo>
                <a:lnTo>
                  <a:pt x="52794" y="8433"/>
                </a:lnTo>
                <a:close/>
              </a:path>
              <a:path w="119379" h="33020">
                <a:moveTo>
                  <a:pt x="15009" y="2350"/>
                </a:moveTo>
                <a:lnTo>
                  <a:pt x="11818" y="2350"/>
                </a:lnTo>
                <a:lnTo>
                  <a:pt x="12371" y="4562"/>
                </a:lnTo>
                <a:lnTo>
                  <a:pt x="12248" y="6709"/>
                </a:lnTo>
                <a:lnTo>
                  <a:pt x="13271" y="7603"/>
                </a:lnTo>
                <a:lnTo>
                  <a:pt x="15206" y="6709"/>
                </a:lnTo>
                <a:lnTo>
                  <a:pt x="15206" y="2764"/>
                </a:lnTo>
                <a:lnTo>
                  <a:pt x="15009" y="2350"/>
                </a:lnTo>
                <a:close/>
              </a:path>
            </a:pathLst>
          </a:custGeom>
          <a:solidFill>
            <a:srgbClr val="127ABB"/>
          </a:solidFill>
        </p:spPr>
        <p:txBody>
          <a:bodyPr wrap="square" lIns="0" tIns="0" rIns="0" bIns="0" rtlCol="0"/>
          <a:lstStyle/>
          <a:p>
            <a:endParaRPr/>
          </a:p>
        </p:txBody>
      </p:sp>
      <p:sp>
        <p:nvSpPr>
          <p:cNvPr id="249" name="object 249"/>
          <p:cNvSpPr/>
          <p:nvPr/>
        </p:nvSpPr>
        <p:spPr>
          <a:xfrm>
            <a:off x="5571938" y="5123864"/>
            <a:ext cx="3810" cy="3810"/>
          </a:xfrm>
          <a:custGeom>
            <a:avLst/>
            <a:gdLst/>
            <a:ahLst/>
            <a:cxnLst/>
            <a:rect l="l" t="t" r="r" b="b"/>
            <a:pathLst>
              <a:path w="3810" h="3810">
                <a:moveTo>
                  <a:pt x="2626" y="0"/>
                </a:moveTo>
                <a:lnTo>
                  <a:pt x="1658" y="73"/>
                </a:lnTo>
                <a:lnTo>
                  <a:pt x="764" y="73"/>
                </a:lnTo>
                <a:lnTo>
                  <a:pt x="0" y="903"/>
                </a:lnTo>
                <a:lnTo>
                  <a:pt x="0" y="2838"/>
                </a:lnTo>
                <a:lnTo>
                  <a:pt x="691" y="3594"/>
                </a:lnTo>
                <a:lnTo>
                  <a:pt x="1658" y="3594"/>
                </a:lnTo>
                <a:lnTo>
                  <a:pt x="2626" y="3529"/>
                </a:lnTo>
                <a:lnTo>
                  <a:pt x="3148" y="2838"/>
                </a:lnTo>
                <a:lnTo>
                  <a:pt x="3252" y="764"/>
                </a:lnTo>
                <a:lnTo>
                  <a:pt x="2626" y="0"/>
                </a:lnTo>
                <a:close/>
              </a:path>
            </a:pathLst>
          </a:custGeom>
          <a:solidFill>
            <a:srgbClr val="127ABB"/>
          </a:solidFill>
        </p:spPr>
        <p:txBody>
          <a:bodyPr wrap="square" lIns="0" tIns="0" rIns="0" bIns="0" rtlCol="0"/>
          <a:lstStyle/>
          <a:p>
            <a:endParaRPr/>
          </a:p>
        </p:txBody>
      </p:sp>
      <p:sp>
        <p:nvSpPr>
          <p:cNvPr id="250" name="object 250"/>
          <p:cNvSpPr/>
          <p:nvPr/>
        </p:nvSpPr>
        <p:spPr>
          <a:xfrm>
            <a:off x="5595305" y="5124555"/>
            <a:ext cx="3175" cy="3810"/>
          </a:xfrm>
          <a:custGeom>
            <a:avLst/>
            <a:gdLst/>
            <a:ahLst/>
            <a:cxnLst/>
            <a:rect l="l" t="t" r="r" b="b"/>
            <a:pathLst>
              <a:path w="3175" h="3810">
                <a:moveTo>
                  <a:pt x="2414" y="0"/>
                </a:moveTo>
                <a:lnTo>
                  <a:pt x="1520" y="0"/>
                </a:lnTo>
                <a:lnTo>
                  <a:pt x="691" y="73"/>
                </a:lnTo>
                <a:lnTo>
                  <a:pt x="126" y="691"/>
                </a:lnTo>
                <a:lnTo>
                  <a:pt x="0" y="2700"/>
                </a:lnTo>
                <a:lnTo>
                  <a:pt x="691" y="3391"/>
                </a:lnTo>
                <a:lnTo>
                  <a:pt x="1520" y="3391"/>
                </a:lnTo>
                <a:lnTo>
                  <a:pt x="2414" y="3317"/>
                </a:lnTo>
                <a:lnTo>
                  <a:pt x="2978" y="2700"/>
                </a:lnTo>
                <a:lnTo>
                  <a:pt x="3105" y="691"/>
                </a:lnTo>
                <a:lnTo>
                  <a:pt x="2414" y="0"/>
                </a:lnTo>
                <a:close/>
              </a:path>
            </a:pathLst>
          </a:custGeom>
          <a:solidFill>
            <a:srgbClr val="127ABB"/>
          </a:solidFill>
        </p:spPr>
        <p:txBody>
          <a:bodyPr wrap="square" lIns="0" tIns="0" rIns="0" bIns="0" rtlCol="0"/>
          <a:lstStyle/>
          <a:p>
            <a:endParaRPr/>
          </a:p>
        </p:txBody>
      </p:sp>
      <p:sp>
        <p:nvSpPr>
          <p:cNvPr id="251" name="object 251"/>
          <p:cNvSpPr/>
          <p:nvPr/>
        </p:nvSpPr>
        <p:spPr>
          <a:xfrm>
            <a:off x="5602768" y="5121790"/>
            <a:ext cx="26034" cy="22225"/>
          </a:xfrm>
          <a:custGeom>
            <a:avLst/>
            <a:gdLst/>
            <a:ahLst/>
            <a:cxnLst/>
            <a:rect l="l" t="t" r="r" b="b"/>
            <a:pathLst>
              <a:path w="26035" h="22225">
                <a:moveTo>
                  <a:pt x="13756" y="0"/>
                </a:moveTo>
                <a:lnTo>
                  <a:pt x="10642" y="3732"/>
                </a:lnTo>
                <a:lnTo>
                  <a:pt x="0" y="6571"/>
                </a:lnTo>
                <a:lnTo>
                  <a:pt x="0" y="17493"/>
                </a:lnTo>
                <a:lnTo>
                  <a:pt x="1934" y="20331"/>
                </a:lnTo>
                <a:lnTo>
                  <a:pt x="4699" y="21502"/>
                </a:lnTo>
                <a:lnTo>
                  <a:pt x="6357" y="22128"/>
                </a:lnTo>
                <a:lnTo>
                  <a:pt x="7951" y="22128"/>
                </a:lnTo>
                <a:lnTo>
                  <a:pt x="11056" y="21087"/>
                </a:lnTo>
                <a:lnTo>
                  <a:pt x="12236" y="20184"/>
                </a:lnTo>
                <a:lnTo>
                  <a:pt x="13203" y="19078"/>
                </a:lnTo>
                <a:lnTo>
                  <a:pt x="16382" y="15557"/>
                </a:lnTo>
                <a:lnTo>
                  <a:pt x="17626" y="10092"/>
                </a:lnTo>
                <a:lnTo>
                  <a:pt x="25539" y="10092"/>
                </a:lnTo>
                <a:lnTo>
                  <a:pt x="23919" y="7050"/>
                </a:lnTo>
                <a:lnTo>
                  <a:pt x="21220" y="4635"/>
                </a:lnTo>
                <a:lnTo>
                  <a:pt x="19211" y="2764"/>
                </a:lnTo>
                <a:lnTo>
                  <a:pt x="16861" y="1317"/>
                </a:lnTo>
                <a:lnTo>
                  <a:pt x="14374" y="276"/>
                </a:lnTo>
                <a:lnTo>
                  <a:pt x="14171" y="211"/>
                </a:lnTo>
                <a:lnTo>
                  <a:pt x="13959" y="73"/>
                </a:lnTo>
                <a:lnTo>
                  <a:pt x="13756" y="0"/>
                </a:lnTo>
                <a:close/>
              </a:path>
              <a:path w="26035" h="22225">
                <a:moveTo>
                  <a:pt x="25539" y="10092"/>
                </a:moveTo>
                <a:lnTo>
                  <a:pt x="24951" y="10092"/>
                </a:lnTo>
                <a:lnTo>
                  <a:pt x="25639" y="13639"/>
                </a:lnTo>
                <a:lnTo>
                  <a:pt x="25539" y="10092"/>
                </a:lnTo>
                <a:close/>
              </a:path>
            </a:pathLst>
          </a:custGeom>
          <a:solidFill>
            <a:srgbClr val="127ABB"/>
          </a:solidFill>
        </p:spPr>
        <p:txBody>
          <a:bodyPr wrap="square" lIns="0" tIns="0" rIns="0" bIns="0" rtlCol="0"/>
          <a:lstStyle/>
          <a:p>
            <a:endParaRPr/>
          </a:p>
        </p:txBody>
      </p:sp>
      <p:sp>
        <p:nvSpPr>
          <p:cNvPr id="252" name="object 252"/>
          <p:cNvSpPr/>
          <p:nvPr/>
        </p:nvSpPr>
        <p:spPr>
          <a:xfrm>
            <a:off x="5538629" y="5152002"/>
            <a:ext cx="5080" cy="6350"/>
          </a:xfrm>
          <a:custGeom>
            <a:avLst/>
            <a:gdLst/>
            <a:ahLst/>
            <a:cxnLst/>
            <a:rect l="l" t="t" r="r" b="b"/>
            <a:pathLst>
              <a:path w="5079" h="6350">
                <a:moveTo>
                  <a:pt x="2414" y="0"/>
                </a:moveTo>
                <a:lnTo>
                  <a:pt x="829" y="0"/>
                </a:lnTo>
                <a:lnTo>
                  <a:pt x="552" y="73"/>
                </a:lnTo>
                <a:lnTo>
                  <a:pt x="276" y="73"/>
                </a:lnTo>
                <a:lnTo>
                  <a:pt x="0" y="138"/>
                </a:lnTo>
                <a:lnTo>
                  <a:pt x="0" y="5806"/>
                </a:lnTo>
                <a:lnTo>
                  <a:pt x="1031" y="5806"/>
                </a:lnTo>
                <a:lnTo>
                  <a:pt x="1031" y="3668"/>
                </a:lnTo>
                <a:lnTo>
                  <a:pt x="3178" y="3668"/>
                </a:lnTo>
                <a:lnTo>
                  <a:pt x="2966" y="3456"/>
                </a:lnTo>
                <a:lnTo>
                  <a:pt x="3796" y="3179"/>
                </a:lnTo>
                <a:lnTo>
                  <a:pt x="4058" y="2764"/>
                </a:lnTo>
                <a:lnTo>
                  <a:pt x="1031" y="2764"/>
                </a:lnTo>
                <a:lnTo>
                  <a:pt x="1031" y="967"/>
                </a:lnTo>
                <a:lnTo>
                  <a:pt x="1243" y="903"/>
                </a:lnTo>
                <a:lnTo>
                  <a:pt x="3995" y="903"/>
                </a:lnTo>
                <a:lnTo>
                  <a:pt x="3934" y="764"/>
                </a:lnTo>
                <a:lnTo>
                  <a:pt x="3040" y="138"/>
                </a:lnTo>
                <a:lnTo>
                  <a:pt x="2414" y="0"/>
                </a:lnTo>
                <a:close/>
              </a:path>
              <a:path w="5079" h="6350">
                <a:moveTo>
                  <a:pt x="3178" y="3668"/>
                </a:moveTo>
                <a:lnTo>
                  <a:pt x="1934" y="3668"/>
                </a:lnTo>
                <a:lnTo>
                  <a:pt x="2137" y="3944"/>
                </a:lnTo>
                <a:lnTo>
                  <a:pt x="2275" y="4082"/>
                </a:lnTo>
                <a:lnTo>
                  <a:pt x="2764" y="4838"/>
                </a:lnTo>
                <a:lnTo>
                  <a:pt x="2902" y="4976"/>
                </a:lnTo>
                <a:lnTo>
                  <a:pt x="2966" y="5188"/>
                </a:lnTo>
                <a:lnTo>
                  <a:pt x="3243" y="5603"/>
                </a:lnTo>
                <a:lnTo>
                  <a:pt x="3317" y="5806"/>
                </a:lnTo>
                <a:lnTo>
                  <a:pt x="4487" y="5806"/>
                </a:lnTo>
                <a:lnTo>
                  <a:pt x="4422" y="5603"/>
                </a:lnTo>
                <a:lnTo>
                  <a:pt x="4146" y="5188"/>
                </a:lnTo>
                <a:lnTo>
                  <a:pt x="4040" y="4976"/>
                </a:lnTo>
                <a:lnTo>
                  <a:pt x="3934" y="4700"/>
                </a:lnTo>
                <a:lnTo>
                  <a:pt x="3381" y="3870"/>
                </a:lnTo>
                <a:lnTo>
                  <a:pt x="3178" y="3668"/>
                </a:lnTo>
                <a:close/>
              </a:path>
              <a:path w="5079" h="6350">
                <a:moveTo>
                  <a:pt x="3995" y="903"/>
                </a:moveTo>
                <a:lnTo>
                  <a:pt x="2073" y="903"/>
                </a:lnTo>
                <a:lnTo>
                  <a:pt x="2211" y="967"/>
                </a:lnTo>
                <a:lnTo>
                  <a:pt x="2414" y="967"/>
                </a:lnTo>
                <a:lnTo>
                  <a:pt x="2828" y="1179"/>
                </a:lnTo>
                <a:lnTo>
                  <a:pt x="2966" y="2285"/>
                </a:lnTo>
                <a:lnTo>
                  <a:pt x="2902" y="2423"/>
                </a:lnTo>
                <a:lnTo>
                  <a:pt x="2690" y="2626"/>
                </a:lnTo>
                <a:lnTo>
                  <a:pt x="2552" y="2700"/>
                </a:lnTo>
                <a:lnTo>
                  <a:pt x="2349" y="2700"/>
                </a:lnTo>
                <a:lnTo>
                  <a:pt x="2211" y="2764"/>
                </a:lnTo>
                <a:lnTo>
                  <a:pt x="4058" y="2764"/>
                </a:lnTo>
                <a:lnTo>
                  <a:pt x="3995" y="903"/>
                </a:lnTo>
                <a:close/>
              </a:path>
            </a:pathLst>
          </a:custGeom>
          <a:solidFill>
            <a:srgbClr val="127ABB"/>
          </a:solidFill>
        </p:spPr>
        <p:txBody>
          <a:bodyPr wrap="square" lIns="0" tIns="0" rIns="0" bIns="0" rtlCol="0"/>
          <a:lstStyle/>
          <a:p>
            <a:endParaRPr/>
          </a:p>
        </p:txBody>
      </p:sp>
      <p:sp>
        <p:nvSpPr>
          <p:cNvPr id="253" name="object 253"/>
          <p:cNvSpPr/>
          <p:nvPr/>
        </p:nvSpPr>
        <p:spPr>
          <a:xfrm>
            <a:off x="5543946" y="5152076"/>
            <a:ext cx="4445" cy="6350"/>
          </a:xfrm>
          <a:custGeom>
            <a:avLst/>
            <a:gdLst/>
            <a:ahLst/>
            <a:cxnLst/>
            <a:rect l="l" t="t" r="r" b="b"/>
            <a:pathLst>
              <a:path w="4445" h="6350">
                <a:moveTo>
                  <a:pt x="3667" y="0"/>
                </a:moveTo>
                <a:lnTo>
                  <a:pt x="0" y="0"/>
                </a:lnTo>
                <a:lnTo>
                  <a:pt x="0" y="5732"/>
                </a:lnTo>
                <a:lnTo>
                  <a:pt x="3869" y="5732"/>
                </a:lnTo>
                <a:lnTo>
                  <a:pt x="3869" y="4838"/>
                </a:lnTo>
                <a:lnTo>
                  <a:pt x="1041" y="4838"/>
                </a:lnTo>
                <a:lnTo>
                  <a:pt x="1041" y="3179"/>
                </a:lnTo>
                <a:lnTo>
                  <a:pt x="3390" y="3179"/>
                </a:lnTo>
                <a:lnTo>
                  <a:pt x="3390" y="2276"/>
                </a:lnTo>
                <a:lnTo>
                  <a:pt x="1041" y="2276"/>
                </a:lnTo>
                <a:lnTo>
                  <a:pt x="1041" y="894"/>
                </a:lnTo>
                <a:lnTo>
                  <a:pt x="3667" y="894"/>
                </a:lnTo>
                <a:lnTo>
                  <a:pt x="3667" y="0"/>
                </a:lnTo>
                <a:close/>
              </a:path>
            </a:pathLst>
          </a:custGeom>
          <a:solidFill>
            <a:srgbClr val="127ABB"/>
          </a:solidFill>
        </p:spPr>
        <p:txBody>
          <a:bodyPr wrap="square" lIns="0" tIns="0" rIns="0" bIns="0" rtlCol="0"/>
          <a:lstStyle/>
          <a:p>
            <a:endParaRPr/>
          </a:p>
        </p:txBody>
      </p:sp>
      <p:sp>
        <p:nvSpPr>
          <p:cNvPr id="254" name="object 254"/>
          <p:cNvSpPr/>
          <p:nvPr/>
        </p:nvSpPr>
        <p:spPr>
          <a:xfrm>
            <a:off x="5548369" y="5151938"/>
            <a:ext cx="4445" cy="6350"/>
          </a:xfrm>
          <a:custGeom>
            <a:avLst/>
            <a:gdLst/>
            <a:ahLst/>
            <a:cxnLst/>
            <a:rect l="l" t="t" r="r" b="b"/>
            <a:pathLst>
              <a:path w="4445" h="6350">
                <a:moveTo>
                  <a:pt x="276" y="4700"/>
                </a:moveTo>
                <a:lnTo>
                  <a:pt x="0" y="5594"/>
                </a:lnTo>
                <a:lnTo>
                  <a:pt x="138" y="5668"/>
                </a:lnTo>
                <a:lnTo>
                  <a:pt x="276" y="5732"/>
                </a:lnTo>
                <a:lnTo>
                  <a:pt x="626" y="5870"/>
                </a:lnTo>
                <a:lnTo>
                  <a:pt x="829" y="5870"/>
                </a:lnTo>
                <a:lnTo>
                  <a:pt x="967" y="5944"/>
                </a:lnTo>
                <a:lnTo>
                  <a:pt x="1179" y="5944"/>
                </a:lnTo>
                <a:lnTo>
                  <a:pt x="1382" y="6009"/>
                </a:lnTo>
                <a:lnTo>
                  <a:pt x="2561" y="6009"/>
                </a:lnTo>
                <a:lnTo>
                  <a:pt x="3040" y="5870"/>
                </a:lnTo>
                <a:lnTo>
                  <a:pt x="3455" y="5594"/>
                </a:lnTo>
                <a:lnTo>
                  <a:pt x="3805" y="5317"/>
                </a:lnTo>
                <a:lnTo>
                  <a:pt x="3904" y="5115"/>
                </a:lnTo>
                <a:lnTo>
                  <a:pt x="1455" y="5115"/>
                </a:lnTo>
                <a:lnTo>
                  <a:pt x="626" y="4903"/>
                </a:lnTo>
                <a:lnTo>
                  <a:pt x="276" y="4700"/>
                </a:lnTo>
                <a:close/>
              </a:path>
              <a:path w="4445" h="6350">
                <a:moveTo>
                  <a:pt x="2487" y="0"/>
                </a:moveTo>
                <a:lnTo>
                  <a:pt x="1520" y="0"/>
                </a:lnTo>
                <a:lnTo>
                  <a:pt x="1041" y="138"/>
                </a:lnTo>
                <a:lnTo>
                  <a:pt x="626" y="414"/>
                </a:lnTo>
                <a:lnTo>
                  <a:pt x="276" y="755"/>
                </a:lnTo>
                <a:lnTo>
                  <a:pt x="179" y="2211"/>
                </a:lnTo>
                <a:lnTo>
                  <a:pt x="414" y="2626"/>
                </a:lnTo>
                <a:lnTo>
                  <a:pt x="691" y="2903"/>
                </a:lnTo>
                <a:lnTo>
                  <a:pt x="902" y="2967"/>
                </a:lnTo>
                <a:lnTo>
                  <a:pt x="1041" y="3105"/>
                </a:lnTo>
                <a:lnTo>
                  <a:pt x="1870" y="3382"/>
                </a:lnTo>
                <a:lnTo>
                  <a:pt x="2487" y="3658"/>
                </a:lnTo>
                <a:lnTo>
                  <a:pt x="2699" y="3797"/>
                </a:lnTo>
                <a:lnTo>
                  <a:pt x="2764" y="3935"/>
                </a:lnTo>
                <a:lnTo>
                  <a:pt x="2837" y="4764"/>
                </a:lnTo>
                <a:lnTo>
                  <a:pt x="2626" y="4903"/>
                </a:lnTo>
                <a:lnTo>
                  <a:pt x="2487" y="5041"/>
                </a:lnTo>
                <a:lnTo>
                  <a:pt x="2211" y="5115"/>
                </a:lnTo>
                <a:lnTo>
                  <a:pt x="3904" y="5115"/>
                </a:lnTo>
                <a:lnTo>
                  <a:pt x="3805" y="3456"/>
                </a:lnTo>
                <a:lnTo>
                  <a:pt x="3252" y="2903"/>
                </a:lnTo>
                <a:lnTo>
                  <a:pt x="2976" y="2829"/>
                </a:lnTo>
                <a:lnTo>
                  <a:pt x="2764" y="2691"/>
                </a:lnTo>
                <a:lnTo>
                  <a:pt x="2561" y="2626"/>
                </a:lnTo>
                <a:lnTo>
                  <a:pt x="2285" y="2488"/>
                </a:lnTo>
                <a:lnTo>
                  <a:pt x="2146" y="2488"/>
                </a:lnTo>
                <a:lnTo>
                  <a:pt x="1594" y="2211"/>
                </a:lnTo>
                <a:lnTo>
                  <a:pt x="1382" y="2073"/>
                </a:lnTo>
                <a:lnTo>
                  <a:pt x="1317" y="1861"/>
                </a:lnTo>
                <a:lnTo>
                  <a:pt x="1179" y="1723"/>
                </a:lnTo>
                <a:lnTo>
                  <a:pt x="1269" y="1244"/>
                </a:lnTo>
                <a:lnTo>
                  <a:pt x="1455" y="1105"/>
                </a:lnTo>
                <a:lnTo>
                  <a:pt x="1594" y="967"/>
                </a:lnTo>
                <a:lnTo>
                  <a:pt x="1796" y="894"/>
                </a:lnTo>
                <a:lnTo>
                  <a:pt x="3534" y="894"/>
                </a:lnTo>
                <a:lnTo>
                  <a:pt x="3731" y="414"/>
                </a:lnTo>
                <a:lnTo>
                  <a:pt x="3593" y="276"/>
                </a:lnTo>
                <a:lnTo>
                  <a:pt x="3390" y="202"/>
                </a:lnTo>
                <a:lnTo>
                  <a:pt x="2487" y="0"/>
                </a:lnTo>
                <a:close/>
              </a:path>
              <a:path w="4445" h="6350">
                <a:moveTo>
                  <a:pt x="3534" y="894"/>
                </a:moveTo>
                <a:lnTo>
                  <a:pt x="2561" y="894"/>
                </a:lnTo>
                <a:lnTo>
                  <a:pt x="2764" y="967"/>
                </a:lnTo>
                <a:lnTo>
                  <a:pt x="3040" y="1032"/>
                </a:lnTo>
                <a:lnTo>
                  <a:pt x="3252" y="1105"/>
                </a:lnTo>
                <a:lnTo>
                  <a:pt x="3390" y="1244"/>
                </a:lnTo>
                <a:lnTo>
                  <a:pt x="3534" y="894"/>
                </a:lnTo>
                <a:close/>
              </a:path>
            </a:pathLst>
          </a:custGeom>
          <a:solidFill>
            <a:srgbClr val="127ABB"/>
          </a:solidFill>
        </p:spPr>
        <p:txBody>
          <a:bodyPr wrap="square" lIns="0" tIns="0" rIns="0" bIns="0" rtlCol="0"/>
          <a:lstStyle/>
          <a:p>
            <a:endParaRPr/>
          </a:p>
        </p:txBody>
      </p:sp>
      <p:sp>
        <p:nvSpPr>
          <p:cNvPr id="255" name="object 255"/>
          <p:cNvSpPr/>
          <p:nvPr/>
        </p:nvSpPr>
        <p:spPr>
          <a:xfrm>
            <a:off x="5553280" y="5152076"/>
            <a:ext cx="4445" cy="6350"/>
          </a:xfrm>
          <a:custGeom>
            <a:avLst/>
            <a:gdLst/>
            <a:ahLst/>
            <a:cxnLst/>
            <a:rect l="l" t="t" r="r" b="b"/>
            <a:pathLst>
              <a:path w="4445" h="6350">
                <a:moveTo>
                  <a:pt x="3667" y="0"/>
                </a:moveTo>
                <a:lnTo>
                  <a:pt x="0" y="0"/>
                </a:lnTo>
                <a:lnTo>
                  <a:pt x="0" y="5732"/>
                </a:lnTo>
                <a:lnTo>
                  <a:pt x="3869" y="5732"/>
                </a:lnTo>
                <a:lnTo>
                  <a:pt x="3869" y="4838"/>
                </a:lnTo>
                <a:lnTo>
                  <a:pt x="1031" y="4838"/>
                </a:lnTo>
                <a:lnTo>
                  <a:pt x="1031" y="3179"/>
                </a:lnTo>
                <a:lnTo>
                  <a:pt x="3390" y="3179"/>
                </a:lnTo>
                <a:lnTo>
                  <a:pt x="3390" y="2276"/>
                </a:lnTo>
                <a:lnTo>
                  <a:pt x="1031" y="2276"/>
                </a:lnTo>
                <a:lnTo>
                  <a:pt x="1031" y="894"/>
                </a:lnTo>
                <a:lnTo>
                  <a:pt x="3667" y="894"/>
                </a:lnTo>
                <a:lnTo>
                  <a:pt x="3667" y="0"/>
                </a:lnTo>
                <a:close/>
              </a:path>
            </a:pathLst>
          </a:custGeom>
          <a:solidFill>
            <a:srgbClr val="127ABB"/>
          </a:solidFill>
        </p:spPr>
        <p:txBody>
          <a:bodyPr wrap="square" lIns="0" tIns="0" rIns="0" bIns="0" rtlCol="0"/>
          <a:lstStyle/>
          <a:p>
            <a:endParaRPr/>
          </a:p>
        </p:txBody>
      </p:sp>
      <p:sp>
        <p:nvSpPr>
          <p:cNvPr id="256" name="object 256"/>
          <p:cNvSpPr/>
          <p:nvPr/>
        </p:nvSpPr>
        <p:spPr>
          <a:xfrm>
            <a:off x="5557638" y="5152076"/>
            <a:ext cx="5715" cy="6350"/>
          </a:xfrm>
          <a:custGeom>
            <a:avLst/>
            <a:gdLst/>
            <a:ahLst/>
            <a:cxnLst/>
            <a:rect l="l" t="t" r="r" b="b"/>
            <a:pathLst>
              <a:path w="5714" h="6350">
                <a:moveTo>
                  <a:pt x="3243" y="0"/>
                </a:moveTo>
                <a:lnTo>
                  <a:pt x="2275" y="0"/>
                </a:lnTo>
                <a:lnTo>
                  <a:pt x="2073" y="414"/>
                </a:lnTo>
                <a:lnTo>
                  <a:pt x="1934" y="829"/>
                </a:lnTo>
                <a:lnTo>
                  <a:pt x="1520" y="1658"/>
                </a:lnTo>
                <a:lnTo>
                  <a:pt x="1354" y="2138"/>
                </a:lnTo>
                <a:lnTo>
                  <a:pt x="967" y="3041"/>
                </a:lnTo>
                <a:lnTo>
                  <a:pt x="829" y="3520"/>
                </a:lnTo>
                <a:lnTo>
                  <a:pt x="617" y="4009"/>
                </a:lnTo>
                <a:lnTo>
                  <a:pt x="0" y="5732"/>
                </a:lnTo>
                <a:lnTo>
                  <a:pt x="1105" y="5732"/>
                </a:lnTo>
                <a:lnTo>
                  <a:pt x="1308" y="5041"/>
                </a:lnTo>
                <a:lnTo>
                  <a:pt x="1520" y="4423"/>
                </a:lnTo>
                <a:lnTo>
                  <a:pt x="5131" y="4423"/>
                </a:lnTo>
                <a:lnTo>
                  <a:pt x="4766" y="3520"/>
                </a:lnTo>
                <a:lnTo>
                  <a:pt x="1796" y="3520"/>
                </a:lnTo>
                <a:lnTo>
                  <a:pt x="1999" y="3041"/>
                </a:lnTo>
                <a:lnTo>
                  <a:pt x="2169" y="2552"/>
                </a:lnTo>
                <a:lnTo>
                  <a:pt x="2764" y="1105"/>
                </a:lnTo>
                <a:lnTo>
                  <a:pt x="3800" y="1105"/>
                </a:lnTo>
                <a:lnTo>
                  <a:pt x="3243" y="0"/>
                </a:lnTo>
                <a:close/>
              </a:path>
              <a:path w="5714" h="6350">
                <a:moveTo>
                  <a:pt x="5131" y="4423"/>
                </a:moveTo>
                <a:lnTo>
                  <a:pt x="4008" y="4423"/>
                </a:lnTo>
                <a:lnTo>
                  <a:pt x="4349" y="5529"/>
                </a:lnTo>
                <a:lnTo>
                  <a:pt x="4487" y="5732"/>
                </a:lnTo>
                <a:lnTo>
                  <a:pt x="5592" y="5732"/>
                </a:lnTo>
                <a:lnTo>
                  <a:pt x="5362" y="5041"/>
                </a:lnTo>
                <a:lnTo>
                  <a:pt x="5131" y="4423"/>
                </a:lnTo>
                <a:close/>
              </a:path>
              <a:path w="5714" h="6350">
                <a:moveTo>
                  <a:pt x="3800" y="1105"/>
                </a:moveTo>
                <a:lnTo>
                  <a:pt x="2764" y="1105"/>
                </a:lnTo>
                <a:lnTo>
                  <a:pt x="2902" y="1382"/>
                </a:lnTo>
                <a:lnTo>
                  <a:pt x="3381" y="2626"/>
                </a:lnTo>
                <a:lnTo>
                  <a:pt x="3519" y="3041"/>
                </a:lnTo>
                <a:lnTo>
                  <a:pt x="3731" y="3520"/>
                </a:lnTo>
                <a:lnTo>
                  <a:pt x="4766" y="3520"/>
                </a:lnTo>
                <a:lnTo>
                  <a:pt x="4560" y="3041"/>
                </a:lnTo>
                <a:lnTo>
                  <a:pt x="4422" y="2552"/>
                </a:lnTo>
                <a:lnTo>
                  <a:pt x="4008" y="1658"/>
                </a:lnTo>
                <a:lnTo>
                  <a:pt x="3800" y="1105"/>
                </a:lnTo>
                <a:close/>
              </a:path>
            </a:pathLst>
          </a:custGeom>
          <a:solidFill>
            <a:srgbClr val="127ABB"/>
          </a:solidFill>
        </p:spPr>
        <p:txBody>
          <a:bodyPr wrap="square" lIns="0" tIns="0" rIns="0" bIns="0" rtlCol="0"/>
          <a:lstStyle/>
          <a:p>
            <a:endParaRPr/>
          </a:p>
        </p:txBody>
      </p:sp>
      <p:sp>
        <p:nvSpPr>
          <p:cNvPr id="257" name="object 257"/>
          <p:cNvSpPr/>
          <p:nvPr/>
        </p:nvSpPr>
        <p:spPr>
          <a:xfrm>
            <a:off x="5563922" y="5152002"/>
            <a:ext cx="5080" cy="6350"/>
          </a:xfrm>
          <a:custGeom>
            <a:avLst/>
            <a:gdLst/>
            <a:ahLst/>
            <a:cxnLst/>
            <a:rect l="l" t="t" r="r" b="b"/>
            <a:pathLst>
              <a:path w="5079" h="6350">
                <a:moveTo>
                  <a:pt x="2423" y="0"/>
                </a:moveTo>
                <a:lnTo>
                  <a:pt x="829" y="0"/>
                </a:lnTo>
                <a:lnTo>
                  <a:pt x="552" y="73"/>
                </a:lnTo>
                <a:lnTo>
                  <a:pt x="276" y="73"/>
                </a:lnTo>
                <a:lnTo>
                  <a:pt x="0" y="138"/>
                </a:lnTo>
                <a:lnTo>
                  <a:pt x="0" y="5806"/>
                </a:lnTo>
                <a:lnTo>
                  <a:pt x="1041" y="5806"/>
                </a:lnTo>
                <a:lnTo>
                  <a:pt x="1041" y="3668"/>
                </a:lnTo>
                <a:lnTo>
                  <a:pt x="3188" y="3668"/>
                </a:lnTo>
                <a:lnTo>
                  <a:pt x="3040" y="3456"/>
                </a:lnTo>
                <a:lnTo>
                  <a:pt x="3805" y="3179"/>
                </a:lnTo>
                <a:lnTo>
                  <a:pt x="4061" y="2764"/>
                </a:lnTo>
                <a:lnTo>
                  <a:pt x="1041" y="2764"/>
                </a:lnTo>
                <a:lnTo>
                  <a:pt x="1041" y="967"/>
                </a:lnTo>
                <a:lnTo>
                  <a:pt x="1243" y="903"/>
                </a:lnTo>
                <a:lnTo>
                  <a:pt x="4002" y="903"/>
                </a:lnTo>
                <a:lnTo>
                  <a:pt x="3943" y="764"/>
                </a:lnTo>
                <a:lnTo>
                  <a:pt x="3040" y="138"/>
                </a:lnTo>
                <a:lnTo>
                  <a:pt x="2423" y="0"/>
                </a:lnTo>
                <a:close/>
              </a:path>
              <a:path w="5079" h="6350">
                <a:moveTo>
                  <a:pt x="3188" y="3668"/>
                </a:moveTo>
                <a:lnTo>
                  <a:pt x="1934" y="3668"/>
                </a:lnTo>
                <a:lnTo>
                  <a:pt x="2146" y="3944"/>
                </a:lnTo>
                <a:lnTo>
                  <a:pt x="2423" y="4221"/>
                </a:lnTo>
                <a:lnTo>
                  <a:pt x="2487" y="4423"/>
                </a:lnTo>
                <a:lnTo>
                  <a:pt x="2764" y="4838"/>
                </a:lnTo>
                <a:lnTo>
                  <a:pt x="2902" y="4976"/>
                </a:lnTo>
                <a:lnTo>
                  <a:pt x="2976" y="5188"/>
                </a:lnTo>
                <a:lnTo>
                  <a:pt x="3252" y="5603"/>
                </a:lnTo>
                <a:lnTo>
                  <a:pt x="3317" y="5806"/>
                </a:lnTo>
                <a:lnTo>
                  <a:pt x="4496" y="5806"/>
                </a:lnTo>
                <a:lnTo>
                  <a:pt x="4422" y="5603"/>
                </a:lnTo>
                <a:lnTo>
                  <a:pt x="4146" y="5188"/>
                </a:lnTo>
                <a:lnTo>
                  <a:pt x="4032" y="4838"/>
                </a:lnTo>
                <a:lnTo>
                  <a:pt x="3390" y="3870"/>
                </a:lnTo>
                <a:lnTo>
                  <a:pt x="3188" y="3668"/>
                </a:lnTo>
                <a:close/>
              </a:path>
              <a:path w="5079" h="6350">
                <a:moveTo>
                  <a:pt x="4002" y="903"/>
                </a:moveTo>
                <a:lnTo>
                  <a:pt x="2073" y="903"/>
                </a:lnTo>
                <a:lnTo>
                  <a:pt x="2211" y="967"/>
                </a:lnTo>
                <a:lnTo>
                  <a:pt x="2423" y="967"/>
                </a:lnTo>
                <a:lnTo>
                  <a:pt x="2837" y="1179"/>
                </a:lnTo>
                <a:lnTo>
                  <a:pt x="2976" y="2285"/>
                </a:lnTo>
                <a:lnTo>
                  <a:pt x="2837" y="2562"/>
                </a:lnTo>
                <a:lnTo>
                  <a:pt x="2561" y="2700"/>
                </a:lnTo>
                <a:lnTo>
                  <a:pt x="2423" y="2700"/>
                </a:lnTo>
                <a:lnTo>
                  <a:pt x="2211" y="2764"/>
                </a:lnTo>
                <a:lnTo>
                  <a:pt x="4061" y="2764"/>
                </a:lnTo>
                <a:lnTo>
                  <a:pt x="4002" y="903"/>
                </a:lnTo>
                <a:close/>
              </a:path>
            </a:pathLst>
          </a:custGeom>
          <a:solidFill>
            <a:srgbClr val="127ABB"/>
          </a:solidFill>
        </p:spPr>
        <p:txBody>
          <a:bodyPr wrap="square" lIns="0" tIns="0" rIns="0" bIns="0" rtlCol="0"/>
          <a:lstStyle/>
          <a:p>
            <a:endParaRPr/>
          </a:p>
        </p:txBody>
      </p:sp>
      <p:sp>
        <p:nvSpPr>
          <p:cNvPr id="258" name="object 258"/>
          <p:cNvSpPr/>
          <p:nvPr/>
        </p:nvSpPr>
        <p:spPr>
          <a:xfrm>
            <a:off x="5569090" y="5151938"/>
            <a:ext cx="4445" cy="6350"/>
          </a:xfrm>
          <a:custGeom>
            <a:avLst/>
            <a:gdLst/>
            <a:ahLst/>
            <a:cxnLst/>
            <a:rect l="l" t="t" r="r" b="b"/>
            <a:pathLst>
              <a:path w="4445" h="6350">
                <a:moveTo>
                  <a:pt x="3124" y="0"/>
                </a:moveTo>
                <a:lnTo>
                  <a:pt x="2295" y="0"/>
                </a:lnTo>
                <a:lnTo>
                  <a:pt x="1954" y="64"/>
                </a:lnTo>
                <a:lnTo>
                  <a:pt x="0" y="4073"/>
                </a:lnTo>
                <a:lnTo>
                  <a:pt x="83" y="4285"/>
                </a:lnTo>
                <a:lnTo>
                  <a:pt x="200" y="4700"/>
                </a:lnTo>
                <a:lnTo>
                  <a:pt x="2230" y="6009"/>
                </a:lnTo>
                <a:lnTo>
                  <a:pt x="3059" y="6009"/>
                </a:lnTo>
                <a:lnTo>
                  <a:pt x="3262" y="5944"/>
                </a:lnTo>
                <a:lnTo>
                  <a:pt x="3474" y="5944"/>
                </a:lnTo>
                <a:lnTo>
                  <a:pt x="3612" y="5870"/>
                </a:lnTo>
                <a:lnTo>
                  <a:pt x="3815" y="5870"/>
                </a:lnTo>
                <a:lnTo>
                  <a:pt x="3953" y="5806"/>
                </a:lnTo>
                <a:lnTo>
                  <a:pt x="4091" y="5806"/>
                </a:lnTo>
                <a:lnTo>
                  <a:pt x="4303" y="5668"/>
                </a:lnTo>
                <a:lnTo>
                  <a:pt x="4395" y="5456"/>
                </a:lnTo>
                <a:lnTo>
                  <a:pt x="4257" y="5041"/>
                </a:lnTo>
                <a:lnTo>
                  <a:pt x="2156" y="5041"/>
                </a:lnTo>
                <a:lnTo>
                  <a:pt x="1954" y="4903"/>
                </a:lnTo>
                <a:lnTo>
                  <a:pt x="986" y="2350"/>
                </a:lnTo>
                <a:lnTo>
                  <a:pt x="1124" y="2073"/>
                </a:lnTo>
                <a:lnTo>
                  <a:pt x="1189" y="1797"/>
                </a:lnTo>
                <a:lnTo>
                  <a:pt x="1327" y="1585"/>
                </a:lnTo>
                <a:lnTo>
                  <a:pt x="1509" y="1382"/>
                </a:lnTo>
                <a:lnTo>
                  <a:pt x="1603" y="1244"/>
                </a:lnTo>
                <a:lnTo>
                  <a:pt x="1815" y="1170"/>
                </a:lnTo>
                <a:lnTo>
                  <a:pt x="2018" y="1032"/>
                </a:lnTo>
                <a:lnTo>
                  <a:pt x="2506" y="894"/>
                </a:lnTo>
                <a:lnTo>
                  <a:pt x="4208" y="894"/>
                </a:lnTo>
                <a:lnTo>
                  <a:pt x="4322" y="552"/>
                </a:lnTo>
                <a:lnTo>
                  <a:pt x="4230" y="341"/>
                </a:lnTo>
                <a:lnTo>
                  <a:pt x="3953" y="202"/>
                </a:lnTo>
                <a:lnTo>
                  <a:pt x="3815" y="202"/>
                </a:lnTo>
                <a:lnTo>
                  <a:pt x="3538" y="64"/>
                </a:lnTo>
                <a:lnTo>
                  <a:pt x="3336" y="64"/>
                </a:lnTo>
                <a:lnTo>
                  <a:pt x="3124" y="0"/>
                </a:lnTo>
                <a:close/>
              </a:path>
              <a:path w="4445" h="6350">
                <a:moveTo>
                  <a:pt x="4165" y="4764"/>
                </a:moveTo>
                <a:lnTo>
                  <a:pt x="3889" y="4903"/>
                </a:lnTo>
                <a:lnTo>
                  <a:pt x="3400" y="5041"/>
                </a:lnTo>
                <a:lnTo>
                  <a:pt x="4257" y="5041"/>
                </a:lnTo>
                <a:lnTo>
                  <a:pt x="4165" y="4764"/>
                </a:lnTo>
                <a:close/>
              </a:path>
              <a:path w="4445" h="6350">
                <a:moveTo>
                  <a:pt x="4208" y="894"/>
                </a:moveTo>
                <a:lnTo>
                  <a:pt x="2986" y="894"/>
                </a:lnTo>
                <a:lnTo>
                  <a:pt x="3538" y="1032"/>
                </a:lnTo>
                <a:lnTo>
                  <a:pt x="3953" y="1170"/>
                </a:lnTo>
                <a:lnTo>
                  <a:pt x="4091" y="1244"/>
                </a:lnTo>
                <a:lnTo>
                  <a:pt x="4208" y="894"/>
                </a:lnTo>
                <a:close/>
              </a:path>
            </a:pathLst>
          </a:custGeom>
          <a:solidFill>
            <a:srgbClr val="127ABB"/>
          </a:solidFill>
        </p:spPr>
        <p:txBody>
          <a:bodyPr wrap="square" lIns="0" tIns="0" rIns="0" bIns="0" rtlCol="0"/>
          <a:lstStyle/>
          <a:p>
            <a:endParaRPr/>
          </a:p>
        </p:txBody>
      </p:sp>
      <p:sp>
        <p:nvSpPr>
          <p:cNvPr id="259" name="object 259"/>
          <p:cNvSpPr/>
          <p:nvPr/>
        </p:nvSpPr>
        <p:spPr>
          <a:xfrm>
            <a:off x="5574500" y="5152076"/>
            <a:ext cx="5080" cy="6350"/>
          </a:xfrm>
          <a:custGeom>
            <a:avLst/>
            <a:gdLst/>
            <a:ahLst/>
            <a:cxnLst/>
            <a:rect l="l" t="t" r="r" b="b"/>
            <a:pathLst>
              <a:path w="5079" h="6350">
                <a:moveTo>
                  <a:pt x="1031" y="0"/>
                </a:moveTo>
                <a:lnTo>
                  <a:pt x="0" y="0"/>
                </a:lnTo>
                <a:lnTo>
                  <a:pt x="0" y="5732"/>
                </a:lnTo>
                <a:lnTo>
                  <a:pt x="1031" y="5732"/>
                </a:lnTo>
                <a:lnTo>
                  <a:pt x="1031" y="3179"/>
                </a:lnTo>
                <a:lnTo>
                  <a:pt x="4560" y="3179"/>
                </a:lnTo>
                <a:lnTo>
                  <a:pt x="4560" y="2276"/>
                </a:lnTo>
                <a:lnTo>
                  <a:pt x="1031" y="2276"/>
                </a:lnTo>
                <a:lnTo>
                  <a:pt x="1031" y="0"/>
                </a:lnTo>
                <a:close/>
              </a:path>
              <a:path w="5079" h="6350">
                <a:moveTo>
                  <a:pt x="4560" y="3179"/>
                </a:moveTo>
                <a:lnTo>
                  <a:pt x="3519" y="3179"/>
                </a:lnTo>
                <a:lnTo>
                  <a:pt x="3519" y="5732"/>
                </a:lnTo>
                <a:lnTo>
                  <a:pt x="4560" y="5732"/>
                </a:lnTo>
                <a:lnTo>
                  <a:pt x="4560" y="3179"/>
                </a:lnTo>
                <a:close/>
              </a:path>
              <a:path w="5079" h="6350">
                <a:moveTo>
                  <a:pt x="4560" y="0"/>
                </a:moveTo>
                <a:lnTo>
                  <a:pt x="3519" y="0"/>
                </a:lnTo>
                <a:lnTo>
                  <a:pt x="3519" y="2276"/>
                </a:lnTo>
                <a:lnTo>
                  <a:pt x="4560" y="2276"/>
                </a:lnTo>
                <a:lnTo>
                  <a:pt x="4560" y="0"/>
                </a:lnTo>
                <a:close/>
              </a:path>
            </a:pathLst>
          </a:custGeom>
          <a:solidFill>
            <a:srgbClr val="127ABB"/>
          </a:solidFill>
        </p:spPr>
        <p:txBody>
          <a:bodyPr wrap="square" lIns="0" tIns="0" rIns="0" bIns="0" rtlCol="0"/>
          <a:lstStyle/>
          <a:p>
            <a:endParaRPr/>
          </a:p>
        </p:txBody>
      </p:sp>
      <p:sp>
        <p:nvSpPr>
          <p:cNvPr id="260" name="object 260"/>
          <p:cNvSpPr/>
          <p:nvPr/>
        </p:nvSpPr>
        <p:spPr>
          <a:xfrm>
            <a:off x="5582378" y="5152076"/>
            <a:ext cx="1270" cy="6350"/>
          </a:xfrm>
          <a:custGeom>
            <a:avLst/>
            <a:gdLst/>
            <a:ahLst/>
            <a:cxnLst/>
            <a:rect l="l" t="t" r="r" b="b"/>
            <a:pathLst>
              <a:path w="1270" h="6350">
                <a:moveTo>
                  <a:pt x="0" y="0"/>
                </a:moveTo>
                <a:lnTo>
                  <a:pt x="1041" y="0"/>
                </a:lnTo>
                <a:lnTo>
                  <a:pt x="1041" y="5732"/>
                </a:lnTo>
                <a:lnTo>
                  <a:pt x="0" y="5732"/>
                </a:lnTo>
                <a:lnTo>
                  <a:pt x="0" y="0"/>
                </a:lnTo>
                <a:close/>
              </a:path>
            </a:pathLst>
          </a:custGeom>
          <a:solidFill>
            <a:srgbClr val="127ABB"/>
          </a:solidFill>
        </p:spPr>
        <p:txBody>
          <a:bodyPr wrap="square" lIns="0" tIns="0" rIns="0" bIns="0" rtlCol="0"/>
          <a:lstStyle/>
          <a:p>
            <a:endParaRPr/>
          </a:p>
        </p:txBody>
      </p:sp>
      <p:sp>
        <p:nvSpPr>
          <p:cNvPr id="261" name="object 261"/>
          <p:cNvSpPr/>
          <p:nvPr/>
        </p:nvSpPr>
        <p:spPr>
          <a:xfrm>
            <a:off x="5584801" y="5152076"/>
            <a:ext cx="5080" cy="6350"/>
          </a:xfrm>
          <a:custGeom>
            <a:avLst/>
            <a:gdLst/>
            <a:ahLst/>
            <a:cxnLst/>
            <a:rect l="l" t="t" r="r" b="b"/>
            <a:pathLst>
              <a:path w="5079" h="6350">
                <a:moveTo>
                  <a:pt x="829" y="0"/>
                </a:moveTo>
                <a:lnTo>
                  <a:pt x="0" y="0"/>
                </a:lnTo>
                <a:lnTo>
                  <a:pt x="0" y="5732"/>
                </a:lnTo>
                <a:lnTo>
                  <a:pt x="1031" y="5732"/>
                </a:lnTo>
                <a:lnTo>
                  <a:pt x="1031" y="1658"/>
                </a:lnTo>
                <a:lnTo>
                  <a:pt x="2240" y="1658"/>
                </a:lnTo>
                <a:lnTo>
                  <a:pt x="1308" y="479"/>
                </a:lnTo>
                <a:lnTo>
                  <a:pt x="829" y="0"/>
                </a:lnTo>
                <a:close/>
              </a:path>
              <a:path w="5079" h="6350">
                <a:moveTo>
                  <a:pt x="2240" y="1658"/>
                </a:moveTo>
                <a:lnTo>
                  <a:pt x="1031" y="1658"/>
                </a:lnTo>
                <a:lnTo>
                  <a:pt x="1243" y="1935"/>
                </a:lnTo>
                <a:lnTo>
                  <a:pt x="1520" y="2211"/>
                </a:lnTo>
                <a:lnTo>
                  <a:pt x="1723" y="2552"/>
                </a:lnTo>
                <a:lnTo>
                  <a:pt x="2275" y="3244"/>
                </a:lnTo>
                <a:lnTo>
                  <a:pt x="2487" y="3658"/>
                </a:lnTo>
                <a:lnTo>
                  <a:pt x="2764" y="4009"/>
                </a:lnTo>
                <a:lnTo>
                  <a:pt x="2966" y="4350"/>
                </a:lnTo>
                <a:lnTo>
                  <a:pt x="3243" y="4700"/>
                </a:lnTo>
                <a:lnTo>
                  <a:pt x="3455" y="5115"/>
                </a:lnTo>
                <a:lnTo>
                  <a:pt x="3657" y="5456"/>
                </a:lnTo>
                <a:lnTo>
                  <a:pt x="3869" y="5732"/>
                </a:lnTo>
                <a:lnTo>
                  <a:pt x="4763" y="5732"/>
                </a:lnTo>
                <a:lnTo>
                  <a:pt x="4763" y="3797"/>
                </a:lnTo>
                <a:lnTo>
                  <a:pt x="3731" y="3797"/>
                </a:lnTo>
                <a:lnTo>
                  <a:pt x="3519" y="3520"/>
                </a:lnTo>
                <a:lnTo>
                  <a:pt x="3317" y="3179"/>
                </a:lnTo>
                <a:lnTo>
                  <a:pt x="3040" y="2829"/>
                </a:lnTo>
                <a:lnTo>
                  <a:pt x="2828" y="2488"/>
                </a:lnTo>
                <a:lnTo>
                  <a:pt x="2552" y="2138"/>
                </a:lnTo>
                <a:lnTo>
                  <a:pt x="2349" y="1797"/>
                </a:lnTo>
                <a:lnTo>
                  <a:pt x="2240" y="1658"/>
                </a:lnTo>
                <a:close/>
              </a:path>
              <a:path w="5079" h="6350">
                <a:moveTo>
                  <a:pt x="4763" y="0"/>
                </a:moveTo>
                <a:lnTo>
                  <a:pt x="3731" y="0"/>
                </a:lnTo>
                <a:lnTo>
                  <a:pt x="3731" y="3797"/>
                </a:lnTo>
                <a:lnTo>
                  <a:pt x="4763" y="3797"/>
                </a:lnTo>
                <a:lnTo>
                  <a:pt x="4763" y="0"/>
                </a:lnTo>
                <a:close/>
              </a:path>
            </a:pathLst>
          </a:custGeom>
          <a:solidFill>
            <a:srgbClr val="127ABB"/>
          </a:solidFill>
        </p:spPr>
        <p:txBody>
          <a:bodyPr wrap="square" lIns="0" tIns="0" rIns="0" bIns="0" rtlCol="0"/>
          <a:lstStyle/>
          <a:p>
            <a:endParaRPr/>
          </a:p>
        </p:txBody>
      </p:sp>
      <p:sp>
        <p:nvSpPr>
          <p:cNvPr id="262" name="object 262"/>
          <p:cNvSpPr/>
          <p:nvPr/>
        </p:nvSpPr>
        <p:spPr>
          <a:xfrm>
            <a:off x="5590468" y="5151938"/>
            <a:ext cx="4445" cy="6350"/>
          </a:xfrm>
          <a:custGeom>
            <a:avLst/>
            <a:gdLst/>
            <a:ahLst/>
            <a:cxnLst/>
            <a:rect l="l" t="t" r="r" b="b"/>
            <a:pathLst>
              <a:path w="4445" h="6350">
                <a:moveTo>
                  <a:pt x="340" y="4700"/>
                </a:moveTo>
                <a:lnTo>
                  <a:pt x="0" y="5594"/>
                </a:lnTo>
                <a:lnTo>
                  <a:pt x="202" y="5668"/>
                </a:lnTo>
                <a:lnTo>
                  <a:pt x="414" y="5732"/>
                </a:lnTo>
                <a:lnTo>
                  <a:pt x="691" y="5870"/>
                </a:lnTo>
                <a:lnTo>
                  <a:pt x="829" y="5870"/>
                </a:lnTo>
                <a:lnTo>
                  <a:pt x="1031" y="5944"/>
                </a:lnTo>
                <a:lnTo>
                  <a:pt x="1170" y="5944"/>
                </a:lnTo>
                <a:lnTo>
                  <a:pt x="1382" y="6009"/>
                </a:lnTo>
                <a:lnTo>
                  <a:pt x="2552" y="6009"/>
                </a:lnTo>
                <a:lnTo>
                  <a:pt x="3105" y="5870"/>
                </a:lnTo>
                <a:lnTo>
                  <a:pt x="3796" y="5317"/>
                </a:lnTo>
                <a:lnTo>
                  <a:pt x="3899" y="5115"/>
                </a:lnTo>
                <a:lnTo>
                  <a:pt x="1520" y="5115"/>
                </a:lnTo>
                <a:lnTo>
                  <a:pt x="893" y="4976"/>
                </a:lnTo>
                <a:lnTo>
                  <a:pt x="479" y="4838"/>
                </a:lnTo>
                <a:lnTo>
                  <a:pt x="340" y="4700"/>
                </a:lnTo>
                <a:close/>
              </a:path>
              <a:path w="4445" h="6350">
                <a:moveTo>
                  <a:pt x="2487" y="0"/>
                </a:moveTo>
                <a:lnTo>
                  <a:pt x="1520" y="0"/>
                </a:lnTo>
                <a:lnTo>
                  <a:pt x="1031" y="138"/>
                </a:lnTo>
                <a:lnTo>
                  <a:pt x="691" y="414"/>
                </a:lnTo>
                <a:lnTo>
                  <a:pt x="340" y="755"/>
                </a:lnTo>
                <a:lnTo>
                  <a:pt x="242" y="2211"/>
                </a:lnTo>
                <a:lnTo>
                  <a:pt x="340" y="2488"/>
                </a:lnTo>
                <a:lnTo>
                  <a:pt x="755" y="2903"/>
                </a:lnTo>
                <a:lnTo>
                  <a:pt x="1243" y="3179"/>
                </a:lnTo>
                <a:lnTo>
                  <a:pt x="2073" y="3456"/>
                </a:lnTo>
                <a:lnTo>
                  <a:pt x="2626" y="3732"/>
                </a:lnTo>
                <a:lnTo>
                  <a:pt x="2764" y="3935"/>
                </a:lnTo>
                <a:lnTo>
                  <a:pt x="2863" y="4700"/>
                </a:lnTo>
                <a:lnTo>
                  <a:pt x="2690" y="4903"/>
                </a:lnTo>
                <a:lnTo>
                  <a:pt x="2487" y="5041"/>
                </a:lnTo>
                <a:lnTo>
                  <a:pt x="2211" y="5115"/>
                </a:lnTo>
                <a:lnTo>
                  <a:pt x="3899" y="5115"/>
                </a:lnTo>
                <a:lnTo>
                  <a:pt x="3787" y="3456"/>
                </a:lnTo>
                <a:lnTo>
                  <a:pt x="3731" y="3317"/>
                </a:lnTo>
                <a:lnTo>
                  <a:pt x="3593" y="3179"/>
                </a:lnTo>
                <a:lnTo>
                  <a:pt x="3381" y="3041"/>
                </a:lnTo>
                <a:lnTo>
                  <a:pt x="3243" y="2903"/>
                </a:lnTo>
                <a:lnTo>
                  <a:pt x="3040" y="2829"/>
                </a:lnTo>
                <a:lnTo>
                  <a:pt x="2828" y="2691"/>
                </a:lnTo>
                <a:lnTo>
                  <a:pt x="2552" y="2626"/>
                </a:lnTo>
                <a:lnTo>
                  <a:pt x="2275" y="2488"/>
                </a:lnTo>
                <a:lnTo>
                  <a:pt x="2137" y="2488"/>
                </a:lnTo>
                <a:lnTo>
                  <a:pt x="1723" y="2276"/>
                </a:lnTo>
                <a:lnTo>
                  <a:pt x="1520" y="2138"/>
                </a:lnTo>
                <a:lnTo>
                  <a:pt x="1382" y="1999"/>
                </a:lnTo>
                <a:lnTo>
                  <a:pt x="1308" y="1861"/>
                </a:lnTo>
                <a:lnTo>
                  <a:pt x="1308" y="1170"/>
                </a:lnTo>
                <a:lnTo>
                  <a:pt x="1446" y="1105"/>
                </a:lnTo>
                <a:lnTo>
                  <a:pt x="1584" y="967"/>
                </a:lnTo>
                <a:lnTo>
                  <a:pt x="1861" y="894"/>
                </a:lnTo>
                <a:lnTo>
                  <a:pt x="3572" y="894"/>
                </a:lnTo>
                <a:lnTo>
                  <a:pt x="3731" y="414"/>
                </a:lnTo>
                <a:lnTo>
                  <a:pt x="3593" y="276"/>
                </a:lnTo>
                <a:lnTo>
                  <a:pt x="3381" y="202"/>
                </a:lnTo>
                <a:lnTo>
                  <a:pt x="2487" y="0"/>
                </a:lnTo>
                <a:close/>
              </a:path>
              <a:path w="4445" h="6350">
                <a:moveTo>
                  <a:pt x="3572" y="894"/>
                </a:moveTo>
                <a:lnTo>
                  <a:pt x="2626" y="894"/>
                </a:lnTo>
                <a:lnTo>
                  <a:pt x="3243" y="1105"/>
                </a:lnTo>
                <a:lnTo>
                  <a:pt x="3455" y="1244"/>
                </a:lnTo>
                <a:lnTo>
                  <a:pt x="3572" y="894"/>
                </a:lnTo>
                <a:close/>
              </a:path>
            </a:pathLst>
          </a:custGeom>
          <a:solidFill>
            <a:srgbClr val="127ABB"/>
          </a:solidFill>
        </p:spPr>
        <p:txBody>
          <a:bodyPr wrap="square" lIns="0" tIns="0" rIns="0" bIns="0" rtlCol="0"/>
          <a:lstStyle/>
          <a:p>
            <a:endParaRPr/>
          </a:p>
        </p:txBody>
      </p:sp>
      <p:sp>
        <p:nvSpPr>
          <p:cNvPr id="263" name="object 263"/>
          <p:cNvSpPr/>
          <p:nvPr/>
        </p:nvSpPr>
        <p:spPr>
          <a:xfrm>
            <a:off x="5594817" y="5152076"/>
            <a:ext cx="5080" cy="6350"/>
          </a:xfrm>
          <a:custGeom>
            <a:avLst/>
            <a:gdLst/>
            <a:ahLst/>
            <a:cxnLst/>
            <a:rect l="l" t="t" r="r" b="b"/>
            <a:pathLst>
              <a:path w="5079" h="6350">
                <a:moveTo>
                  <a:pt x="2837" y="894"/>
                </a:moveTo>
                <a:lnTo>
                  <a:pt x="1796" y="894"/>
                </a:lnTo>
                <a:lnTo>
                  <a:pt x="1796" y="5732"/>
                </a:lnTo>
                <a:lnTo>
                  <a:pt x="2837" y="5732"/>
                </a:lnTo>
                <a:lnTo>
                  <a:pt x="2837" y="894"/>
                </a:lnTo>
                <a:close/>
              </a:path>
              <a:path w="5079" h="6350">
                <a:moveTo>
                  <a:pt x="4560" y="0"/>
                </a:moveTo>
                <a:lnTo>
                  <a:pt x="0" y="0"/>
                </a:lnTo>
                <a:lnTo>
                  <a:pt x="0" y="894"/>
                </a:lnTo>
                <a:lnTo>
                  <a:pt x="4560" y="894"/>
                </a:lnTo>
                <a:lnTo>
                  <a:pt x="4560" y="0"/>
                </a:lnTo>
                <a:close/>
              </a:path>
            </a:pathLst>
          </a:custGeom>
          <a:solidFill>
            <a:srgbClr val="127ABB"/>
          </a:solidFill>
        </p:spPr>
        <p:txBody>
          <a:bodyPr wrap="square" lIns="0" tIns="0" rIns="0" bIns="0" rtlCol="0"/>
          <a:lstStyle/>
          <a:p>
            <a:endParaRPr/>
          </a:p>
        </p:txBody>
      </p:sp>
      <p:sp>
        <p:nvSpPr>
          <p:cNvPr id="264" name="object 264"/>
          <p:cNvSpPr/>
          <p:nvPr/>
        </p:nvSpPr>
        <p:spPr>
          <a:xfrm>
            <a:off x="5600207" y="5152076"/>
            <a:ext cx="1270" cy="6350"/>
          </a:xfrm>
          <a:custGeom>
            <a:avLst/>
            <a:gdLst/>
            <a:ahLst/>
            <a:cxnLst/>
            <a:rect l="l" t="t" r="r" b="b"/>
            <a:pathLst>
              <a:path w="1270" h="6350">
                <a:moveTo>
                  <a:pt x="0" y="0"/>
                </a:moveTo>
                <a:lnTo>
                  <a:pt x="1041" y="0"/>
                </a:lnTo>
                <a:lnTo>
                  <a:pt x="1041" y="5732"/>
                </a:lnTo>
                <a:lnTo>
                  <a:pt x="0" y="5732"/>
                </a:lnTo>
                <a:lnTo>
                  <a:pt x="0" y="0"/>
                </a:lnTo>
                <a:close/>
              </a:path>
            </a:pathLst>
          </a:custGeom>
          <a:solidFill>
            <a:srgbClr val="127ABB"/>
          </a:solidFill>
        </p:spPr>
        <p:txBody>
          <a:bodyPr wrap="square" lIns="0" tIns="0" rIns="0" bIns="0" rtlCol="0"/>
          <a:lstStyle/>
          <a:p>
            <a:endParaRPr/>
          </a:p>
        </p:txBody>
      </p:sp>
      <p:sp>
        <p:nvSpPr>
          <p:cNvPr id="265" name="object 265"/>
          <p:cNvSpPr/>
          <p:nvPr/>
        </p:nvSpPr>
        <p:spPr>
          <a:xfrm>
            <a:off x="5602077" y="5152076"/>
            <a:ext cx="5080" cy="6350"/>
          </a:xfrm>
          <a:custGeom>
            <a:avLst/>
            <a:gdLst/>
            <a:ahLst/>
            <a:cxnLst/>
            <a:rect l="l" t="t" r="r" b="b"/>
            <a:pathLst>
              <a:path w="5079" h="6350">
                <a:moveTo>
                  <a:pt x="2764" y="894"/>
                </a:moveTo>
                <a:lnTo>
                  <a:pt x="1732" y="894"/>
                </a:lnTo>
                <a:lnTo>
                  <a:pt x="1732" y="5732"/>
                </a:lnTo>
                <a:lnTo>
                  <a:pt x="2764" y="5732"/>
                </a:lnTo>
                <a:lnTo>
                  <a:pt x="2764" y="894"/>
                </a:lnTo>
                <a:close/>
              </a:path>
              <a:path w="5079" h="6350">
                <a:moveTo>
                  <a:pt x="4560" y="0"/>
                </a:moveTo>
                <a:lnTo>
                  <a:pt x="0" y="0"/>
                </a:lnTo>
                <a:lnTo>
                  <a:pt x="0" y="894"/>
                </a:lnTo>
                <a:lnTo>
                  <a:pt x="4560" y="894"/>
                </a:lnTo>
                <a:lnTo>
                  <a:pt x="4560" y="0"/>
                </a:lnTo>
                <a:close/>
              </a:path>
            </a:pathLst>
          </a:custGeom>
          <a:solidFill>
            <a:srgbClr val="127ABB"/>
          </a:solidFill>
        </p:spPr>
        <p:txBody>
          <a:bodyPr wrap="square" lIns="0" tIns="0" rIns="0" bIns="0" rtlCol="0"/>
          <a:lstStyle/>
          <a:p>
            <a:endParaRPr/>
          </a:p>
        </p:txBody>
      </p:sp>
      <p:sp>
        <p:nvSpPr>
          <p:cNvPr id="266" name="object 266"/>
          <p:cNvSpPr/>
          <p:nvPr/>
        </p:nvSpPr>
        <p:spPr>
          <a:xfrm>
            <a:off x="5607403" y="5152076"/>
            <a:ext cx="5080" cy="6350"/>
          </a:xfrm>
          <a:custGeom>
            <a:avLst/>
            <a:gdLst/>
            <a:ahLst/>
            <a:cxnLst/>
            <a:rect l="l" t="t" r="r" b="b"/>
            <a:pathLst>
              <a:path w="5079" h="6350">
                <a:moveTo>
                  <a:pt x="1031" y="0"/>
                </a:moveTo>
                <a:lnTo>
                  <a:pt x="0" y="0"/>
                </a:lnTo>
                <a:lnTo>
                  <a:pt x="69" y="4350"/>
                </a:lnTo>
                <a:lnTo>
                  <a:pt x="138" y="4488"/>
                </a:lnTo>
                <a:lnTo>
                  <a:pt x="239" y="4838"/>
                </a:lnTo>
                <a:lnTo>
                  <a:pt x="340" y="5041"/>
                </a:lnTo>
                <a:lnTo>
                  <a:pt x="691" y="5391"/>
                </a:lnTo>
                <a:lnTo>
                  <a:pt x="967" y="5594"/>
                </a:lnTo>
                <a:lnTo>
                  <a:pt x="1243" y="5668"/>
                </a:lnTo>
                <a:lnTo>
                  <a:pt x="1520" y="5806"/>
                </a:lnTo>
                <a:lnTo>
                  <a:pt x="1861" y="5870"/>
                </a:lnTo>
                <a:lnTo>
                  <a:pt x="2626" y="5870"/>
                </a:lnTo>
                <a:lnTo>
                  <a:pt x="2966" y="5806"/>
                </a:lnTo>
                <a:lnTo>
                  <a:pt x="3243" y="5668"/>
                </a:lnTo>
                <a:lnTo>
                  <a:pt x="3519" y="5594"/>
                </a:lnTo>
                <a:lnTo>
                  <a:pt x="3796" y="5391"/>
                </a:lnTo>
                <a:lnTo>
                  <a:pt x="4146" y="5041"/>
                </a:lnTo>
                <a:lnTo>
                  <a:pt x="2073" y="4976"/>
                </a:lnTo>
                <a:lnTo>
                  <a:pt x="1934" y="4903"/>
                </a:lnTo>
                <a:lnTo>
                  <a:pt x="1723" y="4838"/>
                </a:lnTo>
                <a:lnTo>
                  <a:pt x="1584" y="4838"/>
                </a:lnTo>
                <a:lnTo>
                  <a:pt x="1243" y="4488"/>
                </a:lnTo>
                <a:lnTo>
                  <a:pt x="1124" y="4211"/>
                </a:lnTo>
                <a:lnTo>
                  <a:pt x="1031" y="0"/>
                </a:lnTo>
                <a:close/>
              </a:path>
              <a:path w="5079" h="6350">
                <a:moveTo>
                  <a:pt x="4487" y="0"/>
                </a:moveTo>
                <a:lnTo>
                  <a:pt x="3455" y="0"/>
                </a:lnTo>
                <a:lnTo>
                  <a:pt x="3363" y="4211"/>
                </a:lnTo>
                <a:lnTo>
                  <a:pt x="3243" y="4488"/>
                </a:lnTo>
                <a:lnTo>
                  <a:pt x="2902" y="4838"/>
                </a:lnTo>
                <a:lnTo>
                  <a:pt x="2764" y="4838"/>
                </a:lnTo>
                <a:lnTo>
                  <a:pt x="2414" y="4976"/>
                </a:lnTo>
                <a:lnTo>
                  <a:pt x="4178" y="4976"/>
                </a:lnTo>
                <a:lnTo>
                  <a:pt x="4284" y="4764"/>
                </a:lnTo>
                <a:lnTo>
                  <a:pt x="4349" y="4488"/>
                </a:lnTo>
                <a:lnTo>
                  <a:pt x="4418" y="4350"/>
                </a:lnTo>
                <a:lnTo>
                  <a:pt x="4487" y="0"/>
                </a:lnTo>
                <a:close/>
              </a:path>
            </a:pathLst>
          </a:custGeom>
          <a:solidFill>
            <a:srgbClr val="127ABB"/>
          </a:solidFill>
        </p:spPr>
        <p:txBody>
          <a:bodyPr wrap="square" lIns="0" tIns="0" rIns="0" bIns="0" rtlCol="0"/>
          <a:lstStyle/>
          <a:p>
            <a:endParaRPr/>
          </a:p>
        </p:txBody>
      </p:sp>
      <p:sp>
        <p:nvSpPr>
          <p:cNvPr id="267" name="object 267"/>
          <p:cNvSpPr/>
          <p:nvPr/>
        </p:nvSpPr>
        <p:spPr>
          <a:xfrm>
            <a:off x="5612655" y="5152076"/>
            <a:ext cx="5080" cy="6350"/>
          </a:xfrm>
          <a:custGeom>
            <a:avLst/>
            <a:gdLst/>
            <a:ahLst/>
            <a:cxnLst/>
            <a:rect l="l" t="t" r="r" b="b"/>
            <a:pathLst>
              <a:path w="5079" h="6350">
                <a:moveTo>
                  <a:pt x="2828" y="894"/>
                </a:moveTo>
                <a:lnTo>
                  <a:pt x="1796" y="894"/>
                </a:lnTo>
                <a:lnTo>
                  <a:pt x="1796" y="5732"/>
                </a:lnTo>
                <a:lnTo>
                  <a:pt x="2828" y="5732"/>
                </a:lnTo>
                <a:lnTo>
                  <a:pt x="2828" y="894"/>
                </a:lnTo>
                <a:close/>
              </a:path>
              <a:path w="5079" h="6350">
                <a:moveTo>
                  <a:pt x="4625" y="0"/>
                </a:moveTo>
                <a:lnTo>
                  <a:pt x="0" y="0"/>
                </a:lnTo>
                <a:lnTo>
                  <a:pt x="0" y="894"/>
                </a:lnTo>
                <a:lnTo>
                  <a:pt x="4625" y="894"/>
                </a:lnTo>
                <a:lnTo>
                  <a:pt x="4625" y="0"/>
                </a:lnTo>
                <a:close/>
              </a:path>
            </a:pathLst>
          </a:custGeom>
          <a:solidFill>
            <a:srgbClr val="127ABB"/>
          </a:solidFill>
        </p:spPr>
        <p:txBody>
          <a:bodyPr wrap="square" lIns="0" tIns="0" rIns="0" bIns="0" rtlCol="0"/>
          <a:lstStyle/>
          <a:p>
            <a:endParaRPr/>
          </a:p>
        </p:txBody>
      </p:sp>
      <p:sp>
        <p:nvSpPr>
          <p:cNvPr id="268" name="object 268"/>
          <p:cNvSpPr/>
          <p:nvPr/>
        </p:nvSpPr>
        <p:spPr>
          <a:xfrm>
            <a:off x="5618045" y="5152076"/>
            <a:ext cx="4445" cy="6350"/>
          </a:xfrm>
          <a:custGeom>
            <a:avLst/>
            <a:gdLst/>
            <a:ahLst/>
            <a:cxnLst/>
            <a:rect l="l" t="t" r="r" b="b"/>
            <a:pathLst>
              <a:path w="4445" h="6350">
                <a:moveTo>
                  <a:pt x="3731" y="0"/>
                </a:moveTo>
                <a:lnTo>
                  <a:pt x="0" y="0"/>
                </a:lnTo>
                <a:lnTo>
                  <a:pt x="0" y="5732"/>
                </a:lnTo>
                <a:lnTo>
                  <a:pt x="3934" y="5732"/>
                </a:lnTo>
                <a:lnTo>
                  <a:pt x="3934" y="4838"/>
                </a:lnTo>
                <a:lnTo>
                  <a:pt x="1031" y="4838"/>
                </a:lnTo>
                <a:lnTo>
                  <a:pt x="1031" y="3179"/>
                </a:lnTo>
                <a:lnTo>
                  <a:pt x="3381" y="3179"/>
                </a:lnTo>
                <a:lnTo>
                  <a:pt x="3381" y="2276"/>
                </a:lnTo>
                <a:lnTo>
                  <a:pt x="1031" y="2276"/>
                </a:lnTo>
                <a:lnTo>
                  <a:pt x="1031" y="894"/>
                </a:lnTo>
                <a:lnTo>
                  <a:pt x="3731" y="894"/>
                </a:lnTo>
                <a:lnTo>
                  <a:pt x="3731" y="0"/>
                </a:lnTo>
                <a:close/>
              </a:path>
            </a:pathLst>
          </a:custGeom>
          <a:solidFill>
            <a:srgbClr val="127ABB"/>
          </a:solidFill>
        </p:spPr>
        <p:txBody>
          <a:bodyPr wrap="square" lIns="0" tIns="0" rIns="0" bIns="0" rtlCol="0"/>
          <a:lstStyle/>
          <a:p>
            <a:endParaRPr/>
          </a:p>
        </p:txBody>
      </p:sp>
      <p:graphicFrame>
        <p:nvGraphicFramePr>
          <p:cNvPr id="269" name="object 269"/>
          <p:cNvGraphicFramePr>
            <a:graphicFrameLocks noGrp="1"/>
          </p:cNvGraphicFramePr>
          <p:nvPr/>
        </p:nvGraphicFramePr>
        <p:xfrm>
          <a:off x="199644" y="3736847"/>
          <a:ext cx="11696699" cy="2472625"/>
        </p:xfrm>
        <a:graphic>
          <a:graphicData uri="http://schemas.openxmlformats.org/drawingml/2006/table">
            <a:tbl>
              <a:tblPr firstRow="1" bandRow="1">
                <a:tableStyleId>{2D5ABB26-0587-4C30-8999-92F81FD0307C}</a:tableStyleId>
              </a:tblPr>
              <a:tblGrid>
                <a:gridCol w="4601210">
                  <a:extLst>
                    <a:ext uri="{9D8B030D-6E8A-4147-A177-3AD203B41FA5}">
                      <a16:colId xmlns:a16="http://schemas.microsoft.com/office/drawing/2014/main" val="20000"/>
                    </a:ext>
                  </a:extLst>
                </a:gridCol>
                <a:gridCol w="5937249">
                  <a:extLst>
                    <a:ext uri="{9D8B030D-6E8A-4147-A177-3AD203B41FA5}">
                      <a16:colId xmlns:a16="http://schemas.microsoft.com/office/drawing/2014/main" val="20001"/>
                    </a:ext>
                  </a:extLst>
                </a:gridCol>
                <a:gridCol w="1158240">
                  <a:extLst>
                    <a:ext uri="{9D8B030D-6E8A-4147-A177-3AD203B41FA5}">
                      <a16:colId xmlns:a16="http://schemas.microsoft.com/office/drawing/2014/main" val="20002"/>
                    </a:ext>
                  </a:extLst>
                </a:gridCol>
              </a:tblGrid>
              <a:tr h="349976">
                <a:tc>
                  <a:txBody>
                    <a:bodyPr/>
                    <a:lstStyle/>
                    <a:p>
                      <a:pPr marL="1267460">
                        <a:lnSpc>
                          <a:spcPct val="100000"/>
                        </a:lnSpc>
                        <a:spcBef>
                          <a:spcPts val="915"/>
                        </a:spcBef>
                      </a:pPr>
                      <a:r>
                        <a:rPr sz="1100" b="1">
                          <a:solidFill>
                            <a:srgbClr val="FFFFFF"/>
                          </a:solidFill>
                          <a:latin typeface="Verdana"/>
                          <a:cs typeface="Verdana"/>
                        </a:rPr>
                        <a:t>BUSINESS</a:t>
                      </a:r>
                      <a:r>
                        <a:rPr sz="1100" b="1" spc="-15">
                          <a:solidFill>
                            <a:srgbClr val="FFFFFF"/>
                          </a:solidFill>
                          <a:latin typeface="Verdana"/>
                          <a:cs typeface="Verdana"/>
                        </a:rPr>
                        <a:t> </a:t>
                      </a:r>
                      <a:r>
                        <a:rPr sz="1100" b="1">
                          <a:solidFill>
                            <a:srgbClr val="FFFFFF"/>
                          </a:solidFill>
                          <a:latin typeface="Verdana"/>
                          <a:cs typeface="Verdana"/>
                        </a:rPr>
                        <a:t>SUB-BRANDS</a:t>
                      </a:r>
                      <a:endParaRPr sz="1100">
                        <a:latin typeface="Verdana"/>
                        <a:cs typeface="Verdana"/>
                      </a:endParaRPr>
                    </a:p>
                  </a:txBody>
                  <a:tcPr marL="0" marR="0" marT="116205" marB="0">
                    <a:lnR w="28575">
                      <a:solidFill>
                        <a:srgbClr val="D9D9D9"/>
                      </a:solidFill>
                      <a:prstDash val="solid"/>
                    </a:lnR>
                    <a:lnT w="53975">
                      <a:solidFill>
                        <a:srgbClr val="006FAC"/>
                      </a:solidFill>
                      <a:prstDash val="solid"/>
                    </a:lnT>
                  </a:tcPr>
                </a:tc>
                <a:tc rowSpan="2" gridSpan="2">
                  <a:txBody>
                    <a:bodyPr/>
                    <a:lstStyle/>
                    <a:p>
                      <a:pPr marL="129539" algn="ctr">
                        <a:lnSpc>
                          <a:spcPct val="100000"/>
                        </a:lnSpc>
                        <a:spcBef>
                          <a:spcPts val="1065"/>
                        </a:spcBef>
                      </a:pPr>
                      <a:r>
                        <a:rPr sz="1100" b="1">
                          <a:solidFill>
                            <a:srgbClr val="FFFFFF"/>
                          </a:solidFill>
                          <a:latin typeface="Verdana"/>
                          <a:cs typeface="Verdana"/>
                        </a:rPr>
                        <a:t>THOUGHT </a:t>
                      </a:r>
                      <a:r>
                        <a:rPr sz="1100" b="1" spc="-5">
                          <a:solidFill>
                            <a:srgbClr val="FFFFFF"/>
                          </a:solidFill>
                          <a:latin typeface="Verdana"/>
                          <a:cs typeface="Verdana"/>
                        </a:rPr>
                        <a:t>LEADERSHIP </a:t>
                      </a:r>
                      <a:r>
                        <a:rPr sz="1100" b="1">
                          <a:solidFill>
                            <a:srgbClr val="FFFFFF"/>
                          </a:solidFill>
                          <a:latin typeface="Verdana"/>
                          <a:cs typeface="Verdana"/>
                        </a:rPr>
                        <a:t>AND</a:t>
                      </a:r>
                      <a:r>
                        <a:rPr sz="1100" b="1" spc="-75">
                          <a:solidFill>
                            <a:srgbClr val="FFFFFF"/>
                          </a:solidFill>
                          <a:latin typeface="Verdana"/>
                          <a:cs typeface="Verdana"/>
                        </a:rPr>
                        <a:t> </a:t>
                      </a:r>
                      <a:r>
                        <a:rPr sz="1100" b="1">
                          <a:solidFill>
                            <a:srgbClr val="FFFFFF"/>
                          </a:solidFill>
                          <a:latin typeface="Verdana"/>
                          <a:cs typeface="Verdana"/>
                        </a:rPr>
                        <a:t>INNOVATION</a:t>
                      </a:r>
                      <a:endParaRPr sz="1100">
                        <a:latin typeface="Verdana"/>
                        <a:cs typeface="Verdana"/>
                      </a:endParaRPr>
                    </a:p>
                    <a:p>
                      <a:pPr marL="2029460">
                        <a:lnSpc>
                          <a:spcPts val="395"/>
                        </a:lnSpc>
                        <a:spcBef>
                          <a:spcPts val="1075"/>
                        </a:spcBef>
                      </a:pPr>
                      <a:r>
                        <a:rPr sz="900" b="1" u="sng" spc="-5">
                          <a:solidFill>
                            <a:srgbClr val="87D4EC"/>
                          </a:solidFill>
                          <a:uFill>
                            <a:solidFill>
                              <a:srgbClr val="87D4EC"/>
                            </a:solidFill>
                          </a:uFill>
                          <a:latin typeface="Verdana"/>
                          <a:cs typeface="Verdana"/>
                          <a:hlinkClick r:id="rId15"/>
                        </a:rPr>
                        <a:t>Capgemini Research</a:t>
                      </a:r>
                      <a:r>
                        <a:rPr sz="900" b="1" u="sng">
                          <a:solidFill>
                            <a:srgbClr val="87D4EC"/>
                          </a:solidFill>
                          <a:uFill>
                            <a:solidFill>
                              <a:srgbClr val="87D4EC"/>
                            </a:solidFill>
                          </a:uFill>
                          <a:latin typeface="Verdana"/>
                          <a:cs typeface="Verdana"/>
                          <a:hlinkClick r:id="rId15"/>
                        </a:rPr>
                        <a:t> </a:t>
                      </a:r>
                      <a:r>
                        <a:rPr sz="900" b="1" u="sng" spc="-5">
                          <a:solidFill>
                            <a:srgbClr val="87D4EC"/>
                          </a:solidFill>
                          <a:uFill>
                            <a:solidFill>
                              <a:srgbClr val="87D4EC"/>
                            </a:solidFill>
                          </a:uFill>
                          <a:latin typeface="Verdana"/>
                          <a:cs typeface="Verdana"/>
                          <a:hlinkClick r:id="rId15"/>
                        </a:rPr>
                        <a:t>Institute</a:t>
                      </a:r>
                      <a:endParaRPr sz="900">
                        <a:latin typeface="Verdana"/>
                        <a:cs typeface="Verdana"/>
                      </a:endParaRPr>
                    </a:p>
                  </a:txBody>
                  <a:tcPr marL="0" marR="0" marT="135255" marB="0">
                    <a:lnL w="28575">
                      <a:solidFill>
                        <a:srgbClr val="D9D9D9"/>
                      </a:solidFill>
                      <a:prstDash val="solid"/>
                    </a:lnL>
                    <a:lnT w="53975">
                      <a:solidFill>
                        <a:srgbClr val="006FAC"/>
                      </a:solidFill>
                      <a:prstDash val="solid"/>
                    </a:lnT>
                  </a:tcPr>
                </a:tc>
                <a:tc rowSpan="2" hMerge="1">
                  <a:txBody>
                    <a:bodyPr/>
                    <a:lstStyle/>
                    <a:p>
                      <a:endParaRPr/>
                    </a:p>
                  </a:txBody>
                  <a:tcPr marL="0" marR="0" marT="0" marB="0"/>
                </a:tc>
                <a:extLst>
                  <a:ext uri="{0D108BD9-81ED-4DB2-BD59-A6C34878D82A}">
                    <a16:rowId xmlns:a16="http://schemas.microsoft.com/office/drawing/2014/main" val="10000"/>
                  </a:ext>
                </a:extLst>
              </a:tr>
              <a:tr h="152181">
                <a:tc rowSpan="2">
                  <a:txBody>
                    <a:bodyPr/>
                    <a:lstStyle/>
                    <a:p>
                      <a:pPr marL="1571625" marR="313690">
                        <a:lnSpc>
                          <a:spcPct val="100000"/>
                        </a:lnSpc>
                        <a:spcBef>
                          <a:spcPts val="509"/>
                        </a:spcBef>
                      </a:pPr>
                      <a:r>
                        <a:rPr sz="1000" spc="-5">
                          <a:latin typeface="Verdana"/>
                          <a:cs typeface="Verdana"/>
                        </a:rPr>
                        <a:t>Strategy, technology, data science and  creative design to solve the most complex  business and technology</a:t>
                      </a:r>
                      <a:r>
                        <a:rPr sz="1000" spc="75">
                          <a:latin typeface="Verdana"/>
                          <a:cs typeface="Verdana"/>
                        </a:rPr>
                        <a:t> </a:t>
                      </a:r>
                      <a:r>
                        <a:rPr sz="1000" spc="-5">
                          <a:latin typeface="Verdana"/>
                          <a:cs typeface="Verdana"/>
                        </a:rPr>
                        <a:t>challenges</a:t>
                      </a:r>
                      <a:endParaRPr sz="1000">
                        <a:latin typeface="Verdana"/>
                        <a:cs typeface="Verdana"/>
                      </a:endParaRPr>
                    </a:p>
                  </a:txBody>
                  <a:tcPr marL="0" marR="0" marT="64769" marB="0">
                    <a:lnR w="28575">
                      <a:solidFill>
                        <a:srgbClr val="D9D9D9"/>
                      </a:solidFill>
                      <a:prstDash val="solid"/>
                    </a:lnR>
                  </a:tcPr>
                </a:tc>
                <a:tc gridSpan="2" vMerge="1">
                  <a:txBody>
                    <a:bodyPr/>
                    <a:lstStyle/>
                    <a:p>
                      <a:endParaRPr/>
                    </a:p>
                  </a:txBody>
                  <a:tcPr marL="0" marR="0" marT="135255" marB="0">
                    <a:lnL w="28575">
                      <a:solidFill>
                        <a:srgbClr val="D9D9D9"/>
                      </a:solidFill>
                      <a:prstDash val="solid"/>
                    </a:lnL>
                    <a:lnT w="53975">
                      <a:solidFill>
                        <a:srgbClr val="006FAC"/>
                      </a:solidFill>
                      <a:prstDash val="solid"/>
                    </a:lnT>
                  </a:tcPr>
                </a:tc>
                <a:tc hMerge="1" vMerge="1">
                  <a:txBody>
                    <a:bodyPr/>
                    <a:lstStyle/>
                    <a:p>
                      <a:endParaRPr/>
                    </a:p>
                  </a:txBody>
                  <a:tcPr marL="0" marR="0" marT="0" marB="0"/>
                </a:tc>
                <a:extLst>
                  <a:ext uri="{0D108BD9-81ED-4DB2-BD59-A6C34878D82A}">
                    <a16:rowId xmlns:a16="http://schemas.microsoft.com/office/drawing/2014/main" val="10001"/>
                  </a:ext>
                </a:extLst>
              </a:tr>
              <a:tr h="427472">
                <a:tc vMerge="1">
                  <a:txBody>
                    <a:bodyPr/>
                    <a:lstStyle/>
                    <a:p>
                      <a:endParaRPr/>
                    </a:p>
                  </a:txBody>
                  <a:tcPr marL="0" marR="0" marT="64769" marB="0">
                    <a:lnR w="28575">
                      <a:solidFill>
                        <a:srgbClr val="D9D9D9"/>
                      </a:solidFill>
                      <a:prstDash val="solid"/>
                    </a:lnR>
                  </a:tcPr>
                </a:tc>
                <a:tc>
                  <a:txBody>
                    <a:bodyPr/>
                    <a:lstStyle/>
                    <a:p>
                      <a:pPr>
                        <a:lnSpc>
                          <a:spcPct val="100000"/>
                        </a:lnSpc>
                        <a:spcBef>
                          <a:spcPts val="5"/>
                        </a:spcBef>
                      </a:pPr>
                      <a:endParaRPr sz="950">
                        <a:latin typeface="Times New Roman"/>
                        <a:cs typeface="Times New Roman"/>
                      </a:endParaRPr>
                    </a:p>
                    <a:p>
                      <a:pPr marL="158115" marR="151130" indent="462915">
                        <a:lnSpc>
                          <a:spcPct val="100000"/>
                        </a:lnSpc>
                      </a:pPr>
                      <a:r>
                        <a:rPr sz="800">
                          <a:solidFill>
                            <a:srgbClr val="D22138"/>
                          </a:solidFill>
                          <a:latin typeface="Verdana"/>
                          <a:cs typeface="Verdana"/>
                        </a:rPr>
                        <a:t>Industry Focused Research | Exclusive Focus on Emerging </a:t>
                      </a:r>
                      <a:r>
                        <a:rPr sz="800" spc="-5">
                          <a:solidFill>
                            <a:srgbClr val="D22138"/>
                          </a:solidFill>
                          <a:latin typeface="Verdana"/>
                          <a:cs typeface="Verdana"/>
                        </a:rPr>
                        <a:t>Digital </a:t>
                      </a:r>
                      <a:r>
                        <a:rPr sz="800">
                          <a:solidFill>
                            <a:srgbClr val="D22138"/>
                          </a:solidFill>
                          <a:latin typeface="Verdana"/>
                          <a:cs typeface="Verdana"/>
                        </a:rPr>
                        <a:t>Technologies since 2012 |  Producing Sharp </a:t>
                      </a:r>
                      <a:r>
                        <a:rPr sz="800" spc="-5">
                          <a:solidFill>
                            <a:srgbClr val="D22138"/>
                          </a:solidFill>
                          <a:latin typeface="Verdana"/>
                          <a:cs typeface="Verdana"/>
                        </a:rPr>
                        <a:t>Actionable </a:t>
                      </a:r>
                      <a:r>
                        <a:rPr sz="800">
                          <a:solidFill>
                            <a:srgbClr val="D22138"/>
                          </a:solidFill>
                          <a:latin typeface="Verdana"/>
                          <a:cs typeface="Verdana"/>
                        </a:rPr>
                        <a:t>Insights </a:t>
                      </a:r>
                      <a:r>
                        <a:rPr sz="800" spc="-5">
                          <a:solidFill>
                            <a:srgbClr val="D22138"/>
                          </a:solidFill>
                          <a:latin typeface="Verdana"/>
                          <a:cs typeface="Verdana"/>
                        </a:rPr>
                        <a:t>and </a:t>
                      </a:r>
                      <a:r>
                        <a:rPr sz="800">
                          <a:solidFill>
                            <a:srgbClr val="D22138"/>
                          </a:solidFill>
                          <a:latin typeface="Verdana"/>
                          <a:cs typeface="Verdana"/>
                        </a:rPr>
                        <a:t>Analysis | Ranked </a:t>
                      </a:r>
                      <a:r>
                        <a:rPr sz="800" u="sng">
                          <a:solidFill>
                            <a:srgbClr val="87D4EC"/>
                          </a:solidFill>
                          <a:uFill>
                            <a:solidFill>
                              <a:srgbClr val="87D4EC"/>
                            </a:solidFill>
                          </a:uFill>
                          <a:latin typeface="Verdana"/>
                          <a:cs typeface="Verdana"/>
                          <a:hlinkClick r:id="rId16"/>
                        </a:rPr>
                        <a:t>No. 1 </a:t>
                      </a:r>
                      <a:r>
                        <a:rPr sz="800" u="sng" spc="-5">
                          <a:solidFill>
                            <a:srgbClr val="87D4EC"/>
                          </a:solidFill>
                          <a:uFill>
                            <a:solidFill>
                              <a:srgbClr val="87D4EC"/>
                            </a:solidFill>
                          </a:uFill>
                          <a:latin typeface="Verdana"/>
                          <a:cs typeface="Verdana"/>
                          <a:hlinkClick r:id="rId16"/>
                        </a:rPr>
                        <a:t>again in </a:t>
                      </a:r>
                      <a:r>
                        <a:rPr sz="800" u="sng">
                          <a:solidFill>
                            <a:srgbClr val="87D4EC"/>
                          </a:solidFill>
                          <a:uFill>
                            <a:solidFill>
                              <a:srgbClr val="87D4EC"/>
                            </a:solidFill>
                          </a:uFill>
                          <a:latin typeface="Verdana"/>
                          <a:cs typeface="Verdana"/>
                          <a:hlinkClick r:id="rId16"/>
                        </a:rPr>
                        <a:t>2019 for </a:t>
                      </a:r>
                      <a:r>
                        <a:rPr sz="800" u="sng" spc="-5">
                          <a:solidFill>
                            <a:srgbClr val="87D4EC"/>
                          </a:solidFill>
                          <a:uFill>
                            <a:solidFill>
                              <a:srgbClr val="87D4EC"/>
                            </a:solidFill>
                          </a:uFill>
                          <a:latin typeface="Verdana"/>
                          <a:cs typeface="Verdana"/>
                          <a:hlinkClick r:id="rId16"/>
                        </a:rPr>
                        <a:t>the quality </a:t>
                      </a:r>
                      <a:r>
                        <a:rPr sz="800" u="sng">
                          <a:solidFill>
                            <a:srgbClr val="87D4EC"/>
                          </a:solidFill>
                          <a:uFill>
                            <a:solidFill>
                              <a:srgbClr val="87D4EC"/>
                            </a:solidFill>
                          </a:uFill>
                          <a:latin typeface="Verdana"/>
                          <a:cs typeface="Verdana"/>
                          <a:hlinkClick r:id="rId16"/>
                        </a:rPr>
                        <a:t>of </a:t>
                      </a:r>
                      <a:r>
                        <a:rPr sz="800" u="sng" spc="-5">
                          <a:solidFill>
                            <a:srgbClr val="87D4EC"/>
                          </a:solidFill>
                          <a:uFill>
                            <a:solidFill>
                              <a:srgbClr val="87D4EC"/>
                            </a:solidFill>
                          </a:uFill>
                          <a:latin typeface="Verdana"/>
                          <a:cs typeface="Verdana"/>
                          <a:hlinkClick r:id="rId16"/>
                        </a:rPr>
                        <a:t>its</a:t>
                      </a:r>
                      <a:r>
                        <a:rPr sz="800" u="sng" spc="170">
                          <a:solidFill>
                            <a:srgbClr val="87D4EC"/>
                          </a:solidFill>
                          <a:uFill>
                            <a:solidFill>
                              <a:srgbClr val="87D4EC"/>
                            </a:solidFill>
                          </a:uFill>
                          <a:latin typeface="Verdana"/>
                          <a:cs typeface="Verdana"/>
                          <a:hlinkClick r:id="rId16"/>
                        </a:rPr>
                        <a:t> </a:t>
                      </a:r>
                      <a:r>
                        <a:rPr sz="800" u="sng">
                          <a:solidFill>
                            <a:srgbClr val="87D4EC"/>
                          </a:solidFill>
                          <a:uFill>
                            <a:solidFill>
                              <a:srgbClr val="87D4EC"/>
                            </a:solidFill>
                          </a:uFill>
                          <a:latin typeface="Verdana"/>
                          <a:cs typeface="Verdana"/>
                          <a:hlinkClick r:id="rId16"/>
                        </a:rPr>
                        <a:t>research</a:t>
                      </a:r>
                      <a:endParaRPr sz="800">
                        <a:latin typeface="Verdana"/>
                        <a:cs typeface="Verdana"/>
                      </a:endParaRPr>
                    </a:p>
                  </a:txBody>
                  <a:tcPr marL="0" marR="0" marT="635" marB="0">
                    <a:lnL w="28575">
                      <a:solidFill>
                        <a:srgbClr val="D9D9D9"/>
                      </a:solidFill>
                      <a:prstDash val="solid"/>
                    </a:lnL>
                    <a:lnR w="12700">
                      <a:solidFill>
                        <a:srgbClr val="A6A6A6"/>
                      </a:solidFill>
                      <a:prstDash val="solid"/>
                    </a:lnR>
                  </a:tcPr>
                </a:tc>
                <a:tc>
                  <a:txBody>
                    <a:bodyPr/>
                    <a:lstStyle/>
                    <a:p>
                      <a:pPr>
                        <a:lnSpc>
                          <a:spcPct val="100000"/>
                        </a:lnSpc>
                      </a:pPr>
                      <a:endParaRPr sz="1000">
                        <a:latin typeface="Times New Roman"/>
                        <a:cs typeface="Times New Roman"/>
                      </a:endParaRPr>
                    </a:p>
                  </a:txBody>
                  <a:tcPr marL="0" marR="0" marT="0" marB="0">
                    <a:lnL w="12700">
                      <a:solidFill>
                        <a:srgbClr val="A6A6A6"/>
                      </a:solidFill>
                      <a:prstDash val="solid"/>
                    </a:lnL>
                  </a:tcPr>
                </a:tc>
                <a:extLst>
                  <a:ext uri="{0D108BD9-81ED-4DB2-BD59-A6C34878D82A}">
                    <a16:rowId xmlns:a16="http://schemas.microsoft.com/office/drawing/2014/main" val="10002"/>
                  </a:ext>
                </a:extLst>
              </a:tr>
              <a:tr h="1193825">
                <a:tc>
                  <a:txBody>
                    <a:bodyPr/>
                    <a:lstStyle/>
                    <a:p>
                      <a:pPr marL="99060" marR="1356995">
                        <a:lnSpc>
                          <a:spcPct val="100000"/>
                        </a:lnSpc>
                        <a:spcBef>
                          <a:spcPts val="735"/>
                        </a:spcBef>
                      </a:pPr>
                      <a:r>
                        <a:rPr sz="1000" spc="-5">
                          <a:latin typeface="Verdana"/>
                          <a:cs typeface="Verdana"/>
                        </a:rPr>
                        <a:t>Make </a:t>
                      </a:r>
                      <a:r>
                        <a:rPr sz="1000">
                          <a:latin typeface="Verdana"/>
                          <a:cs typeface="Verdana"/>
                        </a:rPr>
                        <a:t>value </a:t>
                      </a:r>
                      <a:r>
                        <a:rPr sz="1000" spc="-10">
                          <a:latin typeface="Verdana"/>
                          <a:cs typeface="Verdana"/>
                        </a:rPr>
                        <a:t>from </a:t>
                      </a:r>
                      <a:r>
                        <a:rPr sz="1000" spc="-5">
                          <a:latin typeface="Verdana"/>
                          <a:cs typeface="Verdana"/>
                        </a:rPr>
                        <a:t>technology and </a:t>
                      </a:r>
                      <a:r>
                        <a:rPr sz="1000" spc="-10">
                          <a:latin typeface="Verdana"/>
                          <a:cs typeface="Verdana"/>
                        </a:rPr>
                        <a:t>work </a:t>
                      </a:r>
                      <a:r>
                        <a:rPr sz="1000" spc="-5">
                          <a:latin typeface="Verdana"/>
                          <a:cs typeface="Verdana"/>
                        </a:rPr>
                        <a:t>closely, at  a local level, </a:t>
                      </a:r>
                      <a:r>
                        <a:rPr sz="1000">
                          <a:latin typeface="Verdana"/>
                          <a:cs typeface="Verdana"/>
                        </a:rPr>
                        <a:t>with clients </a:t>
                      </a:r>
                      <a:r>
                        <a:rPr sz="1000" spc="-5">
                          <a:latin typeface="Verdana"/>
                          <a:cs typeface="Verdana"/>
                        </a:rPr>
                        <a:t>to deliver technology  services </a:t>
                      </a:r>
                      <a:r>
                        <a:rPr sz="1000" spc="-10">
                          <a:latin typeface="Verdana"/>
                          <a:cs typeface="Verdana"/>
                        </a:rPr>
                        <a:t>for </a:t>
                      </a:r>
                      <a:r>
                        <a:rPr sz="1000" spc="-5">
                          <a:latin typeface="Verdana"/>
                          <a:cs typeface="Verdana"/>
                        </a:rPr>
                        <a:t>infrastructure, </a:t>
                      </a:r>
                      <a:r>
                        <a:rPr sz="1000">
                          <a:latin typeface="Verdana"/>
                          <a:cs typeface="Verdana"/>
                        </a:rPr>
                        <a:t>applications,  </a:t>
                      </a:r>
                      <a:r>
                        <a:rPr sz="1000" spc="-5">
                          <a:latin typeface="Verdana"/>
                          <a:cs typeface="Verdana"/>
                        </a:rPr>
                        <a:t>engineering, testing and</a:t>
                      </a:r>
                      <a:r>
                        <a:rPr sz="1000" spc="40">
                          <a:latin typeface="Verdana"/>
                          <a:cs typeface="Verdana"/>
                        </a:rPr>
                        <a:t> </a:t>
                      </a:r>
                      <a:r>
                        <a:rPr sz="1000" spc="-5">
                          <a:latin typeface="Verdana"/>
                          <a:cs typeface="Verdana"/>
                        </a:rPr>
                        <a:t>operations</a:t>
                      </a:r>
                      <a:endParaRPr sz="1000">
                        <a:latin typeface="Verdana"/>
                        <a:cs typeface="Verdana"/>
                      </a:endParaRPr>
                    </a:p>
                  </a:txBody>
                  <a:tcPr marL="0" marR="0" marT="93345" marB="0">
                    <a:lnR w="28575">
                      <a:solidFill>
                        <a:srgbClr val="D9D9D9"/>
                      </a:solidFill>
                      <a:prstDash val="solid"/>
                    </a:lnR>
                  </a:tcPr>
                </a:tc>
                <a:tc>
                  <a:txBody>
                    <a:bodyPr/>
                    <a:lstStyle/>
                    <a:p>
                      <a:pPr>
                        <a:lnSpc>
                          <a:spcPct val="100000"/>
                        </a:lnSpc>
                      </a:pPr>
                      <a:endParaRPr sz="1000">
                        <a:latin typeface="Times New Roman"/>
                        <a:cs typeface="Times New Roman"/>
                      </a:endParaRPr>
                    </a:p>
                  </a:txBody>
                  <a:tcPr marL="0" marR="0" marT="0" marB="0">
                    <a:lnL w="28575">
                      <a:solidFill>
                        <a:srgbClr val="D9D9D9"/>
                      </a:solidFill>
                      <a:prstDash val="solid"/>
                    </a:lnL>
                    <a:lnR w="12700">
                      <a:solidFill>
                        <a:srgbClr val="A6A6A6"/>
                      </a:solidFill>
                      <a:prstDash val="solid"/>
                    </a:lnR>
                  </a:tcPr>
                </a:tc>
                <a:tc>
                  <a:txBody>
                    <a:bodyPr/>
                    <a:lstStyle/>
                    <a:p>
                      <a:pPr>
                        <a:lnSpc>
                          <a:spcPct val="100000"/>
                        </a:lnSpc>
                        <a:spcBef>
                          <a:spcPts val="10"/>
                        </a:spcBef>
                      </a:pPr>
                      <a:endParaRPr sz="1050">
                        <a:latin typeface="Times New Roman"/>
                        <a:cs typeface="Times New Roman"/>
                      </a:endParaRPr>
                    </a:p>
                    <a:p>
                      <a:pPr marL="99695" marR="66040" algn="ctr">
                        <a:lnSpc>
                          <a:spcPct val="100000"/>
                        </a:lnSpc>
                        <a:spcBef>
                          <a:spcPts val="5"/>
                        </a:spcBef>
                      </a:pPr>
                      <a:r>
                        <a:rPr sz="800" b="1">
                          <a:latin typeface="Verdana"/>
                          <a:cs typeface="Verdana"/>
                        </a:rPr>
                        <a:t>Global network  designed to  enable  enterprises to  establish how  </a:t>
                      </a:r>
                      <a:r>
                        <a:rPr sz="800" b="1" spc="5">
                          <a:latin typeface="Verdana"/>
                          <a:cs typeface="Verdana"/>
                        </a:rPr>
                        <a:t>they </a:t>
                      </a:r>
                      <a:r>
                        <a:rPr sz="800" b="1">
                          <a:latin typeface="Verdana"/>
                          <a:cs typeface="Verdana"/>
                        </a:rPr>
                        <a:t>realize</a:t>
                      </a:r>
                      <a:r>
                        <a:rPr sz="800" b="1" spc="-85">
                          <a:latin typeface="Verdana"/>
                          <a:cs typeface="Verdana"/>
                        </a:rPr>
                        <a:t> </a:t>
                      </a:r>
                      <a:r>
                        <a:rPr sz="800" b="1">
                          <a:latin typeface="Verdana"/>
                          <a:cs typeface="Verdana"/>
                        </a:rPr>
                        <a:t>their  innovation  opportunities</a:t>
                      </a:r>
                      <a:endParaRPr sz="800">
                        <a:latin typeface="Verdana"/>
                        <a:cs typeface="Verdana"/>
                      </a:endParaRPr>
                    </a:p>
                  </a:txBody>
                  <a:tcPr marL="0" marR="0" marT="1270" marB="0">
                    <a:lnL w="12700">
                      <a:solidFill>
                        <a:srgbClr val="A6A6A6"/>
                      </a:solidFill>
                      <a:prstDash val="solid"/>
                    </a:lnL>
                  </a:tcPr>
                </a:tc>
                <a:extLst>
                  <a:ext uri="{0D108BD9-81ED-4DB2-BD59-A6C34878D82A}">
                    <a16:rowId xmlns:a16="http://schemas.microsoft.com/office/drawing/2014/main" val="10003"/>
                  </a:ext>
                </a:extLst>
              </a:tr>
              <a:tr h="346947">
                <a:tc>
                  <a:txBody>
                    <a:bodyPr/>
                    <a:lstStyle/>
                    <a:p>
                      <a:pPr marL="83820">
                        <a:lnSpc>
                          <a:spcPct val="100000"/>
                        </a:lnSpc>
                        <a:spcBef>
                          <a:spcPts val="665"/>
                        </a:spcBef>
                      </a:pPr>
                      <a:r>
                        <a:rPr sz="700" u="sng" spc="-5">
                          <a:solidFill>
                            <a:srgbClr val="87D4EC"/>
                          </a:solidFill>
                          <a:uFill>
                            <a:solidFill>
                              <a:srgbClr val="87D4EC"/>
                            </a:solidFill>
                          </a:uFill>
                          <a:latin typeface="Verdana"/>
                          <a:cs typeface="Verdana"/>
                          <a:hlinkClick r:id="rId17"/>
                        </a:rPr>
                        <a:t>See all our</a:t>
                      </a:r>
                      <a:r>
                        <a:rPr sz="700" u="sng">
                          <a:solidFill>
                            <a:srgbClr val="87D4EC"/>
                          </a:solidFill>
                          <a:uFill>
                            <a:solidFill>
                              <a:srgbClr val="87D4EC"/>
                            </a:solidFill>
                          </a:uFill>
                          <a:latin typeface="Verdana"/>
                          <a:cs typeface="Verdana"/>
                          <a:hlinkClick r:id="rId17"/>
                        </a:rPr>
                        <a:t> </a:t>
                      </a:r>
                      <a:r>
                        <a:rPr sz="700" u="sng" spc="-5">
                          <a:solidFill>
                            <a:srgbClr val="87D4EC"/>
                          </a:solidFill>
                          <a:uFill>
                            <a:solidFill>
                              <a:srgbClr val="87D4EC"/>
                            </a:solidFill>
                          </a:uFill>
                          <a:latin typeface="Verdana"/>
                          <a:cs typeface="Verdana"/>
                          <a:hlinkClick r:id="rId17"/>
                        </a:rPr>
                        <a:t>Brands</a:t>
                      </a:r>
                      <a:endParaRPr sz="700">
                        <a:latin typeface="Verdana"/>
                        <a:cs typeface="Verdana"/>
                      </a:endParaRPr>
                    </a:p>
                  </a:txBody>
                  <a:tcPr marL="0" marR="0" marT="84455" marB="0">
                    <a:lnR w="28575">
                      <a:solidFill>
                        <a:srgbClr val="D9D9D9"/>
                      </a:solidFill>
                      <a:prstDash val="solid"/>
                    </a:lnR>
                    <a:lnB w="53975">
                      <a:solidFill>
                        <a:srgbClr val="006FAC"/>
                      </a:solidFill>
                      <a:prstDash val="solid"/>
                    </a:lnB>
                  </a:tcPr>
                </a:tc>
                <a:tc>
                  <a:txBody>
                    <a:bodyPr/>
                    <a:lstStyle/>
                    <a:p>
                      <a:pPr marL="1910080" marR="302895" indent="-1550670">
                        <a:lnSpc>
                          <a:spcPct val="100000"/>
                        </a:lnSpc>
                        <a:spcBef>
                          <a:spcPts val="165"/>
                        </a:spcBef>
                      </a:pPr>
                      <a:r>
                        <a:rPr sz="700" b="1" spc="-5">
                          <a:solidFill>
                            <a:srgbClr val="12ABDB"/>
                          </a:solidFill>
                          <a:latin typeface="Verdana"/>
                          <a:cs typeface="Verdana"/>
                        </a:rPr>
                        <a:t>Credible Expert </a:t>
                      </a:r>
                      <a:r>
                        <a:rPr sz="700" b="1" spc="-10">
                          <a:solidFill>
                            <a:srgbClr val="12ABDB"/>
                          </a:solidFill>
                          <a:latin typeface="Verdana"/>
                          <a:cs typeface="Verdana"/>
                        </a:rPr>
                        <a:t>Authors </a:t>
                      </a:r>
                      <a:r>
                        <a:rPr sz="700" b="1" spc="-5">
                          <a:solidFill>
                            <a:srgbClr val="12ABDB"/>
                          </a:solidFill>
                          <a:latin typeface="Verdana"/>
                          <a:cs typeface="Verdana"/>
                        </a:rPr>
                        <a:t>| In-depth interviews with </a:t>
                      </a:r>
                      <a:r>
                        <a:rPr sz="700" b="1" spc="-10">
                          <a:solidFill>
                            <a:srgbClr val="12ABDB"/>
                          </a:solidFill>
                          <a:latin typeface="Verdana"/>
                          <a:cs typeface="Verdana"/>
                        </a:rPr>
                        <a:t>Industry </a:t>
                      </a:r>
                      <a:r>
                        <a:rPr sz="700" b="1" spc="-5">
                          <a:solidFill>
                            <a:srgbClr val="12ABDB"/>
                          </a:solidFill>
                          <a:latin typeface="Verdana"/>
                          <a:cs typeface="Verdana"/>
                        </a:rPr>
                        <a:t>Leaders | Think Tank | External and Internal  Surveys Blogs | Journals | Research Papers</a:t>
                      </a:r>
                      <a:endParaRPr sz="700">
                        <a:latin typeface="Verdana"/>
                        <a:cs typeface="Verdana"/>
                      </a:endParaRPr>
                    </a:p>
                  </a:txBody>
                  <a:tcPr marL="0" marR="0" marT="20955" marB="0">
                    <a:lnL w="28575">
                      <a:solidFill>
                        <a:srgbClr val="D9D9D9"/>
                      </a:solidFill>
                      <a:prstDash val="solid"/>
                    </a:lnL>
                    <a:lnR w="12700">
                      <a:solidFill>
                        <a:srgbClr val="A6A6A6"/>
                      </a:solidFill>
                      <a:prstDash val="solid"/>
                    </a:lnR>
                    <a:lnB w="53975">
                      <a:solidFill>
                        <a:srgbClr val="006FAC"/>
                      </a:solidFill>
                      <a:prstDash val="solid"/>
                    </a:lnB>
                  </a:tcPr>
                </a:tc>
                <a:tc>
                  <a:txBody>
                    <a:bodyPr/>
                    <a:lstStyle/>
                    <a:p>
                      <a:pPr>
                        <a:lnSpc>
                          <a:spcPct val="100000"/>
                        </a:lnSpc>
                      </a:pPr>
                      <a:endParaRPr sz="1000">
                        <a:latin typeface="Times New Roman"/>
                        <a:cs typeface="Times New Roman"/>
                      </a:endParaRPr>
                    </a:p>
                  </a:txBody>
                  <a:tcPr marL="0" marR="0" marT="0" marB="0">
                    <a:lnL w="12700">
                      <a:solidFill>
                        <a:srgbClr val="A6A6A6"/>
                      </a:solidFill>
                      <a:prstDash val="solid"/>
                    </a:lnL>
                    <a:lnB w="53975">
                      <a:solidFill>
                        <a:srgbClr val="006FAC"/>
                      </a:solidFill>
                      <a:prstDash val="solid"/>
                    </a:lnB>
                  </a:tcPr>
                </a:tc>
                <a:extLst>
                  <a:ext uri="{0D108BD9-81ED-4DB2-BD59-A6C34878D82A}">
                    <a16:rowId xmlns:a16="http://schemas.microsoft.com/office/drawing/2014/main" val="10004"/>
                  </a:ext>
                </a:extLst>
              </a:tr>
            </a:tbl>
          </a:graphicData>
        </a:graphic>
      </p:graphicFrame>
      <p:sp>
        <p:nvSpPr>
          <p:cNvPr id="270" name="object 270"/>
          <p:cNvSpPr/>
          <p:nvPr/>
        </p:nvSpPr>
        <p:spPr>
          <a:xfrm>
            <a:off x="9165335" y="5081015"/>
            <a:ext cx="548640" cy="765048"/>
          </a:xfrm>
          <a:prstGeom prst="rect">
            <a:avLst/>
          </a:prstGeom>
          <a:blipFill>
            <a:blip r:embed="rId18" cstate="print"/>
            <a:stretch>
              <a:fillRect/>
            </a:stretch>
          </a:blipFill>
        </p:spPr>
        <p:txBody>
          <a:bodyPr wrap="square" lIns="0" tIns="0" rIns="0" bIns="0" rtlCol="0"/>
          <a:lstStyle/>
          <a:p>
            <a:endParaRPr/>
          </a:p>
        </p:txBody>
      </p:sp>
      <p:sp>
        <p:nvSpPr>
          <p:cNvPr id="271" name="object 271"/>
          <p:cNvSpPr/>
          <p:nvPr/>
        </p:nvSpPr>
        <p:spPr>
          <a:xfrm>
            <a:off x="7303007" y="5081015"/>
            <a:ext cx="548640" cy="765048"/>
          </a:xfrm>
          <a:prstGeom prst="rect">
            <a:avLst/>
          </a:prstGeom>
          <a:blipFill>
            <a:blip r:embed="rId19" cstate="print"/>
            <a:stretch>
              <a:fillRect/>
            </a:stretch>
          </a:blipFill>
        </p:spPr>
        <p:txBody>
          <a:bodyPr wrap="square" lIns="0" tIns="0" rIns="0" bIns="0" rtlCol="0"/>
          <a:lstStyle/>
          <a:p>
            <a:endParaRPr/>
          </a:p>
        </p:txBody>
      </p:sp>
      <p:sp>
        <p:nvSpPr>
          <p:cNvPr id="272" name="object 272"/>
          <p:cNvSpPr/>
          <p:nvPr/>
        </p:nvSpPr>
        <p:spPr>
          <a:xfrm>
            <a:off x="8234171" y="5070347"/>
            <a:ext cx="548640" cy="775715"/>
          </a:xfrm>
          <a:prstGeom prst="rect">
            <a:avLst/>
          </a:prstGeom>
          <a:blipFill>
            <a:blip r:embed="rId20" cstate="print"/>
            <a:stretch>
              <a:fillRect/>
            </a:stretch>
          </a:blipFill>
        </p:spPr>
        <p:txBody>
          <a:bodyPr wrap="square" lIns="0" tIns="0" rIns="0" bIns="0" rtlCol="0"/>
          <a:lstStyle/>
          <a:p>
            <a:endParaRPr/>
          </a:p>
        </p:txBody>
      </p:sp>
      <p:sp>
        <p:nvSpPr>
          <p:cNvPr id="273" name="object 273"/>
          <p:cNvSpPr/>
          <p:nvPr/>
        </p:nvSpPr>
        <p:spPr>
          <a:xfrm>
            <a:off x="10094976" y="5077967"/>
            <a:ext cx="544068" cy="768095"/>
          </a:xfrm>
          <a:prstGeom prst="rect">
            <a:avLst/>
          </a:prstGeom>
          <a:blipFill>
            <a:blip r:embed="rId21" cstate="print"/>
            <a:stretch>
              <a:fillRect/>
            </a:stretch>
          </a:blipFill>
        </p:spPr>
        <p:txBody>
          <a:bodyPr wrap="square" lIns="0" tIns="0" rIns="0" bIns="0" rtlCol="0"/>
          <a:lstStyle/>
          <a:p>
            <a:endParaRPr/>
          </a:p>
        </p:txBody>
      </p:sp>
      <p:sp>
        <p:nvSpPr>
          <p:cNvPr id="274" name="object 274"/>
          <p:cNvSpPr/>
          <p:nvPr/>
        </p:nvSpPr>
        <p:spPr>
          <a:xfrm>
            <a:off x="272795" y="5500115"/>
            <a:ext cx="931104" cy="342798"/>
          </a:xfrm>
          <a:prstGeom prst="rect">
            <a:avLst/>
          </a:prstGeom>
          <a:blipFill>
            <a:blip r:embed="rId22" cstate="print"/>
            <a:stretch>
              <a:fillRect/>
            </a:stretch>
          </a:blipFill>
        </p:spPr>
        <p:txBody>
          <a:bodyPr wrap="square" lIns="0" tIns="0" rIns="0" bIns="0" rtlCol="0"/>
          <a:lstStyle/>
          <a:p>
            <a:endParaRPr/>
          </a:p>
        </p:txBody>
      </p:sp>
      <p:sp>
        <p:nvSpPr>
          <p:cNvPr id="275" name="object 275"/>
          <p:cNvSpPr/>
          <p:nvPr/>
        </p:nvSpPr>
        <p:spPr>
          <a:xfrm>
            <a:off x="1409700" y="5510784"/>
            <a:ext cx="659892" cy="345947"/>
          </a:xfrm>
          <a:prstGeom prst="rect">
            <a:avLst/>
          </a:prstGeom>
          <a:blipFill>
            <a:blip r:embed="rId23" cstate="print"/>
            <a:stretch>
              <a:fillRect/>
            </a:stretch>
          </a:blipFill>
        </p:spPr>
        <p:txBody>
          <a:bodyPr wrap="square" lIns="0" tIns="0" rIns="0" bIns="0" rtlCol="0"/>
          <a:lstStyle/>
          <a:p>
            <a:endParaRPr/>
          </a:p>
        </p:txBody>
      </p:sp>
      <p:sp>
        <p:nvSpPr>
          <p:cNvPr id="276" name="object 276"/>
          <p:cNvSpPr/>
          <p:nvPr/>
        </p:nvSpPr>
        <p:spPr>
          <a:xfrm>
            <a:off x="2264664" y="5503164"/>
            <a:ext cx="732994" cy="359664"/>
          </a:xfrm>
          <a:prstGeom prst="rect">
            <a:avLst/>
          </a:prstGeom>
          <a:blipFill>
            <a:blip r:embed="rId24" cstate="print"/>
            <a:stretch>
              <a:fillRect/>
            </a:stretch>
          </a:blipFill>
        </p:spPr>
        <p:txBody>
          <a:bodyPr wrap="square" lIns="0" tIns="0" rIns="0" bIns="0" rtlCol="0"/>
          <a:lstStyle/>
          <a:p>
            <a:endParaRPr/>
          </a:p>
        </p:txBody>
      </p:sp>
      <p:sp>
        <p:nvSpPr>
          <p:cNvPr id="277" name="object 277"/>
          <p:cNvSpPr/>
          <p:nvPr/>
        </p:nvSpPr>
        <p:spPr>
          <a:xfrm>
            <a:off x="3215639" y="5550408"/>
            <a:ext cx="1303019" cy="266700"/>
          </a:xfrm>
          <a:prstGeom prst="rect">
            <a:avLst/>
          </a:prstGeom>
          <a:blipFill>
            <a:blip r:embed="rId25" cstate="print"/>
            <a:stretch>
              <a:fillRect/>
            </a:stretch>
          </a:blipFill>
        </p:spPr>
        <p:txBody>
          <a:bodyPr wrap="square" lIns="0" tIns="0" rIns="0" bIns="0" rtlCol="0"/>
          <a:lstStyle/>
          <a:p>
            <a:endParaRPr/>
          </a:p>
        </p:txBody>
      </p:sp>
      <p:sp>
        <p:nvSpPr>
          <p:cNvPr id="278" name="object 278"/>
          <p:cNvSpPr/>
          <p:nvPr/>
        </p:nvSpPr>
        <p:spPr>
          <a:xfrm>
            <a:off x="9829765" y="1615385"/>
            <a:ext cx="2087915" cy="1315547"/>
          </a:xfrm>
          <a:prstGeom prst="rect">
            <a:avLst/>
          </a:prstGeom>
          <a:blipFill>
            <a:blip r:embed="rId26" cstate="print"/>
            <a:stretch>
              <a:fillRect/>
            </a:stretch>
          </a:blipFill>
        </p:spPr>
        <p:txBody>
          <a:bodyPr wrap="square" lIns="0" tIns="0" rIns="0" bIns="0" rtlCol="0"/>
          <a:lstStyle/>
          <a:p>
            <a:endParaRPr/>
          </a:p>
        </p:txBody>
      </p:sp>
      <p:sp>
        <p:nvSpPr>
          <p:cNvPr id="304" name="object 30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05" name="object 30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5</a:t>
            </a:fld>
            <a:endParaRPr/>
          </a:p>
        </p:txBody>
      </p:sp>
      <p:sp>
        <p:nvSpPr>
          <p:cNvPr id="306" name="Rounded Rectangle 267">
            <a:extLst>
              <a:ext uri="{FF2B5EF4-FFF2-40B4-BE49-F238E27FC236}">
                <a16:creationId xmlns:a16="http://schemas.microsoft.com/office/drawing/2014/main" id="{AB64684A-D7ED-42B4-AF03-C2B65574EDC2}"/>
              </a:ext>
            </a:extLst>
          </p:cNvPr>
          <p:cNvSpPr/>
          <p:nvPr/>
        </p:nvSpPr>
        <p:spPr>
          <a:xfrm>
            <a:off x="237072" y="1123881"/>
            <a:ext cx="2883740" cy="330980"/>
          </a:xfrm>
          <a:prstGeom prst="roundRect">
            <a:avLst/>
          </a:prstGeom>
          <a:solidFill>
            <a:srgbClr val="12ABDB"/>
          </a:solidFill>
        </p:spPr>
        <p:txBody>
          <a:bodyPr wrap="square" lIns="0" tIns="0" rIns="0" bIns="0" rtlCol="0" anchor="ctr"/>
          <a:lstStyle/>
          <a:p>
            <a:pPr algn="ctr"/>
            <a:r>
              <a:rPr lang="en-US" sz="1050" b="1" spc="-5">
                <a:solidFill>
                  <a:srgbClr val="FFFFFF"/>
                </a:solidFill>
                <a:latin typeface="Verdana"/>
              </a:rPr>
              <a:t>KEY FIGURES</a:t>
            </a:r>
          </a:p>
        </p:txBody>
      </p:sp>
      <p:sp>
        <p:nvSpPr>
          <p:cNvPr id="307" name="Rounded Rectangle 268">
            <a:extLst>
              <a:ext uri="{FF2B5EF4-FFF2-40B4-BE49-F238E27FC236}">
                <a16:creationId xmlns:a16="http://schemas.microsoft.com/office/drawing/2014/main" id="{A1DFDC2B-5257-4DE5-A854-F7F23B0AF4E8}"/>
              </a:ext>
            </a:extLst>
          </p:cNvPr>
          <p:cNvSpPr/>
          <p:nvPr/>
        </p:nvSpPr>
        <p:spPr>
          <a:xfrm>
            <a:off x="3317319" y="1123881"/>
            <a:ext cx="3924224" cy="330980"/>
          </a:xfrm>
          <a:prstGeom prst="roundRect">
            <a:avLst/>
          </a:prstGeom>
          <a:solidFill>
            <a:srgbClr val="12ABDB"/>
          </a:solidFill>
        </p:spPr>
        <p:txBody>
          <a:bodyPr wrap="square" lIns="0" tIns="0" rIns="0" bIns="0" rtlCol="0" anchor="ctr"/>
          <a:lstStyle/>
          <a:p>
            <a:pPr algn="ctr"/>
            <a:r>
              <a:rPr lang="en-US" sz="1050" b="1" spc="-5">
                <a:solidFill>
                  <a:srgbClr val="FFFFFF"/>
                </a:solidFill>
                <a:latin typeface="Verdana"/>
              </a:rPr>
              <a:t>ONE TEAM</a:t>
            </a:r>
          </a:p>
        </p:txBody>
      </p:sp>
      <p:cxnSp>
        <p:nvCxnSpPr>
          <p:cNvPr id="308" name="Straight Connector 307">
            <a:extLst>
              <a:ext uri="{FF2B5EF4-FFF2-40B4-BE49-F238E27FC236}">
                <a16:creationId xmlns:a16="http://schemas.microsoft.com/office/drawing/2014/main" id="{684F86B0-B491-4970-99A7-4CE9A919C376}"/>
              </a:ext>
            </a:extLst>
          </p:cNvPr>
          <p:cNvCxnSpPr/>
          <p:nvPr/>
        </p:nvCxnSpPr>
        <p:spPr>
          <a:xfrm>
            <a:off x="7338696" y="1123881"/>
            <a:ext cx="0" cy="2468880"/>
          </a:xfrm>
          <a:prstGeom prst="line">
            <a:avLst/>
          </a:prstGeom>
          <a:solidFill>
            <a:schemeClr val="tx1"/>
          </a:solidFill>
          <a:ln w="12700" cap="flat">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6860443D-85C2-4945-B3FF-CA3BD5DDAB67}"/>
              </a:ext>
            </a:extLst>
          </p:cNvPr>
          <p:cNvCxnSpPr/>
          <p:nvPr/>
        </p:nvCxnSpPr>
        <p:spPr>
          <a:xfrm>
            <a:off x="3217965" y="1123881"/>
            <a:ext cx="2201" cy="2468880"/>
          </a:xfrm>
          <a:prstGeom prst="line">
            <a:avLst/>
          </a:prstGeom>
          <a:solidFill>
            <a:schemeClr val="tx1"/>
          </a:solidFill>
          <a:ln w="12700" cap="flat">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pic>
        <p:nvPicPr>
          <p:cNvPr id="310" name="Picture 309">
            <a:extLst>
              <a:ext uri="{FF2B5EF4-FFF2-40B4-BE49-F238E27FC236}">
                <a16:creationId xmlns:a16="http://schemas.microsoft.com/office/drawing/2014/main" id="{1E5C367B-20F0-455B-A3F9-C2FC24EFD1EC}"/>
              </a:ext>
            </a:extLst>
          </p:cNvPr>
          <p:cNvPicPr>
            <a:picLocks noChangeAspect="1"/>
          </p:cNvPicPr>
          <p:nvPr/>
        </p:nvPicPr>
        <p:blipFill>
          <a:blip r:embed="rId27"/>
          <a:stretch>
            <a:fillRect/>
          </a:stretch>
        </p:blipFill>
        <p:spPr>
          <a:xfrm>
            <a:off x="223076" y="1475224"/>
            <a:ext cx="2758954" cy="2222178"/>
          </a:xfrm>
          <a:prstGeom prst="rect">
            <a:avLst/>
          </a:prstGeom>
        </p:spPr>
      </p:pic>
      <p:pic>
        <p:nvPicPr>
          <p:cNvPr id="311" name="Picture 310">
            <a:extLst>
              <a:ext uri="{FF2B5EF4-FFF2-40B4-BE49-F238E27FC236}">
                <a16:creationId xmlns:a16="http://schemas.microsoft.com/office/drawing/2014/main" id="{1990BED5-1CF6-4743-A177-765DD813B91B}"/>
              </a:ext>
            </a:extLst>
          </p:cNvPr>
          <p:cNvPicPr>
            <a:picLocks noChangeAspect="1"/>
          </p:cNvPicPr>
          <p:nvPr/>
        </p:nvPicPr>
        <p:blipFill>
          <a:blip r:embed="rId28"/>
          <a:stretch>
            <a:fillRect/>
          </a:stretch>
        </p:blipFill>
        <p:spPr>
          <a:xfrm>
            <a:off x="3362445" y="1497242"/>
            <a:ext cx="3720367" cy="2164852"/>
          </a:xfrm>
          <a:prstGeom prst="rect">
            <a:avLst/>
          </a:prstGeom>
        </p:spPr>
      </p:pic>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50</a:t>
            </a:fld>
            <a:endParaRPr sz="800">
              <a:latin typeface="Verdana"/>
              <a:cs typeface="Verdana"/>
            </a:endParaRPr>
          </a:p>
        </p:txBody>
      </p:sp>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101485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a:t>Wave 1 – </a:t>
            </a:r>
            <a:r>
              <a:rPr lang="en-US" sz="2600" kern="0" spc="-10" err="1"/>
              <a:t>substreams</a:t>
            </a:r>
            <a:r>
              <a:rPr lang="en-US" sz="2600" kern="0" spc="-10"/>
              <a:t> and synergies in the plan</a:t>
            </a:r>
            <a:endParaRPr lang="en-US" sz="2600" kern="0"/>
          </a:p>
        </p:txBody>
      </p:sp>
      <p:sp>
        <p:nvSpPr>
          <p:cNvPr id="8" name="TextBox 7">
            <a:extLst>
              <a:ext uri="{FF2B5EF4-FFF2-40B4-BE49-F238E27FC236}">
                <a16:creationId xmlns:a16="http://schemas.microsoft.com/office/drawing/2014/main" id="{1453F045-EF1A-49CA-9FA0-FCD6494F41AB}"/>
              </a:ext>
            </a:extLst>
          </p:cNvPr>
          <p:cNvSpPr txBox="1"/>
          <p:nvPr/>
        </p:nvSpPr>
        <p:spPr>
          <a:xfrm>
            <a:off x="214680" y="914400"/>
            <a:ext cx="11139120" cy="276999"/>
          </a:xfrm>
          <a:prstGeom prst="rect">
            <a:avLst/>
          </a:prstGeom>
          <a:noFill/>
        </p:spPr>
        <p:txBody>
          <a:bodyPr wrap="square" rtlCol="0">
            <a:spAutoFit/>
          </a:bodyPr>
          <a:lstStyle/>
          <a:p>
            <a:r>
              <a:rPr lang="it-IT" sz="1200">
                <a:latin typeface="Verdana" panose="020B0604030504040204" pitchFamily="34" charset="0"/>
                <a:ea typeface="Verdana" panose="020B0604030504040204" pitchFamily="34" charset="0"/>
              </a:rPr>
              <a:t>The </a:t>
            </a:r>
            <a:r>
              <a:rPr lang="it-IT" sz="1200" err="1">
                <a:latin typeface="Verdana" panose="020B0604030504040204" pitchFamily="34" charset="0"/>
                <a:ea typeface="Verdana" panose="020B0604030504040204" pitchFamily="34" charset="0"/>
              </a:rPr>
              <a:t>following</a:t>
            </a:r>
            <a:r>
              <a:rPr lang="it-IT" sz="1200">
                <a:latin typeface="Verdana" panose="020B0604030504040204" pitchFamily="34" charset="0"/>
                <a:ea typeface="Verdana" panose="020B0604030504040204" pitchFamily="34" charset="0"/>
              </a:rPr>
              <a:t> </a:t>
            </a:r>
            <a:r>
              <a:rPr lang="it-IT" sz="1200" err="1">
                <a:latin typeface="Verdana" panose="020B0604030504040204" pitchFamily="34" charset="0"/>
                <a:ea typeface="Verdana" panose="020B0604030504040204" pitchFamily="34" charset="0"/>
              </a:rPr>
              <a:t>picture</a:t>
            </a:r>
            <a:r>
              <a:rPr lang="it-IT" sz="1200">
                <a:latin typeface="Verdana" panose="020B0604030504040204" pitchFamily="34" charset="0"/>
                <a:ea typeface="Verdana" panose="020B0604030504040204" pitchFamily="34" charset="0"/>
              </a:rPr>
              <a:t> </a:t>
            </a:r>
            <a:r>
              <a:rPr lang="it-IT" sz="1200" err="1">
                <a:latin typeface="Verdana" panose="020B0604030504040204" pitchFamily="34" charset="0"/>
                <a:ea typeface="Verdana" panose="020B0604030504040204" pitchFamily="34" charset="0"/>
              </a:rPr>
              <a:t>summarizes</a:t>
            </a:r>
            <a:r>
              <a:rPr lang="it-IT" sz="1200">
                <a:latin typeface="Verdana" panose="020B0604030504040204" pitchFamily="34" charset="0"/>
                <a:ea typeface="Verdana" panose="020B0604030504040204" pitchFamily="34" charset="0"/>
              </a:rPr>
              <a:t> the </a:t>
            </a:r>
            <a:r>
              <a:rPr lang="it-IT" sz="1200" err="1">
                <a:latin typeface="Verdana" panose="020B0604030504040204" pitchFamily="34" charset="0"/>
                <a:ea typeface="Verdana" panose="020B0604030504040204" pitchFamily="34" charset="0"/>
              </a:rPr>
              <a:t>project</a:t>
            </a:r>
            <a:r>
              <a:rPr lang="it-IT" sz="1200">
                <a:latin typeface="Verdana" panose="020B0604030504040204" pitchFamily="34" charset="0"/>
                <a:ea typeface="Verdana" panose="020B0604030504040204" pitchFamily="34" charset="0"/>
              </a:rPr>
              <a:t> </a:t>
            </a:r>
            <a:r>
              <a:rPr lang="it-IT" sz="1200" err="1">
                <a:latin typeface="Verdana" panose="020B0604030504040204" pitchFamily="34" charset="0"/>
                <a:ea typeface="Verdana" panose="020B0604030504040204" pitchFamily="34" charset="0"/>
              </a:rPr>
              <a:t>plan</a:t>
            </a:r>
            <a:r>
              <a:rPr lang="it-IT" sz="1200">
                <a:latin typeface="Verdana" panose="020B0604030504040204" pitchFamily="34" charset="0"/>
                <a:ea typeface="Verdana" panose="020B0604030504040204" pitchFamily="34" charset="0"/>
              </a:rPr>
              <a:t> for </a:t>
            </a:r>
            <a:r>
              <a:rPr lang="it-IT" sz="1200" err="1">
                <a:latin typeface="Verdana" panose="020B0604030504040204" pitchFamily="34" charset="0"/>
                <a:ea typeface="Verdana" panose="020B0604030504040204" pitchFamily="34" charset="0"/>
              </a:rPr>
              <a:t>wave</a:t>
            </a:r>
            <a:r>
              <a:rPr lang="it-IT" sz="1200">
                <a:latin typeface="Verdana" panose="020B0604030504040204" pitchFamily="34" charset="0"/>
                <a:ea typeface="Verdana" panose="020B0604030504040204" pitchFamily="34" charset="0"/>
              </a:rPr>
              <a:t> 1 with </a:t>
            </a:r>
            <a:r>
              <a:rPr lang="it-IT" sz="1200" err="1">
                <a:latin typeface="Verdana" panose="020B0604030504040204" pitchFamily="34" charset="0"/>
                <a:ea typeface="Verdana" panose="020B0604030504040204" pitchFamily="34" charset="0"/>
              </a:rPr>
              <a:t>evidence</a:t>
            </a:r>
            <a:r>
              <a:rPr lang="it-IT" sz="1200">
                <a:latin typeface="Verdana" panose="020B0604030504040204" pitchFamily="34" charset="0"/>
                <a:ea typeface="Verdana" panose="020B0604030504040204" pitchFamily="34" charset="0"/>
              </a:rPr>
              <a:t> </a:t>
            </a:r>
            <a:r>
              <a:rPr lang="it-IT" sz="1200" err="1">
                <a:latin typeface="Verdana" panose="020B0604030504040204" pitchFamily="34" charset="0"/>
                <a:ea typeface="Verdana" panose="020B0604030504040204" pitchFamily="34" charset="0"/>
              </a:rPr>
              <a:t>about</a:t>
            </a:r>
            <a:r>
              <a:rPr lang="it-IT" sz="1200">
                <a:latin typeface="Verdana" panose="020B0604030504040204" pitchFamily="34" charset="0"/>
                <a:ea typeface="Verdana" panose="020B0604030504040204" pitchFamily="34" charset="0"/>
              </a:rPr>
              <a:t> </a:t>
            </a:r>
            <a:r>
              <a:rPr lang="it-IT" sz="1200" err="1">
                <a:latin typeface="Verdana" panose="020B0604030504040204" pitchFamily="34" charset="0"/>
                <a:ea typeface="Verdana" panose="020B0604030504040204" pitchFamily="34" charset="0"/>
              </a:rPr>
              <a:t>synergies</a:t>
            </a:r>
            <a:r>
              <a:rPr lang="it-IT" sz="1200">
                <a:latin typeface="Verdana" panose="020B0604030504040204" pitchFamily="34" charset="0"/>
                <a:ea typeface="Verdana" panose="020B0604030504040204" pitchFamily="34" charset="0"/>
              </a:rPr>
              <a:t> </a:t>
            </a:r>
            <a:r>
              <a:rPr lang="it-IT" sz="1200" err="1">
                <a:latin typeface="Verdana" panose="020B0604030504040204" pitchFamily="34" charset="0"/>
                <a:ea typeface="Verdana" panose="020B0604030504040204" pitchFamily="34" charset="0"/>
              </a:rPr>
              <a:t>between</a:t>
            </a:r>
            <a:r>
              <a:rPr lang="it-IT" sz="1200">
                <a:latin typeface="Verdana" panose="020B0604030504040204" pitchFamily="34" charset="0"/>
                <a:ea typeface="Verdana" panose="020B0604030504040204" pitchFamily="34" charset="0"/>
              </a:rPr>
              <a:t> common </a:t>
            </a:r>
            <a:r>
              <a:rPr lang="it-IT" sz="1200" err="1">
                <a:latin typeface="Verdana" panose="020B0604030504040204" pitchFamily="34" charset="0"/>
                <a:ea typeface="Verdana" panose="020B0604030504040204" pitchFamily="34" charset="0"/>
              </a:rPr>
              <a:t>phases</a:t>
            </a:r>
            <a:r>
              <a:rPr lang="it-IT" sz="1200">
                <a:latin typeface="Verdana" panose="020B0604030504040204" pitchFamily="34" charset="0"/>
                <a:ea typeface="Verdana" panose="020B0604030504040204" pitchFamily="34" charset="0"/>
              </a:rPr>
              <a:t>:</a:t>
            </a:r>
          </a:p>
        </p:txBody>
      </p:sp>
      <p:sp>
        <p:nvSpPr>
          <p:cNvPr id="13" name="object 392">
            <a:extLst>
              <a:ext uri="{FF2B5EF4-FFF2-40B4-BE49-F238E27FC236}">
                <a16:creationId xmlns:a16="http://schemas.microsoft.com/office/drawing/2014/main" id="{D9EA197E-95C7-4F92-914A-15CCA034F5FC}"/>
              </a:ext>
            </a:extLst>
          </p:cNvPr>
          <p:cNvSpPr txBox="1">
            <a:spLocks/>
          </p:cNvSpPr>
          <p:nvPr/>
        </p:nvSpPr>
        <p:spPr>
          <a:xfrm>
            <a:off x="214680" y="6638097"/>
            <a:ext cx="3124835" cy="149859"/>
          </a:xfrm>
          <a:prstGeom prst="rect">
            <a:avLst/>
          </a:prstGeom>
        </p:spPr>
        <p:txBody>
          <a:bodyPr vert="horz" wrap="square" lIns="0" tIns="13335" rIns="0" bIns="0" rtlCol="0">
            <a:spAutoFit/>
          </a:bodyPr>
          <a:lstStyle>
            <a:defPPr>
              <a:defRPr lang="it-IT"/>
            </a:defPPr>
            <a:lvl1pPr marL="0" algn="l" defTabSz="914400" rtl="0" eaLnBrk="1" latinLnBrk="0" hangingPunct="1">
              <a:defRPr sz="800" b="0" i="0" kern="1200">
                <a:solidFill>
                  <a:srgbClr val="A6A6A6"/>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05"/>
              </a:spcBef>
            </a:pPr>
            <a:r>
              <a:rPr lang="it-IT"/>
              <a:t>Capgemini’s Response Salesforce </a:t>
            </a:r>
            <a:r>
              <a:rPr lang="it-IT" spc="-5"/>
              <a:t>Rollout Project </a:t>
            </a:r>
            <a:r>
              <a:rPr lang="it-IT"/>
              <a:t>| Sep</a:t>
            </a:r>
            <a:r>
              <a:rPr lang="it-IT" spc="-40"/>
              <a:t> </a:t>
            </a:r>
            <a:r>
              <a:rPr lang="it-IT"/>
              <a:t>2020</a:t>
            </a:r>
          </a:p>
        </p:txBody>
      </p:sp>
      <p:sp>
        <p:nvSpPr>
          <p:cNvPr id="14" name="object 393">
            <a:extLst>
              <a:ext uri="{FF2B5EF4-FFF2-40B4-BE49-F238E27FC236}">
                <a16:creationId xmlns:a16="http://schemas.microsoft.com/office/drawing/2014/main" id="{5DB56F23-23FC-43F5-B6DF-B962BCF5ABE3}"/>
              </a:ext>
            </a:extLst>
          </p:cNvPr>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150</a:t>
            </a:fld>
            <a:endParaRPr sz="800">
              <a:latin typeface="Verdana"/>
              <a:cs typeface="Verdana"/>
            </a:endParaRPr>
          </a:p>
        </p:txBody>
      </p:sp>
      <p:sp>
        <p:nvSpPr>
          <p:cNvPr id="15" name="Rectangle: Rounded Corners 212">
            <a:extLst>
              <a:ext uri="{FF2B5EF4-FFF2-40B4-BE49-F238E27FC236}">
                <a16:creationId xmlns:a16="http://schemas.microsoft.com/office/drawing/2014/main" id="{7B861403-9318-4495-BFB2-D839CF1257D2}"/>
              </a:ext>
            </a:extLst>
          </p:cNvPr>
          <p:cNvSpPr/>
          <p:nvPr/>
        </p:nvSpPr>
        <p:spPr>
          <a:xfrm>
            <a:off x="511702" y="2643834"/>
            <a:ext cx="5417954" cy="279092"/>
          </a:xfrm>
          <a:prstGeom prst="homePlat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5 weeks</a:t>
            </a:r>
          </a:p>
        </p:txBody>
      </p:sp>
      <p:sp>
        <p:nvSpPr>
          <p:cNvPr id="16" name="TextBox 15">
            <a:extLst>
              <a:ext uri="{FF2B5EF4-FFF2-40B4-BE49-F238E27FC236}">
                <a16:creationId xmlns:a16="http://schemas.microsoft.com/office/drawing/2014/main" id="{232D1A8B-457B-4EF0-A8E4-48BB4A1484FD}"/>
              </a:ext>
            </a:extLst>
          </p:cNvPr>
          <p:cNvSpPr txBox="1"/>
          <p:nvPr/>
        </p:nvSpPr>
        <p:spPr>
          <a:xfrm>
            <a:off x="1362792" y="2455153"/>
            <a:ext cx="4196080" cy="230832"/>
          </a:xfrm>
          <a:prstGeom prst="rect">
            <a:avLst/>
          </a:prstGeom>
          <a:noFill/>
        </p:spPr>
        <p:txBody>
          <a:bodyPr wrap="square" rtlCol="0">
            <a:spAutoFit/>
          </a:bodyPr>
          <a:lstStyle/>
          <a:p>
            <a:r>
              <a:rPr lang="nl-BE" sz="900"/>
              <a:t>Light work shops for 3 Bl’s/Solution desgin phase for 3 Bl’s</a:t>
            </a:r>
          </a:p>
        </p:txBody>
      </p:sp>
      <p:sp>
        <p:nvSpPr>
          <p:cNvPr id="17" name="Rectangle: Rounded Corners 222">
            <a:extLst>
              <a:ext uri="{FF2B5EF4-FFF2-40B4-BE49-F238E27FC236}">
                <a16:creationId xmlns:a16="http://schemas.microsoft.com/office/drawing/2014/main" id="{EC3B00CD-4BBC-4D7F-8442-35990D8F3BA3}"/>
              </a:ext>
            </a:extLst>
          </p:cNvPr>
          <p:cNvSpPr/>
          <p:nvPr/>
        </p:nvSpPr>
        <p:spPr>
          <a:xfrm>
            <a:off x="511702" y="2128578"/>
            <a:ext cx="409074" cy="339201"/>
          </a:xfrm>
          <a:prstGeom prst="homePlate">
            <a:avLst>
              <a:gd name="adj" fmla="val 26535"/>
            </a:avLst>
          </a:prstGeom>
          <a:solidFill>
            <a:srgbClr val="0170A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 week</a:t>
            </a:r>
          </a:p>
        </p:txBody>
      </p:sp>
      <p:sp>
        <p:nvSpPr>
          <p:cNvPr id="18" name="Rectangle: Rounded Corners 217">
            <a:extLst>
              <a:ext uri="{FF2B5EF4-FFF2-40B4-BE49-F238E27FC236}">
                <a16:creationId xmlns:a16="http://schemas.microsoft.com/office/drawing/2014/main" id="{7FDE2A82-A699-492D-8E49-1AA6A94B1EED}"/>
              </a:ext>
            </a:extLst>
          </p:cNvPr>
          <p:cNvSpPr/>
          <p:nvPr/>
        </p:nvSpPr>
        <p:spPr>
          <a:xfrm>
            <a:off x="511702" y="3140204"/>
            <a:ext cx="1567314" cy="261655"/>
          </a:xfrm>
          <a:prstGeom prst="homePlat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4</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19" name="Rectangle 18">
            <a:extLst>
              <a:ext uri="{FF2B5EF4-FFF2-40B4-BE49-F238E27FC236}">
                <a16:creationId xmlns:a16="http://schemas.microsoft.com/office/drawing/2014/main" id="{554F9D2E-8BBA-4197-A15C-905CEB203F6F}"/>
              </a:ext>
            </a:extLst>
          </p:cNvPr>
          <p:cNvSpPr/>
          <p:nvPr/>
        </p:nvSpPr>
        <p:spPr>
          <a:xfrm>
            <a:off x="451243" y="2922926"/>
            <a:ext cx="2619375" cy="230832"/>
          </a:xfrm>
          <a:prstGeom prst="rect">
            <a:avLst/>
          </a:prstGeom>
        </p:spPr>
        <p:txBody>
          <a:bodyPr wrap="square">
            <a:spAutoFit/>
          </a:bodyPr>
          <a:lstStyle/>
          <a:p>
            <a:r>
              <a:rPr lang="nl-BE" sz="900"/>
              <a:t>Discovery phase for platfrom optimzation </a:t>
            </a:r>
          </a:p>
        </p:txBody>
      </p:sp>
      <p:sp>
        <p:nvSpPr>
          <p:cNvPr id="20" name="Rectangle 19">
            <a:extLst>
              <a:ext uri="{FF2B5EF4-FFF2-40B4-BE49-F238E27FC236}">
                <a16:creationId xmlns:a16="http://schemas.microsoft.com/office/drawing/2014/main" id="{53485025-BC92-4D6E-A4A6-48BC22D6A005}"/>
              </a:ext>
            </a:extLst>
          </p:cNvPr>
          <p:cNvSpPr/>
          <p:nvPr/>
        </p:nvSpPr>
        <p:spPr>
          <a:xfrm>
            <a:off x="2942616" y="3250099"/>
            <a:ext cx="2357120" cy="369332"/>
          </a:xfrm>
          <a:prstGeom prst="rect">
            <a:avLst/>
          </a:prstGeom>
        </p:spPr>
        <p:txBody>
          <a:bodyPr wrap="square">
            <a:spAutoFit/>
          </a:bodyPr>
          <a:lstStyle/>
          <a:p>
            <a:r>
              <a:rPr lang="en-AU" sz="900"/>
              <a:t>Platform Optimization build phase </a:t>
            </a:r>
            <a:endParaRPr lang="en-AU" sz="900">
              <a:solidFill>
                <a:srgbClr val="000000"/>
              </a:solidFill>
              <a:latin typeface="Calibri" panose="020F0502020204030204" pitchFamily="34" charset="0"/>
            </a:endParaRPr>
          </a:p>
          <a:p>
            <a:endParaRPr lang="en-AU" sz="900"/>
          </a:p>
        </p:txBody>
      </p:sp>
      <p:sp>
        <p:nvSpPr>
          <p:cNvPr id="21" name="Rectangle: Rounded Corners 212">
            <a:extLst>
              <a:ext uri="{FF2B5EF4-FFF2-40B4-BE49-F238E27FC236}">
                <a16:creationId xmlns:a16="http://schemas.microsoft.com/office/drawing/2014/main" id="{8A956B0D-7149-4767-86F3-1CC6494478DA}"/>
              </a:ext>
            </a:extLst>
          </p:cNvPr>
          <p:cNvSpPr/>
          <p:nvPr/>
        </p:nvSpPr>
        <p:spPr>
          <a:xfrm>
            <a:off x="2079016" y="3503721"/>
            <a:ext cx="3850640" cy="261654"/>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4 weeks</a:t>
            </a:r>
          </a:p>
        </p:txBody>
      </p:sp>
      <p:sp>
        <p:nvSpPr>
          <p:cNvPr id="22" name="Rectangle: Rounded Corners 212">
            <a:extLst>
              <a:ext uri="{FF2B5EF4-FFF2-40B4-BE49-F238E27FC236}">
                <a16:creationId xmlns:a16="http://schemas.microsoft.com/office/drawing/2014/main" id="{BB848390-213D-4B1F-9E3B-F6477CE7ED48}"/>
              </a:ext>
            </a:extLst>
          </p:cNvPr>
          <p:cNvSpPr/>
          <p:nvPr/>
        </p:nvSpPr>
        <p:spPr>
          <a:xfrm>
            <a:off x="6722136" y="3503721"/>
            <a:ext cx="792480" cy="261654"/>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Rounded Corners 222">
            <a:extLst>
              <a:ext uri="{FF2B5EF4-FFF2-40B4-BE49-F238E27FC236}">
                <a16:creationId xmlns:a16="http://schemas.microsoft.com/office/drawing/2014/main" id="{C8E00E51-916B-44A1-9D0F-CD6694F9776D}"/>
              </a:ext>
            </a:extLst>
          </p:cNvPr>
          <p:cNvSpPr/>
          <p:nvPr/>
        </p:nvSpPr>
        <p:spPr>
          <a:xfrm>
            <a:off x="7514615" y="3635316"/>
            <a:ext cx="3532835" cy="181365"/>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9</a:t>
            </a:r>
            <a:r>
              <a:rPr kumimoji="0" lang="en-AU" sz="800" b="0" i="0" u="none" strike="noStrike" kern="1200" cap="none" spc="0" normalizeH="0" baseline="0" noProof="0">
                <a:ln>
                  <a:noFill/>
                </a:ln>
                <a:solidFill>
                  <a:srgbClr val="FFFFFF"/>
                </a:solidFill>
                <a:effectLst/>
                <a:uLnTx/>
                <a:uFillTx/>
                <a:latin typeface="Verdana"/>
                <a:ea typeface="+mn-ea"/>
                <a:cs typeface="+mn-cs"/>
              </a:rPr>
              <a:t> weeks </a:t>
            </a:r>
          </a:p>
        </p:txBody>
      </p:sp>
      <p:sp>
        <p:nvSpPr>
          <p:cNvPr id="24" name="Rectangle 23">
            <a:extLst>
              <a:ext uri="{FF2B5EF4-FFF2-40B4-BE49-F238E27FC236}">
                <a16:creationId xmlns:a16="http://schemas.microsoft.com/office/drawing/2014/main" id="{6CF3630C-983B-445D-A551-A4D5215FEA7E}"/>
              </a:ext>
            </a:extLst>
          </p:cNvPr>
          <p:cNvSpPr/>
          <p:nvPr/>
        </p:nvSpPr>
        <p:spPr>
          <a:xfrm>
            <a:off x="8235976" y="3401859"/>
            <a:ext cx="2164080" cy="369332"/>
          </a:xfrm>
          <a:prstGeom prst="rect">
            <a:avLst/>
          </a:prstGeom>
        </p:spPr>
        <p:txBody>
          <a:bodyPr wrap="square">
            <a:spAutoFit/>
          </a:bodyPr>
          <a:lstStyle/>
          <a:p>
            <a:r>
              <a:rPr lang="en-AU" sz="900"/>
              <a:t>3 BL’s build phase </a:t>
            </a:r>
            <a:endParaRPr lang="en-AU" sz="900">
              <a:solidFill>
                <a:srgbClr val="000000"/>
              </a:solidFill>
              <a:latin typeface="Calibri" panose="020F0502020204030204" pitchFamily="34" charset="0"/>
            </a:endParaRPr>
          </a:p>
          <a:p>
            <a:endParaRPr lang="en-AU" sz="900"/>
          </a:p>
        </p:txBody>
      </p:sp>
      <p:sp>
        <p:nvSpPr>
          <p:cNvPr id="25" name="Rectangle: Rounded Corners 222">
            <a:extLst>
              <a:ext uri="{FF2B5EF4-FFF2-40B4-BE49-F238E27FC236}">
                <a16:creationId xmlns:a16="http://schemas.microsoft.com/office/drawing/2014/main" id="{141D4CF5-C64E-4893-8308-DC9D487206CA}"/>
              </a:ext>
            </a:extLst>
          </p:cNvPr>
          <p:cNvSpPr/>
          <p:nvPr/>
        </p:nvSpPr>
        <p:spPr>
          <a:xfrm>
            <a:off x="11047451" y="3954399"/>
            <a:ext cx="1059485" cy="260899"/>
          </a:xfrm>
          <a:prstGeom prst="homePlate">
            <a:avLst/>
          </a:prstGeom>
          <a:solidFill>
            <a:srgbClr val="70A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26" name="Rectangle: Rounded Corners 222">
            <a:extLst>
              <a:ext uri="{FF2B5EF4-FFF2-40B4-BE49-F238E27FC236}">
                <a16:creationId xmlns:a16="http://schemas.microsoft.com/office/drawing/2014/main" id="{632AE50F-99B5-474A-93F1-C81DF9FFEF5F}"/>
              </a:ext>
            </a:extLst>
          </p:cNvPr>
          <p:cNvSpPr/>
          <p:nvPr/>
        </p:nvSpPr>
        <p:spPr>
          <a:xfrm>
            <a:off x="10326091" y="4353016"/>
            <a:ext cx="1059485" cy="260899"/>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3</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27" name="Rectangle: Rounded Corners 222">
            <a:extLst>
              <a:ext uri="{FF2B5EF4-FFF2-40B4-BE49-F238E27FC236}">
                <a16:creationId xmlns:a16="http://schemas.microsoft.com/office/drawing/2014/main" id="{B48CCC57-7F5E-466F-B233-C4329AEB9E4F}"/>
              </a:ext>
            </a:extLst>
          </p:cNvPr>
          <p:cNvSpPr/>
          <p:nvPr/>
        </p:nvSpPr>
        <p:spPr>
          <a:xfrm>
            <a:off x="11059270" y="4802432"/>
            <a:ext cx="1059485" cy="449187"/>
          </a:xfrm>
          <a:prstGeom prst="homePlate">
            <a:avLst/>
          </a:prstGeom>
          <a:solidFill>
            <a:srgbClr val="00C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28" name="Rectangle: Rounded Corners 225">
            <a:extLst>
              <a:ext uri="{FF2B5EF4-FFF2-40B4-BE49-F238E27FC236}">
                <a16:creationId xmlns:a16="http://schemas.microsoft.com/office/drawing/2014/main" id="{1C6C8524-F4AE-49BC-896C-3BA1C9B00834}"/>
              </a:ext>
            </a:extLst>
          </p:cNvPr>
          <p:cNvSpPr/>
          <p:nvPr/>
        </p:nvSpPr>
        <p:spPr>
          <a:xfrm>
            <a:off x="2444777" y="5539906"/>
            <a:ext cx="3566160" cy="179073"/>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20 weeks</a:t>
            </a:r>
          </a:p>
        </p:txBody>
      </p:sp>
      <p:sp>
        <p:nvSpPr>
          <p:cNvPr id="29" name="Rectangle: Rounded Corners 225">
            <a:extLst>
              <a:ext uri="{FF2B5EF4-FFF2-40B4-BE49-F238E27FC236}">
                <a16:creationId xmlns:a16="http://schemas.microsoft.com/office/drawing/2014/main" id="{E33A497A-968E-4447-8751-2D11516ED1C6}"/>
              </a:ext>
            </a:extLst>
          </p:cNvPr>
          <p:cNvSpPr/>
          <p:nvPr/>
        </p:nvSpPr>
        <p:spPr>
          <a:xfrm>
            <a:off x="6722136" y="5539905"/>
            <a:ext cx="3860800" cy="179073"/>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20 weeks</a:t>
            </a:r>
          </a:p>
        </p:txBody>
      </p:sp>
      <p:graphicFrame>
        <p:nvGraphicFramePr>
          <p:cNvPr id="30" name="Table 23">
            <a:extLst>
              <a:ext uri="{FF2B5EF4-FFF2-40B4-BE49-F238E27FC236}">
                <a16:creationId xmlns:a16="http://schemas.microsoft.com/office/drawing/2014/main" id="{F4A31452-3B3F-4080-BF97-DE105C4E7BD1}"/>
              </a:ext>
            </a:extLst>
          </p:cNvPr>
          <p:cNvGraphicFramePr>
            <a:graphicFrameLocks noGrp="1"/>
          </p:cNvGraphicFramePr>
          <p:nvPr/>
        </p:nvGraphicFramePr>
        <p:xfrm>
          <a:off x="142284" y="1249787"/>
          <a:ext cx="11964651" cy="5542663"/>
        </p:xfrm>
        <a:graphic>
          <a:graphicData uri="http://schemas.openxmlformats.org/drawingml/2006/table">
            <a:tbl>
              <a:tblPr firstRow="1" bandRow="1">
                <a:tableStyleId>{5C22544A-7EE6-4342-B048-85BDC9FD1C3A}</a:tableStyleId>
              </a:tblPr>
              <a:tblGrid>
                <a:gridCol w="3519015">
                  <a:extLst>
                    <a:ext uri="{9D8B030D-6E8A-4147-A177-3AD203B41FA5}">
                      <a16:colId xmlns:a16="http://schemas.microsoft.com/office/drawing/2014/main" val="2058319549"/>
                    </a:ext>
                  </a:extLst>
                </a:gridCol>
                <a:gridCol w="703803">
                  <a:extLst>
                    <a:ext uri="{9D8B030D-6E8A-4147-A177-3AD203B41FA5}">
                      <a16:colId xmlns:a16="http://schemas.microsoft.com/office/drawing/2014/main" val="2467215531"/>
                    </a:ext>
                  </a:extLst>
                </a:gridCol>
                <a:gridCol w="703803">
                  <a:extLst>
                    <a:ext uri="{9D8B030D-6E8A-4147-A177-3AD203B41FA5}">
                      <a16:colId xmlns:a16="http://schemas.microsoft.com/office/drawing/2014/main" val="3102627647"/>
                    </a:ext>
                  </a:extLst>
                </a:gridCol>
                <a:gridCol w="703803">
                  <a:extLst>
                    <a:ext uri="{9D8B030D-6E8A-4147-A177-3AD203B41FA5}">
                      <a16:colId xmlns:a16="http://schemas.microsoft.com/office/drawing/2014/main" val="2133483002"/>
                    </a:ext>
                  </a:extLst>
                </a:gridCol>
                <a:gridCol w="703803">
                  <a:extLst>
                    <a:ext uri="{9D8B030D-6E8A-4147-A177-3AD203B41FA5}">
                      <a16:colId xmlns:a16="http://schemas.microsoft.com/office/drawing/2014/main" val="2389248"/>
                    </a:ext>
                  </a:extLst>
                </a:gridCol>
                <a:gridCol w="703803">
                  <a:extLst>
                    <a:ext uri="{9D8B030D-6E8A-4147-A177-3AD203B41FA5}">
                      <a16:colId xmlns:a16="http://schemas.microsoft.com/office/drawing/2014/main" val="1537544387"/>
                    </a:ext>
                  </a:extLst>
                </a:gridCol>
                <a:gridCol w="703803">
                  <a:extLst>
                    <a:ext uri="{9D8B030D-6E8A-4147-A177-3AD203B41FA5}">
                      <a16:colId xmlns:a16="http://schemas.microsoft.com/office/drawing/2014/main" val="3169443578"/>
                    </a:ext>
                  </a:extLst>
                </a:gridCol>
                <a:gridCol w="703803">
                  <a:extLst>
                    <a:ext uri="{9D8B030D-6E8A-4147-A177-3AD203B41FA5}">
                      <a16:colId xmlns:a16="http://schemas.microsoft.com/office/drawing/2014/main" val="1659952536"/>
                    </a:ext>
                  </a:extLst>
                </a:gridCol>
                <a:gridCol w="703803">
                  <a:extLst>
                    <a:ext uri="{9D8B030D-6E8A-4147-A177-3AD203B41FA5}">
                      <a16:colId xmlns:a16="http://schemas.microsoft.com/office/drawing/2014/main" val="87924735"/>
                    </a:ext>
                  </a:extLst>
                </a:gridCol>
                <a:gridCol w="703803">
                  <a:extLst>
                    <a:ext uri="{9D8B030D-6E8A-4147-A177-3AD203B41FA5}">
                      <a16:colId xmlns:a16="http://schemas.microsoft.com/office/drawing/2014/main" val="460079320"/>
                    </a:ext>
                  </a:extLst>
                </a:gridCol>
                <a:gridCol w="703803">
                  <a:extLst>
                    <a:ext uri="{9D8B030D-6E8A-4147-A177-3AD203B41FA5}">
                      <a16:colId xmlns:a16="http://schemas.microsoft.com/office/drawing/2014/main" val="3406486822"/>
                    </a:ext>
                  </a:extLst>
                </a:gridCol>
                <a:gridCol w="703803">
                  <a:extLst>
                    <a:ext uri="{9D8B030D-6E8A-4147-A177-3AD203B41FA5}">
                      <a16:colId xmlns:a16="http://schemas.microsoft.com/office/drawing/2014/main" val="2553443513"/>
                    </a:ext>
                  </a:extLst>
                </a:gridCol>
                <a:gridCol w="703803">
                  <a:extLst>
                    <a:ext uri="{9D8B030D-6E8A-4147-A177-3AD203B41FA5}">
                      <a16:colId xmlns:a16="http://schemas.microsoft.com/office/drawing/2014/main" val="1574556157"/>
                    </a:ext>
                  </a:extLst>
                </a:gridCol>
              </a:tblGrid>
              <a:tr h="355244">
                <a:tc>
                  <a:txBody>
                    <a:bodyPr/>
                    <a:lstStyle/>
                    <a:p>
                      <a:r>
                        <a:rPr lang="it-IT" sz="1300" err="1"/>
                        <a:t>Phase</a:t>
                      </a:r>
                      <a:endParaRPr lang="it-IT" sz="1300"/>
                    </a:p>
                  </a:txBody>
                  <a:tcPr/>
                </a:tc>
                <a:tc>
                  <a:txBody>
                    <a:bodyPr/>
                    <a:lstStyle/>
                    <a:p>
                      <a:pPr algn="ctr"/>
                      <a:r>
                        <a:rPr lang="it-IT" sz="1200"/>
                        <a:t>M1</a:t>
                      </a:r>
                    </a:p>
                  </a:txBody>
                  <a:tcPr/>
                </a:tc>
                <a:tc>
                  <a:txBody>
                    <a:bodyPr/>
                    <a:lstStyle/>
                    <a:p>
                      <a:pPr algn="ctr"/>
                      <a:r>
                        <a:rPr lang="it-IT" sz="1200"/>
                        <a:t>M2</a:t>
                      </a:r>
                    </a:p>
                  </a:txBody>
                  <a:tcPr/>
                </a:tc>
                <a:tc>
                  <a:txBody>
                    <a:bodyPr/>
                    <a:lstStyle/>
                    <a:p>
                      <a:pPr algn="ctr"/>
                      <a:r>
                        <a:rPr lang="it-IT" sz="1200"/>
                        <a:t>M3</a:t>
                      </a:r>
                    </a:p>
                  </a:txBody>
                  <a:tcPr/>
                </a:tc>
                <a:tc>
                  <a:txBody>
                    <a:bodyPr/>
                    <a:lstStyle/>
                    <a:p>
                      <a:pPr algn="ctr"/>
                      <a:r>
                        <a:rPr lang="it-IT" sz="1200"/>
                        <a:t>M4</a:t>
                      </a:r>
                    </a:p>
                  </a:txBody>
                  <a:tcPr/>
                </a:tc>
                <a:tc>
                  <a:txBody>
                    <a:bodyPr/>
                    <a:lstStyle/>
                    <a:p>
                      <a:pPr algn="ctr"/>
                      <a:r>
                        <a:rPr lang="it-IT" sz="1200"/>
                        <a:t>M5</a:t>
                      </a:r>
                    </a:p>
                  </a:txBody>
                  <a:tcPr/>
                </a:tc>
                <a:tc>
                  <a:txBody>
                    <a:bodyPr/>
                    <a:lstStyle/>
                    <a:p>
                      <a:pPr algn="ctr"/>
                      <a:r>
                        <a:rPr lang="it-IT" sz="1200"/>
                        <a:t>M6</a:t>
                      </a:r>
                    </a:p>
                  </a:txBody>
                  <a:tcPr/>
                </a:tc>
                <a:tc>
                  <a:txBody>
                    <a:bodyPr/>
                    <a:lstStyle/>
                    <a:p>
                      <a:pPr algn="ctr"/>
                      <a:r>
                        <a:rPr lang="it-IT" sz="1200"/>
                        <a:t>M7</a:t>
                      </a:r>
                    </a:p>
                  </a:txBody>
                  <a:tcPr/>
                </a:tc>
                <a:tc>
                  <a:txBody>
                    <a:bodyPr/>
                    <a:lstStyle/>
                    <a:p>
                      <a:pPr algn="ctr"/>
                      <a:r>
                        <a:rPr lang="it-IT" sz="1200"/>
                        <a:t>M8</a:t>
                      </a:r>
                    </a:p>
                  </a:txBody>
                  <a:tcPr/>
                </a:tc>
                <a:tc>
                  <a:txBody>
                    <a:bodyPr/>
                    <a:lstStyle/>
                    <a:p>
                      <a:pPr algn="ctr"/>
                      <a:r>
                        <a:rPr lang="it-IT" sz="1200"/>
                        <a:t>M9</a:t>
                      </a:r>
                    </a:p>
                  </a:txBody>
                  <a:tcPr/>
                </a:tc>
                <a:tc>
                  <a:txBody>
                    <a:bodyPr/>
                    <a:lstStyle/>
                    <a:p>
                      <a:pPr algn="ctr"/>
                      <a:r>
                        <a:rPr lang="it-IT" sz="1200"/>
                        <a:t>M10</a:t>
                      </a:r>
                    </a:p>
                  </a:txBody>
                  <a:tcPr/>
                </a:tc>
                <a:tc>
                  <a:txBody>
                    <a:bodyPr/>
                    <a:lstStyle/>
                    <a:p>
                      <a:pPr algn="ctr"/>
                      <a:r>
                        <a:rPr lang="it-IT" sz="1200"/>
                        <a:t>M11</a:t>
                      </a:r>
                    </a:p>
                  </a:txBody>
                  <a:tcPr/>
                </a:tc>
                <a:tc>
                  <a:txBody>
                    <a:bodyPr/>
                    <a:lstStyle/>
                    <a:p>
                      <a:pPr algn="ctr"/>
                      <a:r>
                        <a:rPr lang="it-IT" sz="1200"/>
                        <a:t>M12</a:t>
                      </a:r>
                    </a:p>
                  </a:txBody>
                  <a:tcPr/>
                </a:tc>
                <a:extLst>
                  <a:ext uri="{0D108BD9-81ED-4DB2-BD59-A6C34878D82A}">
                    <a16:rowId xmlns:a16="http://schemas.microsoft.com/office/drawing/2014/main" val="4179442656"/>
                  </a:ext>
                </a:extLst>
              </a:tr>
              <a:tr h="355244">
                <a:tc>
                  <a:txBody>
                    <a:bodyPr/>
                    <a:lstStyle/>
                    <a:p>
                      <a:r>
                        <a:rPr lang="it-IT" sz="1300" b="1"/>
                        <a:t>Pre Gam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257929853"/>
                  </a:ext>
                </a:extLst>
              </a:tr>
              <a:tr h="355244">
                <a:tc>
                  <a:txBody>
                    <a:bodyPr/>
                    <a:lstStyle/>
                    <a:p>
                      <a:pPr algn="r"/>
                      <a:r>
                        <a:rPr lang="it-IT" sz="1300" i="1" err="1"/>
                        <a:t>Discovery</a:t>
                      </a:r>
                      <a:endParaRPr lang="it-IT" sz="1300" i="1"/>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193094994"/>
                  </a:ext>
                </a:extLst>
              </a:tr>
              <a:tr h="355244">
                <a:tc>
                  <a:txBody>
                    <a:bodyPr/>
                    <a:lstStyle/>
                    <a:p>
                      <a:pPr algn="r"/>
                      <a:r>
                        <a:rPr lang="it-IT" sz="1300" i="1" err="1"/>
                        <a:t>Scoping</a:t>
                      </a:r>
                      <a:r>
                        <a:rPr lang="it-IT" sz="1300" i="1"/>
                        <a:t> &amp; Design</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35115718"/>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it-IT" sz="1300" b="0" i="1"/>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114295306"/>
                  </a:ext>
                </a:extLst>
              </a:tr>
              <a:tr h="355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b="1"/>
                        <a:t>Developmen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802072026"/>
                  </a:ext>
                </a:extLst>
              </a:tr>
              <a:tr h="355244">
                <a:tc>
                  <a:txBody>
                    <a:bodyPr/>
                    <a:lstStyle/>
                    <a:p>
                      <a:pPr algn="r"/>
                      <a:r>
                        <a:rPr lang="it-IT" sz="1300" i="1"/>
                        <a:t>Build Sprint (Platform Op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975907233"/>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i="1"/>
                        <a:t>Build Sprint (3 BU Rollou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640433066"/>
                  </a:ext>
                </a:extLst>
              </a:tr>
              <a:tr h="355244">
                <a:tc>
                  <a:txBody>
                    <a:bodyPr/>
                    <a:lstStyle/>
                    <a:p>
                      <a:pPr algn="r"/>
                      <a:r>
                        <a:rPr lang="it-IT" sz="1300" i="1" err="1"/>
                        <a:t>Build</a:t>
                      </a:r>
                      <a:r>
                        <a:rPr lang="it-IT" sz="1300" i="1"/>
                        <a:t> Sprint (CRM </a:t>
                      </a:r>
                      <a:r>
                        <a:rPr lang="it-IT" sz="1300" i="1" err="1"/>
                        <a:t>Functionalities</a:t>
                      </a:r>
                      <a:r>
                        <a:rPr lang="it-IT" sz="1300" i="1"/>
                        <a: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85399689"/>
                  </a:ext>
                </a:extLst>
              </a:tr>
              <a:tr h="355244">
                <a:tc>
                  <a:txBody>
                    <a:bodyPr/>
                    <a:lstStyle/>
                    <a:p>
                      <a:pPr algn="r"/>
                      <a:r>
                        <a:rPr lang="it-IT" sz="1300" i="1" err="1"/>
                        <a:t>Build</a:t>
                      </a:r>
                      <a:r>
                        <a:rPr lang="it-IT" sz="1300" i="1"/>
                        <a:t> Sprint (</a:t>
                      </a:r>
                      <a:r>
                        <a:rPr lang="it-IT" sz="1300" i="1" err="1"/>
                        <a:t>Integrations</a:t>
                      </a:r>
                      <a:r>
                        <a:rPr lang="it-IT" sz="1300" i="1"/>
                        <a:t> &amp; </a:t>
                      </a:r>
                      <a:r>
                        <a:rPr lang="it-IT" sz="1300" i="1" err="1"/>
                        <a:t>Archiving</a:t>
                      </a:r>
                      <a:r>
                        <a:rPr lang="it-IT" sz="1300" i="1"/>
                        <a: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853753209"/>
                  </a:ext>
                </a:extLst>
              </a:tr>
              <a:tr h="355244">
                <a:tc>
                  <a:txBody>
                    <a:bodyPr/>
                    <a:lstStyle/>
                    <a:p>
                      <a:pPr algn="r"/>
                      <a:endParaRPr lang="it-IT" sz="1300" i="1"/>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206423695"/>
                  </a:ext>
                </a:extLst>
              </a:tr>
              <a:tr h="355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b="1"/>
                        <a:t>Closur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23002114"/>
                  </a:ext>
                </a:extLst>
              </a:tr>
              <a:tr h="355244">
                <a:tc>
                  <a:txBody>
                    <a:bodyPr/>
                    <a:lstStyle/>
                    <a:p>
                      <a:pPr algn="r"/>
                      <a:r>
                        <a:rPr lang="it-IT" sz="1300" b="0" i="1"/>
                        <a:t>System Integration Test &amp; UA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727101672"/>
                  </a:ext>
                </a:extLst>
              </a:tr>
              <a:tr h="355244">
                <a:tc>
                  <a:txBody>
                    <a:bodyPr/>
                    <a:lstStyle/>
                    <a:p>
                      <a:pPr algn="r"/>
                      <a:r>
                        <a:rPr lang="it-IT" sz="1300" b="0" i="1"/>
                        <a:t>Train the Trainer</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96230489"/>
                  </a:ext>
                </a:extLst>
              </a:tr>
              <a:tr h="432539">
                <a:tc>
                  <a:txBody>
                    <a:bodyPr/>
                    <a:lstStyle/>
                    <a:p>
                      <a:pPr algn="r"/>
                      <a:r>
                        <a:rPr lang="it-IT" sz="1300" i="1" err="1"/>
                        <a:t>Cutover</a:t>
                      </a:r>
                      <a:r>
                        <a:rPr lang="it-IT" sz="1300" i="1"/>
                        <a:t> &amp; Go-Liv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506471454"/>
                  </a:ext>
                </a:extLst>
              </a:tr>
            </a:tbl>
          </a:graphicData>
        </a:graphic>
      </p:graphicFrame>
      <p:sp>
        <p:nvSpPr>
          <p:cNvPr id="31" name="Rectangle: Rounded Corners 212">
            <a:extLst>
              <a:ext uri="{FF2B5EF4-FFF2-40B4-BE49-F238E27FC236}">
                <a16:creationId xmlns:a16="http://schemas.microsoft.com/office/drawing/2014/main" id="{98F8471F-CCA4-480E-907A-0A55E5087828}"/>
              </a:ext>
            </a:extLst>
          </p:cNvPr>
          <p:cNvSpPr/>
          <p:nvPr/>
        </p:nvSpPr>
        <p:spPr>
          <a:xfrm>
            <a:off x="3686188" y="2396765"/>
            <a:ext cx="2279428" cy="216000"/>
          </a:xfrm>
          <a:prstGeom prst="homePlat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15 weeks</a:t>
            </a:r>
          </a:p>
        </p:txBody>
      </p:sp>
      <p:sp>
        <p:nvSpPr>
          <p:cNvPr id="32" name="Rectangle: Rounded Corners 217">
            <a:extLst>
              <a:ext uri="{FF2B5EF4-FFF2-40B4-BE49-F238E27FC236}">
                <a16:creationId xmlns:a16="http://schemas.microsoft.com/office/drawing/2014/main" id="{A8227CCB-070D-4361-8AED-BEC96AF62D86}"/>
              </a:ext>
            </a:extLst>
          </p:cNvPr>
          <p:cNvSpPr/>
          <p:nvPr/>
        </p:nvSpPr>
        <p:spPr>
          <a:xfrm>
            <a:off x="3671038" y="2043126"/>
            <a:ext cx="693554" cy="216000"/>
          </a:xfrm>
          <a:prstGeom prst="homePlat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4</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33" name="Rectangle 32">
            <a:extLst>
              <a:ext uri="{FF2B5EF4-FFF2-40B4-BE49-F238E27FC236}">
                <a16:creationId xmlns:a16="http://schemas.microsoft.com/office/drawing/2014/main" id="{1A8A5EF1-81D1-40E4-AD03-32B6392A275A}"/>
              </a:ext>
            </a:extLst>
          </p:cNvPr>
          <p:cNvSpPr/>
          <p:nvPr/>
        </p:nvSpPr>
        <p:spPr>
          <a:xfrm>
            <a:off x="3671038" y="1629502"/>
            <a:ext cx="2339897" cy="24485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p>
        </p:txBody>
      </p:sp>
      <p:sp>
        <p:nvSpPr>
          <p:cNvPr id="35" name="Rectangle 34">
            <a:extLst>
              <a:ext uri="{FF2B5EF4-FFF2-40B4-BE49-F238E27FC236}">
                <a16:creationId xmlns:a16="http://schemas.microsoft.com/office/drawing/2014/main" id="{9D2E64FD-A160-4DE7-AE3B-3FF7E41BF3B0}"/>
              </a:ext>
            </a:extLst>
          </p:cNvPr>
          <p:cNvSpPr/>
          <p:nvPr/>
        </p:nvSpPr>
        <p:spPr>
          <a:xfrm>
            <a:off x="4388922" y="3158668"/>
            <a:ext cx="3456000" cy="24485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Rectangle: Rounded Corners 212">
            <a:extLst>
              <a:ext uri="{FF2B5EF4-FFF2-40B4-BE49-F238E27FC236}">
                <a16:creationId xmlns:a16="http://schemas.microsoft.com/office/drawing/2014/main" id="{2670BF14-4773-4B79-AF64-BB36563897D4}"/>
              </a:ext>
            </a:extLst>
          </p:cNvPr>
          <p:cNvSpPr/>
          <p:nvPr/>
        </p:nvSpPr>
        <p:spPr>
          <a:xfrm>
            <a:off x="4388923" y="3501763"/>
            <a:ext cx="1418814" cy="204735"/>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9</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37" name="Rectangle: Rounded Corners 212">
            <a:extLst>
              <a:ext uri="{FF2B5EF4-FFF2-40B4-BE49-F238E27FC236}">
                <a16:creationId xmlns:a16="http://schemas.microsoft.com/office/drawing/2014/main" id="{86580C41-F53E-40EA-A536-EA2273DCBA57}"/>
              </a:ext>
            </a:extLst>
          </p:cNvPr>
          <p:cNvSpPr/>
          <p:nvPr/>
        </p:nvSpPr>
        <p:spPr>
          <a:xfrm>
            <a:off x="5807738" y="3864661"/>
            <a:ext cx="2043950" cy="191692"/>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14</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38" name="Rectangle 37">
            <a:extLst>
              <a:ext uri="{FF2B5EF4-FFF2-40B4-BE49-F238E27FC236}">
                <a16:creationId xmlns:a16="http://schemas.microsoft.com/office/drawing/2014/main" id="{F0B1F80E-2FF4-48C9-A0CF-0D7C068ECD39}"/>
              </a:ext>
            </a:extLst>
          </p:cNvPr>
          <p:cNvSpPr/>
          <p:nvPr/>
        </p:nvSpPr>
        <p:spPr>
          <a:xfrm>
            <a:off x="6746044" y="3504824"/>
            <a:ext cx="2357120" cy="369332"/>
          </a:xfrm>
          <a:prstGeom prst="rect">
            <a:avLst/>
          </a:prstGeom>
        </p:spPr>
        <p:txBody>
          <a:bodyPr wrap="square">
            <a:spAutoFit/>
          </a:bodyPr>
          <a:lstStyle/>
          <a:p>
            <a:r>
              <a:rPr lang="en-AU" sz="900"/>
              <a:t>Platform Optimization build phase </a:t>
            </a:r>
            <a:endParaRPr lang="en-AU" sz="900">
              <a:solidFill>
                <a:srgbClr val="000000"/>
              </a:solidFill>
              <a:latin typeface="Calibri" panose="020F0502020204030204" pitchFamily="34" charset="0"/>
            </a:endParaRPr>
          </a:p>
          <a:p>
            <a:endParaRPr lang="en-AU" sz="900"/>
          </a:p>
        </p:txBody>
      </p:sp>
      <p:sp>
        <p:nvSpPr>
          <p:cNvPr id="46" name="Rectangle 45">
            <a:extLst>
              <a:ext uri="{FF2B5EF4-FFF2-40B4-BE49-F238E27FC236}">
                <a16:creationId xmlns:a16="http://schemas.microsoft.com/office/drawing/2014/main" id="{B3EE4EE8-218B-4B92-BBD7-9041C604A323}"/>
              </a:ext>
            </a:extLst>
          </p:cNvPr>
          <p:cNvSpPr/>
          <p:nvPr/>
        </p:nvSpPr>
        <p:spPr>
          <a:xfrm>
            <a:off x="7239000" y="5317744"/>
            <a:ext cx="2728983" cy="23420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Rectangle: Rounded Corners 222">
            <a:extLst>
              <a:ext uri="{FF2B5EF4-FFF2-40B4-BE49-F238E27FC236}">
                <a16:creationId xmlns:a16="http://schemas.microsoft.com/office/drawing/2014/main" id="{D03B778B-7477-4ED8-8698-938C5DADA8CA}"/>
              </a:ext>
            </a:extLst>
          </p:cNvPr>
          <p:cNvSpPr/>
          <p:nvPr/>
        </p:nvSpPr>
        <p:spPr>
          <a:xfrm>
            <a:off x="7239001" y="5727600"/>
            <a:ext cx="1616876" cy="195663"/>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FFFFFF"/>
                </a:solidFill>
                <a:effectLst/>
                <a:uLnTx/>
                <a:uFillTx/>
                <a:latin typeface="Verdana"/>
                <a:ea typeface="+mn-ea"/>
                <a:cs typeface="+mn-cs"/>
              </a:rPr>
              <a:t>10 weeks</a:t>
            </a:r>
          </a:p>
        </p:txBody>
      </p:sp>
      <p:sp>
        <p:nvSpPr>
          <p:cNvPr id="49" name="Rectangle: Rounded Corners 222">
            <a:extLst>
              <a:ext uri="{FF2B5EF4-FFF2-40B4-BE49-F238E27FC236}">
                <a16:creationId xmlns:a16="http://schemas.microsoft.com/office/drawing/2014/main" id="{6DC74E80-2A6B-4073-9BF4-C64169B2DBE5}"/>
              </a:ext>
            </a:extLst>
          </p:cNvPr>
          <p:cNvSpPr/>
          <p:nvPr/>
        </p:nvSpPr>
        <p:spPr>
          <a:xfrm>
            <a:off x="8740384" y="6019800"/>
            <a:ext cx="540000" cy="216000"/>
          </a:xfrm>
          <a:prstGeom prst="homePlate">
            <a:avLst/>
          </a:prstGeom>
          <a:solidFill>
            <a:srgbClr val="70A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700">
                <a:solidFill>
                  <a:srgbClr val="FFFFFF"/>
                </a:solidFill>
                <a:latin typeface="Verdana"/>
              </a:rPr>
              <a:t>3</a:t>
            </a:r>
            <a:r>
              <a:rPr kumimoji="0" lang="en-AU"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50" name="Rectangle: Rounded Corners 222">
            <a:extLst>
              <a:ext uri="{FF2B5EF4-FFF2-40B4-BE49-F238E27FC236}">
                <a16:creationId xmlns:a16="http://schemas.microsoft.com/office/drawing/2014/main" id="{D576B62D-A78E-4015-B041-5F679A2BEC94}"/>
              </a:ext>
            </a:extLst>
          </p:cNvPr>
          <p:cNvSpPr/>
          <p:nvPr/>
        </p:nvSpPr>
        <p:spPr>
          <a:xfrm>
            <a:off x="9306999" y="6413400"/>
            <a:ext cx="540000" cy="216000"/>
          </a:xfrm>
          <a:prstGeom prst="homePlate">
            <a:avLst/>
          </a:prstGeom>
          <a:solidFill>
            <a:srgbClr val="00C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700">
                <a:solidFill>
                  <a:srgbClr val="FFFFFF"/>
                </a:solidFill>
                <a:latin typeface="Verdana"/>
              </a:rPr>
              <a:t>3</a:t>
            </a:r>
            <a:r>
              <a:rPr kumimoji="0" lang="en-AU"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52" name="Star: 5 Points 51">
            <a:extLst>
              <a:ext uri="{FF2B5EF4-FFF2-40B4-BE49-F238E27FC236}">
                <a16:creationId xmlns:a16="http://schemas.microsoft.com/office/drawing/2014/main" id="{2ACE4030-ADB8-4FDC-B913-D87B7EA8F272}"/>
              </a:ext>
            </a:extLst>
          </p:cNvPr>
          <p:cNvSpPr/>
          <p:nvPr/>
        </p:nvSpPr>
        <p:spPr>
          <a:xfrm>
            <a:off x="9069954" y="6400800"/>
            <a:ext cx="342634" cy="216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TextBox 53">
            <a:extLst>
              <a:ext uri="{FF2B5EF4-FFF2-40B4-BE49-F238E27FC236}">
                <a16:creationId xmlns:a16="http://schemas.microsoft.com/office/drawing/2014/main" id="{AC30509A-DC30-4CBE-95CF-DC01D3C6EE5E}"/>
              </a:ext>
            </a:extLst>
          </p:cNvPr>
          <p:cNvSpPr txBox="1"/>
          <p:nvPr/>
        </p:nvSpPr>
        <p:spPr>
          <a:xfrm>
            <a:off x="8470069" y="6400800"/>
            <a:ext cx="771202" cy="230832"/>
          </a:xfrm>
          <a:prstGeom prst="rect">
            <a:avLst/>
          </a:prstGeom>
          <a:noFill/>
        </p:spPr>
        <p:txBody>
          <a:bodyPr wrap="square" rtlCol="0">
            <a:spAutoFit/>
          </a:bodyPr>
          <a:lstStyle/>
          <a:p>
            <a:r>
              <a:rPr lang="en-AU" sz="900"/>
              <a:t>Go Live</a:t>
            </a:r>
          </a:p>
        </p:txBody>
      </p:sp>
      <p:sp>
        <p:nvSpPr>
          <p:cNvPr id="55" name="Rectangle: Rounded Corners 212">
            <a:extLst>
              <a:ext uri="{FF2B5EF4-FFF2-40B4-BE49-F238E27FC236}">
                <a16:creationId xmlns:a16="http://schemas.microsoft.com/office/drawing/2014/main" id="{A2039A5F-E6C6-4E9A-BA5B-851D94B3E830}"/>
              </a:ext>
            </a:extLst>
          </p:cNvPr>
          <p:cNvSpPr/>
          <p:nvPr/>
        </p:nvSpPr>
        <p:spPr>
          <a:xfrm>
            <a:off x="6400801" y="4219222"/>
            <a:ext cx="749300" cy="186987"/>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4</a:t>
            </a:r>
            <a:r>
              <a:rPr kumimoji="0" lang="en-AU" sz="800" b="0" i="0" u="none" strike="noStrike" kern="1200" cap="none" spc="0" normalizeH="0" baseline="0" noProof="0">
                <a:ln>
                  <a:noFill/>
                </a:ln>
                <a:solidFill>
                  <a:srgbClr val="FFFFFF"/>
                </a:solidFill>
                <a:effectLst/>
                <a:uLnTx/>
                <a:uFillTx/>
                <a:latin typeface="Verdana"/>
                <a:ea typeface="+mn-ea"/>
                <a:cs typeface="+mn-cs"/>
              </a:rPr>
              <a:t> week</a:t>
            </a:r>
          </a:p>
        </p:txBody>
      </p:sp>
      <p:sp>
        <p:nvSpPr>
          <p:cNvPr id="56" name="Rectangle: Rounded Corners 212">
            <a:extLst>
              <a:ext uri="{FF2B5EF4-FFF2-40B4-BE49-F238E27FC236}">
                <a16:creationId xmlns:a16="http://schemas.microsoft.com/office/drawing/2014/main" id="{7BBA650B-691C-4C93-AB5E-2CC3EC426B22}"/>
              </a:ext>
            </a:extLst>
          </p:cNvPr>
          <p:cNvSpPr/>
          <p:nvPr/>
        </p:nvSpPr>
        <p:spPr>
          <a:xfrm>
            <a:off x="6400800" y="4614240"/>
            <a:ext cx="1450887" cy="232872"/>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9 weeks</a:t>
            </a:r>
          </a:p>
        </p:txBody>
      </p:sp>
      <p:sp>
        <p:nvSpPr>
          <p:cNvPr id="2" name="Rectangle 1">
            <a:extLst>
              <a:ext uri="{FF2B5EF4-FFF2-40B4-BE49-F238E27FC236}">
                <a16:creationId xmlns:a16="http://schemas.microsoft.com/office/drawing/2014/main" id="{7B135DFF-C575-446F-957A-F646BFAE97E1}"/>
              </a:ext>
            </a:extLst>
          </p:cNvPr>
          <p:cNvSpPr/>
          <p:nvPr/>
        </p:nvSpPr>
        <p:spPr>
          <a:xfrm>
            <a:off x="8586909" y="1663650"/>
            <a:ext cx="3520025" cy="3779718"/>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it-IT" sz="1400" err="1">
                <a:solidFill>
                  <a:schemeClr val="tx1"/>
                </a:solidFill>
                <a:latin typeface="Verdana" panose="020B0604030504040204" pitchFamily="34" charset="0"/>
                <a:ea typeface="Verdana" panose="020B0604030504040204" pitchFamily="34" charset="0"/>
              </a:rPr>
              <a:t>Discovery</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Phase</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will</a:t>
            </a:r>
            <a:r>
              <a:rPr lang="it-IT" sz="1400">
                <a:solidFill>
                  <a:schemeClr val="tx1"/>
                </a:solidFill>
                <a:latin typeface="Verdana" panose="020B0604030504040204" pitchFamily="34" charset="0"/>
                <a:ea typeface="Verdana" panose="020B0604030504040204" pitchFamily="34" charset="0"/>
              </a:rPr>
              <a:t> focus on end-to-end </a:t>
            </a:r>
            <a:r>
              <a:rPr lang="it-IT" sz="1400" err="1">
                <a:solidFill>
                  <a:schemeClr val="tx1"/>
                </a:solidFill>
                <a:latin typeface="Verdana" panose="020B0604030504040204" pitchFamily="34" charset="0"/>
                <a:ea typeface="Verdana" panose="020B0604030504040204" pitchFamily="34" charset="0"/>
              </a:rPr>
              <a:t>processes</a:t>
            </a:r>
            <a:r>
              <a:rPr lang="it-IT" sz="1400">
                <a:solidFill>
                  <a:schemeClr val="tx1"/>
                </a:solidFill>
                <a:latin typeface="Verdana" panose="020B0604030504040204" pitchFamily="34" charset="0"/>
                <a:ea typeface="Verdana" panose="020B0604030504040204" pitchFamily="34" charset="0"/>
              </a:rPr>
              <a:t>, in </a:t>
            </a:r>
            <a:r>
              <a:rPr lang="it-IT" sz="1400" err="1">
                <a:solidFill>
                  <a:schemeClr val="tx1"/>
                </a:solidFill>
                <a:latin typeface="Verdana" panose="020B0604030504040204" pitchFamily="34" charset="0"/>
                <a:ea typeface="Verdana" panose="020B0604030504040204" pitchFamily="34" charset="0"/>
              </a:rPr>
              <a:t>order</a:t>
            </a:r>
            <a:r>
              <a:rPr lang="it-IT" sz="1400">
                <a:solidFill>
                  <a:schemeClr val="tx1"/>
                </a:solidFill>
                <a:latin typeface="Verdana" panose="020B0604030504040204" pitchFamily="34" charset="0"/>
                <a:ea typeface="Verdana" panose="020B0604030504040204" pitchFamily="34" charset="0"/>
              </a:rPr>
              <a:t> to </a:t>
            </a:r>
            <a:r>
              <a:rPr lang="it-IT" sz="1400" err="1">
                <a:solidFill>
                  <a:schemeClr val="tx1"/>
                </a:solidFill>
                <a:latin typeface="Verdana" panose="020B0604030504040204" pitchFamily="34" charset="0"/>
                <a:ea typeface="Verdana" panose="020B0604030504040204" pitchFamily="34" charset="0"/>
              </a:rPr>
              <a:t>identify</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impacts</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related</a:t>
            </a:r>
            <a:r>
              <a:rPr lang="it-IT" sz="1400">
                <a:solidFill>
                  <a:schemeClr val="tx1"/>
                </a:solidFill>
                <a:latin typeface="Verdana" panose="020B0604030504040204" pitchFamily="34" charset="0"/>
                <a:ea typeface="Verdana" panose="020B0604030504040204" pitchFamily="34" charset="0"/>
              </a:rPr>
              <a:t> to </a:t>
            </a:r>
            <a:r>
              <a:rPr lang="it-IT" sz="1400" err="1">
                <a:solidFill>
                  <a:schemeClr val="tx1"/>
                </a:solidFill>
                <a:latin typeface="Verdana" panose="020B0604030504040204" pitchFamily="34" charset="0"/>
                <a:ea typeface="Verdana" panose="020B0604030504040204" pitchFamily="34" charset="0"/>
              </a:rPr>
              <a:t>platform</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optimization</a:t>
            </a:r>
            <a:r>
              <a:rPr lang="it-IT" sz="1400">
                <a:solidFill>
                  <a:schemeClr val="tx1"/>
                </a:solidFill>
                <a:latin typeface="Verdana" panose="020B0604030504040204" pitchFamily="34" charset="0"/>
                <a:ea typeface="Verdana" panose="020B0604030504040204" pitchFamily="34" charset="0"/>
              </a:rPr>
              <a:t> and to </a:t>
            </a:r>
            <a:r>
              <a:rPr lang="it-IT" sz="1400" err="1">
                <a:solidFill>
                  <a:schemeClr val="tx1"/>
                </a:solidFill>
                <a:latin typeface="Verdana" panose="020B0604030504040204" pitchFamily="34" charset="0"/>
                <a:ea typeface="Verdana" panose="020B0604030504040204" pitchFamily="34" charset="0"/>
              </a:rPr>
              <a:t>review</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processes</a:t>
            </a:r>
            <a:r>
              <a:rPr lang="it-IT" sz="1400">
                <a:solidFill>
                  <a:schemeClr val="tx1"/>
                </a:solidFill>
                <a:latin typeface="Verdana" panose="020B0604030504040204" pitchFamily="34" charset="0"/>
                <a:ea typeface="Verdana" panose="020B0604030504040204" pitchFamily="34" charset="0"/>
              </a:rPr>
              <a:t> in scope for </a:t>
            </a:r>
            <a:r>
              <a:rPr lang="it-IT" sz="1400" err="1">
                <a:solidFill>
                  <a:schemeClr val="tx1"/>
                </a:solidFill>
                <a:latin typeface="Verdana" panose="020B0604030504040204" pitchFamily="34" charset="0"/>
                <a:ea typeface="Verdana" panose="020B0604030504040204" pitchFamily="34" charset="0"/>
              </a:rPr>
              <a:t>rollouts</a:t>
            </a:r>
            <a:endParaRPr lang="it-IT" sz="1400">
              <a:solidFill>
                <a:schemeClr val="tx1"/>
              </a:solidFill>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it-IT" sz="1400" err="1">
                <a:solidFill>
                  <a:schemeClr val="tx1"/>
                </a:solidFill>
                <a:latin typeface="Verdana" panose="020B0604030504040204" pitchFamily="34" charset="0"/>
                <a:ea typeface="Verdana" panose="020B0604030504040204" pitchFamily="34" charset="0"/>
              </a:rPr>
              <a:t>Scoping</a:t>
            </a:r>
            <a:r>
              <a:rPr lang="it-IT" sz="1400">
                <a:solidFill>
                  <a:schemeClr val="tx1"/>
                </a:solidFill>
                <a:latin typeface="Verdana" panose="020B0604030504040204" pitchFamily="34" charset="0"/>
                <a:ea typeface="Verdana" panose="020B0604030504040204" pitchFamily="34" charset="0"/>
              </a:rPr>
              <a:t> &amp; Design </a:t>
            </a:r>
            <a:r>
              <a:rPr lang="it-IT" sz="1400" err="1">
                <a:solidFill>
                  <a:schemeClr val="tx1"/>
                </a:solidFill>
                <a:latin typeface="Verdana" panose="020B0604030504040204" pitchFamily="34" charset="0"/>
                <a:ea typeface="Verdana" panose="020B0604030504040204" pitchFamily="34" charset="0"/>
              </a:rPr>
              <a:t>phase</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will</a:t>
            </a:r>
            <a:r>
              <a:rPr lang="it-IT" sz="1400">
                <a:solidFill>
                  <a:schemeClr val="tx1"/>
                </a:solidFill>
                <a:latin typeface="Verdana" panose="020B0604030504040204" pitchFamily="34" charset="0"/>
                <a:ea typeface="Verdana" panose="020B0604030504040204" pitchFamily="34" charset="0"/>
              </a:rPr>
              <a:t> be common to </a:t>
            </a:r>
            <a:r>
              <a:rPr lang="it-IT" sz="1400" err="1">
                <a:solidFill>
                  <a:schemeClr val="tx1"/>
                </a:solidFill>
                <a:latin typeface="Verdana" panose="020B0604030504040204" pitchFamily="34" charset="0"/>
                <a:ea typeface="Verdana" panose="020B0604030504040204" pitchFamily="34" charset="0"/>
              </a:rPr>
              <a:t>substreams</a:t>
            </a:r>
            <a:r>
              <a:rPr lang="it-IT" sz="1400">
                <a:solidFill>
                  <a:schemeClr val="tx1"/>
                </a:solidFill>
                <a:latin typeface="Verdana" panose="020B0604030504040204" pitchFamily="34" charset="0"/>
                <a:ea typeface="Verdana" panose="020B0604030504040204" pitchFamily="34" charset="0"/>
              </a:rPr>
              <a:t>, in </a:t>
            </a:r>
            <a:r>
              <a:rPr lang="it-IT" sz="1400" err="1">
                <a:solidFill>
                  <a:schemeClr val="tx1"/>
                </a:solidFill>
                <a:latin typeface="Verdana" panose="020B0604030504040204" pitchFamily="34" charset="0"/>
                <a:ea typeface="Verdana" panose="020B0604030504040204" pitchFamily="34" charset="0"/>
              </a:rPr>
              <a:t>order</a:t>
            </a:r>
            <a:r>
              <a:rPr lang="it-IT" sz="1400">
                <a:solidFill>
                  <a:schemeClr val="tx1"/>
                </a:solidFill>
                <a:latin typeface="Verdana" panose="020B0604030504040204" pitchFamily="34" charset="0"/>
                <a:ea typeface="Verdana" panose="020B0604030504040204" pitchFamily="34" charset="0"/>
              </a:rPr>
              <a:t> to exploit </a:t>
            </a:r>
            <a:r>
              <a:rPr lang="it-IT" sz="1400" err="1">
                <a:solidFill>
                  <a:schemeClr val="tx1"/>
                </a:solidFill>
                <a:latin typeface="Verdana" panose="020B0604030504040204" pitchFamily="34" charset="0"/>
                <a:ea typeface="Verdana" panose="020B0604030504040204" pitchFamily="34" charset="0"/>
              </a:rPr>
              <a:t>synergies</a:t>
            </a:r>
            <a:endParaRPr lang="it-IT" sz="1400">
              <a:solidFill>
                <a:schemeClr val="tx1"/>
              </a:solidFill>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it-IT" sz="1400" err="1">
                <a:solidFill>
                  <a:schemeClr val="tx1"/>
                </a:solidFill>
                <a:latin typeface="Verdana" panose="020B0604030504040204" pitchFamily="34" charset="0"/>
                <a:ea typeface="Verdana" panose="020B0604030504040204" pitchFamily="34" charset="0"/>
              </a:rPr>
              <a:t>Build</a:t>
            </a:r>
            <a:r>
              <a:rPr lang="it-IT" sz="1400">
                <a:solidFill>
                  <a:schemeClr val="tx1"/>
                </a:solidFill>
                <a:latin typeface="Verdana" panose="020B0604030504040204" pitchFamily="34" charset="0"/>
                <a:ea typeface="Verdana" panose="020B0604030504040204" pitchFamily="34" charset="0"/>
              </a:rPr>
              <a:t> for </a:t>
            </a:r>
            <a:r>
              <a:rPr lang="it-IT" sz="1400" err="1">
                <a:solidFill>
                  <a:schemeClr val="tx1"/>
                </a:solidFill>
                <a:latin typeface="Verdana" panose="020B0604030504040204" pitchFamily="34" charset="0"/>
                <a:ea typeface="Verdana" panose="020B0604030504040204" pitchFamily="34" charset="0"/>
              </a:rPr>
              <a:t>platform</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optimization</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performed</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as</a:t>
            </a:r>
            <a:r>
              <a:rPr lang="it-IT" sz="1400">
                <a:solidFill>
                  <a:schemeClr val="tx1"/>
                </a:solidFill>
                <a:latin typeface="Verdana" panose="020B0604030504040204" pitchFamily="34" charset="0"/>
                <a:ea typeface="Verdana" panose="020B0604030504040204" pitchFamily="34" charset="0"/>
              </a:rPr>
              <a:t> first, so </a:t>
            </a:r>
            <a:r>
              <a:rPr lang="it-IT" sz="1400" err="1">
                <a:solidFill>
                  <a:schemeClr val="tx1"/>
                </a:solidFill>
                <a:latin typeface="Verdana" panose="020B0604030504040204" pitchFamily="34" charset="0"/>
                <a:ea typeface="Verdana" panose="020B0604030504040204" pitchFamily="34" charset="0"/>
              </a:rPr>
              <a:t>that</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other</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substreams</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will</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leverage</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optimized</a:t>
            </a:r>
            <a:r>
              <a:rPr lang="it-IT" sz="1400">
                <a:solidFill>
                  <a:schemeClr val="tx1"/>
                </a:solidFill>
                <a:latin typeface="Verdana" panose="020B0604030504040204" pitchFamily="34" charset="0"/>
                <a:ea typeface="Verdana" panose="020B0604030504040204" pitchFamily="34" charset="0"/>
              </a:rPr>
              <a:t> </a:t>
            </a:r>
            <a:r>
              <a:rPr lang="it-IT" sz="1400" err="1">
                <a:solidFill>
                  <a:schemeClr val="tx1"/>
                </a:solidFill>
                <a:latin typeface="Verdana" panose="020B0604030504040204" pitchFamily="34" charset="0"/>
                <a:ea typeface="Verdana" panose="020B0604030504040204" pitchFamily="34" charset="0"/>
              </a:rPr>
              <a:t>features</a:t>
            </a:r>
            <a:endParaRPr lang="it-IT" sz="1400">
              <a:solidFill>
                <a:schemeClr val="tx1"/>
              </a:solidFill>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it-IT" sz="1400">
                <a:solidFill>
                  <a:schemeClr val="tx1"/>
                </a:solidFill>
                <a:latin typeface="Verdana" panose="020B0604030504040204" pitchFamily="34" charset="0"/>
                <a:ea typeface="Verdana" panose="020B0604030504040204" pitchFamily="34" charset="0"/>
              </a:rPr>
              <a:t>Common end-to-end </a:t>
            </a:r>
            <a:r>
              <a:rPr lang="it-IT" sz="1400" err="1">
                <a:solidFill>
                  <a:schemeClr val="tx1"/>
                </a:solidFill>
                <a:latin typeface="Verdana" panose="020B0604030504040204" pitchFamily="34" charset="0"/>
                <a:ea typeface="Verdana" panose="020B0604030504040204" pitchFamily="34" charset="0"/>
              </a:rPr>
              <a:t>tests</a:t>
            </a:r>
            <a:r>
              <a:rPr lang="it-IT" sz="1400">
                <a:solidFill>
                  <a:schemeClr val="tx1"/>
                </a:solidFill>
                <a:latin typeface="Verdana" panose="020B0604030504040204" pitchFamily="34" charset="0"/>
                <a:ea typeface="Verdana" panose="020B0604030504040204" pitchFamily="34" charset="0"/>
              </a:rPr>
              <a:t>, in </a:t>
            </a:r>
            <a:r>
              <a:rPr lang="it-IT" sz="1400" err="1">
                <a:solidFill>
                  <a:schemeClr val="tx1"/>
                </a:solidFill>
                <a:latin typeface="Verdana" panose="020B0604030504040204" pitchFamily="34" charset="0"/>
                <a:ea typeface="Verdana" panose="020B0604030504040204" pitchFamily="34" charset="0"/>
              </a:rPr>
              <a:t>order</a:t>
            </a:r>
            <a:r>
              <a:rPr lang="it-IT" sz="1400">
                <a:solidFill>
                  <a:schemeClr val="tx1"/>
                </a:solidFill>
                <a:latin typeface="Verdana" panose="020B0604030504040204" pitchFamily="34" charset="0"/>
                <a:ea typeface="Verdana" panose="020B0604030504040204" pitchFamily="34" charset="0"/>
              </a:rPr>
              <a:t> to gain </a:t>
            </a:r>
            <a:r>
              <a:rPr lang="it-IT" sz="1400" err="1">
                <a:solidFill>
                  <a:schemeClr val="tx1"/>
                </a:solidFill>
                <a:latin typeface="Verdana" panose="020B0604030504040204" pitchFamily="34" charset="0"/>
                <a:ea typeface="Verdana" panose="020B0604030504040204" pitchFamily="34" charset="0"/>
              </a:rPr>
              <a:t>efficiency</a:t>
            </a:r>
            <a:r>
              <a:rPr lang="it-IT" sz="1400">
                <a:solidFill>
                  <a:schemeClr val="tx1"/>
                </a:solidFill>
                <a:latin typeface="Verdana" panose="020B0604030504040204" pitchFamily="34" charset="0"/>
                <a:ea typeface="Verdana" panose="020B0604030504040204" pitchFamily="34" charset="0"/>
              </a:rPr>
              <a:t> and </a:t>
            </a:r>
            <a:r>
              <a:rPr lang="it-IT" sz="1400" err="1">
                <a:solidFill>
                  <a:schemeClr val="tx1"/>
                </a:solidFill>
                <a:latin typeface="Verdana" panose="020B0604030504040204" pitchFamily="34" charset="0"/>
                <a:ea typeface="Verdana" panose="020B0604030504040204" pitchFamily="34" charset="0"/>
              </a:rPr>
              <a:t>limit</a:t>
            </a:r>
            <a:r>
              <a:rPr lang="it-IT" sz="1400">
                <a:solidFill>
                  <a:schemeClr val="tx1"/>
                </a:solidFill>
                <a:latin typeface="Verdana" panose="020B0604030504040204" pitchFamily="34" charset="0"/>
                <a:ea typeface="Verdana" panose="020B0604030504040204" pitchFamily="34" charset="0"/>
              </a:rPr>
              <a:t> business </a:t>
            </a:r>
            <a:r>
              <a:rPr lang="it-IT" sz="1400" err="1">
                <a:solidFill>
                  <a:schemeClr val="tx1"/>
                </a:solidFill>
                <a:latin typeface="Verdana" panose="020B0604030504040204" pitchFamily="34" charset="0"/>
                <a:ea typeface="Verdana" panose="020B0604030504040204" pitchFamily="34" charset="0"/>
              </a:rPr>
              <a:t>involvement</a:t>
            </a:r>
            <a:endParaRPr lang="it-IT" sz="1400">
              <a:solidFill>
                <a:schemeClr val="tx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2899204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151</a:t>
            </a:fld>
            <a:endParaRPr sz="800">
              <a:latin typeface="Verdana"/>
              <a:cs typeface="Verdana"/>
            </a:endParaRPr>
          </a:p>
        </p:txBody>
      </p:sp>
      <p:sp>
        <p:nvSpPr>
          <p:cNvPr id="9" name="object 2">
            <a:extLst>
              <a:ext uri="{FF2B5EF4-FFF2-40B4-BE49-F238E27FC236}">
                <a16:creationId xmlns:a16="http://schemas.microsoft.com/office/drawing/2014/main" id="{00A11E38-A4FB-4AAC-9139-7E8DDA4BF266}"/>
              </a:ext>
            </a:extLst>
          </p:cNvPr>
          <p:cNvSpPr txBox="1">
            <a:spLocks/>
          </p:cNvSpPr>
          <p:nvPr/>
        </p:nvSpPr>
        <p:spPr>
          <a:xfrm>
            <a:off x="214680" y="304800"/>
            <a:ext cx="10148520"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10"/>
              <a:t>Wave 2 – technical effort breakdown</a:t>
            </a:r>
            <a:endParaRPr lang="en-US" sz="2600" kern="0"/>
          </a:p>
        </p:txBody>
      </p:sp>
      <p:sp>
        <p:nvSpPr>
          <p:cNvPr id="8" name="TextBox 7">
            <a:extLst>
              <a:ext uri="{FF2B5EF4-FFF2-40B4-BE49-F238E27FC236}">
                <a16:creationId xmlns:a16="http://schemas.microsoft.com/office/drawing/2014/main" id="{1453F045-EF1A-49CA-9FA0-FCD6494F41AB}"/>
              </a:ext>
            </a:extLst>
          </p:cNvPr>
          <p:cNvSpPr txBox="1"/>
          <p:nvPr/>
        </p:nvSpPr>
        <p:spPr>
          <a:xfrm>
            <a:off x="214680" y="914400"/>
            <a:ext cx="11139120" cy="323165"/>
          </a:xfrm>
          <a:prstGeom prst="rect">
            <a:avLst/>
          </a:prstGeom>
          <a:noFill/>
        </p:spPr>
        <p:txBody>
          <a:bodyPr wrap="square" rtlCol="0">
            <a:spAutoFit/>
          </a:bodyPr>
          <a:lstStyle/>
          <a:p>
            <a:r>
              <a:rPr lang="it-IT" sz="1500">
                <a:latin typeface="Verdana" panose="020B0604030504040204" pitchFamily="34" charset="0"/>
                <a:ea typeface="Verdana" panose="020B0604030504040204" pitchFamily="34" charset="0"/>
              </a:rPr>
              <a:t>The </a:t>
            </a:r>
            <a:r>
              <a:rPr lang="it-IT" sz="1500" err="1">
                <a:latin typeface="Verdana" panose="020B0604030504040204" pitchFamily="34" charset="0"/>
                <a:ea typeface="Verdana" panose="020B0604030504040204" pitchFamily="34" charset="0"/>
              </a:rPr>
              <a:t>following</a:t>
            </a:r>
            <a:r>
              <a:rPr lang="it-IT" sz="1500">
                <a:latin typeface="Verdana" panose="020B0604030504040204" pitchFamily="34" charset="0"/>
                <a:ea typeface="Verdana" panose="020B0604030504040204" pitchFamily="34" charset="0"/>
              </a:rPr>
              <a:t> </a:t>
            </a:r>
            <a:r>
              <a:rPr lang="it-IT" sz="1500" err="1">
                <a:latin typeface="Verdana" panose="020B0604030504040204" pitchFamily="34" charset="0"/>
                <a:ea typeface="Verdana" panose="020B0604030504040204" pitchFamily="34" charset="0"/>
              </a:rPr>
              <a:t>table</a:t>
            </a:r>
            <a:r>
              <a:rPr lang="it-IT" sz="1500">
                <a:latin typeface="Verdana" panose="020B0604030504040204" pitchFamily="34" charset="0"/>
                <a:ea typeface="Verdana" panose="020B0604030504040204" pitchFamily="34" charset="0"/>
              </a:rPr>
              <a:t> </a:t>
            </a:r>
            <a:r>
              <a:rPr lang="it-IT" sz="1500" err="1">
                <a:latin typeface="Verdana" panose="020B0604030504040204" pitchFamily="34" charset="0"/>
                <a:ea typeface="Verdana" panose="020B0604030504040204" pitchFamily="34" charset="0"/>
              </a:rPr>
              <a:t>summarizes</a:t>
            </a:r>
            <a:r>
              <a:rPr lang="it-IT" sz="1500">
                <a:latin typeface="Verdana" panose="020B0604030504040204" pitchFamily="34" charset="0"/>
                <a:ea typeface="Verdana" panose="020B0604030504040204" pitchFamily="34" charset="0"/>
              </a:rPr>
              <a:t> </a:t>
            </a:r>
            <a:r>
              <a:rPr lang="it-IT" sz="1500" err="1">
                <a:latin typeface="Verdana" panose="020B0604030504040204" pitchFamily="34" charset="0"/>
                <a:ea typeface="Verdana" panose="020B0604030504040204" pitchFamily="34" charset="0"/>
              </a:rPr>
              <a:t>roles</a:t>
            </a:r>
            <a:r>
              <a:rPr lang="it-IT" sz="1500">
                <a:latin typeface="Verdana" panose="020B0604030504040204" pitchFamily="34" charset="0"/>
                <a:ea typeface="Verdana" panose="020B0604030504040204" pitchFamily="34" charset="0"/>
              </a:rPr>
              <a:t> and </a:t>
            </a:r>
            <a:r>
              <a:rPr lang="it-IT" sz="1500" err="1">
                <a:latin typeface="Verdana" panose="020B0604030504040204" pitchFamily="34" charset="0"/>
                <a:ea typeface="Verdana" panose="020B0604030504040204" pitchFamily="34" charset="0"/>
              </a:rPr>
              <a:t>efforts</a:t>
            </a:r>
            <a:r>
              <a:rPr lang="it-IT" sz="1500">
                <a:latin typeface="Verdana" panose="020B0604030504040204" pitchFamily="34" charset="0"/>
                <a:ea typeface="Verdana" panose="020B0604030504040204" pitchFamily="34" charset="0"/>
              </a:rPr>
              <a:t> </a:t>
            </a:r>
            <a:r>
              <a:rPr lang="it-IT" sz="1500" err="1">
                <a:latin typeface="Verdana" panose="020B0604030504040204" pitchFamily="34" charset="0"/>
                <a:ea typeface="Verdana" panose="020B0604030504040204" pitchFamily="34" charset="0"/>
              </a:rPr>
              <a:t>foreseen</a:t>
            </a:r>
            <a:r>
              <a:rPr lang="it-IT" sz="1500">
                <a:latin typeface="Verdana" panose="020B0604030504040204" pitchFamily="34" charset="0"/>
                <a:ea typeface="Verdana" panose="020B0604030504040204" pitchFamily="34" charset="0"/>
              </a:rPr>
              <a:t> for </a:t>
            </a:r>
            <a:r>
              <a:rPr lang="it-IT" sz="1500" err="1">
                <a:latin typeface="Verdana" panose="020B0604030504040204" pitchFamily="34" charset="0"/>
                <a:ea typeface="Verdana" panose="020B0604030504040204" pitchFamily="34" charset="0"/>
              </a:rPr>
              <a:t>wave</a:t>
            </a:r>
            <a:r>
              <a:rPr lang="it-IT" sz="1500">
                <a:latin typeface="Verdana" panose="020B0604030504040204" pitchFamily="34" charset="0"/>
                <a:ea typeface="Verdana" panose="020B0604030504040204" pitchFamily="34" charset="0"/>
              </a:rPr>
              <a:t> 2 </a:t>
            </a:r>
            <a:r>
              <a:rPr lang="it-IT" sz="1500" err="1">
                <a:latin typeface="Verdana" panose="020B0604030504040204" pitchFamily="34" charset="0"/>
                <a:ea typeface="Verdana" panose="020B0604030504040204" pitchFamily="34" charset="0"/>
              </a:rPr>
              <a:t>activities</a:t>
            </a:r>
            <a:r>
              <a:rPr lang="it-IT" sz="1500">
                <a:latin typeface="Verdana" panose="020B0604030504040204" pitchFamily="34" charset="0"/>
                <a:ea typeface="Verdana" panose="020B0604030504040204" pitchFamily="34" charset="0"/>
              </a:rPr>
              <a:t>: </a:t>
            </a:r>
          </a:p>
        </p:txBody>
      </p:sp>
      <p:sp>
        <p:nvSpPr>
          <p:cNvPr id="12" name="TextBox 11">
            <a:extLst>
              <a:ext uri="{FF2B5EF4-FFF2-40B4-BE49-F238E27FC236}">
                <a16:creationId xmlns:a16="http://schemas.microsoft.com/office/drawing/2014/main" id="{7C6059E8-BE45-471D-B324-C52287CD9291}"/>
              </a:ext>
            </a:extLst>
          </p:cNvPr>
          <p:cNvSpPr txBox="1"/>
          <p:nvPr/>
        </p:nvSpPr>
        <p:spPr>
          <a:xfrm>
            <a:off x="201978" y="4766355"/>
            <a:ext cx="11685221" cy="1738938"/>
          </a:xfrm>
          <a:prstGeom prst="rect">
            <a:avLst/>
          </a:prstGeom>
          <a:noFill/>
        </p:spPr>
        <p:txBody>
          <a:bodyPr wrap="square" rtlCol="0">
            <a:spAutoFit/>
          </a:bodyPr>
          <a:lstStyle/>
          <a:p>
            <a:pPr algn="just"/>
            <a:r>
              <a:rPr lang="it-IT" sz="1500" b="1" dirty="0" err="1">
                <a:latin typeface="Verdana" panose="020B0604030504040204" pitchFamily="34" charset="0"/>
                <a:ea typeface="Verdana" panose="020B0604030504040204" pitchFamily="34" charset="0"/>
              </a:rPr>
              <a:t>Main</a:t>
            </a:r>
            <a:r>
              <a:rPr lang="it-IT" sz="1500" b="1" dirty="0">
                <a:latin typeface="Verdana" panose="020B0604030504040204" pitchFamily="34" charset="0"/>
                <a:ea typeface="Verdana" panose="020B0604030504040204" pitchFamily="34" charset="0"/>
              </a:rPr>
              <a:t> </a:t>
            </a:r>
            <a:r>
              <a:rPr lang="it-IT" sz="1500" b="1" dirty="0" err="1">
                <a:latin typeface="Verdana" panose="020B0604030504040204" pitchFamily="34" charset="0"/>
                <a:ea typeface="Verdana" panose="020B0604030504040204" pitchFamily="34" charset="0"/>
              </a:rPr>
              <a:t>highlights</a:t>
            </a:r>
            <a:r>
              <a:rPr lang="it-IT" sz="1500" b="1" dirty="0">
                <a:latin typeface="Verdana" panose="020B0604030504040204" pitchFamily="34" charset="0"/>
                <a:ea typeface="Verdana" panose="020B0604030504040204" pitchFamily="34" charset="0"/>
              </a:rPr>
              <a:t> and </a:t>
            </a:r>
            <a:r>
              <a:rPr lang="it-IT" sz="1500" b="1" dirty="0" err="1">
                <a:latin typeface="Verdana" panose="020B0604030504040204" pitchFamily="34" charset="0"/>
                <a:ea typeface="Verdana" panose="020B0604030504040204" pitchFamily="34" charset="0"/>
              </a:rPr>
              <a:t>assumptions</a:t>
            </a:r>
            <a:r>
              <a:rPr lang="it-IT" sz="1500" b="1" dirty="0">
                <a:latin typeface="Verdana" panose="020B0604030504040204" pitchFamily="34" charset="0"/>
                <a:ea typeface="Verdana" panose="020B0604030504040204" pitchFamily="34" charset="0"/>
              </a:rPr>
              <a:t>:</a:t>
            </a:r>
          </a:p>
          <a:p>
            <a:pPr algn="just"/>
            <a:endParaRPr lang="it-IT" sz="1500" b="1"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it-IT" sz="1500" b="1" dirty="0" err="1">
                <a:latin typeface="Verdana" panose="020B0604030504040204" pitchFamily="34" charset="0"/>
                <a:ea typeface="Verdana" panose="020B0604030504040204" pitchFamily="34" charset="0"/>
              </a:rPr>
              <a:t>Wave</a:t>
            </a:r>
            <a:r>
              <a:rPr lang="it-IT" sz="1500" b="1" dirty="0">
                <a:latin typeface="Verdana" panose="020B0604030504040204" pitchFamily="34" charset="0"/>
                <a:ea typeface="Verdana" panose="020B0604030504040204" pitchFamily="34" charset="0"/>
              </a:rPr>
              <a:t> 2 </a:t>
            </a:r>
            <a:r>
              <a:rPr lang="it-IT" sz="1500" b="1" dirty="0" err="1">
                <a:latin typeface="Verdana" panose="020B0604030504040204" pitchFamily="34" charset="0"/>
                <a:ea typeface="Verdana" panose="020B0604030504040204" pitchFamily="34" charset="0"/>
              </a:rPr>
              <a:t>rollouts</a:t>
            </a:r>
            <a:r>
              <a:rPr lang="it-IT" sz="1500" b="1"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will</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leverage</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implementations</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done</a:t>
            </a:r>
            <a:r>
              <a:rPr lang="it-IT" sz="1500" dirty="0">
                <a:latin typeface="Verdana" panose="020B0604030504040204" pitchFamily="34" charset="0"/>
                <a:ea typeface="Verdana" panose="020B0604030504040204" pitchFamily="34" charset="0"/>
              </a:rPr>
              <a:t> in </a:t>
            </a:r>
            <a:r>
              <a:rPr lang="it-IT" sz="1500" dirty="0" err="1">
                <a:latin typeface="Verdana" panose="020B0604030504040204" pitchFamily="34" charset="0"/>
                <a:ea typeface="Verdana" panose="020B0604030504040204" pitchFamily="34" charset="0"/>
              </a:rPr>
              <a:t>wave</a:t>
            </a:r>
            <a:r>
              <a:rPr lang="it-IT" sz="1500" dirty="0">
                <a:latin typeface="Verdana" panose="020B0604030504040204" pitchFamily="34" charset="0"/>
                <a:ea typeface="Verdana" panose="020B0604030504040204" pitchFamily="34" charset="0"/>
              </a:rPr>
              <a:t> 1 </a:t>
            </a:r>
            <a:r>
              <a:rPr lang="it-IT" sz="1500" dirty="0" err="1">
                <a:latin typeface="Verdana" panose="020B0604030504040204" pitchFamily="34" charset="0"/>
                <a:ea typeface="Verdana" panose="020B0604030504040204" pitchFamily="34" charset="0"/>
              </a:rPr>
              <a:t>rollouts</a:t>
            </a:r>
            <a:r>
              <a:rPr lang="it-IT" sz="1500" dirty="0">
                <a:latin typeface="Verdana" panose="020B0604030504040204" pitchFamily="34" charset="0"/>
                <a:ea typeface="Verdana" panose="020B0604030504040204" pitchFamily="34" charset="0"/>
              </a:rPr>
              <a:t> for data </a:t>
            </a:r>
            <a:r>
              <a:rPr lang="it-IT" sz="1500" dirty="0" err="1">
                <a:latin typeface="Verdana" panose="020B0604030504040204" pitchFamily="34" charset="0"/>
                <a:ea typeface="Verdana" panose="020B0604030504040204" pitchFamily="34" charset="0"/>
              </a:rPr>
              <a:t>migration</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procedures</a:t>
            </a:r>
            <a:r>
              <a:rPr lang="it-IT" sz="1500" dirty="0">
                <a:latin typeface="Verdana" panose="020B0604030504040204" pitchFamily="34" charset="0"/>
                <a:ea typeface="Verdana" panose="020B0604030504040204" pitchFamily="34" charset="0"/>
              </a:rPr>
              <a:t> and </a:t>
            </a:r>
            <a:r>
              <a:rPr lang="it-IT" sz="1500" dirty="0" err="1">
                <a:latin typeface="Verdana" panose="020B0604030504040204" pitchFamily="34" charset="0"/>
                <a:ea typeface="Verdana" panose="020B0604030504040204" pitchFamily="34" charset="0"/>
              </a:rPr>
              <a:t>interfaces</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BLs</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specific</a:t>
            </a:r>
            <a:r>
              <a:rPr lang="it-IT" sz="1500" dirty="0">
                <a:latin typeface="Verdana" panose="020B0604030504040204" pitchFamily="34" charset="0"/>
                <a:ea typeface="Verdana" panose="020B0604030504040204" pitchFamily="34" charset="0"/>
              </a:rPr>
              <a:t> gaps </a:t>
            </a:r>
            <a:r>
              <a:rPr lang="it-IT" sz="1500" dirty="0" err="1">
                <a:latin typeface="Verdana" panose="020B0604030504040204" pitchFamily="34" charset="0"/>
                <a:ea typeface="Verdana" panose="020B0604030504040204" pitchFamily="34" charset="0"/>
              </a:rPr>
              <a:t>will</a:t>
            </a:r>
            <a:r>
              <a:rPr lang="it-IT" sz="1500" dirty="0">
                <a:latin typeface="Verdana" panose="020B0604030504040204" pitchFamily="34" charset="0"/>
                <a:ea typeface="Verdana" panose="020B0604030504040204" pitchFamily="34" charset="0"/>
              </a:rPr>
              <a:t> be </a:t>
            </a:r>
            <a:r>
              <a:rPr lang="it-IT" sz="1500" dirty="0" err="1">
                <a:latin typeface="Verdana" panose="020B0604030504040204" pitchFamily="34" charset="0"/>
                <a:ea typeface="Verdana" panose="020B0604030504040204" pitchFamily="34" charset="0"/>
              </a:rPr>
              <a:t>within</a:t>
            </a:r>
            <a:r>
              <a:rPr lang="it-IT" sz="1500" dirty="0">
                <a:latin typeface="Verdana" panose="020B0604030504040204" pitchFamily="34" charset="0"/>
                <a:ea typeface="Verdana" panose="020B0604030504040204" pitchFamily="34" charset="0"/>
              </a:rPr>
              <a:t> a basket of 50 </a:t>
            </a:r>
            <a:r>
              <a:rPr lang="it-IT" sz="1500" dirty="0" err="1">
                <a:latin typeface="Verdana" panose="020B0604030504040204" pitchFamily="34" charset="0"/>
                <a:ea typeface="Verdana" panose="020B0604030504040204" pitchFamily="34" charset="0"/>
              </a:rPr>
              <a:t>mds</a:t>
            </a:r>
            <a:r>
              <a:rPr lang="it-IT" sz="1500" dirty="0">
                <a:latin typeface="Verdana" panose="020B0604030504040204" pitchFamily="34" charset="0"/>
                <a:ea typeface="Verdana" panose="020B0604030504040204" pitchFamily="34" charset="0"/>
              </a:rPr>
              <a:t> per BL.</a:t>
            </a:r>
          </a:p>
          <a:p>
            <a:pPr marL="285750" indent="-285750" algn="just">
              <a:buFont typeface="Arial" panose="020B0604020202020204" pitchFamily="34" charset="0"/>
              <a:buChar char="•"/>
            </a:pPr>
            <a:r>
              <a:rPr lang="it-IT" sz="1500" dirty="0">
                <a:latin typeface="Verdana" panose="020B0604030504040204" pitchFamily="34" charset="0"/>
                <a:ea typeface="Verdana" panose="020B0604030504040204" pitchFamily="34" charset="0"/>
              </a:rPr>
              <a:t>For </a:t>
            </a:r>
            <a:r>
              <a:rPr lang="it-IT" sz="1500" dirty="0" err="1">
                <a:latin typeface="Verdana" panose="020B0604030504040204" pitchFamily="34" charset="0"/>
                <a:ea typeface="Verdana" panose="020B0604030504040204" pitchFamily="34" charset="0"/>
              </a:rPr>
              <a:t>Streams</a:t>
            </a:r>
            <a:r>
              <a:rPr lang="it-IT" sz="1500" dirty="0">
                <a:latin typeface="Verdana" panose="020B0604030504040204" pitchFamily="34" charset="0"/>
                <a:ea typeface="Verdana" panose="020B0604030504040204" pitchFamily="34" charset="0"/>
              </a:rPr>
              <a:t> – RFQ </a:t>
            </a:r>
            <a:r>
              <a:rPr lang="it-IT" sz="1500" dirty="0" err="1">
                <a:latin typeface="Verdana" panose="020B0604030504040204" pitchFamily="34" charset="0"/>
                <a:ea typeface="Verdana" panose="020B0604030504040204" pitchFamily="34" charset="0"/>
              </a:rPr>
              <a:t>Workflow</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see</a:t>
            </a:r>
            <a:r>
              <a:rPr lang="it-IT" sz="1500" dirty="0">
                <a:latin typeface="Verdana" panose="020B0604030504040204" pitchFamily="34" charset="0"/>
                <a:ea typeface="Verdana" panose="020B0604030504040204" pitchFamily="34" charset="0"/>
              </a:rPr>
              <a:t> slide 118 for </a:t>
            </a:r>
            <a:r>
              <a:rPr lang="it-IT" sz="1500" dirty="0" err="1">
                <a:latin typeface="Verdana" panose="020B0604030504040204" pitchFamily="34" charset="0"/>
                <a:ea typeface="Verdana" panose="020B0604030504040204" pitchFamily="34" charset="0"/>
              </a:rPr>
              <a:t>details</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about</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activities</a:t>
            </a:r>
            <a:r>
              <a:rPr lang="it-IT" sz="1500" dirty="0">
                <a:latin typeface="Verdana" panose="020B0604030504040204" pitchFamily="34" charset="0"/>
                <a:ea typeface="Verdana" panose="020B0604030504040204" pitchFamily="34" charset="0"/>
              </a:rPr>
              <a:t> </a:t>
            </a:r>
            <a:r>
              <a:rPr lang="it-IT" sz="1500" dirty="0" err="1">
                <a:latin typeface="Verdana" panose="020B0604030504040204" pitchFamily="34" charset="0"/>
                <a:ea typeface="Verdana" panose="020B0604030504040204" pitchFamily="34" charset="0"/>
              </a:rPr>
              <a:t>included</a:t>
            </a:r>
            <a:r>
              <a:rPr lang="it-IT" sz="1500" dirty="0">
                <a:latin typeface="Verdana" panose="020B0604030504040204" pitchFamily="34" charset="0"/>
                <a:ea typeface="Verdana" panose="020B0604030504040204" pitchFamily="34" charset="0"/>
              </a:rPr>
              <a:t> in the </a:t>
            </a:r>
            <a:r>
              <a:rPr lang="it-IT" sz="1500" dirty="0" err="1">
                <a:latin typeface="Verdana" panose="020B0604030504040204" pitchFamily="34" charset="0"/>
                <a:ea typeface="Verdana" panose="020B0604030504040204" pitchFamily="34" charset="0"/>
              </a:rPr>
              <a:t>estimations</a:t>
            </a:r>
            <a:endParaRPr lang="it-IT" sz="1500" dirty="0">
              <a:latin typeface="Verdana" panose="020B0604030504040204" pitchFamily="34" charset="0"/>
              <a:ea typeface="Verdana" panose="020B0604030504040204" pitchFamily="34" charset="0"/>
            </a:endParaRPr>
          </a:p>
          <a:p>
            <a:pPr marL="285750" indent="-285750" algn="just">
              <a:buFont typeface="Arial" panose="020B0604020202020204" pitchFamily="34" charset="0"/>
              <a:buChar char="•"/>
            </a:pPr>
            <a:r>
              <a:rPr lang="it-IT" sz="1600" dirty="0" err="1">
                <a:latin typeface="Verdana" panose="020B0604030504040204" pitchFamily="34" charset="0"/>
                <a:ea typeface="Verdana" panose="020B0604030504040204" pitchFamily="34" charset="0"/>
              </a:rPr>
              <a:t>Effort</a:t>
            </a:r>
            <a:r>
              <a:rPr lang="it-IT" sz="1600" dirty="0">
                <a:latin typeface="Verdana" panose="020B0604030504040204" pitchFamily="34" charset="0"/>
                <a:ea typeface="Verdana" panose="020B0604030504040204" pitchFamily="34" charset="0"/>
              </a:rPr>
              <a:t> for </a:t>
            </a:r>
            <a:r>
              <a:rPr lang="it-IT" sz="1600" dirty="0" err="1">
                <a:latin typeface="Verdana" panose="020B0604030504040204" pitchFamily="34" charset="0"/>
                <a:ea typeface="Verdana" panose="020B0604030504040204" pitchFamily="34" charset="0"/>
              </a:rPr>
              <a:t>integrations</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has</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been</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reduced</a:t>
            </a:r>
            <a:r>
              <a:rPr lang="it-IT" sz="1600" dirty="0">
                <a:latin typeface="Verdana" panose="020B0604030504040204" pitchFamily="34" charset="0"/>
                <a:ea typeface="Verdana" panose="020B0604030504040204" pitchFamily="34" charset="0"/>
              </a:rPr>
              <a:t> by </a:t>
            </a:r>
            <a:r>
              <a:rPr lang="it-IT" sz="1600" dirty="0" err="1">
                <a:latin typeface="Verdana" panose="020B0604030504040204" pitchFamily="34" charset="0"/>
                <a:ea typeface="Verdana" panose="020B0604030504040204" pitchFamily="34" charset="0"/>
              </a:rPr>
              <a:t>considering</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that</a:t>
            </a:r>
            <a:r>
              <a:rPr lang="it-IT" sz="1600" dirty="0">
                <a:latin typeface="Verdana" panose="020B0604030504040204" pitchFamily="34" charset="0"/>
                <a:ea typeface="Verdana" panose="020B0604030504040204" pitchFamily="34" charset="0"/>
              </a:rPr>
              <a:t> Capgemini </a:t>
            </a:r>
            <a:r>
              <a:rPr lang="it-IT" sz="1600" dirty="0" err="1">
                <a:latin typeface="Verdana" panose="020B0604030504040204" pitchFamily="34" charset="0"/>
                <a:ea typeface="Verdana" panose="020B0604030504040204" pitchFamily="34" charset="0"/>
              </a:rPr>
              <a:t>will</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still</a:t>
            </a:r>
            <a:r>
              <a:rPr lang="it-IT" sz="1600" dirty="0">
                <a:latin typeface="Verdana" panose="020B0604030504040204" pitchFamily="34" charset="0"/>
                <a:ea typeface="Verdana" panose="020B0604030504040204" pitchFamily="34" charset="0"/>
              </a:rPr>
              <a:t> be </a:t>
            </a:r>
            <a:r>
              <a:rPr lang="it-IT" sz="1600" dirty="0" err="1">
                <a:latin typeface="Verdana" panose="020B0604030504040204" pitchFamily="34" charset="0"/>
                <a:ea typeface="Verdana" panose="020B0604030504040204" pitchFamily="34" charset="0"/>
              </a:rPr>
              <a:t>responsible</a:t>
            </a:r>
            <a:r>
              <a:rPr lang="it-IT" sz="1600" dirty="0">
                <a:latin typeface="Verdana" panose="020B0604030504040204" pitchFamily="34" charset="0"/>
                <a:ea typeface="Verdana" panose="020B0604030504040204" pitchFamily="34" charset="0"/>
              </a:rPr>
              <a:t> for </a:t>
            </a:r>
            <a:r>
              <a:rPr lang="it-IT" sz="1600" dirty="0" err="1">
                <a:latin typeface="Verdana" panose="020B0604030504040204" pitchFamily="34" charset="0"/>
                <a:ea typeface="Verdana" panose="020B0604030504040204" pitchFamily="34" charset="0"/>
              </a:rPr>
              <a:t>analysis</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testing</a:t>
            </a:r>
            <a:r>
              <a:rPr lang="it-IT" sz="1600" dirty="0">
                <a:latin typeface="Verdana" panose="020B0604030504040204" pitchFamily="34" charset="0"/>
                <a:ea typeface="Verdana" panose="020B0604030504040204" pitchFamily="34" charset="0"/>
              </a:rPr>
              <a:t> and SFDC </a:t>
            </a:r>
            <a:r>
              <a:rPr lang="it-IT" sz="1600" dirty="0" err="1">
                <a:latin typeface="Verdana" panose="020B0604030504040204" pitchFamily="34" charset="0"/>
                <a:ea typeface="Verdana" panose="020B0604030504040204" pitchFamily="34" charset="0"/>
              </a:rPr>
              <a:t>implementations</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while</a:t>
            </a:r>
            <a:r>
              <a:rPr lang="it-IT" sz="1600" dirty="0">
                <a:latin typeface="Verdana" panose="020B0604030504040204" pitchFamily="34" charset="0"/>
                <a:ea typeface="Verdana" panose="020B0604030504040204" pitchFamily="34" charset="0"/>
              </a:rPr>
              <a:t> MARC </a:t>
            </a:r>
            <a:r>
              <a:rPr lang="it-IT" sz="1600" dirty="0" err="1">
                <a:latin typeface="Verdana" panose="020B0604030504040204" pitchFamily="34" charset="0"/>
                <a:ea typeface="Verdana" panose="020B0604030504040204" pitchFamily="34" charset="0"/>
              </a:rPr>
              <a:t>system</a:t>
            </a:r>
            <a:r>
              <a:rPr lang="it-IT" sz="1600" dirty="0">
                <a:latin typeface="Verdana" panose="020B0604030504040204" pitchFamily="34" charset="0"/>
                <a:ea typeface="Verdana" panose="020B0604030504040204" pitchFamily="34" charset="0"/>
              </a:rPr>
              <a:t> integrator </a:t>
            </a:r>
            <a:r>
              <a:rPr lang="it-IT" sz="1600" dirty="0" err="1">
                <a:latin typeface="Verdana" panose="020B0604030504040204" pitchFamily="34" charset="0"/>
                <a:ea typeface="Verdana" panose="020B0604030504040204" pitchFamily="34" charset="0"/>
              </a:rPr>
              <a:t>will</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perform</a:t>
            </a:r>
            <a:r>
              <a:rPr lang="it-IT" sz="1600" dirty="0">
                <a:latin typeface="Verdana" panose="020B0604030504040204" pitchFamily="34" charset="0"/>
                <a:ea typeface="Verdana" panose="020B0604030504040204" pitchFamily="34" charset="0"/>
              </a:rPr>
              <a:t> MARC </a:t>
            </a:r>
            <a:r>
              <a:rPr lang="it-IT" sz="1600" dirty="0" err="1">
                <a:latin typeface="Verdana" panose="020B0604030504040204" pitchFamily="34" charset="0"/>
                <a:ea typeface="Verdana" panose="020B0604030504040204" pitchFamily="34" charset="0"/>
              </a:rPr>
              <a:t>implementations</a:t>
            </a:r>
            <a:r>
              <a:rPr lang="it-IT" sz="1600" dirty="0">
                <a:latin typeface="Verdana" panose="020B0604030504040204" pitchFamily="34" charset="0"/>
                <a:ea typeface="Verdana" panose="020B0604030504040204" pitchFamily="34" charset="0"/>
              </a:rPr>
              <a:t> </a:t>
            </a:r>
            <a:r>
              <a:rPr lang="it-IT" sz="1600" dirty="0" err="1">
                <a:latin typeface="Verdana" panose="020B0604030504040204" pitchFamily="34" charset="0"/>
                <a:ea typeface="Verdana" panose="020B0604030504040204" pitchFamily="34" charset="0"/>
              </a:rPr>
              <a:t>only</a:t>
            </a:r>
            <a:r>
              <a:rPr lang="it-IT" sz="1600" dirty="0">
                <a:latin typeface="Verdana" panose="020B0604030504040204" pitchFamily="34" charset="0"/>
                <a:ea typeface="Verdana" panose="020B0604030504040204" pitchFamily="34" charset="0"/>
              </a:rPr>
              <a:t>).</a:t>
            </a:r>
            <a:endParaRPr lang="it-IT" sz="1500" dirty="0">
              <a:latin typeface="Verdana" panose="020B0604030504040204" pitchFamily="34" charset="0"/>
              <a:ea typeface="Verdana" panose="020B0604030504040204" pitchFamily="34" charset="0"/>
            </a:endParaRPr>
          </a:p>
        </p:txBody>
      </p:sp>
      <p:pic>
        <p:nvPicPr>
          <p:cNvPr id="2" name="Picture 1">
            <a:extLst>
              <a:ext uri="{FF2B5EF4-FFF2-40B4-BE49-F238E27FC236}">
                <a16:creationId xmlns:a16="http://schemas.microsoft.com/office/drawing/2014/main" id="{8F740F9F-2EA7-4AE7-861F-7831950C3124}"/>
              </a:ext>
            </a:extLst>
          </p:cNvPr>
          <p:cNvPicPr>
            <a:picLocks noChangeAspect="1"/>
          </p:cNvPicPr>
          <p:nvPr/>
        </p:nvPicPr>
        <p:blipFill>
          <a:blip r:embed="rId2"/>
          <a:stretch>
            <a:fillRect/>
          </a:stretch>
        </p:blipFill>
        <p:spPr>
          <a:xfrm>
            <a:off x="2384340" y="1283288"/>
            <a:ext cx="7827357" cy="3483067"/>
          </a:xfrm>
          <a:prstGeom prst="rect">
            <a:avLst/>
          </a:prstGeom>
        </p:spPr>
      </p:pic>
    </p:spTree>
    <p:extLst>
      <p:ext uri="{BB962C8B-B14F-4D97-AF65-F5344CB8AC3E}">
        <p14:creationId xmlns:p14="http://schemas.microsoft.com/office/powerpoint/2010/main" val="305336700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27380" y="6650797"/>
            <a:ext cx="11713210" cy="124460"/>
          </a:xfrm>
          <a:prstGeom prst="rect">
            <a:avLst/>
          </a:prstGeom>
        </p:spPr>
        <p:txBody>
          <a:bodyPr vert="horz" wrap="square" lIns="0" tIns="635" rIns="0" bIns="0" rtlCol="0">
            <a:spAutoFit/>
          </a:bodyPr>
          <a:lstStyle/>
          <a:p>
            <a:pPr>
              <a:lnSpc>
                <a:spcPct val="100000"/>
              </a:lnSpc>
              <a:spcBef>
                <a:spcPts val="5"/>
              </a:spcBef>
              <a:tabLst>
                <a:tab pos="9389745" algn="l"/>
              </a:tabLst>
            </a:pPr>
            <a:r>
              <a:rPr sz="800">
                <a:solidFill>
                  <a:srgbClr val="A6A6A6"/>
                </a:solidFill>
                <a:latin typeface="Verdana"/>
                <a:cs typeface="Verdana"/>
              </a:rPr>
              <a:t>Capgemini’s Response Salesforce </a:t>
            </a:r>
            <a:r>
              <a:rPr sz="800" spc="-5">
                <a:solidFill>
                  <a:srgbClr val="A6A6A6"/>
                </a:solidFill>
                <a:latin typeface="Verdana"/>
                <a:cs typeface="Verdana"/>
              </a:rPr>
              <a:t>Rollout Project </a:t>
            </a:r>
            <a:r>
              <a:rPr sz="800">
                <a:solidFill>
                  <a:srgbClr val="A6A6A6"/>
                </a:solidFill>
                <a:latin typeface="Verdana"/>
                <a:cs typeface="Verdana"/>
              </a:rPr>
              <a:t>|</a:t>
            </a:r>
            <a:r>
              <a:rPr sz="800" spc="20">
                <a:solidFill>
                  <a:srgbClr val="A6A6A6"/>
                </a:solidFill>
                <a:latin typeface="Verdana"/>
                <a:cs typeface="Verdana"/>
              </a:rPr>
              <a:t> </a:t>
            </a:r>
            <a:r>
              <a:rPr sz="800">
                <a:solidFill>
                  <a:srgbClr val="A6A6A6"/>
                </a:solidFill>
                <a:latin typeface="Verdana"/>
                <a:cs typeface="Verdana"/>
              </a:rPr>
              <a:t>Sep</a:t>
            </a:r>
            <a:r>
              <a:rPr sz="800" spc="20">
                <a:solidFill>
                  <a:srgbClr val="A6A6A6"/>
                </a:solidFill>
                <a:latin typeface="Verdana"/>
                <a:cs typeface="Verdana"/>
              </a:rPr>
              <a:t> </a:t>
            </a:r>
            <a:r>
              <a:rPr sz="800">
                <a:solidFill>
                  <a:srgbClr val="A6A6A6"/>
                </a:solidFill>
                <a:latin typeface="Verdana"/>
                <a:cs typeface="Verdana"/>
              </a:rPr>
              <a:t>2020	©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0">
                <a:solidFill>
                  <a:srgbClr val="12ABDB"/>
                </a:solidFill>
                <a:latin typeface="Verdana"/>
                <a:cs typeface="Verdana"/>
              </a:rPr>
              <a:t> </a:t>
            </a:r>
            <a:r>
              <a:rPr sz="800">
                <a:solidFill>
                  <a:srgbClr val="A6A6A6"/>
                </a:solidFill>
                <a:latin typeface="Verdana"/>
                <a:cs typeface="Verdana"/>
              </a:rPr>
              <a:t>137</a:t>
            </a:r>
            <a:endParaRPr sz="800">
              <a:latin typeface="Verdana"/>
              <a:cs typeface="Verdana"/>
            </a:endParaRPr>
          </a:p>
        </p:txBody>
      </p:sp>
      <p:sp>
        <p:nvSpPr>
          <p:cNvPr id="3" name="object 3"/>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BEBEB"/>
          </a:solidFill>
        </p:spPr>
        <p:txBody>
          <a:bodyPr wrap="square" lIns="0" tIns="0" rIns="0" bIns="0" rtlCol="0"/>
          <a:lstStyle/>
          <a:p>
            <a:endParaRPr/>
          </a:p>
        </p:txBody>
      </p:sp>
      <p:sp>
        <p:nvSpPr>
          <p:cNvPr id="4" name="object 4"/>
          <p:cNvSpPr/>
          <p:nvPr/>
        </p:nvSpPr>
        <p:spPr>
          <a:xfrm>
            <a:off x="0" y="12699"/>
            <a:ext cx="5942330" cy="6845300"/>
          </a:xfrm>
          <a:custGeom>
            <a:avLst/>
            <a:gdLst/>
            <a:ahLst/>
            <a:cxnLst/>
            <a:rect l="l" t="t" r="r" b="b"/>
            <a:pathLst>
              <a:path w="5942330" h="6845300">
                <a:moveTo>
                  <a:pt x="1934591" y="0"/>
                </a:moveTo>
                <a:lnTo>
                  <a:pt x="0" y="0"/>
                </a:lnTo>
                <a:lnTo>
                  <a:pt x="0" y="6845300"/>
                </a:lnTo>
                <a:lnTo>
                  <a:pt x="3795522" y="6845300"/>
                </a:lnTo>
                <a:lnTo>
                  <a:pt x="3933444" y="6756400"/>
                </a:lnTo>
                <a:lnTo>
                  <a:pt x="3996906" y="6705600"/>
                </a:lnTo>
                <a:lnTo>
                  <a:pt x="4059157" y="6654800"/>
                </a:lnTo>
                <a:lnTo>
                  <a:pt x="4120207" y="6616700"/>
                </a:lnTo>
                <a:lnTo>
                  <a:pt x="4180064" y="6565900"/>
                </a:lnTo>
                <a:lnTo>
                  <a:pt x="4238737" y="6515100"/>
                </a:lnTo>
                <a:lnTo>
                  <a:pt x="4296236" y="6464300"/>
                </a:lnTo>
                <a:lnTo>
                  <a:pt x="4352568" y="6426200"/>
                </a:lnTo>
                <a:lnTo>
                  <a:pt x="4407744" y="6375400"/>
                </a:lnTo>
                <a:lnTo>
                  <a:pt x="4461771" y="6324600"/>
                </a:lnTo>
                <a:lnTo>
                  <a:pt x="4514659" y="6273800"/>
                </a:lnTo>
                <a:lnTo>
                  <a:pt x="4566418" y="6235700"/>
                </a:lnTo>
                <a:lnTo>
                  <a:pt x="4617055" y="6184900"/>
                </a:lnTo>
                <a:lnTo>
                  <a:pt x="4666580" y="6134100"/>
                </a:lnTo>
                <a:lnTo>
                  <a:pt x="4715001" y="6083300"/>
                </a:lnTo>
                <a:lnTo>
                  <a:pt x="4762328" y="6045200"/>
                </a:lnTo>
                <a:lnTo>
                  <a:pt x="4808570" y="5994400"/>
                </a:lnTo>
                <a:lnTo>
                  <a:pt x="4853735" y="5943600"/>
                </a:lnTo>
                <a:lnTo>
                  <a:pt x="4897833" y="5892800"/>
                </a:lnTo>
                <a:lnTo>
                  <a:pt x="4940872" y="5854700"/>
                </a:lnTo>
                <a:lnTo>
                  <a:pt x="4982862" y="5803900"/>
                </a:lnTo>
                <a:lnTo>
                  <a:pt x="5023810" y="5753100"/>
                </a:lnTo>
                <a:lnTo>
                  <a:pt x="5063727" y="5702300"/>
                </a:lnTo>
                <a:lnTo>
                  <a:pt x="5102622" y="5664200"/>
                </a:lnTo>
                <a:lnTo>
                  <a:pt x="5140502" y="5613400"/>
                </a:lnTo>
                <a:lnTo>
                  <a:pt x="5177378" y="5562600"/>
                </a:lnTo>
                <a:lnTo>
                  <a:pt x="5213257" y="5511800"/>
                </a:lnTo>
                <a:lnTo>
                  <a:pt x="5248150" y="5473700"/>
                </a:lnTo>
                <a:lnTo>
                  <a:pt x="5282064" y="5422900"/>
                </a:lnTo>
                <a:lnTo>
                  <a:pt x="5315010" y="5372100"/>
                </a:lnTo>
                <a:lnTo>
                  <a:pt x="5346995" y="5334000"/>
                </a:lnTo>
                <a:lnTo>
                  <a:pt x="5378029" y="5283200"/>
                </a:lnTo>
                <a:lnTo>
                  <a:pt x="5408120" y="5232400"/>
                </a:lnTo>
                <a:lnTo>
                  <a:pt x="5437279" y="5194300"/>
                </a:lnTo>
                <a:lnTo>
                  <a:pt x="5465512" y="5143500"/>
                </a:lnTo>
                <a:lnTo>
                  <a:pt x="5492831" y="5092700"/>
                </a:lnTo>
                <a:lnTo>
                  <a:pt x="5519243" y="5054600"/>
                </a:lnTo>
                <a:lnTo>
                  <a:pt x="5544757" y="5003800"/>
                </a:lnTo>
                <a:lnTo>
                  <a:pt x="5569383" y="4965700"/>
                </a:lnTo>
                <a:lnTo>
                  <a:pt x="5593129" y="4914900"/>
                </a:lnTo>
                <a:lnTo>
                  <a:pt x="5616004" y="4864100"/>
                </a:lnTo>
                <a:lnTo>
                  <a:pt x="5638018" y="4826000"/>
                </a:lnTo>
                <a:lnTo>
                  <a:pt x="5659178" y="4775200"/>
                </a:lnTo>
                <a:lnTo>
                  <a:pt x="5679495" y="4737100"/>
                </a:lnTo>
                <a:lnTo>
                  <a:pt x="5698977" y="4686300"/>
                </a:lnTo>
                <a:lnTo>
                  <a:pt x="5717633" y="4648200"/>
                </a:lnTo>
                <a:lnTo>
                  <a:pt x="5735471" y="4597400"/>
                </a:lnTo>
                <a:lnTo>
                  <a:pt x="5752502" y="4559300"/>
                </a:lnTo>
                <a:lnTo>
                  <a:pt x="5768733" y="4508500"/>
                </a:lnTo>
                <a:lnTo>
                  <a:pt x="5784175" y="4470400"/>
                </a:lnTo>
                <a:lnTo>
                  <a:pt x="5798835" y="4432300"/>
                </a:lnTo>
                <a:lnTo>
                  <a:pt x="5812722" y="4381500"/>
                </a:lnTo>
                <a:lnTo>
                  <a:pt x="5825846" y="4343400"/>
                </a:lnTo>
                <a:lnTo>
                  <a:pt x="5838216" y="4292600"/>
                </a:lnTo>
                <a:lnTo>
                  <a:pt x="5849840" y="4254500"/>
                </a:lnTo>
                <a:lnTo>
                  <a:pt x="5860728" y="4216400"/>
                </a:lnTo>
                <a:lnTo>
                  <a:pt x="5870888" y="4178300"/>
                </a:lnTo>
                <a:lnTo>
                  <a:pt x="5880330" y="4127500"/>
                </a:lnTo>
                <a:lnTo>
                  <a:pt x="5889061" y="4089400"/>
                </a:lnTo>
                <a:lnTo>
                  <a:pt x="5897092" y="4051300"/>
                </a:lnTo>
                <a:lnTo>
                  <a:pt x="5904431" y="4013200"/>
                </a:lnTo>
                <a:lnTo>
                  <a:pt x="5911087" y="3975100"/>
                </a:lnTo>
                <a:lnTo>
                  <a:pt x="5917070" y="3924300"/>
                </a:lnTo>
                <a:lnTo>
                  <a:pt x="5922387" y="3886200"/>
                </a:lnTo>
                <a:lnTo>
                  <a:pt x="5927048" y="3848100"/>
                </a:lnTo>
                <a:lnTo>
                  <a:pt x="5931062" y="3810000"/>
                </a:lnTo>
                <a:lnTo>
                  <a:pt x="5934438" y="3771900"/>
                </a:lnTo>
                <a:lnTo>
                  <a:pt x="5937185" y="3733800"/>
                </a:lnTo>
                <a:lnTo>
                  <a:pt x="5939311" y="3695700"/>
                </a:lnTo>
                <a:lnTo>
                  <a:pt x="5940826" y="3657600"/>
                </a:lnTo>
                <a:lnTo>
                  <a:pt x="5941739" y="3619500"/>
                </a:lnTo>
                <a:lnTo>
                  <a:pt x="5942058" y="3594100"/>
                </a:lnTo>
                <a:lnTo>
                  <a:pt x="5941793" y="3556000"/>
                </a:lnTo>
                <a:lnTo>
                  <a:pt x="5940953" y="3517900"/>
                </a:lnTo>
                <a:lnTo>
                  <a:pt x="5939545" y="3479800"/>
                </a:lnTo>
                <a:lnTo>
                  <a:pt x="5937580" y="3441700"/>
                </a:lnTo>
                <a:lnTo>
                  <a:pt x="5935066" y="3416300"/>
                </a:lnTo>
                <a:lnTo>
                  <a:pt x="5932013" y="3378200"/>
                </a:lnTo>
                <a:lnTo>
                  <a:pt x="5928429" y="3340100"/>
                </a:lnTo>
                <a:lnTo>
                  <a:pt x="5924322" y="3314700"/>
                </a:lnTo>
                <a:lnTo>
                  <a:pt x="5919703" y="3276600"/>
                </a:lnTo>
                <a:lnTo>
                  <a:pt x="5914580" y="3251200"/>
                </a:lnTo>
                <a:lnTo>
                  <a:pt x="5908962" y="3213100"/>
                </a:lnTo>
                <a:lnTo>
                  <a:pt x="5902858" y="3187700"/>
                </a:lnTo>
                <a:lnTo>
                  <a:pt x="5896276" y="3149600"/>
                </a:lnTo>
                <a:lnTo>
                  <a:pt x="5889227" y="3124200"/>
                </a:lnTo>
                <a:lnTo>
                  <a:pt x="5881718" y="3098800"/>
                </a:lnTo>
                <a:lnTo>
                  <a:pt x="5873759" y="3060700"/>
                </a:lnTo>
                <a:lnTo>
                  <a:pt x="5865358" y="3035300"/>
                </a:lnTo>
                <a:lnTo>
                  <a:pt x="4878902" y="3035300"/>
                </a:lnTo>
                <a:lnTo>
                  <a:pt x="4853482" y="3022600"/>
                </a:lnTo>
                <a:lnTo>
                  <a:pt x="4801367" y="3022600"/>
                </a:lnTo>
                <a:lnTo>
                  <a:pt x="4774692" y="3009900"/>
                </a:lnTo>
                <a:lnTo>
                  <a:pt x="4747618" y="3009900"/>
                </a:lnTo>
                <a:lnTo>
                  <a:pt x="4720155" y="2997200"/>
                </a:lnTo>
                <a:lnTo>
                  <a:pt x="4692313" y="2997200"/>
                </a:lnTo>
                <a:lnTo>
                  <a:pt x="4635530" y="2971800"/>
                </a:lnTo>
                <a:lnTo>
                  <a:pt x="4606608" y="2971800"/>
                </a:lnTo>
                <a:lnTo>
                  <a:pt x="4487613" y="2921000"/>
                </a:lnTo>
                <a:lnTo>
                  <a:pt x="4332152" y="2857500"/>
                </a:lnTo>
                <a:lnTo>
                  <a:pt x="4300261" y="2844800"/>
                </a:lnTo>
                <a:lnTo>
                  <a:pt x="4268127" y="2819400"/>
                </a:lnTo>
                <a:lnTo>
                  <a:pt x="4203166" y="2794000"/>
                </a:lnTo>
                <a:lnTo>
                  <a:pt x="4170359" y="2768600"/>
                </a:lnTo>
                <a:lnTo>
                  <a:pt x="4137347" y="2755900"/>
                </a:lnTo>
                <a:lnTo>
                  <a:pt x="4104140" y="2730500"/>
                </a:lnTo>
                <a:lnTo>
                  <a:pt x="4070748" y="2717800"/>
                </a:lnTo>
                <a:lnTo>
                  <a:pt x="4037180" y="2692400"/>
                </a:lnTo>
                <a:lnTo>
                  <a:pt x="4003446" y="2679700"/>
                </a:lnTo>
                <a:lnTo>
                  <a:pt x="3867044" y="2578100"/>
                </a:lnTo>
                <a:lnTo>
                  <a:pt x="3832626" y="2565400"/>
                </a:lnTo>
                <a:lnTo>
                  <a:pt x="3693970" y="2463800"/>
                </a:lnTo>
                <a:lnTo>
                  <a:pt x="3659109" y="2425700"/>
                </a:lnTo>
                <a:lnTo>
                  <a:pt x="3554210" y="2349500"/>
                </a:lnTo>
                <a:lnTo>
                  <a:pt x="3519170" y="2311400"/>
                </a:lnTo>
                <a:lnTo>
                  <a:pt x="3484109" y="2286000"/>
                </a:lnTo>
                <a:lnTo>
                  <a:pt x="3449037" y="2247900"/>
                </a:lnTo>
                <a:lnTo>
                  <a:pt x="3413965" y="2222500"/>
                </a:lnTo>
                <a:lnTo>
                  <a:pt x="3378900" y="2184400"/>
                </a:lnTo>
                <a:lnTo>
                  <a:pt x="3343854" y="2159000"/>
                </a:lnTo>
                <a:lnTo>
                  <a:pt x="3308836" y="2120900"/>
                </a:lnTo>
                <a:lnTo>
                  <a:pt x="3273855" y="2095500"/>
                </a:lnTo>
                <a:lnTo>
                  <a:pt x="3030858" y="1828800"/>
                </a:lnTo>
                <a:lnTo>
                  <a:pt x="2894323" y="1676400"/>
                </a:lnTo>
                <a:lnTo>
                  <a:pt x="2860550" y="1625600"/>
                </a:lnTo>
                <a:lnTo>
                  <a:pt x="2793504" y="1549400"/>
                </a:lnTo>
                <a:lnTo>
                  <a:pt x="2760251" y="1498600"/>
                </a:lnTo>
                <a:lnTo>
                  <a:pt x="2727190" y="1460500"/>
                </a:lnTo>
                <a:lnTo>
                  <a:pt x="2694332" y="1409700"/>
                </a:lnTo>
                <a:lnTo>
                  <a:pt x="2661686" y="1371600"/>
                </a:lnTo>
                <a:lnTo>
                  <a:pt x="2629262" y="1320800"/>
                </a:lnTo>
                <a:lnTo>
                  <a:pt x="2597069" y="1270000"/>
                </a:lnTo>
                <a:lnTo>
                  <a:pt x="2565117" y="1231900"/>
                </a:lnTo>
                <a:lnTo>
                  <a:pt x="2533417" y="1181100"/>
                </a:lnTo>
                <a:lnTo>
                  <a:pt x="2501977" y="1130300"/>
                </a:lnTo>
                <a:lnTo>
                  <a:pt x="2470807" y="1079500"/>
                </a:lnTo>
                <a:lnTo>
                  <a:pt x="2439917" y="1028700"/>
                </a:lnTo>
                <a:lnTo>
                  <a:pt x="2409317" y="977900"/>
                </a:lnTo>
                <a:lnTo>
                  <a:pt x="2379016" y="927100"/>
                </a:lnTo>
                <a:lnTo>
                  <a:pt x="2349024" y="876300"/>
                </a:lnTo>
                <a:lnTo>
                  <a:pt x="2319351" y="825500"/>
                </a:lnTo>
                <a:lnTo>
                  <a:pt x="2290007" y="774700"/>
                </a:lnTo>
                <a:lnTo>
                  <a:pt x="2261001" y="711200"/>
                </a:lnTo>
                <a:lnTo>
                  <a:pt x="2232342" y="660400"/>
                </a:lnTo>
                <a:lnTo>
                  <a:pt x="2204041" y="609600"/>
                </a:lnTo>
                <a:lnTo>
                  <a:pt x="2176107" y="546100"/>
                </a:lnTo>
                <a:lnTo>
                  <a:pt x="2148550" y="495300"/>
                </a:lnTo>
                <a:lnTo>
                  <a:pt x="2121380" y="444500"/>
                </a:lnTo>
                <a:lnTo>
                  <a:pt x="2094606" y="381000"/>
                </a:lnTo>
                <a:lnTo>
                  <a:pt x="2068238" y="317500"/>
                </a:lnTo>
                <a:lnTo>
                  <a:pt x="2042286" y="266700"/>
                </a:lnTo>
                <a:lnTo>
                  <a:pt x="2016760" y="203200"/>
                </a:lnTo>
                <a:lnTo>
                  <a:pt x="1934591" y="0"/>
                </a:lnTo>
                <a:close/>
              </a:path>
              <a:path w="5942330" h="6845300">
                <a:moveTo>
                  <a:pt x="5380990" y="2413000"/>
                </a:moveTo>
                <a:lnTo>
                  <a:pt x="5398572" y="2463800"/>
                </a:lnTo>
                <a:lnTo>
                  <a:pt x="5412505" y="2514600"/>
                </a:lnTo>
                <a:lnTo>
                  <a:pt x="5422865" y="2565400"/>
                </a:lnTo>
                <a:lnTo>
                  <a:pt x="5429729" y="2616200"/>
                </a:lnTo>
                <a:lnTo>
                  <a:pt x="5431875" y="2641600"/>
                </a:lnTo>
                <a:lnTo>
                  <a:pt x="5433177" y="2654300"/>
                </a:lnTo>
                <a:lnTo>
                  <a:pt x="5433643" y="2679700"/>
                </a:lnTo>
                <a:lnTo>
                  <a:pt x="5433284" y="2705100"/>
                </a:lnTo>
                <a:lnTo>
                  <a:pt x="5432109" y="2717800"/>
                </a:lnTo>
                <a:lnTo>
                  <a:pt x="5430129" y="2743200"/>
                </a:lnTo>
                <a:lnTo>
                  <a:pt x="5427352" y="2755900"/>
                </a:lnTo>
                <a:lnTo>
                  <a:pt x="5423789" y="2781300"/>
                </a:lnTo>
                <a:lnTo>
                  <a:pt x="5419449" y="2794000"/>
                </a:lnTo>
                <a:lnTo>
                  <a:pt x="5414341" y="2806700"/>
                </a:lnTo>
                <a:lnTo>
                  <a:pt x="5408477" y="2832100"/>
                </a:lnTo>
                <a:lnTo>
                  <a:pt x="5401864" y="2844800"/>
                </a:lnTo>
                <a:lnTo>
                  <a:pt x="5377638" y="2882900"/>
                </a:lnTo>
                <a:lnTo>
                  <a:pt x="5347031" y="2921000"/>
                </a:lnTo>
                <a:lnTo>
                  <a:pt x="5310305" y="2959100"/>
                </a:lnTo>
                <a:lnTo>
                  <a:pt x="5296748" y="2971800"/>
                </a:lnTo>
                <a:lnTo>
                  <a:pt x="5282551" y="2971800"/>
                </a:lnTo>
                <a:lnTo>
                  <a:pt x="5267722" y="2984500"/>
                </a:lnTo>
                <a:lnTo>
                  <a:pt x="5252271" y="2997200"/>
                </a:lnTo>
                <a:lnTo>
                  <a:pt x="5236208" y="2997200"/>
                </a:lnTo>
                <a:lnTo>
                  <a:pt x="5219543" y="3009900"/>
                </a:lnTo>
                <a:lnTo>
                  <a:pt x="5202286" y="3009900"/>
                </a:lnTo>
                <a:lnTo>
                  <a:pt x="5184445" y="3022600"/>
                </a:lnTo>
                <a:lnTo>
                  <a:pt x="5147055" y="3022600"/>
                </a:lnTo>
                <a:lnTo>
                  <a:pt x="5127524" y="3035300"/>
                </a:lnTo>
                <a:lnTo>
                  <a:pt x="5865358" y="3035300"/>
                </a:lnTo>
                <a:lnTo>
                  <a:pt x="5856525" y="3009900"/>
                </a:lnTo>
                <a:lnTo>
                  <a:pt x="5847269" y="2984500"/>
                </a:lnTo>
                <a:lnTo>
                  <a:pt x="5837598" y="2946400"/>
                </a:lnTo>
                <a:lnTo>
                  <a:pt x="5817048" y="2895600"/>
                </a:lnTo>
                <a:lnTo>
                  <a:pt x="5794947" y="2844800"/>
                </a:lnTo>
                <a:lnTo>
                  <a:pt x="5771367" y="2806700"/>
                </a:lnTo>
                <a:lnTo>
                  <a:pt x="5759045" y="2781300"/>
                </a:lnTo>
                <a:lnTo>
                  <a:pt x="5746380" y="2755900"/>
                </a:lnTo>
                <a:lnTo>
                  <a:pt x="5733380" y="2730500"/>
                </a:lnTo>
                <a:lnTo>
                  <a:pt x="5720056" y="2717800"/>
                </a:lnTo>
                <a:lnTo>
                  <a:pt x="5706415" y="2692400"/>
                </a:lnTo>
                <a:lnTo>
                  <a:pt x="5692467" y="2667000"/>
                </a:lnTo>
                <a:lnTo>
                  <a:pt x="5678221" y="2654300"/>
                </a:lnTo>
                <a:lnTo>
                  <a:pt x="5663686" y="2628900"/>
                </a:lnTo>
                <a:lnTo>
                  <a:pt x="5648870" y="2616200"/>
                </a:lnTo>
                <a:lnTo>
                  <a:pt x="5633783" y="2590800"/>
                </a:lnTo>
                <a:lnTo>
                  <a:pt x="5618434" y="2578100"/>
                </a:lnTo>
                <a:lnTo>
                  <a:pt x="5602831" y="2565400"/>
                </a:lnTo>
                <a:lnTo>
                  <a:pt x="5586983" y="2552700"/>
                </a:lnTo>
                <a:lnTo>
                  <a:pt x="5570900" y="2527300"/>
                </a:lnTo>
                <a:lnTo>
                  <a:pt x="5554590" y="2514600"/>
                </a:lnTo>
                <a:lnTo>
                  <a:pt x="5521325" y="2489200"/>
                </a:lnTo>
                <a:lnTo>
                  <a:pt x="5487262" y="2463800"/>
                </a:lnTo>
                <a:lnTo>
                  <a:pt x="5469952" y="2451100"/>
                </a:lnTo>
                <a:lnTo>
                  <a:pt x="5452470" y="2451100"/>
                </a:lnTo>
                <a:lnTo>
                  <a:pt x="5417022" y="2425700"/>
                </a:lnTo>
                <a:lnTo>
                  <a:pt x="5399074" y="2425700"/>
                </a:lnTo>
                <a:lnTo>
                  <a:pt x="5380990" y="2413000"/>
                </a:lnTo>
                <a:close/>
              </a:path>
            </a:pathLst>
          </a:custGeom>
          <a:solidFill>
            <a:srgbClr val="2B133C"/>
          </a:solidFill>
        </p:spPr>
        <p:txBody>
          <a:bodyPr wrap="square" lIns="0" tIns="0" rIns="0" bIns="0" rtlCol="0"/>
          <a:lstStyle/>
          <a:p>
            <a:endParaRPr/>
          </a:p>
        </p:txBody>
      </p:sp>
      <p:sp>
        <p:nvSpPr>
          <p:cNvPr id="5" name="object 5"/>
          <p:cNvSpPr/>
          <p:nvPr/>
        </p:nvSpPr>
        <p:spPr>
          <a:xfrm>
            <a:off x="5231891" y="2689860"/>
            <a:ext cx="481965" cy="396240"/>
          </a:xfrm>
          <a:custGeom>
            <a:avLst/>
            <a:gdLst/>
            <a:ahLst/>
            <a:cxnLst/>
            <a:rect l="l" t="t" r="r" b="b"/>
            <a:pathLst>
              <a:path w="481964" h="396239">
                <a:moveTo>
                  <a:pt x="361950" y="0"/>
                </a:moveTo>
                <a:lnTo>
                  <a:pt x="323984" y="6891"/>
                </a:lnTo>
                <a:lnTo>
                  <a:pt x="262895" y="54482"/>
                </a:lnTo>
                <a:lnTo>
                  <a:pt x="236743" y="90154"/>
                </a:lnTo>
                <a:lnTo>
                  <a:pt x="211503" y="130392"/>
                </a:lnTo>
                <a:lnTo>
                  <a:pt x="185660" y="172682"/>
                </a:lnTo>
                <a:lnTo>
                  <a:pt x="157700" y="214511"/>
                </a:lnTo>
                <a:lnTo>
                  <a:pt x="126109" y="253369"/>
                </a:lnTo>
                <a:lnTo>
                  <a:pt x="112764" y="294909"/>
                </a:lnTo>
                <a:lnTo>
                  <a:pt x="84867" y="330073"/>
                </a:lnTo>
                <a:lnTo>
                  <a:pt x="46065" y="356092"/>
                </a:lnTo>
                <a:lnTo>
                  <a:pt x="0" y="370204"/>
                </a:lnTo>
                <a:lnTo>
                  <a:pt x="15537" y="381130"/>
                </a:lnTo>
                <a:lnTo>
                  <a:pt x="37147" y="389318"/>
                </a:lnTo>
                <a:lnTo>
                  <a:pt x="63615" y="394458"/>
                </a:lnTo>
                <a:lnTo>
                  <a:pt x="93725" y="396239"/>
                </a:lnTo>
                <a:lnTo>
                  <a:pt x="143621" y="393460"/>
                </a:lnTo>
                <a:lnTo>
                  <a:pt x="194310" y="384913"/>
                </a:lnTo>
                <a:lnTo>
                  <a:pt x="242681" y="370289"/>
                </a:lnTo>
                <a:lnTo>
                  <a:pt x="285628" y="349276"/>
                </a:lnTo>
                <a:lnTo>
                  <a:pt x="320040" y="321563"/>
                </a:lnTo>
                <a:lnTo>
                  <a:pt x="274141" y="315382"/>
                </a:lnTo>
                <a:lnTo>
                  <a:pt x="239172" y="294306"/>
                </a:lnTo>
                <a:lnTo>
                  <a:pt x="216348" y="261681"/>
                </a:lnTo>
                <a:lnTo>
                  <a:pt x="206883" y="220852"/>
                </a:lnTo>
                <a:lnTo>
                  <a:pt x="439608" y="220852"/>
                </a:lnTo>
                <a:lnTo>
                  <a:pt x="459796" y="193839"/>
                </a:lnTo>
                <a:lnTo>
                  <a:pt x="475897" y="154330"/>
                </a:lnTo>
                <a:lnTo>
                  <a:pt x="481584" y="110489"/>
                </a:lnTo>
                <a:lnTo>
                  <a:pt x="474249" y="76777"/>
                </a:lnTo>
                <a:lnTo>
                  <a:pt x="456914" y="40624"/>
                </a:lnTo>
                <a:lnTo>
                  <a:pt x="422005" y="11781"/>
                </a:lnTo>
                <a:lnTo>
                  <a:pt x="361950" y="0"/>
                </a:lnTo>
                <a:close/>
              </a:path>
              <a:path w="481964" h="396239">
                <a:moveTo>
                  <a:pt x="439608" y="220852"/>
                </a:moveTo>
                <a:lnTo>
                  <a:pt x="206883" y="220852"/>
                </a:lnTo>
                <a:lnTo>
                  <a:pt x="231796" y="245933"/>
                </a:lnTo>
                <a:lnTo>
                  <a:pt x="258556" y="263096"/>
                </a:lnTo>
                <a:lnTo>
                  <a:pt x="287768" y="272948"/>
                </a:lnTo>
                <a:lnTo>
                  <a:pt x="320040" y="276098"/>
                </a:lnTo>
                <a:lnTo>
                  <a:pt x="363403" y="270145"/>
                </a:lnTo>
                <a:lnTo>
                  <a:pt x="402116" y="253364"/>
                </a:lnTo>
                <a:lnTo>
                  <a:pt x="434721" y="227393"/>
                </a:lnTo>
                <a:lnTo>
                  <a:pt x="439608" y="220852"/>
                </a:lnTo>
                <a:close/>
              </a:path>
            </a:pathLst>
          </a:custGeom>
          <a:solidFill>
            <a:srgbClr val="00AFDF"/>
          </a:solidFill>
        </p:spPr>
        <p:txBody>
          <a:bodyPr wrap="square" lIns="0" tIns="0" rIns="0" bIns="0" rtlCol="0"/>
          <a:lstStyle/>
          <a:p>
            <a:endParaRPr/>
          </a:p>
        </p:txBody>
      </p:sp>
      <p:sp>
        <p:nvSpPr>
          <p:cNvPr id="6" name="object 6"/>
          <p:cNvSpPr/>
          <p:nvPr/>
        </p:nvSpPr>
        <p:spPr>
          <a:xfrm>
            <a:off x="4978908" y="2404872"/>
            <a:ext cx="734695" cy="622300"/>
          </a:xfrm>
          <a:custGeom>
            <a:avLst/>
            <a:gdLst/>
            <a:ahLst/>
            <a:cxnLst/>
            <a:rect l="l" t="t" r="r" b="b"/>
            <a:pathLst>
              <a:path w="734695" h="622300">
                <a:moveTo>
                  <a:pt x="394842" y="0"/>
                </a:moveTo>
                <a:lnTo>
                  <a:pt x="370363" y="24268"/>
                </a:lnTo>
                <a:lnTo>
                  <a:pt x="339717" y="47972"/>
                </a:lnTo>
                <a:lnTo>
                  <a:pt x="304320" y="71582"/>
                </a:lnTo>
                <a:lnTo>
                  <a:pt x="224923" y="120394"/>
                </a:lnTo>
                <a:lnTo>
                  <a:pt x="183752" y="146533"/>
                </a:lnTo>
                <a:lnTo>
                  <a:pt x="143484" y="174454"/>
                </a:lnTo>
                <a:lnTo>
                  <a:pt x="105532" y="204624"/>
                </a:lnTo>
                <a:lnTo>
                  <a:pt x="71310" y="237514"/>
                </a:lnTo>
                <a:lnTo>
                  <a:pt x="42232" y="273591"/>
                </a:lnTo>
                <a:lnTo>
                  <a:pt x="19712" y="313324"/>
                </a:lnTo>
                <a:lnTo>
                  <a:pt x="5163" y="357184"/>
                </a:lnTo>
                <a:lnTo>
                  <a:pt x="0" y="405638"/>
                </a:lnTo>
                <a:lnTo>
                  <a:pt x="6366" y="457101"/>
                </a:lnTo>
                <a:lnTo>
                  <a:pt x="24534" y="504986"/>
                </a:lnTo>
                <a:lnTo>
                  <a:pt x="53108" y="547269"/>
                </a:lnTo>
                <a:lnTo>
                  <a:pt x="90692" y="581926"/>
                </a:lnTo>
                <a:lnTo>
                  <a:pt x="135889" y="606932"/>
                </a:lnTo>
                <a:lnTo>
                  <a:pt x="205486" y="621903"/>
                </a:lnTo>
                <a:lnTo>
                  <a:pt x="240581" y="619202"/>
                </a:lnTo>
                <a:lnTo>
                  <a:pt x="304899" y="598062"/>
                </a:lnTo>
                <a:lnTo>
                  <a:pt x="356056" y="561780"/>
                </a:lnTo>
                <a:lnTo>
                  <a:pt x="410260" y="499891"/>
                </a:lnTo>
                <a:lnTo>
                  <a:pt x="438284" y="458090"/>
                </a:lnTo>
                <a:lnTo>
                  <a:pt x="464178" y="415841"/>
                </a:lnTo>
                <a:lnTo>
                  <a:pt x="489457" y="375650"/>
                </a:lnTo>
                <a:lnTo>
                  <a:pt x="515642" y="340024"/>
                </a:lnTo>
                <a:lnTo>
                  <a:pt x="544250" y="311473"/>
                </a:lnTo>
                <a:lnTo>
                  <a:pt x="576799" y="292503"/>
                </a:lnTo>
                <a:lnTo>
                  <a:pt x="614806" y="285623"/>
                </a:lnTo>
                <a:lnTo>
                  <a:pt x="713742" y="285623"/>
                </a:lnTo>
                <a:lnTo>
                  <a:pt x="698166" y="248650"/>
                </a:lnTo>
                <a:lnTo>
                  <a:pt x="673429" y="206469"/>
                </a:lnTo>
                <a:lnTo>
                  <a:pt x="643301" y="166820"/>
                </a:lnTo>
                <a:lnTo>
                  <a:pt x="608329" y="129793"/>
                </a:lnTo>
                <a:lnTo>
                  <a:pt x="572308" y="100170"/>
                </a:lnTo>
                <a:lnTo>
                  <a:pt x="534251" y="73521"/>
                </a:lnTo>
                <a:lnTo>
                  <a:pt x="494468" y="49683"/>
                </a:lnTo>
                <a:lnTo>
                  <a:pt x="453272" y="28490"/>
                </a:lnTo>
                <a:lnTo>
                  <a:pt x="410971" y="9778"/>
                </a:lnTo>
                <a:lnTo>
                  <a:pt x="404494" y="6476"/>
                </a:lnTo>
                <a:lnTo>
                  <a:pt x="398017" y="3301"/>
                </a:lnTo>
                <a:lnTo>
                  <a:pt x="394842" y="0"/>
                </a:lnTo>
                <a:close/>
              </a:path>
              <a:path w="734695" h="622300">
                <a:moveTo>
                  <a:pt x="713742" y="285623"/>
                </a:moveTo>
                <a:lnTo>
                  <a:pt x="614806" y="285623"/>
                </a:lnTo>
                <a:lnTo>
                  <a:pt x="674935" y="297384"/>
                </a:lnTo>
                <a:lnTo>
                  <a:pt x="709882" y="326183"/>
                </a:lnTo>
                <a:lnTo>
                  <a:pt x="727231" y="362293"/>
                </a:lnTo>
                <a:lnTo>
                  <a:pt x="734567" y="395986"/>
                </a:lnTo>
                <a:lnTo>
                  <a:pt x="734567" y="389508"/>
                </a:lnTo>
                <a:lnTo>
                  <a:pt x="729282" y="340258"/>
                </a:lnTo>
                <a:lnTo>
                  <a:pt x="716966" y="293275"/>
                </a:lnTo>
                <a:lnTo>
                  <a:pt x="713742" y="285623"/>
                </a:lnTo>
                <a:close/>
              </a:path>
            </a:pathLst>
          </a:custGeom>
          <a:solidFill>
            <a:srgbClr val="0075B0"/>
          </a:solidFill>
        </p:spPr>
        <p:txBody>
          <a:bodyPr wrap="square" lIns="0" tIns="0" rIns="0" bIns="0" rtlCol="0"/>
          <a:lstStyle/>
          <a:p>
            <a:endParaRPr/>
          </a:p>
        </p:txBody>
      </p:sp>
      <p:sp>
        <p:nvSpPr>
          <p:cNvPr id="7" name="object 7"/>
          <p:cNvSpPr txBox="1"/>
          <p:nvPr/>
        </p:nvSpPr>
        <p:spPr>
          <a:xfrm>
            <a:off x="6524370" y="2507107"/>
            <a:ext cx="4926330" cy="1900555"/>
          </a:xfrm>
          <a:prstGeom prst="rect">
            <a:avLst/>
          </a:prstGeom>
        </p:spPr>
        <p:txBody>
          <a:bodyPr vert="horz" wrap="square" lIns="0" tIns="13335" rIns="0" bIns="0" rtlCol="0">
            <a:spAutoFit/>
          </a:bodyPr>
          <a:lstStyle/>
          <a:p>
            <a:pPr marL="12700" algn="just">
              <a:lnSpc>
                <a:spcPct val="100000"/>
              </a:lnSpc>
              <a:spcBef>
                <a:spcPts val="105"/>
              </a:spcBef>
            </a:pPr>
            <a:r>
              <a:rPr sz="1400">
                <a:solidFill>
                  <a:srgbClr val="006FAC"/>
                </a:solidFill>
                <a:latin typeface="Verdana"/>
                <a:cs typeface="Verdana"/>
              </a:rPr>
              <a:t>About</a:t>
            </a:r>
            <a:r>
              <a:rPr sz="1400" spc="-20">
                <a:solidFill>
                  <a:srgbClr val="006FAC"/>
                </a:solidFill>
                <a:latin typeface="Verdana"/>
                <a:cs typeface="Verdana"/>
              </a:rPr>
              <a:t> </a:t>
            </a:r>
            <a:r>
              <a:rPr sz="1400">
                <a:solidFill>
                  <a:srgbClr val="006FAC"/>
                </a:solidFill>
                <a:latin typeface="Verdana"/>
                <a:cs typeface="Verdana"/>
              </a:rPr>
              <a:t>Capgemini</a:t>
            </a:r>
            <a:endParaRPr sz="1400">
              <a:latin typeface="Verdana"/>
              <a:cs typeface="Verdana"/>
            </a:endParaRPr>
          </a:p>
          <a:p>
            <a:pPr marL="12700" marR="5080" algn="just">
              <a:lnSpc>
                <a:spcPct val="100000"/>
              </a:lnSpc>
              <a:spcBef>
                <a:spcPts val="1195"/>
              </a:spcBef>
            </a:pPr>
            <a:r>
              <a:rPr sz="900">
                <a:latin typeface="Verdana"/>
                <a:cs typeface="Verdana"/>
              </a:rPr>
              <a:t>A global leader in </a:t>
            </a:r>
            <a:r>
              <a:rPr sz="900" spc="-5">
                <a:latin typeface="Verdana"/>
                <a:cs typeface="Verdana"/>
              </a:rPr>
              <a:t>consulting, </a:t>
            </a:r>
            <a:r>
              <a:rPr sz="900">
                <a:latin typeface="Verdana"/>
                <a:cs typeface="Verdana"/>
              </a:rPr>
              <a:t>technology services and digital </a:t>
            </a:r>
            <a:r>
              <a:rPr sz="900" spc="-5">
                <a:latin typeface="Verdana"/>
                <a:cs typeface="Verdana"/>
              </a:rPr>
              <a:t>transformation,  Capgemini </a:t>
            </a:r>
            <a:r>
              <a:rPr sz="900">
                <a:latin typeface="Verdana"/>
                <a:cs typeface="Verdana"/>
              </a:rPr>
              <a:t>is </a:t>
            </a:r>
            <a:r>
              <a:rPr sz="900" spc="-10">
                <a:latin typeface="Verdana"/>
                <a:cs typeface="Verdana"/>
              </a:rPr>
              <a:t>at </a:t>
            </a:r>
            <a:r>
              <a:rPr sz="900" spc="-5">
                <a:latin typeface="Verdana"/>
                <a:cs typeface="Verdana"/>
              </a:rPr>
              <a:t>the forefront </a:t>
            </a:r>
            <a:r>
              <a:rPr sz="900">
                <a:latin typeface="Verdana"/>
                <a:cs typeface="Verdana"/>
              </a:rPr>
              <a:t>of </a:t>
            </a:r>
            <a:r>
              <a:rPr sz="900" spc="-5">
                <a:latin typeface="Verdana"/>
                <a:cs typeface="Verdana"/>
              </a:rPr>
              <a:t>innovation </a:t>
            </a:r>
            <a:r>
              <a:rPr sz="900">
                <a:latin typeface="Verdana"/>
                <a:cs typeface="Verdana"/>
              </a:rPr>
              <a:t>to </a:t>
            </a:r>
            <a:r>
              <a:rPr sz="900" spc="-5">
                <a:latin typeface="Verdana"/>
                <a:cs typeface="Verdana"/>
              </a:rPr>
              <a:t>address the entire breadth </a:t>
            </a:r>
            <a:r>
              <a:rPr sz="900">
                <a:latin typeface="Verdana"/>
                <a:cs typeface="Verdana"/>
              </a:rPr>
              <a:t>of </a:t>
            </a:r>
            <a:r>
              <a:rPr sz="900" spc="-5">
                <a:latin typeface="Verdana"/>
                <a:cs typeface="Verdana"/>
              </a:rPr>
              <a:t>clients’  opportunities </a:t>
            </a:r>
            <a:r>
              <a:rPr sz="900">
                <a:latin typeface="Verdana"/>
                <a:cs typeface="Verdana"/>
              </a:rPr>
              <a:t>in </a:t>
            </a:r>
            <a:r>
              <a:rPr sz="900" spc="-5">
                <a:latin typeface="Verdana"/>
                <a:cs typeface="Verdana"/>
              </a:rPr>
              <a:t>the </a:t>
            </a:r>
            <a:r>
              <a:rPr sz="900">
                <a:latin typeface="Verdana"/>
                <a:cs typeface="Verdana"/>
              </a:rPr>
              <a:t>evolving world of cloud, digital </a:t>
            </a:r>
            <a:r>
              <a:rPr sz="900" spc="-5">
                <a:latin typeface="Verdana"/>
                <a:cs typeface="Verdana"/>
              </a:rPr>
              <a:t>and platforms. Building </a:t>
            </a:r>
            <a:r>
              <a:rPr sz="900">
                <a:latin typeface="Verdana"/>
                <a:cs typeface="Verdana"/>
              </a:rPr>
              <a:t>on its  </a:t>
            </a:r>
            <a:r>
              <a:rPr sz="900" spc="-5">
                <a:latin typeface="Verdana"/>
                <a:cs typeface="Verdana"/>
              </a:rPr>
              <a:t>strong 50-year heritage and </a:t>
            </a:r>
            <a:r>
              <a:rPr sz="900">
                <a:latin typeface="Verdana"/>
                <a:cs typeface="Verdana"/>
              </a:rPr>
              <a:t>deep industry-specific </a:t>
            </a:r>
            <a:r>
              <a:rPr sz="900" spc="-5">
                <a:latin typeface="Verdana"/>
                <a:cs typeface="Verdana"/>
              </a:rPr>
              <a:t>expertise, Capgemini enables  organizations </a:t>
            </a:r>
            <a:r>
              <a:rPr sz="900">
                <a:latin typeface="Verdana"/>
                <a:cs typeface="Verdana"/>
              </a:rPr>
              <a:t>to realize </a:t>
            </a:r>
            <a:r>
              <a:rPr sz="900" spc="-5">
                <a:latin typeface="Verdana"/>
                <a:cs typeface="Verdana"/>
              </a:rPr>
              <a:t>their </a:t>
            </a:r>
            <a:r>
              <a:rPr sz="900">
                <a:latin typeface="Verdana"/>
                <a:cs typeface="Verdana"/>
              </a:rPr>
              <a:t>business </a:t>
            </a:r>
            <a:r>
              <a:rPr sz="900" spc="-5">
                <a:latin typeface="Verdana"/>
                <a:cs typeface="Verdana"/>
              </a:rPr>
              <a:t>ambitions </a:t>
            </a:r>
            <a:r>
              <a:rPr sz="900">
                <a:latin typeface="Verdana"/>
                <a:cs typeface="Verdana"/>
              </a:rPr>
              <a:t>through </a:t>
            </a:r>
            <a:r>
              <a:rPr sz="900" spc="-5">
                <a:latin typeface="Verdana"/>
                <a:cs typeface="Verdana"/>
              </a:rPr>
              <a:t>an array </a:t>
            </a:r>
            <a:r>
              <a:rPr sz="900">
                <a:latin typeface="Verdana"/>
                <a:cs typeface="Verdana"/>
              </a:rPr>
              <a:t>of services </a:t>
            </a:r>
            <a:r>
              <a:rPr sz="900" spc="-5">
                <a:latin typeface="Verdana"/>
                <a:cs typeface="Verdana"/>
              </a:rPr>
              <a:t>from  </a:t>
            </a:r>
            <a:r>
              <a:rPr sz="900">
                <a:latin typeface="Verdana"/>
                <a:cs typeface="Verdana"/>
              </a:rPr>
              <a:t>strategy to </a:t>
            </a:r>
            <a:r>
              <a:rPr sz="900" spc="-5">
                <a:latin typeface="Verdana"/>
                <a:cs typeface="Verdana"/>
              </a:rPr>
              <a:t>operations. </a:t>
            </a:r>
            <a:r>
              <a:rPr sz="900">
                <a:latin typeface="Verdana"/>
                <a:cs typeface="Verdana"/>
              </a:rPr>
              <a:t>Capgemini is driven </a:t>
            </a:r>
            <a:r>
              <a:rPr sz="900" spc="5">
                <a:latin typeface="Verdana"/>
                <a:cs typeface="Verdana"/>
              </a:rPr>
              <a:t>by </a:t>
            </a:r>
            <a:r>
              <a:rPr sz="900">
                <a:latin typeface="Verdana"/>
                <a:cs typeface="Verdana"/>
              </a:rPr>
              <a:t>the conviction </a:t>
            </a:r>
            <a:r>
              <a:rPr sz="900" spc="-5">
                <a:latin typeface="Verdana"/>
                <a:cs typeface="Verdana"/>
              </a:rPr>
              <a:t>that the </a:t>
            </a:r>
            <a:r>
              <a:rPr sz="900">
                <a:latin typeface="Verdana"/>
                <a:cs typeface="Verdana"/>
              </a:rPr>
              <a:t>business  </a:t>
            </a:r>
            <a:r>
              <a:rPr sz="900" spc="-5">
                <a:latin typeface="Verdana"/>
                <a:cs typeface="Verdana"/>
              </a:rPr>
              <a:t>value </a:t>
            </a:r>
            <a:r>
              <a:rPr sz="900">
                <a:latin typeface="Verdana"/>
                <a:cs typeface="Verdana"/>
              </a:rPr>
              <a:t>of technology comes </a:t>
            </a:r>
            <a:r>
              <a:rPr sz="900" spc="-5">
                <a:latin typeface="Verdana"/>
                <a:cs typeface="Verdana"/>
              </a:rPr>
              <a:t>from and </a:t>
            </a:r>
            <a:r>
              <a:rPr sz="900">
                <a:latin typeface="Verdana"/>
                <a:cs typeface="Verdana"/>
              </a:rPr>
              <a:t>through people. </a:t>
            </a:r>
            <a:r>
              <a:rPr sz="900" spc="-5">
                <a:latin typeface="Verdana"/>
                <a:cs typeface="Verdana"/>
              </a:rPr>
              <a:t>It </a:t>
            </a:r>
            <a:r>
              <a:rPr sz="900">
                <a:latin typeface="Verdana"/>
                <a:cs typeface="Verdana"/>
              </a:rPr>
              <a:t>is a </a:t>
            </a:r>
            <a:r>
              <a:rPr sz="900" spc="-5">
                <a:latin typeface="Verdana"/>
                <a:cs typeface="Verdana"/>
              </a:rPr>
              <a:t>multicultural </a:t>
            </a:r>
            <a:r>
              <a:rPr sz="900">
                <a:latin typeface="Verdana"/>
                <a:cs typeface="Verdana"/>
              </a:rPr>
              <a:t>company  of almost </a:t>
            </a:r>
            <a:r>
              <a:rPr sz="900" spc="-5">
                <a:latin typeface="Verdana"/>
                <a:cs typeface="Verdana"/>
              </a:rPr>
              <a:t>220,000 </a:t>
            </a:r>
            <a:r>
              <a:rPr sz="900">
                <a:latin typeface="Verdana"/>
                <a:cs typeface="Verdana"/>
              </a:rPr>
              <a:t>team members in more </a:t>
            </a:r>
            <a:r>
              <a:rPr sz="900" spc="-5">
                <a:latin typeface="Verdana"/>
                <a:cs typeface="Verdana"/>
              </a:rPr>
              <a:t>than </a:t>
            </a:r>
            <a:r>
              <a:rPr sz="900" spc="5">
                <a:latin typeface="Verdana"/>
                <a:cs typeface="Verdana"/>
              </a:rPr>
              <a:t>40 </a:t>
            </a:r>
            <a:r>
              <a:rPr sz="900">
                <a:latin typeface="Verdana"/>
                <a:cs typeface="Verdana"/>
              </a:rPr>
              <a:t>countries. </a:t>
            </a:r>
            <a:r>
              <a:rPr sz="900" spc="-5">
                <a:latin typeface="Verdana"/>
                <a:cs typeface="Verdana"/>
              </a:rPr>
              <a:t>The Group </a:t>
            </a:r>
            <a:r>
              <a:rPr sz="900">
                <a:latin typeface="Verdana"/>
                <a:cs typeface="Verdana"/>
              </a:rPr>
              <a:t>reported  2019 global </a:t>
            </a:r>
            <a:r>
              <a:rPr sz="900" spc="-5">
                <a:latin typeface="Verdana"/>
                <a:cs typeface="Verdana"/>
              </a:rPr>
              <a:t>revenues </a:t>
            </a:r>
            <a:r>
              <a:rPr sz="900">
                <a:latin typeface="Verdana"/>
                <a:cs typeface="Verdana"/>
              </a:rPr>
              <a:t>of </a:t>
            </a:r>
            <a:r>
              <a:rPr sz="900" spc="-5">
                <a:latin typeface="Verdana"/>
                <a:cs typeface="Verdana"/>
              </a:rPr>
              <a:t>EUR 14.1</a:t>
            </a:r>
            <a:r>
              <a:rPr sz="900" spc="10">
                <a:latin typeface="Verdana"/>
                <a:cs typeface="Verdana"/>
              </a:rPr>
              <a:t> </a:t>
            </a:r>
            <a:r>
              <a:rPr sz="900" spc="-5">
                <a:latin typeface="Verdana"/>
                <a:cs typeface="Verdana"/>
              </a:rPr>
              <a:t>billion.</a:t>
            </a:r>
            <a:endParaRPr sz="900">
              <a:latin typeface="Verdana"/>
              <a:cs typeface="Verdana"/>
            </a:endParaRPr>
          </a:p>
          <a:p>
            <a:pPr>
              <a:lnSpc>
                <a:spcPct val="100000"/>
              </a:lnSpc>
              <a:spcBef>
                <a:spcPts val="45"/>
              </a:spcBef>
            </a:pPr>
            <a:endParaRPr sz="900">
              <a:latin typeface="Times New Roman"/>
              <a:cs typeface="Times New Roman"/>
            </a:endParaRPr>
          </a:p>
          <a:p>
            <a:pPr marL="12700" algn="just">
              <a:lnSpc>
                <a:spcPct val="100000"/>
              </a:lnSpc>
            </a:pPr>
            <a:r>
              <a:rPr sz="900">
                <a:latin typeface="Verdana"/>
                <a:cs typeface="Verdana"/>
              </a:rPr>
              <a:t>Visit </a:t>
            </a:r>
            <a:r>
              <a:rPr sz="900" spc="-5">
                <a:latin typeface="Verdana"/>
                <a:cs typeface="Verdana"/>
              </a:rPr>
              <a:t>us at</a:t>
            </a:r>
            <a:r>
              <a:rPr sz="900" spc="-15">
                <a:latin typeface="Verdana"/>
                <a:cs typeface="Verdana"/>
              </a:rPr>
              <a:t> </a:t>
            </a:r>
            <a:r>
              <a:rPr sz="900" u="sng" spc="-5">
                <a:solidFill>
                  <a:srgbClr val="87D4EC"/>
                </a:solidFill>
                <a:uFill>
                  <a:solidFill>
                    <a:srgbClr val="87D4EC"/>
                  </a:solidFill>
                </a:uFill>
                <a:latin typeface="Verdana"/>
                <a:cs typeface="Verdana"/>
                <a:hlinkClick r:id="rId2"/>
              </a:rPr>
              <a:t>www.capgemini.com</a:t>
            </a:r>
            <a:endParaRPr sz="900">
              <a:latin typeface="Verdana"/>
              <a:cs typeface="Verdana"/>
            </a:endParaRPr>
          </a:p>
        </p:txBody>
      </p:sp>
      <p:sp>
        <p:nvSpPr>
          <p:cNvPr id="8" name="object 8"/>
          <p:cNvSpPr/>
          <p:nvPr/>
        </p:nvSpPr>
        <p:spPr>
          <a:xfrm>
            <a:off x="810768" y="3979164"/>
            <a:ext cx="332231" cy="333756"/>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1193291" y="3979164"/>
            <a:ext cx="333756" cy="333756"/>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1577339" y="3979164"/>
            <a:ext cx="332232" cy="333756"/>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1959864" y="3979164"/>
            <a:ext cx="333756" cy="333756"/>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426719" y="3979164"/>
            <a:ext cx="333756" cy="333756"/>
          </a:xfrm>
          <a:prstGeom prst="rect">
            <a:avLst/>
          </a:prstGeom>
          <a:blipFill>
            <a:blip r:embed="rId7" cstate="print"/>
            <a:stretch>
              <a:fillRect/>
            </a:stretch>
          </a:blipFill>
        </p:spPr>
        <p:txBody>
          <a:bodyPr wrap="square" lIns="0" tIns="0" rIns="0" bIns="0" rtlCol="0"/>
          <a:lstStyle/>
          <a:p>
            <a:endParaRPr/>
          </a:p>
        </p:txBody>
      </p:sp>
      <p:sp>
        <p:nvSpPr>
          <p:cNvPr id="13" name="object 13"/>
          <p:cNvSpPr txBox="1"/>
          <p:nvPr/>
        </p:nvSpPr>
        <p:spPr>
          <a:xfrm>
            <a:off x="414019" y="5755335"/>
            <a:ext cx="3956050" cy="467359"/>
          </a:xfrm>
          <a:prstGeom prst="rect">
            <a:avLst/>
          </a:prstGeom>
        </p:spPr>
        <p:txBody>
          <a:bodyPr vert="horz" wrap="square" lIns="0" tIns="12700" rIns="0" bIns="0" rtlCol="0">
            <a:spAutoFit/>
          </a:bodyPr>
          <a:lstStyle/>
          <a:p>
            <a:pPr marL="12700">
              <a:lnSpc>
                <a:spcPct val="100000"/>
              </a:lnSpc>
              <a:spcBef>
                <a:spcPts val="100"/>
              </a:spcBef>
            </a:pPr>
            <a:r>
              <a:rPr sz="800" spc="-5">
                <a:solidFill>
                  <a:srgbClr val="FFFFFF"/>
                </a:solidFill>
                <a:latin typeface="Verdana"/>
                <a:cs typeface="Verdana"/>
              </a:rPr>
              <a:t>This </a:t>
            </a:r>
            <a:r>
              <a:rPr sz="800">
                <a:solidFill>
                  <a:srgbClr val="FFFFFF"/>
                </a:solidFill>
                <a:latin typeface="Verdana"/>
                <a:cs typeface="Verdana"/>
              </a:rPr>
              <a:t>presentation </a:t>
            </a:r>
            <a:r>
              <a:rPr sz="800" spc="-5">
                <a:solidFill>
                  <a:srgbClr val="FFFFFF"/>
                </a:solidFill>
                <a:latin typeface="Verdana"/>
                <a:cs typeface="Verdana"/>
              </a:rPr>
              <a:t>contains information that may </a:t>
            </a:r>
            <a:r>
              <a:rPr sz="800">
                <a:solidFill>
                  <a:srgbClr val="FFFFFF"/>
                </a:solidFill>
                <a:latin typeface="Verdana"/>
                <a:cs typeface="Verdana"/>
              </a:rPr>
              <a:t>be privileged or</a:t>
            </a:r>
            <a:r>
              <a:rPr sz="800" spc="85">
                <a:solidFill>
                  <a:srgbClr val="FFFFFF"/>
                </a:solidFill>
                <a:latin typeface="Verdana"/>
                <a:cs typeface="Verdana"/>
              </a:rPr>
              <a:t> </a:t>
            </a:r>
            <a:r>
              <a:rPr sz="800" spc="-5">
                <a:solidFill>
                  <a:srgbClr val="FFFFFF"/>
                </a:solidFill>
                <a:latin typeface="Verdana"/>
                <a:cs typeface="Verdana"/>
              </a:rPr>
              <a:t>confidential</a:t>
            </a:r>
            <a:endParaRPr sz="800">
              <a:latin typeface="Verdana"/>
              <a:cs typeface="Verdana"/>
            </a:endParaRPr>
          </a:p>
          <a:p>
            <a:pPr marL="12700">
              <a:lnSpc>
                <a:spcPct val="100000"/>
              </a:lnSpc>
            </a:pPr>
            <a:r>
              <a:rPr sz="800" spc="-5">
                <a:solidFill>
                  <a:srgbClr val="FFFFFF"/>
                </a:solidFill>
                <a:latin typeface="Verdana"/>
                <a:cs typeface="Verdana"/>
              </a:rPr>
              <a:t>and is the </a:t>
            </a:r>
            <a:r>
              <a:rPr sz="800">
                <a:solidFill>
                  <a:srgbClr val="FFFFFF"/>
                </a:solidFill>
                <a:latin typeface="Verdana"/>
                <a:cs typeface="Verdana"/>
              </a:rPr>
              <a:t>property of </a:t>
            </a:r>
            <a:r>
              <a:rPr sz="800" spc="-5">
                <a:solidFill>
                  <a:srgbClr val="FFFFFF"/>
                </a:solidFill>
                <a:latin typeface="Verdana"/>
                <a:cs typeface="Verdana"/>
              </a:rPr>
              <a:t>the Capgemini</a:t>
            </a:r>
            <a:r>
              <a:rPr sz="800" spc="10">
                <a:solidFill>
                  <a:srgbClr val="FFFFFF"/>
                </a:solidFill>
                <a:latin typeface="Verdana"/>
                <a:cs typeface="Verdana"/>
              </a:rPr>
              <a:t> </a:t>
            </a:r>
            <a:r>
              <a:rPr sz="800">
                <a:solidFill>
                  <a:srgbClr val="FFFFFF"/>
                </a:solidFill>
                <a:latin typeface="Verdana"/>
                <a:cs typeface="Verdana"/>
              </a:rPr>
              <a:t>Group.</a:t>
            </a:r>
            <a:endParaRPr sz="800">
              <a:latin typeface="Verdana"/>
              <a:cs typeface="Verdana"/>
            </a:endParaRPr>
          </a:p>
          <a:p>
            <a:pPr marL="12700">
              <a:lnSpc>
                <a:spcPct val="100000"/>
              </a:lnSpc>
              <a:spcBef>
                <a:spcPts val="595"/>
              </a:spcBef>
            </a:pPr>
            <a:r>
              <a:rPr sz="800" spc="-5">
                <a:solidFill>
                  <a:srgbClr val="FFFFFF"/>
                </a:solidFill>
                <a:latin typeface="Arial"/>
                <a:cs typeface="Arial"/>
              </a:rPr>
              <a:t>Copyright </a:t>
            </a:r>
            <a:r>
              <a:rPr sz="800">
                <a:solidFill>
                  <a:srgbClr val="FFFFFF"/>
                </a:solidFill>
                <a:latin typeface="Arial"/>
                <a:cs typeface="Arial"/>
              </a:rPr>
              <a:t>© </a:t>
            </a:r>
            <a:r>
              <a:rPr sz="800" spc="-5">
                <a:solidFill>
                  <a:srgbClr val="FFFFFF"/>
                </a:solidFill>
                <a:latin typeface="Arial"/>
                <a:cs typeface="Arial"/>
              </a:rPr>
              <a:t>2020 </a:t>
            </a:r>
            <a:r>
              <a:rPr sz="800">
                <a:solidFill>
                  <a:srgbClr val="FFFFFF"/>
                </a:solidFill>
                <a:latin typeface="Arial"/>
                <a:cs typeface="Arial"/>
              </a:rPr>
              <a:t>Capgemini. All </a:t>
            </a:r>
            <a:r>
              <a:rPr sz="800" spc="-5">
                <a:solidFill>
                  <a:srgbClr val="FFFFFF"/>
                </a:solidFill>
                <a:latin typeface="Arial"/>
                <a:cs typeface="Arial"/>
              </a:rPr>
              <a:t>rights</a:t>
            </a:r>
            <a:r>
              <a:rPr sz="800" spc="40">
                <a:solidFill>
                  <a:srgbClr val="FFFFFF"/>
                </a:solidFill>
                <a:latin typeface="Arial"/>
                <a:cs typeface="Arial"/>
              </a:rPr>
              <a:t> </a:t>
            </a:r>
            <a:r>
              <a:rPr sz="800" spc="-5">
                <a:solidFill>
                  <a:srgbClr val="FFFFFF"/>
                </a:solidFill>
                <a:latin typeface="Arial"/>
                <a:cs typeface="Arial"/>
              </a:rPr>
              <a:t>reserved.</a:t>
            </a:r>
            <a:endParaRPr sz="800">
              <a:latin typeface="Arial"/>
              <a:cs typeface="Arial"/>
            </a:endParaRPr>
          </a:p>
        </p:txBody>
      </p:sp>
      <p:sp>
        <p:nvSpPr>
          <p:cNvPr id="14" name="object 14"/>
          <p:cNvSpPr/>
          <p:nvPr/>
        </p:nvSpPr>
        <p:spPr>
          <a:xfrm>
            <a:off x="443483" y="4471415"/>
            <a:ext cx="2299716" cy="181356"/>
          </a:xfrm>
          <a:prstGeom prst="rect">
            <a:avLst/>
          </a:prstGeom>
          <a:blipFill>
            <a:blip r:embed="rId8" cstate="print"/>
            <a:stretch>
              <a:fillRect/>
            </a:stretch>
          </a:blipFill>
        </p:spPr>
        <p:txBody>
          <a:bodyPr wrap="square" lIns="0" tIns="0" rIns="0" bIns="0" rtlCol="0"/>
          <a:lstStyle/>
          <a:p>
            <a:endParaRPr/>
          </a:p>
        </p:txBody>
      </p:sp>
      <p:sp>
        <p:nvSpPr>
          <p:cNvPr id="15" name="object 15"/>
          <p:cNvSpPr/>
          <p:nvPr/>
        </p:nvSpPr>
        <p:spPr>
          <a:xfrm>
            <a:off x="2755392" y="4590288"/>
            <a:ext cx="29209" cy="32384"/>
          </a:xfrm>
          <a:custGeom>
            <a:avLst/>
            <a:gdLst/>
            <a:ahLst/>
            <a:cxnLst/>
            <a:rect l="l" t="t" r="r" b="b"/>
            <a:pathLst>
              <a:path w="29210" h="32385">
                <a:moveTo>
                  <a:pt x="19303" y="0"/>
                </a:moveTo>
                <a:lnTo>
                  <a:pt x="9651" y="0"/>
                </a:lnTo>
                <a:lnTo>
                  <a:pt x="7746" y="2031"/>
                </a:lnTo>
                <a:lnTo>
                  <a:pt x="3809" y="5968"/>
                </a:lnTo>
                <a:lnTo>
                  <a:pt x="1905" y="8000"/>
                </a:lnTo>
                <a:lnTo>
                  <a:pt x="0" y="11937"/>
                </a:lnTo>
                <a:lnTo>
                  <a:pt x="0" y="19938"/>
                </a:lnTo>
                <a:lnTo>
                  <a:pt x="1905" y="24003"/>
                </a:lnTo>
                <a:lnTo>
                  <a:pt x="3809" y="27939"/>
                </a:lnTo>
                <a:lnTo>
                  <a:pt x="7746" y="29972"/>
                </a:lnTo>
                <a:lnTo>
                  <a:pt x="9651" y="32004"/>
                </a:lnTo>
                <a:lnTo>
                  <a:pt x="19303" y="32004"/>
                </a:lnTo>
                <a:lnTo>
                  <a:pt x="21208" y="29972"/>
                </a:lnTo>
                <a:lnTo>
                  <a:pt x="25145" y="27939"/>
                </a:lnTo>
                <a:lnTo>
                  <a:pt x="27050" y="24003"/>
                </a:lnTo>
                <a:lnTo>
                  <a:pt x="28956" y="19938"/>
                </a:lnTo>
                <a:lnTo>
                  <a:pt x="28956" y="11937"/>
                </a:lnTo>
                <a:lnTo>
                  <a:pt x="27050" y="8000"/>
                </a:lnTo>
                <a:lnTo>
                  <a:pt x="25145" y="5968"/>
                </a:lnTo>
                <a:lnTo>
                  <a:pt x="21208" y="2031"/>
                </a:lnTo>
                <a:lnTo>
                  <a:pt x="19303" y="0"/>
                </a:lnTo>
                <a:close/>
              </a:path>
            </a:pathLst>
          </a:custGeom>
          <a:solidFill>
            <a:srgbClr val="FFFFFF"/>
          </a:solidFill>
        </p:spPr>
        <p:txBody>
          <a:bodyPr wrap="square" lIns="0" tIns="0" rIns="0" bIns="0" rtlCol="0"/>
          <a:lstStyle/>
          <a:p>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40588"/>
            <a:ext cx="9775825" cy="779145"/>
          </a:xfrm>
          <a:prstGeom prst="rect">
            <a:avLst/>
          </a:prstGeom>
        </p:spPr>
        <p:txBody>
          <a:bodyPr vert="horz" wrap="square" lIns="0" tIns="57785" rIns="0" bIns="0" rtlCol="0">
            <a:spAutoFit/>
          </a:bodyPr>
          <a:lstStyle/>
          <a:p>
            <a:pPr marL="12700" marR="5080">
              <a:lnSpc>
                <a:spcPts val="2810"/>
              </a:lnSpc>
              <a:spcBef>
                <a:spcPts val="455"/>
              </a:spcBef>
            </a:pPr>
            <a:r>
              <a:rPr sz="2600" spc="-5"/>
              <a:t>Capgemini </a:t>
            </a:r>
            <a:r>
              <a:rPr sz="2600"/>
              <a:t>Italia </a:t>
            </a:r>
            <a:r>
              <a:rPr sz="2600" spc="-5"/>
              <a:t>has </a:t>
            </a:r>
            <a:r>
              <a:rPr sz="2600"/>
              <a:t>Steady </a:t>
            </a:r>
            <a:r>
              <a:rPr sz="2600" spc="-5"/>
              <a:t>Growth </a:t>
            </a:r>
            <a:r>
              <a:rPr sz="2600"/>
              <a:t>for </a:t>
            </a:r>
            <a:r>
              <a:rPr sz="2600" spc="-10"/>
              <a:t>Over </a:t>
            </a:r>
            <a:r>
              <a:rPr sz="2600"/>
              <a:t>10 </a:t>
            </a:r>
            <a:r>
              <a:rPr sz="2600" spc="-35"/>
              <a:t>Years </a:t>
            </a:r>
            <a:r>
              <a:rPr sz="2600" spc="-5"/>
              <a:t>and  </a:t>
            </a:r>
            <a:r>
              <a:rPr sz="2600"/>
              <a:t>Counting…</a:t>
            </a:r>
          </a:p>
        </p:txBody>
      </p:sp>
      <p:sp>
        <p:nvSpPr>
          <p:cNvPr id="3" name="object 3"/>
          <p:cNvSpPr/>
          <p:nvPr/>
        </p:nvSpPr>
        <p:spPr>
          <a:xfrm>
            <a:off x="0" y="1126236"/>
            <a:ext cx="12192000" cy="5362956"/>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929639" y="1327403"/>
            <a:ext cx="4535805" cy="349250"/>
          </a:xfrm>
          <a:custGeom>
            <a:avLst/>
            <a:gdLst/>
            <a:ahLst/>
            <a:cxnLst/>
            <a:rect l="l" t="t" r="r" b="b"/>
            <a:pathLst>
              <a:path w="4535805" h="349250">
                <a:moveTo>
                  <a:pt x="4360926" y="0"/>
                </a:moveTo>
                <a:lnTo>
                  <a:pt x="174497" y="0"/>
                </a:lnTo>
                <a:lnTo>
                  <a:pt x="128111" y="6231"/>
                </a:lnTo>
                <a:lnTo>
                  <a:pt x="86427" y="23819"/>
                </a:lnTo>
                <a:lnTo>
                  <a:pt x="51111" y="51101"/>
                </a:lnTo>
                <a:lnTo>
                  <a:pt x="23825" y="86416"/>
                </a:lnTo>
                <a:lnTo>
                  <a:pt x="6233" y="128102"/>
                </a:lnTo>
                <a:lnTo>
                  <a:pt x="0" y="174498"/>
                </a:lnTo>
                <a:lnTo>
                  <a:pt x="6233" y="220893"/>
                </a:lnTo>
                <a:lnTo>
                  <a:pt x="23825" y="262579"/>
                </a:lnTo>
                <a:lnTo>
                  <a:pt x="51111" y="297894"/>
                </a:lnTo>
                <a:lnTo>
                  <a:pt x="86427" y="325176"/>
                </a:lnTo>
                <a:lnTo>
                  <a:pt x="128111" y="342764"/>
                </a:lnTo>
                <a:lnTo>
                  <a:pt x="174497" y="348996"/>
                </a:lnTo>
                <a:lnTo>
                  <a:pt x="4360926" y="348996"/>
                </a:lnTo>
                <a:lnTo>
                  <a:pt x="4407321" y="342764"/>
                </a:lnTo>
                <a:lnTo>
                  <a:pt x="4449007" y="325176"/>
                </a:lnTo>
                <a:lnTo>
                  <a:pt x="4484322" y="297894"/>
                </a:lnTo>
                <a:lnTo>
                  <a:pt x="4511604" y="262579"/>
                </a:lnTo>
                <a:lnTo>
                  <a:pt x="4529192" y="220893"/>
                </a:lnTo>
                <a:lnTo>
                  <a:pt x="4535424" y="174498"/>
                </a:lnTo>
                <a:lnTo>
                  <a:pt x="4529192" y="128102"/>
                </a:lnTo>
                <a:lnTo>
                  <a:pt x="4511604" y="86416"/>
                </a:lnTo>
                <a:lnTo>
                  <a:pt x="4484322" y="51101"/>
                </a:lnTo>
                <a:lnTo>
                  <a:pt x="4449007" y="23819"/>
                </a:lnTo>
                <a:lnTo>
                  <a:pt x="4407321" y="6231"/>
                </a:lnTo>
                <a:lnTo>
                  <a:pt x="4360926" y="0"/>
                </a:lnTo>
                <a:close/>
              </a:path>
            </a:pathLst>
          </a:custGeom>
          <a:solidFill>
            <a:srgbClr val="421F5D"/>
          </a:solidFill>
        </p:spPr>
        <p:txBody>
          <a:bodyPr wrap="square" lIns="0" tIns="0" rIns="0" bIns="0" rtlCol="0"/>
          <a:lstStyle/>
          <a:p>
            <a:endParaRPr/>
          </a:p>
        </p:txBody>
      </p:sp>
      <p:sp>
        <p:nvSpPr>
          <p:cNvPr id="5" name="object 5"/>
          <p:cNvSpPr txBox="1"/>
          <p:nvPr/>
        </p:nvSpPr>
        <p:spPr>
          <a:xfrm>
            <a:off x="1938020" y="1365885"/>
            <a:ext cx="2519045" cy="26924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Number of</a:t>
            </a:r>
            <a:r>
              <a:rPr sz="1600" b="1" spc="-45">
                <a:solidFill>
                  <a:srgbClr val="FFFFFF"/>
                </a:solidFill>
                <a:latin typeface="Verdana"/>
                <a:cs typeface="Verdana"/>
              </a:rPr>
              <a:t> </a:t>
            </a:r>
            <a:r>
              <a:rPr sz="1600" b="1" spc="-10">
                <a:solidFill>
                  <a:srgbClr val="FFFFFF"/>
                </a:solidFill>
                <a:latin typeface="Verdana"/>
                <a:cs typeface="Verdana"/>
              </a:rPr>
              <a:t>employees</a:t>
            </a:r>
            <a:endParaRPr sz="1600">
              <a:latin typeface="Verdana"/>
              <a:cs typeface="Verdana"/>
            </a:endParaRPr>
          </a:p>
        </p:txBody>
      </p:sp>
      <p:sp>
        <p:nvSpPr>
          <p:cNvPr id="6" name="object 6"/>
          <p:cNvSpPr/>
          <p:nvPr/>
        </p:nvSpPr>
        <p:spPr>
          <a:xfrm>
            <a:off x="7240523" y="1327403"/>
            <a:ext cx="4535805" cy="349250"/>
          </a:xfrm>
          <a:custGeom>
            <a:avLst/>
            <a:gdLst/>
            <a:ahLst/>
            <a:cxnLst/>
            <a:rect l="l" t="t" r="r" b="b"/>
            <a:pathLst>
              <a:path w="4535805" h="349250">
                <a:moveTo>
                  <a:pt x="4360926" y="0"/>
                </a:moveTo>
                <a:lnTo>
                  <a:pt x="174498" y="0"/>
                </a:lnTo>
                <a:lnTo>
                  <a:pt x="128102" y="6231"/>
                </a:lnTo>
                <a:lnTo>
                  <a:pt x="86416" y="23819"/>
                </a:lnTo>
                <a:lnTo>
                  <a:pt x="51101" y="51101"/>
                </a:lnTo>
                <a:lnTo>
                  <a:pt x="23819" y="86416"/>
                </a:lnTo>
                <a:lnTo>
                  <a:pt x="6231" y="128102"/>
                </a:lnTo>
                <a:lnTo>
                  <a:pt x="0" y="174498"/>
                </a:lnTo>
                <a:lnTo>
                  <a:pt x="6231" y="220893"/>
                </a:lnTo>
                <a:lnTo>
                  <a:pt x="23819" y="262579"/>
                </a:lnTo>
                <a:lnTo>
                  <a:pt x="51101" y="297894"/>
                </a:lnTo>
                <a:lnTo>
                  <a:pt x="86416" y="325176"/>
                </a:lnTo>
                <a:lnTo>
                  <a:pt x="128102" y="342764"/>
                </a:lnTo>
                <a:lnTo>
                  <a:pt x="174498" y="348996"/>
                </a:lnTo>
                <a:lnTo>
                  <a:pt x="4360926" y="348996"/>
                </a:lnTo>
                <a:lnTo>
                  <a:pt x="4407321" y="342764"/>
                </a:lnTo>
                <a:lnTo>
                  <a:pt x="4449007" y="325176"/>
                </a:lnTo>
                <a:lnTo>
                  <a:pt x="4484322" y="297894"/>
                </a:lnTo>
                <a:lnTo>
                  <a:pt x="4511604" y="262579"/>
                </a:lnTo>
                <a:lnTo>
                  <a:pt x="4529192" y="220893"/>
                </a:lnTo>
                <a:lnTo>
                  <a:pt x="4535424" y="174498"/>
                </a:lnTo>
                <a:lnTo>
                  <a:pt x="4529192" y="128102"/>
                </a:lnTo>
                <a:lnTo>
                  <a:pt x="4511604" y="86416"/>
                </a:lnTo>
                <a:lnTo>
                  <a:pt x="4484322" y="51101"/>
                </a:lnTo>
                <a:lnTo>
                  <a:pt x="4449007" y="23819"/>
                </a:lnTo>
                <a:lnTo>
                  <a:pt x="4407321" y="6231"/>
                </a:lnTo>
                <a:lnTo>
                  <a:pt x="4360926" y="0"/>
                </a:lnTo>
                <a:close/>
              </a:path>
            </a:pathLst>
          </a:custGeom>
          <a:solidFill>
            <a:srgbClr val="421F5D"/>
          </a:solidFill>
        </p:spPr>
        <p:txBody>
          <a:bodyPr wrap="square" lIns="0" tIns="0" rIns="0" bIns="0" rtlCol="0"/>
          <a:lstStyle/>
          <a:p>
            <a:endParaRPr/>
          </a:p>
        </p:txBody>
      </p:sp>
      <p:sp>
        <p:nvSpPr>
          <p:cNvPr id="7" name="object 7"/>
          <p:cNvSpPr txBox="1"/>
          <p:nvPr/>
        </p:nvSpPr>
        <p:spPr>
          <a:xfrm>
            <a:off x="8689975" y="1365885"/>
            <a:ext cx="1637030" cy="269240"/>
          </a:xfrm>
          <a:prstGeom prst="rect">
            <a:avLst/>
          </a:prstGeom>
        </p:spPr>
        <p:txBody>
          <a:bodyPr vert="horz" wrap="square" lIns="0" tIns="12065" rIns="0" bIns="0" rtlCol="0">
            <a:spAutoFit/>
          </a:bodyPr>
          <a:lstStyle/>
          <a:p>
            <a:pPr marL="12700">
              <a:lnSpc>
                <a:spcPct val="100000"/>
              </a:lnSpc>
              <a:spcBef>
                <a:spcPts val="95"/>
              </a:spcBef>
            </a:pPr>
            <a:r>
              <a:rPr sz="1600" b="1" spc="-10">
                <a:solidFill>
                  <a:srgbClr val="FFFFFF"/>
                </a:solidFill>
                <a:latin typeface="Verdana"/>
                <a:cs typeface="Verdana"/>
              </a:rPr>
              <a:t>Revenue</a:t>
            </a:r>
            <a:r>
              <a:rPr sz="1600" b="1" spc="-40">
                <a:solidFill>
                  <a:srgbClr val="FFFFFF"/>
                </a:solidFill>
                <a:latin typeface="Verdana"/>
                <a:cs typeface="Verdana"/>
              </a:rPr>
              <a:t> </a:t>
            </a:r>
            <a:r>
              <a:rPr sz="1600" b="1" spc="-5">
                <a:solidFill>
                  <a:srgbClr val="FFFFFF"/>
                </a:solidFill>
                <a:latin typeface="Verdana"/>
                <a:cs typeface="Verdana"/>
              </a:rPr>
              <a:t>(M€)</a:t>
            </a:r>
            <a:endParaRPr sz="1600">
              <a:latin typeface="Verdana"/>
              <a:cs typeface="Verdana"/>
            </a:endParaRPr>
          </a:p>
        </p:txBody>
      </p:sp>
      <p:sp>
        <p:nvSpPr>
          <p:cNvPr id="8" name="object 8"/>
          <p:cNvSpPr/>
          <p:nvPr/>
        </p:nvSpPr>
        <p:spPr>
          <a:xfrm>
            <a:off x="2314955" y="3400044"/>
            <a:ext cx="132715" cy="1815464"/>
          </a:xfrm>
          <a:custGeom>
            <a:avLst/>
            <a:gdLst/>
            <a:ahLst/>
            <a:cxnLst/>
            <a:rect l="l" t="t" r="r" b="b"/>
            <a:pathLst>
              <a:path w="132714" h="1815464">
                <a:moveTo>
                  <a:pt x="0" y="1815083"/>
                </a:moveTo>
                <a:lnTo>
                  <a:pt x="132587" y="1815083"/>
                </a:lnTo>
                <a:lnTo>
                  <a:pt x="132587" y="0"/>
                </a:lnTo>
                <a:lnTo>
                  <a:pt x="0" y="0"/>
                </a:lnTo>
                <a:lnTo>
                  <a:pt x="0" y="1815083"/>
                </a:lnTo>
                <a:close/>
              </a:path>
            </a:pathLst>
          </a:custGeom>
          <a:solidFill>
            <a:srgbClr val="006FAC"/>
          </a:solidFill>
        </p:spPr>
        <p:txBody>
          <a:bodyPr wrap="square" lIns="0" tIns="0" rIns="0" bIns="0" rtlCol="0"/>
          <a:lstStyle/>
          <a:p>
            <a:endParaRPr/>
          </a:p>
        </p:txBody>
      </p:sp>
      <p:sp>
        <p:nvSpPr>
          <p:cNvPr id="9" name="object 9"/>
          <p:cNvSpPr/>
          <p:nvPr/>
        </p:nvSpPr>
        <p:spPr>
          <a:xfrm>
            <a:off x="2552700" y="3317747"/>
            <a:ext cx="132715" cy="1899285"/>
          </a:xfrm>
          <a:custGeom>
            <a:avLst/>
            <a:gdLst/>
            <a:ahLst/>
            <a:cxnLst/>
            <a:rect l="l" t="t" r="r" b="b"/>
            <a:pathLst>
              <a:path w="132714" h="1899285">
                <a:moveTo>
                  <a:pt x="0" y="1898903"/>
                </a:moveTo>
                <a:lnTo>
                  <a:pt x="132587" y="1898903"/>
                </a:lnTo>
                <a:lnTo>
                  <a:pt x="132587" y="0"/>
                </a:lnTo>
                <a:lnTo>
                  <a:pt x="0" y="0"/>
                </a:lnTo>
                <a:lnTo>
                  <a:pt x="0" y="1898903"/>
                </a:lnTo>
                <a:close/>
              </a:path>
            </a:pathLst>
          </a:custGeom>
          <a:solidFill>
            <a:srgbClr val="006FAC"/>
          </a:solidFill>
        </p:spPr>
        <p:txBody>
          <a:bodyPr wrap="square" lIns="0" tIns="0" rIns="0" bIns="0" rtlCol="0"/>
          <a:lstStyle/>
          <a:p>
            <a:endParaRPr/>
          </a:p>
        </p:txBody>
      </p:sp>
      <p:sp>
        <p:nvSpPr>
          <p:cNvPr id="10" name="object 10"/>
          <p:cNvSpPr/>
          <p:nvPr/>
        </p:nvSpPr>
        <p:spPr>
          <a:xfrm>
            <a:off x="2784348" y="3061716"/>
            <a:ext cx="131445" cy="2147570"/>
          </a:xfrm>
          <a:custGeom>
            <a:avLst/>
            <a:gdLst/>
            <a:ahLst/>
            <a:cxnLst/>
            <a:rect l="l" t="t" r="r" b="b"/>
            <a:pathLst>
              <a:path w="131444" h="2147570">
                <a:moveTo>
                  <a:pt x="0" y="2147316"/>
                </a:moveTo>
                <a:lnTo>
                  <a:pt x="131063" y="2147316"/>
                </a:lnTo>
                <a:lnTo>
                  <a:pt x="131063" y="0"/>
                </a:lnTo>
                <a:lnTo>
                  <a:pt x="0" y="0"/>
                </a:lnTo>
                <a:lnTo>
                  <a:pt x="0" y="2147316"/>
                </a:lnTo>
                <a:close/>
              </a:path>
            </a:pathLst>
          </a:custGeom>
          <a:solidFill>
            <a:srgbClr val="006FAC"/>
          </a:solidFill>
        </p:spPr>
        <p:txBody>
          <a:bodyPr wrap="square" lIns="0" tIns="0" rIns="0" bIns="0" rtlCol="0"/>
          <a:lstStyle/>
          <a:p>
            <a:endParaRPr/>
          </a:p>
        </p:txBody>
      </p:sp>
      <p:sp>
        <p:nvSpPr>
          <p:cNvPr id="11" name="object 11"/>
          <p:cNvSpPr/>
          <p:nvPr/>
        </p:nvSpPr>
        <p:spPr>
          <a:xfrm>
            <a:off x="3014472" y="2971800"/>
            <a:ext cx="134620" cy="2239010"/>
          </a:xfrm>
          <a:custGeom>
            <a:avLst/>
            <a:gdLst/>
            <a:ahLst/>
            <a:cxnLst/>
            <a:rect l="l" t="t" r="r" b="b"/>
            <a:pathLst>
              <a:path w="134619" h="2239010">
                <a:moveTo>
                  <a:pt x="0" y="2238756"/>
                </a:moveTo>
                <a:lnTo>
                  <a:pt x="134111" y="2238756"/>
                </a:lnTo>
                <a:lnTo>
                  <a:pt x="134111" y="0"/>
                </a:lnTo>
                <a:lnTo>
                  <a:pt x="0" y="0"/>
                </a:lnTo>
                <a:lnTo>
                  <a:pt x="0" y="2238756"/>
                </a:lnTo>
                <a:close/>
              </a:path>
            </a:pathLst>
          </a:custGeom>
          <a:solidFill>
            <a:srgbClr val="006FAC"/>
          </a:solidFill>
        </p:spPr>
        <p:txBody>
          <a:bodyPr wrap="square" lIns="0" tIns="0" rIns="0" bIns="0" rtlCol="0"/>
          <a:lstStyle/>
          <a:p>
            <a:endParaRPr/>
          </a:p>
        </p:txBody>
      </p:sp>
      <p:sp>
        <p:nvSpPr>
          <p:cNvPr id="12" name="object 12"/>
          <p:cNvSpPr/>
          <p:nvPr/>
        </p:nvSpPr>
        <p:spPr>
          <a:xfrm>
            <a:off x="3247644" y="2892551"/>
            <a:ext cx="132715" cy="2318385"/>
          </a:xfrm>
          <a:custGeom>
            <a:avLst/>
            <a:gdLst/>
            <a:ahLst/>
            <a:cxnLst/>
            <a:rect l="l" t="t" r="r" b="b"/>
            <a:pathLst>
              <a:path w="132714" h="2318385">
                <a:moveTo>
                  <a:pt x="0" y="2318004"/>
                </a:moveTo>
                <a:lnTo>
                  <a:pt x="132588" y="2318004"/>
                </a:lnTo>
                <a:lnTo>
                  <a:pt x="132588" y="0"/>
                </a:lnTo>
                <a:lnTo>
                  <a:pt x="0" y="0"/>
                </a:lnTo>
                <a:lnTo>
                  <a:pt x="0" y="2318004"/>
                </a:lnTo>
                <a:close/>
              </a:path>
            </a:pathLst>
          </a:custGeom>
          <a:solidFill>
            <a:srgbClr val="006FAC"/>
          </a:solidFill>
        </p:spPr>
        <p:txBody>
          <a:bodyPr wrap="square" lIns="0" tIns="0" rIns="0" bIns="0" rtlCol="0"/>
          <a:lstStyle/>
          <a:p>
            <a:endParaRPr/>
          </a:p>
        </p:txBody>
      </p:sp>
      <p:sp>
        <p:nvSpPr>
          <p:cNvPr id="13" name="object 13"/>
          <p:cNvSpPr/>
          <p:nvPr/>
        </p:nvSpPr>
        <p:spPr>
          <a:xfrm>
            <a:off x="3479291" y="2738627"/>
            <a:ext cx="132715" cy="2472055"/>
          </a:xfrm>
          <a:custGeom>
            <a:avLst/>
            <a:gdLst/>
            <a:ahLst/>
            <a:cxnLst/>
            <a:rect l="l" t="t" r="r" b="b"/>
            <a:pathLst>
              <a:path w="132714" h="2472054">
                <a:moveTo>
                  <a:pt x="0" y="2471928"/>
                </a:moveTo>
                <a:lnTo>
                  <a:pt x="132587" y="2471928"/>
                </a:lnTo>
                <a:lnTo>
                  <a:pt x="132587" y="0"/>
                </a:lnTo>
                <a:lnTo>
                  <a:pt x="0" y="0"/>
                </a:lnTo>
                <a:lnTo>
                  <a:pt x="0" y="2471928"/>
                </a:lnTo>
                <a:close/>
              </a:path>
            </a:pathLst>
          </a:custGeom>
          <a:solidFill>
            <a:srgbClr val="006FAC"/>
          </a:solidFill>
        </p:spPr>
        <p:txBody>
          <a:bodyPr wrap="square" lIns="0" tIns="0" rIns="0" bIns="0" rtlCol="0"/>
          <a:lstStyle/>
          <a:p>
            <a:endParaRPr/>
          </a:p>
        </p:txBody>
      </p:sp>
      <p:sp>
        <p:nvSpPr>
          <p:cNvPr id="14" name="object 14"/>
          <p:cNvSpPr/>
          <p:nvPr/>
        </p:nvSpPr>
        <p:spPr>
          <a:xfrm>
            <a:off x="3710940" y="2627376"/>
            <a:ext cx="131445" cy="2583180"/>
          </a:xfrm>
          <a:custGeom>
            <a:avLst/>
            <a:gdLst/>
            <a:ahLst/>
            <a:cxnLst/>
            <a:rect l="l" t="t" r="r" b="b"/>
            <a:pathLst>
              <a:path w="131445" h="2583179">
                <a:moveTo>
                  <a:pt x="0" y="2583180"/>
                </a:moveTo>
                <a:lnTo>
                  <a:pt x="131063" y="2583180"/>
                </a:lnTo>
                <a:lnTo>
                  <a:pt x="131063" y="0"/>
                </a:lnTo>
                <a:lnTo>
                  <a:pt x="0" y="0"/>
                </a:lnTo>
                <a:lnTo>
                  <a:pt x="0" y="2583180"/>
                </a:lnTo>
                <a:close/>
              </a:path>
            </a:pathLst>
          </a:custGeom>
          <a:solidFill>
            <a:srgbClr val="006FAC"/>
          </a:solidFill>
        </p:spPr>
        <p:txBody>
          <a:bodyPr wrap="square" lIns="0" tIns="0" rIns="0" bIns="0" rtlCol="0"/>
          <a:lstStyle/>
          <a:p>
            <a:endParaRPr/>
          </a:p>
        </p:txBody>
      </p:sp>
      <p:sp>
        <p:nvSpPr>
          <p:cNvPr id="15" name="object 15"/>
          <p:cNvSpPr/>
          <p:nvPr/>
        </p:nvSpPr>
        <p:spPr>
          <a:xfrm>
            <a:off x="3944111" y="2558795"/>
            <a:ext cx="131445" cy="2651760"/>
          </a:xfrm>
          <a:custGeom>
            <a:avLst/>
            <a:gdLst/>
            <a:ahLst/>
            <a:cxnLst/>
            <a:rect l="l" t="t" r="r" b="b"/>
            <a:pathLst>
              <a:path w="131445" h="2651760">
                <a:moveTo>
                  <a:pt x="0" y="2651760"/>
                </a:moveTo>
                <a:lnTo>
                  <a:pt x="131063" y="2651760"/>
                </a:lnTo>
                <a:lnTo>
                  <a:pt x="131063" y="0"/>
                </a:lnTo>
                <a:lnTo>
                  <a:pt x="0" y="0"/>
                </a:lnTo>
                <a:lnTo>
                  <a:pt x="0" y="2651760"/>
                </a:lnTo>
                <a:close/>
              </a:path>
            </a:pathLst>
          </a:custGeom>
          <a:solidFill>
            <a:srgbClr val="006FAC"/>
          </a:solidFill>
        </p:spPr>
        <p:txBody>
          <a:bodyPr wrap="square" lIns="0" tIns="0" rIns="0" bIns="0" rtlCol="0"/>
          <a:lstStyle/>
          <a:p>
            <a:endParaRPr/>
          </a:p>
        </p:txBody>
      </p:sp>
      <p:sp>
        <p:nvSpPr>
          <p:cNvPr id="16" name="object 16"/>
          <p:cNvSpPr/>
          <p:nvPr/>
        </p:nvSpPr>
        <p:spPr>
          <a:xfrm>
            <a:off x="4174235" y="1761744"/>
            <a:ext cx="1209040" cy="3447415"/>
          </a:xfrm>
          <a:custGeom>
            <a:avLst/>
            <a:gdLst/>
            <a:ahLst/>
            <a:cxnLst/>
            <a:rect l="l" t="t" r="r" b="b"/>
            <a:pathLst>
              <a:path w="1209039" h="3447415">
                <a:moveTo>
                  <a:pt x="703072" y="0"/>
                </a:moveTo>
                <a:lnTo>
                  <a:pt x="655632" y="2203"/>
                </a:lnTo>
                <a:lnTo>
                  <a:pt x="609410" y="8683"/>
                </a:lnTo>
                <a:lnTo>
                  <a:pt x="564607" y="19247"/>
                </a:lnTo>
                <a:lnTo>
                  <a:pt x="521424" y="33700"/>
                </a:lnTo>
                <a:lnTo>
                  <a:pt x="480060" y="51850"/>
                </a:lnTo>
                <a:lnTo>
                  <a:pt x="440715" y="73502"/>
                </a:lnTo>
                <a:lnTo>
                  <a:pt x="403591" y="98463"/>
                </a:lnTo>
                <a:lnTo>
                  <a:pt x="368887" y="126539"/>
                </a:lnTo>
                <a:lnTo>
                  <a:pt x="336804" y="157537"/>
                </a:lnTo>
                <a:lnTo>
                  <a:pt x="307542" y="191262"/>
                </a:lnTo>
                <a:lnTo>
                  <a:pt x="281302" y="227522"/>
                </a:lnTo>
                <a:lnTo>
                  <a:pt x="258284" y="266122"/>
                </a:lnTo>
                <a:lnTo>
                  <a:pt x="238688" y="306869"/>
                </a:lnTo>
                <a:lnTo>
                  <a:pt x="222715" y="349569"/>
                </a:lnTo>
                <a:lnTo>
                  <a:pt x="210564" y="394029"/>
                </a:lnTo>
                <a:lnTo>
                  <a:pt x="202437" y="440054"/>
                </a:lnTo>
                <a:lnTo>
                  <a:pt x="163438" y="447143"/>
                </a:lnTo>
                <a:lnTo>
                  <a:pt x="126283" y="463119"/>
                </a:lnTo>
                <a:lnTo>
                  <a:pt x="92006" y="487045"/>
                </a:lnTo>
                <a:lnTo>
                  <a:pt x="61642" y="517985"/>
                </a:lnTo>
                <a:lnTo>
                  <a:pt x="36225" y="555003"/>
                </a:lnTo>
                <a:lnTo>
                  <a:pt x="16789" y="597163"/>
                </a:lnTo>
                <a:lnTo>
                  <a:pt x="4369" y="643530"/>
                </a:lnTo>
                <a:lnTo>
                  <a:pt x="119" y="691804"/>
                </a:lnTo>
                <a:lnTo>
                  <a:pt x="0" y="3444748"/>
                </a:lnTo>
                <a:lnTo>
                  <a:pt x="131699" y="3447287"/>
                </a:lnTo>
                <a:lnTo>
                  <a:pt x="131699" y="693165"/>
                </a:lnTo>
                <a:lnTo>
                  <a:pt x="137858" y="648124"/>
                </a:lnTo>
                <a:lnTo>
                  <a:pt x="154019" y="610298"/>
                </a:lnTo>
                <a:lnTo>
                  <a:pt x="176704" y="582759"/>
                </a:lnTo>
                <a:lnTo>
                  <a:pt x="202437" y="568578"/>
                </a:lnTo>
                <a:lnTo>
                  <a:pt x="1204120" y="568578"/>
                </a:lnTo>
                <a:lnTo>
                  <a:pt x="1206220" y="553866"/>
                </a:lnTo>
                <a:lnTo>
                  <a:pt x="1208531" y="504951"/>
                </a:lnTo>
                <a:lnTo>
                  <a:pt x="1206220" y="456259"/>
                </a:lnTo>
                <a:lnTo>
                  <a:pt x="1199426" y="408890"/>
                </a:lnTo>
                <a:lnTo>
                  <a:pt x="1188361" y="363054"/>
                </a:lnTo>
                <a:lnTo>
                  <a:pt x="1173235" y="318961"/>
                </a:lnTo>
                <a:lnTo>
                  <a:pt x="1154260" y="276821"/>
                </a:lnTo>
                <a:lnTo>
                  <a:pt x="1131646" y="236845"/>
                </a:lnTo>
                <a:lnTo>
                  <a:pt x="1105604" y="199242"/>
                </a:lnTo>
                <a:lnTo>
                  <a:pt x="1076346" y="164223"/>
                </a:lnTo>
                <a:lnTo>
                  <a:pt x="1044082" y="131998"/>
                </a:lnTo>
                <a:lnTo>
                  <a:pt x="1009023" y="102777"/>
                </a:lnTo>
                <a:lnTo>
                  <a:pt x="971380" y="76771"/>
                </a:lnTo>
                <a:lnTo>
                  <a:pt x="931364" y="54188"/>
                </a:lnTo>
                <a:lnTo>
                  <a:pt x="889186" y="35241"/>
                </a:lnTo>
                <a:lnTo>
                  <a:pt x="845057" y="20138"/>
                </a:lnTo>
                <a:lnTo>
                  <a:pt x="799187" y="9090"/>
                </a:lnTo>
                <a:lnTo>
                  <a:pt x="751789" y="2307"/>
                </a:lnTo>
                <a:lnTo>
                  <a:pt x="703072" y="0"/>
                </a:lnTo>
                <a:close/>
              </a:path>
              <a:path w="1209039" h="3447415">
                <a:moveTo>
                  <a:pt x="1204120" y="568578"/>
                </a:moveTo>
                <a:lnTo>
                  <a:pt x="202437" y="568578"/>
                </a:lnTo>
                <a:lnTo>
                  <a:pt x="210153" y="614645"/>
                </a:lnTo>
                <a:lnTo>
                  <a:pt x="221970" y="659222"/>
                </a:lnTo>
                <a:lnTo>
                  <a:pt x="237683" y="702104"/>
                </a:lnTo>
                <a:lnTo>
                  <a:pt x="257087" y="743086"/>
                </a:lnTo>
                <a:lnTo>
                  <a:pt x="279977" y="781965"/>
                </a:lnTo>
                <a:lnTo>
                  <a:pt x="306147" y="818536"/>
                </a:lnTo>
                <a:lnTo>
                  <a:pt x="335392" y="852594"/>
                </a:lnTo>
                <a:lnTo>
                  <a:pt x="367506" y="883935"/>
                </a:lnTo>
                <a:lnTo>
                  <a:pt x="402284" y="912355"/>
                </a:lnTo>
                <a:lnTo>
                  <a:pt x="439521" y="937649"/>
                </a:lnTo>
                <a:lnTo>
                  <a:pt x="479011" y="959612"/>
                </a:lnTo>
                <a:lnTo>
                  <a:pt x="520549" y="978040"/>
                </a:lnTo>
                <a:lnTo>
                  <a:pt x="563929" y="992730"/>
                </a:lnTo>
                <a:lnTo>
                  <a:pt x="608947" y="1003475"/>
                </a:lnTo>
                <a:lnTo>
                  <a:pt x="655396" y="1010072"/>
                </a:lnTo>
                <a:lnTo>
                  <a:pt x="703072" y="1012316"/>
                </a:lnTo>
                <a:lnTo>
                  <a:pt x="751789" y="1009997"/>
                </a:lnTo>
                <a:lnTo>
                  <a:pt x="799187" y="1003180"/>
                </a:lnTo>
                <a:lnTo>
                  <a:pt x="845057" y="992077"/>
                </a:lnTo>
                <a:lnTo>
                  <a:pt x="889186" y="976899"/>
                </a:lnTo>
                <a:lnTo>
                  <a:pt x="931364" y="957857"/>
                </a:lnTo>
                <a:lnTo>
                  <a:pt x="971380" y="935163"/>
                </a:lnTo>
                <a:lnTo>
                  <a:pt x="1009023" y="909028"/>
                </a:lnTo>
                <a:lnTo>
                  <a:pt x="1044082" y="879664"/>
                </a:lnTo>
                <a:lnTo>
                  <a:pt x="1076346" y="847283"/>
                </a:lnTo>
                <a:lnTo>
                  <a:pt x="1105604" y="812094"/>
                </a:lnTo>
                <a:lnTo>
                  <a:pt x="1131646" y="774311"/>
                </a:lnTo>
                <a:lnTo>
                  <a:pt x="1154260" y="734144"/>
                </a:lnTo>
                <a:lnTo>
                  <a:pt x="1173235" y="691804"/>
                </a:lnTo>
                <a:lnTo>
                  <a:pt x="1188361" y="647504"/>
                </a:lnTo>
                <a:lnTo>
                  <a:pt x="1199426" y="601454"/>
                </a:lnTo>
                <a:lnTo>
                  <a:pt x="1204120" y="568578"/>
                </a:lnTo>
                <a:close/>
              </a:path>
            </a:pathLst>
          </a:custGeom>
          <a:solidFill>
            <a:srgbClr val="D22138"/>
          </a:solidFill>
        </p:spPr>
        <p:txBody>
          <a:bodyPr wrap="square" lIns="0" tIns="0" rIns="0" bIns="0" rtlCol="0"/>
          <a:lstStyle/>
          <a:p>
            <a:endParaRPr/>
          </a:p>
        </p:txBody>
      </p:sp>
      <p:sp>
        <p:nvSpPr>
          <p:cNvPr id="17" name="object 17"/>
          <p:cNvSpPr/>
          <p:nvPr/>
        </p:nvSpPr>
        <p:spPr>
          <a:xfrm>
            <a:off x="1008888" y="2951988"/>
            <a:ext cx="1207135" cy="2263140"/>
          </a:xfrm>
          <a:custGeom>
            <a:avLst/>
            <a:gdLst/>
            <a:ahLst/>
            <a:cxnLst/>
            <a:rect l="l" t="t" r="r" b="b"/>
            <a:pathLst>
              <a:path w="1207135" h="2263140">
                <a:moveTo>
                  <a:pt x="1175628" y="542416"/>
                </a:moveTo>
                <a:lnTo>
                  <a:pt x="1003554" y="542416"/>
                </a:lnTo>
                <a:lnTo>
                  <a:pt x="1028553" y="556216"/>
                </a:lnTo>
                <a:lnTo>
                  <a:pt x="1050861" y="582612"/>
                </a:lnTo>
                <a:lnTo>
                  <a:pt x="1066883" y="618819"/>
                </a:lnTo>
                <a:lnTo>
                  <a:pt x="1073023" y="662051"/>
                </a:lnTo>
                <a:lnTo>
                  <a:pt x="1074293" y="662051"/>
                </a:lnTo>
                <a:lnTo>
                  <a:pt x="1074293" y="2263140"/>
                </a:lnTo>
                <a:lnTo>
                  <a:pt x="1207008" y="2263140"/>
                </a:lnTo>
                <a:lnTo>
                  <a:pt x="1207008" y="638428"/>
                </a:lnTo>
                <a:lnTo>
                  <a:pt x="1204468" y="638428"/>
                </a:lnTo>
                <a:lnTo>
                  <a:pt x="1194978" y="589304"/>
                </a:lnTo>
                <a:lnTo>
                  <a:pt x="1176925" y="544443"/>
                </a:lnTo>
                <a:lnTo>
                  <a:pt x="1175628" y="542416"/>
                </a:lnTo>
                <a:close/>
              </a:path>
              <a:path w="1207135" h="2263140">
                <a:moveTo>
                  <a:pt x="503681" y="0"/>
                </a:moveTo>
                <a:lnTo>
                  <a:pt x="455022" y="2206"/>
                </a:lnTo>
                <a:lnTo>
                  <a:pt x="407704" y="8691"/>
                </a:lnTo>
                <a:lnTo>
                  <a:pt x="361934" y="19253"/>
                </a:lnTo>
                <a:lnTo>
                  <a:pt x="317921" y="33691"/>
                </a:lnTo>
                <a:lnTo>
                  <a:pt x="275872" y="51805"/>
                </a:lnTo>
                <a:lnTo>
                  <a:pt x="235994" y="73393"/>
                </a:lnTo>
                <a:lnTo>
                  <a:pt x="198495" y="98253"/>
                </a:lnTo>
                <a:lnTo>
                  <a:pt x="163582" y="126185"/>
                </a:lnTo>
                <a:lnTo>
                  <a:pt x="131464" y="156987"/>
                </a:lnTo>
                <a:lnTo>
                  <a:pt x="102347" y="190458"/>
                </a:lnTo>
                <a:lnTo>
                  <a:pt x="76438" y="226398"/>
                </a:lnTo>
                <a:lnTo>
                  <a:pt x="53947" y="264604"/>
                </a:lnTo>
                <a:lnTo>
                  <a:pt x="35079" y="304876"/>
                </a:lnTo>
                <a:lnTo>
                  <a:pt x="20043" y="347013"/>
                </a:lnTo>
                <a:lnTo>
                  <a:pt x="9046" y="390813"/>
                </a:lnTo>
                <a:lnTo>
                  <a:pt x="2296" y="436076"/>
                </a:lnTo>
                <a:lnTo>
                  <a:pt x="0" y="482600"/>
                </a:lnTo>
                <a:lnTo>
                  <a:pt x="2296" y="529135"/>
                </a:lnTo>
                <a:lnTo>
                  <a:pt x="9046" y="574429"/>
                </a:lnTo>
                <a:lnTo>
                  <a:pt x="20043" y="618280"/>
                </a:lnTo>
                <a:lnTo>
                  <a:pt x="35079" y="660483"/>
                </a:lnTo>
                <a:lnTo>
                  <a:pt x="53947" y="700833"/>
                </a:lnTo>
                <a:lnTo>
                  <a:pt x="76438" y="739128"/>
                </a:lnTo>
                <a:lnTo>
                  <a:pt x="102347" y="775163"/>
                </a:lnTo>
                <a:lnTo>
                  <a:pt x="131464" y="808733"/>
                </a:lnTo>
                <a:lnTo>
                  <a:pt x="163582" y="839636"/>
                </a:lnTo>
                <a:lnTo>
                  <a:pt x="198495" y="867667"/>
                </a:lnTo>
                <a:lnTo>
                  <a:pt x="235994" y="892623"/>
                </a:lnTo>
                <a:lnTo>
                  <a:pt x="275872" y="914298"/>
                </a:lnTo>
                <a:lnTo>
                  <a:pt x="317921" y="932490"/>
                </a:lnTo>
                <a:lnTo>
                  <a:pt x="361934" y="946995"/>
                </a:lnTo>
                <a:lnTo>
                  <a:pt x="407704" y="957608"/>
                </a:lnTo>
                <a:lnTo>
                  <a:pt x="455022" y="964125"/>
                </a:lnTo>
                <a:lnTo>
                  <a:pt x="503681" y="966343"/>
                </a:lnTo>
                <a:lnTo>
                  <a:pt x="554404" y="963905"/>
                </a:lnTo>
                <a:lnTo>
                  <a:pt x="603692" y="956750"/>
                </a:lnTo>
                <a:lnTo>
                  <a:pt x="651302" y="945114"/>
                </a:lnTo>
                <a:lnTo>
                  <a:pt x="696993" y="929236"/>
                </a:lnTo>
                <a:lnTo>
                  <a:pt x="740522" y="909352"/>
                </a:lnTo>
                <a:lnTo>
                  <a:pt x="781647" y="885701"/>
                </a:lnTo>
                <a:lnTo>
                  <a:pt x="820124" y="858518"/>
                </a:lnTo>
                <a:lnTo>
                  <a:pt x="855712" y="828041"/>
                </a:lnTo>
                <a:lnTo>
                  <a:pt x="888168" y="794508"/>
                </a:lnTo>
                <a:lnTo>
                  <a:pt x="917250" y="758157"/>
                </a:lnTo>
                <a:lnTo>
                  <a:pt x="942715" y="719223"/>
                </a:lnTo>
                <a:lnTo>
                  <a:pt x="964320" y="677945"/>
                </a:lnTo>
                <a:lnTo>
                  <a:pt x="981823" y="634559"/>
                </a:lnTo>
                <a:lnTo>
                  <a:pt x="994982" y="589304"/>
                </a:lnTo>
                <a:lnTo>
                  <a:pt x="1003554" y="542416"/>
                </a:lnTo>
                <a:lnTo>
                  <a:pt x="1175628" y="542416"/>
                </a:lnTo>
                <a:lnTo>
                  <a:pt x="1151523" y="504767"/>
                </a:lnTo>
                <a:lnTo>
                  <a:pt x="1120076" y="471421"/>
                </a:lnTo>
                <a:lnTo>
                  <a:pt x="1083866" y="445492"/>
                </a:lnTo>
                <a:lnTo>
                  <a:pt x="1044174" y="428070"/>
                </a:lnTo>
                <a:lnTo>
                  <a:pt x="1002284" y="420242"/>
                </a:lnTo>
                <a:lnTo>
                  <a:pt x="993491" y="373601"/>
                </a:lnTo>
                <a:lnTo>
                  <a:pt x="980174" y="328622"/>
                </a:lnTo>
                <a:lnTo>
                  <a:pt x="962572" y="285536"/>
                </a:lnTo>
                <a:lnTo>
                  <a:pt x="940922" y="244574"/>
                </a:lnTo>
                <a:lnTo>
                  <a:pt x="915463" y="205965"/>
                </a:lnTo>
                <a:lnTo>
                  <a:pt x="886431" y="169941"/>
                </a:lnTo>
                <a:lnTo>
                  <a:pt x="854066" y="136731"/>
                </a:lnTo>
                <a:lnTo>
                  <a:pt x="818605" y="106565"/>
                </a:lnTo>
                <a:lnTo>
                  <a:pt x="780285" y="79674"/>
                </a:lnTo>
                <a:lnTo>
                  <a:pt x="739346" y="56289"/>
                </a:lnTo>
                <a:lnTo>
                  <a:pt x="696026" y="36639"/>
                </a:lnTo>
                <a:lnTo>
                  <a:pt x="650561" y="20954"/>
                </a:lnTo>
                <a:lnTo>
                  <a:pt x="603190" y="9466"/>
                </a:lnTo>
                <a:lnTo>
                  <a:pt x="554151" y="2405"/>
                </a:lnTo>
                <a:lnTo>
                  <a:pt x="503681" y="0"/>
                </a:lnTo>
                <a:close/>
              </a:path>
            </a:pathLst>
          </a:custGeom>
          <a:solidFill>
            <a:srgbClr val="006FAC"/>
          </a:solidFill>
        </p:spPr>
        <p:txBody>
          <a:bodyPr wrap="square" lIns="0" tIns="0" rIns="0" bIns="0" rtlCol="0"/>
          <a:lstStyle/>
          <a:p>
            <a:endParaRPr/>
          </a:p>
        </p:txBody>
      </p:sp>
      <p:sp>
        <p:nvSpPr>
          <p:cNvPr id="18" name="object 18"/>
          <p:cNvSpPr txBox="1"/>
          <p:nvPr/>
        </p:nvSpPr>
        <p:spPr>
          <a:xfrm>
            <a:off x="4600447" y="2167255"/>
            <a:ext cx="595630" cy="239395"/>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3.500</a:t>
            </a:r>
            <a:endParaRPr sz="1400">
              <a:latin typeface="Verdana"/>
              <a:cs typeface="Verdana"/>
            </a:endParaRPr>
          </a:p>
        </p:txBody>
      </p:sp>
      <p:sp>
        <p:nvSpPr>
          <p:cNvPr id="19" name="object 19"/>
          <p:cNvSpPr txBox="1"/>
          <p:nvPr/>
        </p:nvSpPr>
        <p:spPr>
          <a:xfrm>
            <a:off x="1237894" y="3311093"/>
            <a:ext cx="595630" cy="240029"/>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1.550</a:t>
            </a:r>
            <a:endParaRPr sz="1400">
              <a:latin typeface="Verdana"/>
              <a:cs typeface="Verdana"/>
            </a:endParaRPr>
          </a:p>
        </p:txBody>
      </p:sp>
      <p:sp>
        <p:nvSpPr>
          <p:cNvPr id="20" name="object 20"/>
          <p:cNvSpPr txBox="1"/>
          <p:nvPr/>
        </p:nvSpPr>
        <p:spPr>
          <a:xfrm>
            <a:off x="1886457" y="5289296"/>
            <a:ext cx="8959215" cy="239395"/>
          </a:xfrm>
          <a:prstGeom prst="rect">
            <a:avLst/>
          </a:prstGeom>
        </p:spPr>
        <p:txBody>
          <a:bodyPr vert="horz" wrap="square" lIns="0" tIns="12700" rIns="0" bIns="0" rtlCol="0">
            <a:spAutoFit/>
          </a:bodyPr>
          <a:lstStyle/>
          <a:p>
            <a:pPr marL="12700">
              <a:lnSpc>
                <a:spcPct val="100000"/>
              </a:lnSpc>
              <a:spcBef>
                <a:spcPts val="100"/>
              </a:spcBef>
              <a:tabLst>
                <a:tab pos="2128520" algn="l"/>
                <a:tab pos="6323330" algn="l"/>
                <a:tab pos="8439785" algn="l"/>
              </a:tabLst>
            </a:pPr>
            <a:r>
              <a:rPr sz="1400" b="1" spc="-5">
                <a:solidFill>
                  <a:srgbClr val="006FAC"/>
                </a:solidFill>
                <a:latin typeface="Verdana"/>
                <a:cs typeface="Verdana"/>
              </a:rPr>
              <a:t>200</a:t>
            </a:r>
            <a:r>
              <a:rPr sz="1400" b="1">
                <a:solidFill>
                  <a:srgbClr val="006FAC"/>
                </a:solidFill>
                <a:latin typeface="Verdana"/>
                <a:cs typeface="Verdana"/>
              </a:rPr>
              <a:t>8	</a:t>
            </a:r>
            <a:r>
              <a:rPr sz="1400" b="1" spc="-5">
                <a:solidFill>
                  <a:srgbClr val="D22138"/>
                </a:solidFill>
                <a:latin typeface="Verdana"/>
                <a:cs typeface="Verdana"/>
              </a:rPr>
              <a:t>201</a:t>
            </a:r>
            <a:r>
              <a:rPr sz="1400" b="1">
                <a:solidFill>
                  <a:srgbClr val="D22138"/>
                </a:solidFill>
                <a:latin typeface="Verdana"/>
                <a:cs typeface="Verdana"/>
              </a:rPr>
              <a:t>8	</a:t>
            </a:r>
            <a:r>
              <a:rPr sz="1400" b="1" spc="-5">
                <a:solidFill>
                  <a:srgbClr val="006FAC"/>
                </a:solidFill>
                <a:latin typeface="Verdana"/>
                <a:cs typeface="Verdana"/>
              </a:rPr>
              <a:t>200</a:t>
            </a:r>
            <a:r>
              <a:rPr sz="1400" b="1">
                <a:solidFill>
                  <a:srgbClr val="006FAC"/>
                </a:solidFill>
                <a:latin typeface="Verdana"/>
                <a:cs typeface="Verdana"/>
              </a:rPr>
              <a:t>8	</a:t>
            </a:r>
            <a:r>
              <a:rPr sz="1400" b="1" spc="-5">
                <a:solidFill>
                  <a:srgbClr val="D22138"/>
                </a:solidFill>
                <a:latin typeface="Verdana"/>
                <a:cs typeface="Verdana"/>
              </a:rPr>
              <a:t>2018</a:t>
            </a:r>
            <a:endParaRPr sz="1400">
              <a:latin typeface="Verdana"/>
              <a:cs typeface="Verdana"/>
            </a:endParaRPr>
          </a:p>
        </p:txBody>
      </p:sp>
      <p:sp>
        <p:nvSpPr>
          <p:cNvPr id="21" name="object 21"/>
          <p:cNvSpPr/>
          <p:nvPr/>
        </p:nvSpPr>
        <p:spPr>
          <a:xfrm>
            <a:off x="8607552" y="3400044"/>
            <a:ext cx="132715" cy="1815464"/>
          </a:xfrm>
          <a:custGeom>
            <a:avLst/>
            <a:gdLst/>
            <a:ahLst/>
            <a:cxnLst/>
            <a:rect l="l" t="t" r="r" b="b"/>
            <a:pathLst>
              <a:path w="132715" h="1815464">
                <a:moveTo>
                  <a:pt x="0" y="1815083"/>
                </a:moveTo>
                <a:lnTo>
                  <a:pt x="132588" y="1815083"/>
                </a:lnTo>
                <a:lnTo>
                  <a:pt x="132588" y="0"/>
                </a:lnTo>
                <a:lnTo>
                  <a:pt x="0" y="0"/>
                </a:lnTo>
                <a:lnTo>
                  <a:pt x="0" y="1815083"/>
                </a:lnTo>
                <a:close/>
              </a:path>
            </a:pathLst>
          </a:custGeom>
          <a:solidFill>
            <a:srgbClr val="006FAC"/>
          </a:solidFill>
        </p:spPr>
        <p:txBody>
          <a:bodyPr wrap="square" lIns="0" tIns="0" rIns="0" bIns="0" rtlCol="0"/>
          <a:lstStyle/>
          <a:p>
            <a:endParaRPr/>
          </a:p>
        </p:txBody>
      </p:sp>
      <p:sp>
        <p:nvSpPr>
          <p:cNvPr id="22" name="object 22"/>
          <p:cNvSpPr/>
          <p:nvPr/>
        </p:nvSpPr>
        <p:spPr>
          <a:xfrm>
            <a:off x="8845295" y="3317747"/>
            <a:ext cx="132715" cy="1899285"/>
          </a:xfrm>
          <a:custGeom>
            <a:avLst/>
            <a:gdLst/>
            <a:ahLst/>
            <a:cxnLst/>
            <a:rect l="l" t="t" r="r" b="b"/>
            <a:pathLst>
              <a:path w="132715" h="1899285">
                <a:moveTo>
                  <a:pt x="0" y="1898903"/>
                </a:moveTo>
                <a:lnTo>
                  <a:pt x="132587" y="1898903"/>
                </a:lnTo>
                <a:lnTo>
                  <a:pt x="132587" y="0"/>
                </a:lnTo>
                <a:lnTo>
                  <a:pt x="0" y="0"/>
                </a:lnTo>
                <a:lnTo>
                  <a:pt x="0" y="1898903"/>
                </a:lnTo>
                <a:close/>
              </a:path>
            </a:pathLst>
          </a:custGeom>
          <a:solidFill>
            <a:srgbClr val="006FAC"/>
          </a:solidFill>
        </p:spPr>
        <p:txBody>
          <a:bodyPr wrap="square" lIns="0" tIns="0" rIns="0" bIns="0" rtlCol="0"/>
          <a:lstStyle/>
          <a:p>
            <a:endParaRPr/>
          </a:p>
        </p:txBody>
      </p:sp>
      <p:sp>
        <p:nvSpPr>
          <p:cNvPr id="23" name="object 23"/>
          <p:cNvSpPr/>
          <p:nvPr/>
        </p:nvSpPr>
        <p:spPr>
          <a:xfrm>
            <a:off x="9076943" y="3078479"/>
            <a:ext cx="132715" cy="2131060"/>
          </a:xfrm>
          <a:custGeom>
            <a:avLst/>
            <a:gdLst/>
            <a:ahLst/>
            <a:cxnLst/>
            <a:rect l="l" t="t" r="r" b="b"/>
            <a:pathLst>
              <a:path w="132715" h="2131060">
                <a:moveTo>
                  <a:pt x="0" y="2130552"/>
                </a:moveTo>
                <a:lnTo>
                  <a:pt x="132587" y="2130552"/>
                </a:lnTo>
                <a:lnTo>
                  <a:pt x="132587" y="0"/>
                </a:lnTo>
                <a:lnTo>
                  <a:pt x="0" y="0"/>
                </a:lnTo>
                <a:lnTo>
                  <a:pt x="0" y="2130552"/>
                </a:lnTo>
                <a:close/>
              </a:path>
            </a:pathLst>
          </a:custGeom>
          <a:solidFill>
            <a:srgbClr val="006FAC"/>
          </a:solidFill>
        </p:spPr>
        <p:txBody>
          <a:bodyPr wrap="square" lIns="0" tIns="0" rIns="0" bIns="0" rtlCol="0"/>
          <a:lstStyle/>
          <a:p>
            <a:endParaRPr/>
          </a:p>
        </p:txBody>
      </p:sp>
      <p:sp>
        <p:nvSpPr>
          <p:cNvPr id="24" name="object 24"/>
          <p:cNvSpPr/>
          <p:nvPr/>
        </p:nvSpPr>
        <p:spPr>
          <a:xfrm>
            <a:off x="9308592" y="3023616"/>
            <a:ext cx="134620" cy="2186940"/>
          </a:xfrm>
          <a:custGeom>
            <a:avLst/>
            <a:gdLst/>
            <a:ahLst/>
            <a:cxnLst/>
            <a:rect l="l" t="t" r="r" b="b"/>
            <a:pathLst>
              <a:path w="134620" h="2186940">
                <a:moveTo>
                  <a:pt x="0" y="2186940"/>
                </a:moveTo>
                <a:lnTo>
                  <a:pt x="134111" y="2186940"/>
                </a:lnTo>
                <a:lnTo>
                  <a:pt x="134111" y="0"/>
                </a:lnTo>
                <a:lnTo>
                  <a:pt x="0" y="0"/>
                </a:lnTo>
                <a:lnTo>
                  <a:pt x="0" y="2186940"/>
                </a:lnTo>
                <a:close/>
              </a:path>
            </a:pathLst>
          </a:custGeom>
          <a:solidFill>
            <a:srgbClr val="006FAC"/>
          </a:solidFill>
        </p:spPr>
        <p:txBody>
          <a:bodyPr wrap="square" lIns="0" tIns="0" rIns="0" bIns="0" rtlCol="0"/>
          <a:lstStyle/>
          <a:p>
            <a:endParaRPr/>
          </a:p>
        </p:txBody>
      </p:sp>
      <p:sp>
        <p:nvSpPr>
          <p:cNvPr id="25" name="object 25"/>
          <p:cNvSpPr/>
          <p:nvPr/>
        </p:nvSpPr>
        <p:spPr>
          <a:xfrm>
            <a:off x="9541764" y="2977895"/>
            <a:ext cx="131445" cy="2232660"/>
          </a:xfrm>
          <a:custGeom>
            <a:avLst/>
            <a:gdLst/>
            <a:ahLst/>
            <a:cxnLst/>
            <a:rect l="l" t="t" r="r" b="b"/>
            <a:pathLst>
              <a:path w="131445" h="2232660">
                <a:moveTo>
                  <a:pt x="0" y="2232660"/>
                </a:moveTo>
                <a:lnTo>
                  <a:pt x="131063" y="2232660"/>
                </a:lnTo>
                <a:lnTo>
                  <a:pt x="131063" y="0"/>
                </a:lnTo>
                <a:lnTo>
                  <a:pt x="0" y="0"/>
                </a:lnTo>
                <a:lnTo>
                  <a:pt x="0" y="2232660"/>
                </a:lnTo>
                <a:close/>
              </a:path>
            </a:pathLst>
          </a:custGeom>
          <a:solidFill>
            <a:srgbClr val="006FAC"/>
          </a:solidFill>
        </p:spPr>
        <p:txBody>
          <a:bodyPr wrap="square" lIns="0" tIns="0" rIns="0" bIns="0" rtlCol="0"/>
          <a:lstStyle/>
          <a:p>
            <a:endParaRPr/>
          </a:p>
        </p:txBody>
      </p:sp>
      <p:sp>
        <p:nvSpPr>
          <p:cNvPr id="26" name="object 26"/>
          <p:cNvSpPr/>
          <p:nvPr/>
        </p:nvSpPr>
        <p:spPr>
          <a:xfrm>
            <a:off x="9771888" y="2822448"/>
            <a:ext cx="132715" cy="2388235"/>
          </a:xfrm>
          <a:custGeom>
            <a:avLst/>
            <a:gdLst/>
            <a:ahLst/>
            <a:cxnLst/>
            <a:rect l="l" t="t" r="r" b="b"/>
            <a:pathLst>
              <a:path w="132715" h="2388235">
                <a:moveTo>
                  <a:pt x="0" y="2388108"/>
                </a:moveTo>
                <a:lnTo>
                  <a:pt x="132587" y="2388108"/>
                </a:lnTo>
                <a:lnTo>
                  <a:pt x="132587" y="0"/>
                </a:lnTo>
                <a:lnTo>
                  <a:pt x="0" y="0"/>
                </a:lnTo>
                <a:lnTo>
                  <a:pt x="0" y="2388108"/>
                </a:lnTo>
                <a:close/>
              </a:path>
            </a:pathLst>
          </a:custGeom>
          <a:solidFill>
            <a:srgbClr val="006FAC"/>
          </a:solidFill>
        </p:spPr>
        <p:txBody>
          <a:bodyPr wrap="square" lIns="0" tIns="0" rIns="0" bIns="0" rtlCol="0"/>
          <a:lstStyle/>
          <a:p>
            <a:endParaRPr/>
          </a:p>
        </p:txBody>
      </p:sp>
      <p:sp>
        <p:nvSpPr>
          <p:cNvPr id="27" name="object 27"/>
          <p:cNvSpPr/>
          <p:nvPr/>
        </p:nvSpPr>
        <p:spPr>
          <a:xfrm>
            <a:off x="10003535" y="2727960"/>
            <a:ext cx="132715" cy="2482850"/>
          </a:xfrm>
          <a:custGeom>
            <a:avLst/>
            <a:gdLst/>
            <a:ahLst/>
            <a:cxnLst/>
            <a:rect l="l" t="t" r="r" b="b"/>
            <a:pathLst>
              <a:path w="132715" h="2482850">
                <a:moveTo>
                  <a:pt x="0" y="2482596"/>
                </a:moveTo>
                <a:lnTo>
                  <a:pt x="132588" y="2482596"/>
                </a:lnTo>
                <a:lnTo>
                  <a:pt x="132588" y="0"/>
                </a:lnTo>
                <a:lnTo>
                  <a:pt x="0" y="0"/>
                </a:lnTo>
                <a:lnTo>
                  <a:pt x="0" y="2482596"/>
                </a:lnTo>
                <a:close/>
              </a:path>
            </a:pathLst>
          </a:custGeom>
          <a:solidFill>
            <a:srgbClr val="006FAC"/>
          </a:solidFill>
        </p:spPr>
        <p:txBody>
          <a:bodyPr wrap="square" lIns="0" tIns="0" rIns="0" bIns="0" rtlCol="0"/>
          <a:lstStyle/>
          <a:p>
            <a:endParaRPr/>
          </a:p>
        </p:txBody>
      </p:sp>
      <p:sp>
        <p:nvSpPr>
          <p:cNvPr id="28" name="object 28"/>
          <p:cNvSpPr/>
          <p:nvPr/>
        </p:nvSpPr>
        <p:spPr>
          <a:xfrm>
            <a:off x="10236707" y="2677667"/>
            <a:ext cx="132715" cy="2533015"/>
          </a:xfrm>
          <a:custGeom>
            <a:avLst/>
            <a:gdLst/>
            <a:ahLst/>
            <a:cxnLst/>
            <a:rect l="l" t="t" r="r" b="b"/>
            <a:pathLst>
              <a:path w="132715" h="2533015">
                <a:moveTo>
                  <a:pt x="0" y="2532888"/>
                </a:moveTo>
                <a:lnTo>
                  <a:pt x="132588" y="2532888"/>
                </a:lnTo>
                <a:lnTo>
                  <a:pt x="132588" y="0"/>
                </a:lnTo>
                <a:lnTo>
                  <a:pt x="0" y="0"/>
                </a:lnTo>
                <a:lnTo>
                  <a:pt x="0" y="2532888"/>
                </a:lnTo>
                <a:close/>
              </a:path>
            </a:pathLst>
          </a:custGeom>
          <a:solidFill>
            <a:srgbClr val="006FAC"/>
          </a:solidFill>
        </p:spPr>
        <p:txBody>
          <a:bodyPr wrap="square" lIns="0" tIns="0" rIns="0" bIns="0" rtlCol="0"/>
          <a:lstStyle/>
          <a:p>
            <a:endParaRPr/>
          </a:p>
        </p:txBody>
      </p:sp>
      <p:sp>
        <p:nvSpPr>
          <p:cNvPr id="29" name="object 29"/>
          <p:cNvSpPr/>
          <p:nvPr/>
        </p:nvSpPr>
        <p:spPr>
          <a:xfrm>
            <a:off x="10468356" y="1761744"/>
            <a:ext cx="1207135" cy="3447415"/>
          </a:xfrm>
          <a:custGeom>
            <a:avLst/>
            <a:gdLst/>
            <a:ahLst/>
            <a:cxnLst/>
            <a:rect l="l" t="t" r="r" b="b"/>
            <a:pathLst>
              <a:path w="1207134" h="3447415">
                <a:moveTo>
                  <a:pt x="702183" y="0"/>
                </a:moveTo>
                <a:lnTo>
                  <a:pt x="654792" y="2203"/>
                </a:lnTo>
                <a:lnTo>
                  <a:pt x="608621" y="8683"/>
                </a:lnTo>
                <a:lnTo>
                  <a:pt x="563871" y="19247"/>
                </a:lnTo>
                <a:lnTo>
                  <a:pt x="520741" y="33700"/>
                </a:lnTo>
                <a:lnTo>
                  <a:pt x="479430" y="51850"/>
                </a:lnTo>
                <a:lnTo>
                  <a:pt x="440139" y="73502"/>
                </a:lnTo>
                <a:lnTo>
                  <a:pt x="403065" y="98463"/>
                </a:lnTo>
                <a:lnTo>
                  <a:pt x="368411" y="126539"/>
                </a:lnTo>
                <a:lnTo>
                  <a:pt x="336374" y="157537"/>
                </a:lnTo>
                <a:lnTo>
                  <a:pt x="307154" y="191262"/>
                </a:lnTo>
                <a:lnTo>
                  <a:pt x="280952" y="227522"/>
                </a:lnTo>
                <a:lnTo>
                  <a:pt x="257966" y="266122"/>
                </a:lnTo>
                <a:lnTo>
                  <a:pt x="238397" y="306869"/>
                </a:lnTo>
                <a:lnTo>
                  <a:pt x="222444" y="349569"/>
                </a:lnTo>
                <a:lnTo>
                  <a:pt x="210306" y="394029"/>
                </a:lnTo>
                <a:lnTo>
                  <a:pt x="202184" y="440054"/>
                </a:lnTo>
                <a:lnTo>
                  <a:pt x="163232" y="447143"/>
                </a:lnTo>
                <a:lnTo>
                  <a:pt x="126122" y="463119"/>
                </a:lnTo>
                <a:lnTo>
                  <a:pt x="91888" y="487045"/>
                </a:lnTo>
                <a:lnTo>
                  <a:pt x="61563" y="517985"/>
                </a:lnTo>
                <a:lnTo>
                  <a:pt x="36178" y="555003"/>
                </a:lnTo>
                <a:lnTo>
                  <a:pt x="16767" y="597163"/>
                </a:lnTo>
                <a:lnTo>
                  <a:pt x="4364" y="643530"/>
                </a:lnTo>
                <a:lnTo>
                  <a:pt x="119" y="691804"/>
                </a:lnTo>
                <a:lnTo>
                  <a:pt x="0" y="3444748"/>
                </a:lnTo>
                <a:lnTo>
                  <a:pt x="131445" y="3447287"/>
                </a:lnTo>
                <a:lnTo>
                  <a:pt x="131445" y="693165"/>
                </a:lnTo>
                <a:lnTo>
                  <a:pt x="137622" y="648124"/>
                </a:lnTo>
                <a:lnTo>
                  <a:pt x="153812" y="610298"/>
                </a:lnTo>
                <a:lnTo>
                  <a:pt x="176504" y="582759"/>
                </a:lnTo>
                <a:lnTo>
                  <a:pt x="202184" y="568578"/>
                </a:lnTo>
                <a:lnTo>
                  <a:pt x="1202601" y="568578"/>
                </a:lnTo>
                <a:lnTo>
                  <a:pt x="1204699" y="553866"/>
                </a:lnTo>
                <a:lnTo>
                  <a:pt x="1207008" y="504951"/>
                </a:lnTo>
                <a:lnTo>
                  <a:pt x="1204699" y="456259"/>
                </a:lnTo>
                <a:lnTo>
                  <a:pt x="1197913" y="408890"/>
                </a:lnTo>
                <a:lnTo>
                  <a:pt x="1186860" y="363054"/>
                </a:lnTo>
                <a:lnTo>
                  <a:pt x="1171752" y="318961"/>
                </a:lnTo>
                <a:lnTo>
                  <a:pt x="1152799" y="276821"/>
                </a:lnTo>
                <a:lnTo>
                  <a:pt x="1130211" y="236845"/>
                </a:lnTo>
                <a:lnTo>
                  <a:pt x="1104201" y="199242"/>
                </a:lnTo>
                <a:lnTo>
                  <a:pt x="1074978" y="164223"/>
                </a:lnTo>
                <a:lnTo>
                  <a:pt x="1042753" y="131998"/>
                </a:lnTo>
                <a:lnTo>
                  <a:pt x="1007737" y="102777"/>
                </a:lnTo>
                <a:lnTo>
                  <a:pt x="970141" y="76771"/>
                </a:lnTo>
                <a:lnTo>
                  <a:pt x="930175" y="54188"/>
                </a:lnTo>
                <a:lnTo>
                  <a:pt x="888051" y="35241"/>
                </a:lnTo>
                <a:lnTo>
                  <a:pt x="843978" y="20138"/>
                </a:lnTo>
                <a:lnTo>
                  <a:pt x="798169" y="9090"/>
                </a:lnTo>
                <a:lnTo>
                  <a:pt x="750834" y="2307"/>
                </a:lnTo>
                <a:lnTo>
                  <a:pt x="702183" y="0"/>
                </a:lnTo>
                <a:close/>
              </a:path>
              <a:path w="1207134" h="3447415">
                <a:moveTo>
                  <a:pt x="1202601" y="568578"/>
                </a:moveTo>
                <a:lnTo>
                  <a:pt x="202184" y="568578"/>
                </a:lnTo>
                <a:lnTo>
                  <a:pt x="209896" y="614645"/>
                </a:lnTo>
                <a:lnTo>
                  <a:pt x="221704" y="659222"/>
                </a:lnTo>
                <a:lnTo>
                  <a:pt x="237403" y="702104"/>
                </a:lnTo>
                <a:lnTo>
                  <a:pt x="256788" y="743086"/>
                </a:lnTo>
                <a:lnTo>
                  <a:pt x="279652" y="781965"/>
                </a:lnTo>
                <a:lnTo>
                  <a:pt x="305792" y="818536"/>
                </a:lnTo>
                <a:lnTo>
                  <a:pt x="335002" y="852594"/>
                </a:lnTo>
                <a:lnTo>
                  <a:pt x="367077" y="883935"/>
                </a:lnTo>
                <a:lnTo>
                  <a:pt x="401811" y="912355"/>
                </a:lnTo>
                <a:lnTo>
                  <a:pt x="439000" y="937649"/>
                </a:lnTo>
                <a:lnTo>
                  <a:pt x="478438" y="959612"/>
                </a:lnTo>
                <a:lnTo>
                  <a:pt x="519920" y="978040"/>
                </a:lnTo>
                <a:lnTo>
                  <a:pt x="563240" y="992730"/>
                </a:lnTo>
                <a:lnTo>
                  <a:pt x="608194" y="1003475"/>
                </a:lnTo>
                <a:lnTo>
                  <a:pt x="654577" y="1010072"/>
                </a:lnTo>
                <a:lnTo>
                  <a:pt x="702183" y="1012316"/>
                </a:lnTo>
                <a:lnTo>
                  <a:pt x="750834" y="1009997"/>
                </a:lnTo>
                <a:lnTo>
                  <a:pt x="798169" y="1003180"/>
                </a:lnTo>
                <a:lnTo>
                  <a:pt x="843978" y="992077"/>
                </a:lnTo>
                <a:lnTo>
                  <a:pt x="888051" y="976899"/>
                </a:lnTo>
                <a:lnTo>
                  <a:pt x="930175" y="957857"/>
                </a:lnTo>
                <a:lnTo>
                  <a:pt x="970141" y="935163"/>
                </a:lnTo>
                <a:lnTo>
                  <a:pt x="1007737" y="909028"/>
                </a:lnTo>
                <a:lnTo>
                  <a:pt x="1042753" y="879664"/>
                </a:lnTo>
                <a:lnTo>
                  <a:pt x="1074978" y="847283"/>
                </a:lnTo>
                <a:lnTo>
                  <a:pt x="1104201" y="812094"/>
                </a:lnTo>
                <a:lnTo>
                  <a:pt x="1130211" y="774311"/>
                </a:lnTo>
                <a:lnTo>
                  <a:pt x="1152799" y="734144"/>
                </a:lnTo>
                <a:lnTo>
                  <a:pt x="1171752" y="691804"/>
                </a:lnTo>
                <a:lnTo>
                  <a:pt x="1186860" y="647504"/>
                </a:lnTo>
                <a:lnTo>
                  <a:pt x="1197913" y="601454"/>
                </a:lnTo>
                <a:lnTo>
                  <a:pt x="1202601" y="568578"/>
                </a:lnTo>
                <a:close/>
              </a:path>
            </a:pathLst>
          </a:custGeom>
          <a:solidFill>
            <a:srgbClr val="D22138"/>
          </a:solidFill>
        </p:spPr>
        <p:txBody>
          <a:bodyPr wrap="square" lIns="0" tIns="0" rIns="0" bIns="0" rtlCol="0"/>
          <a:lstStyle/>
          <a:p>
            <a:endParaRPr/>
          </a:p>
        </p:txBody>
      </p:sp>
      <p:sp>
        <p:nvSpPr>
          <p:cNvPr id="30" name="object 30"/>
          <p:cNvSpPr/>
          <p:nvPr/>
        </p:nvSpPr>
        <p:spPr>
          <a:xfrm>
            <a:off x="7301483" y="2951988"/>
            <a:ext cx="1207135" cy="2263140"/>
          </a:xfrm>
          <a:custGeom>
            <a:avLst/>
            <a:gdLst/>
            <a:ahLst/>
            <a:cxnLst/>
            <a:rect l="l" t="t" r="r" b="b"/>
            <a:pathLst>
              <a:path w="1207134" h="2263140">
                <a:moveTo>
                  <a:pt x="1175628" y="542416"/>
                </a:moveTo>
                <a:lnTo>
                  <a:pt x="1003554" y="542416"/>
                </a:lnTo>
                <a:lnTo>
                  <a:pt x="1028553" y="556216"/>
                </a:lnTo>
                <a:lnTo>
                  <a:pt x="1050861" y="582612"/>
                </a:lnTo>
                <a:lnTo>
                  <a:pt x="1066883" y="618819"/>
                </a:lnTo>
                <a:lnTo>
                  <a:pt x="1073023" y="662051"/>
                </a:lnTo>
                <a:lnTo>
                  <a:pt x="1074293" y="662051"/>
                </a:lnTo>
                <a:lnTo>
                  <a:pt x="1074293" y="2263140"/>
                </a:lnTo>
                <a:lnTo>
                  <a:pt x="1207008" y="2263140"/>
                </a:lnTo>
                <a:lnTo>
                  <a:pt x="1207008" y="638428"/>
                </a:lnTo>
                <a:lnTo>
                  <a:pt x="1204468" y="638428"/>
                </a:lnTo>
                <a:lnTo>
                  <a:pt x="1194978" y="589304"/>
                </a:lnTo>
                <a:lnTo>
                  <a:pt x="1176925" y="544443"/>
                </a:lnTo>
                <a:lnTo>
                  <a:pt x="1175628" y="542416"/>
                </a:lnTo>
                <a:close/>
              </a:path>
              <a:path w="1207134" h="2263140">
                <a:moveTo>
                  <a:pt x="503682" y="0"/>
                </a:moveTo>
                <a:lnTo>
                  <a:pt x="455022" y="2206"/>
                </a:lnTo>
                <a:lnTo>
                  <a:pt x="407704" y="8691"/>
                </a:lnTo>
                <a:lnTo>
                  <a:pt x="361934" y="19253"/>
                </a:lnTo>
                <a:lnTo>
                  <a:pt x="317921" y="33691"/>
                </a:lnTo>
                <a:lnTo>
                  <a:pt x="275872" y="51805"/>
                </a:lnTo>
                <a:lnTo>
                  <a:pt x="235994" y="73393"/>
                </a:lnTo>
                <a:lnTo>
                  <a:pt x="198495" y="98253"/>
                </a:lnTo>
                <a:lnTo>
                  <a:pt x="163582" y="126185"/>
                </a:lnTo>
                <a:lnTo>
                  <a:pt x="131464" y="156987"/>
                </a:lnTo>
                <a:lnTo>
                  <a:pt x="102347" y="190458"/>
                </a:lnTo>
                <a:lnTo>
                  <a:pt x="76438" y="226398"/>
                </a:lnTo>
                <a:lnTo>
                  <a:pt x="53947" y="264604"/>
                </a:lnTo>
                <a:lnTo>
                  <a:pt x="35079" y="304876"/>
                </a:lnTo>
                <a:lnTo>
                  <a:pt x="20043" y="347013"/>
                </a:lnTo>
                <a:lnTo>
                  <a:pt x="9046" y="390813"/>
                </a:lnTo>
                <a:lnTo>
                  <a:pt x="2296" y="436076"/>
                </a:lnTo>
                <a:lnTo>
                  <a:pt x="0" y="482600"/>
                </a:lnTo>
                <a:lnTo>
                  <a:pt x="2296" y="529135"/>
                </a:lnTo>
                <a:lnTo>
                  <a:pt x="9046" y="574429"/>
                </a:lnTo>
                <a:lnTo>
                  <a:pt x="20043" y="618280"/>
                </a:lnTo>
                <a:lnTo>
                  <a:pt x="35079" y="660483"/>
                </a:lnTo>
                <a:lnTo>
                  <a:pt x="53947" y="700833"/>
                </a:lnTo>
                <a:lnTo>
                  <a:pt x="76438" y="739128"/>
                </a:lnTo>
                <a:lnTo>
                  <a:pt x="102347" y="775163"/>
                </a:lnTo>
                <a:lnTo>
                  <a:pt x="131464" y="808733"/>
                </a:lnTo>
                <a:lnTo>
                  <a:pt x="163582" y="839636"/>
                </a:lnTo>
                <a:lnTo>
                  <a:pt x="198495" y="867667"/>
                </a:lnTo>
                <a:lnTo>
                  <a:pt x="235994" y="892623"/>
                </a:lnTo>
                <a:lnTo>
                  <a:pt x="275872" y="914298"/>
                </a:lnTo>
                <a:lnTo>
                  <a:pt x="317921" y="932490"/>
                </a:lnTo>
                <a:lnTo>
                  <a:pt x="361934" y="946995"/>
                </a:lnTo>
                <a:lnTo>
                  <a:pt x="407704" y="957608"/>
                </a:lnTo>
                <a:lnTo>
                  <a:pt x="455022" y="964125"/>
                </a:lnTo>
                <a:lnTo>
                  <a:pt x="503682" y="966343"/>
                </a:lnTo>
                <a:lnTo>
                  <a:pt x="554404" y="963905"/>
                </a:lnTo>
                <a:lnTo>
                  <a:pt x="603692" y="956750"/>
                </a:lnTo>
                <a:lnTo>
                  <a:pt x="651302" y="945114"/>
                </a:lnTo>
                <a:lnTo>
                  <a:pt x="696993" y="929236"/>
                </a:lnTo>
                <a:lnTo>
                  <a:pt x="740522" y="909352"/>
                </a:lnTo>
                <a:lnTo>
                  <a:pt x="781647" y="885701"/>
                </a:lnTo>
                <a:lnTo>
                  <a:pt x="820124" y="858518"/>
                </a:lnTo>
                <a:lnTo>
                  <a:pt x="855712" y="828041"/>
                </a:lnTo>
                <a:lnTo>
                  <a:pt x="888168" y="794508"/>
                </a:lnTo>
                <a:lnTo>
                  <a:pt x="917250" y="758157"/>
                </a:lnTo>
                <a:lnTo>
                  <a:pt x="942715" y="719223"/>
                </a:lnTo>
                <a:lnTo>
                  <a:pt x="964320" y="677945"/>
                </a:lnTo>
                <a:lnTo>
                  <a:pt x="981823" y="634559"/>
                </a:lnTo>
                <a:lnTo>
                  <a:pt x="994982" y="589304"/>
                </a:lnTo>
                <a:lnTo>
                  <a:pt x="1003554" y="542416"/>
                </a:lnTo>
                <a:lnTo>
                  <a:pt x="1175628" y="542416"/>
                </a:lnTo>
                <a:lnTo>
                  <a:pt x="1151523" y="504767"/>
                </a:lnTo>
                <a:lnTo>
                  <a:pt x="1120076" y="471421"/>
                </a:lnTo>
                <a:lnTo>
                  <a:pt x="1083866" y="445492"/>
                </a:lnTo>
                <a:lnTo>
                  <a:pt x="1044174" y="428070"/>
                </a:lnTo>
                <a:lnTo>
                  <a:pt x="1002284" y="420242"/>
                </a:lnTo>
                <a:lnTo>
                  <a:pt x="993491" y="373601"/>
                </a:lnTo>
                <a:lnTo>
                  <a:pt x="980174" y="328622"/>
                </a:lnTo>
                <a:lnTo>
                  <a:pt x="962572" y="285536"/>
                </a:lnTo>
                <a:lnTo>
                  <a:pt x="940922" y="244574"/>
                </a:lnTo>
                <a:lnTo>
                  <a:pt x="915463" y="205965"/>
                </a:lnTo>
                <a:lnTo>
                  <a:pt x="886431" y="169941"/>
                </a:lnTo>
                <a:lnTo>
                  <a:pt x="854066" y="136731"/>
                </a:lnTo>
                <a:lnTo>
                  <a:pt x="818605" y="106565"/>
                </a:lnTo>
                <a:lnTo>
                  <a:pt x="780285" y="79674"/>
                </a:lnTo>
                <a:lnTo>
                  <a:pt x="739346" y="56289"/>
                </a:lnTo>
                <a:lnTo>
                  <a:pt x="696026" y="36639"/>
                </a:lnTo>
                <a:lnTo>
                  <a:pt x="650561" y="20954"/>
                </a:lnTo>
                <a:lnTo>
                  <a:pt x="603190" y="9466"/>
                </a:lnTo>
                <a:lnTo>
                  <a:pt x="554151" y="2405"/>
                </a:lnTo>
                <a:lnTo>
                  <a:pt x="503682" y="0"/>
                </a:lnTo>
                <a:close/>
              </a:path>
            </a:pathLst>
          </a:custGeom>
          <a:solidFill>
            <a:srgbClr val="006FAC"/>
          </a:solidFill>
        </p:spPr>
        <p:txBody>
          <a:bodyPr wrap="square" lIns="0" tIns="0" rIns="0" bIns="0" rtlCol="0"/>
          <a:lstStyle/>
          <a:p>
            <a:endParaRPr/>
          </a:p>
        </p:txBody>
      </p:sp>
      <p:sp>
        <p:nvSpPr>
          <p:cNvPr id="31" name="object 31"/>
          <p:cNvSpPr txBox="1"/>
          <p:nvPr/>
        </p:nvSpPr>
        <p:spPr>
          <a:xfrm>
            <a:off x="10960734" y="2144013"/>
            <a:ext cx="405130" cy="239395"/>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344</a:t>
            </a:r>
            <a:endParaRPr sz="1400">
              <a:latin typeface="Verdana"/>
              <a:cs typeface="Verdana"/>
            </a:endParaRPr>
          </a:p>
        </p:txBody>
      </p:sp>
      <p:sp>
        <p:nvSpPr>
          <p:cNvPr id="32" name="object 32"/>
          <p:cNvSpPr txBox="1"/>
          <p:nvPr/>
        </p:nvSpPr>
        <p:spPr>
          <a:xfrm>
            <a:off x="7592059" y="3311093"/>
            <a:ext cx="405130" cy="240029"/>
          </a:xfrm>
          <a:prstGeom prst="rect">
            <a:avLst/>
          </a:prstGeom>
        </p:spPr>
        <p:txBody>
          <a:bodyPr vert="horz" wrap="square" lIns="0" tIns="13335" rIns="0" bIns="0" rtlCol="0">
            <a:spAutoFit/>
          </a:bodyPr>
          <a:lstStyle/>
          <a:p>
            <a:pPr marL="12700">
              <a:lnSpc>
                <a:spcPct val="100000"/>
              </a:lnSpc>
              <a:spcBef>
                <a:spcPts val="105"/>
              </a:spcBef>
            </a:pPr>
            <a:r>
              <a:rPr sz="1400" b="1" spc="-5">
                <a:solidFill>
                  <a:srgbClr val="FFFFFF"/>
                </a:solidFill>
                <a:latin typeface="Verdana"/>
                <a:cs typeface="Verdana"/>
              </a:rPr>
              <a:t>150</a:t>
            </a:r>
            <a:endParaRPr sz="1400">
              <a:latin typeface="Verdana"/>
              <a:cs typeface="Verdana"/>
            </a:endParaRPr>
          </a:p>
        </p:txBody>
      </p:sp>
      <p:sp>
        <p:nvSpPr>
          <p:cNvPr id="33" name="object 3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34" name="object 3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35" name="object 35"/>
          <p:cNvSpPr/>
          <p:nvPr/>
        </p:nvSpPr>
        <p:spPr>
          <a:xfrm>
            <a:off x="6096000" y="2601467"/>
            <a:ext cx="108585" cy="108585"/>
          </a:xfrm>
          <a:custGeom>
            <a:avLst/>
            <a:gdLst/>
            <a:ahLst/>
            <a:cxnLst/>
            <a:rect l="l" t="t" r="r" b="b"/>
            <a:pathLst>
              <a:path w="108585" h="108585">
                <a:moveTo>
                  <a:pt x="54101" y="0"/>
                </a:moveTo>
                <a:lnTo>
                  <a:pt x="33057" y="4256"/>
                </a:lnTo>
                <a:lnTo>
                  <a:pt x="15859" y="15859"/>
                </a:lnTo>
                <a:lnTo>
                  <a:pt x="4256" y="33057"/>
                </a:lnTo>
                <a:lnTo>
                  <a:pt x="0" y="54102"/>
                </a:lnTo>
                <a:lnTo>
                  <a:pt x="4256" y="75146"/>
                </a:lnTo>
                <a:lnTo>
                  <a:pt x="15859" y="92344"/>
                </a:lnTo>
                <a:lnTo>
                  <a:pt x="33057" y="103947"/>
                </a:lnTo>
                <a:lnTo>
                  <a:pt x="54101" y="108204"/>
                </a:lnTo>
                <a:lnTo>
                  <a:pt x="75146" y="103947"/>
                </a:lnTo>
                <a:lnTo>
                  <a:pt x="92344" y="92344"/>
                </a:lnTo>
                <a:lnTo>
                  <a:pt x="103947" y="75146"/>
                </a:lnTo>
                <a:lnTo>
                  <a:pt x="108203" y="54102"/>
                </a:lnTo>
                <a:lnTo>
                  <a:pt x="103947" y="33057"/>
                </a:lnTo>
                <a:lnTo>
                  <a:pt x="92344" y="15859"/>
                </a:lnTo>
                <a:lnTo>
                  <a:pt x="75146" y="4256"/>
                </a:lnTo>
                <a:lnTo>
                  <a:pt x="54101" y="0"/>
                </a:lnTo>
                <a:close/>
              </a:path>
            </a:pathLst>
          </a:custGeom>
          <a:solidFill>
            <a:srgbClr val="3A3A3A"/>
          </a:solidFill>
        </p:spPr>
        <p:txBody>
          <a:bodyPr wrap="square" lIns="0" tIns="0" rIns="0" bIns="0" rtlCol="0"/>
          <a:lstStyle/>
          <a:p>
            <a:endParaRPr/>
          </a:p>
        </p:txBody>
      </p:sp>
      <p:sp>
        <p:nvSpPr>
          <p:cNvPr id="36" name="object 36"/>
          <p:cNvSpPr/>
          <p:nvPr/>
        </p:nvSpPr>
        <p:spPr>
          <a:xfrm>
            <a:off x="6096000" y="2601467"/>
            <a:ext cx="108585" cy="108585"/>
          </a:xfrm>
          <a:custGeom>
            <a:avLst/>
            <a:gdLst/>
            <a:ahLst/>
            <a:cxnLst/>
            <a:rect l="l" t="t" r="r" b="b"/>
            <a:pathLst>
              <a:path w="108585" h="108585">
                <a:moveTo>
                  <a:pt x="0" y="54102"/>
                </a:moveTo>
                <a:lnTo>
                  <a:pt x="4256" y="33057"/>
                </a:lnTo>
                <a:lnTo>
                  <a:pt x="15859" y="15859"/>
                </a:lnTo>
                <a:lnTo>
                  <a:pt x="33057" y="4256"/>
                </a:lnTo>
                <a:lnTo>
                  <a:pt x="54101" y="0"/>
                </a:lnTo>
                <a:lnTo>
                  <a:pt x="75146" y="4256"/>
                </a:lnTo>
                <a:lnTo>
                  <a:pt x="92344" y="15859"/>
                </a:lnTo>
                <a:lnTo>
                  <a:pt x="103947" y="33057"/>
                </a:lnTo>
                <a:lnTo>
                  <a:pt x="108203" y="54102"/>
                </a:lnTo>
                <a:lnTo>
                  <a:pt x="103947" y="75146"/>
                </a:lnTo>
                <a:lnTo>
                  <a:pt x="92344" y="92344"/>
                </a:lnTo>
                <a:lnTo>
                  <a:pt x="75146" y="103947"/>
                </a:lnTo>
                <a:lnTo>
                  <a:pt x="54101" y="108204"/>
                </a:lnTo>
                <a:lnTo>
                  <a:pt x="33057" y="103947"/>
                </a:lnTo>
                <a:lnTo>
                  <a:pt x="15859" y="92344"/>
                </a:lnTo>
                <a:lnTo>
                  <a:pt x="4256" y="75146"/>
                </a:lnTo>
                <a:lnTo>
                  <a:pt x="0" y="54102"/>
                </a:lnTo>
                <a:close/>
              </a:path>
            </a:pathLst>
          </a:custGeom>
          <a:ln w="12192">
            <a:solidFill>
              <a:srgbClr val="D9D9D9"/>
            </a:solidFill>
          </a:ln>
        </p:spPr>
        <p:txBody>
          <a:bodyPr wrap="square" lIns="0" tIns="0" rIns="0" bIns="0" rtlCol="0"/>
          <a:lstStyle/>
          <a:p>
            <a:endParaRPr/>
          </a:p>
        </p:txBody>
      </p:sp>
      <p:sp>
        <p:nvSpPr>
          <p:cNvPr id="37" name="object 37"/>
          <p:cNvSpPr/>
          <p:nvPr/>
        </p:nvSpPr>
        <p:spPr>
          <a:xfrm>
            <a:off x="6051803" y="2642616"/>
            <a:ext cx="108585" cy="108585"/>
          </a:xfrm>
          <a:custGeom>
            <a:avLst/>
            <a:gdLst/>
            <a:ahLst/>
            <a:cxnLst/>
            <a:rect l="l" t="t" r="r" b="b"/>
            <a:pathLst>
              <a:path w="108585" h="108585">
                <a:moveTo>
                  <a:pt x="54101" y="0"/>
                </a:moveTo>
                <a:lnTo>
                  <a:pt x="33057" y="4256"/>
                </a:lnTo>
                <a:lnTo>
                  <a:pt x="15859" y="15859"/>
                </a:lnTo>
                <a:lnTo>
                  <a:pt x="4256" y="33057"/>
                </a:lnTo>
                <a:lnTo>
                  <a:pt x="0" y="54101"/>
                </a:lnTo>
                <a:lnTo>
                  <a:pt x="4256" y="75146"/>
                </a:lnTo>
                <a:lnTo>
                  <a:pt x="15859" y="92344"/>
                </a:lnTo>
                <a:lnTo>
                  <a:pt x="33057" y="103947"/>
                </a:lnTo>
                <a:lnTo>
                  <a:pt x="54101" y="108204"/>
                </a:lnTo>
                <a:lnTo>
                  <a:pt x="75146" y="103947"/>
                </a:lnTo>
                <a:lnTo>
                  <a:pt x="92344" y="92344"/>
                </a:lnTo>
                <a:lnTo>
                  <a:pt x="103947" y="75146"/>
                </a:lnTo>
                <a:lnTo>
                  <a:pt x="108204" y="54101"/>
                </a:lnTo>
                <a:lnTo>
                  <a:pt x="103947" y="33057"/>
                </a:lnTo>
                <a:lnTo>
                  <a:pt x="92344" y="15859"/>
                </a:lnTo>
                <a:lnTo>
                  <a:pt x="75146" y="4256"/>
                </a:lnTo>
                <a:lnTo>
                  <a:pt x="54101" y="0"/>
                </a:lnTo>
                <a:close/>
              </a:path>
            </a:pathLst>
          </a:custGeom>
          <a:solidFill>
            <a:srgbClr val="3A3A3A"/>
          </a:solidFill>
        </p:spPr>
        <p:txBody>
          <a:bodyPr wrap="square" lIns="0" tIns="0" rIns="0" bIns="0" rtlCol="0"/>
          <a:lstStyle/>
          <a:p>
            <a:endParaRPr/>
          </a:p>
        </p:txBody>
      </p:sp>
      <p:sp>
        <p:nvSpPr>
          <p:cNvPr id="38" name="object 38"/>
          <p:cNvSpPr/>
          <p:nvPr/>
        </p:nvSpPr>
        <p:spPr>
          <a:xfrm>
            <a:off x="6051803" y="2642616"/>
            <a:ext cx="108585" cy="108585"/>
          </a:xfrm>
          <a:custGeom>
            <a:avLst/>
            <a:gdLst/>
            <a:ahLst/>
            <a:cxnLst/>
            <a:rect l="l" t="t" r="r" b="b"/>
            <a:pathLst>
              <a:path w="108585" h="108585">
                <a:moveTo>
                  <a:pt x="0" y="54101"/>
                </a:moveTo>
                <a:lnTo>
                  <a:pt x="4256" y="33057"/>
                </a:lnTo>
                <a:lnTo>
                  <a:pt x="15859" y="15859"/>
                </a:lnTo>
                <a:lnTo>
                  <a:pt x="33057" y="4256"/>
                </a:lnTo>
                <a:lnTo>
                  <a:pt x="54101" y="0"/>
                </a:lnTo>
                <a:lnTo>
                  <a:pt x="75146" y="4256"/>
                </a:lnTo>
                <a:lnTo>
                  <a:pt x="92344" y="15859"/>
                </a:lnTo>
                <a:lnTo>
                  <a:pt x="103947" y="33057"/>
                </a:lnTo>
                <a:lnTo>
                  <a:pt x="108204" y="54101"/>
                </a:lnTo>
                <a:lnTo>
                  <a:pt x="103947" y="75146"/>
                </a:lnTo>
                <a:lnTo>
                  <a:pt x="92344" y="92344"/>
                </a:lnTo>
                <a:lnTo>
                  <a:pt x="75146" y="103947"/>
                </a:lnTo>
                <a:lnTo>
                  <a:pt x="54101" y="108204"/>
                </a:lnTo>
                <a:lnTo>
                  <a:pt x="33057" y="103947"/>
                </a:lnTo>
                <a:lnTo>
                  <a:pt x="15859" y="92344"/>
                </a:lnTo>
                <a:lnTo>
                  <a:pt x="4256" y="75146"/>
                </a:lnTo>
                <a:lnTo>
                  <a:pt x="0" y="54101"/>
                </a:lnTo>
                <a:close/>
              </a:path>
            </a:pathLst>
          </a:custGeom>
          <a:ln w="12192">
            <a:solidFill>
              <a:srgbClr val="D9D9D9"/>
            </a:solidFill>
          </a:ln>
        </p:spPr>
        <p:txBody>
          <a:bodyPr wrap="square" lIns="0" tIns="0" rIns="0" bIns="0" rtlCol="0"/>
          <a:lstStyle/>
          <a:p>
            <a:endParaRPr/>
          </a:p>
        </p:txBody>
      </p:sp>
      <p:sp>
        <p:nvSpPr>
          <p:cNvPr id="39" name="object 39"/>
          <p:cNvSpPr/>
          <p:nvPr/>
        </p:nvSpPr>
        <p:spPr>
          <a:xfrm>
            <a:off x="6274308" y="2750820"/>
            <a:ext cx="108585" cy="106680"/>
          </a:xfrm>
          <a:custGeom>
            <a:avLst/>
            <a:gdLst/>
            <a:ahLst/>
            <a:cxnLst/>
            <a:rect l="l" t="t" r="r" b="b"/>
            <a:pathLst>
              <a:path w="108585" h="106680">
                <a:moveTo>
                  <a:pt x="54101" y="0"/>
                </a:moveTo>
                <a:lnTo>
                  <a:pt x="33057" y="4191"/>
                </a:lnTo>
                <a:lnTo>
                  <a:pt x="15859" y="15621"/>
                </a:lnTo>
                <a:lnTo>
                  <a:pt x="4256" y="32575"/>
                </a:lnTo>
                <a:lnTo>
                  <a:pt x="0" y="53339"/>
                </a:lnTo>
                <a:lnTo>
                  <a:pt x="4256" y="74104"/>
                </a:lnTo>
                <a:lnTo>
                  <a:pt x="15859" y="91059"/>
                </a:lnTo>
                <a:lnTo>
                  <a:pt x="33057" y="102488"/>
                </a:lnTo>
                <a:lnTo>
                  <a:pt x="54101" y="106679"/>
                </a:lnTo>
                <a:lnTo>
                  <a:pt x="75146" y="102488"/>
                </a:lnTo>
                <a:lnTo>
                  <a:pt x="92344" y="91059"/>
                </a:lnTo>
                <a:lnTo>
                  <a:pt x="103947" y="74104"/>
                </a:lnTo>
                <a:lnTo>
                  <a:pt x="108203" y="53339"/>
                </a:lnTo>
                <a:lnTo>
                  <a:pt x="103947" y="32575"/>
                </a:lnTo>
                <a:lnTo>
                  <a:pt x="92344" y="15621"/>
                </a:lnTo>
                <a:lnTo>
                  <a:pt x="75146" y="4191"/>
                </a:lnTo>
                <a:lnTo>
                  <a:pt x="54101" y="0"/>
                </a:lnTo>
                <a:close/>
              </a:path>
            </a:pathLst>
          </a:custGeom>
          <a:solidFill>
            <a:srgbClr val="3A3A3A"/>
          </a:solidFill>
        </p:spPr>
        <p:txBody>
          <a:bodyPr wrap="square" lIns="0" tIns="0" rIns="0" bIns="0" rtlCol="0"/>
          <a:lstStyle/>
          <a:p>
            <a:endParaRPr/>
          </a:p>
        </p:txBody>
      </p:sp>
      <p:sp>
        <p:nvSpPr>
          <p:cNvPr id="40" name="object 40"/>
          <p:cNvSpPr/>
          <p:nvPr/>
        </p:nvSpPr>
        <p:spPr>
          <a:xfrm>
            <a:off x="6274308" y="2750820"/>
            <a:ext cx="108585" cy="106680"/>
          </a:xfrm>
          <a:custGeom>
            <a:avLst/>
            <a:gdLst/>
            <a:ahLst/>
            <a:cxnLst/>
            <a:rect l="l" t="t" r="r" b="b"/>
            <a:pathLst>
              <a:path w="108585" h="106680">
                <a:moveTo>
                  <a:pt x="0" y="53339"/>
                </a:moveTo>
                <a:lnTo>
                  <a:pt x="4256" y="32575"/>
                </a:lnTo>
                <a:lnTo>
                  <a:pt x="15859" y="15621"/>
                </a:lnTo>
                <a:lnTo>
                  <a:pt x="33057" y="4191"/>
                </a:lnTo>
                <a:lnTo>
                  <a:pt x="54101" y="0"/>
                </a:lnTo>
                <a:lnTo>
                  <a:pt x="75146" y="4190"/>
                </a:lnTo>
                <a:lnTo>
                  <a:pt x="92344" y="15620"/>
                </a:lnTo>
                <a:lnTo>
                  <a:pt x="103947" y="32575"/>
                </a:lnTo>
                <a:lnTo>
                  <a:pt x="108203" y="53339"/>
                </a:lnTo>
                <a:lnTo>
                  <a:pt x="103947" y="74104"/>
                </a:lnTo>
                <a:lnTo>
                  <a:pt x="92344" y="91058"/>
                </a:lnTo>
                <a:lnTo>
                  <a:pt x="75146" y="102488"/>
                </a:lnTo>
                <a:lnTo>
                  <a:pt x="54101" y="106679"/>
                </a:lnTo>
                <a:lnTo>
                  <a:pt x="33057" y="102488"/>
                </a:lnTo>
                <a:lnTo>
                  <a:pt x="15859" y="91059"/>
                </a:lnTo>
                <a:lnTo>
                  <a:pt x="4256" y="74104"/>
                </a:lnTo>
                <a:lnTo>
                  <a:pt x="0" y="53339"/>
                </a:lnTo>
                <a:close/>
              </a:path>
            </a:pathLst>
          </a:custGeom>
          <a:ln w="12192">
            <a:solidFill>
              <a:srgbClr val="D9D9D9"/>
            </a:solidFill>
          </a:ln>
        </p:spPr>
        <p:txBody>
          <a:bodyPr wrap="square" lIns="0" tIns="0" rIns="0" bIns="0" rtlCol="0"/>
          <a:lstStyle/>
          <a:p>
            <a:endParaRPr/>
          </a:p>
        </p:txBody>
      </p:sp>
      <p:sp>
        <p:nvSpPr>
          <p:cNvPr id="41" name="object 41"/>
          <p:cNvSpPr/>
          <p:nvPr/>
        </p:nvSpPr>
        <p:spPr>
          <a:xfrm>
            <a:off x="5975603" y="2798064"/>
            <a:ext cx="108585" cy="108585"/>
          </a:xfrm>
          <a:custGeom>
            <a:avLst/>
            <a:gdLst/>
            <a:ahLst/>
            <a:cxnLst/>
            <a:rect l="l" t="t" r="r" b="b"/>
            <a:pathLst>
              <a:path w="108585" h="108585">
                <a:moveTo>
                  <a:pt x="54101" y="0"/>
                </a:moveTo>
                <a:lnTo>
                  <a:pt x="33057" y="4256"/>
                </a:lnTo>
                <a:lnTo>
                  <a:pt x="15859" y="15859"/>
                </a:lnTo>
                <a:lnTo>
                  <a:pt x="4256" y="33057"/>
                </a:lnTo>
                <a:lnTo>
                  <a:pt x="0" y="54101"/>
                </a:lnTo>
                <a:lnTo>
                  <a:pt x="4256" y="75146"/>
                </a:lnTo>
                <a:lnTo>
                  <a:pt x="15859" y="92344"/>
                </a:lnTo>
                <a:lnTo>
                  <a:pt x="33057" y="103947"/>
                </a:lnTo>
                <a:lnTo>
                  <a:pt x="54101" y="108203"/>
                </a:lnTo>
                <a:lnTo>
                  <a:pt x="75146" y="103947"/>
                </a:lnTo>
                <a:lnTo>
                  <a:pt x="92344" y="92344"/>
                </a:lnTo>
                <a:lnTo>
                  <a:pt x="103947" y="75146"/>
                </a:lnTo>
                <a:lnTo>
                  <a:pt x="108204" y="54101"/>
                </a:lnTo>
                <a:lnTo>
                  <a:pt x="103947" y="33057"/>
                </a:lnTo>
                <a:lnTo>
                  <a:pt x="92344" y="15859"/>
                </a:lnTo>
                <a:lnTo>
                  <a:pt x="75146" y="4256"/>
                </a:lnTo>
                <a:lnTo>
                  <a:pt x="54101" y="0"/>
                </a:lnTo>
                <a:close/>
              </a:path>
            </a:pathLst>
          </a:custGeom>
          <a:solidFill>
            <a:srgbClr val="3A3A3A"/>
          </a:solidFill>
        </p:spPr>
        <p:txBody>
          <a:bodyPr wrap="square" lIns="0" tIns="0" rIns="0" bIns="0" rtlCol="0"/>
          <a:lstStyle/>
          <a:p>
            <a:endParaRPr/>
          </a:p>
        </p:txBody>
      </p:sp>
      <p:sp>
        <p:nvSpPr>
          <p:cNvPr id="42" name="object 42"/>
          <p:cNvSpPr/>
          <p:nvPr/>
        </p:nvSpPr>
        <p:spPr>
          <a:xfrm>
            <a:off x="5975603" y="2798064"/>
            <a:ext cx="108585" cy="108585"/>
          </a:xfrm>
          <a:custGeom>
            <a:avLst/>
            <a:gdLst/>
            <a:ahLst/>
            <a:cxnLst/>
            <a:rect l="l" t="t" r="r" b="b"/>
            <a:pathLst>
              <a:path w="108585" h="108585">
                <a:moveTo>
                  <a:pt x="0" y="54101"/>
                </a:moveTo>
                <a:lnTo>
                  <a:pt x="4256" y="33057"/>
                </a:lnTo>
                <a:lnTo>
                  <a:pt x="15859" y="15859"/>
                </a:lnTo>
                <a:lnTo>
                  <a:pt x="33057" y="4256"/>
                </a:lnTo>
                <a:lnTo>
                  <a:pt x="54101" y="0"/>
                </a:lnTo>
                <a:lnTo>
                  <a:pt x="75146" y="4256"/>
                </a:lnTo>
                <a:lnTo>
                  <a:pt x="92344" y="15859"/>
                </a:lnTo>
                <a:lnTo>
                  <a:pt x="103947" y="33057"/>
                </a:lnTo>
                <a:lnTo>
                  <a:pt x="108204" y="54101"/>
                </a:lnTo>
                <a:lnTo>
                  <a:pt x="103947" y="75146"/>
                </a:lnTo>
                <a:lnTo>
                  <a:pt x="92344" y="92344"/>
                </a:lnTo>
                <a:lnTo>
                  <a:pt x="75146" y="103947"/>
                </a:lnTo>
                <a:lnTo>
                  <a:pt x="54101" y="108203"/>
                </a:lnTo>
                <a:lnTo>
                  <a:pt x="33057" y="103947"/>
                </a:lnTo>
                <a:lnTo>
                  <a:pt x="15859" y="92344"/>
                </a:lnTo>
                <a:lnTo>
                  <a:pt x="4256" y="75146"/>
                </a:lnTo>
                <a:lnTo>
                  <a:pt x="0" y="54101"/>
                </a:lnTo>
                <a:close/>
              </a:path>
            </a:pathLst>
          </a:custGeom>
          <a:ln w="12192">
            <a:solidFill>
              <a:srgbClr val="D9D9D9"/>
            </a:solidFill>
          </a:ln>
        </p:spPr>
        <p:txBody>
          <a:bodyPr wrap="square" lIns="0" tIns="0" rIns="0" bIns="0" rtlCol="0"/>
          <a:lstStyle/>
          <a:p>
            <a:endParaRPr/>
          </a:p>
        </p:txBody>
      </p:sp>
      <p:sp>
        <p:nvSpPr>
          <p:cNvPr id="43" name="object 43"/>
          <p:cNvSpPr/>
          <p:nvPr/>
        </p:nvSpPr>
        <p:spPr>
          <a:xfrm>
            <a:off x="6073140" y="2808732"/>
            <a:ext cx="108585" cy="108585"/>
          </a:xfrm>
          <a:custGeom>
            <a:avLst/>
            <a:gdLst/>
            <a:ahLst/>
            <a:cxnLst/>
            <a:rect l="l" t="t" r="r" b="b"/>
            <a:pathLst>
              <a:path w="108585" h="108585">
                <a:moveTo>
                  <a:pt x="54101" y="0"/>
                </a:moveTo>
                <a:lnTo>
                  <a:pt x="33057" y="4256"/>
                </a:lnTo>
                <a:lnTo>
                  <a:pt x="15859" y="15859"/>
                </a:lnTo>
                <a:lnTo>
                  <a:pt x="4256" y="33057"/>
                </a:lnTo>
                <a:lnTo>
                  <a:pt x="0" y="54101"/>
                </a:lnTo>
                <a:lnTo>
                  <a:pt x="4256" y="75146"/>
                </a:lnTo>
                <a:lnTo>
                  <a:pt x="15859" y="92344"/>
                </a:lnTo>
                <a:lnTo>
                  <a:pt x="33057" y="103947"/>
                </a:lnTo>
                <a:lnTo>
                  <a:pt x="54101" y="108203"/>
                </a:lnTo>
                <a:lnTo>
                  <a:pt x="75146" y="103947"/>
                </a:lnTo>
                <a:lnTo>
                  <a:pt x="92344" y="92344"/>
                </a:lnTo>
                <a:lnTo>
                  <a:pt x="103947" y="75146"/>
                </a:lnTo>
                <a:lnTo>
                  <a:pt x="108204" y="54101"/>
                </a:lnTo>
                <a:lnTo>
                  <a:pt x="103947" y="33057"/>
                </a:lnTo>
                <a:lnTo>
                  <a:pt x="92344" y="15859"/>
                </a:lnTo>
                <a:lnTo>
                  <a:pt x="75146" y="4256"/>
                </a:lnTo>
                <a:lnTo>
                  <a:pt x="54101" y="0"/>
                </a:lnTo>
                <a:close/>
              </a:path>
            </a:pathLst>
          </a:custGeom>
          <a:solidFill>
            <a:srgbClr val="3A3A3A"/>
          </a:solidFill>
        </p:spPr>
        <p:txBody>
          <a:bodyPr wrap="square" lIns="0" tIns="0" rIns="0" bIns="0" rtlCol="0"/>
          <a:lstStyle/>
          <a:p>
            <a:endParaRPr/>
          </a:p>
        </p:txBody>
      </p:sp>
      <p:sp>
        <p:nvSpPr>
          <p:cNvPr id="44" name="object 44"/>
          <p:cNvSpPr/>
          <p:nvPr/>
        </p:nvSpPr>
        <p:spPr>
          <a:xfrm>
            <a:off x="6073140" y="2808732"/>
            <a:ext cx="108585" cy="108585"/>
          </a:xfrm>
          <a:custGeom>
            <a:avLst/>
            <a:gdLst/>
            <a:ahLst/>
            <a:cxnLst/>
            <a:rect l="l" t="t" r="r" b="b"/>
            <a:pathLst>
              <a:path w="108585" h="108585">
                <a:moveTo>
                  <a:pt x="0" y="54101"/>
                </a:moveTo>
                <a:lnTo>
                  <a:pt x="4256" y="33057"/>
                </a:lnTo>
                <a:lnTo>
                  <a:pt x="15859" y="15859"/>
                </a:lnTo>
                <a:lnTo>
                  <a:pt x="33057" y="4256"/>
                </a:lnTo>
                <a:lnTo>
                  <a:pt x="54101" y="0"/>
                </a:lnTo>
                <a:lnTo>
                  <a:pt x="75146" y="4256"/>
                </a:lnTo>
                <a:lnTo>
                  <a:pt x="92344" y="15859"/>
                </a:lnTo>
                <a:lnTo>
                  <a:pt x="103947" y="33057"/>
                </a:lnTo>
                <a:lnTo>
                  <a:pt x="108204" y="54101"/>
                </a:lnTo>
                <a:lnTo>
                  <a:pt x="103947" y="75146"/>
                </a:lnTo>
                <a:lnTo>
                  <a:pt x="92344" y="92344"/>
                </a:lnTo>
                <a:lnTo>
                  <a:pt x="75146" y="103947"/>
                </a:lnTo>
                <a:lnTo>
                  <a:pt x="54101" y="108203"/>
                </a:lnTo>
                <a:lnTo>
                  <a:pt x="33057" y="103947"/>
                </a:lnTo>
                <a:lnTo>
                  <a:pt x="15859" y="92344"/>
                </a:lnTo>
                <a:lnTo>
                  <a:pt x="4256" y="75146"/>
                </a:lnTo>
                <a:lnTo>
                  <a:pt x="0" y="54101"/>
                </a:lnTo>
                <a:close/>
              </a:path>
            </a:pathLst>
          </a:custGeom>
          <a:ln w="12192">
            <a:solidFill>
              <a:srgbClr val="D9D9D9"/>
            </a:solidFill>
          </a:ln>
        </p:spPr>
        <p:txBody>
          <a:bodyPr wrap="square" lIns="0" tIns="0" rIns="0" bIns="0" rtlCol="0"/>
          <a:lstStyle/>
          <a:p>
            <a:endParaRPr/>
          </a:p>
        </p:txBody>
      </p:sp>
      <p:sp>
        <p:nvSpPr>
          <p:cNvPr id="45" name="object 45"/>
          <p:cNvSpPr/>
          <p:nvPr/>
        </p:nvSpPr>
        <p:spPr>
          <a:xfrm>
            <a:off x="5975603" y="2702051"/>
            <a:ext cx="108585" cy="106680"/>
          </a:xfrm>
          <a:custGeom>
            <a:avLst/>
            <a:gdLst/>
            <a:ahLst/>
            <a:cxnLst/>
            <a:rect l="l" t="t" r="r" b="b"/>
            <a:pathLst>
              <a:path w="108585" h="106680">
                <a:moveTo>
                  <a:pt x="54101" y="0"/>
                </a:moveTo>
                <a:lnTo>
                  <a:pt x="33057" y="4191"/>
                </a:lnTo>
                <a:lnTo>
                  <a:pt x="15859" y="15621"/>
                </a:lnTo>
                <a:lnTo>
                  <a:pt x="4256" y="32575"/>
                </a:lnTo>
                <a:lnTo>
                  <a:pt x="0" y="53339"/>
                </a:lnTo>
                <a:lnTo>
                  <a:pt x="4256" y="74104"/>
                </a:lnTo>
                <a:lnTo>
                  <a:pt x="15859" y="91059"/>
                </a:lnTo>
                <a:lnTo>
                  <a:pt x="33057" y="102489"/>
                </a:lnTo>
                <a:lnTo>
                  <a:pt x="54101" y="106680"/>
                </a:lnTo>
                <a:lnTo>
                  <a:pt x="75146" y="102489"/>
                </a:lnTo>
                <a:lnTo>
                  <a:pt x="92344" y="91059"/>
                </a:lnTo>
                <a:lnTo>
                  <a:pt x="103947" y="74104"/>
                </a:lnTo>
                <a:lnTo>
                  <a:pt x="108204" y="53339"/>
                </a:lnTo>
                <a:lnTo>
                  <a:pt x="103947" y="32575"/>
                </a:lnTo>
                <a:lnTo>
                  <a:pt x="92344" y="15621"/>
                </a:lnTo>
                <a:lnTo>
                  <a:pt x="75146" y="4191"/>
                </a:lnTo>
                <a:lnTo>
                  <a:pt x="54101" y="0"/>
                </a:lnTo>
                <a:close/>
              </a:path>
            </a:pathLst>
          </a:custGeom>
          <a:solidFill>
            <a:srgbClr val="3A3A3A"/>
          </a:solidFill>
        </p:spPr>
        <p:txBody>
          <a:bodyPr wrap="square" lIns="0" tIns="0" rIns="0" bIns="0" rtlCol="0"/>
          <a:lstStyle/>
          <a:p>
            <a:endParaRPr/>
          </a:p>
        </p:txBody>
      </p:sp>
      <p:sp>
        <p:nvSpPr>
          <p:cNvPr id="46" name="object 46"/>
          <p:cNvSpPr/>
          <p:nvPr/>
        </p:nvSpPr>
        <p:spPr>
          <a:xfrm>
            <a:off x="5975603" y="2702051"/>
            <a:ext cx="108585" cy="106680"/>
          </a:xfrm>
          <a:custGeom>
            <a:avLst/>
            <a:gdLst/>
            <a:ahLst/>
            <a:cxnLst/>
            <a:rect l="l" t="t" r="r" b="b"/>
            <a:pathLst>
              <a:path w="108585" h="106680">
                <a:moveTo>
                  <a:pt x="0" y="53339"/>
                </a:moveTo>
                <a:lnTo>
                  <a:pt x="4256" y="32575"/>
                </a:lnTo>
                <a:lnTo>
                  <a:pt x="15859" y="15621"/>
                </a:lnTo>
                <a:lnTo>
                  <a:pt x="33057" y="4191"/>
                </a:lnTo>
                <a:lnTo>
                  <a:pt x="54101" y="0"/>
                </a:lnTo>
                <a:lnTo>
                  <a:pt x="75146" y="4190"/>
                </a:lnTo>
                <a:lnTo>
                  <a:pt x="92344" y="15620"/>
                </a:lnTo>
                <a:lnTo>
                  <a:pt x="103947" y="32575"/>
                </a:lnTo>
                <a:lnTo>
                  <a:pt x="108204" y="53339"/>
                </a:lnTo>
                <a:lnTo>
                  <a:pt x="103947" y="74104"/>
                </a:lnTo>
                <a:lnTo>
                  <a:pt x="92344" y="91059"/>
                </a:lnTo>
                <a:lnTo>
                  <a:pt x="75146" y="102489"/>
                </a:lnTo>
                <a:lnTo>
                  <a:pt x="54101" y="106680"/>
                </a:lnTo>
                <a:lnTo>
                  <a:pt x="33057" y="102489"/>
                </a:lnTo>
                <a:lnTo>
                  <a:pt x="15859" y="91059"/>
                </a:lnTo>
                <a:lnTo>
                  <a:pt x="4256" y="74104"/>
                </a:lnTo>
                <a:lnTo>
                  <a:pt x="0" y="53339"/>
                </a:lnTo>
                <a:close/>
              </a:path>
            </a:pathLst>
          </a:custGeom>
          <a:ln w="12192">
            <a:solidFill>
              <a:srgbClr val="D9D9D9"/>
            </a:solidFill>
          </a:ln>
        </p:spPr>
        <p:txBody>
          <a:bodyPr wrap="square" lIns="0" tIns="0" rIns="0" bIns="0" rtlCol="0"/>
          <a:lstStyle/>
          <a:p>
            <a:endParaRPr/>
          </a:p>
        </p:txBody>
      </p:sp>
      <p:sp>
        <p:nvSpPr>
          <p:cNvPr id="47" name="object 47"/>
          <p:cNvSpPr/>
          <p:nvPr/>
        </p:nvSpPr>
        <p:spPr>
          <a:xfrm>
            <a:off x="6603492" y="3334511"/>
            <a:ext cx="120396" cy="120396"/>
          </a:xfrm>
          <a:prstGeom prst="rect">
            <a:avLst/>
          </a:prstGeom>
          <a:blipFill>
            <a:blip r:embed="rId3" cstate="print"/>
            <a:stretch>
              <a:fillRect/>
            </a:stretch>
          </a:blipFill>
        </p:spPr>
        <p:txBody>
          <a:bodyPr wrap="square" lIns="0" tIns="0" rIns="0" bIns="0" rtlCol="0"/>
          <a:lstStyle/>
          <a:p>
            <a:endParaRPr/>
          </a:p>
        </p:txBody>
      </p:sp>
      <p:sp>
        <p:nvSpPr>
          <p:cNvPr id="48" name="object 48"/>
          <p:cNvSpPr/>
          <p:nvPr/>
        </p:nvSpPr>
        <p:spPr>
          <a:xfrm>
            <a:off x="6385559" y="3156204"/>
            <a:ext cx="120396" cy="120396"/>
          </a:xfrm>
          <a:prstGeom prst="rect">
            <a:avLst/>
          </a:prstGeom>
          <a:blipFill>
            <a:blip r:embed="rId3" cstate="print"/>
            <a:stretch>
              <a:fillRect/>
            </a:stretch>
          </a:blipFill>
        </p:spPr>
        <p:txBody>
          <a:bodyPr wrap="square" lIns="0" tIns="0" rIns="0" bIns="0" rtlCol="0"/>
          <a:lstStyle/>
          <a:p>
            <a:endParaRPr/>
          </a:p>
        </p:txBody>
      </p:sp>
      <p:sp>
        <p:nvSpPr>
          <p:cNvPr id="49" name="object 49"/>
          <p:cNvSpPr/>
          <p:nvPr/>
        </p:nvSpPr>
        <p:spPr>
          <a:xfrm>
            <a:off x="5884164" y="2724911"/>
            <a:ext cx="108585" cy="106680"/>
          </a:xfrm>
          <a:custGeom>
            <a:avLst/>
            <a:gdLst/>
            <a:ahLst/>
            <a:cxnLst/>
            <a:rect l="l" t="t" r="r" b="b"/>
            <a:pathLst>
              <a:path w="108585" h="106680">
                <a:moveTo>
                  <a:pt x="54101" y="0"/>
                </a:moveTo>
                <a:lnTo>
                  <a:pt x="33057" y="4191"/>
                </a:lnTo>
                <a:lnTo>
                  <a:pt x="15859" y="15621"/>
                </a:lnTo>
                <a:lnTo>
                  <a:pt x="4256" y="32575"/>
                </a:lnTo>
                <a:lnTo>
                  <a:pt x="0" y="53339"/>
                </a:lnTo>
                <a:lnTo>
                  <a:pt x="4256" y="74104"/>
                </a:lnTo>
                <a:lnTo>
                  <a:pt x="15859" y="91059"/>
                </a:lnTo>
                <a:lnTo>
                  <a:pt x="33057" y="102488"/>
                </a:lnTo>
                <a:lnTo>
                  <a:pt x="54101" y="106679"/>
                </a:lnTo>
                <a:lnTo>
                  <a:pt x="75146" y="102488"/>
                </a:lnTo>
                <a:lnTo>
                  <a:pt x="92344" y="91059"/>
                </a:lnTo>
                <a:lnTo>
                  <a:pt x="103947" y="74104"/>
                </a:lnTo>
                <a:lnTo>
                  <a:pt x="108203" y="53339"/>
                </a:lnTo>
                <a:lnTo>
                  <a:pt x="103947" y="32575"/>
                </a:lnTo>
                <a:lnTo>
                  <a:pt x="92344" y="15621"/>
                </a:lnTo>
                <a:lnTo>
                  <a:pt x="75146" y="4191"/>
                </a:lnTo>
                <a:lnTo>
                  <a:pt x="54101" y="0"/>
                </a:lnTo>
                <a:close/>
              </a:path>
            </a:pathLst>
          </a:custGeom>
          <a:solidFill>
            <a:srgbClr val="3A3A3A"/>
          </a:solidFill>
        </p:spPr>
        <p:txBody>
          <a:bodyPr wrap="square" lIns="0" tIns="0" rIns="0" bIns="0" rtlCol="0"/>
          <a:lstStyle/>
          <a:p>
            <a:endParaRPr/>
          </a:p>
        </p:txBody>
      </p:sp>
      <p:sp>
        <p:nvSpPr>
          <p:cNvPr id="50" name="object 50"/>
          <p:cNvSpPr/>
          <p:nvPr/>
        </p:nvSpPr>
        <p:spPr>
          <a:xfrm>
            <a:off x="5884164" y="2724911"/>
            <a:ext cx="108585" cy="106680"/>
          </a:xfrm>
          <a:custGeom>
            <a:avLst/>
            <a:gdLst/>
            <a:ahLst/>
            <a:cxnLst/>
            <a:rect l="l" t="t" r="r" b="b"/>
            <a:pathLst>
              <a:path w="108585" h="106680">
                <a:moveTo>
                  <a:pt x="0" y="53339"/>
                </a:moveTo>
                <a:lnTo>
                  <a:pt x="4256" y="32575"/>
                </a:lnTo>
                <a:lnTo>
                  <a:pt x="15859" y="15621"/>
                </a:lnTo>
                <a:lnTo>
                  <a:pt x="33057" y="4191"/>
                </a:lnTo>
                <a:lnTo>
                  <a:pt x="54101" y="0"/>
                </a:lnTo>
                <a:lnTo>
                  <a:pt x="75146" y="4190"/>
                </a:lnTo>
                <a:lnTo>
                  <a:pt x="92344" y="15620"/>
                </a:lnTo>
                <a:lnTo>
                  <a:pt x="103947" y="32575"/>
                </a:lnTo>
                <a:lnTo>
                  <a:pt x="108203" y="53339"/>
                </a:lnTo>
                <a:lnTo>
                  <a:pt x="103947" y="74104"/>
                </a:lnTo>
                <a:lnTo>
                  <a:pt x="92344" y="91058"/>
                </a:lnTo>
                <a:lnTo>
                  <a:pt x="75146" y="102488"/>
                </a:lnTo>
                <a:lnTo>
                  <a:pt x="54101" y="106679"/>
                </a:lnTo>
                <a:lnTo>
                  <a:pt x="33057" y="102488"/>
                </a:lnTo>
                <a:lnTo>
                  <a:pt x="15859" y="91059"/>
                </a:lnTo>
                <a:lnTo>
                  <a:pt x="4256" y="74104"/>
                </a:lnTo>
                <a:lnTo>
                  <a:pt x="0" y="53339"/>
                </a:lnTo>
                <a:close/>
              </a:path>
            </a:pathLst>
          </a:custGeom>
          <a:ln w="12192">
            <a:solidFill>
              <a:srgbClr val="D9D9D9"/>
            </a:solidFill>
          </a:ln>
        </p:spPr>
        <p:txBody>
          <a:bodyPr wrap="square" lIns="0" tIns="0" rIns="0" bIns="0" rtlCol="0"/>
          <a:lstStyle/>
          <a:p>
            <a:endParaRPr/>
          </a:p>
        </p:txBody>
      </p:sp>
      <p:sp>
        <p:nvSpPr>
          <p:cNvPr id="51" name="object 51"/>
          <p:cNvSpPr/>
          <p:nvPr/>
        </p:nvSpPr>
        <p:spPr>
          <a:xfrm>
            <a:off x="6350508" y="2642616"/>
            <a:ext cx="108585" cy="108585"/>
          </a:xfrm>
          <a:custGeom>
            <a:avLst/>
            <a:gdLst/>
            <a:ahLst/>
            <a:cxnLst/>
            <a:rect l="l" t="t" r="r" b="b"/>
            <a:pathLst>
              <a:path w="108585" h="108585">
                <a:moveTo>
                  <a:pt x="54101" y="0"/>
                </a:moveTo>
                <a:lnTo>
                  <a:pt x="33057" y="4256"/>
                </a:lnTo>
                <a:lnTo>
                  <a:pt x="15859" y="15859"/>
                </a:lnTo>
                <a:lnTo>
                  <a:pt x="4256" y="33057"/>
                </a:lnTo>
                <a:lnTo>
                  <a:pt x="0" y="54101"/>
                </a:lnTo>
                <a:lnTo>
                  <a:pt x="4256" y="75146"/>
                </a:lnTo>
                <a:lnTo>
                  <a:pt x="15859" y="92344"/>
                </a:lnTo>
                <a:lnTo>
                  <a:pt x="33057" y="103947"/>
                </a:lnTo>
                <a:lnTo>
                  <a:pt x="54101" y="108204"/>
                </a:lnTo>
                <a:lnTo>
                  <a:pt x="75146" y="103947"/>
                </a:lnTo>
                <a:lnTo>
                  <a:pt x="92344" y="92344"/>
                </a:lnTo>
                <a:lnTo>
                  <a:pt x="103947" y="75146"/>
                </a:lnTo>
                <a:lnTo>
                  <a:pt x="108203" y="54101"/>
                </a:lnTo>
                <a:lnTo>
                  <a:pt x="103947" y="33057"/>
                </a:lnTo>
                <a:lnTo>
                  <a:pt x="92344" y="15859"/>
                </a:lnTo>
                <a:lnTo>
                  <a:pt x="75146" y="4256"/>
                </a:lnTo>
                <a:lnTo>
                  <a:pt x="54101" y="0"/>
                </a:lnTo>
                <a:close/>
              </a:path>
            </a:pathLst>
          </a:custGeom>
          <a:solidFill>
            <a:srgbClr val="3A3A3A"/>
          </a:solidFill>
        </p:spPr>
        <p:txBody>
          <a:bodyPr wrap="square" lIns="0" tIns="0" rIns="0" bIns="0" rtlCol="0"/>
          <a:lstStyle/>
          <a:p>
            <a:endParaRPr/>
          </a:p>
        </p:txBody>
      </p:sp>
      <p:sp>
        <p:nvSpPr>
          <p:cNvPr id="52" name="object 52"/>
          <p:cNvSpPr/>
          <p:nvPr/>
        </p:nvSpPr>
        <p:spPr>
          <a:xfrm>
            <a:off x="6350508" y="2642616"/>
            <a:ext cx="108585" cy="108585"/>
          </a:xfrm>
          <a:custGeom>
            <a:avLst/>
            <a:gdLst/>
            <a:ahLst/>
            <a:cxnLst/>
            <a:rect l="l" t="t" r="r" b="b"/>
            <a:pathLst>
              <a:path w="108585" h="108585">
                <a:moveTo>
                  <a:pt x="0" y="54101"/>
                </a:moveTo>
                <a:lnTo>
                  <a:pt x="4256" y="33057"/>
                </a:lnTo>
                <a:lnTo>
                  <a:pt x="15859" y="15859"/>
                </a:lnTo>
                <a:lnTo>
                  <a:pt x="33057" y="4256"/>
                </a:lnTo>
                <a:lnTo>
                  <a:pt x="54101" y="0"/>
                </a:lnTo>
                <a:lnTo>
                  <a:pt x="75146" y="4256"/>
                </a:lnTo>
                <a:lnTo>
                  <a:pt x="92344" y="15859"/>
                </a:lnTo>
                <a:lnTo>
                  <a:pt x="103947" y="33057"/>
                </a:lnTo>
                <a:lnTo>
                  <a:pt x="108203" y="54101"/>
                </a:lnTo>
                <a:lnTo>
                  <a:pt x="103947" y="75146"/>
                </a:lnTo>
                <a:lnTo>
                  <a:pt x="92344" y="92344"/>
                </a:lnTo>
                <a:lnTo>
                  <a:pt x="75146" y="103947"/>
                </a:lnTo>
                <a:lnTo>
                  <a:pt x="54101" y="108204"/>
                </a:lnTo>
                <a:lnTo>
                  <a:pt x="33057" y="103947"/>
                </a:lnTo>
                <a:lnTo>
                  <a:pt x="15859" y="92344"/>
                </a:lnTo>
                <a:lnTo>
                  <a:pt x="4256" y="75146"/>
                </a:lnTo>
                <a:lnTo>
                  <a:pt x="0" y="54101"/>
                </a:lnTo>
                <a:close/>
              </a:path>
            </a:pathLst>
          </a:custGeom>
          <a:ln w="12192">
            <a:solidFill>
              <a:srgbClr val="D9D9D9"/>
            </a:solidFill>
          </a:ln>
        </p:spPr>
        <p:txBody>
          <a:bodyPr wrap="square" lIns="0" tIns="0" rIns="0" bIns="0" rtlCol="0"/>
          <a:lstStyle/>
          <a:p>
            <a:endParaRPr/>
          </a:p>
        </p:txBody>
      </p:sp>
      <p:sp>
        <p:nvSpPr>
          <p:cNvPr id="53" name="object 53"/>
          <p:cNvSpPr/>
          <p:nvPr/>
        </p:nvSpPr>
        <p:spPr>
          <a:xfrm>
            <a:off x="6176771" y="2724911"/>
            <a:ext cx="108585" cy="106680"/>
          </a:xfrm>
          <a:custGeom>
            <a:avLst/>
            <a:gdLst/>
            <a:ahLst/>
            <a:cxnLst/>
            <a:rect l="l" t="t" r="r" b="b"/>
            <a:pathLst>
              <a:path w="108585" h="106680">
                <a:moveTo>
                  <a:pt x="54101" y="0"/>
                </a:moveTo>
                <a:lnTo>
                  <a:pt x="33057" y="4191"/>
                </a:lnTo>
                <a:lnTo>
                  <a:pt x="15859" y="15621"/>
                </a:lnTo>
                <a:lnTo>
                  <a:pt x="4256" y="32575"/>
                </a:lnTo>
                <a:lnTo>
                  <a:pt x="0" y="53339"/>
                </a:lnTo>
                <a:lnTo>
                  <a:pt x="4256" y="74104"/>
                </a:lnTo>
                <a:lnTo>
                  <a:pt x="15859" y="91059"/>
                </a:lnTo>
                <a:lnTo>
                  <a:pt x="33057" y="102488"/>
                </a:lnTo>
                <a:lnTo>
                  <a:pt x="54101" y="106679"/>
                </a:lnTo>
                <a:lnTo>
                  <a:pt x="75146" y="102488"/>
                </a:lnTo>
                <a:lnTo>
                  <a:pt x="92344" y="91059"/>
                </a:lnTo>
                <a:lnTo>
                  <a:pt x="103947" y="74104"/>
                </a:lnTo>
                <a:lnTo>
                  <a:pt x="108203" y="53339"/>
                </a:lnTo>
                <a:lnTo>
                  <a:pt x="103947" y="32575"/>
                </a:lnTo>
                <a:lnTo>
                  <a:pt x="92344" y="15621"/>
                </a:lnTo>
                <a:lnTo>
                  <a:pt x="75146" y="4191"/>
                </a:lnTo>
                <a:lnTo>
                  <a:pt x="54101" y="0"/>
                </a:lnTo>
                <a:close/>
              </a:path>
            </a:pathLst>
          </a:custGeom>
          <a:solidFill>
            <a:srgbClr val="3A3A3A"/>
          </a:solidFill>
        </p:spPr>
        <p:txBody>
          <a:bodyPr wrap="square" lIns="0" tIns="0" rIns="0" bIns="0" rtlCol="0"/>
          <a:lstStyle/>
          <a:p>
            <a:endParaRPr/>
          </a:p>
        </p:txBody>
      </p:sp>
      <p:sp>
        <p:nvSpPr>
          <p:cNvPr id="54" name="object 54"/>
          <p:cNvSpPr/>
          <p:nvPr/>
        </p:nvSpPr>
        <p:spPr>
          <a:xfrm>
            <a:off x="6176771" y="2724911"/>
            <a:ext cx="108585" cy="106680"/>
          </a:xfrm>
          <a:custGeom>
            <a:avLst/>
            <a:gdLst/>
            <a:ahLst/>
            <a:cxnLst/>
            <a:rect l="l" t="t" r="r" b="b"/>
            <a:pathLst>
              <a:path w="108585" h="106680">
                <a:moveTo>
                  <a:pt x="0" y="53339"/>
                </a:moveTo>
                <a:lnTo>
                  <a:pt x="4256" y="32575"/>
                </a:lnTo>
                <a:lnTo>
                  <a:pt x="15859" y="15621"/>
                </a:lnTo>
                <a:lnTo>
                  <a:pt x="33057" y="4191"/>
                </a:lnTo>
                <a:lnTo>
                  <a:pt x="54101" y="0"/>
                </a:lnTo>
                <a:lnTo>
                  <a:pt x="75146" y="4190"/>
                </a:lnTo>
                <a:lnTo>
                  <a:pt x="92344" y="15620"/>
                </a:lnTo>
                <a:lnTo>
                  <a:pt x="103947" y="32575"/>
                </a:lnTo>
                <a:lnTo>
                  <a:pt x="108203" y="53339"/>
                </a:lnTo>
                <a:lnTo>
                  <a:pt x="103947" y="74104"/>
                </a:lnTo>
                <a:lnTo>
                  <a:pt x="92344" y="91058"/>
                </a:lnTo>
                <a:lnTo>
                  <a:pt x="75146" y="102488"/>
                </a:lnTo>
                <a:lnTo>
                  <a:pt x="54101" y="106679"/>
                </a:lnTo>
                <a:lnTo>
                  <a:pt x="33057" y="102488"/>
                </a:lnTo>
                <a:lnTo>
                  <a:pt x="15859" y="91059"/>
                </a:lnTo>
                <a:lnTo>
                  <a:pt x="4256" y="74104"/>
                </a:lnTo>
                <a:lnTo>
                  <a:pt x="0" y="53339"/>
                </a:lnTo>
                <a:close/>
              </a:path>
            </a:pathLst>
          </a:custGeom>
          <a:ln w="12192">
            <a:solidFill>
              <a:srgbClr val="D9D9D9"/>
            </a:solidFill>
          </a:ln>
        </p:spPr>
        <p:txBody>
          <a:bodyPr wrap="square" lIns="0" tIns="0" rIns="0" bIns="0" rtlCol="0"/>
          <a:lstStyle/>
          <a:p>
            <a:endParaRPr/>
          </a:p>
        </p:txBody>
      </p:sp>
      <p:sp>
        <p:nvSpPr>
          <p:cNvPr id="55" name="object 55"/>
          <p:cNvSpPr txBox="1"/>
          <p:nvPr/>
        </p:nvSpPr>
        <p:spPr>
          <a:xfrm>
            <a:off x="227075" y="5757671"/>
            <a:ext cx="11689080" cy="338455"/>
          </a:xfrm>
          <a:prstGeom prst="rect">
            <a:avLst/>
          </a:prstGeom>
          <a:solidFill>
            <a:srgbClr val="CDEFFA"/>
          </a:solidFill>
        </p:spPr>
        <p:txBody>
          <a:bodyPr vert="horz" wrap="square" lIns="0" tIns="44450" rIns="0" bIns="0" rtlCol="0">
            <a:spAutoFit/>
          </a:bodyPr>
          <a:lstStyle/>
          <a:p>
            <a:pPr marL="594995">
              <a:lnSpc>
                <a:spcPct val="100000"/>
              </a:lnSpc>
              <a:spcBef>
                <a:spcPts val="350"/>
              </a:spcBef>
            </a:pPr>
            <a:r>
              <a:rPr sz="1600" b="1" spc="-5">
                <a:latin typeface="Verdana"/>
                <a:cs typeface="Verdana"/>
              </a:rPr>
              <a:t>10 </a:t>
            </a:r>
            <a:r>
              <a:rPr sz="1600" b="1" spc="-10">
                <a:latin typeface="Verdana"/>
                <a:cs typeface="Verdana"/>
              </a:rPr>
              <a:t>locations bringing group </a:t>
            </a:r>
            <a:r>
              <a:rPr sz="1600" b="1" spc="-5">
                <a:latin typeface="Verdana"/>
                <a:cs typeface="Verdana"/>
              </a:rPr>
              <a:t>and </a:t>
            </a:r>
            <a:r>
              <a:rPr sz="1600" b="1" spc="-10">
                <a:latin typeface="Verdana"/>
                <a:cs typeface="Verdana"/>
              </a:rPr>
              <a:t>local knowledge, skills </a:t>
            </a:r>
            <a:r>
              <a:rPr sz="1600" b="1" spc="-5">
                <a:latin typeface="Verdana"/>
                <a:cs typeface="Verdana"/>
              </a:rPr>
              <a:t>and </a:t>
            </a:r>
            <a:r>
              <a:rPr sz="1600" b="1" spc="-10">
                <a:latin typeface="Verdana"/>
                <a:cs typeface="Verdana"/>
              </a:rPr>
              <a:t>expertise </a:t>
            </a:r>
            <a:r>
              <a:rPr sz="1600" b="1" spc="-5">
                <a:latin typeface="Verdana"/>
                <a:cs typeface="Verdana"/>
              </a:rPr>
              <a:t>to our </a:t>
            </a:r>
            <a:r>
              <a:rPr sz="1600" b="1" spc="-10">
                <a:latin typeface="Verdana"/>
                <a:cs typeface="Verdana"/>
              </a:rPr>
              <a:t>client</a:t>
            </a:r>
            <a:r>
              <a:rPr sz="1600" b="1" spc="509">
                <a:latin typeface="Verdana"/>
                <a:cs typeface="Verdana"/>
              </a:rPr>
              <a:t> </a:t>
            </a:r>
            <a:r>
              <a:rPr sz="1600" b="1" spc="-10">
                <a:latin typeface="Verdana"/>
                <a:cs typeface="Verdana"/>
              </a:rPr>
              <a:t>premises</a:t>
            </a:r>
            <a:endParaRPr sz="1600">
              <a:latin typeface="Verdana"/>
              <a:cs typeface="Verdana"/>
            </a:endParaRPr>
          </a:p>
        </p:txBody>
      </p:sp>
      <p:sp>
        <p:nvSpPr>
          <p:cNvPr id="56" name="object 5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7" name="object 57"/>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6</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8" name="object 8"/>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9" name="object 9"/>
          <p:cNvSpPr txBox="1">
            <a:spLocks noGrp="1"/>
          </p:cNvSpPr>
          <p:nvPr>
            <p:ph type="title"/>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rPr>
              <a:t>02.1</a:t>
            </a:r>
            <a:endParaRPr sz="4400"/>
          </a:p>
        </p:txBody>
      </p:sp>
      <p:sp>
        <p:nvSpPr>
          <p:cNvPr id="10" name="object 10"/>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11" name="object 11"/>
          <p:cNvSpPr/>
          <p:nvPr/>
        </p:nvSpPr>
        <p:spPr>
          <a:xfrm>
            <a:off x="443483" y="3974591"/>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2" name="object 12"/>
          <p:cNvSpPr/>
          <p:nvPr/>
        </p:nvSpPr>
        <p:spPr>
          <a:xfrm>
            <a:off x="502919" y="4043171"/>
            <a:ext cx="169164" cy="150875"/>
          </a:xfrm>
          <a:prstGeom prst="rect">
            <a:avLst/>
          </a:prstGeom>
          <a:blipFill>
            <a:blip r:embed="rId3" cstate="print"/>
            <a:stretch>
              <a:fillRect/>
            </a:stretch>
          </a:blipFill>
        </p:spPr>
        <p:txBody>
          <a:bodyPr wrap="square" lIns="0" tIns="0" rIns="0" bIns="0" rtlCol="0"/>
          <a:lstStyle/>
          <a:p>
            <a:endParaRPr/>
          </a:p>
        </p:txBody>
      </p:sp>
      <p:sp>
        <p:nvSpPr>
          <p:cNvPr id="13" name="object 13"/>
          <p:cNvSpPr txBox="1"/>
          <p:nvPr/>
        </p:nvSpPr>
        <p:spPr>
          <a:xfrm>
            <a:off x="540207" y="2774400"/>
            <a:ext cx="3744595" cy="1453515"/>
          </a:xfrm>
          <a:prstGeom prst="rect">
            <a:avLst/>
          </a:prstGeom>
        </p:spPr>
        <p:txBody>
          <a:bodyPr vert="horz" wrap="square" lIns="0" tIns="140970" rIns="0" bIns="0" rtlCol="0">
            <a:spAutoFit/>
          </a:bodyPr>
          <a:lstStyle/>
          <a:p>
            <a:pPr marL="12700">
              <a:lnSpc>
                <a:spcPct val="100000"/>
              </a:lnSpc>
              <a:spcBef>
                <a:spcPts val="1110"/>
              </a:spcBef>
            </a:pPr>
            <a:r>
              <a:rPr sz="2000" b="1">
                <a:solidFill>
                  <a:srgbClr val="FFFFFF"/>
                </a:solidFill>
                <a:latin typeface="Verdana"/>
                <a:cs typeface="Verdana"/>
              </a:rPr>
              <a:t>Customer </a:t>
            </a:r>
            <a:r>
              <a:rPr sz="2000" b="1" spc="-5">
                <a:solidFill>
                  <a:srgbClr val="FFFFFF"/>
                </a:solidFill>
                <a:latin typeface="Verdana"/>
                <a:cs typeface="Verdana"/>
              </a:rPr>
              <a:t>Experience</a:t>
            </a:r>
            <a:r>
              <a:rPr sz="2000" b="1" spc="-65">
                <a:solidFill>
                  <a:srgbClr val="FFFFFF"/>
                </a:solidFill>
                <a:latin typeface="Verdana"/>
                <a:cs typeface="Verdana"/>
              </a:rPr>
              <a:t> </a:t>
            </a:r>
            <a:r>
              <a:rPr sz="2000" b="1">
                <a:solidFill>
                  <a:srgbClr val="FFFFFF"/>
                </a:solidFill>
                <a:latin typeface="Verdana"/>
                <a:cs typeface="Verdana"/>
              </a:rPr>
              <a:t>and</a:t>
            </a:r>
            <a:endParaRPr sz="2000">
              <a:latin typeface="Verdana"/>
              <a:cs typeface="Verdana"/>
            </a:endParaRPr>
          </a:p>
          <a:p>
            <a:pPr marL="12700">
              <a:lnSpc>
                <a:spcPct val="100000"/>
              </a:lnSpc>
              <a:spcBef>
                <a:spcPts val="1010"/>
              </a:spcBef>
            </a:pPr>
            <a:r>
              <a:rPr sz="2000" b="1">
                <a:solidFill>
                  <a:srgbClr val="FFFFFF"/>
                </a:solidFill>
                <a:latin typeface="Verdana"/>
                <a:cs typeface="Verdana"/>
              </a:rPr>
              <a:t>Salesforce</a:t>
            </a:r>
            <a:r>
              <a:rPr sz="2000" b="1" spc="-40">
                <a:solidFill>
                  <a:srgbClr val="FFFFFF"/>
                </a:solidFill>
                <a:latin typeface="Verdana"/>
                <a:cs typeface="Verdana"/>
              </a:rPr>
              <a:t> </a:t>
            </a:r>
            <a:r>
              <a:rPr sz="2000" b="1">
                <a:solidFill>
                  <a:srgbClr val="FFFFFF"/>
                </a:solidFill>
                <a:latin typeface="Verdana"/>
                <a:cs typeface="Verdana"/>
              </a:rPr>
              <a:t>capabilities</a:t>
            </a:r>
            <a:endParaRPr sz="2000">
              <a:latin typeface="Verdana"/>
              <a:cs typeface="Verdana"/>
            </a:endParaRPr>
          </a:p>
          <a:p>
            <a:pPr>
              <a:lnSpc>
                <a:spcPct val="100000"/>
              </a:lnSpc>
              <a:spcBef>
                <a:spcPts val="35"/>
              </a:spcBef>
            </a:pPr>
            <a:endParaRPr sz="2350">
              <a:latin typeface="Times New Roman"/>
              <a:cs typeface="Times New Roman"/>
            </a:endParaRPr>
          </a:p>
          <a:p>
            <a:pPr marL="302895">
              <a:lnSpc>
                <a:spcPct val="100000"/>
              </a:lnSpc>
            </a:pPr>
            <a:r>
              <a:rPr sz="1400" b="1" spc="-5">
                <a:solidFill>
                  <a:srgbClr val="FFFFFF"/>
                </a:solidFill>
                <a:latin typeface="Verdana"/>
                <a:cs typeface="Verdana"/>
              </a:rPr>
              <a:t>Salesforce </a:t>
            </a:r>
            <a:r>
              <a:rPr sz="1400" b="1">
                <a:solidFill>
                  <a:srgbClr val="FFFFFF"/>
                </a:solidFill>
                <a:latin typeface="Verdana"/>
                <a:cs typeface="Verdana"/>
              </a:rPr>
              <a:t>Accelerators </a:t>
            </a:r>
            <a:r>
              <a:rPr sz="1400" b="1" spc="-5">
                <a:solidFill>
                  <a:srgbClr val="FFFFFF"/>
                </a:solidFill>
                <a:latin typeface="Verdana"/>
                <a:cs typeface="Verdana"/>
              </a:rPr>
              <a:t>for</a:t>
            </a:r>
            <a:r>
              <a:rPr sz="1400" b="1" spc="-95">
                <a:solidFill>
                  <a:srgbClr val="FFFFFF"/>
                </a:solidFill>
                <a:latin typeface="Verdana"/>
                <a:cs typeface="Verdana"/>
              </a:rPr>
              <a:t> </a:t>
            </a:r>
            <a:r>
              <a:rPr sz="1400" b="1" spc="-5">
                <a:solidFill>
                  <a:srgbClr val="FFFFFF"/>
                </a:solidFill>
                <a:latin typeface="Verdana"/>
                <a:cs typeface="Verdana"/>
              </a:rPr>
              <a:t>Marelli</a:t>
            </a:r>
            <a:endParaRPr sz="1400">
              <a:latin typeface="Verdana"/>
              <a:cs typeface="Verdana"/>
            </a:endParaRPr>
          </a:p>
        </p:txBody>
      </p:sp>
      <p:sp>
        <p:nvSpPr>
          <p:cNvPr id="14" name="object 1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5" name="object 1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7</a:t>
            </a:fld>
            <a:endParaRPr/>
          </a:p>
        </p:txBody>
      </p:sp>
      <p:pic>
        <p:nvPicPr>
          <p:cNvPr id="16" name="Picture 15">
            <a:extLst>
              <a:ext uri="{FF2B5EF4-FFF2-40B4-BE49-F238E27FC236}">
                <a16:creationId xmlns:a16="http://schemas.microsoft.com/office/drawing/2014/main" id="{BC80DE10-37D0-413E-A3A9-7336918A8500}"/>
              </a:ext>
            </a:extLst>
          </p:cNvPr>
          <p:cNvPicPr>
            <a:picLocks noChangeAspect="1"/>
          </p:cNvPicPr>
          <p:nvPr/>
        </p:nvPicPr>
        <p:blipFill>
          <a:blip r:embed="rId4">
            <a:alphaModFix/>
          </a:blip>
          <a:stretch>
            <a:fillRect/>
          </a:stretch>
        </p:blipFill>
        <p:spPr>
          <a:xfrm>
            <a:off x="6173969" y="1628775"/>
            <a:ext cx="5094106" cy="282892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833359" cy="422275"/>
          </a:xfrm>
          <a:prstGeom prst="rect">
            <a:avLst/>
          </a:prstGeom>
        </p:spPr>
        <p:txBody>
          <a:bodyPr vert="horz" wrap="square" lIns="0" tIns="12700" rIns="0" bIns="0" rtlCol="0">
            <a:spAutoFit/>
          </a:bodyPr>
          <a:lstStyle/>
          <a:p>
            <a:pPr marL="12700">
              <a:lnSpc>
                <a:spcPct val="100000"/>
              </a:lnSpc>
              <a:spcBef>
                <a:spcPts val="100"/>
              </a:spcBef>
            </a:pPr>
            <a:r>
              <a:rPr sz="2600" spc="-5"/>
              <a:t>Investing to Support Capacity </a:t>
            </a:r>
            <a:r>
              <a:rPr sz="2600"/>
              <a:t>&amp;</a:t>
            </a:r>
            <a:r>
              <a:rPr sz="2600" spc="-40"/>
              <a:t> </a:t>
            </a:r>
            <a:r>
              <a:rPr sz="2600"/>
              <a:t>Differentiation</a:t>
            </a:r>
          </a:p>
        </p:txBody>
      </p:sp>
      <p:sp>
        <p:nvSpPr>
          <p:cNvPr id="3" name="object 3"/>
          <p:cNvSpPr/>
          <p:nvPr/>
        </p:nvSpPr>
        <p:spPr>
          <a:xfrm>
            <a:off x="0" y="5458967"/>
            <a:ext cx="12192000" cy="1005840"/>
          </a:xfrm>
          <a:custGeom>
            <a:avLst/>
            <a:gdLst/>
            <a:ahLst/>
            <a:cxnLst/>
            <a:rect l="l" t="t" r="r" b="b"/>
            <a:pathLst>
              <a:path w="12192000" h="1005839">
                <a:moveTo>
                  <a:pt x="0" y="1005839"/>
                </a:moveTo>
                <a:lnTo>
                  <a:pt x="12192000" y="1005839"/>
                </a:lnTo>
                <a:lnTo>
                  <a:pt x="12192000" y="0"/>
                </a:lnTo>
                <a:lnTo>
                  <a:pt x="0" y="0"/>
                </a:lnTo>
                <a:lnTo>
                  <a:pt x="0" y="1005839"/>
                </a:lnTo>
                <a:close/>
              </a:path>
            </a:pathLst>
          </a:custGeom>
          <a:solidFill>
            <a:srgbClr val="2B133C"/>
          </a:solidFill>
        </p:spPr>
        <p:txBody>
          <a:bodyPr wrap="square" lIns="0" tIns="0" rIns="0" bIns="0" rtlCol="0"/>
          <a:lstStyle/>
          <a:p>
            <a:endParaRPr/>
          </a:p>
        </p:txBody>
      </p:sp>
      <p:sp>
        <p:nvSpPr>
          <p:cNvPr id="4" name="object 4"/>
          <p:cNvSpPr/>
          <p:nvPr/>
        </p:nvSpPr>
        <p:spPr>
          <a:xfrm>
            <a:off x="8964168" y="5618988"/>
            <a:ext cx="893064" cy="621792"/>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3223260" y="5586984"/>
            <a:ext cx="0" cy="731520"/>
          </a:xfrm>
          <a:custGeom>
            <a:avLst/>
            <a:gdLst/>
            <a:ahLst/>
            <a:cxnLst/>
            <a:rect l="l" t="t" r="r" b="b"/>
            <a:pathLst>
              <a:path h="731520">
                <a:moveTo>
                  <a:pt x="0" y="0"/>
                </a:moveTo>
                <a:lnTo>
                  <a:pt x="0" y="731519"/>
                </a:lnTo>
              </a:path>
            </a:pathLst>
          </a:custGeom>
          <a:ln w="3175">
            <a:solidFill>
              <a:srgbClr val="ECECEC"/>
            </a:solidFill>
            <a:prstDash val="sysDot"/>
          </a:ln>
        </p:spPr>
        <p:txBody>
          <a:bodyPr wrap="square" lIns="0" tIns="0" rIns="0" bIns="0" rtlCol="0"/>
          <a:lstStyle/>
          <a:p>
            <a:endParaRPr/>
          </a:p>
        </p:txBody>
      </p:sp>
      <p:sp>
        <p:nvSpPr>
          <p:cNvPr id="6" name="object 6"/>
          <p:cNvSpPr/>
          <p:nvPr/>
        </p:nvSpPr>
        <p:spPr>
          <a:xfrm>
            <a:off x="6202679" y="5561076"/>
            <a:ext cx="0" cy="731520"/>
          </a:xfrm>
          <a:custGeom>
            <a:avLst/>
            <a:gdLst/>
            <a:ahLst/>
            <a:cxnLst/>
            <a:rect l="l" t="t" r="r" b="b"/>
            <a:pathLst>
              <a:path h="731520">
                <a:moveTo>
                  <a:pt x="0" y="0"/>
                </a:moveTo>
                <a:lnTo>
                  <a:pt x="0" y="731520"/>
                </a:lnTo>
              </a:path>
            </a:pathLst>
          </a:custGeom>
          <a:ln w="3175">
            <a:solidFill>
              <a:srgbClr val="ECECEC"/>
            </a:solidFill>
            <a:prstDash val="sysDot"/>
          </a:ln>
        </p:spPr>
        <p:txBody>
          <a:bodyPr wrap="square" lIns="0" tIns="0" rIns="0" bIns="0" rtlCol="0"/>
          <a:lstStyle/>
          <a:p>
            <a:endParaRPr/>
          </a:p>
        </p:txBody>
      </p:sp>
      <p:sp>
        <p:nvSpPr>
          <p:cNvPr id="7" name="object 7"/>
          <p:cNvSpPr/>
          <p:nvPr/>
        </p:nvSpPr>
        <p:spPr>
          <a:xfrm>
            <a:off x="8823959" y="5586984"/>
            <a:ext cx="0" cy="731520"/>
          </a:xfrm>
          <a:custGeom>
            <a:avLst/>
            <a:gdLst/>
            <a:ahLst/>
            <a:cxnLst/>
            <a:rect l="l" t="t" r="r" b="b"/>
            <a:pathLst>
              <a:path h="731520">
                <a:moveTo>
                  <a:pt x="0" y="0"/>
                </a:moveTo>
                <a:lnTo>
                  <a:pt x="0" y="731519"/>
                </a:lnTo>
              </a:path>
            </a:pathLst>
          </a:custGeom>
          <a:ln w="3175">
            <a:solidFill>
              <a:srgbClr val="ECECEC"/>
            </a:solidFill>
            <a:prstDash val="sysDot"/>
          </a:ln>
        </p:spPr>
        <p:txBody>
          <a:bodyPr wrap="square" lIns="0" tIns="0" rIns="0" bIns="0" rtlCol="0"/>
          <a:lstStyle/>
          <a:p>
            <a:endParaRPr/>
          </a:p>
        </p:txBody>
      </p:sp>
      <p:sp>
        <p:nvSpPr>
          <p:cNvPr id="8" name="object 8"/>
          <p:cNvSpPr/>
          <p:nvPr/>
        </p:nvSpPr>
        <p:spPr>
          <a:xfrm>
            <a:off x="374904" y="5638800"/>
            <a:ext cx="961644" cy="664464"/>
          </a:xfrm>
          <a:prstGeom prst="rect">
            <a:avLst/>
          </a:prstGeom>
          <a:blipFill>
            <a:blip r:embed="rId3" cstate="print"/>
            <a:stretch>
              <a:fillRect/>
            </a:stretch>
          </a:blipFill>
        </p:spPr>
        <p:txBody>
          <a:bodyPr wrap="square" lIns="0" tIns="0" rIns="0" bIns="0" rtlCol="0"/>
          <a:lstStyle/>
          <a:p>
            <a:endParaRPr/>
          </a:p>
        </p:txBody>
      </p:sp>
      <p:sp>
        <p:nvSpPr>
          <p:cNvPr id="9" name="object 9"/>
          <p:cNvSpPr txBox="1"/>
          <p:nvPr/>
        </p:nvSpPr>
        <p:spPr>
          <a:xfrm>
            <a:off x="1364996" y="5835192"/>
            <a:ext cx="1698625" cy="269240"/>
          </a:xfrm>
          <a:prstGeom prst="rect">
            <a:avLst/>
          </a:prstGeom>
        </p:spPr>
        <p:txBody>
          <a:bodyPr vert="horz" wrap="square" lIns="0" tIns="12065" rIns="0" bIns="0" rtlCol="0">
            <a:spAutoFit/>
          </a:bodyPr>
          <a:lstStyle/>
          <a:p>
            <a:pPr marL="12700">
              <a:lnSpc>
                <a:spcPct val="100000"/>
              </a:lnSpc>
              <a:spcBef>
                <a:spcPts val="95"/>
              </a:spcBef>
            </a:pPr>
            <a:r>
              <a:rPr sz="1600" spc="-5">
                <a:solidFill>
                  <a:srgbClr val="FFFFFF"/>
                </a:solidFill>
                <a:latin typeface="Verdana"/>
                <a:cs typeface="Verdana"/>
              </a:rPr>
              <a:t>commerce</a:t>
            </a:r>
            <a:r>
              <a:rPr sz="1600" spc="-15">
                <a:solidFill>
                  <a:srgbClr val="FFFFFF"/>
                </a:solidFill>
                <a:latin typeface="Verdana"/>
                <a:cs typeface="Verdana"/>
              </a:rPr>
              <a:t> </a:t>
            </a:r>
            <a:r>
              <a:rPr sz="1600" spc="-5">
                <a:solidFill>
                  <a:srgbClr val="FFFFFF"/>
                </a:solidFill>
                <a:latin typeface="Verdana"/>
                <a:cs typeface="Verdana"/>
              </a:rPr>
              <a:t>cloud</a:t>
            </a:r>
            <a:endParaRPr sz="1600">
              <a:latin typeface="Verdana"/>
              <a:cs typeface="Verdana"/>
            </a:endParaRPr>
          </a:p>
        </p:txBody>
      </p:sp>
      <p:sp>
        <p:nvSpPr>
          <p:cNvPr id="10" name="object 10"/>
          <p:cNvSpPr/>
          <p:nvPr/>
        </p:nvSpPr>
        <p:spPr>
          <a:xfrm>
            <a:off x="3363467" y="5614415"/>
            <a:ext cx="1018032" cy="749808"/>
          </a:xfrm>
          <a:prstGeom prst="rect">
            <a:avLst/>
          </a:prstGeom>
          <a:blipFill>
            <a:blip r:embed="rId4" cstate="print"/>
            <a:stretch>
              <a:fillRect/>
            </a:stretch>
          </a:blipFill>
        </p:spPr>
        <p:txBody>
          <a:bodyPr wrap="square" lIns="0" tIns="0" rIns="0" bIns="0" rtlCol="0"/>
          <a:lstStyle/>
          <a:p>
            <a:endParaRPr/>
          </a:p>
        </p:txBody>
      </p:sp>
      <p:sp>
        <p:nvSpPr>
          <p:cNvPr id="11" name="object 11"/>
          <p:cNvSpPr txBox="1"/>
          <p:nvPr/>
        </p:nvSpPr>
        <p:spPr>
          <a:xfrm>
            <a:off x="4389882" y="5853480"/>
            <a:ext cx="1673225" cy="269240"/>
          </a:xfrm>
          <a:prstGeom prst="rect">
            <a:avLst/>
          </a:prstGeom>
        </p:spPr>
        <p:txBody>
          <a:bodyPr vert="horz" wrap="square" lIns="0" tIns="12065" rIns="0" bIns="0" rtlCol="0">
            <a:spAutoFit/>
          </a:bodyPr>
          <a:lstStyle/>
          <a:p>
            <a:pPr marL="12700">
              <a:lnSpc>
                <a:spcPct val="100000"/>
              </a:lnSpc>
              <a:spcBef>
                <a:spcPts val="95"/>
              </a:spcBef>
            </a:pPr>
            <a:r>
              <a:rPr sz="1600" spc="-10">
                <a:solidFill>
                  <a:srgbClr val="FFFFFF"/>
                </a:solidFill>
                <a:latin typeface="Verdana"/>
                <a:cs typeface="Verdana"/>
              </a:rPr>
              <a:t>marketing</a:t>
            </a:r>
            <a:r>
              <a:rPr sz="1600" spc="-20">
                <a:solidFill>
                  <a:srgbClr val="FFFFFF"/>
                </a:solidFill>
                <a:latin typeface="Verdana"/>
                <a:cs typeface="Verdana"/>
              </a:rPr>
              <a:t> </a:t>
            </a:r>
            <a:r>
              <a:rPr sz="1600" spc="-5">
                <a:solidFill>
                  <a:srgbClr val="FFFFFF"/>
                </a:solidFill>
                <a:latin typeface="Verdana"/>
                <a:cs typeface="Verdana"/>
              </a:rPr>
              <a:t>cloud</a:t>
            </a:r>
            <a:endParaRPr sz="1600">
              <a:latin typeface="Verdana"/>
              <a:cs typeface="Verdana"/>
            </a:endParaRPr>
          </a:p>
        </p:txBody>
      </p:sp>
      <p:sp>
        <p:nvSpPr>
          <p:cNvPr id="12" name="object 12"/>
          <p:cNvSpPr/>
          <p:nvPr/>
        </p:nvSpPr>
        <p:spPr>
          <a:xfrm>
            <a:off x="6342888" y="5599176"/>
            <a:ext cx="918971" cy="713828"/>
          </a:xfrm>
          <a:prstGeom prst="rect">
            <a:avLst/>
          </a:prstGeom>
          <a:blipFill>
            <a:blip r:embed="rId5" cstate="print"/>
            <a:stretch>
              <a:fillRect/>
            </a:stretch>
          </a:blipFill>
        </p:spPr>
        <p:txBody>
          <a:bodyPr wrap="square" lIns="0" tIns="0" rIns="0" bIns="0" rtlCol="0"/>
          <a:lstStyle/>
          <a:p>
            <a:endParaRPr/>
          </a:p>
        </p:txBody>
      </p:sp>
      <p:sp>
        <p:nvSpPr>
          <p:cNvPr id="13" name="object 13"/>
          <p:cNvSpPr txBox="1"/>
          <p:nvPr/>
        </p:nvSpPr>
        <p:spPr>
          <a:xfrm>
            <a:off x="7325106" y="5823000"/>
            <a:ext cx="1352550" cy="269240"/>
          </a:xfrm>
          <a:prstGeom prst="rect">
            <a:avLst/>
          </a:prstGeom>
        </p:spPr>
        <p:txBody>
          <a:bodyPr vert="horz" wrap="square" lIns="0" tIns="12065" rIns="0" bIns="0" rtlCol="0">
            <a:spAutoFit/>
          </a:bodyPr>
          <a:lstStyle/>
          <a:p>
            <a:pPr marL="12700">
              <a:lnSpc>
                <a:spcPct val="100000"/>
              </a:lnSpc>
              <a:spcBef>
                <a:spcPts val="95"/>
              </a:spcBef>
            </a:pPr>
            <a:r>
              <a:rPr sz="1600" spc="-10">
                <a:solidFill>
                  <a:srgbClr val="FFFFFF"/>
                </a:solidFill>
                <a:latin typeface="Verdana"/>
                <a:cs typeface="Verdana"/>
              </a:rPr>
              <a:t>service</a:t>
            </a:r>
            <a:r>
              <a:rPr sz="1600" spc="-25">
                <a:solidFill>
                  <a:srgbClr val="FFFFFF"/>
                </a:solidFill>
                <a:latin typeface="Verdana"/>
                <a:cs typeface="Verdana"/>
              </a:rPr>
              <a:t> </a:t>
            </a:r>
            <a:r>
              <a:rPr sz="1600" spc="-5">
                <a:solidFill>
                  <a:srgbClr val="FFFFFF"/>
                </a:solidFill>
                <a:latin typeface="Verdana"/>
                <a:cs typeface="Verdana"/>
              </a:rPr>
              <a:t>cloud</a:t>
            </a:r>
            <a:endParaRPr sz="1600">
              <a:latin typeface="Verdana"/>
              <a:cs typeface="Verdana"/>
            </a:endParaRPr>
          </a:p>
        </p:txBody>
      </p:sp>
      <p:sp>
        <p:nvSpPr>
          <p:cNvPr id="14" name="object 14"/>
          <p:cNvSpPr/>
          <p:nvPr/>
        </p:nvSpPr>
        <p:spPr>
          <a:xfrm>
            <a:off x="9995916" y="5623559"/>
            <a:ext cx="0" cy="731520"/>
          </a:xfrm>
          <a:custGeom>
            <a:avLst/>
            <a:gdLst/>
            <a:ahLst/>
            <a:cxnLst/>
            <a:rect l="l" t="t" r="r" b="b"/>
            <a:pathLst>
              <a:path h="731520">
                <a:moveTo>
                  <a:pt x="0" y="0"/>
                </a:moveTo>
                <a:lnTo>
                  <a:pt x="0" y="731519"/>
                </a:lnTo>
              </a:path>
            </a:pathLst>
          </a:custGeom>
          <a:ln w="3175">
            <a:solidFill>
              <a:srgbClr val="ECECEC"/>
            </a:solidFill>
            <a:prstDash val="sysDot"/>
          </a:ln>
        </p:spPr>
        <p:txBody>
          <a:bodyPr wrap="square" lIns="0" tIns="0" rIns="0" bIns="0" rtlCol="0"/>
          <a:lstStyle/>
          <a:p>
            <a:endParaRPr/>
          </a:p>
        </p:txBody>
      </p:sp>
      <p:sp>
        <p:nvSpPr>
          <p:cNvPr id="15" name="object 15"/>
          <p:cNvSpPr/>
          <p:nvPr/>
        </p:nvSpPr>
        <p:spPr>
          <a:xfrm>
            <a:off x="10136123" y="5775959"/>
            <a:ext cx="1711452" cy="428243"/>
          </a:xfrm>
          <a:prstGeom prst="rect">
            <a:avLst/>
          </a:prstGeom>
          <a:blipFill>
            <a:blip r:embed="rId6" cstate="print"/>
            <a:stretch>
              <a:fillRect/>
            </a:stretch>
          </a:blipFill>
        </p:spPr>
        <p:txBody>
          <a:bodyPr wrap="square" lIns="0" tIns="0" rIns="0" bIns="0" rtlCol="0"/>
          <a:lstStyle/>
          <a:p>
            <a:endParaRPr/>
          </a:p>
        </p:txBody>
      </p:sp>
      <p:sp>
        <p:nvSpPr>
          <p:cNvPr id="16" name="object 16"/>
          <p:cNvSpPr/>
          <p:nvPr/>
        </p:nvSpPr>
        <p:spPr>
          <a:xfrm>
            <a:off x="553212" y="2133574"/>
            <a:ext cx="11237721" cy="1997989"/>
          </a:xfrm>
          <a:prstGeom prst="rect">
            <a:avLst/>
          </a:prstGeom>
          <a:blipFill>
            <a:blip r:embed="rId7" cstate="print"/>
            <a:stretch>
              <a:fillRect/>
            </a:stretch>
          </a:blipFill>
        </p:spPr>
        <p:txBody>
          <a:bodyPr wrap="square" lIns="0" tIns="0" rIns="0" bIns="0" rtlCol="0"/>
          <a:lstStyle/>
          <a:p>
            <a:endParaRPr/>
          </a:p>
        </p:txBody>
      </p:sp>
      <p:sp>
        <p:nvSpPr>
          <p:cNvPr id="17" name="object 17"/>
          <p:cNvSpPr txBox="1"/>
          <p:nvPr/>
        </p:nvSpPr>
        <p:spPr>
          <a:xfrm>
            <a:off x="707542" y="3405885"/>
            <a:ext cx="935355" cy="490855"/>
          </a:xfrm>
          <a:prstGeom prst="rect">
            <a:avLst/>
          </a:prstGeom>
        </p:spPr>
        <p:txBody>
          <a:bodyPr vert="horz" wrap="square" lIns="0" tIns="13335" rIns="0" bIns="0" rtlCol="0">
            <a:spAutoFit/>
          </a:bodyPr>
          <a:lstStyle/>
          <a:p>
            <a:pPr algn="ctr">
              <a:lnSpc>
                <a:spcPts val="930"/>
              </a:lnSpc>
              <a:spcBef>
                <a:spcPts val="105"/>
              </a:spcBef>
            </a:pPr>
            <a:r>
              <a:rPr sz="800">
                <a:latin typeface="Verdana"/>
                <a:cs typeface="Verdana"/>
              </a:rPr>
              <a:t>200</a:t>
            </a:r>
          </a:p>
          <a:p>
            <a:pPr marL="12700" marR="5080" algn="ctr">
              <a:lnSpc>
                <a:spcPts val="900"/>
              </a:lnSpc>
              <a:spcBef>
                <a:spcPts val="50"/>
              </a:spcBef>
            </a:pPr>
            <a:r>
              <a:rPr sz="800">
                <a:latin typeface="Verdana"/>
                <a:cs typeface="Verdana"/>
              </a:rPr>
              <a:t>global</a:t>
            </a:r>
            <a:r>
              <a:rPr sz="800" spc="-75">
                <a:latin typeface="Verdana"/>
                <a:cs typeface="Verdana"/>
              </a:rPr>
              <a:t> </a:t>
            </a:r>
            <a:r>
              <a:rPr sz="800">
                <a:latin typeface="Verdana"/>
                <a:cs typeface="Verdana"/>
              </a:rPr>
              <a:t>Salesforce,  commerce, </a:t>
            </a:r>
            <a:r>
              <a:rPr sz="800" spc="-5">
                <a:latin typeface="Verdana"/>
                <a:cs typeface="Verdana"/>
              </a:rPr>
              <a:t>and  </a:t>
            </a:r>
            <a:r>
              <a:rPr sz="800">
                <a:latin typeface="Verdana"/>
                <a:cs typeface="Verdana"/>
              </a:rPr>
              <a:t>design</a:t>
            </a:r>
            <a:r>
              <a:rPr sz="800" spc="-25">
                <a:latin typeface="Verdana"/>
                <a:cs typeface="Verdana"/>
              </a:rPr>
              <a:t> </a:t>
            </a:r>
            <a:r>
              <a:rPr sz="800">
                <a:latin typeface="Verdana"/>
                <a:cs typeface="Verdana"/>
              </a:rPr>
              <a:t>leaders</a:t>
            </a:r>
          </a:p>
        </p:txBody>
      </p:sp>
      <p:sp>
        <p:nvSpPr>
          <p:cNvPr id="18" name="object 18"/>
          <p:cNvSpPr txBox="1"/>
          <p:nvPr/>
        </p:nvSpPr>
        <p:spPr>
          <a:xfrm>
            <a:off x="1754504" y="2325370"/>
            <a:ext cx="857885" cy="490855"/>
          </a:xfrm>
          <a:prstGeom prst="rect">
            <a:avLst/>
          </a:prstGeom>
        </p:spPr>
        <p:txBody>
          <a:bodyPr vert="horz" wrap="square" lIns="0" tIns="23495" rIns="0" bIns="0" rtlCol="0">
            <a:spAutoFit/>
          </a:bodyPr>
          <a:lstStyle/>
          <a:p>
            <a:pPr marL="12700" marR="5080" indent="635" algn="ctr">
              <a:lnSpc>
                <a:spcPts val="900"/>
              </a:lnSpc>
              <a:spcBef>
                <a:spcPts val="185"/>
              </a:spcBef>
            </a:pPr>
            <a:r>
              <a:rPr sz="800">
                <a:latin typeface="Verdana"/>
                <a:cs typeface="Verdana"/>
              </a:rPr>
              <a:t>300 commerce  </a:t>
            </a:r>
            <a:r>
              <a:rPr sz="800" spc="-5">
                <a:latin typeface="Verdana"/>
                <a:cs typeface="Verdana"/>
              </a:rPr>
              <a:t>and marketing  </a:t>
            </a:r>
            <a:r>
              <a:rPr sz="800">
                <a:latin typeface="Verdana"/>
                <a:cs typeface="Verdana"/>
              </a:rPr>
              <a:t>experts </a:t>
            </a:r>
            <a:r>
              <a:rPr sz="800" spc="-5">
                <a:latin typeface="Verdana"/>
                <a:cs typeface="Verdana"/>
              </a:rPr>
              <a:t>in</a:t>
            </a:r>
            <a:r>
              <a:rPr sz="800" spc="-90">
                <a:latin typeface="Verdana"/>
                <a:cs typeface="Verdana"/>
              </a:rPr>
              <a:t> </a:t>
            </a:r>
            <a:r>
              <a:rPr sz="800">
                <a:latin typeface="Verdana"/>
                <a:cs typeface="Verdana"/>
              </a:rPr>
              <a:t>North  America</a:t>
            </a:r>
          </a:p>
        </p:txBody>
      </p:sp>
      <p:sp>
        <p:nvSpPr>
          <p:cNvPr id="19" name="object 19"/>
          <p:cNvSpPr/>
          <p:nvPr/>
        </p:nvSpPr>
        <p:spPr>
          <a:xfrm>
            <a:off x="756940" y="1716362"/>
            <a:ext cx="827794" cy="327829"/>
          </a:xfrm>
          <a:prstGeom prst="rect">
            <a:avLst/>
          </a:prstGeom>
          <a:blipFill>
            <a:blip r:embed="rId8" cstate="print"/>
            <a:stretch>
              <a:fillRect/>
            </a:stretch>
          </a:blipFill>
        </p:spPr>
        <p:txBody>
          <a:bodyPr wrap="square" lIns="0" tIns="0" rIns="0" bIns="0" rtlCol="0"/>
          <a:lstStyle/>
          <a:p>
            <a:endParaRPr/>
          </a:p>
        </p:txBody>
      </p:sp>
      <p:sp>
        <p:nvSpPr>
          <p:cNvPr id="20" name="object 20"/>
          <p:cNvSpPr txBox="1"/>
          <p:nvPr/>
        </p:nvSpPr>
        <p:spPr>
          <a:xfrm>
            <a:off x="2934080" y="3405885"/>
            <a:ext cx="611505" cy="605790"/>
          </a:xfrm>
          <a:prstGeom prst="rect">
            <a:avLst/>
          </a:prstGeom>
        </p:spPr>
        <p:txBody>
          <a:bodyPr vert="horz" wrap="square" lIns="0" tIns="23495" rIns="0" bIns="0" rtlCol="0">
            <a:spAutoFit/>
          </a:bodyPr>
          <a:lstStyle/>
          <a:p>
            <a:pPr marL="12065" marR="5080" indent="2540" algn="ctr">
              <a:lnSpc>
                <a:spcPts val="900"/>
              </a:lnSpc>
              <a:spcBef>
                <a:spcPts val="185"/>
              </a:spcBef>
            </a:pPr>
            <a:r>
              <a:rPr sz="800" spc="-5">
                <a:latin typeface="Verdana"/>
                <a:cs typeface="Verdana"/>
              </a:rPr>
              <a:t>marketing,  </a:t>
            </a:r>
            <a:r>
              <a:rPr sz="800">
                <a:latin typeface="Verdana"/>
                <a:cs typeface="Verdana"/>
              </a:rPr>
              <a:t>sales,  com</a:t>
            </a:r>
            <a:r>
              <a:rPr sz="800" spc="-5">
                <a:latin typeface="Verdana"/>
                <a:cs typeface="Verdana"/>
              </a:rPr>
              <a:t>m</a:t>
            </a:r>
            <a:r>
              <a:rPr sz="800">
                <a:latin typeface="Verdana"/>
                <a:cs typeface="Verdana"/>
              </a:rPr>
              <a:t>e</a:t>
            </a:r>
            <a:r>
              <a:rPr sz="800" spc="5">
                <a:latin typeface="Verdana"/>
                <a:cs typeface="Verdana"/>
              </a:rPr>
              <a:t>r</a:t>
            </a:r>
            <a:r>
              <a:rPr sz="800" spc="-15">
                <a:latin typeface="Verdana"/>
                <a:cs typeface="Verdana"/>
              </a:rPr>
              <a:t>c</a:t>
            </a:r>
            <a:r>
              <a:rPr sz="800">
                <a:latin typeface="Verdana"/>
                <a:cs typeface="Verdana"/>
              </a:rPr>
              <a:t>e,  </a:t>
            </a:r>
            <a:r>
              <a:rPr sz="800" spc="-5">
                <a:latin typeface="Verdana"/>
                <a:cs typeface="Verdana"/>
              </a:rPr>
              <a:t>and</a:t>
            </a:r>
            <a:r>
              <a:rPr sz="800" spc="-70">
                <a:latin typeface="Verdana"/>
                <a:cs typeface="Verdana"/>
              </a:rPr>
              <a:t> </a:t>
            </a:r>
            <a:r>
              <a:rPr sz="800">
                <a:latin typeface="Verdana"/>
                <a:cs typeface="Verdana"/>
              </a:rPr>
              <a:t>service  </a:t>
            </a:r>
            <a:r>
              <a:rPr sz="800" spc="-5">
                <a:latin typeface="Verdana"/>
                <a:cs typeface="Verdana"/>
              </a:rPr>
              <a:t>solutions</a:t>
            </a:r>
            <a:endParaRPr sz="800">
              <a:latin typeface="Verdana"/>
              <a:cs typeface="Verdana"/>
            </a:endParaRPr>
          </a:p>
        </p:txBody>
      </p:sp>
      <p:sp>
        <p:nvSpPr>
          <p:cNvPr id="21" name="object 21"/>
          <p:cNvSpPr txBox="1"/>
          <p:nvPr/>
        </p:nvSpPr>
        <p:spPr>
          <a:xfrm>
            <a:off x="3795521" y="2439670"/>
            <a:ext cx="759460" cy="376555"/>
          </a:xfrm>
          <a:prstGeom prst="rect">
            <a:avLst/>
          </a:prstGeom>
        </p:spPr>
        <p:txBody>
          <a:bodyPr vert="horz" wrap="square" lIns="0" tIns="23495" rIns="0" bIns="0" rtlCol="0">
            <a:spAutoFit/>
          </a:bodyPr>
          <a:lstStyle/>
          <a:p>
            <a:pPr marL="116205" marR="109220" algn="ctr">
              <a:lnSpc>
                <a:spcPts val="900"/>
              </a:lnSpc>
              <a:spcBef>
                <a:spcPts val="185"/>
              </a:spcBef>
            </a:pPr>
            <a:r>
              <a:rPr sz="800">
                <a:latin typeface="Verdana"/>
                <a:cs typeface="Verdana"/>
              </a:rPr>
              <a:t>50</a:t>
            </a:r>
            <a:r>
              <a:rPr sz="800" spc="-10">
                <a:latin typeface="Verdana"/>
                <a:cs typeface="Verdana"/>
              </a:rPr>
              <a:t>-</a:t>
            </a:r>
            <a:r>
              <a:rPr sz="800">
                <a:latin typeface="Verdana"/>
                <a:cs typeface="Verdana"/>
              </a:rPr>
              <a:t>pe</a:t>
            </a:r>
            <a:r>
              <a:rPr sz="800" spc="5">
                <a:latin typeface="Verdana"/>
                <a:cs typeface="Verdana"/>
              </a:rPr>
              <a:t>r</a:t>
            </a:r>
            <a:r>
              <a:rPr sz="800">
                <a:latin typeface="Verdana"/>
                <a:cs typeface="Verdana"/>
              </a:rPr>
              <a:t>son  </a:t>
            </a:r>
            <a:r>
              <a:rPr sz="800" spc="-5">
                <a:latin typeface="Verdana"/>
                <a:cs typeface="Verdana"/>
              </a:rPr>
              <a:t>UK-based</a:t>
            </a:r>
            <a:endParaRPr sz="800">
              <a:latin typeface="Verdana"/>
              <a:cs typeface="Verdana"/>
            </a:endParaRPr>
          </a:p>
          <a:p>
            <a:pPr algn="ctr">
              <a:lnSpc>
                <a:spcPts val="880"/>
              </a:lnSpc>
            </a:pPr>
            <a:r>
              <a:rPr sz="800">
                <a:latin typeface="Verdana"/>
                <a:cs typeface="Verdana"/>
              </a:rPr>
              <a:t>design</a:t>
            </a:r>
            <a:r>
              <a:rPr sz="800" spc="-60">
                <a:latin typeface="Verdana"/>
                <a:cs typeface="Verdana"/>
              </a:rPr>
              <a:t> </a:t>
            </a:r>
            <a:r>
              <a:rPr sz="800">
                <a:latin typeface="Verdana"/>
                <a:cs typeface="Verdana"/>
              </a:rPr>
              <a:t>agency</a:t>
            </a:r>
          </a:p>
        </p:txBody>
      </p:sp>
      <p:sp>
        <p:nvSpPr>
          <p:cNvPr id="22" name="object 22"/>
          <p:cNvSpPr txBox="1"/>
          <p:nvPr/>
        </p:nvSpPr>
        <p:spPr>
          <a:xfrm>
            <a:off x="5759322" y="2325370"/>
            <a:ext cx="789305" cy="490855"/>
          </a:xfrm>
          <a:prstGeom prst="rect">
            <a:avLst/>
          </a:prstGeom>
        </p:spPr>
        <p:txBody>
          <a:bodyPr vert="horz" wrap="square" lIns="0" tIns="23495" rIns="0" bIns="0" rtlCol="0">
            <a:spAutoFit/>
          </a:bodyPr>
          <a:lstStyle/>
          <a:p>
            <a:pPr marL="127000" marR="116839" indent="-1905" algn="ctr">
              <a:lnSpc>
                <a:spcPts val="900"/>
              </a:lnSpc>
              <a:spcBef>
                <a:spcPts val="185"/>
              </a:spcBef>
            </a:pPr>
            <a:r>
              <a:rPr sz="800">
                <a:latin typeface="Verdana"/>
                <a:cs typeface="Verdana"/>
              </a:rPr>
              <a:t>French  co</a:t>
            </a:r>
            <a:r>
              <a:rPr sz="800" spc="-5">
                <a:latin typeface="Verdana"/>
                <a:cs typeface="Verdana"/>
              </a:rPr>
              <a:t>n</a:t>
            </a:r>
            <a:r>
              <a:rPr sz="800">
                <a:latin typeface="Verdana"/>
                <a:cs typeface="Verdana"/>
              </a:rPr>
              <a:t>s</a:t>
            </a:r>
            <a:r>
              <a:rPr sz="800" spc="-5">
                <a:latin typeface="Verdana"/>
                <a:cs typeface="Verdana"/>
              </a:rPr>
              <a:t>ultin</a:t>
            </a:r>
            <a:r>
              <a:rPr sz="800">
                <a:latin typeface="Verdana"/>
                <a:cs typeface="Verdana"/>
              </a:rPr>
              <a:t>g  </a:t>
            </a:r>
            <a:r>
              <a:rPr sz="800" spc="-5">
                <a:latin typeface="Verdana"/>
                <a:cs typeface="Verdana"/>
              </a:rPr>
              <a:t>and</a:t>
            </a:r>
            <a:r>
              <a:rPr sz="800" spc="-55">
                <a:latin typeface="Verdana"/>
                <a:cs typeface="Verdana"/>
              </a:rPr>
              <a:t> </a:t>
            </a:r>
            <a:r>
              <a:rPr sz="800" spc="-5">
                <a:latin typeface="Verdana"/>
                <a:cs typeface="Verdana"/>
              </a:rPr>
              <a:t>digital</a:t>
            </a:r>
            <a:endParaRPr sz="800">
              <a:latin typeface="Verdana"/>
              <a:cs typeface="Verdana"/>
            </a:endParaRPr>
          </a:p>
          <a:p>
            <a:pPr algn="ctr">
              <a:lnSpc>
                <a:spcPts val="880"/>
              </a:lnSpc>
            </a:pPr>
            <a:r>
              <a:rPr sz="800" spc="-5">
                <a:latin typeface="Verdana"/>
                <a:cs typeface="Verdana"/>
              </a:rPr>
              <a:t>marketing</a:t>
            </a:r>
            <a:r>
              <a:rPr sz="800" spc="-45">
                <a:latin typeface="Verdana"/>
                <a:cs typeface="Verdana"/>
              </a:rPr>
              <a:t> </a:t>
            </a:r>
            <a:r>
              <a:rPr sz="800">
                <a:latin typeface="Verdana"/>
                <a:cs typeface="Verdana"/>
              </a:rPr>
              <a:t>firm</a:t>
            </a:r>
          </a:p>
        </p:txBody>
      </p:sp>
      <p:sp>
        <p:nvSpPr>
          <p:cNvPr id="23" name="object 23"/>
          <p:cNvSpPr txBox="1"/>
          <p:nvPr/>
        </p:nvSpPr>
        <p:spPr>
          <a:xfrm>
            <a:off x="6857492" y="3405885"/>
            <a:ext cx="628650" cy="605790"/>
          </a:xfrm>
          <a:prstGeom prst="rect">
            <a:avLst/>
          </a:prstGeom>
        </p:spPr>
        <p:txBody>
          <a:bodyPr vert="horz" wrap="square" lIns="0" tIns="23495" rIns="0" bIns="0" rtlCol="0">
            <a:spAutoFit/>
          </a:bodyPr>
          <a:lstStyle/>
          <a:p>
            <a:pPr marL="12700" marR="5080" indent="635" algn="ctr">
              <a:lnSpc>
                <a:spcPts val="900"/>
              </a:lnSpc>
              <a:spcBef>
                <a:spcPts val="185"/>
              </a:spcBef>
            </a:pPr>
            <a:r>
              <a:rPr sz="800">
                <a:latin typeface="Verdana"/>
                <a:cs typeface="Verdana"/>
              </a:rPr>
              <a:t>German  co</a:t>
            </a:r>
            <a:r>
              <a:rPr sz="800" spc="-5">
                <a:latin typeface="Verdana"/>
                <a:cs typeface="Verdana"/>
              </a:rPr>
              <a:t>n</a:t>
            </a:r>
            <a:r>
              <a:rPr sz="800">
                <a:latin typeface="Verdana"/>
                <a:cs typeface="Verdana"/>
              </a:rPr>
              <a:t>s</a:t>
            </a:r>
            <a:r>
              <a:rPr sz="800" spc="-5">
                <a:latin typeface="Verdana"/>
                <a:cs typeface="Verdana"/>
              </a:rPr>
              <a:t>ultan</a:t>
            </a:r>
            <a:r>
              <a:rPr sz="800">
                <a:latin typeface="Verdana"/>
                <a:cs typeface="Verdana"/>
              </a:rPr>
              <a:t>cy  for </a:t>
            </a:r>
            <a:r>
              <a:rPr sz="800" spc="-5">
                <a:latin typeface="Verdana"/>
                <a:cs typeface="Verdana"/>
              </a:rPr>
              <a:t>the  </a:t>
            </a:r>
            <a:r>
              <a:rPr sz="800">
                <a:latin typeface="Verdana"/>
                <a:cs typeface="Verdana"/>
              </a:rPr>
              <a:t>energy  </a:t>
            </a:r>
            <a:r>
              <a:rPr sz="800" spc="-5">
                <a:latin typeface="Verdana"/>
                <a:cs typeface="Verdana"/>
              </a:rPr>
              <a:t>industry</a:t>
            </a:r>
            <a:endParaRPr sz="800">
              <a:latin typeface="Verdana"/>
              <a:cs typeface="Verdana"/>
            </a:endParaRPr>
          </a:p>
        </p:txBody>
      </p:sp>
      <p:sp>
        <p:nvSpPr>
          <p:cNvPr id="24" name="object 24"/>
          <p:cNvSpPr/>
          <p:nvPr/>
        </p:nvSpPr>
        <p:spPr>
          <a:xfrm>
            <a:off x="2679258" y="1843914"/>
            <a:ext cx="1025718" cy="224696"/>
          </a:xfrm>
          <a:prstGeom prst="rect">
            <a:avLst/>
          </a:prstGeom>
          <a:blipFill>
            <a:blip r:embed="rId9" cstate="print"/>
            <a:stretch>
              <a:fillRect/>
            </a:stretch>
          </a:blipFill>
        </p:spPr>
        <p:txBody>
          <a:bodyPr wrap="square" lIns="0" tIns="0" rIns="0" bIns="0" rtlCol="0"/>
          <a:lstStyle/>
          <a:p>
            <a:endParaRPr/>
          </a:p>
        </p:txBody>
      </p:sp>
      <p:sp>
        <p:nvSpPr>
          <p:cNvPr id="25" name="object 25"/>
          <p:cNvSpPr/>
          <p:nvPr/>
        </p:nvSpPr>
        <p:spPr>
          <a:xfrm>
            <a:off x="3877055" y="4216856"/>
            <a:ext cx="608076" cy="492373"/>
          </a:xfrm>
          <a:prstGeom prst="rect">
            <a:avLst/>
          </a:prstGeom>
          <a:blipFill>
            <a:blip r:embed="rId10" cstate="print"/>
            <a:stretch>
              <a:fillRect/>
            </a:stretch>
          </a:blipFill>
        </p:spPr>
        <p:txBody>
          <a:bodyPr wrap="square" lIns="0" tIns="0" rIns="0" bIns="0" rtlCol="0"/>
          <a:lstStyle/>
          <a:p>
            <a:endParaRPr/>
          </a:p>
        </p:txBody>
      </p:sp>
      <p:sp>
        <p:nvSpPr>
          <p:cNvPr id="26" name="object 26"/>
          <p:cNvSpPr/>
          <p:nvPr/>
        </p:nvSpPr>
        <p:spPr>
          <a:xfrm>
            <a:off x="408431" y="3110483"/>
            <a:ext cx="585470" cy="187960"/>
          </a:xfrm>
          <a:custGeom>
            <a:avLst/>
            <a:gdLst/>
            <a:ahLst/>
            <a:cxnLst/>
            <a:rect l="l" t="t" r="r" b="b"/>
            <a:pathLst>
              <a:path w="585469" h="187960">
                <a:moveTo>
                  <a:pt x="491490" y="0"/>
                </a:moveTo>
                <a:lnTo>
                  <a:pt x="93726" y="0"/>
                </a:lnTo>
                <a:lnTo>
                  <a:pt x="57242" y="7358"/>
                </a:lnTo>
                <a:lnTo>
                  <a:pt x="27451" y="27432"/>
                </a:lnTo>
                <a:lnTo>
                  <a:pt x="7365" y="57221"/>
                </a:lnTo>
                <a:lnTo>
                  <a:pt x="0" y="93725"/>
                </a:lnTo>
                <a:lnTo>
                  <a:pt x="7365" y="130230"/>
                </a:lnTo>
                <a:lnTo>
                  <a:pt x="27451" y="160019"/>
                </a:lnTo>
                <a:lnTo>
                  <a:pt x="57242" y="180093"/>
                </a:lnTo>
                <a:lnTo>
                  <a:pt x="93726" y="187451"/>
                </a:lnTo>
                <a:lnTo>
                  <a:pt x="491490" y="187451"/>
                </a:lnTo>
                <a:lnTo>
                  <a:pt x="527973" y="180093"/>
                </a:lnTo>
                <a:lnTo>
                  <a:pt x="557764" y="160019"/>
                </a:lnTo>
                <a:lnTo>
                  <a:pt x="577850" y="130230"/>
                </a:lnTo>
                <a:lnTo>
                  <a:pt x="585216" y="93725"/>
                </a:lnTo>
                <a:lnTo>
                  <a:pt x="577850" y="57221"/>
                </a:lnTo>
                <a:lnTo>
                  <a:pt x="557764" y="27432"/>
                </a:lnTo>
                <a:lnTo>
                  <a:pt x="527973" y="7358"/>
                </a:lnTo>
                <a:lnTo>
                  <a:pt x="491490" y="0"/>
                </a:lnTo>
                <a:close/>
              </a:path>
            </a:pathLst>
          </a:custGeom>
          <a:solidFill>
            <a:srgbClr val="2B133C"/>
          </a:solidFill>
        </p:spPr>
        <p:txBody>
          <a:bodyPr wrap="square" lIns="0" tIns="0" rIns="0" bIns="0" rtlCol="0"/>
          <a:lstStyle/>
          <a:p>
            <a:endParaRPr/>
          </a:p>
        </p:txBody>
      </p:sp>
      <p:sp>
        <p:nvSpPr>
          <p:cNvPr id="27" name="object 27"/>
          <p:cNvSpPr txBox="1"/>
          <p:nvPr/>
        </p:nvSpPr>
        <p:spPr>
          <a:xfrm>
            <a:off x="514299" y="3116072"/>
            <a:ext cx="38544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2017</a:t>
            </a:r>
            <a:endParaRPr sz="1000">
              <a:latin typeface="Verdana"/>
              <a:cs typeface="Verdana"/>
            </a:endParaRPr>
          </a:p>
        </p:txBody>
      </p:sp>
      <p:sp>
        <p:nvSpPr>
          <p:cNvPr id="28" name="object 28"/>
          <p:cNvSpPr/>
          <p:nvPr/>
        </p:nvSpPr>
        <p:spPr>
          <a:xfrm>
            <a:off x="2392679" y="3110483"/>
            <a:ext cx="585470" cy="187960"/>
          </a:xfrm>
          <a:custGeom>
            <a:avLst/>
            <a:gdLst/>
            <a:ahLst/>
            <a:cxnLst/>
            <a:rect l="l" t="t" r="r" b="b"/>
            <a:pathLst>
              <a:path w="585469" h="187960">
                <a:moveTo>
                  <a:pt x="491489" y="0"/>
                </a:moveTo>
                <a:lnTo>
                  <a:pt x="93725" y="0"/>
                </a:lnTo>
                <a:lnTo>
                  <a:pt x="57221" y="7358"/>
                </a:lnTo>
                <a:lnTo>
                  <a:pt x="27431" y="27432"/>
                </a:lnTo>
                <a:lnTo>
                  <a:pt x="7358" y="57221"/>
                </a:lnTo>
                <a:lnTo>
                  <a:pt x="0" y="93725"/>
                </a:lnTo>
                <a:lnTo>
                  <a:pt x="7358" y="130230"/>
                </a:lnTo>
                <a:lnTo>
                  <a:pt x="27431" y="160019"/>
                </a:lnTo>
                <a:lnTo>
                  <a:pt x="57221" y="180093"/>
                </a:lnTo>
                <a:lnTo>
                  <a:pt x="93725" y="187451"/>
                </a:lnTo>
                <a:lnTo>
                  <a:pt x="491489" y="187451"/>
                </a:lnTo>
                <a:lnTo>
                  <a:pt x="527994" y="180093"/>
                </a:lnTo>
                <a:lnTo>
                  <a:pt x="557783" y="160019"/>
                </a:lnTo>
                <a:lnTo>
                  <a:pt x="577857" y="130230"/>
                </a:lnTo>
                <a:lnTo>
                  <a:pt x="585215" y="93725"/>
                </a:lnTo>
                <a:lnTo>
                  <a:pt x="577857" y="57221"/>
                </a:lnTo>
                <a:lnTo>
                  <a:pt x="557783" y="27432"/>
                </a:lnTo>
                <a:lnTo>
                  <a:pt x="527994" y="7358"/>
                </a:lnTo>
                <a:lnTo>
                  <a:pt x="491489" y="0"/>
                </a:lnTo>
                <a:close/>
              </a:path>
            </a:pathLst>
          </a:custGeom>
          <a:solidFill>
            <a:srgbClr val="2B133C"/>
          </a:solidFill>
        </p:spPr>
        <p:txBody>
          <a:bodyPr wrap="square" lIns="0" tIns="0" rIns="0" bIns="0" rtlCol="0"/>
          <a:lstStyle/>
          <a:p>
            <a:endParaRPr/>
          </a:p>
        </p:txBody>
      </p:sp>
      <p:sp>
        <p:nvSpPr>
          <p:cNvPr id="29" name="object 29"/>
          <p:cNvSpPr txBox="1"/>
          <p:nvPr/>
        </p:nvSpPr>
        <p:spPr>
          <a:xfrm>
            <a:off x="2498217" y="3116072"/>
            <a:ext cx="38544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2018</a:t>
            </a:r>
            <a:endParaRPr sz="1000">
              <a:latin typeface="Verdana"/>
              <a:cs typeface="Verdana"/>
            </a:endParaRPr>
          </a:p>
        </p:txBody>
      </p:sp>
      <p:sp>
        <p:nvSpPr>
          <p:cNvPr id="30" name="object 30"/>
          <p:cNvSpPr txBox="1"/>
          <p:nvPr/>
        </p:nvSpPr>
        <p:spPr>
          <a:xfrm>
            <a:off x="7763636" y="2439670"/>
            <a:ext cx="756285" cy="376555"/>
          </a:xfrm>
          <a:prstGeom prst="rect">
            <a:avLst/>
          </a:prstGeom>
        </p:spPr>
        <p:txBody>
          <a:bodyPr vert="horz" wrap="square" lIns="0" tIns="13335" rIns="0" bIns="0" rtlCol="0">
            <a:spAutoFit/>
          </a:bodyPr>
          <a:lstStyle/>
          <a:p>
            <a:pPr marL="1905" algn="ctr">
              <a:lnSpc>
                <a:spcPts val="930"/>
              </a:lnSpc>
              <a:spcBef>
                <a:spcPts val="105"/>
              </a:spcBef>
            </a:pPr>
            <a:r>
              <a:rPr sz="800">
                <a:latin typeface="Verdana"/>
                <a:cs typeface="Verdana"/>
              </a:rPr>
              <a:t>500</a:t>
            </a:r>
          </a:p>
          <a:p>
            <a:pPr marL="12700" marR="5080" algn="ctr">
              <a:lnSpc>
                <a:spcPts val="900"/>
              </a:lnSpc>
              <a:spcBef>
                <a:spcPts val="50"/>
              </a:spcBef>
            </a:pPr>
            <a:r>
              <a:rPr sz="800">
                <a:latin typeface="Verdana"/>
                <a:cs typeface="Verdana"/>
              </a:rPr>
              <a:t>cybe</a:t>
            </a:r>
            <a:r>
              <a:rPr sz="800" spc="5">
                <a:latin typeface="Verdana"/>
                <a:cs typeface="Verdana"/>
              </a:rPr>
              <a:t>r</a:t>
            </a:r>
            <a:r>
              <a:rPr sz="800" spc="-10">
                <a:latin typeface="Verdana"/>
                <a:cs typeface="Verdana"/>
              </a:rPr>
              <a:t>-</a:t>
            </a:r>
            <a:r>
              <a:rPr sz="800">
                <a:latin typeface="Verdana"/>
                <a:cs typeface="Verdana"/>
              </a:rPr>
              <a:t>s</a:t>
            </a:r>
            <a:r>
              <a:rPr sz="800" spc="-15">
                <a:latin typeface="Verdana"/>
                <a:cs typeface="Verdana"/>
              </a:rPr>
              <a:t>e</a:t>
            </a:r>
            <a:r>
              <a:rPr sz="800">
                <a:latin typeface="Verdana"/>
                <a:cs typeface="Verdana"/>
              </a:rPr>
              <a:t>c</a:t>
            </a:r>
            <a:r>
              <a:rPr sz="800" spc="-5">
                <a:latin typeface="Verdana"/>
                <a:cs typeface="Verdana"/>
              </a:rPr>
              <a:t>u</a:t>
            </a:r>
            <a:r>
              <a:rPr sz="800">
                <a:latin typeface="Verdana"/>
                <a:cs typeface="Verdana"/>
              </a:rPr>
              <a:t>r</a:t>
            </a:r>
            <a:r>
              <a:rPr sz="800" spc="-5">
                <a:latin typeface="Verdana"/>
                <a:cs typeface="Verdana"/>
              </a:rPr>
              <a:t>it</a:t>
            </a:r>
            <a:r>
              <a:rPr sz="800">
                <a:latin typeface="Verdana"/>
                <a:cs typeface="Verdana"/>
              </a:rPr>
              <a:t>y  experts</a:t>
            </a:r>
          </a:p>
        </p:txBody>
      </p:sp>
      <p:sp>
        <p:nvSpPr>
          <p:cNvPr id="31" name="object 31"/>
          <p:cNvSpPr txBox="1"/>
          <p:nvPr/>
        </p:nvSpPr>
        <p:spPr>
          <a:xfrm>
            <a:off x="9804018" y="2439670"/>
            <a:ext cx="712470" cy="376555"/>
          </a:xfrm>
          <a:prstGeom prst="rect">
            <a:avLst/>
          </a:prstGeom>
        </p:spPr>
        <p:txBody>
          <a:bodyPr vert="horz" wrap="square" lIns="0" tIns="23495" rIns="0" bIns="0" rtlCol="0">
            <a:spAutoFit/>
          </a:bodyPr>
          <a:lstStyle/>
          <a:p>
            <a:pPr marL="12700" marR="5080" algn="ctr">
              <a:lnSpc>
                <a:spcPts val="900"/>
              </a:lnSpc>
              <a:spcBef>
                <a:spcPts val="185"/>
              </a:spcBef>
            </a:pPr>
            <a:r>
              <a:rPr sz="800" spc="-5">
                <a:latin typeface="Verdana"/>
                <a:cs typeface="Verdana"/>
              </a:rPr>
              <a:t>MuleSoft</a:t>
            </a:r>
            <a:r>
              <a:rPr sz="800" spc="-35">
                <a:latin typeface="Verdana"/>
                <a:cs typeface="Verdana"/>
              </a:rPr>
              <a:t> </a:t>
            </a:r>
            <a:r>
              <a:rPr sz="800" spc="-5">
                <a:latin typeface="Verdana"/>
                <a:cs typeface="Verdana"/>
              </a:rPr>
              <a:t>full-  </a:t>
            </a:r>
            <a:r>
              <a:rPr sz="800">
                <a:latin typeface="Verdana"/>
                <a:cs typeface="Verdana"/>
              </a:rPr>
              <a:t>service  </a:t>
            </a:r>
            <a:r>
              <a:rPr sz="800" spc="-5">
                <a:latin typeface="Verdana"/>
                <a:cs typeface="Verdana"/>
              </a:rPr>
              <a:t>consultancy</a:t>
            </a:r>
            <a:endParaRPr sz="800">
              <a:latin typeface="Verdana"/>
              <a:cs typeface="Verdana"/>
            </a:endParaRPr>
          </a:p>
        </p:txBody>
      </p:sp>
      <p:sp>
        <p:nvSpPr>
          <p:cNvPr id="32" name="object 32"/>
          <p:cNvSpPr txBox="1"/>
          <p:nvPr/>
        </p:nvSpPr>
        <p:spPr>
          <a:xfrm>
            <a:off x="8818244" y="3405885"/>
            <a:ext cx="661670" cy="605790"/>
          </a:xfrm>
          <a:prstGeom prst="rect">
            <a:avLst/>
          </a:prstGeom>
        </p:spPr>
        <p:txBody>
          <a:bodyPr vert="horz" wrap="square" lIns="0" tIns="23495" rIns="0" bIns="0" rtlCol="0">
            <a:spAutoFit/>
          </a:bodyPr>
          <a:lstStyle/>
          <a:p>
            <a:pPr marL="12700" marR="5080" indent="1270" algn="ctr">
              <a:lnSpc>
                <a:spcPts val="900"/>
              </a:lnSpc>
              <a:spcBef>
                <a:spcPts val="185"/>
              </a:spcBef>
            </a:pPr>
            <a:r>
              <a:rPr sz="800" spc="-5">
                <a:latin typeface="Verdana"/>
                <a:cs typeface="Verdana"/>
              </a:rPr>
              <a:t>Data </a:t>
            </a:r>
            <a:r>
              <a:rPr sz="800">
                <a:latin typeface="Verdana"/>
                <a:cs typeface="Verdana"/>
              </a:rPr>
              <a:t>&amp;  </a:t>
            </a:r>
            <a:r>
              <a:rPr sz="800" spc="-5">
                <a:latin typeface="Verdana"/>
                <a:cs typeface="Verdana"/>
              </a:rPr>
              <a:t>Analytics</a:t>
            </a:r>
            <a:r>
              <a:rPr sz="800" spc="-50">
                <a:latin typeface="Verdana"/>
                <a:cs typeface="Verdana"/>
              </a:rPr>
              <a:t> </a:t>
            </a:r>
            <a:r>
              <a:rPr sz="800">
                <a:latin typeface="Verdana"/>
                <a:cs typeface="Verdana"/>
              </a:rPr>
              <a:t>for  business  decisions </a:t>
            </a:r>
            <a:r>
              <a:rPr sz="800" spc="-5">
                <a:latin typeface="Verdana"/>
                <a:cs typeface="Verdana"/>
              </a:rPr>
              <a:t>in  Scandinavia</a:t>
            </a:r>
            <a:endParaRPr sz="800">
              <a:latin typeface="Verdana"/>
              <a:cs typeface="Verdana"/>
            </a:endParaRPr>
          </a:p>
        </p:txBody>
      </p:sp>
      <p:sp>
        <p:nvSpPr>
          <p:cNvPr id="33" name="object 33"/>
          <p:cNvSpPr txBox="1"/>
          <p:nvPr/>
        </p:nvSpPr>
        <p:spPr>
          <a:xfrm>
            <a:off x="10844021" y="3405885"/>
            <a:ext cx="756920" cy="490855"/>
          </a:xfrm>
          <a:prstGeom prst="rect">
            <a:avLst/>
          </a:prstGeom>
        </p:spPr>
        <p:txBody>
          <a:bodyPr vert="horz" wrap="square" lIns="0" tIns="23495" rIns="0" bIns="0" rtlCol="0">
            <a:spAutoFit/>
          </a:bodyPr>
          <a:lstStyle/>
          <a:p>
            <a:pPr marL="12065" marR="5080" indent="-635" algn="ctr">
              <a:lnSpc>
                <a:spcPts val="900"/>
              </a:lnSpc>
              <a:spcBef>
                <a:spcPts val="185"/>
              </a:spcBef>
            </a:pPr>
            <a:r>
              <a:rPr sz="800" spc="-5">
                <a:latin typeface="Verdana"/>
                <a:cs typeface="Verdana"/>
              </a:rPr>
              <a:t>Global </a:t>
            </a:r>
            <a:r>
              <a:rPr sz="800">
                <a:latin typeface="Verdana"/>
                <a:cs typeface="Verdana"/>
              </a:rPr>
              <a:t>leader  </a:t>
            </a:r>
            <a:r>
              <a:rPr sz="800" spc="-5">
                <a:latin typeface="Verdana"/>
                <a:cs typeface="Verdana"/>
              </a:rPr>
              <a:t>in</a:t>
            </a:r>
            <a:r>
              <a:rPr sz="800" spc="-75">
                <a:latin typeface="Verdana"/>
                <a:cs typeface="Verdana"/>
              </a:rPr>
              <a:t> </a:t>
            </a:r>
            <a:r>
              <a:rPr sz="800">
                <a:latin typeface="Verdana"/>
                <a:cs typeface="Verdana"/>
              </a:rPr>
              <a:t>engineering  </a:t>
            </a:r>
            <a:r>
              <a:rPr sz="800" spc="-5">
                <a:latin typeface="Verdana"/>
                <a:cs typeface="Verdana"/>
              </a:rPr>
              <a:t>and </a:t>
            </a:r>
            <a:r>
              <a:rPr sz="800">
                <a:latin typeface="Verdana"/>
                <a:cs typeface="Verdana"/>
              </a:rPr>
              <a:t>R&amp;D  services</a:t>
            </a:r>
          </a:p>
        </p:txBody>
      </p:sp>
      <p:sp>
        <p:nvSpPr>
          <p:cNvPr id="34" name="object 34"/>
          <p:cNvSpPr txBox="1"/>
          <p:nvPr/>
        </p:nvSpPr>
        <p:spPr>
          <a:xfrm>
            <a:off x="4827778" y="3405885"/>
            <a:ext cx="688340" cy="490855"/>
          </a:xfrm>
          <a:prstGeom prst="rect">
            <a:avLst/>
          </a:prstGeom>
        </p:spPr>
        <p:txBody>
          <a:bodyPr vert="horz" wrap="square" lIns="0" tIns="23495" rIns="0" bIns="0" rtlCol="0">
            <a:spAutoFit/>
          </a:bodyPr>
          <a:lstStyle/>
          <a:p>
            <a:pPr marL="12065" marR="5080" algn="ctr">
              <a:lnSpc>
                <a:spcPts val="900"/>
              </a:lnSpc>
              <a:spcBef>
                <a:spcPts val="185"/>
              </a:spcBef>
            </a:pPr>
            <a:r>
              <a:rPr sz="800">
                <a:latin typeface="Verdana"/>
                <a:cs typeface="Verdana"/>
              </a:rPr>
              <a:t>200+</a:t>
            </a:r>
            <a:r>
              <a:rPr sz="800" spc="-90">
                <a:latin typeface="Verdana"/>
                <a:cs typeface="Verdana"/>
              </a:rPr>
              <a:t> </a:t>
            </a:r>
            <a:r>
              <a:rPr sz="800">
                <a:latin typeface="Verdana"/>
                <a:cs typeface="Verdana"/>
              </a:rPr>
              <a:t>person  </a:t>
            </a:r>
            <a:r>
              <a:rPr sz="800" spc="-5">
                <a:latin typeface="Verdana"/>
                <a:cs typeface="Verdana"/>
              </a:rPr>
              <a:t>Italy-based  </a:t>
            </a:r>
            <a:r>
              <a:rPr sz="800">
                <a:latin typeface="Verdana"/>
                <a:cs typeface="Verdana"/>
              </a:rPr>
              <a:t>design  agency</a:t>
            </a:r>
          </a:p>
        </p:txBody>
      </p:sp>
      <p:sp>
        <p:nvSpPr>
          <p:cNvPr id="35" name="object 35"/>
          <p:cNvSpPr/>
          <p:nvPr/>
        </p:nvSpPr>
        <p:spPr>
          <a:xfrm>
            <a:off x="4816855" y="1742374"/>
            <a:ext cx="685038" cy="325906"/>
          </a:xfrm>
          <a:prstGeom prst="rect">
            <a:avLst/>
          </a:prstGeom>
          <a:blipFill>
            <a:blip r:embed="rId11" cstate="print"/>
            <a:stretch>
              <a:fillRect/>
            </a:stretch>
          </a:blipFill>
        </p:spPr>
        <p:txBody>
          <a:bodyPr wrap="square" lIns="0" tIns="0" rIns="0" bIns="0" rtlCol="0"/>
          <a:lstStyle/>
          <a:p>
            <a:endParaRPr/>
          </a:p>
        </p:txBody>
      </p:sp>
      <p:sp>
        <p:nvSpPr>
          <p:cNvPr id="36" name="object 36"/>
          <p:cNvSpPr/>
          <p:nvPr/>
        </p:nvSpPr>
        <p:spPr>
          <a:xfrm>
            <a:off x="5949696" y="4198620"/>
            <a:ext cx="443484" cy="441959"/>
          </a:xfrm>
          <a:prstGeom prst="rect">
            <a:avLst/>
          </a:prstGeom>
          <a:blipFill>
            <a:blip r:embed="rId12" cstate="print"/>
            <a:stretch>
              <a:fillRect/>
            </a:stretch>
          </a:blipFill>
        </p:spPr>
        <p:txBody>
          <a:bodyPr wrap="square" lIns="0" tIns="0" rIns="0" bIns="0" rtlCol="0"/>
          <a:lstStyle/>
          <a:p>
            <a:endParaRPr/>
          </a:p>
        </p:txBody>
      </p:sp>
      <p:sp>
        <p:nvSpPr>
          <p:cNvPr id="37" name="object 37"/>
          <p:cNvSpPr/>
          <p:nvPr/>
        </p:nvSpPr>
        <p:spPr>
          <a:xfrm>
            <a:off x="6752843" y="1840657"/>
            <a:ext cx="981361" cy="220015"/>
          </a:xfrm>
          <a:prstGeom prst="rect">
            <a:avLst/>
          </a:prstGeom>
          <a:blipFill>
            <a:blip r:embed="rId13" cstate="print"/>
            <a:stretch>
              <a:fillRect/>
            </a:stretch>
          </a:blipFill>
        </p:spPr>
        <p:txBody>
          <a:bodyPr wrap="square" lIns="0" tIns="0" rIns="0" bIns="0" rtlCol="0"/>
          <a:lstStyle/>
          <a:p>
            <a:endParaRPr/>
          </a:p>
        </p:txBody>
      </p:sp>
      <p:sp>
        <p:nvSpPr>
          <p:cNvPr id="38" name="object 38"/>
          <p:cNvSpPr/>
          <p:nvPr/>
        </p:nvSpPr>
        <p:spPr>
          <a:xfrm>
            <a:off x="7650480" y="4195571"/>
            <a:ext cx="1022603" cy="246887"/>
          </a:xfrm>
          <a:prstGeom prst="rect">
            <a:avLst/>
          </a:prstGeom>
          <a:blipFill>
            <a:blip r:embed="rId14" cstate="print"/>
            <a:stretch>
              <a:fillRect/>
            </a:stretch>
          </a:blipFill>
        </p:spPr>
        <p:txBody>
          <a:bodyPr wrap="square" lIns="0" tIns="0" rIns="0" bIns="0" rtlCol="0"/>
          <a:lstStyle/>
          <a:p>
            <a:endParaRPr/>
          </a:p>
        </p:txBody>
      </p:sp>
      <p:sp>
        <p:nvSpPr>
          <p:cNvPr id="39" name="object 39"/>
          <p:cNvSpPr/>
          <p:nvPr/>
        </p:nvSpPr>
        <p:spPr>
          <a:xfrm>
            <a:off x="6406896" y="3110483"/>
            <a:ext cx="584200" cy="187960"/>
          </a:xfrm>
          <a:custGeom>
            <a:avLst/>
            <a:gdLst/>
            <a:ahLst/>
            <a:cxnLst/>
            <a:rect l="l" t="t" r="r" b="b"/>
            <a:pathLst>
              <a:path w="584200" h="187960">
                <a:moveTo>
                  <a:pt x="489965" y="0"/>
                </a:moveTo>
                <a:lnTo>
                  <a:pt x="93725" y="0"/>
                </a:lnTo>
                <a:lnTo>
                  <a:pt x="57221" y="7358"/>
                </a:lnTo>
                <a:lnTo>
                  <a:pt x="27431" y="27432"/>
                </a:lnTo>
                <a:lnTo>
                  <a:pt x="7358" y="57221"/>
                </a:lnTo>
                <a:lnTo>
                  <a:pt x="0" y="93725"/>
                </a:lnTo>
                <a:lnTo>
                  <a:pt x="7358" y="130230"/>
                </a:lnTo>
                <a:lnTo>
                  <a:pt x="27431" y="160019"/>
                </a:lnTo>
                <a:lnTo>
                  <a:pt x="57221" y="180093"/>
                </a:lnTo>
                <a:lnTo>
                  <a:pt x="93725" y="187451"/>
                </a:lnTo>
                <a:lnTo>
                  <a:pt x="489965" y="187451"/>
                </a:lnTo>
                <a:lnTo>
                  <a:pt x="526470" y="180093"/>
                </a:lnTo>
                <a:lnTo>
                  <a:pt x="556259" y="160019"/>
                </a:lnTo>
                <a:lnTo>
                  <a:pt x="576333" y="130230"/>
                </a:lnTo>
                <a:lnTo>
                  <a:pt x="583692" y="93725"/>
                </a:lnTo>
                <a:lnTo>
                  <a:pt x="576333" y="57221"/>
                </a:lnTo>
                <a:lnTo>
                  <a:pt x="556259" y="27432"/>
                </a:lnTo>
                <a:lnTo>
                  <a:pt x="526470" y="7358"/>
                </a:lnTo>
                <a:lnTo>
                  <a:pt x="489965" y="0"/>
                </a:lnTo>
                <a:close/>
              </a:path>
            </a:pathLst>
          </a:custGeom>
          <a:solidFill>
            <a:srgbClr val="2B133C"/>
          </a:solidFill>
        </p:spPr>
        <p:txBody>
          <a:bodyPr wrap="square" lIns="0" tIns="0" rIns="0" bIns="0" rtlCol="0"/>
          <a:lstStyle/>
          <a:p>
            <a:endParaRPr/>
          </a:p>
        </p:txBody>
      </p:sp>
      <p:sp>
        <p:nvSpPr>
          <p:cNvPr id="40" name="object 40"/>
          <p:cNvSpPr txBox="1"/>
          <p:nvPr/>
        </p:nvSpPr>
        <p:spPr>
          <a:xfrm>
            <a:off x="6512814" y="3116072"/>
            <a:ext cx="38544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2019</a:t>
            </a:r>
            <a:endParaRPr sz="1000">
              <a:latin typeface="Verdana"/>
              <a:cs typeface="Verdana"/>
            </a:endParaRPr>
          </a:p>
        </p:txBody>
      </p:sp>
      <p:sp>
        <p:nvSpPr>
          <p:cNvPr id="41" name="object 41"/>
          <p:cNvSpPr/>
          <p:nvPr/>
        </p:nvSpPr>
        <p:spPr>
          <a:xfrm>
            <a:off x="8378952" y="3110483"/>
            <a:ext cx="585470" cy="187960"/>
          </a:xfrm>
          <a:custGeom>
            <a:avLst/>
            <a:gdLst/>
            <a:ahLst/>
            <a:cxnLst/>
            <a:rect l="l" t="t" r="r" b="b"/>
            <a:pathLst>
              <a:path w="585470" h="187960">
                <a:moveTo>
                  <a:pt x="491490" y="0"/>
                </a:moveTo>
                <a:lnTo>
                  <a:pt x="93725" y="0"/>
                </a:lnTo>
                <a:lnTo>
                  <a:pt x="57221" y="7358"/>
                </a:lnTo>
                <a:lnTo>
                  <a:pt x="27431" y="27432"/>
                </a:lnTo>
                <a:lnTo>
                  <a:pt x="7358" y="57221"/>
                </a:lnTo>
                <a:lnTo>
                  <a:pt x="0" y="93725"/>
                </a:lnTo>
                <a:lnTo>
                  <a:pt x="7358" y="130230"/>
                </a:lnTo>
                <a:lnTo>
                  <a:pt x="27431" y="160019"/>
                </a:lnTo>
                <a:lnTo>
                  <a:pt x="57221" y="180093"/>
                </a:lnTo>
                <a:lnTo>
                  <a:pt x="93725" y="187451"/>
                </a:lnTo>
                <a:lnTo>
                  <a:pt x="491490" y="187451"/>
                </a:lnTo>
                <a:lnTo>
                  <a:pt x="527994" y="180093"/>
                </a:lnTo>
                <a:lnTo>
                  <a:pt x="557783" y="160019"/>
                </a:lnTo>
                <a:lnTo>
                  <a:pt x="577857" y="130230"/>
                </a:lnTo>
                <a:lnTo>
                  <a:pt x="585216" y="93725"/>
                </a:lnTo>
                <a:lnTo>
                  <a:pt x="577857" y="57221"/>
                </a:lnTo>
                <a:lnTo>
                  <a:pt x="557784" y="27432"/>
                </a:lnTo>
                <a:lnTo>
                  <a:pt x="527994" y="7358"/>
                </a:lnTo>
                <a:lnTo>
                  <a:pt x="491490" y="0"/>
                </a:lnTo>
                <a:close/>
              </a:path>
            </a:pathLst>
          </a:custGeom>
          <a:solidFill>
            <a:srgbClr val="2B133C"/>
          </a:solidFill>
        </p:spPr>
        <p:txBody>
          <a:bodyPr wrap="square" lIns="0" tIns="0" rIns="0" bIns="0" rtlCol="0"/>
          <a:lstStyle/>
          <a:p>
            <a:endParaRPr/>
          </a:p>
        </p:txBody>
      </p:sp>
      <p:sp>
        <p:nvSpPr>
          <p:cNvPr id="42" name="object 42"/>
          <p:cNvSpPr txBox="1"/>
          <p:nvPr/>
        </p:nvSpPr>
        <p:spPr>
          <a:xfrm>
            <a:off x="8485378" y="3116072"/>
            <a:ext cx="38544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2020</a:t>
            </a:r>
            <a:endParaRPr sz="1000">
              <a:latin typeface="Verdana"/>
              <a:cs typeface="Verdana"/>
            </a:endParaRPr>
          </a:p>
        </p:txBody>
      </p:sp>
      <p:sp>
        <p:nvSpPr>
          <p:cNvPr id="43" name="object 43"/>
          <p:cNvSpPr/>
          <p:nvPr/>
        </p:nvSpPr>
        <p:spPr>
          <a:xfrm>
            <a:off x="9579864" y="4093464"/>
            <a:ext cx="1191768" cy="534924"/>
          </a:xfrm>
          <a:prstGeom prst="rect">
            <a:avLst/>
          </a:prstGeom>
          <a:blipFill>
            <a:blip r:embed="rId15" cstate="print"/>
            <a:stretch>
              <a:fillRect/>
            </a:stretch>
          </a:blipFill>
        </p:spPr>
        <p:txBody>
          <a:bodyPr wrap="square" lIns="0" tIns="0" rIns="0" bIns="0" rtlCol="0"/>
          <a:lstStyle/>
          <a:p>
            <a:endParaRPr/>
          </a:p>
        </p:txBody>
      </p:sp>
      <p:sp>
        <p:nvSpPr>
          <p:cNvPr id="44" name="object 44"/>
          <p:cNvSpPr/>
          <p:nvPr/>
        </p:nvSpPr>
        <p:spPr>
          <a:xfrm>
            <a:off x="8508492" y="1912620"/>
            <a:ext cx="1309116" cy="137980"/>
          </a:xfrm>
          <a:prstGeom prst="rect">
            <a:avLst/>
          </a:prstGeom>
          <a:blipFill>
            <a:blip r:embed="rId16" cstate="print"/>
            <a:stretch>
              <a:fillRect/>
            </a:stretch>
          </a:blipFill>
        </p:spPr>
        <p:txBody>
          <a:bodyPr wrap="square" lIns="0" tIns="0" rIns="0" bIns="0" rtlCol="0"/>
          <a:lstStyle/>
          <a:p>
            <a:endParaRPr/>
          </a:p>
        </p:txBody>
      </p:sp>
      <p:sp>
        <p:nvSpPr>
          <p:cNvPr id="45" name="object 45"/>
          <p:cNvSpPr/>
          <p:nvPr/>
        </p:nvSpPr>
        <p:spPr>
          <a:xfrm>
            <a:off x="10698480" y="1920239"/>
            <a:ext cx="908303" cy="155448"/>
          </a:xfrm>
          <a:prstGeom prst="rect">
            <a:avLst/>
          </a:prstGeom>
          <a:blipFill>
            <a:blip r:embed="rId17" cstate="print"/>
            <a:stretch>
              <a:fillRect/>
            </a:stretch>
          </a:blipFill>
        </p:spPr>
        <p:txBody>
          <a:bodyPr wrap="square" lIns="0" tIns="0" rIns="0" bIns="0" rtlCol="0"/>
          <a:lstStyle/>
          <a:p>
            <a:endParaRPr/>
          </a:p>
        </p:txBody>
      </p:sp>
      <p:sp>
        <p:nvSpPr>
          <p:cNvPr id="46" name="object 46"/>
          <p:cNvSpPr/>
          <p:nvPr/>
        </p:nvSpPr>
        <p:spPr>
          <a:xfrm>
            <a:off x="1752873" y="4211166"/>
            <a:ext cx="847631" cy="154739"/>
          </a:xfrm>
          <a:prstGeom prst="rect">
            <a:avLst/>
          </a:prstGeom>
          <a:blipFill>
            <a:blip r:embed="rId18" cstate="print"/>
            <a:stretch>
              <a:fillRect/>
            </a:stretch>
          </a:blipFill>
        </p:spPr>
        <p:txBody>
          <a:bodyPr wrap="square" lIns="0" tIns="0" rIns="0" bIns="0" rtlCol="0"/>
          <a:lstStyle/>
          <a:p>
            <a:endParaRPr/>
          </a:p>
        </p:txBody>
      </p:sp>
      <p:sp>
        <p:nvSpPr>
          <p:cNvPr id="47" name="object 4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8" name="object 48"/>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8</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140588"/>
            <a:ext cx="10748645" cy="779145"/>
          </a:xfrm>
          <a:prstGeom prst="rect">
            <a:avLst/>
          </a:prstGeom>
        </p:spPr>
        <p:txBody>
          <a:bodyPr vert="horz" wrap="square" lIns="0" tIns="57785" rIns="0" bIns="0" rtlCol="0">
            <a:spAutoFit/>
          </a:bodyPr>
          <a:lstStyle/>
          <a:p>
            <a:pPr marL="12700" marR="5080">
              <a:lnSpc>
                <a:spcPts val="2810"/>
              </a:lnSpc>
              <a:spcBef>
                <a:spcPts val="455"/>
              </a:spcBef>
            </a:pPr>
            <a:r>
              <a:rPr sz="2600">
                <a:solidFill>
                  <a:srgbClr val="006FAC"/>
                </a:solidFill>
                <a:latin typeface="Verdana"/>
                <a:cs typeface="Verdana"/>
              </a:rPr>
              <a:t>Strengthen our Salesforce </a:t>
            </a:r>
            <a:r>
              <a:rPr sz="2600" spc="-5">
                <a:solidFill>
                  <a:srgbClr val="006FAC"/>
                </a:solidFill>
                <a:latin typeface="Verdana"/>
                <a:cs typeface="Verdana"/>
              </a:rPr>
              <a:t>partnership through </a:t>
            </a:r>
            <a:r>
              <a:rPr sz="2600">
                <a:solidFill>
                  <a:srgbClr val="006FAC"/>
                </a:solidFill>
                <a:latin typeface="Verdana"/>
                <a:cs typeface="Verdana"/>
              </a:rPr>
              <a:t>a </a:t>
            </a:r>
            <a:r>
              <a:rPr sz="2600" spc="-5">
                <a:solidFill>
                  <a:srgbClr val="006FAC"/>
                </a:solidFill>
                <a:latin typeface="Verdana"/>
                <a:cs typeface="Verdana"/>
              </a:rPr>
              <a:t>comprehensive  </a:t>
            </a:r>
            <a:r>
              <a:rPr sz="2600">
                <a:solidFill>
                  <a:srgbClr val="006FAC"/>
                </a:solidFill>
                <a:latin typeface="Verdana"/>
                <a:cs typeface="Verdana"/>
              </a:rPr>
              <a:t>talent </a:t>
            </a:r>
            <a:r>
              <a:rPr sz="2600" spc="-5">
                <a:solidFill>
                  <a:srgbClr val="006FAC"/>
                </a:solidFill>
                <a:latin typeface="Verdana"/>
                <a:cs typeface="Verdana"/>
              </a:rPr>
              <a:t>development, </a:t>
            </a:r>
            <a:r>
              <a:rPr sz="2600">
                <a:solidFill>
                  <a:srgbClr val="006FAC"/>
                </a:solidFill>
                <a:latin typeface="Verdana"/>
                <a:cs typeface="Verdana"/>
              </a:rPr>
              <a:t>recruitment </a:t>
            </a:r>
            <a:r>
              <a:rPr sz="2600" spc="-5">
                <a:solidFill>
                  <a:srgbClr val="006FAC"/>
                </a:solidFill>
                <a:latin typeface="Verdana"/>
                <a:cs typeface="Verdana"/>
              </a:rPr>
              <a:t>and </a:t>
            </a:r>
            <a:r>
              <a:rPr sz="2600">
                <a:solidFill>
                  <a:srgbClr val="006FAC"/>
                </a:solidFill>
                <a:latin typeface="Verdana"/>
                <a:cs typeface="Verdana"/>
              </a:rPr>
              <a:t>retention</a:t>
            </a:r>
            <a:r>
              <a:rPr sz="2600" spc="-60">
                <a:solidFill>
                  <a:srgbClr val="006FAC"/>
                </a:solidFill>
                <a:latin typeface="Verdana"/>
                <a:cs typeface="Verdana"/>
              </a:rPr>
              <a:t> </a:t>
            </a:r>
            <a:r>
              <a:rPr sz="2600" spc="-5">
                <a:solidFill>
                  <a:srgbClr val="006FAC"/>
                </a:solidFill>
                <a:latin typeface="Verdana"/>
                <a:cs typeface="Verdana"/>
              </a:rPr>
              <a:t>strategy</a:t>
            </a:r>
            <a:endParaRPr sz="2600">
              <a:latin typeface="Verdana"/>
              <a:cs typeface="Verdana"/>
            </a:endParaRPr>
          </a:p>
        </p:txBody>
      </p:sp>
      <p:sp>
        <p:nvSpPr>
          <p:cNvPr id="3" name="object 3"/>
          <p:cNvSpPr txBox="1">
            <a:spLocks noGrp="1"/>
          </p:cNvSpPr>
          <p:nvPr>
            <p:ph type="title"/>
          </p:nvPr>
        </p:nvSpPr>
        <p:spPr>
          <a:xfrm>
            <a:off x="1927098" y="1431059"/>
            <a:ext cx="1735455" cy="958850"/>
          </a:xfrm>
          <a:prstGeom prst="rect">
            <a:avLst/>
          </a:prstGeom>
        </p:spPr>
        <p:txBody>
          <a:bodyPr vert="horz" wrap="square" lIns="0" tIns="64769" rIns="0" bIns="0" rtlCol="0">
            <a:spAutoFit/>
          </a:bodyPr>
          <a:lstStyle/>
          <a:p>
            <a:pPr marL="12700">
              <a:lnSpc>
                <a:spcPct val="100000"/>
              </a:lnSpc>
              <a:spcBef>
                <a:spcPts val="509"/>
              </a:spcBef>
            </a:pPr>
            <a:r>
              <a:rPr sz="2800" b="1" spc="-5">
                <a:solidFill>
                  <a:srgbClr val="12ABDB"/>
                </a:solidFill>
                <a:latin typeface="Verdana"/>
                <a:cs typeface="Verdana"/>
              </a:rPr>
              <a:t>4932</a:t>
            </a:r>
            <a:endParaRPr sz="2800">
              <a:latin typeface="Verdana"/>
              <a:cs typeface="Verdana"/>
            </a:endParaRPr>
          </a:p>
          <a:p>
            <a:pPr marL="12700" marR="5080">
              <a:lnSpc>
                <a:spcPct val="100000"/>
              </a:lnSpc>
              <a:spcBef>
                <a:spcPts val="210"/>
              </a:spcBef>
            </a:pPr>
            <a:r>
              <a:rPr sz="1400">
                <a:solidFill>
                  <a:srgbClr val="2B133C"/>
                </a:solidFill>
              </a:rPr>
              <a:t>certified</a:t>
            </a:r>
            <a:r>
              <a:rPr sz="1400" spc="-80">
                <a:solidFill>
                  <a:srgbClr val="2B133C"/>
                </a:solidFill>
              </a:rPr>
              <a:t> </a:t>
            </a:r>
            <a:r>
              <a:rPr sz="1400">
                <a:solidFill>
                  <a:srgbClr val="2B133C"/>
                </a:solidFill>
              </a:rPr>
              <a:t>Salesforce  experts</a:t>
            </a:r>
            <a:r>
              <a:rPr sz="1400" spc="-60">
                <a:solidFill>
                  <a:srgbClr val="2B133C"/>
                </a:solidFill>
              </a:rPr>
              <a:t> </a:t>
            </a:r>
            <a:r>
              <a:rPr sz="1400">
                <a:solidFill>
                  <a:srgbClr val="2B133C"/>
                </a:solidFill>
              </a:rPr>
              <a:t>worldwide</a:t>
            </a:r>
            <a:endParaRPr sz="1400"/>
          </a:p>
        </p:txBody>
      </p:sp>
      <p:sp>
        <p:nvSpPr>
          <p:cNvPr id="4" name="object 4"/>
          <p:cNvSpPr/>
          <p:nvPr/>
        </p:nvSpPr>
        <p:spPr>
          <a:xfrm>
            <a:off x="490981" y="1426447"/>
            <a:ext cx="1085850" cy="1037590"/>
          </a:xfrm>
          <a:custGeom>
            <a:avLst/>
            <a:gdLst/>
            <a:ahLst/>
            <a:cxnLst/>
            <a:rect l="l" t="t" r="r" b="b"/>
            <a:pathLst>
              <a:path w="1085850" h="1037589">
                <a:moveTo>
                  <a:pt x="537382" y="0"/>
                </a:moveTo>
                <a:lnTo>
                  <a:pt x="490784" y="2942"/>
                </a:lnTo>
                <a:lnTo>
                  <a:pt x="444417" y="9787"/>
                </a:lnTo>
                <a:lnTo>
                  <a:pt x="398552" y="20573"/>
                </a:lnTo>
                <a:lnTo>
                  <a:pt x="353463" y="35339"/>
                </a:lnTo>
                <a:lnTo>
                  <a:pt x="309421" y="54123"/>
                </a:lnTo>
                <a:lnTo>
                  <a:pt x="266698" y="76965"/>
                </a:lnTo>
                <a:lnTo>
                  <a:pt x="225565" y="103902"/>
                </a:lnTo>
                <a:lnTo>
                  <a:pt x="186605" y="134308"/>
                </a:lnTo>
                <a:lnTo>
                  <a:pt x="151202" y="167357"/>
                </a:lnTo>
                <a:lnTo>
                  <a:pt x="119401" y="202788"/>
                </a:lnTo>
                <a:lnTo>
                  <a:pt x="91247" y="240341"/>
                </a:lnTo>
                <a:lnTo>
                  <a:pt x="66784" y="279757"/>
                </a:lnTo>
                <a:lnTo>
                  <a:pt x="46056" y="320776"/>
                </a:lnTo>
                <a:lnTo>
                  <a:pt x="29108" y="363138"/>
                </a:lnTo>
                <a:lnTo>
                  <a:pt x="15984" y="406582"/>
                </a:lnTo>
                <a:lnTo>
                  <a:pt x="6728" y="450850"/>
                </a:lnTo>
                <a:lnTo>
                  <a:pt x="1385" y="495681"/>
                </a:lnTo>
                <a:lnTo>
                  <a:pt x="0" y="540816"/>
                </a:lnTo>
                <a:lnTo>
                  <a:pt x="2615" y="585994"/>
                </a:lnTo>
                <a:lnTo>
                  <a:pt x="9277" y="630956"/>
                </a:lnTo>
                <a:lnTo>
                  <a:pt x="20029" y="675441"/>
                </a:lnTo>
                <a:lnTo>
                  <a:pt x="34915" y="719191"/>
                </a:lnTo>
                <a:lnTo>
                  <a:pt x="53981" y="761944"/>
                </a:lnTo>
                <a:lnTo>
                  <a:pt x="77270" y="803441"/>
                </a:lnTo>
                <a:lnTo>
                  <a:pt x="104826" y="843423"/>
                </a:lnTo>
                <a:lnTo>
                  <a:pt x="135824" y="880137"/>
                </a:lnTo>
                <a:lnTo>
                  <a:pt x="169257" y="912949"/>
                </a:lnTo>
                <a:lnTo>
                  <a:pt x="204896" y="941876"/>
                </a:lnTo>
                <a:lnTo>
                  <a:pt x="242513" y="966936"/>
                </a:lnTo>
                <a:lnTo>
                  <a:pt x="281881" y="988147"/>
                </a:lnTo>
                <a:lnTo>
                  <a:pt x="322772" y="1005527"/>
                </a:lnTo>
                <a:lnTo>
                  <a:pt x="364959" y="1019094"/>
                </a:lnTo>
                <a:lnTo>
                  <a:pt x="408213" y="1028865"/>
                </a:lnTo>
                <a:lnTo>
                  <a:pt x="452308" y="1034860"/>
                </a:lnTo>
                <a:lnTo>
                  <a:pt x="497014" y="1037095"/>
                </a:lnTo>
                <a:lnTo>
                  <a:pt x="542105" y="1035588"/>
                </a:lnTo>
                <a:lnTo>
                  <a:pt x="587353" y="1030358"/>
                </a:lnTo>
                <a:lnTo>
                  <a:pt x="632529" y="1021422"/>
                </a:lnTo>
                <a:lnTo>
                  <a:pt x="677407" y="1008798"/>
                </a:lnTo>
                <a:lnTo>
                  <a:pt x="721759" y="992504"/>
                </a:lnTo>
                <a:lnTo>
                  <a:pt x="765356" y="972558"/>
                </a:lnTo>
                <a:lnTo>
                  <a:pt x="807971" y="948978"/>
                </a:lnTo>
                <a:lnTo>
                  <a:pt x="849376" y="921782"/>
                </a:lnTo>
                <a:lnTo>
                  <a:pt x="888057" y="891636"/>
                </a:lnTo>
                <a:lnTo>
                  <a:pt x="923562" y="859329"/>
                </a:lnTo>
                <a:lnTo>
                  <a:pt x="955805" y="825064"/>
                </a:lnTo>
                <a:lnTo>
                  <a:pt x="984695" y="789044"/>
                </a:lnTo>
                <a:lnTo>
                  <a:pt x="1010144" y="751473"/>
                </a:lnTo>
                <a:lnTo>
                  <a:pt x="1032064" y="712552"/>
                </a:lnTo>
                <a:lnTo>
                  <a:pt x="1050364" y="672485"/>
                </a:lnTo>
                <a:lnTo>
                  <a:pt x="1064957" y="631475"/>
                </a:lnTo>
                <a:lnTo>
                  <a:pt x="1075754" y="589725"/>
                </a:lnTo>
                <a:lnTo>
                  <a:pt x="1082665" y="547437"/>
                </a:lnTo>
                <a:lnTo>
                  <a:pt x="1085603" y="504815"/>
                </a:lnTo>
                <a:lnTo>
                  <a:pt x="1084477" y="462061"/>
                </a:lnTo>
                <a:lnTo>
                  <a:pt x="1079199" y="419378"/>
                </a:lnTo>
                <a:lnTo>
                  <a:pt x="1069681" y="376970"/>
                </a:lnTo>
                <a:lnTo>
                  <a:pt x="1055834" y="335039"/>
                </a:lnTo>
                <a:lnTo>
                  <a:pt x="1037568" y="293788"/>
                </a:lnTo>
                <a:lnTo>
                  <a:pt x="1014795" y="253420"/>
                </a:lnTo>
                <a:lnTo>
                  <a:pt x="987425" y="214138"/>
                </a:lnTo>
                <a:lnTo>
                  <a:pt x="956236" y="176705"/>
                </a:lnTo>
                <a:lnTo>
                  <a:pt x="922287" y="142750"/>
                </a:lnTo>
                <a:lnTo>
                  <a:pt x="885848" y="112310"/>
                </a:lnTo>
                <a:lnTo>
                  <a:pt x="847193" y="85425"/>
                </a:lnTo>
                <a:lnTo>
                  <a:pt x="806593" y="62132"/>
                </a:lnTo>
                <a:lnTo>
                  <a:pt x="764320" y="42472"/>
                </a:lnTo>
                <a:lnTo>
                  <a:pt x="720646" y="26482"/>
                </a:lnTo>
                <a:lnTo>
                  <a:pt x="675843" y="14201"/>
                </a:lnTo>
                <a:lnTo>
                  <a:pt x="630184" y="5668"/>
                </a:lnTo>
                <a:lnTo>
                  <a:pt x="583940" y="921"/>
                </a:lnTo>
                <a:lnTo>
                  <a:pt x="537382" y="0"/>
                </a:lnTo>
                <a:close/>
              </a:path>
            </a:pathLst>
          </a:custGeom>
          <a:solidFill>
            <a:srgbClr val="12ABDB"/>
          </a:solidFill>
        </p:spPr>
        <p:txBody>
          <a:bodyPr wrap="square" lIns="0" tIns="0" rIns="0" bIns="0" rtlCol="0"/>
          <a:lstStyle/>
          <a:p>
            <a:endParaRPr/>
          </a:p>
        </p:txBody>
      </p:sp>
      <p:sp>
        <p:nvSpPr>
          <p:cNvPr id="5" name="object 5"/>
          <p:cNvSpPr/>
          <p:nvPr/>
        </p:nvSpPr>
        <p:spPr>
          <a:xfrm>
            <a:off x="665451" y="1708023"/>
            <a:ext cx="173103" cy="188213"/>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591107" y="1923881"/>
            <a:ext cx="330835" cy="192405"/>
          </a:xfrm>
          <a:custGeom>
            <a:avLst/>
            <a:gdLst/>
            <a:ahLst/>
            <a:cxnLst/>
            <a:rect l="l" t="t" r="r" b="b"/>
            <a:pathLst>
              <a:path w="330834" h="192405">
                <a:moveTo>
                  <a:pt x="149084" y="0"/>
                </a:moveTo>
                <a:lnTo>
                  <a:pt x="102938" y="7497"/>
                </a:lnTo>
                <a:lnTo>
                  <a:pt x="65094" y="24886"/>
                </a:lnTo>
                <a:lnTo>
                  <a:pt x="35552" y="49694"/>
                </a:lnTo>
                <a:lnTo>
                  <a:pt x="1372" y="111674"/>
                </a:lnTo>
                <a:lnTo>
                  <a:pt x="0" y="136211"/>
                </a:lnTo>
                <a:lnTo>
                  <a:pt x="7965" y="158807"/>
                </a:lnTo>
                <a:lnTo>
                  <a:pt x="23620" y="176379"/>
                </a:lnTo>
                <a:lnTo>
                  <a:pt x="45314" y="185842"/>
                </a:lnTo>
                <a:lnTo>
                  <a:pt x="106852" y="191785"/>
                </a:lnTo>
                <a:lnTo>
                  <a:pt x="160660" y="190711"/>
                </a:lnTo>
                <a:lnTo>
                  <a:pt x="208282" y="185509"/>
                </a:lnTo>
                <a:lnTo>
                  <a:pt x="251266" y="179069"/>
                </a:lnTo>
                <a:lnTo>
                  <a:pt x="291157" y="174280"/>
                </a:lnTo>
                <a:lnTo>
                  <a:pt x="329502" y="174031"/>
                </a:lnTo>
                <a:lnTo>
                  <a:pt x="330694" y="162935"/>
                </a:lnTo>
                <a:lnTo>
                  <a:pt x="330237" y="152124"/>
                </a:lnTo>
                <a:lnTo>
                  <a:pt x="309823" y="88342"/>
                </a:lnTo>
                <a:lnTo>
                  <a:pt x="282629" y="50873"/>
                </a:lnTo>
                <a:lnTo>
                  <a:pt x="246650" y="22310"/>
                </a:lnTo>
                <a:lnTo>
                  <a:pt x="203531" y="4867"/>
                </a:lnTo>
                <a:lnTo>
                  <a:pt x="149084" y="0"/>
                </a:lnTo>
                <a:close/>
              </a:path>
            </a:pathLst>
          </a:custGeom>
          <a:solidFill>
            <a:srgbClr val="FFFFFF"/>
          </a:solidFill>
        </p:spPr>
        <p:txBody>
          <a:bodyPr wrap="square" lIns="0" tIns="0" rIns="0" bIns="0" rtlCol="0"/>
          <a:lstStyle/>
          <a:p>
            <a:endParaRPr/>
          </a:p>
        </p:txBody>
      </p:sp>
      <p:sp>
        <p:nvSpPr>
          <p:cNvPr id="7" name="object 7"/>
          <p:cNvSpPr/>
          <p:nvPr/>
        </p:nvSpPr>
        <p:spPr>
          <a:xfrm>
            <a:off x="1238808" y="1769110"/>
            <a:ext cx="162001" cy="175767"/>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1170238" y="1977577"/>
            <a:ext cx="306705" cy="178435"/>
          </a:xfrm>
          <a:custGeom>
            <a:avLst/>
            <a:gdLst/>
            <a:ahLst/>
            <a:cxnLst/>
            <a:rect l="l" t="t" r="r" b="b"/>
            <a:pathLst>
              <a:path w="306705" h="178435">
                <a:moveTo>
                  <a:pt x="129637" y="0"/>
                </a:moveTo>
                <a:lnTo>
                  <a:pt x="81232" y="11973"/>
                </a:lnTo>
                <a:lnTo>
                  <a:pt x="43814" y="36413"/>
                </a:lnTo>
                <a:lnTo>
                  <a:pt x="17241" y="69174"/>
                </a:lnTo>
                <a:lnTo>
                  <a:pt x="1374" y="106111"/>
                </a:lnTo>
                <a:lnTo>
                  <a:pt x="0" y="128121"/>
                </a:lnTo>
                <a:lnTo>
                  <a:pt x="7977" y="147894"/>
                </a:lnTo>
                <a:lnTo>
                  <a:pt x="23658" y="163189"/>
                </a:lnTo>
                <a:lnTo>
                  <a:pt x="45393" y="171770"/>
                </a:lnTo>
                <a:lnTo>
                  <a:pt x="111691" y="178233"/>
                </a:lnTo>
                <a:lnTo>
                  <a:pt x="168129" y="175687"/>
                </a:lnTo>
                <a:lnTo>
                  <a:pt x="262720" y="161902"/>
                </a:lnTo>
                <a:lnTo>
                  <a:pt x="306517" y="159832"/>
                </a:lnTo>
                <a:lnTo>
                  <a:pt x="303596" y="120970"/>
                </a:lnTo>
                <a:lnTo>
                  <a:pt x="288575" y="80986"/>
                </a:lnTo>
                <a:lnTo>
                  <a:pt x="262861" y="47135"/>
                </a:lnTo>
                <a:lnTo>
                  <a:pt x="228908" y="21118"/>
                </a:lnTo>
                <a:lnTo>
                  <a:pt x="189169" y="4638"/>
                </a:lnTo>
                <a:lnTo>
                  <a:pt x="129637" y="0"/>
                </a:lnTo>
                <a:close/>
              </a:path>
            </a:pathLst>
          </a:custGeom>
          <a:solidFill>
            <a:srgbClr val="FFFFFF"/>
          </a:solidFill>
        </p:spPr>
        <p:txBody>
          <a:bodyPr wrap="square" lIns="0" tIns="0" rIns="0" bIns="0" rtlCol="0"/>
          <a:lstStyle/>
          <a:p>
            <a:endParaRPr/>
          </a:p>
        </p:txBody>
      </p:sp>
      <p:sp>
        <p:nvSpPr>
          <p:cNvPr id="9" name="object 9"/>
          <p:cNvSpPr/>
          <p:nvPr/>
        </p:nvSpPr>
        <p:spPr>
          <a:xfrm>
            <a:off x="923442" y="1705101"/>
            <a:ext cx="247015" cy="259715"/>
          </a:xfrm>
          <a:custGeom>
            <a:avLst/>
            <a:gdLst/>
            <a:ahLst/>
            <a:cxnLst/>
            <a:rect l="l" t="t" r="r" b="b"/>
            <a:pathLst>
              <a:path w="247015" h="259714">
                <a:moveTo>
                  <a:pt x="123494" y="0"/>
                </a:moveTo>
                <a:lnTo>
                  <a:pt x="74011" y="12578"/>
                </a:lnTo>
                <a:lnTo>
                  <a:pt x="34177" y="42814"/>
                </a:lnTo>
                <a:lnTo>
                  <a:pt x="8128" y="86314"/>
                </a:lnTo>
                <a:lnTo>
                  <a:pt x="0" y="138684"/>
                </a:lnTo>
                <a:lnTo>
                  <a:pt x="11528" y="188239"/>
                </a:lnTo>
                <a:lnTo>
                  <a:pt x="39322" y="227853"/>
                </a:lnTo>
                <a:lnTo>
                  <a:pt x="79799" y="253109"/>
                </a:lnTo>
                <a:lnTo>
                  <a:pt x="129374" y="259587"/>
                </a:lnTo>
                <a:lnTo>
                  <a:pt x="177525" y="247009"/>
                </a:lnTo>
                <a:lnTo>
                  <a:pt x="214647" y="216773"/>
                </a:lnTo>
                <a:lnTo>
                  <a:pt x="238536" y="173273"/>
                </a:lnTo>
                <a:lnTo>
                  <a:pt x="246989" y="120903"/>
                </a:lnTo>
                <a:lnTo>
                  <a:pt x="236373" y="71348"/>
                </a:lnTo>
                <a:lnTo>
                  <a:pt x="210597" y="31734"/>
                </a:lnTo>
                <a:lnTo>
                  <a:pt x="172144" y="6478"/>
                </a:lnTo>
                <a:lnTo>
                  <a:pt x="123494" y="0"/>
                </a:lnTo>
                <a:close/>
              </a:path>
            </a:pathLst>
          </a:custGeom>
          <a:solidFill>
            <a:srgbClr val="FFFFFF"/>
          </a:solidFill>
        </p:spPr>
        <p:txBody>
          <a:bodyPr wrap="square" lIns="0" tIns="0" rIns="0" bIns="0" rtlCol="0"/>
          <a:lstStyle/>
          <a:p>
            <a:endParaRPr/>
          </a:p>
        </p:txBody>
      </p:sp>
      <p:sp>
        <p:nvSpPr>
          <p:cNvPr id="10" name="object 10"/>
          <p:cNvSpPr/>
          <p:nvPr/>
        </p:nvSpPr>
        <p:spPr>
          <a:xfrm>
            <a:off x="812291" y="2009801"/>
            <a:ext cx="453390" cy="264160"/>
          </a:xfrm>
          <a:custGeom>
            <a:avLst/>
            <a:gdLst/>
            <a:ahLst/>
            <a:cxnLst/>
            <a:rect l="l" t="t" r="r" b="b"/>
            <a:pathLst>
              <a:path w="453390" h="264160">
                <a:moveTo>
                  <a:pt x="235728" y="0"/>
                </a:moveTo>
                <a:lnTo>
                  <a:pt x="173050" y="8482"/>
                </a:lnTo>
                <a:lnTo>
                  <a:pt x="125814" y="26350"/>
                </a:lnTo>
                <a:lnTo>
                  <a:pt x="83790" y="54167"/>
                </a:lnTo>
                <a:lnTo>
                  <a:pt x="48666" y="90513"/>
                </a:lnTo>
                <a:lnTo>
                  <a:pt x="22129" y="133966"/>
                </a:lnTo>
                <a:lnTo>
                  <a:pt x="5867" y="183107"/>
                </a:lnTo>
                <a:lnTo>
                  <a:pt x="91" y="225576"/>
                </a:lnTo>
                <a:lnTo>
                  <a:pt x="0" y="239368"/>
                </a:lnTo>
                <a:lnTo>
                  <a:pt x="39606" y="239543"/>
                </a:lnTo>
                <a:lnTo>
                  <a:pt x="79832" y="243386"/>
                </a:lnTo>
                <a:lnTo>
                  <a:pt x="165714" y="255703"/>
                </a:lnTo>
                <a:lnTo>
                  <a:pt x="213158" y="260989"/>
                </a:lnTo>
                <a:lnTo>
                  <a:pt x="264795" y="263567"/>
                </a:lnTo>
                <a:lnTo>
                  <a:pt x="321520" y="261845"/>
                </a:lnTo>
                <a:lnTo>
                  <a:pt x="384225" y="254227"/>
                </a:lnTo>
                <a:lnTo>
                  <a:pt x="417816" y="239967"/>
                </a:lnTo>
                <a:lnTo>
                  <a:pt x="441782" y="213492"/>
                </a:lnTo>
                <a:lnTo>
                  <a:pt x="453098" y="179253"/>
                </a:lnTo>
                <a:lnTo>
                  <a:pt x="448741" y="141705"/>
                </a:lnTo>
                <a:lnTo>
                  <a:pt x="432394" y="104467"/>
                </a:lnTo>
                <a:lnTo>
                  <a:pt x="408453" y="70195"/>
                </a:lnTo>
                <a:lnTo>
                  <a:pt x="376868" y="40751"/>
                </a:lnTo>
                <a:lnTo>
                  <a:pt x="337586" y="17996"/>
                </a:lnTo>
                <a:lnTo>
                  <a:pt x="290556" y="3791"/>
                </a:lnTo>
                <a:lnTo>
                  <a:pt x="235728" y="0"/>
                </a:lnTo>
                <a:close/>
              </a:path>
            </a:pathLst>
          </a:custGeom>
          <a:solidFill>
            <a:srgbClr val="FFFFFF"/>
          </a:solidFill>
        </p:spPr>
        <p:txBody>
          <a:bodyPr wrap="square" lIns="0" tIns="0" rIns="0" bIns="0" rtlCol="0"/>
          <a:lstStyle/>
          <a:p>
            <a:endParaRPr/>
          </a:p>
        </p:txBody>
      </p:sp>
      <p:sp>
        <p:nvSpPr>
          <p:cNvPr id="11" name="object 11"/>
          <p:cNvSpPr/>
          <p:nvPr/>
        </p:nvSpPr>
        <p:spPr>
          <a:xfrm>
            <a:off x="1722120" y="1426463"/>
            <a:ext cx="0" cy="1026160"/>
          </a:xfrm>
          <a:custGeom>
            <a:avLst/>
            <a:gdLst/>
            <a:ahLst/>
            <a:cxnLst/>
            <a:rect l="l" t="t" r="r" b="b"/>
            <a:pathLst>
              <a:path h="1026160">
                <a:moveTo>
                  <a:pt x="0" y="0"/>
                </a:moveTo>
                <a:lnTo>
                  <a:pt x="0" y="1025651"/>
                </a:lnTo>
              </a:path>
            </a:pathLst>
          </a:custGeom>
          <a:ln w="36575">
            <a:solidFill>
              <a:srgbClr val="12ABDB"/>
            </a:solidFill>
          </a:ln>
        </p:spPr>
        <p:txBody>
          <a:bodyPr wrap="square" lIns="0" tIns="0" rIns="0" bIns="0" rtlCol="0"/>
          <a:lstStyle/>
          <a:p>
            <a:endParaRPr/>
          </a:p>
        </p:txBody>
      </p:sp>
      <p:sp>
        <p:nvSpPr>
          <p:cNvPr id="12" name="object 12"/>
          <p:cNvSpPr txBox="1"/>
          <p:nvPr/>
        </p:nvSpPr>
        <p:spPr>
          <a:xfrm>
            <a:off x="5994653" y="1431059"/>
            <a:ext cx="2073910" cy="958850"/>
          </a:xfrm>
          <a:prstGeom prst="rect">
            <a:avLst/>
          </a:prstGeom>
        </p:spPr>
        <p:txBody>
          <a:bodyPr vert="horz" wrap="square" lIns="0" tIns="64769" rIns="0" bIns="0" rtlCol="0">
            <a:spAutoFit/>
          </a:bodyPr>
          <a:lstStyle/>
          <a:p>
            <a:pPr marL="12700">
              <a:lnSpc>
                <a:spcPct val="100000"/>
              </a:lnSpc>
              <a:spcBef>
                <a:spcPts val="509"/>
              </a:spcBef>
            </a:pPr>
            <a:r>
              <a:rPr sz="2800" b="1" spc="-5">
                <a:solidFill>
                  <a:srgbClr val="12ABDB"/>
                </a:solidFill>
                <a:latin typeface="Verdana"/>
                <a:cs typeface="Verdana"/>
              </a:rPr>
              <a:t>29</a:t>
            </a:r>
            <a:endParaRPr sz="2800">
              <a:latin typeface="Verdana"/>
              <a:cs typeface="Verdana"/>
            </a:endParaRPr>
          </a:p>
          <a:p>
            <a:pPr marL="12700" marR="5080">
              <a:lnSpc>
                <a:spcPct val="100000"/>
              </a:lnSpc>
              <a:spcBef>
                <a:spcPts val="210"/>
              </a:spcBef>
            </a:pPr>
            <a:r>
              <a:rPr sz="1400">
                <a:solidFill>
                  <a:srgbClr val="2B133C"/>
                </a:solidFill>
                <a:latin typeface="Verdana"/>
                <a:cs typeface="Verdana"/>
              </a:rPr>
              <a:t>countries with</a:t>
            </a:r>
            <a:r>
              <a:rPr sz="1400" spc="-80">
                <a:solidFill>
                  <a:srgbClr val="2B133C"/>
                </a:solidFill>
                <a:latin typeface="Verdana"/>
                <a:cs typeface="Verdana"/>
              </a:rPr>
              <a:t> </a:t>
            </a:r>
            <a:r>
              <a:rPr sz="1400">
                <a:solidFill>
                  <a:srgbClr val="2B133C"/>
                </a:solidFill>
                <a:latin typeface="Verdana"/>
                <a:cs typeface="Verdana"/>
              </a:rPr>
              <a:t>certified  Salesforce</a:t>
            </a:r>
            <a:r>
              <a:rPr sz="1400" spc="-45">
                <a:solidFill>
                  <a:srgbClr val="2B133C"/>
                </a:solidFill>
                <a:latin typeface="Verdana"/>
                <a:cs typeface="Verdana"/>
              </a:rPr>
              <a:t> </a:t>
            </a:r>
            <a:r>
              <a:rPr sz="1400">
                <a:solidFill>
                  <a:srgbClr val="2B133C"/>
                </a:solidFill>
                <a:latin typeface="Verdana"/>
                <a:cs typeface="Verdana"/>
              </a:rPr>
              <a:t>experts</a:t>
            </a:r>
            <a:endParaRPr sz="1400">
              <a:latin typeface="Verdana"/>
              <a:cs typeface="Verdana"/>
            </a:endParaRPr>
          </a:p>
        </p:txBody>
      </p:sp>
      <p:sp>
        <p:nvSpPr>
          <p:cNvPr id="13" name="object 13"/>
          <p:cNvSpPr/>
          <p:nvPr/>
        </p:nvSpPr>
        <p:spPr>
          <a:xfrm>
            <a:off x="4570713" y="1426447"/>
            <a:ext cx="1085850" cy="1037590"/>
          </a:xfrm>
          <a:custGeom>
            <a:avLst/>
            <a:gdLst/>
            <a:ahLst/>
            <a:cxnLst/>
            <a:rect l="l" t="t" r="r" b="b"/>
            <a:pathLst>
              <a:path w="1085850" h="1037589">
                <a:moveTo>
                  <a:pt x="537423" y="0"/>
                </a:moveTo>
                <a:lnTo>
                  <a:pt x="490824" y="2942"/>
                </a:lnTo>
                <a:lnTo>
                  <a:pt x="444455" y="9787"/>
                </a:lnTo>
                <a:lnTo>
                  <a:pt x="398588" y="20573"/>
                </a:lnTo>
                <a:lnTo>
                  <a:pt x="353494" y="35339"/>
                </a:lnTo>
                <a:lnTo>
                  <a:pt x="309445" y="54123"/>
                </a:lnTo>
                <a:lnTo>
                  <a:pt x="266712" y="76965"/>
                </a:lnTo>
                <a:lnTo>
                  <a:pt x="225568" y="103902"/>
                </a:lnTo>
                <a:lnTo>
                  <a:pt x="186608" y="134308"/>
                </a:lnTo>
                <a:lnTo>
                  <a:pt x="151205" y="167357"/>
                </a:lnTo>
                <a:lnTo>
                  <a:pt x="119405" y="202788"/>
                </a:lnTo>
                <a:lnTo>
                  <a:pt x="91251" y="240341"/>
                </a:lnTo>
                <a:lnTo>
                  <a:pt x="66789" y="279757"/>
                </a:lnTo>
                <a:lnTo>
                  <a:pt x="46061" y="320776"/>
                </a:lnTo>
                <a:lnTo>
                  <a:pt x="29113" y="363138"/>
                </a:lnTo>
                <a:lnTo>
                  <a:pt x="15988" y="406582"/>
                </a:lnTo>
                <a:lnTo>
                  <a:pt x="6731" y="450850"/>
                </a:lnTo>
                <a:lnTo>
                  <a:pt x="1387" y="495681"/>
                </a:lnTo>
                <a:lnTo>
                  <a:pt x="0" y="540816"/>
                </a:lnTo>
                <a:lnTo>
                  <a:pt x="2613" y="585994"/>
                </a:lnTo>
                <a:lnTo>
                  <a:pt x="9271" y="630956"/>
                </a:lnTo>
                <a:lnTo>
                  <a:pt x="20019" y="675441"/>
                </a:lnTo>
                <a:lnTo>
                  <a:pt x="34901" y="719191"/>
                </a:lnTo>
                <a:lnTo>
                  <a:pt x="53960" y="761944"/>
                </a:lnTo>
                <a:lnTo>
                  <a:pt x="77243" y="803441"/>
                </a:lnTo>
                <a:lnTo>
                  <a:pt x="104791" y="843423"/>
                </a:lnTo>
                <a:lnTo>
                  <a:pt x="135801" y="880137"/>
                </a:lnTo>
                <a:lnTo>
                  <a:pt x="169244" y="912949"/>
                </a:lnTo>
                <a:lnTo>
                  <a:pt x="204891" y="941876"/>
                </a:lnTo>
                <a:lnTo>
                  <a:pt x="242515" y="966936"/>
                </a:lnTo>
                <a:lnTo>
                  <a:pt x="281889" y="988147"/>
                </a:lnTo>
                <a:lnTo>
                  <a:pt x="322784" y="1005527"/>
                </a:lnTo>
                <a:lnTo>
                  <a:pt x="364974" y="1019094"/>
                </a:lnTo>
                <a:lnTo>
                  <a:pt x="408231" y="1028865"/>
                </a:lnTo>
                <a:lnTo>
                  <a:pt x="452327" y="1034860"/>
                </a:lnTo>
                <a:lnTo>
                  <a:pt x="497034" y="1037095"/>
                </a:lnTo>
                <a:lnTo>
                  <a:pt x="542125" y="1035588"/>
                </a:lnTo>
                <a:lnTo>
                  <a:pt x="587372" y="1030358"/>
                </a:lnTo>
                <a:lnTo>
                  <a:pt x="632549" y="1021422"/>
                </a:lnTo>
                <a:lnTo>
                  <a:pt x="677426" y="1008798"/>
                </a:lnTo>
                <a:lnTo>
                  <a:pt x="721776" y="992504"/>
                </a:lnTo>
                <a:lnTo>
                  <a:pt x="765372" y="972558"/>
                </a:lnTo>
                <a:lnTo>
                  <a:pt x="807987" y="948978"/>
                </a:lnTo>
                <a:lnTo>
                  <a:pt x="849392" y="921782"/>
                </a:lnTo>
                <a:lnTo>
                  <a:pt x="888073" y="891636"/>
                </a:lnTo>
                <a:lnTo>
                  <a:pt x="923578" y="859329"/>
                </a:lnTo>
                <a:lnTo>
                  <a:pt x="955821" y="825064"/>
                </a:lnTo>
                <a:lnTo>
                  <a:pt x="984711" y="789044"/>
                </a:lnTo>
                <a:lnTo>
                  <a:pt x="1010160" y="751473"/>
                </a:lnTo>
                <a:lnTo>
                  <a:pt x="1032079" y="712552"/>
                </a:lnTo>
                <a:lnTo>
                  <a:pt x="1050380" y="672485"/>
                </a:lnTo>
                <a:lnTo>
                  <a:pt x="1064973" y="631475"/>
                </a:lnTo>
                <a:lnTo>
                  <a:pt x="1075770" y="589725"/>
                </a:lnTo>
                <a:lnTo>
                  <a:pt x="1082681" y="547437"/>
                </a:lnTo>
                <a:lnTo>
                  <a:pt x="1085618" y="504815"/>
                </a:lnTo>
                <a:lnTo>
                  <a:pt x="1084493" y="462061"/>
                </a:lnTo>
                <a:lnTo>
                  <a:pt x="1079215" y="419378"/>
                </a:lnTo>
                <a:lnTo>
                  <a:pt x="1069697" y="376970"/>
                </a:lnTo>
                <a:lnTo>
                  <a:pt x="1055850" y="335039"/>
                </a:lnTo>
                <a:lnTo>
                  <a:pt x="1037584" y="293788"/>
                </a:lnTo>
                <a:lnTo>
                  <a:pt x="1014810" y="253420"/>
                </a:lnTo>
                <a:lnTo>
                  <a:pt x="987441" y="214138"/>
                </a:lnTo>
                <a:lnTo>
                  <a:pt x="956253" y="176705"/>
                </a:lnTo>
                <a:lnTo>
                  <a:pt x="922305" y="142750"/>
                </a:lnTo>
                <a:lnTo>
                  <a:pt x="885868" y="112310"/>
                </a:lnTo>
                <a:lnTo>
                  <a:pt x="847216" y="85425"/>
                </a:lnTo>
                <a:lnTo>
                  <a:pt x="806619" y="62132"/>
                </a:lnTo>
                <a:lnTo>
                  <a:pt x="764349" y="42472"/>
                </a:lnTo>
                <a:lnTo>
                  <a:pt x="720679" y="26482"/>
                </a:lnTo>
                <a:lnTo>
                  <a:pt x="675879" y="14201"/>
                </a:lnTo>
                <a:lnTo>
                  <a:pt x="630222" y="5668"/>
                </a:lnTo>
                <a:lnTo>
                  <a:pt x="583979" y="921"/>
                </a:lnTo>
                <a:lnTo>
                  <a:pt x="537423" y="0"/>
                </a:lnTo>
                <a:close/>
              </a:path>
            </a:pathLst>
          </a:custGeom>
          <a:solidFill>
            <a:srgbClr val="12ABDB"/>
          </a:solidFill>
        </p:spPr>
        <p:txBody>
          <a:bodyPr wrap="square" lIns="0" tIns="0" rIns="0" bIns="0" rtlCol="0"/>
          <a:lstStyle/>
          <a:p>
            <a:endParaRPr/>
          </a:p>
        </p:txBody>
      </p:sp>
      <p:sp>
        <p:nvSpPr>
          <p:cNvPr id="14" name="object 14"/>
          <p:cNvSpPr/>
          <p:nvPr/>
        </p:nvSpPr>
        <p:spPr>
          <a:xfrm>
            <a:off x="4748069" y="1592636"/>
            <a:ext cx="717550" cy="704850"/>
          </a:xfrm>
          <a:custGeom>
            <a:avLst/>
            <a:gdLst/>
            <a:ahLst/>
            <a:cxnLst/>
            <a:rect l="l" t="t" r="r" b="b"/>
            <a:pathLst>
              <a:path w="717550" h="704850">
                <a:moveTo>
                  <a:pt x="359700" y="0"/>
                </a:moveTo>
                <a:lnTo>
                  <a:pt x="304967" y="1664"/>
                </a:lnTo>
                <a:lnTo>
                  <a:pt x="252752" y="11716"/>
                </a:lnTo>
                <a:lnTo>
                  <a:pt x="206200" y="31693"/>
                </a:lnTo>
                <a:lnTo>
                  <a:pt x="166247" y="54618"/>
                </a:lnTo>
                <a:lnTo>
                  <a:pt x="128556" y="81152"/>
                </a:lnTo>
                <a:lnTo>
                  <a:pt x="94075" y="111369"/>
                </a:lnTo>
                <a:lnTo>
                  <a:pt x="63753" y="145343"/>
                </a:lnTo>
                <a:lnTo>
                  <a:pt x="38539" y="183149"/>
                </a:lnTo>
                <a:lnTo>
                  <a:pt x="19383" y="224860"/>
                </a:lnTo>
                <a:lnTo>
                  <a:pt x="8441" y="266051"/>
                </a:lnTo>
                <a:lnTo>
                  <a:pt x="1956" y="313346"/>
                </a:lnTo>
                <a:lnTo>
                  <a:pt x="0" y="363575"/>
                </a:lnTo>
                <a:lnTo>
                  <a:pt x="2647" y="413572"/>
                </a:lnTo>
                <a:lnTo>
                  <a:pt x="9973" y="460168"/>
                </a:lnTo>
                <a:lnTo>
                  <a:pt x="22050" y="500196"/>
                </a:lnTo>
                <a:lnTo>
                  <a:pt x="42814" y="539236"/>
                </a:lnTo>
                <a:lnTo>
                  <a:pt x="69634" y="574554"/>
                </a:lnTo>
                <a:lnTo>
                  <a:pt x="101715" y="605995"/>
                </a:lnTo>
                <a:lnTo>
                  <a:pt x="138263" y="633402"/>
                </a:lnTo>
                <a:lnTo>
                  <a:pt x="178484" y="656618"/>
                </a:lnTo>
                <a:lnTo>
                  <a:pt x="221582" y="675488"/>
                </a:lnTo>
                <a:lnTo>
                  <a:pt x="266763" y="689854"/>
                </a:lnTo>
                <a:lnTo>
                  <a:pt x="313233" y="699561"/>
                </a:lnTo>
                <a:lnTo>
                  <a:pt x="360198" y="704452"/>
                </a:lnTo>
                <a:lnTo>
                  <a:pt x="406862" y="704371"/>
                </a:lnTo>
                <a:lnTo>
                  <a:pt x="452431" y="699162"/>
                </a:lnTo>
                <a:lnTo>
                  <a:pt x="496112" y="688667"/>
                </a:lnTo>
                <a:lnTo>
                  <a:pt x="537108" y="672732"/>
                </a:lnTo>
                <a:lnTo>
                  <a:pt x="574627" y="651199"/>
                </a:lnTo>
                <a:lnTo>
                  <a:pt x="608987" y="622939"/>
                </a:lnTo>
                <a:lnTo>
                  <a:pt x="639228" y="588267"/>
                </a:lnTo>
                <a:lnTo>
                  <a:pt x="665018" y="548388"/>
                </a:lnTo>
                <a:lnTo>
                  <a:pt x="686023" y="504511"/>
                </a:lnTo>
                <a:lnTo>
                  <a:pt x="701913" y="457841"/>
                </a:lnTo>
                <a:lnTo>
                  <a:pt x="712354" y="409587"/>
                </a:lnTo>
                <a:lnTo>
                  <a:pt x="717014" y="360954"/>
                </a:lnTo>
                <a:lnTo>
                  <a:pt x="715562" y="313151"/>
                </a:lnTo>
                <a:lnTo>
                  <a:pt x="707665" y="267384"/>
                </a:lnTo>
                <a:lnTo>
                  <a:pt x="692991" y="224860"/>
                </a:lnTo>
                <a:lnTo>
                  <a:pt x="670923" y="183695"/>
                </a:lnTo>
                <a:lnTo>
                  <a:pt x="645321" y="144747"/>
                </a:lnTo>
                <a:lnTo>
                  <a:pt x="616180" y="108943"/>
                </a:lnTo>
                <a:lnTo>
                  <a:pt x="583495" y="77209"/>
                </a:lnTo>
                <a:lnTo>
                  <a:pt x="547263" y="50472"/>
                </a:lnTo>
                <a:lnTo>
                  <a:pt x="507478" y="29657"/>
                </a:lnTo>
                <a:lnTo>
                  <a:pt x="464137" y="15691"/>
                </a:lnTo>
                <a:lnTo>
                  <a:pt x="413805" y="5187"/>
                </a:lnTo>
                <a:lnTo>
                  <a:pt x="359700" y="0"/>
                </a:lnTo>
                <a:close/>
              </a:path>
            </a:pathLst>
          </a:custGeom>
          <a:solidFill>
            <a:srgbClr val="F1F1F1"/>
          </a:solidFill>
        </p:spPr>
        <p:txBody>
          <a:bodyPr wrap="square" lIns="0" tIns="0" rIns="0" bIns="0" rtlCol="0"/>
          <a:lstStyle/>
          <a:p>
            <a:endParaRPr/>
          </a:p>
        </p:txBody>
      </p:sp>
      <p:sp>
        <p:nvSpPr>
          <p:cNvPr id="15" name="object 15"/>
          <p:cNvSpPr/>
          <p:nvPr/>
        </p:nvSpPr>
        <p:spPr>
          <a:xfrm>
            <a:off x="4917947" y="1592961"/>
            <a:ext cx="208915" cy="57150"/>
          </a:xfrm>
          <a:custGeom>
            <a:avLst/>
            <a:gdLst/>
            <a:ahLst/>
            <a:cxnLst/>
            <a:rect l="l" t="t" r="r" b="b"/>
            <a:pathLst>
              <a:path w="208914" h="57150">
                <a:moveTo>
                  <a:pt x="208787" y="0"/>
                </a:moveTo>
                <a:lnTo>
                  <a:pt x="136767" y="41"/>
                </a:lnTo>
                <a:lnTo>
                  <a:pt x="82581" y="10334"/>
                </a:lnTo>
                <a:lnTo>
                  <a:pt x="39302" y="28128"/>
                </a:lnTo>
                <a:lnTo>
                  <a:pt x="0" y="50673"/>
                </a:lnTo>
                <a:lnTo>
                  <a:pt x="36998" y="56840"/>
                </a:lnTo>
                <a:lnTo>
                  <a:pt x="70056" y="54006"/>
                </a:lnTo>
                <a:lnTo>
                  <a:pt x="101137" y="46172"/>
                </a:lnTo>
                <a:lnTo>
                  <a:pt x="132206" y="37337"/>
                </a:lnTo>
                <a:lnTo>
                  <a:pt x="153781" y="31878"/>
                </a:lnTo>
                <a:lnTo>
                  <a:pt x="174402" y="23669"/>
                </a:lnTo>
                <a:lnTo>
                  <a:pt x="193071" y="12959"/>
                </a:lnTo>
                <a:lnTo>
                  <a:pt x="208787" y="0"/>
                </a:lnTo>
                <a:close/>
              </a:path>
            </a:pathLst>
          </a:custGeom>
          <a:solidFill>
            <a:srgbClr val="12ABDB"/>
          </a:solidFill>
        </p:spPr>
        <p:txBody>
          <a:bodyPr wrap="square" lIns="0" tIns="0" rIns="0" bIns="0" rtlCol="0"/>
          <a:lstStyle/>
          <a:p>
            <a:endParaRPr/>
          </a:p>
        </p:txBody>
      </p:sp>
      <p:sp>
        <p:nvSpPr>
          <p:cNvPr id="16" name="object 16"/>
          <p:cNvSpPr/>
          <p:nvPr/>
        </p:nvSpPr>
        <p:spPr>
          <a:xfrm>
            <a:off x="5050535" y="1625726"/>
            <a:ext cx="364490" cy="587375"/>
          </a:xfrm>
          <a:custGeom>
            <a:avLst/>
            <a:gdLst/>
            <a:ahLst/>
            <a:cxnLst/>
            <a:rect l="l" t="t" r="r" b="b"/>
            <a:pathLst>
              <a:path w="364489" h="587375">
                <a:moveTo>
                  <a:pt x="226806" y="343947"/>
                </a:moveTo>
                <a:lnTo>
                  <a:pt x="202628" y="349345"/>
                </a:lnTo>
                <a:lnTo>
                  <a:pt x="180927" y="360695"/>
                </a:lnTo>
                <a:lnTo>
                  <a:pt x="162940" y="374523"/>
                </a:lnTo>
                <a:lnTo>
                  <a:pt x="174416" y="393380"/>
                </a:lnTo>
                <a:lnTo>
                  <a:pt x="174069" y="409463"/>
                </a:lnTo>
                <a:lnTo>
                  <a:pt x="162887" y="422046"/>
                </a:lnTo>
                <a:lnTo>
                  <a:pt x="141859" y="430402"/>
                </a:lnTo>
                <a:lnTo>
                  <a:pt x="140612" y="459174"/>
                </a:lnTo>
                <a:lnTo>
                  <a:pt x="151415" y="483504"/>
                </a:lnTo>
                <a:lnTo>
                  <a:pt x="166647" y="505858"/>
                </a:lnTo>
                <a:lnTo>
                  <a:pt x="178688" y="528701"/>
                </a:lnTo>
                <a:lnTo>
                  <a:pt x="185467" y="547151"/>
                </a:lnTo>
                <a:lnTo>
                  <a:pt x="191484" y="562863"/>
                </a:lnTo>
                <a:lnTo>
                  <a:pt x="198977" y="576099"/>
                </a:lnTo>
                <a:lnTo>
                  <a:pt x="210185" y="587121"/>
                </a:lnTo>
                <a:lnTo>
                  <a:pt x="247989" y="550037"/>
                </a:lnTo>
                <a:lnTo>
                  <a:pt x="287734" y="515429"/>
                </a:lnTo>
                <a:lnTo>
                  <a:pt x="325502" y="478821"/>
                </a:lnTo>
                <a:lnTo>
                  <a:pt x="357377" y="435737"/>
                </a:lnTo>
                <a:lnTo>
                  <a:pt x="352057" y="423255"/>
                </a:lnTo>
                <a:lnTo>
                  <a:pt x="350440" y="409797"/>
                </a:lnTo>
                <a:lnTo>
                  <a:pt x="350323" y="395339"/>
                </a:lnTo>
                <a:lnTo>
                  <a:pt x="349503" y="379857"/>
                </a:lnTo>
                <a:lnTo>
                  <a:pt x="335635" y="369431"/>
                </a:lnTo>
                <a:lnTo>
                  <a:pt x="317611" y="359981"/>
                </a:lnTo>
                <a:lnTo>
                  <a:pt x="301087" y="348531"/>
                </a:lnTo>
                <a:lnTo>
                  <a:pt x="300772" y="347980"/>
                </a:lnTo>
                <a:lnTo>
                  <a:pt x="252222" y="347980"/>
                </a:lnTo>
                <a:lnTo>
                  <a:pt x="226806" y="343947"/>
                </a:lnTo>
                <a:close/>
              </a:path>
              <a:path w="364489" h="587375">
                <a:moveTo>
                  <a:pt x="358314" y="175387"/>
                </a:moveTo>
                <a:lnTo>
                  <a:pt x="186562" y="175387"/>
                </a:lnTo>
                <a:lnTo>
                  <a:pt x="201422" y="185179"/>
                </a:lnTo>
                <a:lnTo>
                  <a:pt x="218757" y="207914"/>
                </a:lnTo>
                <a:lnTo>
                  <a:pt x="233140" y="233626"/>
                </a:lnTo>
                <a:lnTo>
                  <a:pt x="239140" y="252349"/>
                </a:lnTo>
                <a:lnTo>
                  <a:pt x="239140" y="260350"/>
                </a:lnTo>
                <a:lnTo>
                  <a:pt x="231266" y="268350"/>
                </a:lnTo>
                <a:lnTo>
                  <a:pt x="231266" y="273685"/>
                </a:lnTo>
                <a:lnTo>
                  <a:pt x="244348" y="284225"/>
                </a:lnTo>
                <a:lnTo>
                  <a:pt x="244348" y="289560"/>
                </a:lnTo>
                <a:lnTo>
                  <a:pt x="252614" y="301706"/>
                </a:lnTo>
                <a:lnTo>
                  <a:pt x="259143" y="316817"/>
                </a:lnTo>
                <a:lnTo>
                  <a:pt x="260242" y="332904"/>
                </a:lnTo>
                <a:lnTo>
                  <a:pt x="252222" y="347980"/>
                </a:lnTo>
                <a:lnTo>
                  <a:pt x="300772" y="347980"/>
                </a:lnTo>
                <a:lnTo>
                  <a:pt x="291718" y="332105"/>
                </a:lnTo>
                <a:lnTo>
                  <a:pt x="289591" y="315975"/>
                </a:lnTo>
                <a:lnTo>
                  <a:pt x="290702" y="294893"/>
                </a:lnTo>
                <a:lnTo>
                  <a:pt x="299592" y="257683"/>
                </a:lnTo>
                <a:lnTo>
                  <a:pt x="337597" y="236751"/>
                </a:lnTo>
                <a:lnTo>
                  <a:pt x="352043" y="228473"/>
                </a:lnTo>
                <a:lnTo>
                  <a:pt x="363974" y="206023"/>
                </a:lnTo>
                <a:lnTo>
                  <a:pt x="360616" y="180324"/>
                </a:lnTo>
                <a:lnTo>
                  <a:pt x="358314" y="175387"/>
                </a:lnTo>
                <a:close/>
              </a:path>
              <a:path w="364489" h="587375">
                <a:moveTo>
                  <a:pt x="355546" y="169449"/>
                </a:moveTo>
                <a:lnTo>
                  <a:pt x="62801" y="169449"/>
                </a:lnTo>
                <a:lnTo>
                  <a:pt x="80803" y="180657"/>
                </a:lnTo>
                <a:lnTo>
                  <a:pt x="97805" y="195865"/>
                </a:lnTo>
                <a:lnTo>
                  <a:pt x="118237" y="204597"/>
                </a:lnTo>
                <a:lnTo>
                  <a:pt x="136681" y="199657"/>
                </a:lnTo>
                <a:lnTo>
                  <a:pt x="153400" y="188991"/>
                </a:lnTo>
                <a:lnTo>
                  <a:pt x="169618" y="178825"/>
                </a:lnTo>
                <a:lnTo>
                  <a:pt x="186562" y="175387"/>
                </a:lnTo>
                <a:lnTo>
                  <a:pt x="358314" y="175387"/>
                </a:lnTo>
                <a:lnTo>
                  <a:pt x="355546" y="169449"/>
                </a:lnTo>
                <a:close/>
              </a:path>
              <a:path w="364489" h="587375">
                <a:moveTo>
                  <a:pt x="181355" y="0"/>
                </a:moveTo>
                <a:lnTo>
                  <a:pt x="167586" y="623"/>
                </a:lnTo>
                <a:lnTo>
                  <a:pt x="154066" y="4984"/>
                </a:lnTo>
                <a:lnTo>
                  <a:pt x="141047" y="10822"/>
                </a:lnTo>
                <a:lnTo>
                  <a:pt x="128777" y="15875"/>
                </a:lnTo>
                <a:lnTo>
                  <a:pt x="115558" y="40387"/>
                </a:lnTo>
                <a:lnTo>
                  <a:pt x="91979" y="54435"/>
                </a:lnTo>
                <a:lnTo>
                  <a:pt x="64448" y="64506"/>
                </a:lnTo>
                <a:lnTo>
                  <a:pt x="39369" y="77088"/>
                </a:lnTo>
                <a:lnTo>
                  <a:pt x="33950" y="105941"/>
                </a:lnTo>
                <a:lnTo>
                  <a:pt x="21637" y="128841"/>
                </a:lnTo>
                <a:lnTo>
                  <a:pt x="8348" y="151741"/>
                </a:lnTo>
                <a:lnTo>
                  <a:pt x="0" y="180594"/>
                </a:lnTo>
                <a:lnTo>
                  <a:pt x="4048" y="177280"/>
                </a:lnTo>
                <a:lnTo>
                  <a:pt x="8858" y="169989"/>
                </a:lnTo>
                <a:lnTo>
                  <a:pt x="15144" y="162698"/>
                </a:lnTo>
                <a:lnTo>
                  <a:pt x="23622" y="159385"/>
                </a:lnTo>
                <a:lnTo>
                  <a:pt x="350853" y="159385"/>
                </a:lnTo>
                <a:lnTo>
                  <a:pt x="348400" y="154124"/>
                </a:lnTo>
                <a:lnTo>
                  <a:pt x="314231" y="99849"/>
                </a:lnTo>
                <a:lnTo>
                  <a:pt x="271230" y="53201"/>
                </a:lnTo>
                <a:lnTo>
                  <a:pt x="230808" y="21270"/>
                </a:lnTo>
                <a:lnTo>
                  <a:pt x="197824" y="3105"/>
                </a:lnTo>
                <a:lnTo>
                  <a:pt x="181355" y="0"/>
                </a:lnTo>
                <a:close/>
              </a:path>
              <a:path w="364489" h="587375">
                <a:moveTo>
                  <a:pt x="350853" y="159385"/>
                </a:moveTo>
                <a:lnTo>
                  <a:pt x="31496" y="159385"/>
                </a:lnTo>
                <a:lnTo>
                  <a:pt x="28955" y="172720"/>
                </a:lnTo>
                <a:lnTo>
                  <a:pt x="39369" y="172720"/>
                </a:lnTo>
                <a:lnTo>
                  <a:pt x="62801" y="169449"/>
                </a:lnTo>
                <a:lnTo>
                  <a:pt x="355546" y="169449"/>
                </a:lnTo>
                <a:lnTo>
                  <a:pt x="350853" y="159385"/>
                </a:lnTo>
                <a:close/>
              </a:path>
            </a:pathLst>
          </a:custGeom>
          <a:solidFill>
            <a:srgbClr val="12ABDB"/>
          </a:solidFill>
        </p:spPr>
        <p:txBody>
          <a:bodyPr wrap="square" lIns="0" tIns="0" rIns="0" bIns="0" rtlCol="0"/>
          <a:lstStyle/>
          <a:p>
            <a:endParaRPr/>
          </a:p>
        </p:txBody>
      </p:sp>
      <p:sp>
        <p:nvSpPr>
          <p:cNvPr id="17" name="object 17"/>
          <p:cNvSpPr/>
          <p:nvPr/>
        </p:nvSpPr>
        <p:spPr>
          <a:xfrm>
            <a:off x="4744387" y="1758314"/>
            <a:ext cx="187325" cy="339090"/>
          </a:xfrm>
          <a:custGeom>
            <a:avLst/>
            <a:gdLst/>
            <a:ahLst/>
            <a:cxnLst/>
            <a:rect l="l" t="t" r="r" b="b"/>
            <a:pathLst>
              <a:path w="187325" h="339089">
                <a:moveTo>
                  <a:pt x="51894" y="0"/>
                </a:moveTo>
                <a:lnTo>
                  <a:pt x="28499" y="37636"/>
                </a:lnTo>
                <a:lnTo>
                  <a:pt x="12233" y="83100"/>
                </a:lnTo>
                <a:lnTo>
                  <a:pt x="2822" y="133844"/>
                </a:lnTo>
                <a:lnTo>
                  <a:pt x="0" y="187408"/>
                </a:lnTo>
                <a:lnTo>
                  <a:pt x="3475" y="240990"/>
                </a:lnTo>
                <a:lnTo>
                  <a:pt x="12992" y="292301"/>
                </a:lnTo>
                <a:lnTo>
                  <a:pt x="28272" y="338709"/>
                </a:lnTo>
                <a:lnTo>
                  <a:pt x="48946" y="322302"/>
                </a:lnTo>
                <a:lnTo>
                  <a:pt x="71357" y="308895"/>
                </a:lnTo>
                <a:lnTo>
                  <a:pt x="95245" y="298489"/>
                </a:lnTo>
                <a:lnTo>
                  <a:pt x="120347" y="291084"/>
                </a:lnTo>
                <a:lnTo>
                  <a:pt x="124326" y="285519"/>
                </a:lnTo>
                <a:lnTo>
                  <a:pt x="132188" y="275439"/>
                </a:lnTo>
                <a:lnTo>
                  <a:pt x="136095" y="269875"/>
                </a:lnTo>
                <a:lnTo>
                  <a:pt x="133555" y="267208"/>
                </a:lnTo>
                <a:lnTo>
                  <a:pt x="130888" y="262000"/>
                </a:lnTo>
                <a:lnTo>
                  <a:pt x="128221" y="256667"/>
                </a:lnTo>
                <a:lnTo>
                  <a:pt x="133162" y="240149"/>
                </a:lnTo>
                <a:lnTo>
                  <a:pt x="154903" y="215018"/>
                </a:lnTo>
                <a:lnTo>
                  <a:pt x="159844" y="198500"/>
                </a:lnTo>
                <a:lnTo>
                  <a:pt x="157342" y="187408"/>
                </a:lnTo>
                <a:lnTo>
                  <a:pt x="151637" y="179292"/>
                </a:lnTo>
                <a:lnTo>
                  <a:pt x="145432" y="170176"/>
                </a:lnTo>
                <a:lnTo>
                  <a:pt x="141429" y="156083"/>
                </a:lnTo>
                <a:lnTo>
                  <a:pt x="153951" y="148865"/>
                </a:lnTo>
                <a:lnTo>
                  <a:pt x="166734" y="141874"/>
                </a:lnTo>
                <a:lnTo>
                  <a:pt x="178041" y="133383"/>
                </a:lnTo>
                <a:lnTo>
                  <a:pt x="186133" y="121665"/>
                </a:lnTo>
                <a:lnTo>
                  <a:pt x="186862" y="114073"/>
                </a:lnTo>
                <a:lnTo>
                  <a:pt x="185864" y="106457"/>
                </a:lnTo>
                <a:lnTo>
                  <a:pt x="184365" y="97841"/>
                </a:lnTo>
                <a:lnTo>
                  <a:pt x="183593" y="87249"/>
                </a:lnTo>
                <a:lnTo>
                  <a:pt x="183990" y="79382"/>
                </a:lnTo>
                <a:lnTo>
                  <a:pt x="184863" y="71755"/>
                </a:lnTo>
                <a:lnTo>
                  <a:pt x="185737" y="64603"/>
                </a:lnTo>
                <a:lnTo>
                  <a:pt x="186133" y="58165"/>
                </a:lnTo>
                <a:lnTo>
                  <a:pt x="168480" y="29735"/>
                </a:lnTo>
                <a:lnTo>
                  <a:pt x="135778" y="11223"/>
                </a:lnTo>
                <a:lnTo>
                  <a:pt x="94693" y="1641"/>
                </a:lnTo>
                <a:lnTo>
                  <a:pt x="51894" y="0"/>
                </a:lnTo>
                <a:close/>
              </a:path>
            </a:pathLst>
          </a:custGeom>
          <a:solidFill>
            <a:srgbClr val="12ABDB"/>
          </a:solidFill>
        </p:spPr>
        <p:txBody>
          <a:bodyPr wrap="square" lIns="0" tIns="0" rIns="0" bIns="0" rtlCol="0"/>
          <a:lstStyle/>
          <a:p>
            <a:endParaRPr/>
          </a:p>
        </p:txBody>
      </p:sp>
      <p:sp>
        <p:nvSpPr>
          <p:cNvPr id="18" name="object 18"/>
          <p:cNvSpPr/>
          <p:nvPr/>
        </p:nvSpPr>
        <p:spPr>
          <a:xfrm>
            <a:off x="5798820" y="1426463"/>
            <a:ext cx="0" cy="1026160"/>
          </a:xfrm>
          <a:custGeom>
            <a:avLst/>
            <a:gdLst/>
            <a:ahLst/>
            <a:cxnLst/>
            <a:rect l="l" t="t" r="r" b="b"/>
            <a:pathLst>
              <a:path h="1026160">
                <a:moveTo>
                  <a:pt x="0" y="0"/>
                </a:moveTo>
                <a:lnTo>
                  <a:pt x="0" y="1025651"/>
                </a:lnTo>
              </a:path>
            </a:pathLst>
          </a:custGeom>
          <a:ln w="36575">
            <a:solidFill>
              <a:srgbClr val="12ABDB"/>
            </a:solidFill>
          </a:ln>
        </p:spPr>
        <p:txBody>
          <a:bodyPr wrap="square" lIns="0" tIns="0" rIns="0" bIns="0" rtlCol="0"/>
          <a:lstStyle/>
          <a:p>
            <a:endParaRPr/>
          </a:p>
        </p:txBody>
      </p:sp>
      <p:sp>
        <p:nvSpPr>
          <p:cNvPr id="19" name="object 19"/>
          <p:cNvSpPr txBox="1"/>
          <p:nvPr/>
        </p:nvSpPr>
        <p:spPr>
          <a:xfrm>
            <a:off x="9911842" y="1431059"/>
            <a:ext cx="1727835" cy="958850"/>
          </a:xfrm>
          <a:prstGeom prst="rect">
            <a:avLst/>
          </a:prstGeom>
        </p:spPr>
        <p:txBody>
          <a:bodyPr vert="horz" wrap="square" lIns="0" tIns="64769" rIns="0" bIns="0" rtlCol="0">
            <a:spAutoFit/>
          </a:bodyPr>
          <a:lstStyle/>
          <a:p>
            <a:pPr marL="12700">
              <a:lnSpc>
                <a:spcPct val="100000"/>
              </a:lnSpc>
              <a:spcBef>
                <a:spcPts val="509"/>
              </a:spcBef>
            </a:pPr>
            <a:r>
              <a:rPr sz="2800" b="1" spc="-5">
                <a:solidFill>
                  <a:srgbClr val="12ABDB"/>
                </a:solidFill>
                <a:latin typeface="Verdana"/>
                <a:cs typeface="Verdana"/>
              </a:rPr>
              <a:t>2500+</a:t>
            </a:r>
            <a:endParaRPr sz="2800">
              <a:latin typeface="Verdana"/>
              <a:cs typeface="Verdana"/>
            </a:endParaRPr>
          </a:p>
          <a:p>
            <a:pPr marL="12700" marR="5080">
              <a:lnSpc>
                <a:spcPct val="100000"/>
              </a:lnSpc>
              <a:spcBef>
                <a:spcPts val="210"/>
              </a:spcBef>
            </a:pPr>
            <a:r>
              <a:rPr sz="1400">
                <a:solidFill>
                  <a:srgbClr val="2B133C"/>
                </a:solidFill>
                <a:latin typeface="Verdana"/>
                <a:cs typeface="Verdana"/>
              </a:rPr>
              <a:t>Salesforce</a:t>
            </a:r>
            <a:r>
              <a:rPr sz="1400" spc="-90">
                <a:solidFill>
                  <a:srgbClr val="2B133C"/>
                </a:solidFill>
                <a:latin typeface="Verdana"/>
                <a:cs typeface="Verdana"/>
              </a:rPr>
              <a:t> </a:t>
            </a:r>
            <a:r>
              <a:rPr sz="1400" spc="-5">
                <a:solidFill>
                  <a:srgbClr val="2B133C"/>
                </a:solidFill>
                <a:latin typeface="Verdana"/>
                <a:cs typeface="Verdana"/>
              </a:rPr>
              <a:t>projects  </a:t>
            </a:r>
            <a:r>
              <a:rPr sz="1400">
                <a:solidFill>
                  <a:srgbClr val="2B133C"/>
                </a:solidFill>
                <a:latin typeface="Verdana"/>
                <a:cs typeface="Verdana"/>
              </a:rPr>
              <a:t>worldwide</a:t>
            </a:r>
            <a:endParaRPr sz="1400">
              <a:latin typeface="Verdana"/>
              <a:cs typeface="Verdana"/>
            </a:endParaRPr>
          </a:p>
        </p:txBody>
      </p:sp>
      <p:sp>
        <p:nvSpPr>
          <p:cNvPr id="20" name="object 20"/>
          <p:cNvSpPr/>
          <p:nvPr/>
        </p:nvSpPr>
        <p:spPr>
          <a:xfrm>
            <a:off x="8491965" y="1426447"/>
            <a:ext cx="1085850" cy="1037590"/>
          </a:xfrm>
          <a:custGeom>
            <a:avLst/>
            <a:gdLst/>
            <a:ahLst/>
            <a:cxnLst/>
            <a:rect l="l" t="t" r="r" b="b"/>
            <a:pathLst>
              <a:path w="1085850" h="1037589">
                <a:moveTo>
                  <a:pt x="537423" y="0"/>
                </a:moveTo>
                <a:lnTo>
                  <a:pt x="490824" y="2942"/>
                </a:lnTo>
                <a:lnTo>
                  <a:pt x="444455" y="9787"/>
                </a:lnTo>
                <a:lnTo>
                  <a:pt x="398588" y="20573"/>
                </a:lnTo>
                <a:lnTo>
                  <a:pt x="353494" y="35339"/>
                </a:lnTo>
                <a:lnTo>
                  <a:pt x="309445" y="54123"/>
                </a:lnTo>
                <a:lnTo>
                  <a:pt x="266712" y="76965"/>
                </a:lnTo>
                <a:lnTo>
                  <a:pt x="225568" y="103902"/>
                </a:lnTo>
                <a:lnTo>
                  <a:pt x="186608" y="134308"/>
                </a:lnTo>
                <a:lnTo>
                  <a:pt x="151205" y="167357"/>
                </a:lnTo>
                <a:lnTo>
                  <a:pt x="119405" y="202788"/>
                </a:lnTo>
                <a:lnTo>
                  <a:pt x="91251" y="240341"/>
                </a:lnTo>
                <a:lnTo>
                  <a:pt x="66789" y="279757"/>
                </a:lnTo>
                <a:lnTo>
                  <a:pt x="46061" y="320776"/>
                </a:lnTo>
                <a:lnTo>
                  <a:pt x="29113" y="363138"/>
                </a:lnTo>
                <a:lnTo>
                  <a:pt x="15988" y="406582"/>
                </a:lnTo>
                <a:lnTo>
                  <a:pt x="6731" y="450850"/>
                </a:lnTo>
                <a:lnTo>
                  <a:pt x="1387" y="495681"/>
                </a:lnTo>
                <a:lnTo>
                  <a:pt x="0" y="540816"/>
                </a:lnTo>
                <a:lnTo>
                  <a:pt x="2613" y="585994"/>
                </a:lnTo>
                <a:lnTo>
                  <a:pt x="9271" y="630956"/>
                </a:lnTo>
                <a:lnTo>
                  <a:pt x="20019" y="675441"/>
                </a:lnTo>
                <a:lnTo>
                  <a:pt x="34901" y="719191"/>
                </a:lnTo>
                <a:lnTo>
                  <a:pt x="53960" y="761944"/>
                </a:lnTo>
                <a:lnTo>
                  <a:pt x="77243" y="803441"/>
                </a:lnTo>
                <a:lnTo>
                  <a:pt x="104791" y="843423"/>
                </a:lnTo>
                <a:lnTo>
                  <a:pt x="135801" y="880137"/>
                </a:lnTo>
                <a:lnTo>
                  <a:pt x="169244" y="912949"/>
                </a:lnTo>
                <a:lnTo>
                  <a:pt x="204891" y="941876"/>
                </a:lnTo>
                <a:lnTo>
                  <a:pt x="242515" y="966936"/>
                </a:lnTo>
                <a:lnTo>
                  <a:pt x="281889" y="988147"/>
                </a:lnTo>
                <a:lnTo>
                  <a:pt x="322784" y="1005527"/>
                </a:lnTo>
                <a:lnTo>
                  <a:pt x="364974" y="1019094"/>
                </a:lnTo>
                <a:lnTo>
                  <a:pt x="408231" y="1028865"/>
                </a:lnTo>
                <a:lnTo>
                  <a:pt x="452327" y="1034860"/>
                </a:lnTo>
                <a:lnTo>
                  <a:pt x="497034" y="1037095"/>
                </a:lnTo>
                <a:lnTo>
                  <a:pt x="542125" y="1035588"/>
                </a:lnTo>
                <a:lnTo>
                  <a:pt x="587372" y="1030358"/>
                </a:lnTo>
                <a:lnTo>
                  <a:pt x="632549" y="1021422"/>
                </a:lnTo>
                <a:lnTo>
                  <a:pt x="677426" y="1008798"/>
                </a:lnTo>
                <a:lnTo>
                  <a:pt x="721776" y="992504"/>
                </a:lnTo>
                <a:lnTo>
                  <a:pt x="765372" y="972558"/>
                </a:lnTo>
                <a:lnTo>
                  <a:pt x="807987" y="948978"/>
                </a:lnTo>
                <a:lnTo>
                  <a:pt x="849392" y="921782"/>
                </a:lnTo>
                <a:lnTo>
                  <a:pt x="888073" y="891636"/>
                </a:lnTo>
                <a:lnTo>
                  <a:pt x="923578" y="859329"/>
                </a:lnTo>
                <a:lnTo>
                  <a:pt x="955821" y="825064"/>
                </a:lnTo>
                <a:lnTo>
                  <a:pt x="984711" y="789044"/>
                </a:lnTo>
                <a:lnTo>
                  <a:pt x="1010160" y="751473"/>
                </a:lnTo>
                <a:lnTo>
                  <a:pt x="1032079" y="712552"/>
                </a:lnTo>
                <a:lnTo>
                  <a:pt x="1050380" y="672485"/>
                </a:lnTo>
                <a:lnTo>
                  <a:pt x="1064973" y="631475"/>
                </a:lnTo>
                <a:lnTo>
                  <a:pt x="1075770" y="589725"/>
                </a:lnTo>
                <a:lnTo>
                  <a:pt x="1082681" y="547437"/>
                </a:lnTo>
                <a:lnTo>
                  <a:pt x="1085618" y="504815"/>
                </a:lnTo>
                <a:lnTo>
                  <a:pt x="1084493" y="462061"/>
                </a:lnTo>
                <a:lnTo>
                  <a:pt x="1079215" y="419378"/>
                </a:lnTo>
                <a:lnTo>
                  <a:pt x="1069697" y="376970"/>
                </a:lnTo>
                <a:lnTo>
                  <a:pt x="1055850" y="335039"/>
                </a:lnTo>
                <a:lnTo>
                  <a:pt x="1037584" y="293788"/>
                </a:lnTo>
                <a:lnTo>
                  <a:pt x="1014810" y="253420"/>
                </a:lnTo>
                <a:lnTo>
                  <a:pt x="987441" y="214138"/>
                </a:lnTo>
                <a:lnTo>
                  <a:pt x="956253" y="176705"/>
                </a:lnTo>
                <a:lnTo>
                  <a:pt x="922305" y="142750"/>
                </a:lnTo>
                <a:lnTo>
                  <a:pt x="885868" y="112310"/>
                </a:lnTo>
                <a:lnTo>
                  <a:pt x="847216" y="85425"/>
                </a:lnTo>
                <a:lnTo>
                  <a:pt x="806619" y="62132"/>
                </a:lnTo>
                <a:lnTo>
                  <a:pt x="764349" y="42472"/>
                </a:lnTo>
                <a:lnTo>
                  <a:pt x="720679" y="26482"/>
                </a:lnTo>
                <a:lnTo>
                  <a:pt x="675879" y="14201"/>
                </a:lnTo>
                <a:lnTo>
                  <a:pt x="630222" y="5668"/>
                </a:lnTo>
                <a:lnTo>
                  <a:pt x="583979" y="921"/>
                </a:lnTo>
                <a:lnTo>
                  <a:pt x="537423" y="0"/>
                </a:lnTo>
                <a:close/>
              </a:path>
            </a:pathLst>
          </a:custGeom>
          <a:solidFill>
            <a:srgbClr val="12ABDB"/>
          </a:solidFill>
        </p:spPr>
        <p:txBody>
          <a:bodyPr wrap="square" lIns="0" tIns="0" rIns="0" bIns="0" rtlCol="0"/>
          <a:lstStyle/>
          <a:p>
            <a:endParaRPr/>
          </a:p>
        </p:txBody>
      </p:sp>
      <p:sp>
        <p:nvSpPr>
          <p:cNvPr id="21" name="object 21"/>
          <p:cNvSpPr/>
          <p:nvPr/>
        </p:nvSpPr>
        <p:spPr>
          <a:xfrm>
            <a:off x="9092183" y="1828800"/>
            <a:ext cx="132588" cy="131063"/>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8930640" y="1673351"/>
            <a:ext cx="449580" cy="434340"/>
          </a:xfrm>
          <a:custGeom>
            <a:avLst/>
            <a:gdLst/>
            <a:ahLst/>
            <a:cxnLst/>
            <a:rect l="l" t="t" r="r" b="b"/>
            <a:pathLst>
              <a:path w="449579" h="434339">
                <a:moveTo>
                  <a:pt x="97027" y="40894"/>
                </a:moveTo>
                <a:lnTo>
                  <a:pt x="78400" y="59574"/>
                </a:lnTo>
                <a:lnTo>
                  <a:pt x="71500" y="66421"/>
                </a:lnTo>
                <a:lnTo>
                  <a:pt x="71500" y="117475"/>
                </a:lnTo>
                <a:lnTo>
                  <a:pt x="10159" y="168656"/>
                </a:lnTo>
                <a:lnTo>
                  <a:pt x="10001" y="177706"/>
                </a:lnTo>
                <a:lnTo>
                  <a:pt x="8889" y="183911"/>
                </a:lnTo>
                <a:lnTo>
                  <a:pt x="5873" y="190140"/>
                </a:lnTo>
                <a:lnTo>
                  <a:pt x="0" y="199262"/>
                </a:lnTo>
                <a:lnTo>
                  <a:pt x="40893" y="240157"/>
                </a:lnTo>
                <a:lnTo>
                  <a:pt x="40893" y="270763"/>
                </a:lnTo>
                <a:lnTo>
                  <a:pt x="25526" y="316864"/>
                </a:lnTo>
                <a:lnTo>
                  <a:pt x="28624" y="325915"/>
                </a:lnTo>
                <a:lnTo>
                  <a:pt x="31257" y="332120"/>
                </a:lnTo>
                <a:lnTo>
                  <a:pt x="34867" y="338349"/>
                </a:lnTo>
                <a:lnTo>
                  <a:pt x="40893" y="347472"/>
                </a:lnTo>
                <a:lnTo>
                  <a:pt x="97027" y="357632"/>
                </a:lnTo>
                <a:lnTo>
                  <a:pt x="102234" y="362838"/>
                </a:lnTo>
                <a:lnTo>
                  <a:pt x="112394" y="362838"/>
                </a:lnTo>
                <a:lnTo>
                  <a:pt x="112394" y="372999"/>
                </a:lnTo>
                <a:lnTo>
                  <a:pt x="137921" y="418973"/>
                </a:lnTo>
                <a:lnTo>
                  <a:pt x="142704" y="424999"/>
                </a:lnTo>
                <a:lnTo>
                  <a:pt x="149415" y="428609"/>
                </a:lnTo>
                <a:lnTo>
                  <a:pt x="158031" y="431242"/>
                </a:lnTo>
                <a:lnTo>
                  <a:pt x="168528" y="434339"/>
                </a:lnTo>
                <a:lnTo>
                  <a:pt x="214629" y="403733"/>
                </a:lnTo>
                <a:lnTo>
                  <a:pt x="326912" y="403733"/>
                </a:lnTo>
                <a:lnTo>
                  <a:pt x="337184" y="372999"/>
                </a:lnTo>
                <a:lnTo>
                  <a:pt x="341808" y="367043"/>
                </a:lnTo>
                <a:lnTo>
                  <a:pt x="347408" y="363458"/>
                </a:lnTo>
                <a:lnTo>
                  <a:pt x="353008" y="360801"/>
                </a:lnTo>
                <a:lnTo>
                  <a:pt x="357631" y="357632"/>
                </a:lnTo>
                <a:lnTo>
                  <a:pt x="408685" y="347472"/>
                </a:lnTo>
                <a:lnTo>
                  <a:pt x="413309" y="337635"/>
                </a:lnTo>
                <a:lnTo>
                  <a:pt x="418909" y="330215"/>
                </a:lnTo>
                <a:lnTo>
                  <a:pt x="424509" y="323772"/>
                </a:lnTo>
                <a:lnTo>
                  <a:pt x="429132" y="316864"/>
                </a:lnTo>
                <a:lnTo>
                  <a:pt x="224789" y="316864"/>
                </a:lnTo>
                <a:lnTo>
                  <a:pt x="188090" y="308943"/>
                </a:lnTo>
                <a:lnTo>
                  <a:pt x="157130" y="288067"/>
                </a:lnTo>
                <a:lnTo>
                  <a:pt x="135743" y="258572"/>
                </a:lnTo>
                <a:lnTo>
                  <a:pt x="127761" y="224789"/>
                </a:lnTo>
                <a:lnTo>
                  <a:pt x="135743" y="185947"/>
                </a:lnTo>
                <a:lnTo>
                  <a:pt x="157130" y="155225"/>
                </a:lnTo>
                <a:lnTo>
                  <a:pt x="188090" y="135028"/>
                </a:lnTo>
                <a:lnTo>
                  <a:pt x="224789" y="127762"/>
                </a:lnTo>
                <a:lnTo>
                  <a:pt x="393318" y="127762"/>
                </a:lnTo>
                <a:lnTo>
                  <a:pt x="383158" y="117475"/>
                </a:lnTo>
                <a:lnTo>
                  <a:pt x="383158" y="66421"/>
                </a:lnTo>
                <a:lnTo>
                  <a:pt x="378376" y="57378"/>
                </a:lnTo>
                <a:lnTo>
                  <a:pt x="371665" y="51704"/>
                </a:lnTo>
                <a:lnTo>
                  <a:pt x="370471" y="51053"/>
                </a:lnTo>
                <a:lnTo>
                  <a:pt x="153288" y="51053"/>
                </a:lnTo>
                <a:lnTo>
                  <a:pt x="97027" y="40894"/>
                </a:lnTo>
                <a:close/>
              </a:path>
              <a:path w="449579" h="434339">
                <a:moveTo>
                  <a:pt x="326912" y="403733"/>
                </a:moveTo>
                <a:lnTo>
                  <a:pt x="240156" y="403733"/>
                </a:lnTo>
                <a:lnTo>
                  <a:pt x="286130" y="434339"/>
                </a:lnTo>
                <a:lnTo>
                  <a:pt x="293117" y="431242"/>
                </a:lnTo>
                <a:lnTo>
                  <a:pt x="300116" y="428609"/>
                </a:lnTo>
                <a:lnTo>
                  <a:pt x="309044" y="424999"/>
                </a:lnTo>
                <a:lnTo>
                  <a:pt x="321817" y="418973"/>
                </a:lnTo>
                <a:lnTo>
                  <a:pt x="326912" y="403733"/>
                </a:lnTo>
                <a:close/>
              </a:path>
              <a:path w="449579" h="434339">
                <a:moveTo>
                  <a:pt x="393318" y="127762"/>
                </a:moveTo>
                <a:lnTo>
                  <a:pt x="224789" y="127762"/>
                </a:lnTo>
                <a:lnTo>
                  <a:pt x="263632" y="135028"/>
                </a:lnTo>
                <a:lnTo>
                  <a:pt x="294354" y="155225"/>
                </a:lnTo>
                <a:lnTo>
                  <a:pt x="314551" y="185947"/>
                </a:lnTo>
                <a:lnTo>
                  <a:pt x="321817" y="224789"/>
                </a:lnTo>
                <a:lnTo>
                  <a:pt x="314551" y="258572"/>
                </a:lnTo>
                <a:lnTo>
                  <a:pt x="294354" y="288067"/>
                </a:lnTo>
                <a:lnTo>
                  <a:pt x="263632" y="308943"/>
                </a:lnTo>
                <a:lnTo>
                  <a:pt x="224789" y="316864"/>
                </a:lnTo>
                <a:lnTo>
                  <a:pt x="429132" y="316864"/>
                </a:lnTo>
                <a:lnTo>
                  <a:pt x="408685" y="270763"/>
                </a:lnTo>
                <a:lnTo>
                  <a:pt x="408765" y="260266"/>
                </a:lnTo>
                <a:lnTo>
                  <a:pt x="409321" y="251650"/>
                </a:lnTo>
                <a:lnTo>
                  <a:pt x="410829" y="244939"/>
                </a:lnTo>
                <a:lnTo>
                  <a:pt x="413765" y="240157"/>
                </a:lnTo>
                <a:lnTo>
                  <a:pt x="449579" y="199262"/>
                </a:lnTo>
                <a:lnTo>
                  <a:pt x="449421" y="188551"/>
                </a:lnTo>
                <a:lnTo>
                  <a:pt x="448309" y="178815"/>
                </a:lnTo>
                <a:lnTo>
                  <a:pt x="445293" y="169080"/>
                </a:lnTo>
                <a:lnTo>
                  <a:pt x="439419" y="158369"/>
                </a:lnTo>
                <a:lnTo>
                  <a:pt x="393318" y="137922"/>
                </a:lnTo>
                <a:lnTo>
                  <a:pt x="393318" y="127762"/>
                </a:lnTo>
                <a:close/>
              </a:path>
              <a:path w="449579" h="434339">
                <a:moveTo>
                  <a:pt x="250316" y="0"/>
                </a:moveTo>
                <a:lnTo>
                  <a:pt x="209423" y="0"/>
                </a:lnTo>
                <a:lnTo>
                  <a:pt x="173735" y="40894"/>
                </a:lnTo>
                <a:lnTo>
                  <a:pt x="168528" y="51053"/>
                </a:lnTo>
                <a:lnTo>
                  <a:pt x="286130" y="51053"/>
                </a:lnTo>
                <a:lnTo>
                  <a:pt x="280924" y="40894"/>
                </a:lnTo>
                <a:lnTo>
                  <a:pt x="250316" y="0"/>
                </a:lnTo>
                <a:close/>
              </a:path>
              <a:path w="449579" h="434339">
                <a:moveTo>
                  <a:pt x="352551" y="40894"/>
                </a:moveTo>
                <a:lnTo>
                  <a:pt x="301370" y="51053"/>
                </a:lnTo>
                <a:lnTo>
                  <a:pt x="370471" y="51053"/>
                </a:lnTo>
                <a:lnTo>
                  <a:pt x="363049" y="47007"/>
                </a:lnTo>
                <a:lnTo>
                  <a:pt x="352551" y="40894"/>
                </a:lnTo>
                <a:close/>
              </a:path>
            </a:pathLst>
          </a:custGeom>
          <a:solidFill>
            <a:srgbClr val="FFFFFF"/>
          </a:solidFill>
        </p:spPr>
        <p:txBody>
          <a:bodyPr wrap="square" lIns="0" tIns="0" rIns="0" bIns="0" rtlCol="0"/>
          <a:lstStyle/>
          <a:p>
            <a:endParaRPr/>
          </a:p>
        </p:txBody>
      </p:sp>
      <p:sp>
        <p:nvSpPr>
          <p:cNvPr id="23" name="object 23"/>
          <p:cNvSpPr/>
          <p:nvPr/>
        </p:nvSpPr>
        <p:spPr>
          <a:xfrm>
            <a:off x="8796528" y="2029967"/>
            <a:ext cx="82296" cy="92964"/>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8694419" y="1940051"/>
            <a:ext cx="287020" cy="276225"/>
          </a:xfrm>
          <a:custGeom>
            <a:avLst/>
            <a:gdLst/>
            <a:ahLst/>
            <a:cxnLst/>
            <a:rect l="l" t="t" r="r" b="b"/>
            <a:pathLst>
              <a:path w="287020" h="276225">
                <a:moveTo>
                  <a:pt x="219963" y="229870"/>
                </a:moveTo>
                <a:lnTo>
                  <a:pt x="66548" y="229870"/>
                </a:lnTo>
                <a:lnTo>
                  <a:pt x="76707" y="265684"/>
                </a:lnTo>
                <a:lnTo>
                  <a:pt x="85752" y="265842"/>
                </a:lnTo>
                <a:lnTo>
                  <a:pt x="91440" y="266953"/>
                </a:lnTo>
                <a:lnTo>
                  <a:pt x="96174" y="269970"/>
                </a:lnTo>
                <a:lnTo>
                  <a:pt x="102361" y="275844"/>
                </a:lnTo>
                <a:lnTo>
                  <a:pt x="132969" y="250317"/>
                </a:lnTo>
                <a:lnTo>
                  <a:pt x="211190" y="250317"/>
                </a:lnTo>
                <a:lnTo>
                  <a:pt x="219963" y="229870"/>
                </a:lnTo>
                <a:close/>
              </a:path>
              <a:path w="287020" h="276225">
                <a:moveTo>
                  <a:pt x="211190" y="250317"/>
                </a:moveTo>
                <a:lnTo>
                  <a:pt x="148335" y="250317"/>
                </a:lnTo>
                <a:lnTo>
                  <a:pt x="179070" y="275844"/>
                </a:lnTo>
                <a:lnTo>
                  <a:pt x="183772" y="269970"/>
                </a:lnTo>
                <a:lnTo>
                  <a:pt x="189928" y="266953"/>
                </a:lnTo>
                <a:lnTo>
                  <a:pt x="197036" y="265842"/>
                </a:lnTo>
                <a:lnTo>
                  <a:pt x="204597" y="265684"/>
                </a:lnTo>
                <a:lnTo>
                  <a:pt x="211190" y="250317"/>
                </a:lnTo>
                <a:close/>
              </a:path>
              <a:path w="287020" h="276225">
                <a:moveTo>
                  <a:pt x="51180" y="20447"/>
                </a:moveTo>
                <a:lnTo>
                  <a:pt x="46100" y="30607"/>
                </a:lnTo>
                <a:lnTo>
                  <a:pt x="35813" y="35813"/>
                </a:lnTo>
                <a:lnTo>
                  <a:pt x="35813" y="81787"/>
                </a:lnTo>
                <a:lnTo>
                  <a:pt x="30733" y="86868"/>
                </a:lnTo>
                <a:lnTo>
                  <a:pt x="0" y="102108"/>
                </a:lnTo>
                <a:lnTo>
                  <a:pt x="0" y="127762"/>
                </a:lnTo>
                <a:lnTo>
                  <a:pt x="20447" y="148082"/>
                </a:lnTo>
                <a:lnTo>
                  <a:pt x="20447" y="163449"/>
                </a:lnTo>
                <a:lnTo>
                  <a:pt x="5079" y="199262"/>
                </a:lnTo>
                <a:lnTo>
                  <a:pt x="15366" y="209423"/>
                </a:lnTo>
                <a:lnTo>
                  <a:pt x="20447" y="214502"/>
                </a:lnTo>
                <a:lnTo>
                  <a:pt x="51180" y="224789"/>
                </a:lnTo>
                <a:lnTo>
                  <a:pt x="61340" y="229870"/>
                </a:lnTo>
                <a:lnTo>
                  <a:pt x="225171" y="229870"/>
                </a:lnTo>
                <a:lnTo>
                  <a:pt x="225171" y="224789"/>
                </a:lnTo>
                <a:lnTo>
                  <a:pt x="266064" y="214502"/>
                </a:lnTo>
                <a:lnTo>
                  <a:pt x="266064" y="209423"/>
                </a:lnTo>
                <a:lnTo>
                  <a:pt x="271145" y="209423"/>
                </a:lnTo>
                <a:lnTo>
                  <a:pt x="271145" y="199262"/>
                </a:lnTo>
                <a:lnTo>
                  <a:pt x="138175" y="199262"/>
                </a:lnTo>
                <a:lnTo>
                  <a:pt x="111875" y="193903"/>
                </a:lnTo>
                <a:lnTo>
                  <a:pt x="88931" y="179435"/>
                </a:lnTo>
                <a:lnTo>
                  <a:pt x="72703" y="158275"/>
                </a:lnTo>
                <a:lnTo>
                  <a:pt x="66548" y="132842"/>
                </a:lnTo>
                <a:lnTo>
                  <a:pt x="72703" y="107354"/>
                </a:lnTo>
                <a:lnTo>
                  <a:pt x="88931" y="86201"/>
                </a:lnTo>
                <a:lnTo>
                  <a:pt x="111875" y="71762"/>
                </a:lnTo>
                <a:lnTo>
                  <a:pt x="138175" y="66421"/>
                </a:lnTo>
                <a:lnTo>
                  <a:pt x="241875" y="66421"/>
                </a:lnTo>
                <a:lnTo>
                  <a:pt x="250698" y="35813"/>
                </a:lnTo>
                <a:lnTo>
                  <a:pt x="239264" y="30607"/>
                </a:lnTo>
                <a:lnTo>
                  <a:pt x="92075" y="30607"/>
                </a:lnTo>
                <a:lnTo>
                  <a:pt x="51180" y="20447"/>
                </a:lnTo>
                <a:close/>
              </a:path>
              <a:path w="287020" h="276225">
                <a:moveTo>
                  <a:pt x="241875" y="66421"/>
                </a:moveTo>
                <a:lnTo>
                  <a:pt x="138175" y="66421"/>
                </a:lnTo>
                <a:lnTo>
                  <a:pt x="166620" y="71762"/>
                </a:lnTo>
                <a:lnTo>
                  <a:pt x="189325" y="86201"/>
                </a:lnTo>
                <a:lnTo>
                  <a:pt x="204362" y="107354"/>
                </a:lnTo>
                <a:lnTo>
                  <a:pt x="209803" y="132842"/>
                </a:lnTo>
                <a:lnTo>
                  <a:pt x="204362" y="158275"/>
                </a:lnTo>
                <a:lnTo>
                  <a:pt x="189325" y="179435"/>
                </a:lnTo>
                <a:lnTo>
                  <a:pt x="166620" y="193903"/>
                </a:lnTo>
                <a:lnTo>
                  <a:pt x="138175" y="199262"/>
                </a:lnTo>
                <a:lnTo>
                  <a:pt x="271145" y="199262"/>
                </a:lnTo>
                <a:lnTo>
                  <a:pt x="266064" y="163449"/>
                </a:lnTo>
                <a:lnTo>
                  <a:pt x="266064" y="148082"/>
                </a:lnTo>
                <a:lnTo>
                  <a:pt x="286511" y="127762"/>
                </a:lnTo>
                <a:lnTo>
                  <a:pt x="286432" y="120860"/>
                </a:lnTo>
                <a:lnTo>
                  <a:pt x="285876" y="114935"/>
                </a:lnTo>
                <a:lnTo>
                  <a:pt x="284368" y="109009"/>
                </a:lnTo>
                <a:lnTo>
                  <a:pt x="281431" y="102108"/>
                </a:lnTo>
                <a:lnTo>
                  <a:pt x="250698" y="86868"/>
                </a:lnTo>
                <a:lnTo>
                  <a:pt x="250698" y="81787"/>
                </a:lnTo>
                <a:lnTo>
                  <a:pt x="240410" y="71500"/>
                </a:lnTo>
                <a:lnTo>
                  <a:pt x="241875" y="66421"/>
                </a:lnTo>
                <a:close/>
              </a:path>
              <a:path w="287020" h="276225">
                <a:moveTo>
                  <a:pt x="153543" y="0"/>
                </a:moveTo>
                <a:lnTo>
                  <a:pt x="132969" y="0"/>
                </a:lnTo>
                <a:lnTo>
                  <a:pt x="107441" y="30607"/>
                </a:lnTo>
                <a:lnTo>
                  <a:pt x="179070" y="30607"/>
                </a:lnTo>
                <a:lnTo>
                  <a:pt x="153543" y="0"/>
                </a:lnTo>
                <a:close/>
              </a:path>
              <a:path w="287020" h="276225">
                <a:moveTo>
                  <a:pt x="225171" y="20447"/>
                </a:moveTo>
                <a:lnTo>
                  <a:pt x="194436" y="30607"/>
                </a:lnTo>
                <a:lnTo>
                  <a:pt x="239264" y="30607"/>
                </a:lnTo>
                <a:lnTo>
                  <a:pt x="237886" y="29987"/>
                </a:lnTo>
                <a:lnTo>
                  <a:pt x="231999" y="26402"/>
                </a:lnTo>
                <a:lnTo>
                  <a:pt x="225171" y="20447"/>
                </a:lnTo>
                <a:close/>
              </a:path>
            </a:pathLst>
          </a:custGeom>
          <a:solidFill>
            <a:srgbClr val="FFFFFF"/>
          </a:solidFill>
        </p:spPr>
        <p:txBody>
          <a:bodyPr wrap="square" lIns="0" tIns="0" rIns="0" bIns="0" rtlCol="0"/>
          <a:lstStyle/>
          <a:p>
            <a:endParaRPr/>
          </a:p>
        </p:txBody>
      </p:sp>
      <p:sp>
        <p:nvSpPr>
          <p:cNvPr id="25" name="object 25"/>
          <p:cNvSpPr/>
          <p:nvPr/>
        </p:nvSpPr>
        <p:spPr>
          <a:xfrm>
            <a:off x="8784335" y="2023872"/>
            <a:ext cx="102108" cy="102107"/>
          </a:xfrm>
          <a:prstGeom prst="rect">
            <a:avLst/>
          </a:prstGeom>
          <a:blipFill>
            <a:blip r:embed="rId6" cstate="print"/>
            <a:stretch>
              <a:fillRect/>
            </a:stretch>
          </a:blipFill>
        </p:spPr>
        <p:txBody>
          <a:bodyPr wrap="square" lIns="0" tIns="0" rIns="0" bIns="0" rtlCol="0"/>
          <a:lstStyle/>
          <a:p>
            <a:endParaRPr/>
          </a:p>
        </p:txBody>
      </p:sp>
      <p:sp>
        <p:nvSpPr>
          <p:cNvPr id="26" name="object 26"/>
          <p:cNvSpPr/>
          <p:nvPr/>
        </p:nvSpPr>
        <p:spPr>
          <a:xfrm>
            <a:off x="9140952" y="1662683"/>
            <a:ext cx="38100" cy="10795"/>
          </a:xfrm>
          <a:custGeom>
            <a:avLst/>
            <a:gdLst/>
            <a:ahLst/>
            <a:cxnLst/>
            <a:rect l="l" t="t" r="r" b="b"/>
            <a:pathLst>
              <a:path w="38100" h="10794">
                <a:moveTo>
                  <a:pt x="23749" y="0"/>
                </a:moveTo>
                <a:lnTo>
                  <a:pt x="21377" y="166"/>
                </a:lnTo>
                <a:lnTo>
                  <a:pt x="15446" y="1333"/>
                </a:lnTo>
                <a:lnTo>
                  <a:pt x="7729" y="4500"/>
                </a:lnTo>
                <a:lnTo>
                  <a:pt x="0" y="10667"/>
                </a:lnTo>
                <a:lnTo>
                  <a:pt x="28575" y="10667"/>
                </a:lnTo>
                <a:lnTo>
                  <a:pt x="23749" y="0"/>
                </a:lnTo>
                <a:close/>
              </a:path>
              <a:path w="38100" h="10794">
                <a:moveTo>
                  <a:pt x="28575" y="0"/>
                </a:moveTo>
                <a:lnTo>
                  <a:pt x="28575" y="10667"/>
                </a:lnTo>
                <a:lnTo>
                  <a:pt x="38100" y="10667"/>
                </a:lnTo>
                <a:lnTo>
                  <a:pt x="28575" y="0"/>
                </a:lnTo>
                <a:close/>
              </a:path>
            </a:pathLst>
          </a:custGeom>
          <a:solidFill>
            <a:srgbClr val="FFFFFF"/>
          </a:solidFill>
        </p:spPr>
        <p:txBody>
          <a:bodyPr wrap="square" lIns="0" tIns="0" rIns="0" bIns="0" rtlCol="0"/>
          <a:lstStyle/>
          <a:p>
            <a:endParaRPr/>
          </a:p>
        </p:txBody>
      </p:sp>
      <p:sp>
        <p:nvSpPr>
          <p:cNvPr id="27" name="object 27"/>
          <p:cNvSpPr/>
          <p:nvPr/>
        </p:nvSpPr>
        <p:spPr>
          <a:xfrm>
            <a:off x="9721595" y="1426463"/>
            <a:ext cx="0" cy="1026160"/>
          </a:xfrm>
          <a:custGeom>
            <a:avLst/>
            <a:gdLst/>
            <a:ahLst/>
            <a:cxnLst/>
            <a:rect l="l" t="t" r="r" b="b"/>
            <a:pathLst>
              <a:path h="1026160">
                <a:moveTo>
                  <a:pt x="0" y="0"/>
                </a:moveTo>
                <a:lnTo>
                  <a:pt x="0" y="1025651"/>
                </a:lnTo>
              </a:path>
            </a:pathLst>
          </a:custGeom>
          <a:ln w="36575">
            <a:solidFill>
              <a:srgbClr val="12ABDB"/>
            </a:solidFill>
          </a:ln>
        </p:spPr>
        <p:txBody>
          <a:bodyPr wrap="square" lIns="0" tIns="0" rIns="0" bIns="0" rtlCol="0"/>
          <a:lstStyle/>
          <a:p>
            <a:endParaRPr/>
          </a:p>
        </p:txBody>
      </p:sp>
      <p:sp>
        <p:nvSpPr>
          <p:cNvPr id="28" name="object 28"/>
          <p:cNvSpPr txBox="1"/>
          <p:nvPr/>
        </p:nvSpPr>
        <p:spPr>
          <a:xfrm>
            <a:off x="5955029" y="3390286"/>
            <a:ext cx="2087880" cy="789305"/>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2B133C"/>
                </a:solidFill>
                <a:latin typeface="Verdana"/>
                <a:cs typeface="Verdana"/>
              </a:rPr>
              <a:t>3390</a:t>
            </a:r>
            <a:endParaRPr sz="2800">
              <a:latin typeface="Verdana"/>
              <a:cs typeface="Verdana"/>
            </a:endParaRPr>
          </a:p>
          <a:p>
            <a:pPr marL="12700">
              <a:lnSpc>
                <a:spcPct val="100000"/>
              </a:lnSpc>
              <a:spcBef>
                <a:spcPts val="330"/>
              </a:spcBef>
            </a:pPr>
            <a:r>
              <a:rPr sz="1400">
                <a:solidFill>
                  <a:srgbClr val="2B133C"/>
                </a:solidFill>
                <a:latin typeface="Verdana"/>
                <a:cs typeface="Verdana"/>
              </a:rPr>
              <a:t>India </a:t>
            </a:r>
            <a:r>
              <a:rPr sz="1400" spc="-5">
                <a:solidFill>
                  <a:srgbClr val="2B133C"/>
                </a:solidFill>
                <a:latin typeface="Verdana"/>
                <a:cs typeface="Verdana"/>
              </a:rPr>
              <a:t>CoE</a:t>
            </a:r>
            <a:r>
              <a:rPr sz="1400" spc="-90">
                <a:solidFill>
                  <a:srgbClr val="2B133C"/>
                </a:solidFill>
                <a:latin typeface="Verdana"/>
                <a:cs typeface="Verdana"/>
              </a:rPr>
              <a:t> </a:t>
            </a:r>
            <a:r>
              <a:rPr sz="1400">
                <a:solidFill>
                  <a:srgbClr val="2B133C"/>
                </a:solidFill>
                <a:latin typeface="Verdana"/>
                <a:cs typeface="Verdana"/>
              </a:rPr>
              <a:t>certifications</a:t>
            </a:r>
            <a:endParaRPr sz="1400">
              <a:latin typeface="Verdana"/>
              <a:cs typeface="Verdana"/>
            </a:endParaRPr>
          </a:p>
        </p:txBody>
      </p:sp>
      <p:sp>
        <p:nvSpPr>
          <p:cNvPr id="29" name="object 29"/>
          <p:cNvSpPr/>
          <p:nvPr/>
        </p:nvSpPr>
        <p:spPr>
          <a:xfrm>
            <a:off x="5772911" y="3314700"/>
            <a:ext cx="0" cy="1024255"/>
          </a:xfrm>
          <a:custGeom>
            <a:avLst/>
            <a:gdLst/>
            <a:ahLst/>
            <a:cxnLst/>
            <a:rect l="l" t="t" r="r" b="b"/>
            <a:pathLst>
              <a:path h="1024254">
                <a:moveTo>
                  <a:pt x="0" y="0"/>
                </a:moveTo>
                <a:lnTo>
                  <a:pt x="0" y="1024127"/>
                </a:lnTo>
              </a:path>
            </a:pathLst>
          </a:custGeom>
          <a:ln w="36575">
            <a:solidFill>
              <a:srgbClr val="006FAC"/>
            </a:solidFill>
          </a:ln>
        </p:spPr>
        <p:txBody>
          <a:bodyPr wrap="square" lIns="0" tIns="0" rIns="0" bIns="0" rtlCol="0"/>
          <a:lstStyle/>
          <a:p>
            <a:endParaRPr/>
          </a:p>
        </p:txBody>
      </p:sp>
      <p:sp>
        <p:nvSpPr>
          <p:cNvPr id="30" name="object 30"/>
          <p:cNvSpPr/>
          <p:nvPr/>
        </p:nvSpPr>
        <p:spPr>
          <a:xfrm>
            <a:off x="4543229" y="3314683"/>
            <a:ext cx="1084580" cy="1037590"/>
          </a:xfrm>
          <a:custGeom>
            <a:avLst/>
            <a:gdLst/>
            <a:ahLst/>
            <a:cxnLst/>
            <a:rect l="l" t="t" r="r" b="b"/>
            <a:pathLst>
              <a:path w="1084579" h="1037589">
                <a:moveTo>
                  <a:pt x="536691" y="0"/>
                </a:moveTo>
                <a:lnTo>
                  <a:pt x="490147" y="2942"/>
                </a:lnTo>
                <a:lnTo>
                  <a:pt x="443832" y="9787"/>
                </a:lnTo>
                <a:lnTo>
                  <a:pt x="398020" y="20573"/>
                </a:lnTo>
                <a:lnTo>
                  <a:pt x="352983" y="35339"/>
                </a:lnTo>
                <a:lnTo>
                  <a:pt x="308992" y="54123"/>
                </a:lnTo>
                <a:lnTo>
                  <a:pt x="266320" y="76965"/>
                </a:lnTo>
                <a:lnTo>
                  <a:pt x="225239" y="103902"/>
                </a:lnTo>
                <a:lnTo>
                  <a:pt x="186338" y="134308"/>
                </a:lnTo>
                <a:lnTo>
                  <a:pt x="150989" y="167357"/>
                </a:lnTo>
                <a:lnTo>
                  <a:pt x="119235" y="202788"/>
                </a:lnTo>
                <a:lnTo>
                  <a:pt x="91122" y="240341"/>
                </a:lnTo>
                <a:lnTo>
                  <a:pt x="66694" y="279757"/>
                </a:lnTo>
                <a:lnTo>
                  <a:pt x="45995" y="320776"/>
                </a:lnTo>
                <a:lnTo>
                  <a:pt x="29070" y="363138"/>
                </a:lnTo>
                <a:lnTo>
                  <a:pt x="15963" y="406582"/>
                </a:lnTo>
                <a:lnTo>
                  <a:pt x="6719" y="450850"/>
                </a:lnTo>
                <a:lnTo>
                  <a:pt x="1383" y="495681"/>
                </a:lnTo>
                <a:lnTo>
                  <a:pt x="0" y="540816"/>
                </a:lnTo>
                <a:lnTo>
                  <a:pt x="2612" y="585994"/>
                </a:lnTo>
                <a:lnTo>
                  <a:pt x="9267" y="630956"/>
                </a:lnTo>
                <a:lnTo>
                  <a:pt x="20007" y="675441"/>
                </a:lnTo>
                <a:lnTo>
                  <a:pt x="34877" y="719191"/>
                </a:lnTo>
                <a:lnTo>
                  <a:pt x="53922" y="761944"/>
                </a:lnTo>
                <a:lnTo>
                  <a:pt x="77187" y="803441"/>
                </a:lnTo>
                <a:lnTo>
                  <a:pt x="104716" y="843423"/>
                </a:lnTo>
                <a:lnTo>
                  <a:pt x="135662" y="880137"/>
                </a:lnTo>
                <a:lnTo>
                  <a:pt x="169041" y="912949"/>
                </a:lnTo>
                <a:lnTo>
                  <a:pt x="204625" y="941876"/>
                </a:lnTo>
                <a:lnTo>
                  <a:pt x="242187" y="966936"/>
                </a:lnTo>
                <a:lnTo>
                  <a:pt x="281498" y="988147"/>
                </a:lnTo>
                <a:lnTo>
                  <a:pt x="322333" y="1005527"/>
                </a:lnTo>
                <a:lnTo>
                  <a:pt x="364462" y="1019094"/>
                </a:lnTo>
                <a:lnTo>
                  <a:pt x="407659" y="1028865"/>
                </a:lnTo>
                <a:lnTo>
                  <a:pt x="451696" y="1034860"/>
                </a:lnTo>
                <a:lnTo>
                  <a:pt x="496345" y="1037095"/>
                </a:lnTo>
                <a:lnTo>
                  <a:pt x="541380" y="1035588"/>
                </a:lnTo>
                <a:lnTo>
                  <a:pt x="586572" y="1030358"/>
                </a:lnTo>
                <a:lnTo>
                  <a:pt x="631695" y="1021422"/>
                </a:lnTo>
                <a:lnTo>
                  <a:pt x="676521" y="1008798"/>
                </a:lnTo>
                <a:lnTo>
                  <a:pt x="720821" y="992504"/>
                </a:lnTo>
                <a:lnTo>
                  <a:pt x="764370" y="972558"/>
                </a:lnTo>
                <a:lnTo>
                  <a:pt x="806939" y="948978"/>
                </a:lnTo>
                <a:lnTo>
                  <a:pt x="848301" y="921782"/>
                </a:lnTo>
                <a:lnTo>
                  <a:pt x="886940" y="891636"/>
                </a:lnTo>
                <a:lnTo>
                  <a:pt x="922407" y="859329"/>
                </a:lnTo>
                <a:lnTo>
                  <a:pt x="954613" y="825064"/>
                </a:lnTo>
                <a:lnTo>
                  <a:pt x="983470" y="789044"/>
                </a:lnTo>
                <a:lnTo>
                  <a:pt x="1008889" y="751473"/>
                </a:lnTo>
                <a:lnTo>
                  <a:pt x="1030781" y="712552"/>
                </a:lnTo>
                <a:lnTo>
                  <a:pt x="1049057" y="672485"/>
                </a:lnTo>
                <a:lnTo>
                  <a:pt x="1063629" y="631475"/>
                </a:lnTo>
                <a:lnTo>
                  <a:pt x="1074408" y="589725"/>
                </a:lnTo>
                <a:lnTo>
                  <a:pt x="1081306" y="547437"/>
                </a:lnTo>
                <a:lnTo>
                  <a:pt x="1084232" y="504815"/>
                </a:lnTo>
                <a:lnTo>
                  <a:pt x="1083100" y="462061"/>
                </a:lnTo>
                <a:lnTo>
                  <a:pt x="1077820" y="419378"/>
                </a:lnTo>
                <a:lnTo>
                  <a:pt x="1068303" y="376970"/>
                </a:lnTo>
                <a:lnTo>
                  <a:pt x="1054461" y="335039"/>
                </a:lnTo>
                <a:lnTo>
                  <a:pt x="1036205" y="293788"/>
                </a:lnTo>
                <a:lnTo>
                  <a:pt x="1013446" y="253420"/>
                </a:lnTo>
                <a:lnTo>
                  <a:pt x="986096" y="214138"/>
                </a:lnTo>
                <a:lnTo>
                  <a:pt x="954970" y="176705"/>
                </a:lnTo>
                <a:lnTo>
                  <a:pt x="921082" y="142750"/>
                </a:lnTo>
                <a:lnTo>
                  <a:pt x="884704" y="112310"/>
                </a:lnTo>
                <a:lnTo>
                  <a:pt x="846108" y="85425"/>
                </a:lnTo>
                <a:lnTo>
                  <a:pt x="805567" y="62132"/>
                </a:lnTo>
                <a:lnTo>
                  <a:pt x="763352" y="42472"/>
                </a:lnTo>
                <a:lnTo>
                  <a:pt x="719735" y="26482"/>
                </a:lnTo>
                <a:lnTo>
                  <a:pt x="674989" y="14201"/>
                </a:lnTo>
                <a:lnTo>
                  <a:pt x="629384" y="5668"/>
                </a:lnTo>
                <a:lnTo>
                  <a:pt x="583195" y="921"/>
                </a:lnTo>
                <a:lnTo>
                  <a:pt x="536691" y="0"/>
                </a:lnTo>
                <a:close/>
              </a:path>
            </a:pathLst>
          </a:custGeom>
          <a:solidFill>
            <a:srgbClr val="006FAC"/>
          </a:solidFill>
        </p:spPr>
        <p:txBody>
          <a:bodyPr wrap="square" lIns="0" tIns="0" rIns="0" bIns="0" rtlCol="0"/>
          <a:lstStyle/>
          <a:p>
            <a:endParaRPr/>
          </a:p>
        </p:txBody>
      </p:sp>
      <p:sp>
        <p:nvSpPr>
          <p:cNvPr id="31" name="object 31"/>
          <p:cNvSpPr/>
          <p:nvPr/>
        </p:nvSpPr>
        <p:spPr>
          <a:xfrm>
            <a:off x="4739640" y="3448303"/>
            <a:ext cx="698500" cy="759460"/>
          </a:xfrm>
          <a:custGeom>
            <a:avLst/>
            <a:gdLst/>
            <a:ahLst/>
            <a:cxnLst/>
            <a:rect l="l" t="t" r="r" b="b"/>
            <a:pathLst>
              <a:path w="698500" h="759460">
                <a:moveTo>
                  <a:pt x="518850" y="394970"/>
                </a:moveTo>
                <a:lnTo>
                  <a:pt x="103886" y="394970"/>
                </a:lnTo>
                <a:lnTo>
                  <a:pt x="111125" y="398780"/>
                </a:lnTo>
                <a:lnTo>
                  <a:pt x="108712" y="406400"/>
                </a:lnTo>
                <a:lnTo>
                  <a:pt x="108712" y="411480"/>
                </a:lnTo>
                <a:lnTo>
                  <a:pt x="115950" y="411480"/>
                </a:lnTo>
                <a:lnTo>
                  <a:pt x="111539" y="419100"/>
                </a:lnTo>
                <a:lnTo>
                  <a:pt x="111426" y="425450"/>
                </a:lnTo>
                <a:lnTo>
                  <a:pt x="113575" y="431800"/>
                </a:lnTo>
                <a:lnTo>
                  <a:pt x="115950" y="439420"/>
                </a:lnTo>
                <a:lnTo>
                  <a:pt x="112142" y="449580"/>
                </a:lnTo>
                <a:lnTo>
                  <a:pt x="110823" y="461010"/>
                </a:lnTo>
                <a:lnTo>
                  <a:pt x="110861" y="471170"/>
                </a:lnTo>
                <a:lnTo>
                  <a:pt x="111125" y="478790"/>
                </a:lnTo>
                <a:lnTo>
                  <a:pt x="111125" y="481330"/>
                </a:lnTo>
                <a:lnTo>
                  <a:pt x="115950" y="481330"/>
                </a:lnTo>
                <a:lnTo>
                  <a:pt x="118363" y="486410"/>
                </a:lnTo>
                <a:lnTo>
                  <a:pt x="113537" y="486410"/>
                </a:lnTo>
                <a:lnTo>
                  <a:pt x="113537" y="488950"/>
                </a:lnTo>
                <a:lnTo>
                  <a:pt x="119344" y="510540"/>
                </a:lnTo>
                <a:lnTo>
                  <a:pt x="123793" y="534670"/>
                </a:lnTo>
                <a:lnTo>
                  <a:pt x="129147" y="557530"/>
                </a:lnTo>
                <a:lnTo>
                  <a:pt x="137668" y="579120"/>
                </a:lnTo>
                <a:lnTo>
                  <a:pt x="142380" y="588010"/>
                </a:lnTo>
                <a:lnTo>
                  <a:pt x="148224" y="596900"/>
                </a:lnTo>
                <a:lnTo>
                  <a:pt x="153616" y="607060"/>
                </a:lnTo>
                <a:lnTo>
                  <a:pt x="156972" y="618490"/>
                </a:lnTo>
                <a:lnTo>
                  <a:pt x="156972" y="627380"/>
                </a:lnTo>
                <a:lnTo>
                  <a:pt x="161760" y="640080"/>
                </a:lnTo>
                <a:lnTo>
                  <a:pt x="181101" y="673100"/>
                </a:lnTo>
                <a:lnTo>
                  <a:pt x="199215" y="723900"/>
                </a:lnTo>
                <a:lnTo>
                  <a:pt x="211695" y="749300"/>
                </a:lnTo>
                <a:lnTo>
                  <a:pt x="231901" y="759460"/>
                </a:lnTo>
                <a:lnTo>
                  <a:pt x="239329" y="758190"/>
                </a:lnTo>
                <a:lnTo>
                  <a:pt x="246078" y="754380"/>
                </a:lnTo>
                <a:lnTo>
                  <a:pt x="250565" y="748030"/>
                </a:lnTo>
                <a:lnTo>
                  <a:pt x="251206" y="739140"/>
                </a:lnTo>
                <a:lnTo>
                  <a:pt x="258445" y="734060"/>
                </a:lnTo>
                <a:lnTo>
                  <a:pt x="265684" y="731520"/>
                </a:lnTo>
                <a:lnTo>
                  <a:pt x="272923" y="731520"/>
                </a:lnTo>
                <a:lnTo>
                  <a:pt x="272734" y="725170"/>
                </a:lnTo>
                <a:lnTo>
                  <a:pt x="276844" y="717550"/>
                </a:lnTo>
                <a:lnTo>
                  <a:pt x="281406" y="711200"/>
                </a:lnTo>
                <a:lnTo>
                  <a:pt x="282575" y="706120"/>
                </a:lnTo>
                <a:lnTo>
                  <a:pt x="292226" y="703580"/>
                </a:lnTo>
                <a:lnTo>
                  <a:pt x="299465" y="703580"/>
                </a:lnTo>
                <a:lnTo>
                  <a:pt x="298410" y="692150"/>
                </a:lnTo>
                <a:lnTo>
                  <a:pt x="296449" y="680720"/>
                </a:lnTo>
                <a:lnTo>
                  <a:pt x="295394" y="671830"/>
                </a:lnTo>
                <a:lnTo>
                  <a:pt x="297052" y="661670"/>
                </a:lnTo>
                <a:lnTo>
                  <a:pt x="309118" y="648970"/>
                </a:lnTo>
                <a:lnTo>
                  <a:pt x="301879" y="646430"/>
                </a:lnTo>
                <a:lnTo>
                  <a:pt x="307006" y="641350"/>
                </a:lnTo>
                <a:lnTo>
                  <a:pt x="310324" y="632460"/>
                </a:lnTo>
                <a:lnTo>
                  <a:pt x="310022" y="624840"/>
                </a:lnTo>
                <a:lnTo>
                  <a:pt x="304292" y="621030"/>
                </a:lnTo>
                <a:lnTo>
                  <a:pt x="304292" y="618490"/>
                </a:lnTo>
                <a:lnTo>
                  <a:pt x="309118" y="618490"/>
                </a:lnTo>
                <a:lnTo>
                  <a:pt x="305008" y="601980"/>
                </a:lnTo>
                <a:lnTo>
                  <a:pt x="305196" y="581660"/>
                </a:lnTo>
                <a:lnTo>
                  <a:pt x="312171" y="567690"/>
                </a:lnTo>
                <a:lnTo>
                  <a:pt x="328422" y="566420"/>
                </a:lnTo>
                <a:lnTo>
                  <a:pt x="334097" y="556260"/>
                </a:lnTo>
                <a:lnTo>
                  <a:pt x="342963" y="551180"/>
                </a:lnTo>
                <a:lnTo>
                  <a:pt x="353639" y="548640"/>
                </a:lnTo>
                <a:lnTo>
                  <a:pt x="364744" y="543560"/>
                </a:lnTo>
                <a:lnTo>
                  <a:pt x="363386" y="534670"/>
                </a:lnTo>
                <a:lnTo>
                  <a:pt x="368363" y="529590"/>
                </a:lnTo>
                <a:lnTo>
                  <a:pt x="376959" y="524510"/>
                </a:lnTo>
                <a:lnTo>
                  <a:pt x="386461" y="516890"/>
                </a:lnTo>
                <a:lnTo>
                  <a:pt x="391287" y="514350"/>
                </a:lnTo>
                <a:lnTo>
                  <a:pt x="391287" y="508000"/>
                </a:lnTo>
                <a:lnTo>
                  <a:pt x="393700" y="505460"/>
                </a:lnTo>
                <a:lnTo>
                  <a:pt x="425257" y="474980"/>
                </a:lnTo>
                <a:lnTo>
                  <a:pt x="430196" y="466090"/>
                </a:lnTo>
                <a:lnTo>
                  <a:pt x="433778" y="461010"/>
                </a:lnTo>
                <a:lnTo>
                  <a:pt x="437134" y="458470"/>
                </a:lnTo>
                <a:lnTo>
                  <a:pt x="447879" y="455930"/>
                </a:lnTo>
                <a:lnTo>
                  <a:pt x="459755" y="452120"/>
                </a:lnTo>
                <a:lnTo>
                  <a:pt x="469370" y="445770"/>
                </a:lnTo>
                <a:lnTo>
                  <a:pt x="473329" y="434340"/>
                </a:lnTo>
                <a:lnTo>
                  <a:pt x="473329" y="429260"/>
                </a:lnTo>
                <a:lnTo>
                  <a:pt x="468502" y="425450"/>
                </a:lnTo>
                <a:lnTo>
                  <a:pt x="470915" y="420370"/>
                </a:lnTo>
                <a:lnTo>
                  <a:pt x="478476" y="414020"/>
                </a:lnTo>
                <a:lnTo>
                  <a:pt x="486060" y="411480"/>
                </a:lnTo>
                <a:lnTo>
                  <a:pt x="492740" y="407670"/>
                </a:lnTo>
                <a:lnTo>
                  <a:pt x="497586" y="398780"/>
                </a:lnTo>
                <a:lnTo>
                  <a:pt x="519302" y="398780"/>
                </a:lnTo>
                <a:lnTo>
                  <a:pt x="518850" y="394970"/>
                </a:lnTo>
                <a:close/>
              </a:path>
              <a:path w="698500" h="759460">
                <a:moveTo>
                  <a:pt x="299465" y="703580"/>
                </a:moveTo>
                <a:lnTo>
                  <a:pt x="292226" y="703580"/>
                </a:lnTo>
                <a:lnTo>
                  <a:pt x="289813" y="706120"/>
                </a:lnTo>
                <a:lnTo>
                  <a:pt x="299465" y="703580"/>
                </a:lnTo>
                <a:close/>
              </a:path>
              <a:path w="698500" h="759460">
                <a:moveTo>
                  <a:pt x="515562" y="373380"/>
                </a:moveTo>
                <a:lnTo>
                  <a:pt x="57912" y="373380"/>
                </a:lnTo>
                <a:lnTo>
                  <a:pt x="50145" y="383540"/>
                </a:lnTo>
                <a:lnTo>
                  <a:pt x="39211" y="388620"/>
                </a:lnTo>
                <a:lnTo>
                  <a:pt x="27372" y="389890"/>
                </a:lnTo>
                <a:lnTo>
                  <a:pt x="16890" y="389890"/>
                </a:lnTo>
                <a:lnTo>
                  <a:pt x="27711" y="403860"/>
                </a:lnTo>
                <a:lnTo>
                  <a:pt x="38306" y="415290"/>
                </a:lnTo>
                <a:lnTo>
                  <a:pt x="48448" y="426720"/>
                </a:lnTo>
                <a:lnTo>
                  <a:pt x="57912" y="434340"/>
                </a:lnTo>
                <a:lnTo>
                  <a:pt x="76007" y="433070"/>
                </a:lnTo>
                <a:lnTo>
                  <a:pt x="91805" y="425450"/>
                </a:lnTo>
                <a:lnTo>
                  <a:pt x="102149" y="411480"/>
                </a:lnTo>
                <a:lnTo>
                  <a:pt x="103886" y="394970"/>
                </a:lnTo>
                <a:lnTo>
                  <a:pt x="518850" y="394970"/>
                </a:lnTo>
                <a:lnTo>
                  <a:pt x="518247" y="389890"/>
                </a:lnTo>
                <a:lnTo>
                  <a:pt x="516286" y="382270"/>
                </a:lnTo>
                <a:lnTo>
                  <a:pt x="515231" y="374650"/>
                </a:lnTo>
                <a:lnTo>
                  <a:pt x="515562" y="373380"/>
                </a:lnTo>
                <a:close/>
              </a:path>
              <a:path w="698500" h="759460">
                <a:moveTo>
                  <a:pt x="115950" y="411480"/>
                </a:moveTo>
                <a:lnTo>
                  <a:pt x="113537" y="411480"/>
                </a:lnTo>
                <a:lnTo>
                  <a:pt x="113537" y="415290"/>
                </a:lnTo>
                <a:lnTo>
                  <a:pt x="115950" y="411480"/>
                </a:lnTo>
                <a:close/>
              </a:path>
              <a:path w="698500" h="759460">
                <a:moveTo>
                  <a:pt x="519302" y="398780"/>
                </a:moveTo>
                <a:lnTo>
                  <a:pt x="497586" y="398780"/>
                </a:lnTo>
                <a:lnTo>
                  <a:pt x="503015" y="402590"/>
                </a:lnTo>
                <a:lnTo>
                  <a:pt x="508444" y="402590"/>
                </a:lnTo>
                <a:lnTo>
                  <a:pt x="513873" y="400050"/>
                </a:lnTo>
                <a:lnTo>
                  <a:pt x="519302" y="398780"/>
                </a:lnTo>
                <a:close/>
              </a:path>
              <a:path w="698500" h="759460">
                <a:moveTo>
                  <a:pt x="619065" y="345440"/>
                </a:moveTo>
                <a:lnTo>
                  <a:pt x="589280" y="345440"/>
                </a:lnTo>
                <a:lnTo>
                  <a:pt x="597122" y="358140"/>
                </a:lnTo>
                <a:lnTo>
                  <a:pt x="599535" y="372110"/>
                </a:lnTo>
                <a:lnTo>
                  <a:pt x="602853" y="384810"/>
                </a:lnTo>
                <a:lnTo>
                  <a:pt x="613410" y="394970"/>
                </a:lnTo>
                <a:lnTo>
                  <a:pt x="615898" y="384810"/>
                </a:lnTo>
                <a:lnTo>
                  <a:pt x="615316" y="377190"/>
                </a:lnTo>
                <a:lnTo>
                  <a:pt x="615408" y="369570"/>
                </a:lnTo>
                <a:lnTo>
                  <a:pt x="615445" y="368300"/>
                </a:lnTo>
                <a:lnTo>
                  <a:pt x="620649" y="361950"/>
                </a:lnTo>
                <a:lnTo>
                  <a:pt x="618876" y="354330"/>
                </a:lnTo>
                <a:lnTo>
                  <a:pt x="619088" y="349250"/>
                </a:lnTo>
                <a:lnTo>
                  <a:pt x="619065" y="345440"/>
                </a:lnTo>
                <a:close/>
              </a:path>
              <a:path w="698500" h="759460">
                <a:moveTo>
                  <a:pt x="26318" y="339090"/>
                </a:moveTo>
                <a:lnTo>
                  <a:pt x="16890" y="345440"/>
                </a:lnTo>
                <a:lnTo>
                  <a:pt x="4825" y="345440"/>
                </a:lnTo>
                <a:lnTo>
                  <a:pt x="0" y="349250"/>
                </a:lnTo>
                <a:lnTo>
                  <a:pt x="12064" y="349250"/>
                </a:lnTo>
                <a:lnTo>
                  <a:pt x="16890" y="351790"/>
                </a:lnTo>
                <a:lnTo>
                  <a:pt x="7238" y="354330"/>
                </a:lnTo>
                <a:lnTo>
                  <a:pt x="7238" y="356870"/>
                </a:lnTo>
                <a:lnTo>
                  <a:pt x="16174" y="369570"/>
                </a:lnTo>
                <a:lnTo>
                  <a:pt x="29860" y="377190"/>
                </a:lnTo>
                <a:lnTo>
                  <a:pt x="44904" y="378460"/>
                </a:lnTo>
                <a:lnTo>
                  <a:pt x="57912" y="373380"/>
                </a:lnTo>
                <a:lnTo>
                  <a:pt x="515562" y="373380"/>
                </a:lnTo>
                <a:lnTo>
                  <a:pt x="516889" y="368300"/>
                </a:lnTo>
                <a:lnTo>
                  <a:pt x="516889" y="365760"/>
                </a:lnTo>
                <a:lnTo>
                  <a:pt x="509650" y="365760"/>
                </a:lnTo>
                <a:lnTo>
                  <a:pt x="512063" y="356870"/>
                </a:lnTo>
                <a:lnTo>
                  <a:pt x="507238" y="356870"/>
                </a:lnTo>
                <a:lnTo>
                  <a:pt x="504825" y="351790"/>
                </a:lnTo>
                <a:lnTo>
                  <a:pt x="504825" y="346710"/>
                </a:lnTo>
                <a:lnTo>
                  <a:pt x="509650" y="345440"/>
                </a:lnTo>
                <a:lnTo>
                  <a:pt x="508444" y="341630"/>
                </a:lnTo>
                <a:lnTo>
                  <a:pt x="62414" y="341630"/>
                </a:lnTo>
                <a:lnTo>
                  <a:pt x="26318" y="339090"/>
                </a:lnTo>
                <a:close/>
              </a:path>
              <a:path w="698500" h="759460">
                <a:moveTo>
                  <a:pt x="651131" y="283210"/>
                </a:moveTo>
                <a:lnTo>
                  <a:pt x="526542" y="283210"/>
                </a:lnTo>
                <a:lnTo>
                  <a:pt x="533781" y="288290"/>
                </a:lnTo>
                <a:lnTo>
                  <a:pt x="531368" y="299720"/>
                </a:lnTo>
                <a:lnTo>
                  <a:pt x="531368" y="304800"/>
                </a:lnTo>
                <a:lnTo>
                  <a:pt x="548598" y="309880"/>
                </a:lnTo>
                <a:lnTo>
                  <a:pt x="575819" y="309880"/>
                </a:lnTo>
                <a:lnTo>
                  <a:pt x="591693" y="312420"/>
                </a:lnTo>
                <a:lnTo>
                  <a:pt x="590034" y="318770"/>
                </a:lnTo>
                <a:lnTo>
                  <a:pt x="587470" y="326390"/>
                </a:lnTo>
                <a:lnTo>
                  <a:pt x="582191" y="331470"/>
                </a:lnTo>
                <a:lnTo>
                  <a:pt x="572388" y="335280"/>
                </a:lnTo>
                <a:lnTo>
                  <a:pt x="568090" y="344170"/>
                </a:lnTo>
                <a:lnTo>
                  <a:pt x="568769" y="353060"/>
                </a:lnTo>
                <a:lnTo>
                  <a:pt x="573067" y="359410"/>
                </a:lnTo>
                <a:lnTo>
                  <a:pt x="579627" y="365760"/>
                </a:lnTo>
                <a:lnTo>
                  <a:pt x="582154" y="361950"/>
                </a:lnTo>
                <a:lnTo>
                  <a:pt x="583549" y="356870"/>
                </a:lnTo>
                <a:lnTo>
                  <a:pt x="585396" y="350520"/>
                </a:lnTo>
                <a:lnTo>
                  <a:pt x="589280" y="345440"/>
                </a:lnTo>
                <a:lnTo>
                  <a:pt x="619065" y="345440"/>
                </a:lnTo>
                <a:lnTo>
                  <a:pt x="618952" y="341630"/>
                </a:lnTo>
                <a:lnTo>
                  <a:pt x="615823" y="332740"/>
                </a:lnTo>
                <a:lnTo>
                  <a:pt x="636061" y="332740"/>
                </a:lnTo>
                <a:lnTo>
                  <a:pt x="638081" y="326390"/>
                </a:lnTo>
                <a:lnTo>
                  <a:pt x="641588" y="318770"/>
                </a:lnTo>
                <a:lnTo>
                  <a:pt x="643737" y="311150"/>
                </a:lnTo>
                <a:lnTo>
                  <a:pt x="642493" y="302260"/>
                </a:lnTo>
                <a:lnTo>
                  <a:pt x="647394" y="294640"/>
                </a:lnTo>
                <a:lnTo>
                  <a:pt x="650938" y="284480"/>
                </a:lnTo>
                <a:lnTo>
                  <a:pt x="651131" y="283210"/>
                </a:lnTo>
                <a:close/>
              </a:path>
              <a:path w="698500" h="759460">
                <a:moveTo>
                  <a:pt x="12064" y="349250"/>
                </a:moveTo>
                <a:lnTo>
                  <a:pt x="2412" y="349250"/>
                </a:lnTo>
                <a:lnTo>
                  <a:pt x="2412" y="356870"/>
                </a:lnTo>
                <a:lnTo>
                  <a:pt x="4825" y="351790"/>
                </a:lnTo>
                <a:lnTo>
                  <a:pt x="9651" y="351790"/>
                </a:lnTo>
                <a:lnTo>
                  <a:pt x="12064" y="349250"/>
                </a:lnTo>
                <a:close/>
              </a:path>
              <a:path w="698500" h="759460">
                <a:moveTo>
                  <a:pt x="495776" y="299720"/>
                </a:moveTo>
                <a:lnTo>
                  <a:pt x="65150" y="299720"/>
                </a:lnTo>
                <a:lnTo>
                  <a:pt x="72151" y="317500"/>
                </a:lnTo>
                <a:lnTo>
                  <a:pt x="75777" y="328930"/>
                </a:lnTo>
                <a:lnTo>
                  <a:pt x="77343" y="337820"/>
                </a:lnTo>
                <a:lnTo>
                  <a:pt x="62414" y="341630"/>
                </a:lnTo>
                <a:lnTo>
                  <a:pt x="508444" y="341630"/>
                </a:lnTo>
                <a:lnTo>
                  <a:pt x="507238" y="337820"/>
                </a:lnTo>
                <a:lnTo>
                  <a:pt x="502412" y="335280"/>
                </a:lnTo>
                <a:lnTo>
                  <a:pt x="495173" y="332740"/>
                </a:lnTo>
                <a:lnTo>
                  <a:pt x="492760" y="328930"/>
                </a:lnTo>
                <a:lnTo>
                  <a:pt x="495436" y="322580"/>
                </a:lnTo>
                <a:lnTo>
                  <a:pt x="499697" y="317500"/>
                </a:lnTo>
                <a:lnTo>
                  <a:pt x="505315" y="313690"/>
                </a:lnTo>
                <a:lnTo>
                  <a:pt x="512063" y="312420"/>
                </a:lnTo>
                <a:lnTo>
                  <a:pt x="506634" y="306070"/>
                </a:lnTo>
                <a:lnTo>
                  <a:pt x="501205" y="302260"/>
                </a:lnTo>
                <a:lnTo>
                  <a:pt x="495776" y="299720"/>
                </a:lnTo>
                <a:close/>
              </a:path>
              <a:path w="698500" h="759460">
                <a:moveTo>
                  <a:pt x="636061" y="332740"/>
                </a:moveTo>
                <a:lnTo>
                  <a:pt x="615823" y="332740"/>
                </a:lnTo>
                <a:lnTo>
                  <a:pt x="623062" y="335280"/>
                </a:lnTo>
                <a:lnTo>
                  <a:pt x="635254" y="335280"/>
                </a:lnTo>
                <a:lnTo>
                  <a:pt x="636061" y="332740"/>
                </a:lnTo>
                <a:close/>
              </a:path>
              <a:path w="698500" h="759460">
                <a:moveTo>
                  <a:pt x="443355" y="278130"/>
                </a:moveTo>
                <a:lnTo>
                  <a:pt x="437134" y="279400"/>
                </a:lnTo>
                <a:lnTo>
                  <a:pt x="57912" y="279400"/>
                </a:lnTo>
                <a:lnTo>
                  <a:pt x="55499" y="288290"/>
                </a:lnTo>
                <a:lnTo>
                  <a:pt x="55499" y="297180"/>
                </a:lnTo>
                <a:lnTo>
                  <a:pt x="57912" y="297180"/>
                </a:lnTo>
                <a:lnTo>
                  <a:pt x="62737" y="304800"/>
                </a:lnTo>
                <a:lnTo>
                  <a:pt x="65150" y="299720"/>
                </a:lnTo>
                <a:lnTo>
                  <a:pt x="495776" y="299720"/>
                </a:lnTo>
                <a:lnTo>
                  <a:pt x="490347" y="295910"/>
                </a:lnTo>
                <a:lnTo>
                  <a:pt x="492119" y="290830"/>
                </a:lnTo>
                <a:lnTo>
                  <a:pt x="495474" y="285750"/>
                </a:lnTo>
                <a:lnTo>
                  <a:pt x="496140" y="284480"/>
                </a:lnTo>
                <a:lnTo>
                  <a:pt x="479123" y="284480"/>
                </a:lnTo>
                <a:lnTo>
                  <a:pt x="470898" y="283210"/>
                </a:lnTo>
                <a:lnTo>
                  <a:pt x="469295" y="281940"/>
                </a:lnTo>
                <a:lnTo>
                  <a:pt x="458511" y="281940"/>
                </a:lnTo>
                <a:lnTo>
                  <a:pt x="450707" y="280670"/>
                </a:lnTo>
                <a:lnTo>
                  <a:pt x="443355" y="278130"/>
                </a:lnTo>
                <a:close/>
              </a:path>
              <a:path w="698500" h="759460">
                <a:moveTo>
                  <a:pt x="651516" y="280670"/>
                </a:moveTo>
                <a:lnTo>
                  <a:pt x="512063" y="280670"/>
                </a:lnTo>
                <a:lnTo>
                  <a:pt x="514476" y="283210"/>
                </a:lnTo>
                <a:lnTo>
                  <a:pt x="519302" y="285750"/>
                </a:lnTo>
                <a:lnTo>
                  <a:pt x="524129" y="290830"/>
                </a:lnTo>
                <a:lnTo>
                  <a:pt x="526542" y="288290"/>
                </a:lnTo>
                <a:lnTo>
                  <a:pt x="526542" y="283210"/>
                </a:lnTo>
                <a:lnTo>
                  <a:pt x="651131" y="283210"/>
                </a:lnTo>
                <a:lnTo>
                  <a:pt x="651516" y="280670"/>
                </a:lnTo>
                <a:close/>
              </a:path>
              <a:path w="698500" h="759460">
                <a:moveTo>
                  <a:pt x="651709" y="279400"/>
                </a:moveTo>
                <a:lnTo>
                  <a:pt x="502412" y="279400"/>
                </a:lnTo>
                <a:lnTo>
                  <a:pt x="504825" y="285750"/>
                </a:lnTo>
                <a:lnTo>
                  <a:pt x="512063" y="280670"/>
                </a:lnTo>
                <a:lnTo>
                  <a:pt x="651516" y="280670"/>
                </a:lnTo>
                <a:lnTo>
                  <a:pt x="651709" y="279400"/>
                </a:lnTo>
                <a:close/>
              </a:path>
              <a:path w="698500" h="759460">
                <a:moveTo>
                  <a:pt x="487807" y="238760"/>
                </a:moveTo>
                <a:lnTo>
                  <a:pt x="488918" y="248920"/>
                </a:lnTo>
                <a:lnTo>
                  <a:pt x="489235" y="270510"/>
                </a:lnTo>
                <a:lnTo>
                  <a:pt x="490347" y="279400"/>
                </a:lnTo>
                <a:lnTo>
                  <a:pt x="486896" y="283210"/>
                </a:lnTo>
                <a:lnTo>
                  <a:pt x="479123" y="284480"/>
                </a:lnTo>
                <a:lnTo>
                  <a:pt x="496140" y="284480"/>
                </a:lnTo>
                <a:lnTo>
                  <a:pt x="497472" y="281940"/>
                </a:lnTo>
                <a:lnTo>
                  <a:pt x="495173" y="279400"/>
                </a:lnTo>
                <a:lnTo>
                  <a:pt x="651709" y="279400"/>
                </a:lnTo>
                <a:lnTo>
                  <a:pt x="652672" y="273050"/>
                </a:lnTo>
                <a:lnTo>
                  <a:pt x="652474" y="269240"/>
                </a:lnTo>
                <a:lnTo>
                  <a:pt x="528050" y="269240"/>
                </a:lnTo>
                <a:lnTo>
                  <a:pt x="508406" y="261620"/>
                </a:lnTo>
                <a:lnTo>
                  <a:pt x="505222" y="241300"/>
                </a:lnTo>
                <a:lnTo>
                  <a:pt x="495173" y="241300"/>
                </a:lnTo>
                <a:lnTo>
                  <a:pt x="487807" y="238760"/>
                </a:lnTo>
                <a:close/>
              </a:path>
              <a:path w="698500" h="759460">
                <a:moveTo>
                  <a:pt x="466089" y="279400"/>
                </a:moveTo>
                <a:lnTo>
                  <a:pt x="458511" y="281940"/>
                </a:lnTo>
                <a:lnTo>
                  <a:pt x="469295" y="281940"/>
                </a:lnTo>
                <a:lnTo>
                  <a:pt x="466089" y="279400"/>
                </a:lnTo>
                <a:close/>
              </a:path>
              <a:path w="698500" h="759460">
                <a:moveTo>
                  <a:pt x="67563" y="238760"/>
                </a:moveTo>
                <a:lnTo>
                  <a:pt x="58666" y="245110"/>
                </a:lnTo>
                <a:lnTo>
                  <a:pt x="50673" y="251460"/>
                </a:lnTo>
                <a:lnTo>
                  <a:pt x="44489" y="260350"/>
                </a:lnTo>
                <a:lnTo>
                  <a:pt x="41021" y="271780"/>
                </a:lnTo>
                <a:lnTo>
                  <a:pt x="45847" y="274320"/>
                </a:lnTo>
                <a:lnTo>
                  <a:pt x="48260" y="279400"/>
                </a:lnTo>
                <a:lnTo>
                  <a:pt x="437134" y="279400"/>
                </a:lnTo>
                <a:lnTo>
                  <a:pt x="437134" y="276860"/>
                </a:lnTo>
                <a:lnTo>
                  <a:pt x="427482" y="276860"/>
                </a:lnTo>
                <a:lnTo>
                  <a:pt x="419187" y="271780"/>
                </a:lnTo>
                <a:lnTo>
                  <a:pt x="407363" y="261620"/>
                </a:lnTo>
                <a:lnTo>
                  <a:pt x="375074" y="261620"/>
                </a:lnTo>
                <a:lnTo>
                  <a:pt x="369570" y="260350"/>
                </a:lnTo>
                <a:lnTo>
                  <a:pt x="367157" y="257810"/>
                </a:lnTo>
                <a:lnTo>
                  <a:pt x="367157" y="252730"/>
                </a:lnTo>
                <a:lnTo>
                  <a:pt x="364744" y="252730"/>
                </a:lnTo>
                <a:lnTo>
                  <a:pt x="357505" y="250190"/>
                </a:lnTo>
                <a:lnTo>
                  <a:pt x="345313" y="250190"/>
                </a:lnTo>
                <a:lnTo>
                  <a:pt x="341090" y="247650"/>
                </a:lnTo>
                <a:lnTo>
                  <a:pt x="84980" y="247650"/>
                </a:lnTo>
                <a:lnTo>
                  <a:pt x="67563" y="238760"/>
                </a:lnTo>
                <a:close/>
              </a:path>
              <a:path w="698500" h="759460">
                <a:moveTo>
                  <a:pt x="432308" y="271780"/>
                </a:moveTo>
                <a:lnTo>
                  <a:pt x="429895" y="271780"/>
                </a:lnTo>
                <a:lnTo>
                  <a:pt x="427482" y="274320"/>
                </a:lnTo>
                <a:lnTo>
                  <a:pt x="427482" y="276860"/>
                </a:lnTo>
                <a:lnTo>
                  <a:pt x="434721" y="276860"/>
                </a:lnTo>
                <a:lnTo>
                  <a:pt x="432308" y="271780"/>
                </a:lnTo>
                <a:close/>
              </a:path>
              <a:path w="698500" h="759460">
                <a:moveTo>
                  <a:pt x="671317" y="245110"/>
                </a:moveTo>
                <a:lnTo>
                  <a:pt x="577214" y="245110"/>
                </a:lnTo>
                <a:lnTo>
                  <a:pt x="579627" y="250190"/>
                </a:lnTo>
                <a:lnTo>
                  <a:pt x="577214" y="255270"/>
                </a:lnTo>
                <a:lnTo>
                  <a:pt x="582040" y="257810"/>
                </a:lnTo>
                <a:lnTo>
                  <a:pt x="582040" y="262890"/>
                </a:lnTo>
                <a:lnTo>
                  <a:pt x="555384" y="266700"/>
                </a:lnTo>
                <a:lnTo>
                  <a:pt x="528050" y="269240"/>
                </a:lnTo>
                <a:lnTo>
                  <a:pt x="652474" y="269240"/>
                </a:lnTo>
                <a:lnTo>
                  <a:pt x="652145" y="262890"/>
                </a:lnTo>
                <a:lnTo>
                  <a:pt x="661947" y="254000"/>
                </a:lnTo>
                <a:lnTo>
                  <a:pt x="671317" y="245110"/>
                </a:lnTo>
                <a:close/>
              </a:path>
              <a:path w="698500" h="759460">
                <a:moveTo>
                  <a:pt x="396113" y="255270"/>
                </a:moveTo>
                <a:lnTo>
                  <a:pt x="387893" y="256540"/>
                </a:lnTo>
                <a:lnTo>
                  <a:pt x="381031" y="259080"/>
                </a:lnTo>
                <a:lnTo>
                  <a:pt x="375074" y="261620"/>
                </a:lnTo>
                <a:lnTo>
                  <a:pt x="407363" y="261620"/>
                </a:lnTo>
                <a:lnTo>
                  <a:pt x="404407" y="259080"/>
                </a:lnTo>
                <a:lnTo>
                  <a:pt x="396113" y="255270"/>
                </a:lnTo>
                <a:close/>
              </a:path>
              <a:path w="698500" h="759460">
                <a:moveTo>
                  <a:pt x="304895" y="49530"/>
                </a:moveTo>
                <a:lnTo>
                  <a:pt x="161798" y="49530"/>
                </a:lnTo>
                <a:lnTo>
                  <a:pt x="161911" y="54610"/>
                </a:lnTo>
                <a:lnTo>
                  <a:pt x="159083" y="59689"/>
                </a:lnTo>
                <a:lnTo>
                  <a:pt x="153993" y="63500"/>
                </a:lnTo>
                <a:lnTo>
                  <a:pt x="147320" y="66039"/>
                </a:lnTo>
                <a:lnTo>
                  <a:pt x="147665" y="80010"/>
                </a:lnTo>
                <a:lnTo>
                  <a:pt x="147772" y="82550"/>
                </a:lnTo>
                <a:lnTo>
                  <a:pt x="148526" y="95250"/>
                </a:lnTo>
                <a:lnTo>
                  <a:pt x="154785" y="107950"/>
                </a:lnTo>
                <a:lnTo>
                  <a:pt x="171450" y="115570"/>
                </a:lnTo>
                <a:lnTo>
                  <a:pt x="176275" y="120650"/>
                </a:lnTo>
                <a:lnTo>
                  <a:pt x="178688" y="128270"/>
                </a:lnTo>
                <a:lnTo>
                  <a:pt x="188340" y="128270"/>
                </a:lnTo>
                <a:lnTo>
                  <a:pt x="187021" y="134620"/>
                </a:lnTo>
                <a:lnTo>
                  <a:pt x="181403" y="137160"/>
                </a:lnTo>
                <a:lnTo>
                  <a:pt x="174428" y="139700"/>
                </a:lnTo>
                <a:lnTo>
                  <a:pt x="169037" y="144780"/>
                </a:lnTo>
                <a:lnTo>
                  <a:pt x="173862" y="153670"/>
                </a:lnTo>
                <a:lnTo>
                  <a:pt x="166624" y="153670"/>
                </a:lnTo>
                <a:lnTo>
                  <a:pt x="171450" y="161290"/>
                </a:lnTo>
                <a:lnTo>
                  <a:pt x="162438" y="170180"/>
                </a:lnTo>
                <a:lnTo>
                  <a:pt x="155463" y="180340"/>
                </a:lnTo>
                <a:lnTo>
                  <a:pt x="148036" y="187960"/>
                </a:lnTo>
                <a:lnTo>
                  <a:pt x="137668" y="194310"/>
                </a:lnTo>
                <a:lnTo>
                  <a:pt x="140081" y="203200"/>
                </a:lnTo>
                <a:lnTo>
                  <a:pt x="132842" y="203200"/>
                </a:lnTo>
                <a:lnTo>
                  <a:pt x="135255" y="210820"/>
                </a:lnTo>
                <a:lnTo>
                  <a:pt x="120624" y="222250"/>
                </a:lnTo>
                <a:lnTo>
                  <a:pt x="103266" y="238760"/>
                </a:lnTo>
                <a:lnTo>
                  <a:pt x="84980" y="247650"/>
                </a:lnTo>
                <a:lnTo>
                  <a:pt x="341090" y="247650"/>
                </a:lnTo>
                <a:lnTo>
                  <a:pt x="334756" y="243840"/>
                </a:lnTo>
                <a:lnTo>
                  <a:pt x="324199" y="236220"/>
                </a:lnTo>
                <a:lnTo>
                  <a:pt x="312737" y="228600"/>
                </a:lnTo>
                <a:lnTo>
                  <a:pt x="299465" y="222250"/>
                </a:lnTo>
                <a:lnTo>
                  <a:pt x="304593" y="210820"/>
                </a:lnTo>
                <a:lnTo>
                  <a:pt x="307911" y="200660"/>
                </a:lnTo>
                <a:lnTo>
                  <a:pt x="313039" y="193040"/>
                </a:lnTo>
                <a:lnTo>
                  <a:pt x="323596" y="186690"/>
                </a:lnTo>
                <a:lnTo>
                  <a:pt x="311681" y="179070"/>
                </a:lnTo>
                <a:lnTo>
                  <a:pt x="289663" y="166370"/>
                </a:lnTo>
                <a:lnTo>
                  <a:pt x="280727" y="158750"/>
                </a:lnTo>
                <a:lnTo>
                  <a:pt x="275336" y="158750"/>
                </a:lnTo>
                <a:lnTo>
                  <a:pt x="270510" y="156210"/>
                </a:lnTo>
                <a:lnTo>
                  <a:pt x="269341" y="148589"/>
                </a:lnTo>
                <a:lnTo>
                  <a:pt x="266588" y="138430"/>
                </a:lnTo>
                <a:lnTo>
                  <a:pt x="263384" y="129539"/>
                </a:lnTo>
                <a:lnTo>
                  <a:pt x="260858" y="123189"/>
                </a:lnTo>
                <a:lnTo>
                  <a:pt x="268097" y="123189"/>
                </a:lnTo>
                <a:lnTo>
                  <a:pt x="268097" y="120650"/>
                </a:lnTo>
                <a:lnTo>
                  <a:pt x="286760" y="120650"/>
                </a:lnTo>
                <a:lnTo>
                  <a:pt x="284196" y="110489"/>
                </a:lnTo>
                <a:lnTo>
                  <a:pt x="278050" y="101600"/>
                </a:lnTo>
                <a:lnTo>
                  <a:pt x="274167" y="92710"/>
                </a:lnTo>
                <a:lnTo>
                  <a:pt x="277749" y="80010"/>
                </a:lnTo>
                <a:lnTo>
                  <a:pt x="285636" y="80010"/>
                </a:lnTo>
                <a:lnTo>
                  <a:pt x="286609" y="76200"/>
                </a:lnTo>
                <a:lnTo>
                  <a:pt x="290718" y="71120"/>
                </a:lnTo>
                <a:lnTo>
                  <a:pt x="296185" y="67310"/>
                </a:lnTo>
                <a:lnTo>
                  <a:pt x="301879" y="62230"/>
                </a:lnTo>
                <a:lnTo>
                  <a:pt x="305347" y="53339"/>
                </a:lnTo>
                <a:lnTo>
                  <a:pt x="304895" y="49530"/>
                </a:lnTo>
                <a:close/>
              </a:path>
              <a:path w="698500" h="759460">
                <a:moveTo>
                  <a:pt x="632840" y="189230"/>
                </a:moveTo>
                <a:lnTo>
                  <a:pt x="623982" y="201930"/>
                </a:lnTo>
                <a:lnTo>
                  <a:pt x="611314" y="210820"/>
                </a:lnTo>
                <a:lnTo>
                  <a:pt x="599122" y="220980"/>
                </a:lnTo>
                <a:lnTo>
                  <a:pt x="591693" y="231140"/>
                </a:lnTo>
                <a:lnTo>
                  <a:pt x="586867" y="233680"/>
                </a:lnTo>
                <a:lnTo>
                  <a:pt x="579627" y="238760"/>
                </a:lnTo>
                <a:lnTo>
                  <a:pt x="567563" y="238760"/>
                </a:lnTo>
                <a:lnTo>
                  <a:pt x="567563" y="247650"/>
                </a:lnTo>
                <a:lnTo>
                  <a:pt x="577214" y="245110"/>
                </a:lnTo>
                <a:lnTo>
                  <a:pt x="671317" y="245110"/>
                </a:lnTo>
                <a:lnTo>
                  <a:pt x="672655" y="243840"/>
                </a:lnTo>
                <a:lnTo>
                  <a:pt x="683363" y="240030"/>
                </a:lnTo>
                <a:lnTo>
                  <a:pt x="692902" y="240030"/>
                </a:lnTo>
                <a:lnTo>
                  <a:pt x="691054" y="233680"/>
                </a:lnTo>
                <a:lnTo>
                  <a:pt x="691469" y="227330"/>
                </a:lnTo>
                <a:lnTo>
                  <a:pt x="697992" y="219710"/>
                </a:lnTo>
                <a:lnTo>
                  <a:pt x="697992" y="217170"/>
                </a:lnTo>
                <a:lnTo>
                  <a:pt x="695579" y="214630"/>
                </a:lnTo>
                <a:lnTo>
                  <a:pt x="695579" y="213360"/>
                </a:lnTo>
                <a:lnTo>
                  <a:pt x="676275" y="213360"/>
                </a:lnTo>
                <a:lnTo>
                  <a:pt x="673862" y="210820"/>
                </a:lnTo>
                <a:lnTo>
                  <a:pt x="676275" y="203200"/>
                </a:lnTo>
                <a:lnTo>
                  <a:pt x="678688" y="200660"/>
                </a:lnTo>
                <a:lnTo>
                  <a:pt x="676757" y="195580"/>
                </a:lnTo>
                <a:lnTo>
                  <a:pt x="642530" y="195580"/>
                </a:lnTo>
                <a:lnTo>
                  <a:pt x="632840" y="189230"/>
                </a:lnTo>
                <a:close/>
              </a:path>
              <a:path w="698500" h="759460">
                <a:moveTo>
                  <a:pt x="692902" y="240030"/>
                </a:moveTo>
                <a:lnTo>
                  <a:pt x="683363" y="240030"/>
                </a:lnTo>
                <a:lnTo>
                  <a:pt x="693165" y="245110"/>
                </a:lnTo>
                <a:lnTo>
                  <a:pt x="692902" y="240030"/>
                </a:lnTo>
                <a:close/>
              </a:path>
              <a:path w="698500" h="759460">
                <a:moveTo>
                  <a:pt x="495173" y="233680"/>
                </a:moveTo>
                <a:lnTo>
                  <a:pt x="495173" y="241300"/>
                </a:lnTo>
                <a:lnTo>
                  <a:pt x="505222" y="241300"/>
                </a:lnTo>
                <a:lnTo>
                  <a:pt x="504825" y="238760"/>
                </a:lnTo>
                <a:lnTo>
                  <a:pt x="502412" y="238760"/>
                </a:lnTo>
                <a:lnTo>
                  <a:pt x="502412" y="236220"/>
                </a:lnTo>
                <a:lnTo>
                  <a:pt x="495173" y="233680"/>
                </a:lnTo>
                <a:close/>
              </a:path>
              <a:path w="698500" h="759460">
                <a:moveTo>
                  <a:pt x="685926" y="208280"/>
                </a:moveTo>
                <a:lnTo>
                  <a:pt x="676275" y="213360"/>
                </a:lnTo>
                <a:lnTo>
                  <a:pt x="685926" y="213360"/>
                </a:lnTo>
                <a:lnTo>
                  <a:pt x="685926" y="208280"/>
                </a:lnTo>
                <a:close/>
              </a:path>
              <a:path w="698500" h="759460">
                <a:moveTo>
                  <a:pt x="666623" y="184150"/>
                </a:moveTo>
                <a:lnTo>
                  <a:pt x="658290" y="191770"/>
                </a:lnTo>
                <a:lnTo>
                  <a:pt x="650636" y="195580"/>
                </a:lnTo>
                <a:lnTo>
                  <a:pt x="669036" y="195580"/>
                </a:lnTo>
                <a:lnTo>
                  <a:pt x="669036" y="194310"/>
                </a:lnTo>
                <a:lnTo>
                  <a:pt x="671449" y="191770"/>
                </a:lnTo>
                <a:lnTo>
                  <a:pt x="669036" y="191770"/>
                </a:lnTo>
                <a:lnTo>
                  <a:pt x="666623" y="186690"/>
                </a:lnTo>
                <a:lnTo>
                  <a:pt x="666623" y="184150"/>
                </a:lnTo>
                <a:close/>
              </a:path>
              <a:path w="698500" h="759460">
                <a:moveTo>
                  <a:pt x="676275" y="194310"/>
                </a:moveTo>
                <a:lnTo>
                  <a:pt x="676275" y="195580"/>
                </a:lnTo>
                <a:lnTo>
                  <a:pt x="676757" y="195580"/>
                </a:lnTo>
                <a:lnTo>
                  <a:pt x="676275" y="194310"/>
                </a:lnTo>
                <a:close/>
              </a:path>
              <a:path w="698500" h="759460">
                <a:moveTo>
                  <a:pt x="671449" y="189230"/>
                </a:moveTo>
                <a:lnTo>
                  <a:pt x="669036" y="191770"/>
                </a:lnTo>
                <a:lnTo>
                  <a:pt x="671449" y="191770"/>
                </a:lnTo>
                <a:lnTo>
                  <a:pt x="671449" y="189230"/>
                </a:lnTo>
                <a:close/>
              </a:path>
              <a:path w="698500" h="759460">
                <a:moveTo>
                  <a:pt x="275336" y="153670"/>
                </a:moveTo>
                <a:lnTo>
                  <a:pt x="275336" y="158750"/>
                </a:lnTo>
                <a:lnTo>
                  <a:pt x="280727" y="158750"/>
                </a:lnTo>
                <a:lnTo>
                  <a:pt x="277749" y="156210"/>
                </a:lnTo>
                <a:lnTo>
                  <a:pt x="275336" y="153670"/>
                </a:lnTo>
                <a:close/>
              </a:path>
              <a:path w="698500" h="759460">
                <a:moveTo>
                  <a:pt x="280162" y="120650"/>
                </a:moveTo>
                <a:lnTo>
                  <a:pt x="270510" y="120650"/>
                </a:lnTo>
                <a:lnTo>
                  <a:pt x="270510" y="128270"/>
                </a:lnTo>
                <a:lnTo>
                  <a:pt x="272923" y="128270"/>
                </a:lnTo>
                <a:lnTo>
                  <a:pt x="280162" y="130810"/>
                </a:lnTo>
                <a:lnTo>
                  <a:pt x="280162" y="120650"/>
                </a:lnTo>
                <a:close/>
              </a:path>
              <a:path w="698500" h="759460">
                <a:moveTo>
                  <a:pt x="286760" y="120650"/>
                </a:moveTo>
                <a:lnTo>
                  <a:pt x="280162" y="120650"/>
                </a:lnTo>
                <a:lnTo>
                  <a:pt x="287400" y="123189"/>
                </a:lnTo>
                <a:lnTo>
                  <a:pt x="286760" y="120650"/>
                </a:lnTo>
                <a:close/>
              </a:path>
              <a:path w="698500" h="759460">
                <a:moveTo>
                  <a:pt x="285636" y="80010"/>
                </a:moveTo>
                <a:lnTo>
                  <a:pt x="277749" y="80010"/>
                </a:lnTo>
                <a:lnTo>
                  <a:pt x="280162" y="82550"/>
                </a:lnTo>
                <a:lnTo>
                  <a:pt x="284988" y="82550"/>
                </a:lnTo>
                <a:lnTo>
                  <a:pt x="285636" y="80010"/>
                </a:lnTo>
                <a:close/>
              </a:path>
              <a:path w="698500" h="759460">
                <a:moveTo>
                  <a:pt x="149733" y="5080"/>
                </a:moveTo>
                <a:lnTo>
                  <a:pt x="144907" y="7620"/>
                </a:lnTo>
                <a:lnTo>
                  <a:pt x="140231" y="11430"/>
                </a:lnTo>
                <a:lnTo>
                  <a:pt x="134651" y="15239"/>
                </a:lnTo>
                <a:lnTo>
                  <a:pt x="129976" y="20320"/>
                </a:lnTo>
                <a:lnTo>
                  <a:pt x="128015" y="29210"/>
                </a:lnTo>
                <a:lnTo>
                  <a:pt x="135556" y="31750"/>
                </a:lnTo>
                <a:lnTo>
                  <a:pt x="147018" y="39370"/>
                </a:lnTo>
                <a:lnTo>
                  <a:pt x="154559" y="40639"/>
                </a:lnTo>
                <a:lnTo>
                  <a:pt x="154559" y="52070"/>
                </a:lnTo>
                <a:lnTo>
                  <a:pt x="161798" y="49530"/>
                </a:lnTo>
                <a:lnTo>
                  <a:pt x="304895" y="49530"/>
                </a:lnTo>
                <a:lnTo>
                  <a:pt x="304442" y="45720"/>
                </a:lnTo>
                <a:lnTo>
                  <a:pt x="239140" y="45720"/>
                </a:lnTo>
                <a:lnTo>
                  <a:pt x="241554" y="40639"/>
                </a:lnTo>
                <a:lnTo>
                  <a:pt x="239141" y="38100"/>
                </a:lnTo>
                <a:lnTo>
                  <a:pt x="227075" y="38100"/>
                </a:lnTo>
                <a:lnTo>
                  <a:pt x="221777" y="29210"/>
                </a:lnTo>
                <a:lnTo>
                  <a:pt x="211931" y="20320"/>
                </a:lnTo>
                <a:lnTo>
                  <a:pt x="201179" y="11430"/>
                </a:lnTo>
                <a:lnTo>
                  <a:pt x="200289" y="10160"/>
                </a:lnTo>
                <a:lnTo>
                  <a:pt x="152146" y="10160"/>
                </a:lnTo>
                <a:lnTo>
                  <a:pt x="149733" y="5080"/>
                </a:lnTo>
                <a:close/>
              </a:path>
              <a:path w="698500" h="759460">
                <a:moveTo>
                  <a:pt x="284988" y="31750"/>
                </a:moveTo>
                <a:lnTo>
                  <a:pt x="274770" y="33020"/>
                </a:lnTo>
                <a:lnTo>
                  <a:pt x="262969" y="38100"/>
                </a:lnTo>
                <a:lnTo>
                  <a:pt x="250715" y="43180"/>
                </a:lnTo>
                <a:lnTo>
                  <a:pt x="239140" y="45720"/>
                </a:lnTo>
                <a:lnTo>
                  <a:pt x="304442" y="45720"/>
                </a:lnTo>
                <a:lnTo>
                  <a:pt x="304292" y="44450"/>
                </a:lnTo>
                <a:lnTo>
                  <a:pt x="297807" y="35560"/>
                </a:lnTo>
                <a:lnTo>
                  <a:pt x="284988" y="31750"/>
                </a:lnTo>
                <a:close/>
              </a:path>
              <a:path w="698500" h="759460">
                <a:moveTo>
                  <a:pt x="234314" y="33020"/>
                </a:moveTo>
                <a:lnTo>
                  <a:pt x="227075" y="38100"/>
                </a:lnTo>
                <a:lnTo>
                  <a:pt x="239141" y="38100"/>
                </a:lnTo>
                <a:lnTo>
                  <a:pt x="234314" y="33020"/>
                </a:lnTo>
                <a:close/>
              </a:path>
              <a:path w="698500" h="759460">
                <a:moveTo>
                  <a:pt x="193167" y="0"/>
                </a:moveTo>
                <a:lnTo>
                  <a:pt x="183100" y="0"/>
                </a:lnTo>
                <a:lnTo>
                  <a:pt x="165681" y="2539"/>
                </a:lnTo>
                <a:lnTo>
                  <a:pt x="156972" y="2539"/>
                </a:lnTo>
                <a:lnTo>
                  <a:pt x="156972" y="5080"/>
                </a:lnTo>
                <a:lnTo>
                  <a:pt x="159385" y="5080"/>
                </a:lnTo>
                <a:lnTo>
                  <a:pt x="159385" y="7620"/>
                </a:lnTo>
                <a:lnTo>
                  <a:pt x="152146" y="10160"/>
                </a:lnTo>
                <a:lnTo>
                  <a:pt x="200289" y="10160"/>
                </a:lnTo>
                <a:lnTo>
                  <a:pt x="193167" y="0"/>
                </a:lnTo>
                <a:close/>
              </a:path>
            </a:pathLst>
          </a:custGeom>
          <a:solidFill>
            <a:srgbClr val="FFFFFF"/>
          </a:solidFill>
        </p:spPr>
        <p:txBody>
          <a:bodyPr wrap="square" lIns="0" tIns="0" rIns="0" bIns="0" rtlCol="0"/>
          <a:lstStyle/>
          <a:p>
            <a:endParaRPr/>
          </a:p>
        </p:txBody>
      </p:sp>
      <p:sp>
        <p:nvSpPr>
          <p:cNvPr id="32" name="object 32"/>
          <p:cNvSpPr txBox="1"/>
          <p:nvPr/>
        </p:nvSpPr>
        <p:spPr>
          <a:xfrm>
            <a:off x="1879854" y="3282591"/>
            <a:ext cx="1719580" cy="1002665"/>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2B133C"/>
                </a:solidFill>
                <a:latin typeface="Verdana"/>
                <a:cs typeface="Verdana"/>
              </a:rPr>
              <a:t>1274</a:t>
            </a:r>
            <a:endParaRPr sz="2800">
              <a:latin typeface="Verdana"/>
              <a:cs typeface="Verdana"/>
            </a:endParaRPr>
          </a:p>
          <a:p>
            <a:pPr marL="12700" marR="5080">
              <a:lnSpc>
                <a:spcPct val="100000"/>
              </a:lnSpc>
              <a:spcBef>
                <a:spcPts val="330"/>
              </a:spcBef>
            </a:pPr>
            <a:r>
              <a:rPr sz="1400">
                <a:solidFill>
                  <a:srgbClr val="2B133C"/>
                </a:solidFill>
                <a:latin typeface="Verdana"/>
                <a:cs typeface="Verdana"/>
              </a:rPr>
              <a:t>North America</a:t>
            </a:r>
            <a:r>
              <a:rPr sz="1400" spc="-114">
                <a:solidFill>
                  <a:srgbClr val="2B133C"/>
                </a:solidFill>
                <a:latin typeface="Verdana"/>
                <a:cs typeface="Verdana"/>
              </a:rPr>
              <a:t> </a:t>
            </a:r>
            <a:r>
              <a:rPr sz="1400" spc="-5">
                <a:solidFill>
                  <a:srgbClr val="2B133C"/>
                </a:solidFill>
                <a:latin typeface="Verdana"/>
                <a:cs typeface="Verdana"/>
              </a:rPr>
              <a:t>CoE  </a:t>
            </a:r>
            <a:r>
              <a:rPr sz="1400">
                <a:solidFill>
                  <a:srgbClr val="2B133C"/>
                </a:solidFill>
                <a:latin typeface="Verdana"/>
                <a:cs typeface="Verdana"/>
              </a:rPr>
              <a:t>certifications</a:t>
            </a:r>
            <a:endParaRPr sz="1400">
              <a:latin typeface="Verdana"/>
              <a:cs typeface="Verdana"/>
            </a:endParaRPr>
          </a:p>
        </p:txBody>
      </p:sp>
      <p:sp>
        <p:nvSpPr>
          <p:cNvPr id="33" name="object 33"/>
          <p:cNvSpPr/>
          <p:nvPr/>
        </p:nvSpPr>
        <p:spPr>
          <a:xfrm>
            <a:off x="463549" y="3314683"/>
            <a:ext cx="1085603" cy="1037095"/>
          </a:xfrm>
          <a:prstGeom prst="rect">
            <a:avLst/>
          </a:prstGeom>
          <a:blipFill>
            <a:blip r:embed="rId7" cstate="print"/>
            <a:stretch>
              <a:fillRect/>
            </a:stretch>
          </a:blipFill>
        </p:spPr>
        <p:txBody>
          <a:bodyPr wrap="square" lIns="0" tIns="0" rIns="0" bIns="0" rtlCol="0"/>
          <a:lstStyle/>
          <a:p>
            <a:endParaRPr/>
          </a:p>
        </p:txBody>
      </p:sp>
      <p:sp>
        <p:nvSpPr>
          <p:cNvPr id="34" name="object 34"/>
          <p:cNvSpPr/>
          <p:nvPr/>
        </p:nvSpPr>
        <p:spPr>
          <a:xfrm>
            <a:off x="1694688" y="3314700"/>
            <a:ext cx="0" cy="1024255"/>
          </a:xfrm>
          <a:custGeom>
            <a:avLst/>
            <a:gdLst/>
            <a:ahLst/>
            <a:cxnLst/>
            <a:rect l="l" t="t" r="r" b="b"/>
            <a:pathLst>
              <a:path h="1024254">
                <a:moveTo>
                  <a:pt x="0" y="0"/>
                </a:moveTo>
                <a:lnTo>
                  <a:pt x="0" y="1024127"/>
                </a:lnTo>
              </a:path>
            </a:pathLst>
          </a:custGeom>
          <a:ln w="36575">
            <a:solidFill>
              <a:srgbClr val="006FAC"/>
            </a:solidFill>
          </a:ln>
        </p:spPr>
        <p:txBody>
          <a:bodyPr wrap="square" lIns="0" tIns="0" rIns="0" bIns="0" rtlCol="0"/>
          <a:lstStyle/>
          <a:p>
            <a:endParaRPr/>
          </a:p>
        </p:txBody>
      </p:sp>
      <p:sp>
        <p:nvSpPr>
          <p:cNvPr id="35" name="object 35"/>
          <p:cNvSpPr txBox="1"/>
          <p:nvPr/>
        </p:nvSpPr>
        <p:spPr>
          <a:xfrm>
            <a:off x="9884791" y="3262778"/>
            <a:ext cx="1165860" cy="1002030"/>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2B133C"/>
                </a:solidFill>
                <a:latin typeface="Verdana"/>
                <a:cs typeface="Verdana"/>
              </a:rPr>
              <a:t>2473</a:t>
            </a:r>
            <a:endParaRPr sz="2800">
              <a:latin typeface="Verdana"/>
              <a:cs typeface="Verdana"/>
            </a:endParaRPr>
          </a:p>
          <a:p>
            <a:pPr marL="12700" marR="5080">
              <a:lnSpc>
                <a:spcPct val="100000"/>
              </a:lnSpc>
              <a:spcBef>
                <a:spcPts val="325"/>
              </a:spcBef>
            </a:pPr>
            <a:r>
              <a:rPr sz="1400" spc="-5">
                <a:solidFill>
                  <a:srgbClr val="2B133C"/>
                </a:solidFill>
                <a:latin typeface="Verdana"/>
                <a:cs typeface="Verdana"/>
              </a:rPr>
              <a:t>Europe CoE  </a:t>
            </a:r>
            <a:r>
              <a:rPr sz="1400">
                <a:solidFill>
                  <a:srgbClr val="2B133C"/>
                </a:solidFill>
                <a:latin typeface="Verdana"/>
                <a:cs typeface="Verdana"/>
              </a:rPr>
              <a:t>cer</a:t>
            </a:r>
            <a:r>
              <a:rPr sz="1400" spc="-5">
                <a:solidFill>
                  <a:srgbClr val="2B133C"/>
                </a:solidFill>
                <a:latin typeface="Verdana"/>
                <a:cs typeface="Verdana"/>
              </a:rPr>
              <a:t>t</a:t>
            </a:r>
            <a:r>
              <a:rPr sz="1400" spc="10">
                <a:solidFill>
                  <a:srgbClr val="2B133C"/>
                </a:solidFill>
                <a:latin typeface="Verdana"/>
                <a:cs typeface="Verdana"/>
              </a:rPr>
              <a:t>i</a:t>
            </a:r>
            <a:r>
              <a:rPr sz="1400">
                <a:solidFill>
                  <a:srgbClr val="2B133C"/>
                </a:solidFill>
                <a:latin typeface="Verdana"/>
                <a:cs typeface="Verdana"/>
              </a:rPr>
              <a:t>f</a:t>
            </a:r>
            <a:r>
              <a:rPr sz="1400" spc="10">
                <a:solidFill>
                  <a:srgbClr val="2B133C"/>
                </a:solidFill>
                <a:latin typeface="Verdana"/>
                <a:cs typeface="Verdana"/>
              </a:rPr>
              <a:t>i</a:t>
            </a:r>
            <a:r>
              <a:rPr sz="1400">
                <a:solidFill>
                  <a:srgbClr val="2B133C"/>
                </a:solidFill>
                <a:latin typeface="Verdana"/>
                <a:cs typeface="Verdana"/>
              </a:rPr>
              <a:t>c</a:t>
            </a:r>
            <a:r>
              <a:rPr sz="1400" spc="-20">
                <a:solidFill>
                  <a:srgbClr val="2B133C"/>
                </a:solidFill>
                <a:latin typeface="Verdana"/>
                <a:cs typeface="Verdana"/>
              </a:rPr>
              <a:t>a</a:t>
            </a:r>
            <a:r>
              <a:rPr sz="1400" spc="-5">
                <a:solidFill>
                  <a:srgbClr val="2B133C"/>
                </a:solidFill>
                <a:latin typeface="Verdana"/>
                <a:cs typeface="Verdana"/>
              </a:rPr>
              <a:t>t</a:t>
            </a:r>
            <a:r>
              <a:rPr sz="1400" spc="10">
                <a:solidFill>
                  <a:srgbClr val="2B133C"/>
                </a:solidFill>
                <a:latin typeface="Verdana"/>
                <a:cs typeface="Verdana"/>
              </a:rPr>
              <a:t>i</a:t>
            </a:r>
            <a:r>
              <a:rPr sz="1400" spc="-15">
                <a:solidFill>
                  <a:srgbClr val="2B133C"/>
                </a:solidFill>
                <a:latin typeface="Verdana"/>
                <a:cs typeface="Verdana"/>
              </a:rPr>
              <a:t>o</a:t>
            </a:r>
            <a:r>
              <a:rPr sz="1400">
                <a:solidFill>
                  <a:srgbClr val="2B133C"/>
                </a:solidFill>
                <a:latin typeface="Verdana"/>
                <a:cs typeface="Verdana"/>
              </a:rPr>
              <a:t>ns</a:t>
            </a:r>
            <a:endParaRPr sz="1400">
              <a:latin typeface="Verdana"/>
              <a:cs typeface="Verdana"/>
            </a:endParaRPr>
          </a:p>
        </p:txBody>
      </p:sp>
      <p:sp>
        <p:nvSpPr>
          <p:cNvPr id="36" name="object 36"/>
          <p:cNvSpPr/>
          <p:nvPr/>
        </p:nvSpPr>
        <p:spPr>
          <a:xfrm>
            <a:off x="8464532" y="3314683"/>
            <a:ext cx="1085618" cy="1037095"/>
          </a:xfrm>
          <a:prstGeom prst="rect">
            <a:avLst/>
          </a:prstGeom>
          <a:blipFill>
            <a:blip r:embed="rId8" cstate="print"/>
            <a:stretch>
              <a:fillRect/>
            </a:stretch>
          </a:blipFill>
        </p:spPr>
        <p:txBody>
          <a:bodyPr wrap="square" lIns="0" tIns="0" rIns="0" bIns="0" rtlCol="0"/>
          <a:lstStyle/>
          <a:p>
            <a:endParaRPr/>
          </a:p>
        </p:txBody>
      </p:sp>
      <p:sp>
        <p:nvSpPr>
          <p:cNvPr id="37" name="object 37"/>
          <p:cNvSpPr/>
          <p:nvPr/>
        </p:nvSpPr>
        <p:spPr>
          <a:xfrm>
            <a:off x="9694164" y="3314700"/>
            <a:ext cx="0" cy="1024255"/>
          </a:xfrm>
          <a:custGeom>
            <a:avLst/>
            <a:gdLst/>
            <a:ahLst/>
            <a:cxnLst/>
            <a:rect l="l" t="t" r="r" b="b"/>
            <a:pathLst>
              <a:path h="1024254">
                <a:moveTo>
                  <a:pt x="0" y="0"/>
                </a:moveTo>
                <a:lnTo>
                  <a:pt x="0" y="1024127"/>
                </a:lnTo>
              </a:path>
            </a:pathLst>
          </a:custGeom>
          <a:ln w="36575">
            <a:solidFill>
              <a:srgbClr val="006FAC"/>
            </a:solidFill>
          </a:ln>
        </p:spPr>
        <p:txBody>
          <a:bodyPr wrap="square" lIns="0" tIns="0" rIns="0" bIns="0" rtlCol="0"/>
          <a:lstStyle/>
          <a:p>
            <a:endParaRPr/>
          </a:p>
        </p:txBody>
      </p:sp>
      <p:sp>
        <p:nvSpPr>
          <p:cNvPr id="38" name="object 38"/>
          <p:cNvSpPr txBox="1"/>
          <p:nvPr/>
        </p:nvSpPr>
        <p:spPr>
          <a:xfrm>
            <a:off x="1906904" y="5184237"/>
            <a:ext cx="1856739" cy="1002665"/>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00C37A"/>
                </a:solidFill>
                <a:latin typeface="Verdana"/>
                <a:cs typeface="Verdana"/>
              </a:rPr>
              <a:t>415</a:t>
            </a:r>
            <a:endParaRPr sz="2800">
              <a:latin typeface="Verdana"/>
              <a:cs typeface="Verdana"/>
            </a:endParaRPr>
          </a:p>
          <a:p>
            <a:pPr marL="12700">
              <a:lnSpc>
                <a:spcPct val="100000"/>
              </a:lnSpc>
              <a:spcBef>
                <a:spcPts val="330"/>
              </a:spcBef>
            </a:pPr>
            <a:r>
              <a:rPr sz="1400">
                <a:solidFill>
                  <a:srgbClr val="2B133C"/>
                </a:solidFill>
                <a:latin typeface="Verdana"/>
                <a:cs typeface="Verdana"/>
              </a:rPr>
              <a:t>certified Sales</a:t>
            </a:r>
            <a:r>
              <a:rPr sz="1400" spc="-85">
                <a:solidFill>
                  <a:srgbClr val="2B133C"/>
                </a:solidFill>
                <a:latin typeface="Verdana"/>
                <a:cs typeface="Verdana"/>
              </a:rPr>
              <a:t> </a:t>
            </a:r>
            <a:r>
              <a:rPr sz="1400">
                <a:solidFill>
                  <a:srgbClr val="2B133C"/>
                </a:solidFill>
                <a:latin typeface="Verdana"/>
                <a:cs typeface="Verdana"/>
              </a:rPr>
              <a:t>Cloud</a:t>
            </a:r>
            <a:endParaRPr sz="1400">
              <a:latin typeface="Verdana"/>
              <a:cs typeface="Verdana"/>
            </a:endParaRPr>
          </a:p>
          <a:p>
            <a:pPr marL="12700">
              <a:lnSpc>
                <a:spcPct val="100000"/>
              </a:lnSpc>
            </a:pPr>
            <a:r>
              <a:rPr sz="1400">
                <a:solidFill>
                  <a:srgbClr val="2B133C"/>
                </a:solidFill>
                <a:latin typeface="Verdana"/>
                <a:cs typeface="Verdana"/>
              </a:rPr>
              <a:t>consultants</a:t>
            </a:r>
            <a:endParaRPr sz="1400">
              <a:latin typeface="Verdana"/>
              <a:cs typeface="Verdana"/>
            </a:endParaRPr>
          </a:p>
        </p:txBody>
      </p:sp>
      <p:sp>
        <p:nvSpPr>
          <p:cNvPr id="39" name="object 39"/>
          <p:cNvSpPr/>
          <p:nvPr/>
        </p:nvSpPr>
        <p:spPr>
          <a:xfrm>
            <a:off x="463549" y="5216554"/>
            <a:ext cx="1085850" cy="1036319"/>
          </a:xfrm>
          <a:custGeom>
            <a:avLst/>
            <a:gdLst/>
            <a:ahLst/>
            <a:cxnLst/>
            <a:rect l="l" t="t" r="r" b="b"/>
            <a:pathLst>
              <a:path w="1085850" h="1036320">
                <a:moveTo>
                  <a:pt x="537382" y="0"/>
                </a:moveTo>
                <a:lnTo>
                  <a:pt x="490784" y="2933"/>
                </a:lnTo>
                <a:lnTo>
                  <a:pt x="444417" y="9763"/>
                </a:lnTo>
                <a:lnTo>
                  <a:pt x="398552" y="20529"/>
                </a:lnTo>
                <a:lnTo>
                  <a:pt x="353463" y="35270"/>
                </a:lnTo>
                <a:lnTo>
                  <a:pt x="309421" y="54024"/>
                </a:lnTo>
                <a:lnTo>
                  <a:pt x="266698" y="76831"/>
                </a:lnTo>
                <a:lnTo>
                  <a:pt x="225565" y="103729"/>
                </a:lnTo>
                <a:lnTo>
                  <a:pt x="186605" y="134110"/>
                </a:lnTo>
                <a:lnTo>
                  <a:pt x="151202" y="167126"/>
                </a:lnTo>
                <a:lnTo>
                  <a:pt x="119401" y="202518"/>
                </a:lnTo>
                <a:lnTo>
                  <a:pt x="91247" y="240027"/>
                </a:lnTo>
                <a:lnTo>
                  <a:pt x="66784" y="279394"/>
                </a:lnTo>
                <a:lnTo>
                  <a:pt x="46056" y="320360"/>
                </a:lnTo>
                <a:lnTo>
                  <a:pt x="29108" y="362665"/>
                </a:lnTo>
                <a:lnTo>
                  <a:pt x="15984" y="406052"/>
                </a:lnTo>
                <a:lnTo>
                  <a:pt x="6728" y="450259"/>
                </a:lnTo>
                <a:lnTo>
                  <a:pt x="1385" y="495029"/>
                </a:lnTo>
                <a:lnTo>
                  <a:pt x="0" y="540103"/>
                </a:lnTo>
                <a:lnTo>
                  <a:pt x="2615" y="585220"/>
                </a:lnTo>
                <a:lnTo>
                  <a:pt x="9277" y="630123"/>
                </a:lnTo>
                <a:lnTo>
                  <a:pt x="20029" y="674552"/>
                </a:lnTo>
                <a:lnTo>
                  <a:pt x="34915" y="718248"/>
                </a:lnTo>
                <a:lnTo>
                  <a:pt x="53981" y="760952"/>
                </a:lnTo>
                <a:lnTo>
                  <a:pt x="77270" y="802405"/>
                </a:lnTo>
                <a:lnTo>
                  <a:pt x="104826" y="842348"/>
                </a:lnTo>
                <a:lnTo>
                  <a:pt x="135824" y="879012"/>
                </a:lnTo>
                <a:lnTo>
                  <a:pt x="169257" y="911778"/>
                </a:lnTo>
                <a:lnTo>
                  <a:pt x="204896" y="940664"/>
                </a:lnTo>
                <a:lnTo>
                  <a:pt x="242513" y="965688"/>
                </a:lnTo>
                <a:lnTo>
                  <a:pt x="281881" y="986868"/>
                </a:lnTo>
                <a:lnTo>
                  <a:pt x="322772" y="1004222"/>
                </a:lnTo>
                <a:lnTo>
                  <a:pt x="364959" y="1017768"/>
                </a:lnTo>
                <a:lnTo>
                  <a:pt x="408213" y="1027524"/>
                </a:lnTo>
                <a:lnTo>
                  <a:pt x="452308" y="1033507"/>
                </a:lnTo>
                <a:lnTo>
                  <a:pt x="497014" y="1035735"/>
                </a:lnTo>
                <a:lnTo>
                  <a:pt x="542105" y="1034227"/>
                </a:lnTo>
                <a:lnTo>
                  <a:pt x="587353" y="1028999"/>
                </a:lnTo>
                <a:lnTo>
                  <a:pt x="632529" y="1020071"/>
                </a:lnTo>
                <a:lnTo>
                  <a:pt x="677407" y="1007460"/>
                </a:lnTo>
                <a:lnTo>
                  <a:pt x="721759" y="991183"/>
                </a:lnTo>
                <a:lnTo>
                  <a:pt x="765356" y="971260"/>
                </a:lnTo>
                <a:lnTo>
                  <a:pt x="807971" y="947706"/>
                </a:lnTo>
                <a:lnTo>
                  <a:pt x="849376" y="920542"/>
                </a:lnTo>
                <a:lnTo>
                  <a:pt x="888057" y="890433"/>
                </a:lnTo>
                <a:lnTo>
                  <a:pt x="923562" y="858167"/>
                </a:lnTo>
                <a:lnTo>
                  <a:pt x="955805" y="823946"/>
                </a:lnTo>
                <a:lnTo>
                  <a:pt x="984695" y="787973"/>
                </a:lnTo>
                <a:lnTo>
                  <a:pt x="1010144" y="750450"/>
                </a:lnTo>
                <a:lnTo>
                  <a:pt x="1032064" y="711581"/>
                </a:lnTo>
                <a:lnTo>
                  <a:pt x="1050364" y="671567"/>
                </a:lnTo>
                <a:lnTo>
                  <a:pt x="1064957" y="630611"/>
                </a:lnTo>
                <a:lnTo>
                  <a:pt x="1075754" y="588916"/>
                </a:lnTo>
                <a:lnTo>
                  <a:pt x="1082665" y="546685"/>
                </a:lnTo>
                <a:lnTo>
                  <a:pt x="1085603" y="504120"/>
                </a:lnTo>
                <a:lnTo>
                  <a:pt x="1084477" y="461424"/>
                </a:lnTo>
                <a:lnTo>
                  <a:pt x="1079199" y="418799"/>
                </a:lnTo>
                <a:lnTo>
                  <a:pt x="1069681" y="376448"/>
                </a:lnTo>
                <a:lnTo>
                  <a:pt x="1055834" y="334574"/>
                </a:lnTo>
                <a:lnTo>
                  <a:pt x="1037568" y="293379"/>
                </a:lnTo>
                <a:lnTo>
                  <a:pt x="1014795" y="253066"/>
                </a:lnTo>
                <a:lnTo>
                  <a:pt x="987425" y="213838"/>
                </a:lnTo>
                <a:lnTo>
                  <a:pt x="956236" y="176465"/>
                </a:lnTo>
                <a:lnTo>
                  <a:pt x="922287" y="142562"/>
                </a:lnTo>
                <a:lnTo>
                  <a:pt x="885848" y="112169"/>
                </a:lnTo>
                <a:lnTo>
                  <a:pt x="847193" y="85323"/>
                </a:lnTo>
                <a:lnTo>
                  <a:pt x="806593" y="62064"/>
                </a:lnTo>
                <a:lnTo>
                  <a:pt x="764320" y="42430"/>
                </a:lnTo>
                <a:lnTo>
                  <a:pt x="720646" y="26460"/>
                </a:lnTo>
                <a:lnTo>
                  <a:pt x="675843" y="14194"/>
                </a:lnTo>
                <a:lnTo>
                  <a:pt x="630184" y="5669"/>
                </a:lnTo>
                <a:lnTo>
                  <a:pt x="583940" y="924"/>
                </a:lnTo>
                <a:lnTo>
                  <a:pt x="537382" y="0"/>
                </a:lnTo>
                <a:close/>
              </a:path>
            </a:pathLst>
          </a:custGeom>
          <a:solidFill>
            <a:srgbClr val="00C37A"/>
          </a:solidFill>
        </p:spPr>
        <p:txBody>
          <a:bodyPr wrap="square" lIns="0" tIns="0" rIns="0" bIns="0" rtlCol="0"/>
          <a:lstStyle/>
          <a:p>
            <a:endParaRPr/>
          </a:p>
        </p:txBody>
      </p:sp>
      <p:sp>
        <p:nvSpPr>
          <p:cNvPr id="40" name="object 40"/>
          <p:cNvSpPr/>
          <p:nvPr/>
        </p:nvSpPr>
        <p:spPr>
          <a:xfrm>
            <a:off x="767499" y="5389371"/>
            <a:ext cx="169900" cy="180340"/>
          </a:xfrm>
          <a:prstGeom prst="rect">
            <a:avLst/>
          </a:prstGeom>
          <a:blipFill>
            <a:blip r:embed="rId9" cstate="print"/>
            <a:stretch>
              <a:fillRect/>
            </a:stretch>
          </a:blipFill>
        </p:spPr>
        <p:txBody>
          <a:bodyPr wrap="square" lIns="0" tIns="0" rIns="0" bIns="0" rtlCol="0"/>
          <a:lstStyle/>
          <a:p>
            <a:endParaRPr/>
          </a:p>
        </p:txBody>
      </p:sp>
      <p:sp>
        <p:nvSpPr>
          <p:cNvPr id="41" name="object 41"/>
          <p:cNvSpPr/>
          <p:nvPr/>
        </p:nvSpPr>
        <p:spPr>
          <a:xfrm>
            <a:off x="696117" y="5614235"/>
            <a:ext cx="320675" cy="182880"/>
          </a:xfrm>
          <a:custGeom>
            <a:avLst/>
            <a:gdLst/>
            <a:ahLst/>
            <a:cxnLst/>
            <a:rect l="l" t="t" r="r" b="b"/>
            <a:pathLst>
              <a:path w="320675" h="182879">
                <a:moveTo>
                  <a:pt x="135015" y="0"/>
                </a:moveTo>
                <a:lnTo>
                  <a:pt x="84107" y="11741"/>
                </a:lnTo>
                <a:lnTo>
                  <a:pt x="44881" y="36211"/>
                </a:lnTo>
                <a:lnTo>
                  <a:pt x="17284" y="69338"/>
                </a:lnTo>
                <a:lnTo>
                  <a:pt x="1264" y="107050"/>
                </a:lnTo>
                <a:lnTo>
                  <a:pt x="0" y="130618"/>
                </a:lnTo>
                <a:lnTo>
                  <a:pt x="7940" y="151467"/>
                </a:lnTo>
                <a:lnTo>
                  <a:pt x="23483" y="167284"/>
                </a:lnTo>
                <a:lnTo>
                  <a:pt x="45028" y="175757"/>
                </a:lnTo>
                <a:lnTo>
                  <a:pt x="104265" y="182565"/>
                </a:lnTo>
                <a:lnTo>
                  <a:pt x="156028" y="182277"/>
                </a:lnTo>
                <a:lnTo>
                  <a:pt x="201921" y="177635"/>
                </a:lnTo>
                <a:lnTo>
                  <a:pt x="243544" y="171384"/>
                </a:lnTo>
                <a:lnTo>
                  <a:pt x="282500" y="166266"/>
                </a:lnTo>
                <a:lnTo>
                  <a:pt x="320390" y="165026"/>
                </a:lnTo>
                <a:lnTo>
                  <a:pt x="320173" y="155343"/>
                </a:lnTo>
                <a:lnTo>
                  <a:pt x="319456" y="145563"/>
                </a:lnTo>
                <a:lnTo>
                  <a:pt x="300311" y="82961"/>
                </a:lnTo>
                <a:lnTo>
                  <a:pt x="273697" y="47466"/>
                </a:lnTo>
                <a:lnTo>
                  <a:pt x="238679" y="20828"/>
                </a:lnTo>
                <a:lnTo>
                  <a:pt x="197657" y="5056"/>
                </a:lnTo>
                <a:lnTo>
                  <a:pt x="135015" y="0"/>
                </a:lnTo>
                <a:close/>
              </a:path>
            </a:pathLst>
          </a:custGeom>
          <a:solidFill>
            <a:srgbClr val="FFFFFF"/>
          </a:solidFill>
        </p:spPr>
        <p:txBody>
          <a:bodyPr wrap="square" lIns="0" tIns="0" rIns="0" bIns="0" rtlCol="0"/>
          <a:lstStyle/>
          <a:p>
            <a:endParaRPr/>
          </a:p>
        </p:txBody>
      </p:sp>
      <p:sp>
        <p:nvSpPr>
          <p:cNvPr id="42" name="object 42"/>
          <p:cNvSpPr/>
          <p:nvPr/>
        </p:nvSpPr>
        <p:spPr>
          <a:xfrm>
            <a:off x="1032357" y="5358129"/>
            <a:ext cx="207111" cy="219963"/>
          </a:xfrm>
          <a:prstGeom prst="rect">
            <a:avLst/>
          </a:prstGeom>
          <a:blipFill>
            <a:blip r:embed="rId10" cstate="print"/>
            <a:stretch>
              <a:fillRect/>
            </a:stretch>
          </a:blipFill>
        </p:spPr>
        <p:txBody>
          <a:bodyPr wrap="square" lIns="0" tIns="0" rIns="0" bIns="0" rtlCol="0"/>
          <a:lstStyle/>
          <a:p>
            <a:endParaRPr/>
          </a:p>
        </p:txBody>
      </p:sp>
      <p:sp>
        <p:nvSpPr>
          <p:cNvPr id="43" name="object 43"/>
          <p:cNvSpPr/>
          <p:nvPr/>
        </p:nvSpPr>
        <p:spPr>
          <a:xfrm>
            <a:off x="938093" y="5629399"/>
            <a:ext cx="383540" cy="219075"/>
          </a:xfrm>
          <a:custGeom>
            <a:avLst/>
            <a:gdLst/>
            <a:ahLst/>
            <a:cxnLst/>
            <a:rect l="l" t="t" r="r" b="b"/>
            <a:pathLst>
              <a:path w="383540" h="219075">
                <a:moveTo>
                  <a:pt x="207043" y="0"/>
                </a:moveTo>
                <a:lnTo>
                  <a:pt x="145711" y="7368"/>
                </a:lnTo>
                <a:lnTo>
                  <a:pt x="96572" y="26019"/>
                </a:lnTo>
                <a:lnTo>
                  <a:pt x="55057" y="57819"/>
                </a:lnTo>
                <a:lnTo>
                  <a:pt x="23569" y="100258"/>
                </a:lnTo>
                <a:lnTo>
                  <a:pt x="4513" y="150827"/>
                </a:lnTo>
                <a:lnTo>
                  <a:pt x="0" y="187564"/>
                </a:lnTo>
                <a:lnTo>
                  <a:pt x="233" y="199011"/>
                </a:lnTo>
                <a:lnTo>
                  <a:pt x="38676" y="199660"/>
                </a:lnTo>
                <a:lnTo>
                  <a:pt x="77775" y="203962"/>
                </a:lnTo>
                <a:lnTo>
                  <a:pt x="118708" y="209932"/>
                </a:lnTo>
                <a:lnTo>
                  <a:pt x="162654" y="215585"/>
                </a:lnTo>
                <a:lnTo>
                  <a:pt x="210791" y="218935"/>
                </a:lnTo>
                <a:lnTo>
                  <a:pt x="264296" y="217996"/>
                </a:lnTo>
                <a:lnTo>
                  <a:pt x="324349" y="210784"/>
                </a:lnTo>
                <a:lnTo>
                  <a:pt x="353027" y="199392"/>
                </a:lnTo>
                <a:lnTo>
                  <a:pt x="373411" y="177463"/>
                </a:lnTo>
                <a:lnTo>
                  <a:pt x="383187" y="148909"/>
                </a:lnTo>
                <a:lnTo>
                  <a:pt x="380039" y="117642"/>
                </a:lnTo>
                <a:lnTo>
                  <a:pt x="363263" y="81741"/>
                </a:lnTo>
                <a:lnTo>
                  <a:pt x="337575" y="49559"/>
                </a:lnTo>
                <a:lnTo>
                  <a:pt x="302975" y="23562"/>
                </a:lnTo>
                <a:lnTo>
                  <a:pt x="259464" y="6220"/>
                </a:lnTo>
                <a:lnTo>
                  <a:pt x="207043" y="0"/>
                </a:lnTo>
                <a:close/>
              </a:path>
            </a:pathLst>
          </a:custGeom>
          <a:solidFill>
            <a:srgbClr val="FFFFFF"/>
          </a:solidFill>
        </p:spPr>
        <p:txBody>
          <a:bodyPr wrap="square" lIns="0" tIns="0" rIns="0" bIns="0" rtlCol="0"/>
          <a:lstStyle/>
          <a:p>
            <a:endParaRPr/>
          </a:p>
        </p:txBody>
      </p:sp>
      <p:sp>
        <p:nvSpPr>
          <p:cNvPr id="44" name="object 44"/>
          <p:cNvSpPr/>
          <p:nvPr/>
        </p:nvSpPr>
        <p:spPr>
          <a:xfrm>
            <a:off x="768273" y="5849492"/>
            <a:ext cx="401320" cy="236854"/>
          </a:xfrm>
          <a:custGeom>
            <a:avLst/>
            <a:gdLst/>
            <a:ahLst/>
            <a:cxnLst/>
            <a:rect l="l" t="t" r="r" b="b"/>
            <a:pathLst>
              <a:path w="401319" h="236854">
                <a:moveTo>
                  <a:pt x="54324" y="85423"/>
                </a:moveTo>
                <a:lnTo>
                  <a:pt x="27866" y="96585"/>
                </a:lnTo>
                <a:lnTo>
                  <a:pt x="7471" y="118693"/>
                </a:lnTo>
                <a:lnTo>
                  <a:pt x="0" y="151104"/>
                </a:lnTo>
                <a:lnTo>
                  <a:pt x="14512" y="199730"/>
                </a:lnTo>
                <a:lnTo>
                  <a:pt x="48712" y="226104"/>
                </a:lnTo>
                <a:lnTo>
                  <a:pt x="91652" y="236407"/>
                </a:lnTo>
                <a:lnTo>
                  <a:pt x="132386" y="236820"/>
                </a:lnTo>
                <a:lnTo>
                  <a:pt x="159969" y="233527"/>
                </a:lnTo>
                <a:lnTo>
                  <a:pt x="196930" y="225180"/>
                </a:lnTo>
                <a:lnTo>
                  <a:pt x="242506" y="211845"/>
                </a:lnTo>
                <a:lnTo>
                  <a:pt x="294464" y="199476"/>
                </a:lnTo>
                <a:lnTo>
                  <a:pt x="350570" y="194030"/>
                </a:lnTo>
                <a:lnTo>
                  <a:pt x="393173" y="194030"/>
                </a:lnTo>
                <a:lnTo>
                  <a:pt x="397210" y="182200"/>
                </a:lnTo>
                <a:lnTo>
                  <a:pt x="400773" y="162480"/>
                </a:lnTo>
                <a:lnTo>
                  <a:pt x="400507" y="140508"/>
                </a:lnTo>
                <a:lnTo>
                  <a:pt x="394817" y="116763"/>
                </a:lnTo>
                <a:lnTo>
                  <a:pt x="378092" y="90630"/>
                </a:lnTo>
                <a:lnTo>
                  <a:pt x="371774" y="85851"/>
                </a:lnTo>
                <a:lnTo>
                  <a:pt x="79984" y="85851"/>
                </a:lnTo>
                <a:lnTo>
                  <a:pt x="54324" y="85423"/>
                </a:lnTo>
                <a:close/>
              </a:path>
              <a:path w="401319" h="236854">
                <a:moveTo>
                  <a:pt x="393173" y="194030"/>
                </a:moveTo>
                <a:lnTo>
                  <a:pt x="350570" y="194030"/>
                </a:lnTo>
                <a:lnTo>
                  <a:pt x="361738" y="194352"/>
                </a:lnTo>
                <a:lnTo>
                  <a:pt x="372268" y="195318"/>
                </a:lnTo>
                <a:lnTo>
                  <a:pt x="382160" y="196929"/>
                </a:lnTo>
                <a:lnTo>
                  <a:pt x="391413" y="199186"/>
                </a:lnTo>
                <a:lnTo>
                  <a:pt x="393173" y="194030"/>
                </a:lnTo>
                <a:close/>
              </a:path>
              <a:path w="401319" h="236854">
                <a:moveTo>
                  <a:pt x="187197" y="0"/>
                </a:moveTo>
                <a:lnTo>
                  <a:pt x="144121" y="9554"/>
                </a:lnTo>
                <a:lnTo>
                  <a:pt x="111893" y="30052"/>
                </a:lnTo>
                <a:lnTo>
                  <a:pt x="90514" y="56987"/>
                </a:lnTo>
                <a:lnTo>
                  <a:pt x="79984" y="85851"/>
                </a:lnTo>
                <a:lnTo>
                  <a:pt x="371774" y="85851"/>
                </a:lnTo>
                <a:lnTo>
                  <a:pt x="354187" y="72548"/>
                </a:lnTo>
                <a:lnTo>
                  <a:pt x="334330" y="66967"/>
                </a:lnTo>
                <a:lnTo>
                  <a:pt x="289306" y="66967"/>
                </a:lnTo>
                <a:lnTo>
                  <a:pt x="284360" y="56021"/>
                </a:lnTo>
                <a:lnTo>
                  <a:pt x="267608" y="32197"/>
                </a:lnTo>
                <a:lnTo>
                  <a:pt x="236177" y="9016"/>
                </a:lnTo>
                <a:lnTo>
                  <a:pt x="187197" y="0"/>
                </a:lnTo>
                <a:close/>
              </a:path>
              <a:path w="401319" h="236854">
                <a:moveTo>
                  <a:pt x="324219" y="64125"/>
                </a:moveTo>
                <a:lnTo>
                  <a:pt x="289306" y="66967"/>
                </a:lnTo>
                <a:lnTo>
                  <a:pt x="334330" y="66967"/>
                </a:lnTo>
                <a:lnTo>
                  <a:pt x="324219" y="64125"/>
                </a:lnTo>
                <a:close/>
              </a:path>
            </a:pathLst>
          </a:custGeom>
          <a:solidFill>
            <a:srgbClr val="FFFFFF"/>
          </a:solidFill>
        </p:spPr>
        <p:txBody>
          <a:bodyPr wrap="square" lIns="0" tIns="0" rIns="0" bIns="0" rtlCol="0"/>
          <a:lstStyle/>
          <a:p>
            <a:endParaRPr/>
          </a:p>
        </p:txBody>
      </p:sp>
      <p:sp>
        <p:nvSpPr>
          <p:cNvPr id="45" name="object 45"/>
          <p:cNvSpPr/>
          <p:nvPr/>
        </p:nvSpPr>
        <p:spPr>
          <a:xfrm>
            <a:off x="1694688" y="5216652"/>
            <a:ext cx="0" cy="1024255"/>
          </a:xfrm>
          <a:custGeom>
            <a:avLst/>
            <a:gdLst/>
            <a:ahLst/>
            <a:cxnLst/>
            <a:rect l="l" t="t" r="r" b="b"/>
            <a:pathLst>
              <a:path h="1024254">
                <a:moveTo>
                  <a:pt x="0" y="0"/>
                </a:moveTo>
                <a:lnTo>
                  <a:pt x="0" y="1024128"/>
                </a:lnTo>
              </a:path>
            </a:pathLst>
          </a:custGeom>
          <a:ln w="36575">
            <a:solidFill>
              <a:srgbClr val="00C37A"/>
            </a:solidFill>
          </a:ln>
        </p:spPr>
        <p:txBody>
          <a:bodyPr wrap="square" lIns="0" tIns="0" rIns="0" bIns="0" rtlCol="0"/>
          <a:lstStyle/>
          <a:p>
            <a:endParaRPr/>
          </a:p>
        </p:txBody>
      </p:sp>
      <p:sp>
        <p:nvSpPr>
          <p:cNvPr id="46" name="object 46"/>
          <p:cNvSpPr txBox="1"/>
          <p:nvPr/>
        </p:nvSpPr>
        <p:spPr>
          <a:xfrm>
            <a:off x="5986398" y="5184984"/>
            <a:ext cx="1616075" cy="1002030"/>
          </a:xfrm>
          <a:prstGeom prst="rect">
            <a:avLst/>
          </a:prstGeom>
        </p:spPr>
        <p:txBody>
          <a:bodyPr vert="horz" wrap="square" lIns="0" tIns="93345" rIns="0" bIns="0" rtlCol="0">
            <a:spAutoFit/>
          </a:bodyPr>
          <a:lstStyle/>
          <a:p>
            <a:pPr marL="12700">
              <a:lnSpc>
                <a:spcPct val="100000"/>
              </a:lnSpc>
              <a:spcBef>
                <a:spcPts val="735"/>
              </a:spcBef>
            </a:pPr>
            <a:r>
              <a:rPr sz="2800" b="1" spc="-5">
                <a:solidFill>
                  <a:srgbClr val="00C37A"/>
                </a:solidFill>
                <a:latin typeface="Verdana"/>
                <a:cs typeface="Verdana"/>
              </a:rPr>
              <a:t>409</a:t>
            </a:r>
            <a:endParaRPr sz="2800">
              <a:latin typeface="Verdana"/>
              <a:cs typeface="Verdana"/>
            </a:endParaRPr>
          </a:p>
          <a:p>
            <a:pPr marL="12700">
              <a:lnSpc>
                <a:spcPct val="100000"/>
              </a:lnSpc>
              <a:spcBef>
                <a:spcPts val="330"/>
              </a:spcBef>
            </a:pPr>
            <a:r>
              <a:rPr sz="1400">
                <a:solidFill>
                  <a:srgbClr val="2B133C"/>
                </a:solidFill>
                <a:latin typeface="Verdana"/>
                <a:cs typeface="Verdana"/>
              </a:rPr>
              <a:t>certified</a:t>
            </a:r>
            <a:r>
              <a:rPr sz="1400" spc="-50">
                <a:solidFill>
                  <a:srgbClr val="2B133C"/>
                </a:solidFill>
                <a:latin typeface="Verdana"/>
                <a:cs typeface="Verdana"/>
              </a:rPr>
              <a:t> </a:t>
            </a:r>
            <a:r>
              <a:rPr sz="1400">
                <a:solidFill>
                  <a:srgbClr val="2B133C"/>
                </a:solidFill>
                <a:latin typeface="Verdana"/>
                <a:cs typeface="Verdana"/>
              </a:rPr>
              <a:t>Service</a:t>
            </a:r>
            <a:endParaRPr sz="1400">
              <a:latin typeface="Verdana"/>
              <a:cs typeface="Verdana"/>
            </a:endParaRPr>
          </a:p>
          <a:p>
            <a:pPr marL="12700">
              <a:lnSpc>
                <a:spcPct val="100000"/>
              </a:lnSpc>
            </a:pPr>
            <a:r>
              <a:rPr sz="1400">
                <a:solidFill>
                  <a:srgbClr val="2B133C"/>
                </a:solidFill>
                <a:latin typeface="Verdana"/>
                <a:cs typeface="Verdana"/>
              </a:rPr>
              <a:t>Cloud</a:t>
            </a:r>
            <a:r>
              <a:rPr sz="1400" spc="-75">
                <a:solidFill>
                  <a:srgbClr val="2B133C"/>
                </a:solidFill>
                <a:latin typeface="Verdana"/>
                <a:cs typeface="Verdana"/>
              </a:rPr>
              <a:t> </a:t>
            </a:r>
            <a:r>
              <a:rPr sz="1400">
                <a:solidFill>
                  <a:srgbClr val="2B133C"/>
                </a:solidFill>
                <a:latin typeface="Verdana"/>
                <a:cs typeface="Verdana"/>
              </a:rPr>
              <a:t>consultants</a:t>
            </a:r>
            <a:endParaRPr sz="1400">
              <a:latin typeface="Verdana"/>
              <a:cs typeface="Verdana"/>
            </a:endParaRPr>
          </a:p>
        </p:txBody>
      </p:sp>
      <p:sp>
        <p:nvSpPr>
          <p:cNvPr id="47" name="object 47"/>
          <p:cNvSpPr/>
          <p:nvPr/>
        </p:nvSpPr>
        <p:spPr>
          <a:xfrm>
            <a:off x="4543229" y="5216554"/>
            <a:ext cx="1084580" cy="1036319"/>
          </a:xfrm>
          <a:custGeom>
            <a:avLst/>
            <a:gdLst/>
            <a:ahLst/>
            <a:cxnLst/>
            <a:rect l="l" t="t" r="r" b="b"/>
            <a:pathLst>
              <a:path w="1084579" h="1036320">
                <a:moveTo>
                  <a:pt x="536691" y="0"/>
                </a:moveTo>
                <a:lnTo>
                  <a:pt x="490147" y="2933"/>
                </a:lnTo>
                <a:lnTo>
                  <a:pt x="443832" y="9763"/>
                </a:lnTo>
                <a:lnTo>
                  <a:pt x="398020" y="20529"/>
                </a:lnTo>
                <a:lnTo>
                  <a:pt x="352983" y="35270"/>
                </a:lnTo>
                <a:lnTo>
                  <a:pt x="308992" y="54024"/>
                </a:lnTo>
                <a:lnTo>
                  <a:pt x="266320" y="76831"/>
                </a:lnTo>
                <a:lnTo>
                  <a:pt x="225239" y="103729"/>
                </a:lnTo>
                <a:lnTo>
                  <a:pt x="186338" y="134110"/>
                </a:lnTo>
                <a:lnTo>
                  <a:pt x="150989" y="167126"/>
                </a:lnTo>
                <a:lnTo>
                  <a:pt x="119235" y="202518"/>
                </a:lnTo>
                <a:lnTo>
                  <a:pt x="91122" y="240027"/>
                </a:lnTo>
                <a:lnTo>
                  <a:pt x="66694" y="279394"/>
                </a:lnTo>
                <a:lnTo>
                  <a:pt x="45995" y="320360"/>
                </a:lnTo>
                <a:lnTo>
                  <a:pt x="29070" y="362665"/>
                </a:lnTo>
                <a:lnTo>
                  <a:pt x="15963" y="406052"/>
                </a:lnTo>
                <a:lnTo>
                  <a:pt x="6719" y="450259"/>
                </a:lnTo>
                <a:lnTo>
                  <a:pt x="1383" y="495029"/>
                </a:lnTo>
                <a:lnTo>
                  <a:pt x="0" y="540103"/>
                </a:lnTo>
                <a:lnTo>
                  <a:pt x="2612" y="585220"/>
                </a:lnTo>
                <a:lnTo>
                  <a:pt x="9267" y="630123"/>
                </a:lnTo>
                <a:lnTo>
                  <a:pt x="20007" y="674552"/>
                </a:lnTo>
                <a:lnTo>
                  <a:pt x="34877" y="718248"/>
                </a:lnTo>
                <a:lnTo>
                  <a:pt x="53922" y="760952"/>
                </a:lnTo>
                <a:lnTo>
                  <a:pt x="77187" y="802405"/>
                </a:lnTo>
                <a:lnTo>
                  <a:pt x="104716" y="842348"/>
                </a:lnTo>
                <a:lnTo>
                  <a:pt x="135662" y="879012"/>
                </a:lnTo>
                <a:lnTo>
                  <a:pt x="169041" y="911778"/>
                </a:lnTo>
                <a:lnTo>
                  <a:pt x="204625" y="940664"/>
                </a:lnTo>
                <a:lnTo>
                  <a:pt x="242187" y="965688"/>
                </a:lnTo>
                <a:lnTo>
                  <a:pt x="281498" y="986868"/>
                </a:lnTo>
                <a:lnTo>
                  <a:pt x="322333" y="1004222"/>
                </a:lnTo>
                <a:lnTo>
                  <a:pt x="364462" y="1017768"/>
                </a:lnTo>
                <a:lnTo>
                  <a:pt x="407659" y="1027524"/>
                </a:lnTo>
                <a:lnTo>
                  <a:pt x="451696" y="1033507"/>
                </a:lnTo>
                <a:lnTo>
                  <a:pt x="496345" y="1035735"/>
                </a:lnTo>
                <a:lnTo>
                  <a:pt x="541380" y="1034227"/>
                </a:lnTo>
                <a:lnTo>
                  <a:pt x="586572" y="1028999"/>
                </a:lnTo>
                <a:lnTo>
                  <a:pt x="631695" y="1020071"/>
                </a:lnTo>
                <a:lnTo>
                  <a:pt x="676521" y="1007460"/>
                </a:lnTo>
                <a:lnTo>
                  <a:pt x="720821" y="991183"/>
                </a:lnTo>
                <a:lnTo>
                  <a:pt x="764370" y="971260"/>
                </a:lnTo>
                <a:lnTo>
                  <a:pt x="806939" y="947706"/>
                </a:lnTo>
                <a:lnTo>
                  <a:pt x="848301" y="920542"/>
                </a:lnTo>
                <a:lnTo>
                  <a:pt x="886940" y="890433"/>
                </a:lnTo>
                <a:lnTo>
                  <a:pt x="922407" y="858167"/>
                </a:lnTo>
                <a:lnTo>
                  <a:pt x="954613" y="823946"/>
                </a:lnTo>
                <a:lnTo>
                  <a:pt x="983470" y="787973"/>
                </a:lnTo>
                <a:lnTo>
                  <a:pt x="1008889" y="750450"/>
                </a:lnTo>
                <a:lnTo>
                  <a:pt x="1030781" y="711581"/>
                </a:lnTo>
                <a:lnTo>
                  <a:pt x="1049057" y="671567"/>
                </a:lnTo>
                <a:lnTo>
                  <a:pt x="1063629" y="630611"/>
                </a:lnTo>
                <a:lnTo>
                  <a:pt x="1074408" y="588916"/>
                </a:lnTo>
                <a:lnTo>
                  <a:pt x="1081306" y="546685"/>
                </a:lnTo>
                <a:lnTo>
                  <a:pt x="1084232" y="504120"/>
                </a:lnTo>
                <a:lnTo>
                  <a:pt x="1083100" y="461424"/>
                </a:lnTo>
                <a:lnTo>
                  <a:pt x="1077820" y="418799"/>
                </a:lnTo>
                <a:lnTo>
                  <a:pt x="1068303" y="376448"/>
                </a:lnTo>
                <a:lnTo>
                  <a:pt x="1054461" y="334574"/>
                </a:lnTo>
                <a:lnTo>
                  <a:pt x="1036205" y="293379"/>
                </a:lnTo>
                <a:lnTo>
                  <a:pt x="1013446" y="253066"/>
                </a:lnTo>
                <a:lnTo>
                  <a:pt x="986096" y="213838"/>
                </a:lnTo>
                <a:lnTo>
                  <a:pt x="954970" y="176465"/>
                </a:lnTo>
                <a:lnTo>
                  <a:pt x="921082" y="142562"/>
                </a:lnTo>
                <a:lnTo>
                  <a:pt x="884704" y="112169"/>
                </a:lnTo>
                <a:lnTo>
                  <a:pt x="846108" y="85323"/>
                </a:lnTo>
                <a:lnTo>
                  <a:pt x="805567" y="62064"/>
                </a:lnTo>
                <a:lnTo>
                  <a:pt x="763352" y="42430"/>
                </a:lnTo>
                <a:lnTo>
                  <a:pt x="719735" y="26460"/>
                </a:lnTo>
                <a:lnTo>
                  <a:pt x="674989" y="14194"/>
                </a:lnTo>
                <a:lnTo>
                  <a:pt x="629384" y="5669"/>
                </a:lnTo>
                <a:lnTo>
                  <a:pt x="583195" y="924"/>
                </a:lnTo>
                <a:lnTo>
                  <a:pt x="536691" y="0"/>
                </a:lnTo>
                <a:close/>
              </a:path>
            </a:pathLst>
          </a:custGeom>
          <a:solidFill>
            <a:srgbClr val="00C37A"/>
          </a:solidFill>
        </p:spPr>
        <p:txBody>
          <a:bodyPr wrap="square" lIns="0" tIns="0" rIns="0" bIns="0" rtlCol="0"/>
          <a:lstStyle/>
          <a:p>
            <a:endParaRPr/>
          </a:p>
        </p:txBody>
      </p:sp>
      <p:sp>
        <p:nvSpPr>
          <p:cNvPr id="48" name="object 48"/>
          <p:cNvSpPr/>
          <p:nvPr/>
        </p:nvSpPr>
        <p:spPr>
          <a:xfrm>
            <a:off x="4845811" y="5389371"/>
            <a:ext cx="171323" cy="180340"/>
          </a:xfrm>
          <a:prstGeom prst="rect">
            <a:avLst/>
          </a:prstGeom>
          <a:blipFill>
            <a:blip r:embed="rId11" cstate="print"/>
            <a:stretch>
              <a:fillRect/>
            </a:stretch>
          </a:blipFill>
        </p:spPr>
        <p:txBody>
          <a:bodyPr wrap="square" lIns="0" tIns="0" rIns="0" bIns="0" rtlCol="0"/>
          <a:lstStyle/>
          <a:p>
            <a:endParaRPr/>
          </a:p>
        </p:txBody>
      </p:sp>
      <p:sp>
        <p:nvSpPr>
          <p:cNvPr id="49" name="object 49"/>
          <p:cNvSpPr/>
          <p:nvPr/>
        </p:nvSpPr>
        <p:spPr>
          <a:xfrm>
            <a:off x="4774394" y="5614235"/>
            <a:ext cx="321945" cy="182880"/>
          </a:xfrm>
          <a:custGeom>
            <a:avLst/>
            <a:gdLst/>
            <a:ahLst/>
            <a:cxnLst/>
            <a:rect l="l" t="t" r="r" b="b"/>
            <a:pathLst>
              <a:path w="321945" h="182879">
                <a:moveTo>
                  <a:pt x="135641" y="0"/>
                </a:moveTo>
                <a:lnTo>
                  <a:pt x="84514" y="11741"/>
                </a:lnTo>
                <a:lnTo>
                  <a:pt x="45117" y="36211"/>
                </a:lnTo>
                <a:lnTo>
                  <a:pt x="17399" y="69338"/>
                </a:lnTo>
                <a:lnTo>
                  <a:pt x="1313" y="107050"/>
                </a:lnTo>
                <a:lnTo>
                  <a:pt x="0" y="130618"/>
                </a:lnTo>
                <a:lnTo>
                  <a:pt x="7949" y="151467"/>
                </a:lnTo>
                <a:lnTo>
                  <a:pt x="23566" y="167284"/>
                </a:lnTo>
                <a:lnTo>
                  <a:pt x="45255" y="175757"/>
                </a:lnTo>
                <a:lnTo>
                  <a:pt x="104735" y="182565"/>
                </a:lnTo>
                <a:lnTo>
                  <a:pt x="156733" y="182277"/>
                </a:lnTo>
                <a:lnTo>
                  <a:pt x="202846" y="177635"/>
                </a:lnTo>
                <a:lnTo>
                  <a:pt x="244673" y="171384"/>
                </a:lnTo>
                <a:lnTo>
                  <a:pt x="283812" y="166266"/>
                </a:lnTo>
                <a:lnTo>
                  <a:pt x="321861" y="165026"/>
                </a:lnTo>
                <a:lnTo>
                  <a:pt x="321651" y="155343"/>
                </a:lnTo>
                <a:lnTo>
                  <a:pt x="320940" y="145563"/>
                </a:lnTo>
                <a:lnTo>
                  <a:pt x="301682" y="82961"/>
                </a:lnTo>
                <a:lnTo>
                  <a:pt x="274951" y="47466"/>
                </a:lnTo>
                <a:lnTo>
                  <a:pt x="239766" y="20828"/>
                </a:lnTo>
                <a:lnTo>
                  <a:pt x="198544" y="5056"/>
                </a:lnTo>
                <a:lnTo>
                  <a:pt x="135641" y="0"/>
                </a:lnTo>
                <a:close/>
              </a:path>
            </a:pathLst>
          </a:custGeom>
          <a:solidFill>
            <a:srgbClr val="FFFFFF"/>
          </a:solidFill>
        </p:spPr>
        <p:txBody>
          <a:bodyPr wrap="square" lIns="0" tIns="0" rIns="0" bIns="0" rtlCol="0"/>
          <a:lstStyle/>
          <a:p>
            <a:endParaRPr/>
          </a:p>
        </p:txBody>
      </p:sp>
      <p:sp>
        <p:nvSpPr>
          <p:cNvPr id="50" name="object 50"/>
          <p:cNvSpPr/>
          <p:nvPr/>
        </p:nvSpPr>
        <p:spPr>
          <a:xfrm>
            <a:off x="5110607" y="5358129"/>
            <a:ext cx="208660" cy="219963"/>
          </a:xfrm>
          <a:prstGeom prst="rect">
            <a:avLst/>
          </a:prstGeom>
          <a:blipFill>
            <a:blip r:embed="rId12" cstate="print"/>
            <a:stretch>
              <a:fillRect/>
            </a:stretch>
          </a:blipFill>
        </p:spPr>
        <p:txBody>
          <a:bodyPr wrap="square" lIns="0" tIns="0" rIns="0" bIns="0" rtlCol="0"/>
          <a:lstStyle/>
          <a:p>
            <a:endParaRPr/>
          </a:p>
        </p:txBody>
      </p:sp>
      <p:sp>
        <p:nvSpPr>
          <p:cNvPr id="51" name="object 51"/>
          <p:cNvSpPr/>
          <p:nvPr/>
        </p:nvSpPr>
        <p:spPr>
          <a:xfrm>
            <a:off x="5016299" y="5629399"/>
            <a:ext cx="383540" cy="219075"/>
          </a:xfrm>
          <a:custGeom>
            <a:avLst/>
            <a:gdLst/>
            <a:ahLst/>
            <a:cxnLst/>
            <a:rect l="l" t="t" r="r" b="b"/>
            <a:pathLst>
              <a:path w="383539" h="219075">
                <a:moveTo>
                  <a:pt x="207072" y="0"/>
                </a:moveTo>
                <a:lnTo>
                  <a:pt x="145742" y="7368"/>
                </a:lnTo>
                <a:lnTo>
                  <a:pt x="96565" y="26019"/>
                </a:lnTo>
                <a:lnTo>
                  <a:pt x="55032" y="57819"/>
                </a:lnTo>
                <a:lnTo>
                  <a:pt x="23548" y="100258"/>
                </a:lnTo>
                <a:lnTo>
                  <a:pt x="4518" y="150827"/>
                </a:lnTo>
                <a:lnTo>
                  <a:pt x="0" y="187564"/>
                </a:lnTo>
                <a:lnTo>
                  <a:pt x="200" y="199011"/>
                </a:lnTo>
                <a:lnTo>
                  <a:pt x="38668" y="199660"/>
                </a:lnTo>
                <a:lnTo>
                  <a:pt x="77786" y="203962"/>
                </a:lnTo>
                <a:lnTo>
                  <a:pt x="118735" y="209932"/>
                </a:lnTo>
                <a:lnTo>
                  <a:pt x="162695" y="215585"/>
                </a:lnTo>
                <a:lnTo>
                  <a:pt x="210844" y="218935"/>
                </a:lnTo>
                <a:lnTo>
                  <a:pt x="264363" y="217996"/>
                </a:lnTo>
                <a:lnTo>
                  <a:pt x="324431" y="210784"/>
                </a:lnTo>
                <a:lnTo>
                  <a:pt x="353071" y="199392"/>
                </a:lnTo>
                <a:lnTo>
                  <a:pt x="373437" y="177463"/>
                </a:lnTo>
                <a:lnTo>
                  <a:pt x="383206" y="148909"/>
                </a:lnTo>
                <a:lnTo>
                  <a:pt x="380057" y="117642"/>
                </a:lnTo>
                <a:lnTo>
                  <a:pt x="363282" y="81741"/>
                </a:lnTo>
                <a:lnTo>
                  <a:pt x="337597" y="49559"/>
                </a:lnTo>
                <a:lnTo>
                  <a:pt x="303000" y="23562"/>
                </a:lnTo>
                <a:lnTo>
                  <a:pt x="259492" y="6220"/>
                </a:lnTo>
                <a:lnTo>
                  <a:pt x="207072" y="0"/>
                </a:lnTo>
                <a:close/>
              </a:path>
            </a:pathLst>
          </a:custGeom>
          <a:solidFill>
            <a:srgbClr val="FFFFFF"/>
          </a:solidFill>
        </p:spPr>
        <p:txBody>
          <a:bodyPr wrap="square" lIns="0" tIns="0" rIns="0" bIns="0" rtlCol="0"/>
          <a:lstStyle/>
          <a:p>
            <a:endParaRPr/>
          </a:p>
        </p:txBody>
      </p:sp>
      <p:sp>
        <p:nvSpPr>
          <p:cNvPr id="52" name="object 52"/>
          <p:cNvSpPr/>
          <p:nvPr/>
        </p:nvSpPr>
        <p:spPr>
          <a:xfrm>
            <a:off x="4846446" y="5849492"/>
            <a:ext cx="401320" cy="236854"/>
          </a:xfrm>
          <a:custGeom>
            <a:avLst/>
            <a:gdLst/>
            <a:ahLst/>
            <a:cxnLst/>
            <a:rect l="l" t="t" r="r" b="b"/>
            <a:pathLst>
              <a:path w="401320" h="236854">
                <a:moveTo>
                  <a:pt x="54363" y="85423"/>
                </a:moveTo>
                <a:lnTo>
                  <a:pt x="27908" y="96585"/>
                </a:lnTo>
                <a:lnTo>
                  <a:pt x="7500" y="118693"/>
                </a:lnTo>
                <a:lnTo>
                  <a:pt x="0" y="151104"/>
                </a:lnTo>
                <a:lnTo>
                  <a:pt x="14545" y="199730"/>
                </a:lnTo>
                <a:lnTo>
                  <a:pt x="48755" y="226104"/>
                </a:lnTo>
                <a:lnTo>
                  <a:pt x="91696" y="236407"/>
                </a:lnTo>
                <a:lnTo>
                  <a:pt x="132429" y="236820"/>
                </a:lnTo>
                <a:lnTo>
                  <a:pt x="160019" y="233527"/>
                </a:lnTo>
                <a:lnTo>
                  <a:pt x="196984" y="225180"/>
                </a:lnTo>
                <a:lnTo>
                  <a:pt x="242570" y="211845"/>
                </a:lnTo>
                <a:lnTo>
                  <a:pt x="294536" y="199476"/>
                </a:lnTo>
                <a:lnTo>
                  <a:pt x="350647" y="194030"/>
                </a:lnTo>
                <a:lnTo>
                  <a:pt x="393175" y="194030"/>
                </a:lnTo>
                <a:lnTo>
                  <a:pt x="397218" y="182200"/>
                </a:lnTo>
                <a:lnTo>
                  <a:pt x="400796" y="162480"/>
                </a:lnTo>
                <a:lnTo>
                  <a:pt x="400540" y="140508"/>
                </a:lnTo>
                <a:lnTo>
                  <a:pt x="394842" y="116763"/>
                </a:lnTo>
                <a:lnTo>
                  <a:pt x="378120" y="90630"/>
                </a:lnTo>
                <a:lnTo>
                  <a:pt x="371803" y="85851"/>
                </a:lnTo>
                <a:lnTo>
                  <a:pt x="80010" y="85851"/>
                </a:lnTo>
                <a:lnTo>
                  <a:pt x="54363" y="85423"/>
                </a:lnTo>
                <a:close/>
              </a:path>
              <a:path w="401320" h="236854">
                <a:moveTo>
                  <a:pt x="393175" y="194030"/>
                </a:moveTo>
                <a:lnTo>
                  <a:pt x="350647" y="194030"/>
                </a:lnTo>
                <a:lnTo>
                  <a:pt x="361785" y="194352"/>
                </a:lnTo>
                <a:lnTo>
                  <a:pt x="372316" y="195318"/>
                </a:lnTo>
                <a:lnTo>
                  <a:pt x="382204" y="196929"/>
                </a:lnTo>
                <a:lnTo>
                  <a:pt x="391413" y="199186"/>
                </a:lnTo>
                <a:lnTo>
                  <a:pt x="393175" y="194030"/>
                </a:lnTo>
                <a:close/>
              </a:path>
              <a:path w="401320" h="236854">
                <a:moveTo>
                  <a:pt x="187198" y="0"/>
                </a:moveTo>
                <a:lnTo>
                  <a:pt x="144143" y="9554"/>
                </a:lnTo>
                <a:lnTo>
                  <a:pt x="111934" y="30052"/>
                </a:lnTo>
                <a:lnTo>
                  <a:pt x="90560" y="56987"/>
                </a:lnTo>
                <a:lnTo>
                  <a:pt x="80010" y="85851"/>
                </a:lnTo>
                <a:lnTo>
                  <a:pt x="371803" y="85851"/>
                </a:lnTo>
                <a:lnTo>
                  <a:pt x="354218" y="72548"/>
                </a:lnTo>
                <a:lnTo>
                  <a:pt x="334357" y="66967"/>
                </a:lnTo>
                <a:lnTo>
                  <a:pt x="289305" y="66967"/>
                </a:lnTo>
                <a:lnTo>
                  <a:pt x="284370" y="56021"/>
                </a:lnTo>
                <a:lnTo>
                  <a:pt x="267636" y="32197"/>
                </a:lnTo>
                <a:lnTo>
                  <a:pt x="236210" y="9016"/>
                </a:lnTo>
                <a:lnTo>
                  <a:pt x="187198" y="0"/>
                </a:lnTo>
                <a:close/>
              </a:path>
              <a:path w="401320" h="236854">
                <a:moveTo>
                  <a:pt x="324244" y="64125"/>
                </a:moveTo>
                <a:lnTo>
                  <a:pt x="289305" y="66967"/>
                </a:lnTo>
                <a:lnTo>
                  <a:pt x="334357" y="66967"/>
                </a:lnTo>
                <a:lnTo>
                  <a:pt x="324244" y="64125"/>
                </a:lnTo>
                <a:close/>
              </a:path>
            </a:pathLst>
          </a:custGeom>
          <a:solidFill>
            <a:srgbClr val="FFFFFF"/>
          </a:solidFill>
        </p:spPr>
        <p:txBody>
          <a:bodyPr wrap="square" lIns="0" tIns="0" rIns="0" bIns="0" rtlCol="0"/>
          <a:lstStyle/>
          <a:p>
            <a:endParaRPr/>
          </a:p>
        </p:txBody>
      </p:sp>
      <p:sp>
        <p:nvSpPr>
          <p:cNvPr id="53" name="object 53"/>
          <p:cNvSpPr/>
          <p:nvPr/>
        </p:nvSpPr>
        <p:spPr>
          <a:xfrm>
            <a:off x="5774435" y="5216652"/>
            <a:ext cx="0" cy="1024255"/>
          </a:xfrm>
          <a:custGeom>
            <a:avLst/>
            <a:gdLst/>
            <a:ahLst/>
            <a:cxnLst/>
            <a:rect l="l" t="t" r="r" b="b"/>
            <a:pathLst>
              <a:path h="1024254">
                <a:moveTo>
                  <a:pt x="0" y="0"/>
                </a:moveTo>
                <a:lnTo>
                  <a:pt x="0" y="1024128"/>
                </a:lnTo>
              </a:path>
            </a:pathLst>
          </a:custGeom>
          <a:ln w="36575">
            <a:solidFill>
              <a:srgbClr val="00C37A"/>
            </a:solidFill>
          </a:ln>
        </p:spPr>
        <p:txBody>
          <a:bodyPr wrap="square" lIns="0" tIns="0" rIns="0" bIns="0" rtlCol="0"/>
          <a:lstStyle/>
          <a:p>
            <a:endParaRPr/>
          </a:p>
        </p:txBody>
      </p:sp>
      <p:sp>
        <p:nvSpPr>
          <p:cNvPr id="54" name="object 54"/>
          <p:cNvSpPr txBox="1"/>
          <p:nvPr/>
        </p:nvSpPr>
        <p:spPr>
          <a:xfrm>
            <a:off x="9889363" y="5305145"/>
            <a:ext cx="1736089" cy="886460"/>
          </a:xfrm>
          <a:prstGeom prst="rect">
            <a:avLst/>
          </a:prstGeom>
        </p:spPr>
        <p:txBody>
          <a:bodyPr vert="horz" wrap="square" lIns="0" tIns="12065" rIns="0" bIns="0" rtlCol="0">
            <a:spAutoFit/>
          </a:bodyPr>
          <a:lstStyle/>
          <a:p>
            <a:pPr marL="12700">
              <a:lnSpc>
                <a:spcPct val="100000"/>
              </a:lnSpc>
              <a:spcBef>
                <a:spcPts val="95"/>
              </a:spcBef>
            </a:pPr>
            <a:r>
              <a:rPr sz="2800" b="1" spc="-5">
                <a:solidFill>
                  <a:srgbClr val="00C37A"/>
                </a:solidFill>
                <a:latin typeface="Verdana"/>
                <a:cs typeface="Verdana"/>
              </a:rPr>
              <a:t>1397</a:t>
            </a:r>
            <a:endParaRPr sz="2800">
              <a:latin typeface="Verdana"/>
              <a:cs typeface="Verdana"/>
            </a:endParaRPr>
          </a:p>
          <a:p>
            <a:pPr marL="12700">
              <a:lnSpc>
                <a:spcPct val="100000"/>
              </a:lnSpc>
              <a:spcBef>
                <a:spcPts val="60"/>
              </a:spcBef>
            </a:pPr>
            <a:r>
              <a:rPr sz="1400">
                <a:solidFill>
                  <a:srgbClr val="2B133C"/>
                </a:solidFill>
                <a:latin typeface="Verdana"/>
                <a:cs typeface="Verdana"/>
              </a:rPr>
              <a:t>certified</a:t>
            </a:r>
            <a:r>
              <a:rPr sz="1400" spc="-70">
                <a:solidFill>
                  <a:srgbClr val="2B133C"/>
                </a:solidFill>
                <a:latin typeface="Verdana"/>
                <a:cs typeface="Verdana"/>
              </a:rPr>
              <a:t> </a:t>
            </a:r>
            <a:r>
              <a:rPr sz="1400">
                <a:solidFill>
                  <a:srgbClr val="2B133C"/>
                </a:solidFill>
                <a:latin typeface="Verdana"/>
                <a:cs typeface="Verdana"/>
              </a:rPr>
              <a:t>Salesforce</a:t>
            </a:r>
            <a:endParaRPr sz="1400">
              <a:latin typeface="Verdana"/>
              <a:cs typeface="Verdana"/>
            </a:endParaRPr>
          </a:p>
          <a:p>
            <a:pPr marL="12700">
              <a:lnSpc>
                <a:spcPct val="100000"/>
              </a:lnSpc>
            </a:pPr>
            <a:r>
              <a:rPr sz="1400">
                <a:solidFill>
                  <a:srgbClr val="2B133C"/>
                </a:solidFill>
                <a:latin typeface="Verdana"/>
                <a:cs typeface="Verdana"/>
              </a:rPr>
              <a:t>administrators</a:t>
            </a:r>
            <a:endParaRPr sz="1400">
              <a:latin typeface="Verdana"/>
              <a:cs typeface="Verdana"/>
            </a:endParaRPr>
          </a:p>
        </p:txBody>
      </p:sp>
      <p:sp>
        <p:nvSpPr>
          <p:cNvPr id="55" name="object 55"/>
          <p:cNvSpPr/>
          <p:nvPr/>
        </p:nvSpPr>
        <p:spPr>
          <a:xfrm>
            <a:off x="8467486" y="5219077"/>
            <a:ext cx="1134745" cy="1075055"/>
          </a:xfrm>
          <a:custGeom>
            <a:avLst/>
            <a:gdLst/>
            <a:ahLst/>
            <a:cxnLst/>
            <a:rect l="l" t="t" r="r" b="b"/>
            <a:pathLst>
              <a:path w="1134745" h="1075054">
                <a:moveTo>
                  <a:pt x="589632" y="0"/>
                </a:moveTo>
                <a:lnTo>
                  <a:pt x="543413" y="671"/>
                </a:lnTo>
                <a:lnTo>
                  <a:pt x="497225" y="4938"/>
                </a:lnTo>
                <a:lnTo>
                  <a:pt x="451305" y="12837"/>
                </a:lnTo>
                <a:lnTo>
                  <a:pt x="405890" y="24403"/>
                </a:lnTo>
                <a:lnTo>
                  <a:pt x="361219" y="39672"/>
                </a:lnTo>
                <a:lnTo>
                  <a:pt x="317529" y="58682"/>
                </a:lnTo>
                <a:lnTo>
                  <a:pt x="275059" y="81467"/>
                </a:lnTo>
                <a:lnTo>
                  <a:pt x="234045" y="108063"/>
                </a:lnTo>
                <a:lnTo>
                  <a:pt x="195499" y="137719"/>
                </a:lnTo>
                <a:lnTo>
                  <a:pt x="160295" y="169861"/>
                </a:lnTo>
                <a:lnTo>
                  <a:pt x="128470" y="204260"/>
                </a:lnTo>
                <a:lnTo>
                  <a:pt x="100063" y="240684"/>
                </a:lnTo>
                <a:lnTo>
                  <a:pt x="75110" y="278903"/>
                </a:lnTo>
                <a:lnTo>
                  <a:pt x="53647" y="318684"/>
                </a:lnTo>
                <a:lnTo>
                  <a:pt x="35713" y="359798"/>
                </a:lnTo>
                <a:lnTo>
                  <a:pt x="21344" y="402013"/>
                </a:lnTo>
                <a:lnTo>
                  <a:pt x="10577" y="445098"/>
                </a:lnTo>
                <a:lnTo>
                  <a:pt x="3450" y="488821"/>
                </a:lnTo>
                <a:lnTo>
                  <a:pt x="0" y="532953"/>
                </a:lnTo>
                <a:lnTo>
                  <a:pt x="263" y="577261"/>
                </a:lnTo>
                <a:lnTo>
                  <a:pt x="4276" y="621515"/>
                </a:lnTo>
                <a:lnTo>
                  <a:pt x="12078" y="665484"/>
                </a:lnTo>
                <a:lnTo>
                  <a:pt x="23705" y="708936"/>
                </a:lnTo>
                <a:lnTo>
                  <a:pt x="39203" y="751660"/>
                </a:lnTo>
                <a:lnTo>
                  <a:pt x="58582" y="793367"/>
                </a:lnTo>
                <a:lnTo>
                  <a:pt x="81906" y="833883"/>
                </a:lnTo>
                <a:lnTo>
                  <a:pt x="109204" y="872959"/>
                </a:lnTo>
                <a:lnTo>
                  <a:pt x="139888" y="909226"/>
                </a:lnTo>
                <a:lnTo>
                  <a:pt x="172850" y="941862"/>
                </a:lnTo>
                <a:lnTo>
                  <a:pt x="207890" y="970880"/>
                </a:lnTo>
                <a:lnTo>
                  <a:pt x="244804" y="996296"/>
                </a:lnTo>
                <a:lnTo>
                  <a:pt x="283393" y="1018125"/>
                </a:lnTo>
                <a:lnTo>
                  <a:pt x="323453" y="1036382"/>
                </a:lnTo>
                <a:lnTo>
                  <a:pt x="364784" y="1051081"/>
                </a:lnTo>
                <a:lnTo>
                  <a:pt x="407183" y="1062237"/>
                </a:lnTo>
                <a:lnTo>
                  <a:pt x="450449" y="1069866"/>
                </a:lnTo>
                <a:lnTo>
                  <a:pt x="494381" y="1073981"/>
                </a:lnTo>
                <a:lnTo>
                  <a:pt x="538777" y="1074598"/>
                </a:lnTo>
                <a:lnTo>
                  <a:pt x="583435" y="1071732"/>
                </a:lnTo>
                <a:lnTo>
                  <a:pt x="628153" y="1065398"/>
                </a:lnTo>
                <a:lnTo>
                  <a:pt x="672731" y="1055609"/>
                </a:lnTo>
                <a:lnTo>
                  <a:pt x="716966" y="1042382"/>
                </a:lnTo>
                <a:lnTo>
                  <a:pt x="760656" y="1025731"/>
                </a:lnTo>
                <a:lnTo>
                  <a:pt x="803600" y="1005671"/>
                </a:lnTo>
                <a:lnTo>
                  <a:pt x="845597" y="982216"/>
                </a:lnTo>
                <a:lnTo>
                  <a:pt x="886444" y="955382"/>
                </a:lnTo>
                <a:lnTo>
                  <a:pt x="925157" y="925968"/>
                </a:lnTo>
                <a:lnTo>
                  <a:pt x="960835" y="894497"/>
                </a:lnTo>
                <a:lnTo>
                  <a:pt x="993404" y="861151"/>
                </a:lnTo>
                <a:lnTo>
                  <a:pt x="1022793" y="826110"/>
                </a:lnTo>
                <a:lnTo>
                  <a:pt x="1048926" y="789553"/>
                </a:lnTo>
                <a:lnTo>
                  <a:pt x="1071741" y="751641"/>
                </a:lnTo>
                <a:lnTo>
                  <a:pt x="1091136" y="712614"/>
                </a:lnTo>
                <a:lnTo>
                  <a:pt x="1107065" y="672592"/>
                </a:lnTo>
                <a:lnTo>
                  <a:pt x="1119446" y="631776"/>
                </a:lnTo>
                <a:lnTo>
                  <a:pt x="1128206" y="590346"/>
                </a:lnTo>
                <a:lnTo>
                  <a:pt x="1133271" y="548481"/>
                </a:lnTo>
                <a:lnTo>
                  <a:pt x="1134569" y="506363"/>
                </a:lnTo>
                <a:lnTo>
                  <a:pt x="1132025" y="464172"/>
                </a:lnTo>
                <a:lnTo>
                  <a:pt x="1125566" y="422087"/>
                </a:lnTo>
                <a:lnTo>
                  <a:pt x="1115119" y="380289"/>
                </a:lnTo>
                <a:lnTo>
                  <a:pt x="1100611" y="338958"/>
                </a:lnTo>
                <a:lnTo>
                  <a:pt x="1081969" y="298274"/>
                </a:lnTo>
                <a:lnTo>
                  <a:pt x="1059118" y="258418"/>
                </a:lnTo>
                <a:lnTo>
                  <a:pt x="1031986" y="219569"/>
                </a:lnTo>
                <a:lnTo>
                  <a:pt x="1001136" y="183077"/>
                </a:lnTo>
                <a:lnTo>
                  <a:pt x="967700" y="149782"/>
                </a:lnTo>
                <a:lnTo>
                  <a:pt x="931915" y="119721"/>
                </a:lnTo>
                <a:lnTo>
                  <a:pt x="894020" y="92931"/>
                </a:lnTo>
                <a:lnTo>
                  <a:pt x="854251" y="69447"/>
                </a:lnTo>
                <a:lnTo>
                  <a:pt x="812848" y="49305"/>
                </a:lnTo>
                <a:lnTo>
                  <a:pt x="770048" y="32542"/>
                </a:lnTo>
                <a:lnTo>
                  <a:pt x="726088" y="19194"/>
                </a:lnTo>
                <a:lnTo>
                  <a:pt x="681207" y="9297"/>
                </a:lnTo>
                <a:lnTo>
                  <a:pt x="635642" y="2887"/>
                </a:lnTo>
                <a:lnTo>
                  <a:pt x="589632" y="0"/>
                </a:lnTo>
                <a:close/>
              </a:path>
            </a:pathLst>
          </a:custGeom>
          <a:solidFill>
            <a:srgbClr val="00C37A"/>
          </a:solidFill>
        </p:spPr>
        <p:txBody>
          <a:bodyPr wrap="square" lIns="0" tIns="0" rIns="0" bIns="0" rtlCol="0"/>
          <a:lstStyle/>
          <a:p>
            <a:endParaRPr/>
          </a:p>
        </p:txBody>
      </p:sp>
      <p:sp>
        <p:nvSpPr>
          <p:cNvPr id="56" name="object 56"/>
          <p:cNvSpPr/>
          <p:nvPr/>
        </p:nvSpPr>
        <p:spPr>
          <a:xfrm>
            <a:off x="8795893" y="5406135"/>
            <a:ext cx="169925" cy="181863"/>
          </a:xfrm>
          <a:prstGeom prst="rect">
            <a:avLst/>
          </a:prstGeom>
          <a:blipFill>
            <a:blip r:embed="rId13" cstate="print"/>
            <a:stretch>
              <a:fillRect/>
            </a:stretch>
          </a:blipFill>
        </p:spPr>
        <p:txBody>
          <a:bodyPr wrap="square" lIns="0" tIns="0" rIns="0" bIns="0" rtlCol="0"/>
          <a:lstStyle/>
          <a:p>
            <a:endParaRPr/>
          </a:p>
        </p:txBody>
      </p:sp>
      <p:sp>
        <p:nvSpPr>
          <p:cNvPr id="57" name="object 57"/>
          <p:cNvSpPr/>
          <p:nvPr/>
        </p:nvSpPr>
        <p:spPr>
          <a:xfrm>
            <a:off x="8724544" y="5632524"/>
            <a:ext cx="320675" cy="182880"/>
          </a:xfrm>
          <a:custGeom>
            <a:avLst/>
            <a:gdLst/>
            <a:ahLst/>
            <a:cxnLst/>
            <a:rect l="l" t="t" r="r" b="b"/>
            <a:pathLst>
              <a:path w="320675" h="182879">
                <a:moveTo>
                  <a:pt x="135035" y="0"/>
                </a:moveTo>
                <a:lnTo>
                  <a:pt x="84116" y="11741"/>
                </a:lnTo>
                <a:lnTo>
                  <a:pt x="44889" y="36211"/>
                </a:lnTo>
                <a:lnTo>
                  <a:pt x="17287" y="69338"/>
                </a:lnTo>
                <a:lnTo>
                  <a:pt x="1244" y="107050"/>
                </a:lnTo>
                <a:lnTo>
                  <a:pt x="0" y="130618"/>
                </a:lnTo>
                <a:lnTo>
                  <a:pt x="7959" y="151467"/>
                </a:lnTo>
                <a:lnTo>
                  <a:pt x="23514" y="167284"/>
                </a:lnTo>
                <a:lnTo>
                  <a:pt x="45059" y="175757"/>
                </a:lnTo>
                <a:lnTo>
                  <a:pt x="104286" y="182565"/>
                </a:lnTo>
                <a:lnTo>
                  <a:pt x="156038" y="182276"/>
                </a:lnTo>
                <a:lnTo>
                  <a:pt x="201920" y="177634"/>
                </a:lnTo>
                <a:lnTo>
                  <a:pt x="243536" y="171380"/>
                </a:lnTo>
                <a:lnTo>
                  <a:pt x="282493" y="166259"/>
                </a:lnTo>
                <a:lnTo>
                  <a:pt x="320395" y="165013"/>
                </a:lnTo>
                <a:lnTo>
                  <a:pt x="320184" y="155338"/>
                </a:lnTo>
                <a:lnTo>
                  <a:pt x="319474" y="145561"/>
                </a:lnTo>
                <a:lnTo>
                  <a:pt x="300315" y="82961"/>
                </a:lnTo>
                <a:lnTo>
                  <a:pt x="273706" y="47466"/>
                </a:lnTo>
                <a:lnTo>
                  <a:pt x="238692" y="20828"/>
                </a:lnTo>
                <a:lnTo>
                  <a:pt x="197713" y="5056"/>
                </a:lnTo>
                <a:lnTo>
                  <a:pt x="135035" y="0"/>
                </a:lnTo>
                <a:close/>
              </a:path>
            </a:pathLst>
          </a:custGeom>
          <a:solidFill>
            <a:srgbClr val="FFFFFF"/>
          </a:solidFill>
        </p:spPr>
        <p:txBody>
          <a:bodyPr wrap="square" lIns="0" tIns="0" rIns="0" bIns="0" rtlCol="0"/>
          <a:lstStyle/>
          <a:p>
            <a:endParaRPr/>
          </a:p>
        </p:txBody>
      </p:sp>
      <p:sp>
        <p:nvSpPr>
          <p:cNvPr id="58" name="object 58"/>
          <p:cNvSpPr/>
          <p:nvPr/>
        </p:nvSpPr>
        <p:spPr>
          <a:xfrm>
            <a:off x="9059291" y="5376417"/>
            <a:ext cx="207136" cy="218490"/>
          </a:xfrm>
          <a:prstGeom prst="rect">
            <a:avLst/>
          </a:prstGeom>
          <a:blipFill>
            <a:blip r:embed="rId14" cstate="print"/>
            <a:stretch>
              <a:fillRect/>
            </a:stretch>
          </a:blipFill>
        </p:spPr>
        <p:txBody>
          <a:bodyPr wrap="square" lIns="0" tIns="0" rIns="0" bIns="0" rtlCol="0"/>
          <a:lstStyle/>
          <a:p>
            <a:endParaRPr/>
          </a:p>
        </p:txBody>
      </p:sp>
      <p:sp>
        <p:nvSpPr>
          <p:cNvPr id="59" name="object 59"/>
          <p:cNvSpPr/>
          <p:nvPr/>
        </p:nvSpPr>
        <p:spPr>
          <a:xfrm>
            <a:off x="8964983" y="5647687"/>
            <a:ext cx="383540" cy="219075"/>
          </a:xfrm>
          <a:custGeom>
            <a:avLst/>
            <a:gdLst/>
            <a:ahLst/>
            <a:cxnLst/>
            <a:rect l="l" t="t" r="r" b="b"/>
            <a:pathLst>
              <a:path w="383540" h="219075">
                <a:moveTo>
                  <a:pt x="207072" y="0"/>
                </a:moveTo>
                <a:lnTo>
                  <a:pt x="145742" y="7368"/>
                </a:lnTo>
                <a:lnTo>
                  <a:pt x="96565" y="26019"/>
                </a:lnTo>
                <a:lnTo>
                  <a:pt x="55032" y="57819"/>
                </a:lnTo>
                <a:lnTo>
                  <a:pt x="23548" y="100258"/>
                </a:lnTo>
                <a:lnTo>
                  <a:pt x="4518" y="150827"/>
                </a:lnTo>
                <a:lnTo>
                  <a:pt x="0" y="187564"/>
                </a:lnTo>
                <a:lnTo>
                  <a:pt x="200" y="199011"/>
                </a:lnTo>
                <a:lnTo>
                  <a:pt x="38668" y="199660"/>
                </a:lnTo>
                <a:lnTo>
                  <a:pt x="77786" y="203962"/>
                </a:lnTo>
                <a:lnTo>
                  <a:pt x="118735" y="209932"/>
                </a:lnTo>
                <a:lnTo>
                  <a:pt x="162695" y="215585"/>
                </a:lnTo>
                <a:lnTo>
                  <a:pt x="210844" y="218935"/>
                </a:lnTo>
                <a:lnTo>
                  <a:pt x="264363" y="217996"/>
                </a:lnTo>
                <a:lnTo>
                  <a:pt x="324431" y="210784"/>
                </a:lnTo>
                <a:lnTo>
                  <a:pt x="353071" y="199392"/>
                </a:lnTo>
                <a:lnTo>
                  <a:pt x="373437" y="177463"/>
                </a:lnTo>
                <a:lnTo>
                  <a:pt x="383206" y="148909"/>
                </a:lnTo>
                <a:lnTo>
                  <a:pt x="380057" y="117642"/>
                </a:lnTo>
                <a:lnTo>
                  <a:pt x="363282" y="81741"/>
                </a:lnTo>
                <a:lnTo>
                  <a:pt x="337597" y="49559"/>
                </a:lnTo>
                <a:lnTo>
                  <a:pt x="303000" y="23562"/>
                </a:lnTo>
                <a:lnTo>
                  <a:pt x="259492" y="6220"/>
                </a:lnTo>
                <a:lnTo>
                  <a:pt x="207072" y="0"/>
                </a:lnTo>
                <a:close/>
              </a:path>
            </a:pathLst>
          </a:custGeom>
          <a:solidFill>
            <a:srgbClr val="FFFFFF"/>
          </a:solidFill>
        </p:spPr>
        <p:txBody>
          <a:bodyPr wrap="square" lIns="0" tIns="0" rIns="0" bIns="0" rtlCol="0"/>
          <a:lstStyle/>
          <a:p>
            <a:endParaRPr/>
          </a:p>
        </p:txBody>
      </p:sp>
      <p:sp>
        <p:nvSpPr>
          <p:cNvPr id="60" name="object 60"/>
          <p:cNvSpPr/>
          <p:nvPr/>
        </p:nvSpPr>
        <p:spPr>
          <a:xfrm>
            <a:off x="8842237" y="5908652"/>
            <a:ext cx="332740" cy="219710"/>
          </a:xfrm>
          <a:custGeom>
            <a:avLst/>
            <a:gdLst/>
            <a:ahLst/>
            <a:cxnLst/>
            <a:rect l="l" t="t" r="r" b="b"/>
            <a:pathLst>
              <a:path w="332740" h="219710">
                <a:moveTo>
                  <a:pt x="206010" y="0"/>
                </a:moveTo>
                <a:lnTo>
                  <a:pt x="97208" y="2901"/>
                </a:lnTo>
                <a:lnTo>
                  <a:pt x="45221" y="3730"/>
                </a:lnTo>
                <a:lnTo>
                  <a:pt x="28817" y="6029"/>
                </a:lnTo>
                <a:lnTo>
                  <a:pt x="16662" y="13138"/>
                </a:lnTo>
                <a:lnTo>
                  <a:pt x="8056" y="25376"/>
                </a:lnTo>
                <a:lnTo>
                  <a:pt x="2295" y="43062"/>
                </a:lnTo>
                <a:lnTo>
                  <a:pt x="0" y="70045"/>
                </a:lnTo>
                <a:lnTo>
                  <a:pt x="1359" y="104905"/>
                </a:lnTo>
                <a:lnTo>
                  <a:pt x="4742" y="140060"/>
                </a:lnTo>
                <a:lnTo>
                  <a:pt x="8518" y="167929"/>
                </a:lnTo>
                <a:lnTo>
                  <a:pt x="7169" y="186678"/>
                </a:lnTo>
                <a:lnTo>
                  <a:pt x="3248" y="200288"/>
                </a:lnTo>
                <a:lnTo>
                  <a:pt x="7233" y="209898"/>
                </a:lnTo>
                <a:lnTo>
                  <a:pt x="29600" y="216646"/>
                </a:lnTo>
                <a:lnTo>
                  <a:pt x="89858" y="219362"/>
                </a:lnTo>
                <a:lnTo>
                  <a:pt x="176857" y="217932"/>
                </a:lnTo>
                <a:lnTo>
                  <a:pt x="289061" y="213522"/>
                </a:lnTo>
                <a:lnTo>
                  <a:pt x="328924" y="190017"/>
                </a:lnTo>
                <a:lnTo>
                  <a:pt x="332120" y="39006"/>
                </a:lnTo>
                <a:lnTo>
                  <a:pt x="328543" y="24288"/>
                </a:lnTo>
                <a:lnTo>
                  <a:pt x="315987" y="12252"/>
                </a:lnTo>
                <a:lnTo>
                  <a:pt x="289061" y="3730"/>
                </a:lnTo>
                <a:lnTo>
                  <a:pt x="253168" y="414"/>
                </a:lnTo>
                <a:lnTo>
                  <a:pt x="206010" y="0"/>
                </a:lnTo>
                <a:close/>
              </a:path>
            </a:pathLst>
          </a:custGeom>
          <a:solidFill>
            <a:srgbClr val="FFFFFF"/>
          </a:solidFill>
        </p:spPr>
        <p:txBody>
          <a:bodyPr wrap="square" lIns="0" tIns="0" rIns="0" bIns="0" rtlCol="0"/>
          <a:lstStyle/>
          <a:p>
            <a:endParaRPr/>
          </a:p>
        </p:txBody>
      </p:sp>
      <p:sp>
        <p:nvSpPr>
          <p:cNvPr id="61" name="object 61"/>
          <p:cNvSpPr/>
          <p:nvPr/>
        </p:nvSpPr>
        <p:spPr>
          <a:xfrm>
            <a:off x="8916923" y="5978652"/>
            <a:ext cx="199644" cy="77723"/>
          </a:xfrm>
          <a:prstGeom prst="rect">
            <a:avLst/>
          </a:prstGeom>
          <a:blipFill>
            <a:blip r:embed="rId15" cstate="print"/>
            <a:stretch>
              <a:fillRect/>
            </a:stretch>
          </a:blipFill>
        </p:spPr>
        <p:txBody>
          <a:bodyPr wrap="square" lIns="0" tIns="0" rIns="0" bIns="0" rtlCol="0"/>
          <a:lstStyle/>
          <a:p>
            <a:endParaRPr/>
          </a:p>
        </p:txBody>
      </p:sp>
      <p:sp>
        <p:nvSpPr>
          <p:cNvPr id="62" name="object 62"/>
          <p:cNvSpPr/>
          <p:nvPr/>
        </p:nvSpPr>
        <p:spPr>
          <a:xfrm>
            <a:off x="9698735" y="5237988"/>
            <a:ext cx="0" cy="1024255"/>
          </a:xfrm>
          <a:custGeom>
            <a:avLst/>
            <a:gdLst/>
            <a:ahLst/>
            <a:cxnLst/>
            <a:rect l="l" t="t" r="r" b="b"/>
            <a:pathLst>
              <a:path h="1024254">
                <a:moveTo>
                  <a:pt x="0" y="0"/>
                </a:moveTo>
                <a:lnTo>
                  <a:pt x="0" y="1024128"/>
                </a:lnTo>
              </a:path>
            </a:pathLst>
          </a:custGeom>
          <a:ln w="36575">
            <a:solidFill>
              <a:srgbClr val="00C37A"/>
            </a:solidFill>
          </a:ln>
        </p:spPr>
        <p:txBody>
          <a:bodyPr wrap="square" lIns="0" tIns="0" rIns="0" bIns="0" rtlCol="0"/>
          <a:lstStyle/>
          <a:p>
            <a:endParaRPr/>
          </a:p>
        </p:txBody>
      </p:sp>
      <p:sp>
        <p:nvSpPr>
          <p:cNvPr id="63" name="object 63"/>
          <p:cNvSpPr/>
          <p:nvPr/>
        </p:nvSpPr>
        <p:spPr>
          <a:xfrm>
            <a:off x="390143" y="2875788"/>
            <a:ext cx="11390630" cy="0"/>
          </a:xfrm>
          <a:custGeom>
            <a:avLst/>
            <a:gdLst/>
            <a:ahLst/>
            <a:cxnLst/>
            <a:rect l="l" t="t" r="r" b="b"/>
            <a:pathLst>
              <a:path w="11390630">
                <a:moveTo>
                  <a:pt x="0" y="0"/>
                </a:moveTo>
                <a:lnTo>
                  <a:pt x="11390503" y="0"/>
                </a:lnTo>
              </a:path>
            </a:pathLst>
          </a:custGeom>
          <a:ln w="6096">
            <a:solidFill>
              <a:srgbClr val="B0B0B0"/>
            </a:solidFill>
            <a:prstDash val="sysDot"/>
          </a:ln>
        </p:spPr>
        <p:txBody>
          <a:bodyPr wrap="square" lIns="0" tIns="0" rIns="0" bIns="0" rtlCol="0"/>
          <a:lstStyle/>
          <a:p>
            <a:endParaRPr/>
          </a:p>
        </p:txBody>
      </p:sp>
      <p:sp>
        <p:nvSpPr>
          <p:cNvPr id="64" name="object 64"/>
          <p:cNvSpPr/>
          <p:nvPr/>
        </p:nvSpPr>
        <p:spPr>
          <a:xfrm>
            <a:off x="390143" y="4777740"/>
            <a:ext cx="11390630" cy="0"/>
          </a:xfrm>
          <a:custGeom>
            <a:avLst/>
            <a:gdLst/>
            <a:ahLst/>
            <a:cxnLst/>
            <a:rect l="l" t="t" r="r" b="b"/>
            <a:pathLst>
              <a:path w="11390630">
                <a:moveTo>
                  <a:pt x="0" y="0"/>
                </a:moveTo>
                <a:lnTo>
                  <a:pt x="11390503" y="0"/>
                </a:lnTo>
              </a:path>
            </a:pathLst>
          </a:custGeom>
          <a:ln w="6096">
            <a:solidFill>
              <a:srgbClr val="B0B0B0"/>
            </a:solidFill>
            <a:prstDash val="sysDot"/>
          </a:ln>
        </p:spPr>
        <p:txBody>
          <a:bodyPr wrap="square" lIns="0" tIns="0" rIns="0" bIns="0" rtlCol="0"/>
          <a:lstStyle/>
          <a:p>
            <a:endParaRPr/>
          </a:p>
        </p:txBody>
      </p:sp>
      <p:sp>
        <p:nvSpPr>
          <p:cNvPr id="65" name="object 6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6" name="object 6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19</a:t>
            </a:fld>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82496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592" imgH="595" progId="TCLayout.ActiveDocument.1">
                  <p:embed/>
                </p:oleObj>
              </mc:Choice>
              <mc:Fallback>
                <p:oleObj name="think-cell Slide" r:id="rId5" imgW="592" imgH="59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600">
              <a:latin typeface="Verdana" panose="020B0604030504040204" pitchFamily="34" charset="0"/>
              <a:ea typeface="+mj-ea"/>
              <a:sym typeface="Verdana" panose="020B0604030504040204" pitchFamily="34" charset="0"/>
            </a:endParaRPr>
          </a:p>
        </p:txBody>
      </p:sp>
      <p:sp>
        <p:nvSpPr>
          <p:cNvPr id="4" name="Title 3"/>
          <p:cNvSpPr>
            <a:spLocks noGrp="1"/>
          </p:cNvSpPr>
          <p:nvPr>
            <p:ph type="ctrTitle"/>
          </p:nvPr>
        </p:nvSpPr>
        <p:spPr>
          <a:xfrm>
            <a:off x="429362" y="304800"/>
            <a:ext cx="11762638" cy="400110"/>
          </a:xfrm>
        </p:spPr>
        <p:txBody>
          <a:bodyPr/>
          <a:lstStyle/>
          <a:p>
            <a:r>
              <a:rPr lang="en-US" sz="2600" spc="-5">
                <a:solidFill>
                  <a:srgbClr val="006FAC"/>
                </a:solidFill>
              </a:rPr>
              <a:t>LOG HISTORY</a:t>
            </a:r>
          </a:p>
        </p:txBody>
      </p:sp>
      <p:graphicFrame>
        <p:nvGraphicFramePr>
          <p:cNvPr id="8" name="Table 7"/>
          <p:cNvGraphicFramePr>
            <a:graphicFrameLocks noGrp="1"/>
          </p:cNvGraphicFramePr>
          <p:nvPr>
            <p:extLst>
              <p:ext uri="{D42A27DB-BD31-4B8C-83A1-F6EECF244321}">
                <p14:modId xmlns:p14="http://schemas.microsoft.com/office/powerpoint/2010/main" val="2020831373"/>
              </p:ext>
            </p:extLst>
          </p:nvPr>
        </p:nvGraphicFramePr>
        <p:xfrm>
          <a:off x="429362" y="768135"/>
          <a:ext cx="11076838" cy="5405120"/>
        </p:xfrm>
        <a:graphic>
          <a:graphicData uri="http://schemas.openxmlformats.org/drawingml/2006/table">
            <a:tbl>
              <a:tblPr firstRow="1" bandRow="1">
                <a:tableStyleId>{5C22544A-7EE6-4342-B048-85BDC9FD1C3A}</a:tableStyleId>
              </a:tblPr>
              <a:tblGrid>
                <a:gridCol w="2021478">
                  <a:extLst>
                    <a:ext uri="{9D8B030D-6E8A-4147-A177-3AD203B41FA5}">
                      <a16:colId xmlns:a16="http://schemas.microsoft.com/office/drawing/2014/main" val="20000"/>
                    </a:ext>
                  </a:extLst>
                </a:gridCol>
                <a:gridCol w="6845560">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tblGrid>
              <a:tr h="370840">
                <a:tc>
                  <a:txBody>
                    <a:bodyPr/>
                    <a:lstStyle/>
                    <a:p>
                      <a:r>
                        <a:rPr lang="en-US" sz="1600" dirty="0"/>
                        <a:t>Version</a:t>
                      </a:r>
                    </a:p>
                  </a:txBody>
                  <a:tcPr/>
                </a:tc>
                <a:tc>
                  <a:txBody>
                    <a:bodyPr/>
                    <a:lstStyle/>
                    <a:p>
                      <a:r>
                        <a:rPr lang="en-US" sz="1600"/>
                        <a:t>Changes</a:t>
                      </a:r>
                    </a:p>
                  </a:txBody>
                  <a:tcPr/>
                </a:tc>
                <a:tc>
                  <a:txBody>
                    <a:bodyPr/>
                    <a:lstStyle/>
                    <a:p>
                      <a:r>
                        <a:rPr lang="en-US" sz="1600"/>
                        <a:t>Date</a:t>
                      </a:r>
                    </a:p>
                  </a:txBody>
                  <a:tcPr/>
                </a:tc>
                <a:extLst>
                  <a:ext uri="{0D108BD9-81ED-4DB2-BD59-A6C34878D82A}">
                    <a16:rowId xmlns:a16="http://schemas.microsoft.com/office/drawing/2014/main" val="10000"/>
                  </a:ext>
                </a:extLst>
              </a:tr>
              <a:tr h="370840">
                <a:tc>
                  <a:txBody>
                    <a:bodyPr/>
                    <a:lstStyle/>
                    <a:p>
                      <a:r>
                        <a:rPr lang="en-US" sz="1600"/>
                        <a:t>Version 1.0</a:t>
                      </a:r>
                    </a:p>
                  </a:txBody>
                  <a:tcPr/>
                </a:tc>
                <a:tc>
                  <a:txBody>
                    <a:bodyPr/>
                    <a:lstStyle/>
                    <a:p>
                      <a:endParaRPr lang="en-US" sz="1600"/>
                    </a:p>
                  </a:txBody>
                  <a:tcPr/>
                </a:tc>
                <a:tc>
                  <a:txBody>
                    <a:bodyPr/>
                    <a:lstStyle/>
                    <a:p>
                      <a:r>
                        <a:rPr lang="en-US" sz="1600"/>
                        <a:t>September</a:t>
                      </a:r>
                    </a:p>
                  </a:txBody>
                  <a:tcPr/>
                </a:tc>
                <a:extLst>
                  <a:ext uri="{0D108BD9-81ED-4DB2-BD59-A6C34878D82A}">
                    <a16:rowId xmlns:a16="http://schemas.microsoft.com/office/drawing/2014/main" val="10001"/>
                  </a:ext>
                </a:extLst>
              </a:tr>
              <a:tr h="370840">
                <a:tc>
                  <a:txBody>
                    <a:bodyPr/>
                    <a:lstStyle/>
                    <a:p>
                      <a:r>
                        <a:rPr lang="en-US" sz="1600"/>
                        <a:t>Version 2.0</a:t>
                      </a:r>
                    </a:p>
                  </a:txBody>
                  <a:tcPr/>
                </a:tc>
                <a:tc>
                  <a:txBody>
                    <a:bodyPr/>
                    <a:lstStyle/>
                    <a:p>
                      <a:pPr lvl="0"/>
                      <a:r>
                        <a:rPr lang="it-IT" sz="1600">
                          <a:solidFill>
                            <a:schemeClr val="dk1"/>
                          </a:solidFill>
                          <a:effectLst/>
                          <a:latin typeface="+mn-lt"/>
                          <a:ea typeface="+mn-ea"/>
                          <a:cs typeface="+mn-cs"/>
                        </a:rPr>
                        <a:t>Delete</a:t>
                      </a:r>
                      <a:r>
                        <a:rPr lang="it-IT" sz="1600" baseline="0">
                          <a:solidFill>
                            <a:schemeClr val="dk1"/>
                          </a:solidFill>
                          <a:effectLst/>
                          <a:latin typeface="+mn-lt"/>
                          <a:ea typeface="+mn-ea"/>
                          <a:cs typeface="+mn-cs"/>
                        </a:rPr>
                        <a:t> </a:t>
                      </a:r>
                      <a:r>
                        <a:rPr lang="it-IT" sz="1600">
                          <a:solidFill>
                            <a:schemeClr val="dk1"/>
                          </a:solidFill>
                          <a:effectLst/>
                          <a:latin typeface="+mn-lt"/>
                          <a:ea typeface="+mn-ea"/>
                          <a:cs typeface="+mn-cs"/>
                        </a:rPr>
                        <a:t>TCONS </a:t>
                      </a:r>
                      <a:r>
                        <a:rPr lang="it-IT" sz="1600" err="1">
                          <a:solidFill>
                            <a:schemeClr val="dk1"/>
                          </a:solidFill>
                          <a:effectLst/>
                          <a:latin typeface="+mn-lt"/>
                          <a:ea typeface="+mn-ea"/>
                          <a:cs typeface="+mn-cs"/>
                        </a:rPr>
                        <a:t>expert</a:t>
                      </a:r>
                      <a:r>
                        <a:rPr lang="it-IT" sz="1600">
                          <a:solidFill>
                            <a:schemeClr val="dk1"/>
                          </a:solidFill>
                          <a:effectLst/>
                          <a:latin typeface="+mn-lt"/>
                          <a:ea typeface="+mn-ea"/>
                          <a:cs typeface="+mn-cs"/>
                        </a:rPr>
                        <a:t> from the </a:t>
                      </a:r>
                      <a:r>
                        <a:rPr lang="it-IT" sz="1600" err="1">
                          <a:solidFill>
                            <a:schemeClr val="dk1"/>
                          </a:solidFill>
                          <a:effectLst/>
                          <a:latin typeface="+mn-lt"/>
                          <a:ea typeface="+mn-ea"/>
                          <a:cs typeface="+mn-cs"/>
                        </a:rPr>
                        <a:t>project</a:t>
                      </a:r>
                      <a:r>
                        <a:rPr lang="it-IT" sz="1600">
                          <a:solidFill>
                            <a:schemeClr val="dk1"/>
                          </a:solidFill>
                          <a:effectLst/>
                          <a:latin typeface="+mn-lt"/>
                          <a:ea typeface="+mn-ea"/>
                          <a:cs typeface="+mn-cs"/>
                        </a:rPr>
                        <a:t> team in slide 108  </a:t>
                      </a:r>
                      <a:r>
                        <a:rPr lang="it-IT" sz="1600" err="1">
                          <a:solidFill>
                            <a:schemeClr val="dk1"/>
                          </a:solidFill>
                          <a:effectLst/>
                          <a:latin typeface="+mn-lt"/>
                          <a:ea typeface="+mn-ea"/>
                          <a:cs typeface="+mn-cs"/>
                        </a:rPr>
                        <a:t>based</a:t>
                      </a:r>
                      <a:r>
                        <a:rPr lang="it-IT" sz="1600">
                          <a:solidFill>
                            <a:schemeClr val="dk1"/>
                          </a:solidFill>
                          <a:effectLst/>
                          <a:latin typeface="+mn-lt"/>
                          <a:ea typeface="+mn-ea"/>
                          <a:cs typeface="+mn-cs"/>
                        </a:rPr>
                        <a:t> on the Marelli </a:t>
                      </a:r>
                      <a:r>
                        <a:rPr lang="it-IT" sz="1600" err="1">
                          <a:solidFill>
                            <a:schemeClr val="dk1"/>
                          </a:solidFill>
                          <a:effectLst/>
                          <a:latin typeface="+mn-lt"/>
                          <a:ea typeface="+mn-ea"/>
                          <a:cs typeface="+mn-cs"/>
                        </a:rPr>
                        <a:t>approach</a:t>
                      </a:r>
                      <a:endParaRPr lang="it-IT" sz="1600">
                        <a:solidFill>
                          <a:schemeClr val="dk1"/>
                        </a:solidFill>
                        <a:effectLst/>
                        <a:latin typeface="+mn-lt"/>
                        <a:ea typeface="+mn-ea"/>
                        <a:cs typeface="+mn-cs"/>
                      </a:endParaRPr>
                    </a:p>
                    <a:p>
                      <a:pPr lvl="0"/>
                      <a:endParaRPr lang="it-IT" sz="1600">
                        <a:solidFill>
                          <a:schemeClr val="dk1"/>
                        </a:solidFill>
                        <a:effectLst/>
                        <a:latin typeface="+mn-lt"/>
                        <a:ea typeface="+mn-ea"/>
                        <a:cs typeface="+mn-cs"/>
                      </a:endParaRPr>
                    </a:p>
                    <a:p>
                      <a:pPr lvl="0"/>
                      <a:r>
                        <a:rPr lang="it-IT" sz="1600">
                          <a:solidFill>
                            <a:schemeClr val="dk1"/>
                          </a:solidFill>
                          <a:effectLst/>
                          <a:latin typeface="+mn-lt"/>
                          <a:ea typeface="+mn-ea"/>
                          <a:cs typeface="+mn-cs"/>
                        </a:rPr>
                        <a:t>Training </a:t>
                      </a:r>
                      <a:r>
                        <a:rPr lang="it-IT" sz="1600" err="1">
                          <a:solidFill>
                            <a:schemeClr val="dk1"/>
                          </a:solidFill>
                          <a:effectLst/>
                          <a:latin typeface="+mn-lt"/>
                          <a:ea typeface="+mn-ea"/>
                          <a:cs typeface="+mn-cs"/>
                        </a:rPr>
                        <a:t>activities</a:t>
                      </a:r>
                      <a:r>
                        <a:rPr lang="it-IT" sz="1600">
                          <a:solidFill>
                            <a:schemeClr val="dk1"/>
                          </a:solidFill>
                          <a:effectLst/>
                          <a:latin typeface="+mn-lt"/>
                          <a:ea typeface="+mn-ea"/>
                          <a:cs typeface="+mn-cs"/>
                        </a:rPr>
                        <a:t> </a:t>
                      </a:r>
                      <a:r>
                        <a:rPr lang="it-IT" sz="1600" err="1">
                          <a:solidFill>
                            <a:schemeClr val="dk1"/>
                          </a:solidFill>
                          <a:effectLst/>
                          <a:latin typeface="+mn-lt"/>
                          <a:ea typeface="+mn-ea"/>
                          <a:cs typeface="+mn-cs"/>
                        </a:rPr>
                        <a:t>explained</a:t>
                      </a:r>
                      <a:r>
                        <a:rPr lang="it-IT" sz="1600">
                          <a:solidFill>
                            <a:schemeClr val="dk1"/>
                          </a:solidFill>
                          <a:effectLst/>
                          <a:latin typeface="+mn-lt"/>
                          <a:ea typeface="+mn-ea"/>
                          <a:cs typeface="+mn-cs"/>
                        </a:rPr>
                        <a:t> in slide 141</a:t>
                      </a:r>
                    </a:p>
                    <a:p>
                      <a:pPr lvl="0"/>
                      <a:endParaRPr lang="it-IT" sz="1600">
                        <a:solidFill>
                          <a:schemeClr val="dk1"/>
                        </a:solidFill>
                        <a:effectLst/>
                        <a:latin typeface="+mn-lt"/>
                        <a:ea typeface="+mn-ea"/>
                        <a:cs typeface="+mn-cs"/>
                      </a:endParaRPr>
                    </a:p>
                    <a:p>
                      <a:pPr lvl="0"/>
                      <a:r>
                        <a:rPr lang="it-IT" sz="1600" err="1">
                          <a:solidFill>
                            <a:schemeClr val="dk1"/>
                          </a:solidFill>
                          <a:effectLst/>
                          <a:latin typeface="+mn-lt"/>
                          <a:ea typeface="+mn-ea"/>
                          <a:cs typeface="+mn-cs"/>
                        </a:rPr>
                        <a:t>Handover</a:t>
                      </a:r>
                      <a:r>
                        <a:rPr lang="it-IT" sz="1600">
                          <a:solidFill>
                            <a:schemeClr val="dk1"/>
                          </a:solidFill>
                          <a:effectLst/>
                          <a:latin typeface="+mn-lt"/>
                          <a:ea typeface="+mn-ea"/>
                          <a:cs typeface="+mn-cs"/>
                        </a:rPr>
                        <a:t> to AMS, </a:t>
                      </a:r>
                      <a:r>
                        <a:rPr lang="it-IT" sz="1600" err="1">
                          <a:solidFill>
                            <a:schemeClr val="dk1"/>
                          </a:solidFill>
                          <a:effectLst/>
                          <a:latin typeface="+mn-lt"/>
                          <a:ea typeface="+mn-ea"/>
                          <a:cs typeface="+mn-cs"/>
                        </a:rPr>
                        <a:t>max</a:t>
                      </a:r>
                      <a:r>
                        <a:rPr lang="it-IT" sz="1600">
                          <a:solidFill>
                            <a:schemeClr val="dk1"/>
                          </a:solidFill>
                          <a:effectLst/>
                          <a:latin typeface="+mn-lt"/>
                          <a:ea typeface="+mn-ea"/>
                          <a:cs typeface="+mn-cs"/>
                        </a:rPr>
                        <a:t> 10 sessions for w1 (slide 142</a:t>
                      </a:r>
                    </a:p>
                    <a:p>
                      <a:pPr lvl="0"/>
                      <a:endParaRPr lang="it-IT" sz="1600">
                        <a:solidFill>
                          <a:schemeClr val="dk1"/>
                        </a:solidFill>
                        <a:effectLst/>
                        <a:latin typeface="+mn-lt"/>
                        <a:ea typeface="+mn-ea"/>
                        <a:cs typeface="+mn-cs"/>
                      </a:endParaRPr>
                    </a:p>
                    <a:p>
                      <a:pPr lvl="0"/>
                      <a:r>
                        <a:rPr lang="it-IT" sz="1600">
                          <a:solidFill>
                            <a:schemeClr val="dk1"/>
                          </a:solidFill>
                          <a:effectLst/>
                          <a:latin typeface="+mn-lt"/>
                          <a:ea typeface="+mn-ea"/>
                          <a:cs typeface="+mn-cs"/>
                        </a:rPr>
                        <a:t>Q&amp;A session </a:t>
                      </a:r>
                      <a:r>
                        <a:rPr lang="it-IT" sz="1600" err="1">
                          <a:solidFill>
                            <a:schemeClr val="dk1"/>
                          </a:solidFill>
                          <a:effectLst/>
                          <a:latin typeface="+mn-lt"/>
                          <a:ea typeface="+mn-ea"/>
                          <a:cs typeface="+mn-cs"/>
                        </a:rPr>
                        <a:t>points</a:t>
                      </a:r>
                      <a:r>
                        <a:rPr lang="it-IT" sz="1600">
                          <a:solidFill>
                            <a:schemeClr val="dk1"/>
                          </a:solidFill>
                          <a:effectLst/>
                          <a:latin typeface="+mn-lt"/>
                          <a:ea typeface="+mn-ea"/>
                          <a:cs typeface="+mn-cs"/>
                        </a:rPr>
                        <a:t>: slide 143-145</a:t>
                      </a:r>
                      <a:endParaRPr lang="en-US" sz="1600"/>
                    </a:p>
                  </a:txBody>
                  <a:tcPr/>
                </a:tc>
                <a:tc>
                  <a:txBody>
                    <a:bodyPr/>
                    <a:lstStyle/>
                    <a:p>
                      <a:r>
                        <a:rPr lang="en-US" sz="1600"/>
                        <a:t>October</a:t>
                      </a:r>
                    </a:p>
                  </a:txBody>
                  <a:tcPr/>
                </a:tc>
                <a:extLst>
                  <a:ext uri="{0D108BD9-81ED-4DB2-BD59-A6C34878D82A}">
                    <a16:rowId xmlns:a16="http://schemas.microsoft.com/office/drawing/2014/main" val="10002"/>
                  </a:ext>
                </a:extLst>
              </a:tr>
              <a:tr h="370840">
                <a:tc>
                  <a:txBody>
                    <a:bodyPr/>
                    <a:lstStyle/>
                    <a:p>
                      <a:r>
                        <a:rPr lang="en-US" sz="1600"/>
                        <a:t>Version 3.0</a:t>
                      </a:r>
                    </a:p>
                  </a:txBody>
                  <a:tcPr/>
                </a:tc>
                <a:tc>
                  <a:txBody>
                    <a:bodyPr/>
                    <a:lstStyle/>
                    <a:p>
                      <a:pPr lvl="0"/>
                      <a:r>
                        <a:rPr lang="en-US" sz="1600"/>
                        <a:t>Extended technical warranty support to 24 months (slide 142)</a:t>
                      </a:r>
                    </a:p>
                    <a:p>
                      <a:pPr lvl="0"/>
                      <a:endParaRPr lang="en-US" sz="1600"/>
                    </a:p>
                    <a:p>
                      <a:pPr lvl="0"/>
                      <a:r>
                        <a:rPr lang="en-US" sz="1600"/>
                        <a:t>Project plan: adjustment on elapsed in slide 8</a:t>
                      </a:r>
                    </a:p>
                    <a:p>
                      <a:pPr lvl="0"/>
                      <a:endParaRPr lang="en-US" sz="1600"/>
                    </a:p>
                    <a:p>
                      <a:pPr lvl="0"/>
                      <a:r>
                        <a:rPr lang="en-US" sz="1600"/>
                        <a:t>Q&amp;A feedbacks: slides from 146 to 150 added to the presentation</a:t>
                      </a:r>
                    </a:p>
                  </a:txBody>
                  <a:tcPr/>
                </a:tc>
                <a:tc>
                  <a:txBody>
                    <a:bodyPr/>
                    <a:lstStyle/>
                    <a:p>
                      <a:r>
                        <a:rPr lang="en-US" sz="1600"/>
                        <a:t>October 20th</a:t>
                      </a:r>
                    </a:p>
                  </a:txBody>
                  <a:tcPr/>
                </a:tc>
                <a:extLst>
                  <a:ext uri="{0D108BD9-81ED-4DB2-BD59-A6C34878D82A}">
                    <a16:rowId xmlns:a16="http://schemas.microsoft.com/office/drawing/2014/main" val="108562565"/>
                  </a:ext>
                </a:extLst>
              </a:tr>
              <a:tr h="370840">
                <a:tc>
                  <a:txBody>
                    <a:bodyPr/>
                    <a:lstStyle/>
                    <a:p>
                      <a:r>
                        <a:rPr lang="en-US" sz="1600"/>
                        <a:t>Version 4.0</a:t>
                      </a:r>
                    </a:p>
                  </a:txBody>
                  <a:tcPr/>
                </a:tc>
                <a:tc>
                  <a:txBody>
                    <a:bodyPr/>
                    <a:lstStyle/>
                    <a:p>
                      <a:pPr lvl="0"/>
                      <a:r>
                        <a:rPr lang="en-US" sz="1600" dirty="0"/>
                        <a:t>Introduced MARC in the overall architecture, as per Marelli requirements. MARC implementation will be managed by another system integrator, therefore effort estimates for SFDC activities have been reviewed</a:t>
                      </a:r>
                    </a:p>
                    <a:p>
                      <a:pPr lvl="0"/>
                      <a:endParaRPr lang="en-US" sz="1600" dirty="0"/>
                    </a:p>
                    <a:p>
                      <a:pPr lvl="0"/>
                      <a:r>
                        <a:rPr lang="en-US" sz="1600" dirty="0"/>
                        <a:t>Updated slides: 112, 121-124, 129, 141, 148, 149, 151</a:t>
                      </a:r>
                    </a:p>
                  </a:txBody>
                  <a:tcPr/>
                </a:tc>
                <a:tc>
                  <a:txBody>
                    <a:bodyPr/>
                    <a:lstStyle/>
                    <a:p>
                      <a:r>
                        <a:rPr lang="en-US" sz="1600" dirty="0"/>
                        <a:t>November 6th</a:t>
                      </a:r>
                    </a:p>
                  </a:txBody>
                  <a:tcPr/>
                </a:tc>
                <a:extLst>
                  <a:ext uri="{0D108BD9-81ED-4DB2-BD59-A6C34878D82A}">
                    <a16:rowId xmlns:a16="http://schemas.microsoft.com/office/drawing/2014/main" val="4189210497"/>
                  </a:ext>
                </a:extLst>
              </a:tr>
            </a:tbl>
          </a:graphicData>
        </a:graphic>
      </p:graphicFrame>
    </p:spTree>
    <p:extLst>
      <p:ext uri="{BB962C8B-B14F-4D97-AF65-F5344CB8AC3E}">
        <p14:creationId xmlns:p14="http://schemas.microsoft.com/office/powerpoint/2010/main" val="2436276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168020"/>
            <a:ext cx="10673715" cy="422275"/>
          </a:xfrm>
          <a:prstGeom prst="rect">
            <a:avLst/>
          </a:prstGeom>
        </p:spPr>
        <p:txBody>
          <a:bodyPr vert="horz" wrap="square" lIns="0" tIns="12700" rIns="0" bIns="0" rtlCol="0">
            <a:spAutoFit/>
          </a:bodyPr>
          <a:lstStyle/>
          <a:p>
            <a:pPr marL="12700">
              <a:lnSpc>
                <a:spcPct val="100000"/>
              </a:lnSpc>
              <a:spcBef>
                <a:spcPts val="100"/>
              </a:spcBef>
            </a:pPr>
            <a:r>
              <a:rPr sz="2600" spc="-5">
                <a:solidFill>
                  <a:srgbClr val="006FAC"/>
                </a:solidFill>
                <a:latin typeface="Verdana"/>
                <a:cs typeface="Verdana"/>
              </a:rPr>
              <a:t>Enable </a:t>
            </a:r>
            <a:r>
              <a:rPr sz="2600">
                <a:solidFill>
                  <a:srgbClr val="006FAC"/>
                </a:solidFill>
                <a:latin typeface="Verdana"/>
                <a:cs typeface="Verdana"/>
              </a:rPr>
              <a:t>clients </a:t>
            </a:r>
            <a:r>
              <a:rPr sz="2600" spc="-5">
                <a:solidFill>
                  <a:srgbClr val="006FAC"/>
                </a:solidFill>
                <a:latin typeface="Verdana"/>
                <a:cs typeface="Verdana"/>
              </a:rPr>
              <a:t>to </a:t>
            </a:r>
            <a:r>
              <a:rPr sz="2600">
                <a:solidFill>
                  <a:srgbClr val="006FAC"/>
                </a:solidFill>
                <a:latin typeface="Verdana"/>
                <a:cs typeface="Verdana"/>
              </a:rPr>
              <a:t>realize </a:t>
            </a:r>
            <a:r>
              <a:rPr sz="2600" spc="-5">
                <a:solidFill>
                  <a:srgbClr val="006FAC"/>
                </a:solidFill>
                <a:latin typeface="Verdana"/>
                <a:cs typeface="Verdana"/>
              </a:rPr>
              <a:t>the full </a:t>
            </a:r>
            <a:r>
              <a:rPr sz="2600" spc="-10">
                <a:solidFill>
                  <a:srgbClr val="006FAC"/>
                </a:solidFill>
                <a:latin typeface="Verdana"/>
                <a:cs typeface="Verdana"/>
              </a:rPr>
              <a:t>value </a:t>
            </a:r>
            <a:r>
              <a:rPr sz="2600">
                <a:solidFill>
                  <a:srgbClr val="006FAC"/>
                </a:solidFill>
                <a:latin typeface="Verdana"/>
                <a:cs typeface="Verdana"/>
              </a:rPr>
              <a:t>of </a:t>
            </a:r>
            <a:r>
              <a:rPr sz="2600" spc="-5">
                <a:solidFill>
                  <a:srgbClr val="006FAC"/>
                </a:solidFill>
                <a:latin typeface="Verdana"/>
                <a:cs typeface="Verdana"/>
              </a:rPr>
              <a:t>the </a:t>
            </a:r>
            <a:r>
              <a:rPr sz="2600">
                <a:solidFill>
                  <a:srgbClr val="006FAC"/>
                </a:solidFill>
                <a:latin typeface="Verdana"/>
                <a:cs typeface="Verdana"/>
              </a:rPr>
              <a:t>Salesforce</a:t>
            </a:r>
            <a:r>
              <a:rPr sz="2600" spc="-55">
                <a:solidFill>
                  <a:srgbClr val="006FAC"/>
                </a:solidFill>
                <a:latin typeface="Verdana"/>
                <a:cs typeface="Verdana"/>
              </a:rPr>
              <a:t> </a:t>
            </a:r>
            <a:r>
              <a:rPr sz="2600">
                <a:solidFill>
                  <a:srgbClr val="006FAC"/>
                </a:solidFill>
                <a:latin typeface="Verdana"/>
                <a:cs typeface="Verdana"/>
              </a:rPr>
              <a:t>platform</a:t>
            </a:r>
            <a:endParaRPr sz="2600">
              <a:latin typeface="Verdana"/>
              <a:cs typeface="Verdana"/>
            </a:endParaRPr>
          </a:p>
        </p:txBody>
      </p:sp>
      <p:sp>
        <p:nvSpPr>
          <p:cNvPr id="3" name="object 3"/>
          <p:cNvSpPr/>
          <p:nvPr/>
        </p:nvSpPr>
        <p:spPr>
          <a:xfrm>
            <a:off x="372990" y="1350263"/>
            <a:ext cx="2428133" cy="1688533"/>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701751" y="1685671"/>
            <a:ext cx="1914525" cy="819150"/>
          </a:xfrm>
          <a:prstGeom prst="rect">
            <a:avLst/>
          </a:prstGeom>
        </p:spPr>
        <p:txBody>
          <a:bodyPr vert="horz" wrap="square" lIns="0" tIns="12700" rIns="0" bIns="0" rtlCol="0">
            <a:spAutoFit/>
          </a:bodyPr>
          <a:lstStyle/>
          <a:p>
            <a:pPr marL="12700">
              <a:lnSpc>
                <a:spcPct val="100000"/>
              </a:lnSpc>
              <a:spcBef>
                <a:spcPts val="100"/>
              </a:spcBef>
            </a:pPr>
            <a:r>
              <a:rPr sz="1600" spc="-5">
                <a:solidFill>
                  <a:srgbClr val="FFFFFF"/>
                </a:solidFill>
              </a:rPr>
              <a:t>Over</a:t>
            </a:r>
            <a:r>
              <a:rPr sz="1600" spc="-90">
                <a:solidFill>
                  <a:srgbClr val="FFFFFF"/>
                </a:solidFill>
              </a:rPr>
              <a:t> </a:t>
            </a:r>
            <a:r>
              <a:rPr sz="3600">
                <a:solidFill>
                  <a:srgbClr val="FFFFFF"/>
                </a:solidFill>
              </a:rPr>
              <a:t>1,000</a:t>
            </a:r>
            <a:endParaRPr sz="3600"/>
          </a:p>
          <a:p>
            <a:pPr marL="12700">
              <a:lnSpc>
                <a:spcPct val="100000"/>
              </a:lnSpc>
              <a:spcBef>
                <a:spcPts val="5"/>
              </a:spcBef>
            </a:pPr>
            <a:r>
              <a:rPr sz="1600" spc="-5">
                <a:solidFill>
                  <a:srgbClr val="FFFFFF"/>
                </a:solidFill>
              </a:rPr>
              <a:t>Salesforce</a:t>
            </a:r>
            <a:r>
              <a:rPr sz="1600" spc="-20">
                <a:solidFill>
                  <a:srgbClr val="FFFFFF"/>
                </a:solidFill>
              </a:rPr>
              <a:t> </a:t>
            </a:r>
            <a:r>
              <a:rPr sz="1600" spc="-10">
                <a:solidFill>
                  <a:srgbClr val="FFFFFF"/>
                </a:solidFill>
              </a:rPr>
              <a:t>clients</a:t>
            </a:r>
            <a:endParaRPr sz="1600"/>
          </a:p>
        </p:txBody>
      </p:sp>
      <p:sp>
        <p:nvSpPr>
          <p:cNvPr id="5" name="object 5"/>
          <p:cNvSpPr/>
          <p:nvPr/>
        </p:nvSpPr>
        <p:spPr>
          <a:xfrm>
            <a:off x="2836532" y="1941576"/>
            <a:ext cx="1930959" cy="1335365"/>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3169157" y="2023617"/>
            <a:ext cx="1273175" cy="941705"/>
          </a:xfrm>
          <a:prstGeom prst="rect">
            <a:avLst/>
          </a:prstGeom>
        </p:spPr>
        <p:txBody>
          <a:bodyPr vert="horz" wrap="square" lIns="0" tIns="12065" rIns="0" bIns="0" rtlCol="0">
            <a:spAutoFit/>
          </a:bodyPr>
          <a:lstStyle/>
          <a:p>
            <a:pPr marL="12700" marR="5080">
              <a:lnSpc>
                <a:spcPct val="100099"/>
              </a:lnSpc>
              <a:spcBef>
                <a:spcPts val="95"/>
              </a:spcBef>
            </a:pPr>
            <a:r>
              <a:rPr sz="3600">
                <a:solidFill>
                  <a:srgbClr val="FFFFFF"/>
                </a:solidFill>
                <a:latin typeface="Verdana"/>
                <a:cs typeface="Verdana"/>
              </a:rPr>
              <a:t>13 </a:t>
            </a:r>
            <a:r>
              <a:rPr sz="1200" spc="-20">
                <a:solidFill>
                  <a:srgbClr val="FFFFFF"/>
                </a:solidFill>
                <a:latin typeface="Verdana"/>
                <a:cs typeface="Verdana"/>
              </a:rPr>
              <a:t>Year  </a:t>
            </a:r>
            <a:r>
              <a:rPr sz="1200" spc="-5">
                <a:solidFill>
                  <a:srgbClr val="FFFFFF"/>
                </a:solidFill>
                <a:latin typeface="Verdana"/>
                <a:cs typeface="Verdana"/>
              </a:rPr>
              <a:t>Partnership</a:t>
            </a:r>
            <a:r>
              <a:rPr sz="1200" spc="-70">
                <a:solidFill>
                  <a:srgbClr val="FFFFFF"/>
                </a:solidFill>
                <a:latin typeface="Verdana"/>
                <a:cs typeface="Verdana"/>
              </a:rPr>
              <a:t> </a:t>
            </a:r>
            <a:r>
              <a:rPr sz="1200" spc="-5">
                <a:solidFill>
                  <a:srgbClr val="FFFFFF"/>
                </a:solidFill>
                <a:latin typeface="Verdana"/>
                <a:cs typeface="Verdana"/>
              </a:rPr>
              <a:t>with  Salesforce</a:t>
            </a:r>
            <a:endParaRPr sz="1200">
              <a:latin typeface="Verdana"/>
              <a:cs typeface="Verdana"/>
            </a:endParaRPr>
          </a:p>
        </p:txBody>
      </p:sp>
      <p:sp>
        <p:nvSpPr>
          <p:cNvPr id="7" name="object 7"/>
          <p:cNvSpPr/>
          <p:nvPr/>
        </p:nvSpPr>
        <p:spPr>
          <a:xfrm>
            <a:off x="387095" y="3848100"/>
            <a:ext cx="1412875" cy="1411605"/>
          </a:xfrm>
          <a:custGeom>
            <a:avLst/>
            <a:gdLst/>
            <a:ahLst/>
            <a:cxnLst/>
            <a:rect l="l" t="t" r="r" b="b"/>
            <a:pathLst>
              <a:path w="1412875" h="1411604">
                <a:moveTo>
                  <a:pt x="706373" y="0"/>
                </a:moveTo>
                <a:lnTo>
                  <a:pt x="658011" y="1628"/>
                </a:lnTo>
                <a:lnTo>
                  <a:pt x="610523" y="6442"/>
                </a:lnTo>
                <a:lnTo>
                  <a:pt x="564015" y="14338"/>
                </a:lnTo>
                <a:lnTo>
                  <a:pt x="518592" y="25209"/>
                </a:lnTo>
                <a:lnTo>
                  <a:pt x="474359" y="38951"/>
                </a:lnTo>
                <a:lnTo>
                  <a:pt x="431421" y="55459"/>
                </a:lnTo>
                <a:lnTo>
                  <a:pt x="389884" y="74627"/>
                </a:lnTo>
                <a:lnTo>
                  <a:pt x="349853" y="96350"/>
                </a:lnTo>
                <a:lnTo>
                  <a:pt x="311434" y="120523"/>
                </a:lnTo>
                <a:lnTo>
                  <a:pt x="274730" y="147042"/>
                </a:lnTo>
                <a:lnTo>
                  <a:pt x="239848" y="175800"/>
                </a:lnTo>
                <a:lnTo>
                  <a:pt x="206892" y="206692"/>
                </a:lnTo>
                <a:lnTo>
                  <a:pt x="175968" y="239614"/>
                </a:lnTo>
                <a:lnTo>
                  <a:pt x="147182" y="274460"/>
                </a:lnTo>
                <a:lnTo>
                  <a:pt x="120637" y="311125"/>
                </a:lnTo>
                <a:lnTo>
                  <a:pt x="96440" y="349504"/>
                </a:lnTo>
                <a:lnTo>
                  <a:pt x="74696" y="389491"/>
                </a:lnTo>
                <a:lnTo>
                  <a:pt x="55510" y="430982"/>
                </a:lnTo>
                <a:lnTo>
                  <a:pt x="38987" y="473871"/>
                </a:lnTo>
                <a:lnTo>
                  <a:pt x="25232" y="518054"/>
                </a:lnTo>
                <a:lnTo>
                  <a:pt x="14351" y="563424"/>
                </a:lnTo>
                <a:lnTo>
                  <a:pt x="6448" y="609877"/>
                </a:lnTo>
                <a:lnTo>
                  <a:pt x="1629" y="657308"/>
                </a:lnTo>
                <a:lnTo>
                  <a:pt x="0" y="705612"/>
                </a:lnTo>
                <a:lnTo>
                  <a:pt x="1629" y="753915"/>
                </a:lnTo>
                <a:lnTo>
                  <a:pt x="6448" y="801346"/>
                </a:lnTo>
                <a:lnTo>
                  <a:pt x="14351" y="847799"/>
                </a:lnTo>
                <a:lnTo>
                  <a:pt x="25232" y="893169"/>
                </a:lnTo>
                <a:lnTo>
                  <a:pt x="38987" y="937352"/>
                </a:lnTo>
                <a:lnTo>
                  <a:pt x="55510" y="980241"/>
                </a:lnTo>
                <a:lnTo>
                  <a:pt x="74696" y="1021732"/>
                </a:lnTo>
                <a:lnTo>
                  <a:pt x="96440" y="1061720"/>
                </a:lnTo>
                <a:lnTo>
                  <a:pt x="120637" y="1100098"/>
                </a:lnTo>
                <a:lnTo>
                  <a:pt x="147182" y="1136763"/>
                </a:lnTo>
                <a:lnTo>
                  <a:pt x="175968" y="1171609"/>
                </a:lnTo>
                <a:lnTo>
                  <a:pt x="206892" y="1204531"/>
                </a:lnTo>
                <a:lnTo>
                  <a:pt x="239848" y="1235423"/>
                </a:lnTo>
                <a:lnTo>
                  <a:pt x="274730" y="1264181"/>
                </a:lnTo>
                <a:lnTo>
                  <a:pt x="311434" y="1290700"/>
                </a:lnTo>
                <a:lnTo>
                  <a:pt x="349853" y="1314873"/>
                </a:lnTo>
                <a:lnTo>
                  <a:pt x="389884" y="1336596"/>
                </a:lnTo>
                <a:lnTo>
                  <a:pt x="431421" y="1355764"/>
                </a:lnTo>
                <a:lnTo>
                  <a:pt x="474359" y="1372272"/>
                </a:lnTo>
                <a:lnTo>
                  <a:pt x="518592" y="1386014"/>
                </a:lnTo>
                <a:lnTo>
                  <a:pt x="564015" y="1396885"/>
                </a:lnTo>
                <a:lnTo>
                  <a:pt x="610523" y="1404781"/>
                </a:lnTo>
                <a:lnTo>
                  <a:pt x="658011" y="1409595"/>
                </a:lnTo>
                <a:lnTo>
                  <a:pt x="706373" y="1411224"/>
                </a:lnTo>
                <a:lnTo>
                  <a:pt x="754739" y="1409595"/>
                </a:lnTo>
                <a:lnTo>
                  <a:pt x="802229" y="1404781"/>
                </a:lnTo>
                <a:lnTo>
                  <a:pt x="848740" y="1396885"/>
                </a:lnTo>
                <a:lnTo>
                  <a:pt x="894164" y="1386014"/>
                </a:lnTo>
                <a:lnTo>
                  <a:pt x="938398" y="1372272"/>
                </a:lnTo>
                <a:lnTo>
                  <a:pt x="981336" y="1355764"/>
                </a:lnTo>
                <a:lnTo>
                  <a:pt x="1022874" y="1336596"/>
                </a:lnTo>
                <a:lnTo>
                  <a:pt x="1062905" y="1314873"/>
                </a:lnTo>
                <a:lnTo>
                  <a:pt x="1101325" y="1290700"/>
                </a:lnTo>
                <a:lnTo>
                  <a:pt x="1138028" y="1264181"/>
                </a:lnTo>
                <a:lnTo>
                  <a:pt x="1172910" y="1235423"/>
                </a:lnTo>
                <a:lnTo>
                  <a:pt x="1205864" y="1204531"/>
                </a:lnTo>
                <a:lnTo>
                  <a:pt x="1236787" y="1171609"/>
                </a:lnTo>
                <a:lnTo>
                  <a:pt x="1265573" y="1136763"/>
                </a:lnTo>
                <a:lnTo>
                  <a:pt x="1292116" y="1100098"/>
                </a:lnTo>
                <a:lnTo>
                  <a:pt x="1316312" y="1061720"/>
                </a:lnTo>
                <a:lnTo>
                  <a:pt x="1338055" y="1021732"/>
                </a:lnTo>
                <a:lnTo>
                  <a:pt x="1357241" y="980241"/>
                </a:lnTo>
                <a:lnTo>
                  <a:pt x="1373763" y="937352"/>
                </a:lnTo>
                <a:lnTo>
                  <a:pt x="1387517" y="893169"/>
                </a:lnTo>
                <a:lnTo>
                  <a:pt x="1398397" y="847799"/>
                </a:lnTo>
                <a:lnTo>
                  <a:pt x="1406300" y="801346"/>
                </a:lnTo>
                <a:lnTo>
                  <a:pt x="1411118" y="753915"/>
                </a:lnTo>
                <a:lnTo>
                  <a:pt x="1412748" y="705612"/>
                </a:lnTo>
                <a:lnTo>
                  <a:pt x="1411118" y="657308"/>
                </a:lnTo>
                <a:lnTo>
                  <a:pt x="1406300" y="609877"/>
                </a:lnTo>
                <a:lnTo>
                  <a:pt x="1398397" y="563424"/>
                </a:lnTo>
                <a:lnTo>
                  <a:pt x="1387517" y="518054"/>
                </a:lnTo>
                <a:lnTo>
                  <a:pt x="1373763" y="473871"/>
                </a:lnTo>
                <a:lnTo>
                  <a:pt x="1357241" y="430982"/>
                </a:lnTo>
                <a:lnTo>
                  <a:pt x="1338055" y="389491"/>
                </a:lnTo>
                <a:lnTo>
                  <a:pt x="1316312" y="349504"/>
                </a:lnTo>
                <a:lnTo>
                  <a:pt x="1292116" y="311125"/>
                </a:lnTo>
                <a:lnTo>
                  <a:pt x="1265573" y="274460"/>
                </a:lnTo>
                <a:lnTo>
                  <a:pt x="1236787" y="239614"/>
                </a:lnTo>
                <a:lnTo>
                  <a:pt x="1205864" y="206692"/>
                </a:lnTo>
                <a:lnTo>
                  <a:pt x="1172910" y="175800"/>
                </a:lnTo>
                <a:lnTo>
                  <a:pt x="1138028" y="147042"/>
                </a:lnTo>
                <a:lnTo>
                  <a:pt x="1101325" y="120523"/>
                </a:lnTo>
                <a:lnTo>
                  <a:pt x="1062905" y="96350"/>
                </a:lnTo>
                <a:lnTo>
                  <a:pt x="1022874" y="74627"/>
                </a:lnTo>
                <a:lnTo>
                  <a:pt x="981336" y="55459"/>
                </a:lnTo>
                <a:lnTo>
                  <a:pt x="938398" y="38951"/>
                </a:lnTo>
                <a:lnTo>
                  <a:pt x="894164" y="25209"/>
                </a:lnTo>
                <a:lnTo>
                  <a:pt x="848740" y="14338"/>
                </a:lnTo>
                <a:lnTo>
                  <a:pt x="802229" y="6442"/>
                </a:lnTo>
                <a:lnTo>
                  <a:pt x="754739" y="1628"/>
                </a:lnTo>
                <a:lnTo>
                  <a:pt x="706373" y="0"/>
                </a:lnTo>
                <a:close/>
              </a:path>
            </a:pathLst>
          </a:custGeom>
          <a:solidFill>
            <a:srgbClr val="12ABDB"/>
          </a:solidFill>
        </p:spPr>
        <p:txBody>
          <a:bodyPr wrap="square" lIns="0" tIns="0" rIns="0" bIns="0" rtlCol="0"/>
          <a:lstStyle/>
          <a:p>
            <a:endParaRPr/>
          </a:p>
        </p:txBody>
      </p:sp>
      <p:sp>
        <p:nvSpPr>
          <p:cNvPr id="8" name="object 8"/>
          <p:cNvSpPr/>
          <p:nvPr/>
        </p:nvSpPr>
        <p:spPr>
          <a:xfrm>
            <a:off x="387095" y="3848100"/>
            <a:ext cx="1412875" cy="1411605"/>
          </a:xfrm>
          <a:custGeom>
            <a:avLst/>
            <a:gdLst/>
            <a:ahLst/>
            <a:cxnLst/>
            <a:rect l="l" t="t" r="r" b="b"/>
            <a:pathLst>
              <a:path w="1412875" h="1411604">
                <a:moveTo>
                  <a:pt x="0" y="705612"/>
                </a:moveTo>
                <a:lnTo>
                  <a:pt x="1629" y="657308"/>
                </a:lnTo>
                <a:lnTo>
                  <a:pt x="6448" y="609877"/>
                </a:lnTo>
                <a:lnTo>
                  <a:pt x="14351" y="563424"/>
                </a:lnTo>
                <a:lnTo>
                  <a:pt x="25232" y="518054"/>
                </a:lnTo>
                <a:lnTo>
                  <a:pt x="38987" y="473871"/>
                </a:lnTo>
                <a:lnTo>
                  <a:pt x="55510" y="430982"/>
                </a:lnTo>
                <a:lnTo>
                  <a:pt x="74696" y="389491"/>
                </a:lnTo>
                <a:lnTo>
                  <a:pt x="96440" y="349503"/>
                </a:lnTo>
                <a:lnTo>
                  <a:pt x="120637" y="311125"/>
                </a:lnTo>
                <a:lnTo>
                  <a:pt x="147182" y="274460"/>
                </a:lnTo>
                <a:lnTo>
                  <a:pt x="175968" y="239614"/>
                </a:lnTo>
                <a:lnTo>
                  <a:pt x="206892" y="206692"/>
                </a:lnTo>
                <a:lnTo>
                  <a:pt x="239848" y="175800"/>
                </a:lnTo>
                <a:lnTo>
                  <a:pt x="274730" y="147042"/>
                </a:lnTo>
                <a:lnTo>
                  <a:pt x="311434" y="120523"/>
                </a:lnTo>
                <a:lnTo>
                  <a:pt x="349853" y="96350"/>
                </a:lnTo>
                <a:lnTo>
                  <a:pt x="389884" y="74627"/>
                </a:lnTo>
                <a:lnTo>
                  <a:pt x="431421" y="55459"/>
                </a:lnTo>
                <a:lnTo>
                  <a:pt x="474359" y="38951"/>
                </a:lnTo>
                <a:lnTo>
                  <a:pt x="518592" y="25209"/>
                </a:lnTo>
                <a:lnTo>
                  <a:pt x="564015" y="14338"/>
                </a:lnTo>
                <a:lnTo>
                  <a:pt x="610523" y="6442"/>
                </a:lnTo>
                <a:lnTo>
                  <a:pt x="658011" y="1628"/>
                </a:lnTo>
                <a:lnTo>
                  <a:pt x="706373" y="0"/>
                </a:lnTo>
                <a:lnTo>
                  <a:pt x="754739" y="1628"/>
                </a:lnTo>
                <a:lnTo>
                  <a:pt x="802229" y="6442"/>
                </a:lnTo>
                <a:lnTo>
                  <a:pt x="848740" y="14338"/>
                </a:lnTo>
                <a:lnTo>
                  <a:pt x="894164" y="25209"/>
                </a:lnTo>
                <a:lnTo>
                  <a:pt x="938398" y="38951"/>
                </a:lnTo>
                <a:lnTo>
                  <a:pt x="981336" y="55459"/>
                </a:lnTo>
                <a:lnTo>
                  <a:pt x="1022874" y="74627"/>
                </a:lnTo>
                <a:lnTo>
                  <a:pt x="1062905" y="96350"/>
                </a:lnTo>
                <a:lnTo>
                  <a:pt x="1101325" y="120523"/>
                </a:lnTo>
                <a:lnTo>
                  <a:pt x="1138028" y="147042"/>
                </a:lnTo>
                <a:lnTo>
                  <a:pt x="1172910" y="175800"/>
                </a:lnTo>
                <a:lnTo>
                  <a:pt x="1205864" y="206692"/>
                </a:lnTo>
                <a:lnTo>
                  <a:pt x="1236787" y="239614"/>
                </a:lnTo>
                <a:lnTo>
                  <a:pt x="1265573" y="274460"/>
                </a:lnTo>
                <a:lnTo>
                  <a:pt x="1292116" y="311125"/>
                </a:lnTo>
                <a:lnTo>
                  <a:pt x="1316312" y="349504"/>
                </a:lnTo>
                <a:lnTo>
                  <a:pt x="1338055" y="389491"/>
                </a:lnTo>
                <a:lnTo>
                  <a:pt x="1357241" y="430982"/>
                </a:lnTo>
                <a:lnTo>
                  <a:pt x="1373763" y="473871"/>
                </a:lnTo>
                <a:lnTo>
                  <a:pt x="1387517" y="518054"/>
                </a:lnTo>
                <a:lnTo>
                  <a:pt x="1398397" y="563424"/>
                </a:lnTo>
                <a:lnTo>
                  <a:pt x="1406300" y="609877"/>
                </a:lnTo>
                <a:lnTo>
                  <a:pt x="1411118" y="657308"/>
                </a:lnTo>
                <a:lnTo>
                  <a:pt x="1412748" y="705612"/>
                </a:lnTo>
                <a:lnTo>
                  <a:pt x="1411118" y="753915"/>
                </a:lnTo>
                <a:lnTo>
                  <a:pt x="1406300" y="801346"/>
                </a:lnTo>
                <a:lnTo>
                  <a:pt x="1398397" y="847799"/>
                </a:lnTo>
                <a:lnTo>
                  <a:pt x="1387517" y="893169"/>
                </a:lnTo>
                <a:lnTo>
                  <a:pt x="1373763" y="937352"/>
                </a:lnTo>
                <a:lnTo>
                  <a:pt x="1357241" y="980241"/>
                </a:lnTo>
                <a:lnTo>
                  <a:pt x="1338055" y="1021732"/>
                </a:lnTo>
                <a:lnTo>
                  <a:pt x="1316312" y="1061720"/>
                </a:lnTo>
                <a:lnTo>
                  <a:pt x="1292116" y="1100098"/>
                </a:lnTo>
                <a:lnTo>
                  <a:pt x="1265573" y="1136763"/>
                </a:lnTo>
                <a:lnTo>
                  <a:pt x="1236787" y="1171609"/>
                </a:lnTo>
                <a:lnTo>
                  <a:pt x="1205864" y="1204531"/>
                </a:lnTo>
                <a:lnTo>
                  <a:pt x="1172910" y="1235423"/>
                </a:lnTo>
                <a:lnTo>
                  <a:pt x="1138028" y="1264181"/>
                </a:lnTo>
                <a:lnTo>
                  <a:pt x="1101325" y="1290700"/>
                </a:lnTo>
                <a:lnTo>
                  <a:pt x="1062905" y="1314873"/>
                </a:lnTo>
                <a:lnTo>
                  <a:pt x="1022874" y="1336596"/>
                </a:lnTo>
                <a:lnTo>
                  <a:pt x="981336" y="1355764"/>
                </a:lnTo>
                <a:lnTo>
                  <a:pt x="938398" y="1372272"/>
                </a:lnTo>
                <a:lnTo>
                  <a:pt x="894164" y="1386014"/>
                </a:lnTo>
                <a:lnTo>
                  <a:pt x="848740" y="1396885"/>
                </a:lnTo>
                <a:lnTo>
                  <a:pt x="802229" y="1404781"/>
                </a:lnTo>
                <a:lnTo>
                  <a:pt x="754739" y="1409595"/>
                </a:lnTo>
                <a:lnTo>
                  <a:pt x="706373" y="1411224"/>
                </a:lnTo>
                <a:lnTo>
                  <a:pt x="658011" y="1409595"/>
                </a:lnTo>
                <a:lnTo>
                  <a:pt x="610523" y="1404781"/>
                </a:lnTo>
                <a:lnTo>
                  <a:pt x="564015" y="1396885"/>
                </a:lnTo>
                <a:lnTo>
                  <a:pt x="518592" y="1386014"/>
                </a:lnTo>
                <a:lnTo>
                  <a:pt x="474359" y="1372272"/>
                </a:lnTo>
                <a:lnTo>
                  <a:pt x="431421" y="1355764"/>
                </a:lnTo>
                <a:lnTo>
                  <a:pt x="389884" y="1336596"/>
                </a:lnTo>
                <a:lnTo>
                  <a:pt x="349853" y="1314873"/>
                </a:lnTo>
                <a:lnTo>
                  <a:pt x="311434" y="1290700"/>
                </a:lnTo>
                <a:lnTo>
                  <a:pt x="274730" y="1264181"/>
                </a:lnTo>
                <a:lnTo>
                  <a:pt x="239848" y="1235423"/>
                </a:lnTo>
                <a:lnTo>
                  <a:pt x="206892" y="1204531"/>
                </a:lnTo>
                <a:lnTo>
                  <a:pt x="175968" y="1171609"/>
                </a:lnTo>
                <a:lnTo>
                  <a:pt x="147182" y="1136763"/>
                </a:lnTo>
                <a:lnTo>
                  <a:pt x="120637" y="1100098"/>
                </a:lnTo>
                <a:lnTo>
                  <a:pt x="96440" y="1061720"/>
                </a:lnTo>
                <a:lnTo>
                  <a:pt x="74696" y="1021732"/>
                </a:lnTo>
                <a:lnTo>
                  <a:pt x="55510" y="980241"/>
                </a:lnTo>
                <a:lnTo>
                  <a:pt x="38987" y="937352"/>
                </a:lnTo>
                <a:lnTo>
                  <a:pt x="25232" y="893169"/>
                </a:lnTo>
                <a:lnTo>
                  <a:pt x="14351" y="847799"/>
                </a:lnTo>
                <a:lnTo>
                  <a:pt x="6448" y="801346"/>
                </a:lnTo>
                <a:lnTo>
                  <a:pt x="1629" y="753915"/>
                </a:lnTo>
                <a:lnTo>
                  <a:pt x="0" y="705612"/>
                </a:lnTo>
                <a:close/>
              </a:path>
            </a:pathLst>
          </a:custGeom>
          <a:ln w="12192">
            <a:solidFill>
              <a:srgbClr val="12ABDB"/>
            </a:solidFill>
          </a:ln>
        </p:spPr>
        <p:txBody>
          <a:bodyPr wrap="square" lIns="0" tIns="0" rIns="0" bIns="0" rtlCol="0"/>
          <a:lstStyle/>
          <a:p>
            <a:endParaRPr/>
          </a:p>
        </p:txBody>
      </p:sp>
      <p:sp>
        <p:nvSpPr>
          <p:cNvPr id="9" name="object 9"/>
          <p:cNvSpPr txBox="1"/>
          <p:nvPr/>
        </p:nvSpPr>
        <p:spPr>
          <a:xfrm>
            <a:off x="688644" y="4039615"/>
            <a:ext cx="809625" cy="942340"/>
          </a:xfrm>
          <a:prstGeom prst="rect">
            <a:avLst/>
          </a:prstGeom>
        </p:spPr>
        <p:txBody>
          <a:bodyPr vert="horz" wrap="square" lIns="0" tIns="12700" rIns="0" bIns="0" rtlCol="0">
            <a:spAutoFit/>
          </a:bodyPr>
          <a:lstStyle/>
          <a:p>
            <a:pPr marL="82550">
              <a:lnSpc>
                <a:spcPct val="100000"/>
              </a:lnSpc>
              <a:spcBef>
                <a:spcPts val="100"/>
              </a:spcBef>
            </a:pPr>
            <a:r>
              <a:rPr sz="3200" b="1" spc="5">
                <a:solidFill>
                  <a:srgbClr val="FFFFFF"/>
                </a:solidFill>
                <a:latin typeface="Verdana"/>
                <a:cs typeface="Verdana"/>
              </a:rPr>
              <a:t>#1</a:t>
            </a:r>
            <a:endParaRPr sz="3200">
              <a:latin typeface="Verdana"/>
              <a:cs typeface="Verdana"/>
            </a:endParaRPr>
          </a:p>
          <a:p>
            <a:pPr marL="155575" marR="5080" indent="-143510">
              <a:lnSpc>
                <a:spcPct val="100000"/>
              </a:lnSpc>
              <a:spcBef>
                <a:spcPts val="15"/>
              </a:spcBef>
            </a:pPr>
            <a:r>
              <a:rPr sz="1400">
                <a:solidFill>
                  <a:srgbClr val="FFFFFF"/>
                </a:solidFill>
                <a:latin typeface="Verdana"/>
                <a:cs typeface="Verdana"/>
              </a:rPr>
              <a:t>Mu</a:t>
            </a:r>
            <a:r>
              <a:rPr sz="1400" spc="10">
                <a:solidFill>
                  <a:srgbClr val="FFFFFF"/>
                </a:solidFill>
                <a:latin typeface="Verdana"/>
                <a:cs typeface="Verdana"/>
              </a:rPr>
              <a:t>l</a:t>
            </a:r>
            <a:r>
              <a:rPr sz="1400">
                <a:solidFill>
                  <a:srgbClr val="FFFFFF"/>
                </a:solidFill>
                <a:latin typeface="Verdana"/>
                <a:cs typeface="Verdana"/>
              </a:rPr>
              <a:t>eSoft  </a:t>
            </a:r>
            <a:r>
              <a:rPr sz="1400" spc="-5">
                <a:solidFill>
                  <a:srgbClr val="FFFFFF"/>
                </a:solidFill>
                <a:latin typeface="Verdana"/>
                <a:cs typeface="Verdana"/>
              </a:rPr>
              <a:t>EMEA</a:t>
            </a:r>
            <a:endParaRPr sz="1400">
              <a:latin typeface="Verdana"/>
              <a:cs typeface="Verdana"/>
            </a:endParaRPr>
          </a:p>
        </p:txBody>
      </p:sp>
      <p:sp>
        <p:nvSpPr>
          <p:cNvPr id="10" name="object 10"/>
          <p:cNvSpPr/>
          <p:nvPr/>
        </p:nvSpPr>
        <p:spPr>
          <a:xfrm>
            <a:off x="1760220" y="3262884"/>
            <a:ext cx="1868424" cy="1382268"/>
          </a:xfrm>
          <a:prstGeom prst="rect">
            <a:avLst/>
          </a:prstGeom>
          <a:blipFill>
            <a:blip r:embed="rId4" cstate="print"/>
            <a:stretch>
              <a:fillRect/>
            </a:stretch>
          </a:blipFill>
        </p:spPr>
        <p:txBody>
          <a:bodyPr wrap="square" lIns="0" tIns="0" rIns="0" bIns="0" rtlCol="0"/>
          <a:lstStyle/>
          <a:p>
            <a:endParaRPr/>
          </a:p>
        </p:txBody>
      </p:sp>
      <p:sp>
        <p:nvSpPr>
          <p:cNvPr id="11" name="object 11"/>
          <p:cNvSpPr txBox="1"/>
          <p:nvPr/>
        </p:nvSpPr>
        <p:spPr>
          <a:xfrm>
            <a:off x="2004822" y="3403168"/>
            <a:ext cx="1353185" cy="819785"/>
          </a:xfrm>
          <a:prstGeom prst="rect">
            <a:avLst/>
          </a:prstGeom>
        </p:spPr>
        <p:txBody>
          <a:bodyPr vert="horz" wrap="square" lIns="0" tIns="12700" rIns="0" bIns="0" rtlCol="0">
            <a:spAutoFit/>
          </a:bodyPr>
          <a:lstStyle/>
          <a:p>
            <a:pPr marL="12700">
              <a:lnSpc>
                <a:spcPct val="100000"/>
              </a:lnSpc>
              <a:spcBef>
                <a:spcPts val="100"/>
              </a:spcBef>
            </a:pPr>
            <a:r>
              <a:rPr sz="3600" spc="-5">
                <a:solidFill>
                  <a:srgbClr val="FFFFFF"/>
                </a:solidFill>
                <a:latin typeface="Verdana"/>
                <a:cs typeface="Verdana"/>
              </a:rPr>
              <a:t>&gt;7k</a:t>
            </a:r>
            <a:endParaRPr sz="3600">
              <a:latin typeface="Verdana"/>
              <a:cs typeface="Verdana"/>
            </a:endParaRPr>
          </a:p>
          <a:p>
            <a:pPr marL="12700">
              <a:lnSpc>
                <a:spcPct val="100000"/>
              </a:lnSpc>
              <a:spcBef>
                <a:spcPts val="10"/>
              </a:spcBef>
            </a:pPr>
            <a:r>
              <a:rPr sz="1600" spc="-10">
                <a:solidFill>
                  <a:srgbClr val="FFFFFF"/>
                </a:solidFill>
                <a:latin typeface="Verdana"/>
                <a:cs typeface="Verdana"/>
              </a:rPr>
              <a:t>Certifications</a:t>
            </a:r>
            <a:endParaRPr sz="1600">
              <a:latin typeface="Verdana"/>
              <a:cs typeface="Verdana"/>
            </a:endParaRPr>
          </a:p>
        </p:txBody>
      </p:sp>
      <p:sp>
        <p:nvSpPr>
          <p:cNvPr id="12" name="object 12"/>
          <p:cNvSpPr/>
          <p:nvPr/>
        </p:nvSpPr>
        <p:spPr>
          <a:xfrm>
            <a:off x="4419600" y="5402579"/>
            <a:ext cx="2270759" cy="606551"/>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4960620" y="1420367"/>
            <a:ext cx="1175003" cy="780288"/>
          </a:xfrm>
          <a:prstGeom prst="rect">
            <a:avLst/>
          </a:prstGeom>
          <a:blipFill>
            <a:blip r:embed="rId6" cstate="print"/>
            <a:stretch>
              <a:fillRect/>
            </a:stretch>
          </a:blipFill>
        </p:spPr>
        <p:txBody>
          <a:bodyPr wrap="square" lIns="0" tIns="0" rIns="0" bIns="0" rtlCol="0"/>
          <a:lstStyle/>
          <a:p>
            <a:endParaRPr/>
          </a:p>
        </p:txBody>
      </p:sp>
      <p:sp>
        <p:nvSpPr>
          <p:cNvPr id="14" name="object 14"/>
          <p:cNvSpPr/>
          <p:nvPr/>
        </p:nvSpPr>
        <p:spPr>
          <a:xfrm>
            <a:off x="5664233" y="1162729"/>
            <a:ext cx="4734302" cy="4734126"/>
          </a:xfrm>
          <a:prstGeom prst="rect">
            <a:avLst/>
          </a:prstGeom>
          <a:blipFill>
            <a:blip r:embed="rId7" cstate="print"/>
            <a:stretch>
              <a:fillRect/>
            </a:stretch>
          </a:blipFill>
        </p:spPr>
        <p:txBody>
          <a:bodyPr wrap="square" lIns="0" tIns="0" rIns="0" bIns="0" rtlCol="0"/>
          <a:lstStyle/>
          <a:p>
            <a:endParaRPr/>
          </a:p>
        </p:txBody>
      </p:sp>
      <p:sp>
        <p:nvSpPr>
          <p:cNvPr id="15" name="object 15"/>
          <p:cNvSpPr/>
          <p:nvPr/>
        </p:nvSpPr>
        <p:spPr>
          <a:xfrm>
            <a:off x="9887711" y="1591055"/>
            <a:ext cx="1676400" cy="478536"/>
          </a:xfrm>
          <a:prstGeom prst="rect">
            <a:avLst/>
          </a:prstGeom>
          <a:blipFill>
            <a:blip r:embed="rId8" cstate="print"/>
            <a:stretch>
              <a:fillRect/>
            </a:stretch>
          </a:blipFill>
        </p:spPr>
        <p:txBody>
          <a:bodyPr wrap="square" lIns="0" tIns="0" rIns="0" bIns="0" rtlCol="0"/>
          <a:lstStyle/>
          <a:p>
            <a:endParaRPr/>
          </a:p>
        </p:txBody>
      </p:sp>
      <p:sp>
        <p:nvSpPr>
          <p:cNvPr id="16" name="object 16"/>
          <p:cNvSpPr/>
          <p:nvPr/>
        </p:nvSpPr>
        <p:spPr>
          <a:xfrm>
            <a:off x="10117835" y="4171188"/>
            <a:ext cx="1676400" cy="629412"/>
          </a:xfrm>
          <a:prstGeom prst="rect">
            <a:avLst/>
          </a:prstGeom>
          <a:blipFill>
            <a:blip r:embed="rId9" cstate="print"/>
            <a:stretch>
              <a:fillRect/>
            </a:stretch>
          </a:blipFill>
        </p:spPr>
        <p:txBody>
          <a:bodyPr wrap="square" lIns="0" tIns="0" rIns="0" bIns="0" rtlCol="0"/>
          <a:lstStyle/>
          <a:p>
            <a:endParaRPr/>
          </a:p>
        </p:txBody>
      </p:sp>
      <p:sp>
        <p:nvSpPr>
          <p:cNvPr id="17" name="object 17"/>
          <p:cNvSpPr/>
          <p:nvPr/>
        </p:nvSpPr>
        <p:spPr>
          <a:xfrm>
            <a:off x="8357616" y="5907023"/>
            <a:ext cx="1411567" cy="546557"/>
          </a:xfrm>
          <a:prstGeom prst="rect">
            <a:avLst/>
          </a:prstGeom>
          <a:blipFill>
            <a:blip r:embed="rId10" cstate="print"/>
            <a:stretch>
              <a:fillRect/>
            </a:stretch>
          </a:blipFill>
        </p:spPr>
        <p:txBody>
          <a:bodyPr wrap="square" lIns="0" tIns="0" rIns="0" bIns="0" rtlCol="0"/>
          <a:lstStyle/>
          <a:p>
            <a:endParaRPr/>
          </a:p>
        </p:txBody>
      </p:sp>
      <p:sp>
        <p:nvSpPr>
          <p:cNvPr id="18" name="object 18"/>
          <p:cNvSpPr/>
          <p:nvPr/>
        </p:nvSpPr>
        <p:spPr>
          <a:xfrm>
            <a:off x="9445752" y="5027676"/>
            <a:ext cx="2250948" cy="1056132"/>
          </a:xfrm>
          <a:prstGeom prst="rect">
            <a:avLst/>
          </a:prstGeom>
          <a:blipFill>
            <a:blip r:embed="rId11" cstate="print"/>
            <a:stretch>
              <a:fillRect/>
            </a:stretch>
          </a:blipFill>
        </p:spPr>
        <p:txBody>
          <a:bodyPr wrap="square" lIns="0" tIns="0" rIns="0" bIns="0" rtlCol="0"/>
          <a:lstStyle/>
          <a:p>
            <a:endParaRPr/>
          </a:p>
        </p:txBody>
      </p:sp>
      <p:sp>
        <p:nvSpPr>
          <p:cNvPr id="19" name="object 19"/>
          <p:cNvSpPr/>
          <p:nvPr/>
        </p:nvSpPr>
        <p:spPr>
          <a:xfrm>
            <a:off x="10425683" y="3206495"/>
            <a:ext cx="1485900" cy="417575"/>
          </a:xfrm>
          <a:prstGeom prst="rect">
            <a:avLst/>
          </a:prstGeom>
          <a:blipFill>
            <a:blip r:embed="rId12" cstate="print"/>
            <a:stretch>
              <a:fillRect/>
            </a:stretch>
          </a:blipFill>
        </p:spPr>
        <p:txBody>
          <a:bodyPr wrap="square" lIns="0" tIns="0" rIns="0" bIns="0" rtlCol="0"/>
          <a:lstStyle/>
          <a:p>
            <a:endParaRPr/>
          </a:p>
        </p:txBody>
      </p:sp>
      <p:sp>
        <p:nvSpPr>
          <p:cNvPr id="20" name="object 20"/>
          <p:cNvSpPr/>
          <p:nvPr/>
        </p:nvSpPr>
        <p:spPr>
          <a:xfrm>
            <a:off x="4018788" y="3514344"/>
            <a:ext cx="1592580" cy="553211"/>
          </a:xfrm>
          <a:prstGeom prst="rect">
            <a:avLst/>
          </a:prstGeom>
          <a:blipFill>
            <a:blip r:embed="rId13" cstate="print"/>
            <a:stretch>
              <a:fillRect/>
            </a:stretch>
          </a:blipFill>
        </p:spPr>
        <p:txBody>
          <a:bodyPr wrap="square" lIns="0" tIns="0" rIns="0" bIns="0" rtlCol="0"/>
          <a:lstStyle/>
          <a:p>
            <a:endParaRPr/>
          </a:p>
        </p:txBody>
      </p:sp>
      <p:sp>
        <p:nvSpPr>
          <p:cNvPr id="21" name="object 21"/>
          <p:cNvSpPr/>
          <p:nvPr/>
        </p:nvSpPr>
        <p:spPr>
          <a:xfrm>
            <a:off x="8673972" y="2622295"/>
            <a:ext cx="363474" cy="398748"/>
          </a:xfrm>
          <a:prstGeom prst="rect">
            <a:avLst/>
          </a:prstGeom>
          <a:blipFill>
            <a:blip r:embed="rId14" cstate="print"/>
            <a:stretch>
              <a:fillRect/>
            </a:stretch>
          </a:blipFill>
        </p:spPr>
        <p:txBody>
          <a:bodyPr wrap="square" lIns="0" tIns="0" rIns="0" bIns="0" rtlCol="0"/>
          <a:lstStyle/>
          <a:p>
            <a:endParaRPr/>
          </a:p>
        </p:txBody>
      </p:sp>
      <p:sp>
        <p:nvSpPr>
          <p:cNvPr id="22" name="object 22"/>
          <p:cNvSpPr/>
          <p:nvPr/>
        </p:nvSpPr>
        <p:spPr>
          <a:xfrm>
            <a:off x="6907021" y="3016376"/>
            <a:ext cx="165735" cy="158115"/>
          </a:xfrm>
          <a:custGeom>
            <a:avLst/>
            <a:gdLst/>
            <a:ahLst/>
            <a:cxnLst/>
            <a:rect l="l" t="t" r="r" b="b"/>
            <a:pathLst>
              <a:path w="165734" h="158114">
                <a:moveTo>
                  <a:pt x="46608" y="0"/>
                </a:moveTo>
                <a:lnTo>
                  <a:pt x="36956" y="21844"/>
                </a:lnTo>
                <a:lnTo>
                  <a:pt x="89407" y="81661"/>
                </a:lnTo>
                <a:lnTo>
                  <a:pt x="9525" y="84074"/>
                </a:lnTo>
                <a:lnTo>
                  <a:pt x="0" y="105537"/>
                </a:lnTo>
                <a:lnTo>
                  <a:pt x="118491" y="157987"/>
                </a:lnTo>
                <a:lnTo>
                  <a:pt x="125095" y="143256"/>
                </a:lnTo>
                <a:lnTo>
                  <a:pt x="22859" y="98044"/>
                </a:lnTo>
                <a:lnTo>
                  <a:pt x="106806" y="96138"/>
                </a:lnTo>
                <a:lnTo>
                  <a:pt x="110998" y="86740"/>
                </a:lnTo>
                <a:lnTo>
                  <a:pt x="56133" y="22987"/>
                </a:lnTo>
                <a:lnTo>
                  <a:pt x="98720" y="22987"/>
                </a:lnTo>
                <a:lnTo>
                  <a:pt x="46608" y="0"/>
                </a:lnTo>
                <a:close/>
              </a:path>
              <a:path w="165734" h="158114">
                <a:moveTo>
                  <a:pt x="98720" y="22987"/>
                </a:moveTo>
                <a:lnTo>
                  <a:pt x="56133" y="22987"/>
                </a:lnTo>
                <a:lnTo>
                  <a:pt x="158242" y="68199"/>
                </a:lnTo>
                <a:lnTo>
                  <a:pt x="165226" y="52324"/>
                </a:lnTo>
                <a:lnTo>
                  <a:pt x="98720" y="22987"/>
                </a:lnTo>
                <a:close/>
              </a:path>
            </a:pathLst>
          </a:custGeom>
          <a:solidFill>
            <a:srgbClr val="FFFFFF"/>
          </a:solidFill>
        </p:spPr>
        <p:txBody>
          <a:bodyPr wrap="square" lIns="0" tIns="0" rIns="0" bIns="0" rtlCol="0"/>
          <a:lstStyle/>
          <a:p>
            <a:endParaRPr/>
          </a:p>
        </p:txBody>
      </p:sp>
      <p:sp>
        <p:nvSpPr>
          <p:cNvPr id="23" name="object 23"/>
          <p:cNvSpPr/>
          <p:nvPr/>
        </p:nvSpPr>
        <p:spPr>
          <a:xfrm>
            <a:off x="7002906" y="2924175"/>
            <a:ext cx="125730" cy="109855"/>
          </a:xfrm>
          <a:custGeom>
            <a:avLst/>
            <a:gdLst/>
            <a:ahLst/>
            <a:cxnLst/>
            <a:rect l="l" t="t" r="r" b="b"/>
            <a:pathLst>
              <a:path w="125729" h="109855">
                <a:moveTo>
                  <a:pt x="8382" y="55752"/>
                </a:moveTo>
                <a:lnTo>
                  <a:pt x="54228" y="102108"/>
                </a:lnTo>
                <a:lnTo>
                  <a:pt x="75785" y="109358"/>
                </a:lnTo>
                <a:lnTo>
                  <a:pt x="82169" y="108838"/>
                </a:lnTo>
                <a:lnTo>
                  <a:pt x="103142" y="92075"/>
                </a:lnTo>
                <a:lnTo>
                  <a:pt x="73533" y="92075"/>
                </a:lnTo>
                <a:lnTo>
                  <a:pt x="70485" y="91312"/>
                </a:lnTo>
                <a:lnTo>
                  <a:pt x="67183" y="89915"/>
                </a:lnTo>
                <a:lnTo>
                  <a:pt x="64008" y="88519"/>
                </a:lnTo>
                <a:lnTo>
                  <a:pt x="60198" y="86613"/>
                </a:lnTo>
                <a:lnTo>
                  <a:pt x="56007" y="84074"/>
                </a:lnTo>
                <a:lnTo>
                  <a:pt x="8382" y="55752"/>
                </a:lnTo>
                <a:close/>
              </a:path>
              <a:path w="125729" h="109855">
                <a:moveTo>
                  <a:pt x="41656" y="0"/>
                </a:moveTo>
                <a:lnTo>
                  <a:pt x="33274" y="13970"/>
                </a:lnTo>
                <a:lnTo>
                  <a:pt x="95631" y="51180"/>
                </a:lnTo>
                <a:lnTo>
                  <a:pt x="96268" y="55752"/>
                </a:lnTo>
                <a:lnTo>
                  <a:pt x="91440" y="81152"/>
                </a:lnTo>
                <a:lnTo>
                  <a:pt x="89026" y="85344"/>
                </a:lnTo>
                <a:lnTo>
                  <a:pt x="86614" y="88137"/>
                </a:lnTo>
                <a:lnTo>
                  <a:pt x="84327" y="89662"/>
                </a:lnTo>
                <a:lnTo>
                  <a:pt x="82169" y="91186"/>
                </a:lnTo>
                <a:lnTo>
                  <a:pt x="79501" y="91948"/>
                </a:lnTo>
                <a:lnTo>
                  <a:pt x="76453" y="92075"/>
                </a:lnTo>
                <a:lnTo>
                  <a:pt x="103142" y="92075"/>
                </a:lnTo>
                <a:lnTo>
                  <a:pt x="105537" y="87884"/>
                </a:lnTo>
                <a:lnTo>
                  <a:pt x="107442" y="82550"/>
                </a:lnTo>
                <a:lnTo>
                  <a:pt x="108076" y="76962"/>
                </a:lnTo>
                <a:lnTo>
                  <a:pt x="108585" y="71500"/>
                </a:lnTo>
                <a:lnTo>
                  <a:pt x="108458" y="65277"/>
                </a:lnTo>
                <a:lnTo>
                  <a:pt x="107569" y="58292"/>
                </a:lnTo>
                <a:lnTo>
                  <a:pt x="120116" y="58292"/>
                </a:lnTo>
                <a:lnTo>
                  <a:pt x="125222" y="49784"/>
                </a:lnTo>
                <a:lnTo>
                  <a:pt x="41656" y="0"/>
                </a:lnTo>
                <a:close/>
              </a:path>
              <a:path w="125729" h="109855">
                <a:moveTo>
                  <a:pt x="120116" y="58292"/>
                </a:moveTo>
                <a:lnTo>
                  <a:pt x="107569" y="58292"/>
                </a:lnTo>
                <a:lnTo>
                  <a:pt x="116840" y="63753"/>
                </a:lnTo>
                <a:lnTo>
                  <a:pt x="120116" y="58292"/>
                </a:lnTo>
                <a:close/>
              </a:path>
            </a:pathLst>
          </a:custGeom>
          <a:solidFill>
            <a:srgbClr val="FFFFFF"/>
          </a:solidFill>
        </p:spPr>
        <p:txBody>
          <a:bodyPr wrap="square" lIns="0" tIns="0" rIns="0" bIns="0" rtlCol="0"/>
          <a:lstStyle/>
          <a:p>
            <a:endParaRPr/>
          </a:p>
        </p:txBody>
      </p:sp>
      <p:sp>
        <p:nvSpPr>
          <p:cNvPr id="24" name="object 24"/>
          <p:cNvSpPr/>
          <p:nvPr/>
        </p:nvSpPr>
        <p:spPr>
          <a:xfrm>
            <a:off x="7033259" y="2859277"/>
            <a:ext cx="121285" cy="90170"/>
          </a:xfrm>
          <a:custGeom>
            <a:avLst/>
            <a:gdLst/>
            <a:ahLst/>
            <a:cxnLst/>
            <a:rect l="l" t="t" r="r" b="b"/>
            <a:pathLst>
              <a:path w="121284" h="90169">
                <a:moveTo>
                  <a:pt x="9271" y="0"/>
                </a:moveTo>
                <a:lnTo>
                  <a:pt x="0" y="13462"/>
                </a:lnTo>
                <a:lnTo>
                  <a:pt x="111760" y="90043"/>
                </a:lnTo>
                <a:lnTo>
                  <a:pt x="121031" y="76454"/>
                </a:lnTo>
                <a:lnTo>
                  <a:pt x="9271" y="0"/>
                </a:lnTo>
                <a:close/>
              </a:path>
            </a:pathLst>
          </a:custGeom>
          <a:solidFill>
            <a:srgbClr val="FFFFFF"/>
          </a:solidFill>
        </p:spPr>
        <p:txBody>
          <a:bodyPr wrap="square" lIns="0" tIns="0" rIns="0" bIns="0" rtlCol="0"/>
          <a:lstStyle/>
          <a:p>
            <a:endParaRPr/>
          </a:p>
        </p:txBody>
      </p:sp>
      <p:sp>
        <p:nvSpPr>
          <p:cNvPr id="25" name="object 25"/>
          <p:cNvSpPr/>
          <p:nvPr/>
        </p:nvSpPr>
        <p:spPr>
          <a:xfrm>
            <a:off x="7107266" y="2799714"/>
            <a:ext cx="109220" cy="98425"/>
          </a:xfrm>
          <a:custGeom>
            <a:avLst/>
            <a:gdLst/>
            <a:ahLst/>
            <a:cxnLst/>
            <a:rect l="l" t="t" r="r" b="b"/>
            <a:pathLst>
              <a:path w="109220" h="98425">
                <a:moveTo>
                  <a:pt x="38007" y="0"/>
                </a:moveTo>
                <a:lnTo>
                  <a:pt x="4864" y="25594"/>
                </a:lnTo>
                <a:lnTo>
                  <a:pt x="0" y="43434"/>
                </a:lnTo>
                <a:lnTo>
                  <a:pt x="542" y="52705"/>
                </a:lnTo>
                <a:lnTo>
                  <a:pt x="22640" y="86233"/>
                </a:lnTo>
                <a:lnTo>
                  <a:pt x="51001" y="98430"/>
                </a:lnTo>
                <a:lnTo>
                  <a:pt x="60359" y="98171"/>
                </a:lnTo>
                <a:lnTo>
                  <a:pt x="69455" y="95738"/>
                </a:lnTo>
                <a:lnTo>
                  <a:pt x="78076" y="91281"/>
                </a:lnTo>
                <a:lnTo>
                  <a:pt x="86219" y="84776"/>
                </a:lnTo>
                <a:lnTo>
                  <a:pt x="88096" y="82676"/>
                </a:lnTo>
                <a:lnTo>
                  <a:pt x="56676" y="82676"/>
                </a:lnTo>
                <a:lnTo>
                  <a:pt x="52358" y="82423"/>
                </a:lnTo>
                <a:lnTo>
                  <a:pt x="47659" y="81152"/>
                </a:lnTo>
                <a:lnTo>
                  <a:pt x="43087" y="79756"/>
                </a:lnTo>
                <a:lnTo>
                  <a:pt x="38388" y="77343"/>
                </a:lnTo>
                <a:lnTo>
                  <a:pt x="33689" y="73660"/>
                </a:lnTo>
                <a:lnTo>
                  <a:pt x="39553" y="66039"/>
                </a:lnTo>
                <a:lnTo>
                  <a:pt x="23783" y="66039"/>
                </a:lnTo>
                <a:lnTo>
                  <a:pt x="18068" y="60833"/>
                </a:lnTo>
                <a:lnTo>
                  <a:pt x="14766" y="54610"/>
                </a:lnTo>
                <a:lnTo>
                  <a:pt x="12988" y="40005"/>
                </a:lnTo>
                <a:lnTo>
                  <a:pt x="15147" y="32893"/>
                </a:lnTo>
                <a:lnTo>
                  <a:pt x="20481" y="26035"/>
                </a:lnTo>
                <a:lnTo>
                  <a:pt x="25815" y="19050"/>
                </a:lnTo>
                <a:lnTo>
                  <a:pt x="31657" y="15367"/>
                </a:lnTo>
                <a:lnTo>
                  <a:pt x="44357" y="14350"/>
                </a:lnTo>
                <a:lnTo>
                  <a:pt x="74051" y="14350"/>
                </a:lnTo>
                <a:lnTo>
                  <a:pt x="70392" y="11557"/>
                </a:lnTo>
                <a:lnTo>
                  <a:pt x="62081" y="5982"/>
                </a:lnTo>
                <a:lnTo>
                  <a:pt x="53914" y="2206"/>
                </a:lnTo>
                <a:lnTo>
                  <a:pt x="45889" y="216"/>
                </a:lnTo>
                <a:lnTo>
                  <a:pt x="38007" y="0"/>
                </a:lnTo>
                <a:close/>
              </a:path>
              <a:path w="109220" h="98425">
                <a:moveTo>
                  <a:pt x="94522" y="32638"/>
                </a:moveTo>
                <a:lnTo>
                  <a:pt x="94014" y="33274"/>
                </a:lnTo>
                <a:lnTo>
                  <a:pt x="94268" y="37084"/>
                </a:lnTo>
                <a:lnTo>
                  <a:pt x="93506" y="42418"/>
                </a:lnTo>
                <a:lnTo>
                  <a:pt x="72424" y="77215"/>
                </a:lnTo>
                <a:lnTo>
                  <a:pt x="56676" y="82676"/>
                </a:lnTo>
                <a:lnTo>
                  <a:pt x="88096" y="82676"/>
                </a:lnTo>
                <a:lnTo>
                  <a:pt x="107222" y="49275"/>
                </a:lnTo>
                <a:lnTo>
                  <a:pt x="108746" y="43434"/>
                </a:lnTo>
                <a:lnTo>
                  <a:pt x="94522" y="32638"/>
                </a:lnTo>
                <a:close/>
              </a:path>
              <a:path w="109220" h="98425">
                <a:moveTo>
                  <a:pt x="74051" y="14350"/>
                </a:moveTo>
                <a:lnTo>
                  <a:pt x="44357" y="14350"/>
                </a:lnTo>
                <a:lnTo>
                  <a:pt x="50834" y="16763"/>
                </a:lnTo>
                <a:lnTo>
                  <a:pt x="57692" y="21971"/>
                </a:lnTo>
                <a:lnTo>
                  <a:pt x="23783" y="66039"/>
                </a:lnTo>
                <a:lnTo>
                  <a:pt x="39553" y="66039"/>
                </a:lnTo>
                <a:lnTo>
                  <a:pt x="77377" y="16890"/>
                </a:lnTo>
                <a:lnTo>
                  <a:pt x="74051" y="14350"/>
                </a:lnTo>
                <a:close/>
              </a:path>
            </a:pathLst>
          </a:custGeom>
          <a:solidFill>
            <a:srgbClr val="FFFFFF"/>
          </a:solidFill>
        </p:spPr>
        <p:txBody>
          <a:bodyPr wrap="square" lIns="0" tIns="0" rIns="0" bIns="0" rtlCol="0"/>
          <a:lstStyle/>
          <a:p>
            <a:endParaRPr/>
          </a:p>
        </p:txBody>
      </p:sp>
      <p:sp>
        <p:nvSpPr>
          <p:cNvPr id="26" name="object 26"/>
          <p:cNvSpPr/>
          <p:nvPr/>
        </p:nvSpPr>
        <p:spPr>
          <a:xfrm>
            <a:off x="7099427" y="1781682"/>
            <a:ext cx="1815465" cy="243966"/>
          </a:xfrm>
          <a:prstGeom prst="rect">
            <a:avLst/>
          </a:prstGeom>
          <a:blipFill>
            <a:blip r:embed="rId15" cstate="print"/>
            <a:stretch>
              <a:fillRect/>
            </a:stretch>
          </a:blipFill>
        </p:spPr>
        <p:txBody>
          <a:bodyPr wrap="square" lIns="0" tIns="0" rIns="0" bIns="0" rtlCol="0"/>
          <a:lstStyle/>
          <a:p>
            <a:endParaRPr/>
          </a:p>
        </p:txBody>
      </p:sp>
      <p:sp>
        <p:nvSpPr>
          <p:cNvPr id="27" name="object 27"/>
          <p:cNvSpPr/>
          <p:nvPr/>
        </p:nvSpPr>
        <p:spPr>
          <a:xfrm>
            <a:off x="7152640" y="2678938"/>
            <a:ext cx="132080" cy="147955"/>
          </a:xfrm>
          <a:custGeom>
            <a:avLst/>
            <a:gdLst/>
            <a:ahLst/>
            <a:cxnLst/>
            <a:rect l="l" t="t" r="r" b="b"/>
            <a:pathLst>
              <a:path w="132079" h="147955">
                <a:moveTo>
                  <a:pt x="127279" y="63119"/>
                </a:moveTo>
                <a:lnTo>
                  <a:pt x="101345" y="63119"/>
                </a:lnTo>
                <a:lnTo>
                  <a:pt x="105536" y="65024"/>
                </a:lnTo>
                <a:lnTo>
                  <a:pt x="109727" y="68834"/>
                </a:lnTo>
                <a:lnTo>
                  <a:pt x="114680" y="73278"/>
                </a:lnTo>
                <a:lnTo>
                  <a:pt x="116585" y="79121"/>
                </a:lnTo>
                <a:lnTo>
                  <a:pt x="115569" y="86233"/>
                </a:lnTo>
                <a:lnTo>
                  <a:pt x="91693" y="119252"/>
                </a:lnTo>
                <a:lnTo>
                  <a:pt x="59181" y="131952"/>
                </a:lnTo>
                <a:lnTo>
                  <a:pt x="58292" y="132841"/>
                </a:lnTo>
                <a:lnTo>
                  <a:pt x="74294" y="147447"/>
                </a:lnTo>
                <a:lnTo>
                  <a:pt x="82041" y="144017"/>
                </a:lnTo>
                <a:lnTo>
                  <a:pt x="89026" y="140081"/>
                </a:lnTo>
                <a:lnTo>
                  <a:pt x="120014" y="112395"/>
                </a:lnTo>
                <a:lnTo>
                  <a:pt x="126873" y="100202"/>
                </a:lnTo>
                <a:lnTo>
                  <a:pt x="129539" y="94234"/>
                </a:lnTo>
                <a:lnTo>
                  <a:pt x="130907" y="88391"/>
                </a:lnTo>
                <a:lnTo>
                  <a:pt x="131699" y="76835"/>
                </a:lnTo>
                <a:lnTo>
                  <a:pt x="130809" y="71627"/>
                </a:lnTo>
                <a:lnTo>
                  <a:pt x="128650" y="66548"/>
                </a:lnTo>
                <a:lnTo>
                  <a:pt x="127279" y="63119"/>
                </a:lnTo>
                <a:close/>
              </a:path>
              <a:path w="132079" h="147955">
                <a:moveTo>
                  <a:pt x="52831" y="0"/>
                </a:moveTo>
                <a:lnTo>
                  <a:pt x="46989" y="2666"/>
                </a:lnTo>
                <a:lnTo>
                  <a:pt x="40893" y="6223"/>
                </a:lnTo>
                <a:lnTo>
                  <a:pt x="34543" y="10667"/>
                </a:lnTo>
                <a:lnTo>
                  <a:pt x="28066" y="15112"/>
                </a:lnTo>
                <a:lnTo>
                  <a:pt x="1549" y="51845"/>
                </a:lnTo>
                <a:lnTo>
                  <a:pt x="0" y="60325"/>
                </a:lnTo>
                <a:lnTo>
                  <a:pt x="25" y="63119"/>
                </a:lnTo>
                <a:lnTo>
                  <a:pt x="25018" y="97916"/>
                </a:lnTo>
                <a:lnTo>
                  <a:pt x="33146" y="97789"/>
                </a:lnTo>
                <a:lnTo>
                  <a:pt x="69682" y="79501"/>
                </a:lnTo>
                <a:lnTo>
                  <a:pt x="29336" y="79501"/>
                </a:lnTo>
                <a:lnTo>
                  <a:pt x="25273" y="77724"/>
                </a:lnTo>
                <a:lnTo>
                  <a:pt x="21335" y="74040"/>
                </a:lnTo>
                <a:lnTo>
                  <a:pt x="16763" y="69976"/>
                </a:lnTo>
                <a:lnTo>
                  <a:pt x="15112" y="64642"/>
                </a:lnTo>
                <a:lnTo>
                  <a:pt x="38861" y="26162"/>
                </a:lnTo>
                <a:lnTo>
                  <a:pt x="46354" y="22098"/>
                </a:lnTo>
                <a:lnTo>
                  <a:pt x="53720" y="17907"/>
                </a:lnTo>
                <a:lnTo>
                  <a:pt x="60705" y="15494"/>
                </a:lnTo>
                <a:lnTo>
                  <a:pt x="67055" y="14604"/>
                </a:lnTo>
                <a:lnTo>
                  <a:pt x="67944" y="13715"/>
                </a:lnTo>
                <a:lnTo>
                  <a:pt x="52831" y="0"/>
                </a:lnTo>
                <a:close/>
              </a:path>
              <a:path w="132079" h="147955">
                <a:moveTo>
                  <a:pt x="106171" y="44576"/>
                </a:moveTo>
                <a:lnTo>
                  <a:pt x="66928" y="59309"/>
                </a:lnTo>
                <a:lnTo>
                  <a:pt x="61467" y="63626"/>
                </a:lnTo>
                <a:lnTo>
                  <a:pt x="51688" y="71120"/>
                </a:lnTo>
                <a:lnTo>
                  <a:pt x="42671" y="77470"/>
                </a:lnTo>
                <a:lnTo>
                  <a:pt x="37718" y="79501"/>
                </a:lnTo>
                <a:lnTo>
                  <a:pt x="69682" y="79501"/>
                </a:lnTo>
                <a:lnTo>
                  <a:pt x="72516" y="77215"/>
                </a:lnTo>
                <a:lnTo>
                  <a:pt x="76453" y="73913"/>
                </a:lnTo>
                <a:lnTo>
                  <a:pt x="80390" y="71120"/>
                </a:lnTo>
                <a:lnTo>
                  <a:pt x="84200" y="68707"/>
                </a:lnTo>
                <a:lnTo>
                  <a:pt x="89153" y="65404"/>
                </a:lnTo>
                <a:lnTo>
                  <a:pt x="93599" y="63626"/>
                </a:lnTo>
                <a:lnTo>
                  <a:pt x="101345" y="63119"/>
                </a:lnTo>
                <a:lnTo>
                  <a:pt x="127279" y="63119"/>
                </a:lnTo>
                <a:lnTo>
                  <a:pt x="126618" y="61467"/>
                </a:lnTo>
                <a:lnTo>
                  <a:pt x="123698" y="57276"/>
                </a:lnTo>
                <a:lnTo>
                  <a:pt x="120014" y="53848"/>
                </a:lnTo>
                <a:lnTo>
                  <a:pt x="113156" y="47625"/>
                </a:lnTo>
                <a:lnTo>
                  <a:pt x="106171" y="44576"/>
                </a:lnTo>
                <a:close/>
              </a:path>
            </a:pathLst>
          </a:custGeom>
          <a:solidFill>
            <a:srgbClr val="FFFFFF"/>
          </a:solidFill>
        </p:spPr>
        <p:txBody>
          <a:bodyPr wrap="square" lIns="0" tIns="0" rIns="0" bIns="0" rtlCol="0"/>
          <a:lstStyle/>
          <a:p>
            <a:endParaRPr/>
          </a:p>
        </p:txBody>
      </p:sp>
      <p:sp>
        <p:nvSpPr>
          <p:cNvPr id="28" name="object 28"/>
          <p:cNvSpPr/>
          <p:nvPr/>
        </p:nvSpPr>
        <p:spPr>
          <a:xfrm>
            <a:off x="7262241" y="2630297"/>
            <a:ext cx="99060" cy="99695"/>
          </a:xfrm>
          <a:custGeom>
            <a:avLst/>
            <a:gdLst/>
            <a:ahLst/>
            <a:cxnLst/>
            <a:rect l="l" t="t" r="r" b="b"/>
            <a:pathLst>
              <a:path w="99059" h="99694">
                <a:moveTo>
                  <a:pt x="48132" y="0"/>
                </a:moveTo>
                <a:lnTo>
                  <a:pt x="8090" y="19248"/>
                </a:lnTo>
                <a:lnTo>
                  <a:pt x="0" y="44323"/>
                </a:lnTo>
                <a:lnTo>
                  <a:pt x="1168" y="53492"/>
                </a:lnTo>
                <a:lnTo>
                  <a:pt x="24653" y="87977"/>
                </a:lnTo>
                <a:lnTo>
                  <a:pt x="50800" y="99567"/>
                </a:lnTo>
                <a:lnTo>
                  <a:pt x="59751" y="99522"/>
                </a:lnTo>
                <a:lnTo>
                  <a:pt x="68310" y="97488"/>
                </a:lnTo>
                <a:lnTo>
                  <a:pt x="76463" y="93477"/>
                </a:lnTo>
                <a:lnTo>
                  <a:pt x="84200" y="87502"/>
                </a:lnTo>
                <a:lnTo>
                  <a:pt x="86050" y="85470"/>
                </a:lnTo>
                <a:lnTo>
                  <a:pt x="60959" y="85470"/>
                </a:lnTo>
                <a:lnTo>
                  <a:pt x="53085" y="84200"/>
                </a:lnTo>
                <a:lnTo>
                  <a:pt x="19081" y="55435"/>
                </a:lnTo>
                <a:lnTo>
                  <a:pt x="14731" y="35305"/>
                </a:lnTo>
                <a:lnTo>
                  <a:pt x="17779" y="28320"/>
                </a:lnTo>
                <a:lnTo>
                  <a:pt x="30733" y="16382"/>
                </a:lnTo>
                <a:lnTo>
                  <a:pt x="37845" y="14097"/>
                </a:lnTo>
                <a:lnTo>
                  <a:pt x="76921" y="14097"/>
                </a:lnTo>
                <a:lnTo>
                  <a:pt x="74332" y="11644"/>
                </a:lnTo>
                <a:lnTo>
                  <a:pt x="65865" y="5810"/>
                </a:lnTo>
                <a:lnTo>
                  <a:pt x="57136" y="1928"/>
                </a:lnTo>
                <a:lnTo>
                  <a:pt x="48132" y="0"/>
                </a:lnTo>
                <a:close/>
              </a:path>
              <a:path w="99059" h="99694">
                <a:moveTo>
                  <a:pt x="76921" y="14097"/>
                </a:moveTo>
                <a:lnTo>
                  <a:pt x="37845" y="14097"/>
                </a:lnTo>
                <a:lnTo>
                  <a:pt x="45592" y="15239"/>
                </a:lnTo>
                <a:lnTo>
                  <a:pt x="51494" y="16859"/>
                </a:lnTo>
                <a:lnTo>
                  <a:pt x="79628" y="44005"/>
                </a:lnTo>
                <a:lnTo>
                  <a:pt x="84074" y="64262"/>
                </a:lnTo>
                <a:lnTo>
                  <a:pt x="81152" y="71247"/>
                </a:lnTo>
                <a:lnTo>
                  <a:pt x="74675" y="77088"/>
                </a:lnTo>
                <a:lnTo>
                  <a:pt x="68199" y="83057"/>
                </a:lnTo>
                <a:lnTo>
                  <a:pt x="60959" y="85470"/>
                </a:lnTo>
                <a:lnTo>
                  <a:pt x="86050" y="85470"/>
                </a:lnTo>
                <a:lnTo>
                  <a:pt x="90783" y="80263"/>
                </a:lnTo>
                <a:lnTo>
                  <a:pt x="95424" y="72516"/>
                </a:lnTo>
                <a:lnTo>
                  <a:pt x="98149" y="64178"/>
                </a:lnTo>
                <a:lnTo>
                  <a:pt x="98932" y="55244"/>
                </a:lnTo>
                <a:lnTo>
                  <a:pt x="97766" y="46148"/>
                </a:lnTo>
                <a:lnTo>
                  <a:pt x="94646" y="37147"/>
                </a:lnTo>
                <a:lnTo>
                  <a:pt x="89574" y="28241"/>
                </a:lnTo>
                <a:lnTo>
                  <a:pt x="82550" y="19430"/>
                </a:lnTo>
                <a:lnTo>
                  <a:pt x="76921" y="14097"/>
                </a:lnTo>
                <a:close/>
              </a:path>
            </a:pathLst>
          </a:custGeom>
          <a:solidFill>
            <a:srgbClr val="FFFFFF"/>
          </a:solidFill>
        </p:spPr>
        <p:txBody>
          <a:bodyPr wrap="square" lIns="0" tIns="0" rIns="0" bIns="0" rtlCol="0"/>
          <a:lstStyle/>
          <a:p>
            <a:endParaRPr/>
          </a:p>
        </p:txBody>
      </p:sp>
      <p:sp>
        <p:nvSpPr>
          <p:cNvPr id="29" name="object 29"/>
          <p:cNvSpPr/>
          <p:nvPr/>
        </p:nvSpPr>
        <p:spPr>
          <a:xfrm>
            <a:off x="7324470" y="2533523"/>
            <a:ext cx="85090" cy="137795"/>
          </a:xfrm>
          <a:custGeom>
            <a:avLst/>
            <a:gdLst/>
            <a:ahLst/>
            <a:cxnLst/>
            <a:rect l="l" t="t" r="r" b="b"/>
            <a:pathLst>
              <a:path w="85090" h="137794">
                <a:moveTo>
                  <a:pt x="40998" y="72009"/>
                </a:moveTo>
                <a:lnTo>
                  <a:pt x="20193" y="72009"/>
                </a:lnTo>
                <a:lnTo>
                  <a:pt x="71754" y="137667"/>
                </a:lnTo>
                <a:lnTo>
                  <a:pt x="84581" y="127507"/>
                </a:lnTo>
                <a:lnTo>
                  <a:pt x="40998" y="72009"/>
                </a:lnTo>
                <a:close/>
              </a:path>
              <a:path w="85090" h="137794">
                <a:moveTo>
                  <a:pt x="29082" y="0"/>
                </a:moveTo>
                <a:lnTo>
                  <a:pt x="26797" y="1142"/>
                </a:lnTo>
                <a:lnTo>
                  <a:pt x="24510" y="2539"/>
                </a:lnTo>
                <a:lnTo>
                  <a:pt x="19430" y="5587"/>
                </a:lnTo>
                <a:lnTo>
                  <a:pt x="0" y="32385"/>
                </a:lnTo>
                <a:lnTo>
                  <a:pt x="186" y="38742"/>
                </a:lnTo>
                <a:lnTo>
                  <a:pt x="1873" y="45243"/>
                </a:lnTo>
                <a:lnTo>
                  <a:pt x="5036" y="51887"/>
                </a:lnTo>
                <a:lnTo>
                  <a:pt x="9651" y="58674"/>
                </a:lnTo>
                <a:lnTo>
                  <a:pt x="11683" y="61213"/>
                </a:lnTo>
                <a:lnTo>
                  <a:pt x="2921" y="67944"/>
                </a:lnTo>
                <a:lnTo>
                  <a:pt x="11429" y="78866"/>
                </a:lnTo>
                <a:lnTo>
                  <a:pt x="20193" y="72009"/>
                </a:lnTo>
                <a:lnTo>
                  <a:pt x="40998" y="72009"/>
                </a:lnTo>
                <a:lnTo>
                  <a:pt x="33020" y="61849"/>
                </a:lnTo>
                <a:lnTo>
                  <a:pt x="46240" y="51435"/>
                </a:lnTo>
                <a:lnTo>
                  <a:pt x="24129" y="51435"/>
                </a:lnTo>
                <a:lnTo>
                  <a:pt x="22098" y="48767"/>
                </a:lnTo>
                <a:lnTo>
                  <a:pt x="17018" y="42417"/>
                </a:lnTo>
                <a:lnTo>
                  <a:pt x="14858" y="36956"/>
                </a:lnTo>
                <a:lnTo>
                  <a:pt x="33654" y="14097"/>
                </a:lnTo>
                <a:lnTo>
                  <a:pt x="35813" y="12953"/>
                </a:lnTo>
                <a:lnTo>
                  <a:pt x="37592" y="12318"/>
                </a:lnTo>
                <a:lnTo>
                  <a:pt x="38226" y="11811"/>
                </a:lnTo>
                <a:lnTo>
                  <a:pt x="29082" y="0"/>
                </a:lnTo>
                <a:close/>
              </a:path>
              <a:path w="85090" h="137794">
                <a:moveTo>
                  <a:pt x="47244" y="33147"/>
                </a:moveTo>
                <a:lnTo>
                  <a:pt x="24129" y="51435"/>
                </a:lnTo>
                <a:lnTo>
                  <a:pt x="46240" y="51435"/>
                </a:lnTo>
                <a:lnTo>
                  <a:pt x="55752" y="43941"/>
                </a:lnTo>
                <a:lnTo>
                  <a:pt x="47244" y="33147"/>
                </a:lnTo>
                <a:close/>
              </a:path>
            </a:pathLst>
          </a:custGeom>
          <a:solidFill>
            <a:srgbClr val="FFFFFF"/>
          </a:solidFill>
        </p:spPr>
        <p:txBody>
          <a:bodyPr wrap="square" lIns="0" tIns="0" rIns="0" bIns="0" rtlCol="0"/>
          <a:lstStyle/>
          <a:p>
            <a:endParaRPr/>
          </a:p>
        </p:txBody>
      </p:sp>
      <p:sp>
        <p:nvSpPr>
          <p:cNvPr id="30" name="object 30"/>
          <p:cNvSpPr/>
          <p:nvPr/>
        </p:nvSpPr>
        <p:spPr>
          <a:xfrm>
            <a:off x="7373493" y="2522220"/>
            <a:ext cx="111125" cy="105410"/>
          </a:xfrm>
          <a:custGeom>
            <a:avLst/>
            <a:gdLst/>
            <a:ahLst/>
            <a:cxnLst/>
            <a:rect l="l" t="t" r="r" b="b"/>
            <a:pathLst>
              <a:path w="111125" h="105410">
                <a:moveTo>
                  <a:pt x="42999" y="43814"/>
                </a:moveTo>
                <a:lnTo>
                  <a:pt x="23240" y="43814"/>
                </a:lnTo>
                <a:lnTo>
                  <a:pt x="52070" y="86740"/>
                </a:lnTo>
                <a:lnTo>
                  <a:pt x="80136" y="105282"/>
                </a:lnTo>
                <a:lnTo>
                  <a:pt x="87883" y="103250"/>
                </a:lnTo>
                <a:lnTo>
                  <a:pt x="96138" y="97662"/>
                </a:lnTo>
                <a:lnTo>
                  <a:pt x="98551" y="96138"/>
                </a:lnTo>
                <a:lnTo>
                  <a:pt x="101091" y="94106"/>
                </a:lnTo>
                <a:lnTo>
                  <a:pt x="103758" y="91566"/>
                </a:lnTo>
                <a:lnTo>
                  <a:pt x="106425" y="89153"/>
                </a:lnTo>
                <a:lnTo>
                  <a:pt x="107441" y="88137"/>
                </a:lnTo>
                <a:lnTo>
                  <a:pt x="79882" y="88137"/>
                </a:lnTo>
                <a:lnTo>
                  <a:pt x="77470" y="87756"/>
                </a:lnTo>
                <a:lnTo>
                  <a:pt x="75056" y="86487"/>
                </a:lnTo>
                <a:lnTo>
                  <a:pt x="72516" y="85216"/>
                </a:lnTo>
                <a:lnTo>
                  <a:pt x="70357" y="83438"/>
                </a:lnTo>
                <a:lnTo>
                  <a:pt x="66801" y="78866"/>
                </a:lnTo>
                <a:lnTo>
                  <a:pt x="64388" y="75691"/>
                </a:lnTo>
                <a:lnTo>
                  <a:pt x="61595" y="71374"/>
                </a:lnTo>
                <a:lnTo>
                  <a:pt x="42999" y="43814"/>
                </a:lnTo>
                <a:close/>
              </a:path>
              <a:path w="111125" h="105410">
                <a:moveTo>
                  <a:pt x="102742" y="72135"/>
                </a:moveTo>
                <a:lnTo>
                  <a:pt x="102107" y="72643"/>
                </a:lnTo>
                <a:lnTo>
                  <a:pt x="101346" y="73787"/>
                </a:lnTo>
                <a:lnTo>
                  <a:pt x="99949" y="75437"/>
                </a:lnTo>
                <a:lnTo>
                  <a:pt x="97916" y="77724"/>
                </a:lnTo>
                <a:lnTo>
                  <a:pt x="96011" y="80009"/>
                </a:lnTo>
                <a:lnTo>
                  <a:pt x="93852" y="81914"/>
                </a:lnTo>
                <a:lnTo>
                  <a:pt x="91693" y="83438"/>
                </a:lnTo>
                <a:lnTo>
                  <a:pt x="87883" y="85978"/>
                </a:lnTo>
                <a:lnTo>
                  <a:pt x="84708" y="87375"/>
                </a:lnTo>
                <a:lnTo>
                  <a:pt x="79882" y="88137"/>
                </a:lnTo>
                <a:lnTo>
                  <a:pt x="107441" y="88137"/>
                </a:lnTo>
                <a:lnTo>
                  <a:pt x="108838" y="86740"/>
                </a:lnTo>
                <a:lnTo>
                  <a:pt x="110998" y="84327"/>
                </a:lnTo>
                <a:lnTo>
                  <a:pt x="102742" y="72135"/>
                </a:lnTo>
                <a:close/>
              </a:path>
              <a:path w="111125" h="105410">
                <a:moveTo>
                  <a:pt x="13588" y="0"/>
                </a:moveTo>
                <a:lnTo>
                  <a:pt x="0" y="9143"/>
                </a:lnTo>
                <a:lnTo>
                  <a:pt x="15621" y="32384"/>
                </a:lnTo>
                <a:lnTo>
                  <a:pt x="6350" y="38607"/>
                </a:lnTo>
                <a:lnTo>
                  <a:pt x="14097" y="49910"/>
                </a:lnTo>
                <a:lnTo>
                  <a:pt x="23240" y="43814"/>
                </a:lnTo>
                <a:lnTo>
                  <a:pt x="42999" y="43814"/>
                </a:lnTo>
                <a:lnTo>
                  <a:pt x="36829" y="34670"/>
                </a:lnTo>
                <a:lnTo>
                  <a:pt x="53783" y="23240"/>
                </a:lnTo>
                <a:lnTo>
                  <a:pt x="29209" y="23240"/>
                </a:lnTo>
                <a:lnTo>
                  <a:pt x="13588" y="0"/>
                </a:lnTo>
                <a:close/>
              </a:path>
              <a:path w="111125" h="105410">
                <a:moveTo>
                  <a:pt x="57150" y="4444"/>
                </a:moveTo>
                <a:lnTo>
                  <a:pt x="29209" y="23240"/>
                </a:lnTo>
                <a:lnTo>
                  <a:pt x="53783" y="23240"/>
                </a:lnTo>
                <a:lnTo>
                  <a:pt x="64897" y="15747"/>
                </a:lnTo>
                <a:lnTo>
                  <a:pt x="57150" y="4444"/>
                </a:lnTo>
                <a:close/>
              </a:path>
            </a:pathLst>
          </a:custGeom>
          <a:solidFill>
            <a:srgbClr val="FFFFFF"/>
          </a:solidFill>
        </p:spPr>
        <p:txBody>
          <a:bodyPr wrap="square" lIns="0" tIns="0" rIns="0" bIns="0" rtlCol="0"/>
          <a:lstStyle/>
          <a:p>
            <a:endParaRPr/>
          </a:p>
        </p:txBody>
      </p:sp>
      <p:sp>
        <p:nvSpPr>
          <p:cNvPr id="31" name="object 31"/>
          <p:cNvSpPr/>
          <p:nvPr/>
        </p:nvSpPr>
        <p:spPr>
          <a:xfrm>
            <a:off x="6840728" y="3421760"/>
            <a:ext cx="136271" cy="127380"/>
          </a:xfrm>
          <a:prstGeom prst="rect">
            <a:avLst/>
          </a:prstGeom>
          <a:blipFill>
            <a:blip r:embed="rId16" cstate="print"/>
            <a:stretch>
              <a:fillRect/>
            </a:stretch>
          </a:blipFill>
        </p:spPr>
        <p:txBody>
          <a:bodyPr wrap="square" lIns="0" tIns="0" rIns="0" bIns="0" rtlCol="0"/>
          <a:lstStyle/>
          <a:p>
            <a:endParaRPr/>
          </a:p>
        </p:txBody>
      </p:sp>
      <p:sp>
        <p:nvSpPr>
          <p:cNvPr id="32" name="object 32"/>
          <p:cNvSpPr/>
          <p:nvPr/>
        </p:nvSpPr>
        <p:spPr>
          <a:xfrm>
            <a:off x="6844114" y="3573779"/>
            <a:ext cx="105410" cy="86995"/>
          </a:xfrm>
          <a:custGeom>
            <a:avLst/>
            <a:gdLst/>
            <a:ahLst/>
            <a:cxnLst/>
            <a:rect l="l" t="t" r="r" b="b"/>
            <a:pathLst>
              <a:path w="105409" h="86995">
                <a:moveTo>
                  <a:pt x="34586" y="0"/>
                </a:moveTo>
                <a:lnTo>
                  <a:pt x="1693" y="20066"/>
                </a:lnTo>
                <a:lnTo>
                  <a:pt x="0" y="28448"/>
                </a:lnTo>
                <a:lnTo>
                  <a:pt x="1058" y="36449"/>
                </a:lnTo>
                <a:lnTo>
                  <a:pt x="16171" y="66167"/>
                </a:lnTo>
                <a:lnTo>
                  <a:pt x="17822" y="67945"/>
                </a:lnTo>
                <a:lnTo>
                  <a:pt x="18965" y="69215"/>
                </a:lnTo>
                <a:lnTo>
                  <a:pt x="8678" y="70739"/>
                </a:lnTo>
                <a:lnTo>
                  <a:pt x="11091" y="86741"/>
                </a:lnTo>
                <a:lnTo>
                  <a:pt x="82592" y="76581"/>
                </a:lnTo>
                <a:lnTo>
                  <a:pt x="97858" y="67310"/>
                </a:lnTo>
                <a:lnTo>
                  <a:pt x="32427" y="67310"/>
                </a:lnTo>
                <a:lnTo>
                  <a:pt x="28744" y="63754"/>
                </a:lnTo>
                <a:lnTo>
                  <a:pt x="16966" y="39624"/>
                </a:lnTo>
                <a:lnTo>
                  <a:pt x="16044" y="33401"/>
                </a:lnTo>
                <a:lnTo>
                  <a:pt x="35602" y="16891"/>
                </a:lnTo>
                <a:lnTo>
                  <a:pt x="59325" y="16891"/>
                </a:lnTo>
                <a:lnTo>
                  <a:pt x="54779" y="9652"/>
                </a:lnTo>
                <a:lnTo>
                  <a:pt x="50588" y="5715"/>
                </a:lnTo>
                <a:lnTo>
                  <a:pt x="40682" y="635"/>
                </a:lnTo>
                <a:lnTo>
                  <a:pt x="34586" y="0"/>
                </a:lnTo>
                <a:close/>
              </a:path>
              <a:path w="105409" h="86995">
                <a:moveTo>
                  <a:pt x="59325" y="16891"/>
                </a:moveTo>
                <a:lnTo>
                  <a:pt x="35602" y="16891"/>
                </a:lnTo>
                <a:lnTo>
                  <a:pt x="39666" y="17780"/>
                </a:lnTo>
                <a:lnTo>
                  <a:pt x="46143" y="22733"/>
                </a:lnTo>
                <a:lnTo>
                  <a:pt x="59224" y="63500"/>
                </a:lnTo>
                <a:lnTo>
                  <a:pt x="32427" y="67310"/>
                </a:lnTo>
                <a:lnTo>
                  <a:pt x="97858" y="67310"/>
                </a:lnTo>
                <a:lnTo>
                  <a:pt x="98467" y="66675"/>
                </a:lnTo>
                <a:lnTo>
                  <a:pt x="101166" y="61595"/>
                </a:lnTo>
                <a:lnTo>
                  <a:pt x="72305" y="61595"/>
                </a:lnTo>
                <a:lnTo>
                  <a:pt x="70795" y="53975"/>
                </a:lnTo>
                <a:lnTo>
                  <a:pt x="69527" y="48037"/>
                </a:lnTo>
                <a:lnTo>
                  <a:pt x="67947" y="41275"/>
                </a:lnTo>
                <a:lnTo>
                  <a:pt x="64431" y="27305"/>
                </a:lnTo>
                <a:lnTo>
                  <a:pt x="61637" y="20574"/>
                </a:lnTo>
                <a:lnTo>
                  <a:pt x="59325" y="16891"/>
                </a:lnTo>
                <a:close/>
              </a:path>
              <a:path w="105409" h="86995">
                <a:moveTo>
                  <a:pt x="94784" y="0"/>
                </a:moveTo>
                <a:lnTo>
                  <a:pt x="78274" y="2412"/>
                </a:lnTo>
                <a:lnTo>
                  <a:pt x="78401" y="3302"/>
                </a:lnTo>
                <a:lnTo>
                  <a:pt x="81322" y="8509"/>
                </a:lnTo>
                <a:lnTo>
                  <a:pt x="83735" y="13716"/>
                </a:lnTo>
                <a:lnTo>
                  <a:pt x="90085" y="39624"/>
                </a:lnTo>
                <a:lnTo>
                  <a:pt x="90085" y="46228"/>
                </a:lnTo>
                <a:lnTo>
                  <a:pt x="89577" y="49149"/>
                </a:lnTo>
                <a:lnTo>
                  <a:pt x="88561" y="51562"/>
                </a:lnTo>
                <a:lnTo>
                  <a:pt x="87545" y="54229"/>
                </a:lnTo>
                <a:lnTo>
                  <a:pt x="85894" y="56388"/>
                </a:lnTo>
                <a:lnTo>
                  <a:pt x="83735" y="57912"/>
                </a:lnTo>
                <a:lnTo>
                  <a:pt x="81449" y="59563"/>
                </a:lnTo>
                <a:lnTo>
                  <a:pt x="78528" y="60706"/>
                </a:lnTo>
                <a:lnTo>
                  <a:pt x="74845" y="61214"/>
                </a:lnTo>
                <a:lnTo>
                  <a:pt x="72305" y="61595"/>
                </a:lnTo>
                <a:lnTo>
                  <a:pt x="101166" y="61595"/>
                </a:lnTo>
                <a:lnTo>
                  <a:pt x="102785" y="58547"/>
                </a:lnTo>
                <a:lnTo>
                  <a:pt x="104055" y="53975"/>
                </a:lnTo>
                <a:lnTo>
                  <a:pt x="104409" y="49149"/>
                </a:lnTo>
                <a:lnTo>
                  <a:pt x="104783" y="45212"/>
                </a:lnTo>
                <a:lnTo>
                  <a:pt x="97705" y="7493"/>
                </a:lnTo>
                <a:lnTo>
                  <a:pt x="96054" y="3048"/>
                </a:lnTo>
                <a:lnTo>
                  <a:pt x="94784" y="0"/>
                </a:lnTo>
                <a:close/>
              </a:path>
            </a:pathLst>
          </a:custGeom>
          <a:solidFill>
            <a:srgbClr val="FFFFFF"/>
          </a:solidFill>
        </p:spPr>
        <p:txBody>
          <a:bodyPr wrap="square" lIns="0" tIns="0" rIns="0" bIns="0" rtlCol="0"/>
          <a:lstStyle/>
          <a:p>
            <a:endParaRPr/>
          </a:p>
        </p:txBody>
      </p:sp>
      <p:sp>
        <p:nvSpPr>
          <p:cNvPr id="33" name="object 33"/>
          <p:cNvSpPr/>
          <p:nvPr/>
        </p:nvSpPr>
        <p:spPr>
          <a:xfrm>
            <a:off x="6864604" y="3662298"/>
            <a:ext cx="123825" cy="80645"/>
          </a:xfrm>
          <a:custGeom>
            <a:avLst/>
            <a:gdLst/>
            <a:ahLst/>
            <a:cxnLst/>
            <a:rect l="l" t="t" r="r" b="b"/>
            <a:pathLst>
              <a:path w="123825" h="80645">
                <a:moveTo>
                  <a:pt x="90043" y="0"/>
                </a:moveTo>
                <a:lnTo>
                  <a:pt x="76580" y="3048"/>
                </a:lnTo>
                <a:lnTo>
                  <a:pt x="78994" y="13843"/>
                </a:lnTo>
                <a:lnTo>
                  <a:pt x="28448" y="25018"/>
                </a:lnTo>
                <a:lnTo>
                  <a:pt x="0" y="52196"/>
                </a:lnTo>
                <a:lnTo>
                  <a:pt x="2794" y="64643"/>
                </a:lnTo>
                <a:lnTo>
                  <a:pt x="3682" y="67818"/>
                </a:lnTo>
                <a:lnTo>
                  <a:pt x="5079" y="71246"/>
                </a:lnTo>
                <a:lnTo>
                  <a:pt x="6350" y="74675"/>
                </a:lnTo>
                <a:lnTo>
                  <a:pt x="7747" y="77724"/>
                </a:lnTo>
                <a:lnTo>
                  <a:pt x="9144" y="80644"/>
                </a:lnTo>
                <a:lnTo>
                  <a:pt x="23495" y="77469"/>
                </a:lnTo>
                <a:lnTo>
                  <a:pt x="23368" y="76581"/>
                </a:lnTo>
                <a:lnTo>
                  <a:pt x="22478" y="75437"/>
                </a:lnTo>
                <a:lnTo>
                  <a:pt x="18669" y="68199"/>
                </a:lnTo>
                <a:lnTo>
                  <a:pt x="17652" y="65531"/>
                </a:lnTo>
                <a:lnTo>
                  <a:pt x="17086" y="62737"/>
                </a:lnTo>
                <a:lnTo>
                  <a:pt x="16128" y="58546"/>
                </a:lnTo>
                <a:lnTo>
                  <a:pt x="15875" y="54990"/>
                </a:lnTo>
                <a:lnTo>
                  <a:pt x="16510" y="52577"/>
                </a:lnTo>
                <a:lnTo>
                  <a:pt x="17018" y="50164"/>
                </a:lnTo>
                <a:lnTo>
                  <a:pt x="18288" y="48132"/>
                </a:lnTo>
                <a:lnTo>
                  <a:pt x="22478" y="44450"/>
                </a:lnTo>
                <a:lnTo>
                  <a:pt x="24892" y="43180"/>
                </a:lnTo>
                <a:lnTo>
                  <a:pt x="27686" y="42290"/>
                </a:lnTo>
                <a:lnTo>
                  <a:pt x="30352" y="41401"/>
                </a:lnTo>
                <a:lnTo>
                  <a:pt x="82550" y="29844"/>
                </a:lnTo>
                <a:lnTo>
                  <a:pt x="96680" y="29844"/>
                </a:lnTo>
                <a:lnTo>
                  <a:pt x="96012" y="26796"/>
                </a:lnTo>
                <a:lnTo>
                  <a:pt x="123317" y="20827"/>
                </a:lnTo>
                <a:lnTo>
                  <a:pt x="121087" y="10794"/>
                </a:lnTo>
                <a:lnTo>
                  <a:pt x="92455" y="10794"/>
                </a:lnTo>
                <a:lnTo>
                  <a:pt x="90043" y="0"/>
                </a:lnTo>
                <a:close/>
              </a:path>
              <a:path w="123825" h="80645">
                <a:moveTo>
                  <a:pt x="96680" y="29844"/>
                </a:moveTo>
                <a:lnTo>
                  <a:pt x="82550" y="29844"/>
                </a:lnTo>
                <a:lnTo>
                  <a:pt x="89789" y="62737"/>
                </a:lnTo>
                <a:lnTo>
                  <a:pt x="103250" y="59817"/>
                </a:lnTo>
                <a:lnTo>
                  <a:pt x="96680" y="29844"/>
                </a:lnTo>
                <a:close/>
              </a:path>
              <a:path w="123825" h="80645">
                <a:moveTo>
                  <a:pt x="119761" y="4825"/>
                </a:moveTo>
                <a:lnTo>
                  <a:pt x="92455" y="10794"/>
                </a:lnTo>
                <a:lnTo>
                  <a:pt x="121087" y="10794"/>
                </a:lnTo>
                <a:lnTo>
                  <a:pt x="119761" y="4825"/>
                </a:lnTo>
                <a:close/>
              </a:path>
            </a:pathLst>
          </a:custGeom>
          <a:solidFill>
            <a:srgbClr val="FFFFFF"/>
          </a:solidFill>
        </p:spPr>
        <p:txBody>
          <a:bodyPr wrap="square" lIns="0" tIns="0" rIns="0" bIns="0" rtlCol="0"/>
          <a:lstStyle/>
          <a:p>
            <a:endParaRPr/>
          </a:p>
        </p:txBody>
      </p:sp>
      <p:sp>
        <p:nvSpPr>
          <p:cNvPr id="34" name="object 34"/>
          <p:cNvSpPr/>
          <p:nvPr/>
        </p:nvSpPr>
        <p:spPr>
          <a:xfrm>
            <a:off x="6878701" y="3728211"/>
            <a:ext cx="143510" cy="58419"/>
          </a:xfrm>
          <a:custGeom>
            <a:avLst/>
            <a:gdLst/>
            <a:ahLst/>
            <a:cxnLst/>
            <a:rect l="l" t="t" r="r" b="b"/>
            <a:pathLst>
              <a:path w="143509" h="58420">
                <a:moveTo>
                  <a:pt x="99185" y="30099"/>
                </a:moveTo>
                <a:lnTo>
                  <a:pt x="84835" y="30099"/>
                </a:lnTo>
                <a:lnTo>
                  <a:pt x="92582" y="58038"/>
                </a:lnTo>
                <a:lnTo>
                  <a:pt x="105791" y="54356"/>
                </a:lnTo>
                <a:lnTo>
                  <a:pt x="99185" y="30099"/>
                </a:lnTo>
                <a:close/>
              </a:path>
              <a:path w="143509" h="58420">
                <a:moveTo>
                  <a:pt x="136350" y="22860"/>
                </a:moveTo>
                <a:lnTo>
                  <a:pt x="109093" y="22860"/>
                </a:lnTo>
                <a:lnTo>
                  <a:pt x="114934" y="22987"/>
                </a:lnTo>
                <a:lnTo>
                  <a:pt x="118745" y="25145"/>
                </a:lnTo>
                <a:lnTo>
                  <a:pt x="122554" y="27431"/>
                </a:lnTo>
                <a:lnTo>
                  <a:pt x="125349" y="31876"/>
                </a:lnTo>
                <a:lnTo>
                  <a:pt x="127253" y="38607"/>
                </a:lnTo>
                <a:lnTo>
                  <a:pt x="127889" y="40767"/>
                </a:lnTo>
                <a:lnTo>
                  <a:pt x="128270" y="43306"/>
                </a:lnTo>
                <a:lnTo>
                  <a:pt x="128777" y="49149"/>
                </a:lnTo>
                <a:lnTo>
                  <a:pt x="128777" y="53467"/>
                </a:lnTo>
                <a:lnTo>
                  <a:pt x="129031" y="54356"/>
                </a:lnTo>
                <a:lnTo>
                  <a:pt x="143509" y="50418"/>
                </a:lnTo>
                <a:lnTo>
                  <a:pt x="143001" y="45212"/>
                </a:lnTo>
                <a:lnTo>
                  <a:pt x="142494" y="42290"/>
                </a:lnTo>
                <a:lnTo>
                  <a:pt x="142113" y="39369"/>
                </a:lnTo>
                <a:lnTo>
                  <a:pt x="141350" y="36068"/>
                </a:lnTo>
                <a:lnTo>
                  <a:pt x="140334" y="32638"/>
                </a:lnTo>
                <a:lnTo>
                  <a:pt x="137789" y="25372"/>
                </a:lnTo>
                <a:lnTo>
                  <a:pt x="136350" y="22860"/>
                </a:lnTo>
                <a:close/>
              </a:path>
              <a:path w="143509" h="58420">
                <a:moveTo>
                  <a:pt x="90931" y="0"/>
                </a:moveTo>
                <a:lnTo>
                  <a:pt x="77597" y="3682"/>
                </a:lnTo>
                <a:lnTo>
                  <a:pt x="80518" y="14350"/>
                </a:lnTo>
                <a:lnTo>
                  <a:pt x="0" y="36449"/>
                </a:lnTo>
                <a:lnTo>
                  <a:pt x="4445" y="52196"/>
                </a:lnTo>
                <a:lnTo>
                  <a:pt x="84835" y="30099"/>
                </a:lnTo>
                <a:lnTo>
                  <a:pt x="99185" y="30099"/>
                </a:lnTo>
                <a:lnTo>
                  <a:pt x="98044" y="25907"/>
                </a:lnTo>
                <a:lnTo>
                  <a:pt x="109093" y="22860"/>
                </a:lnTo>
                <a:lnTo>
                  <a:pt x="136350" y="22860"/>
                </a:lnTo>
                <a:lnTo>
                  <a:pt x="134350" y="19367"/>
                </a:lnTo>
                <a:lnTo>
                  <a:pt x="130030" y="14601"/>
                </a:lnTo>
                <a:lnTo>
                  <a:pt x="124841" y="11049"/>
                </a:lnTo>
                <a:lnTo>
                  <a:pt x="123849" y="10668"/>
                </a:lnTo>
                <a:lnTo>
                  <a:pt x="93852" y="10668"/>
                </a:lnTo>
                <a:lnTo>
                  <a:pt x="90931" y="0"/>
                </a:lnTo>
                <a:close/>
              </a:path>
              <a:path w="143509" h="58420">
                <a:moveTo>
                  <a:pt x="112252" y="7794"/>
                </a:moveTo>
                <a:lnTo>
                  <a:pt x="104927" y="8137"/>
                </a:lnTo>
                <a:lnTo>
                  <a:pt x="96900" y="9779"/>
                </a:lnTo>
                <a:lnTo>
                  <a:pt x="93852" y="10668"/>
                </a:lnTo>
                <a:lnTo>
                  <a:pt x="123849" y="10668"/>
                </a:lnTo>
                <a:lnTo>
                  <a:pt x="118885" y="8761"/>
                </a:lnTo>
                <a:lnTo>
                  <a:pt x="112252" y="7794"/>
                </a:lnTo>
                <a:close/>
              </a:path>
            </a:pathLst>
          </a:custGeom>
          <a:solidFill>
            <a:srgbClr val="FFFFFF"/>
          </a:solidFill>
        </p:spPr>
        <p:txBody>
          <a:bodyPr wrap="square" lIns="0" tIns="0" rIns="0" bIns="0" rtlCol="0"/>
          <a:lstStyle/>
          <a:p>
            <a:endParaRPr/>
          </a:p>
        </p:txBody>
      </p:sp>
      <p:sp>
        <p:nvSpPr>
          <p:cNvPr id="35" name="object 35"/>
          <p:cNvSpPr/>
          <p:nvPr/>
        </p:nvSpPr>
        <p:spPr>
          <a:xfrm>
            <a:off x="6903116" y="3799300"/>
            <a:ext cx="102870" cy="93345"/>
          </a:xfrm>
          <a:custGeom>
            <a:avLst/>
            <a:gdLst/>
            <a:ahLst/>
            <a:cxnLst/>
            <a:rect l="l" t="t" r="r" b="b"/>
            <a:pathLst>
              <a:path w="102870" h="93345">
                <a:moveTo>
                  <a:pt x="57626" y="0"/>
                </a:moveTo>
                <a:lnTo>
                  <a:pt x="17414" y="13969"/>
                </a:lnTo>
                <a:lnTo>
                  <a:pt x="0" y="44767"/>
                </a:lnTo>
                <a:lnTo>
                  <a:pt x="404" y="53883"/>
                </a:lnTo>
                <a:lnTo>
                  <a:pt x="26511" y="89693"/>
                </a:lnTo>
                <a:lnTo>
                  <a:pt x="44878" y="93027"/>
                </a:lnTo>
                <a:lnTo>
                  <a:pt x="55104" y="91908"/>
                </a:lnTo>
                <a:lnTo>
                  <a:pt x="66008" y="88931"/>
                </a:lnTo>
                <a:lnTo>
                  <a:pt x="76340" y="84522"/>
                </a:lnTo>
                <a:lnTo>
                  <a:pt x="85042" y="79089"/>
                </a:lnTo>
                <a:lnTo>
                  <a:pt x="87825" y="76533"/>
                </a:lnTo>
                <a:lnTo>
                  <a:pt x="44497" y="76533"/>
                </a:lnTo>
                <a:lnTo>
                  <a:pt x="37720" y="76448"/>
                </a:lnTo>
                <a:lnTo>
                  <a:pt x="31718" y="75088"/>
                </a:lnTo>
                <a:lnTo>
                  <a:pt x="24225" y="72421"/>
                </a:lnTo>
                <a:lnTo>
                  <a:pt x="19018" y="66960"/>
                </a:lnTo>
                <a:lnTo>
                  <a:pt x="13176" y="50450"/>
                </a:lnTo>
                <a:lnTo>
                  <a:pt x="13938" y="42957"/>
                </a:lnTo>
                <a:lnTo>
                  <a:pt x="50530" y="17615"/>
                </a:lnTo>
                <a:lnTo>
                  <a:pt x="58197" y="16430"/>
                </a:lnTo>
                <a:lnTo>
                  <a:pt x="92611" y="16430"/>
                </a:lnTo>
                <a:lnTo>
                  <a:pt x="90439" y="13398"/>
                </a:lnTo>
                <a:lnTo>
                  <a:pt x="83877" y="7568"/>
                </a:lnTo>
                <a:lnTo>
                  <a:pt x="76041" y="3333"/>
                </a:lnTo>
                <a:lnTo>
                  <a:pt x="67155" y="738"/>
                </a:lnTo>
                <a:lnTo>
                  <a:pt x="57626" y="0"/>
                </a:lnTo>
                <a:close/>
              </a:path>
              <a:path w="102870" h="93345">
                <a:moveTo>
                  <a:pt x="92611" y="16430"/>
                </a:moveTo>
                <a:lnTo>
                  <a:pt x="58197" y="16430"/>
                </a:lnTo>
                <a:lnTo>
                  <a:pt x="65008" y="16508"/>
                </a:lnTo>
                <a:lnTo>
                  <a:pt x="70961" y="17811"/>
                </a:lnTo>
                <a:lnTo>
                  <a:pt x="78454" y="20478"/>
                </a:lnTo>
                <a:lnTo>
                  <a:pt x="83534" y="25939"/>
                </a:lnTo>
                <a:lnTo>
                  <a:pt x="89376" y="42703"/>
                </a:lnTo>
                <a:lnTo>
                  <a:pt x="88741" y="50069"/>
                </a:lnTo>
                <a:lnTo>
                  <a:pt x="52060" y="75356"/>
                </a:lnTo>
                <a:lnTo>
                  <a:pt x="44497" y="76533"/>
                </a:lnTo>
                <a:lnTo>
                  <a:pt x="87825" y="76533"/>
                </a:lnTo>
                <a:lnTo>
                  <a:pt x="92100" y="72608"/>
                </a:lnTo>
                <a:lnTo>
                  <a:pt x="97504" y="65055"/>
                </a:lnTo>
                <a:lnTo>
                  <a:pt x="101012" y="56800"/>
                </a:lnTo>
                <a:lnTo>
                  <a:pt x="102552" y="48212"/>
                </a:lnTo>
                <a:lnTo>
                  <a:pt x="102147" y="39177"/>
                </a:lnTo>
                <a:lnTo>
                  <a:pt x="99790" y="29749"/>
                </a:lnTo>
                <a:lnTo>
                  <a:pt x="95740" y="20800"/>
                </a:lnTo>
                <a:lnTo>
                  <a:pt x="92611" y="16430"/>
                </a:lnTo>
                <a:close/>
              </a:path>
            </a:pathLst>
          </a:custGeom>
          <a:solidFill>
            <a:srgbClr val="FFFFFF"/>
          </a:solidFill>
        </p:spPr>
        <p:txBody>
          <a:bodyPr wrap="square" lIns="0" tIns="0" rIns="0" bIns="0" rtlCol="0"/>
          <a:lstStyle/>
          <a:p>
            <a:endParaRPr/>
          </a:p>
        </p:txBody>
      </p:sp>
      <p:sp>
        <p:nvSpPr>
          <p:cNvPr id="36" name="object 36"/>
          <p:cNvSpPr/>
          <p:nvPr/>
        </p:nvSpPr>
        <p:spPr>
          <a:xfrm>
            <a:off x="6934327" y="3891407"/>
            <a:ext cx="113030" cy="62865"/>
          </a:xfrm>
          <a:custGeom>
            <a:avLst/>
            <a:gdLst/>
            <a:ahLst/>
            <a:cxnLst/>
            <a:rect l="l" t="t" r="r" b="b"/>
            <a:pathLst>
              <a:path w="113029" h="62864">
                <a:moveTo>
                  <a:pt x="92582" y="26289"/>
                </a:moveTo>
                <a:lnTo>
                  <a:pt x="69850" y="26289"/>
                </a:lnTo>
                <a:lnTo>
                  <a:pt x="74802" y="28829"/>
                </a:lnTo>
                <a:lnTo>
                  <a:pt x="79375" y="31877"/>
                </a:lnTo>
                <a:lnTo>
                  <a:pt x="96774" y="61849"/>
                </a:lnTo>
                <a:lnTo>
                  <a:pt x="97154" y="62738"/>
                </a:lnTo>
                <a:lnTo>
                  <a:pt x="112522" y="56007"/>
                </a:lnTo>
                <a:lnTo>
                  <a:pt x="111887" y="53467"/>
                </a:lnTo>
                <a:lnTo>
                  <a:pt x="111378" y="51562"/>
                </a:lnTo>
                <a:lnTo>
                  <a:pt x="110921" y="50165"/>
                </a:lnTo>
                <a:lnTo>
                  <a:pt x="110617" y="49149"/>
                </a:lnTo>
                <a:lnTo>
                  <a:pt x="109854" y="47244"/>
                </a:lnTo>
                <a:lnTo>
                  <a:pt x="106679" y="39878"/>
                </a:lnTo>
                <a:lnTo>
                  <a:pt x="103631" y="35687"/>
                </a:lnTo>
                <a:lnTo>
                  <a:pt x="99568" y="32004"/>
                </a:lnTo>
                <a:lnTo>
                  <a:pt x="95630" y="28321"/>
                </a:lnTo>
                <a:lnTo>
                  <a:pt x="92582" y="26289"/>
                </a:lnTo>
                <a:close/>
              </a:path>
              <a:path w="113029" h="62864">
                <a:moveTo>
                  <a:pt x="89153" y="0"/>
                </a:moveTo>
                <a:lnTo>
                  <a:pt x="0" y="38989"/>
                </a:lnTo>
                <a:lnTo>
                  <a:pt x="6603" y="53975"/>
                </a:lnTo>
                <a:lnTo>
                  <a:pt x="69850" y="26289"/>
                </a:lnTo>
                <a:lnTo>
                  <a:pt x="92582" y="26289"/>
                </a:lnTo>
                <a:lnTo>
                  <a:pt x="89916" y="24511"/>
                </a:lnTo>
                <a:lnTo>
                  <a:pt x="82550" y="20701"/>
                </a:lnTo>
                <a:lnTo>
                  <a:pt x="95757" y="14986"/>
                </a:lnTo>
                <a:lnTo>
                  <a:pt x="89153" y="0"/>
                </a:lnTo>
                <a:close/>
              </a:path>
            </a:pathLst>
          </a:custGeom>
          <a:solidFill>
            <a:srgbClr val="FFFFFF"/>
          </a:solidFill>
        </p:spPr>
        <p:txBody>
          <a:bodyPr wrap="square" lIns="0" tIns="0" rIns="0" bIns="0" rtlCol="0"/>
          <a:lstStyle/>
          <a:p>
            <a:endParaRPr/>
          </a:p>
        </p:txBody>
      </p:sp>
      <p:sp>
        <p:nvSpPr>
          <p:cNvPr id="37" name="object 37"/>
          <p:cNvSpPr/>
          <p:nvPr/>
        </p:nvSpPr>
        <p:spPr>
          <a:xfrm>
            <a:off x="6966204" y="3954907"/>
            <a:ext cx="148590" cy="172085"/>
          </a:xfrm>
          <a:custGeom>
            <a:avLst/>
            <a:gdLst/>
            <a:ahLst/>
            <a:cxnLst/>
            <a:rect l="l" t="t" r="r" b="b"/>
            <a:pathLst>
              <a:path w="148590" h="172085">
                <a:moveTo>
                  <a:pt x="130993" y="80010"/>
                </a:moveTo>
                <a:lnTo>
                  <a:pt x="102616" y="80010"/>
                </a:lnTo>
                <a:lnTo>
                  <a:pt x="107950" y="82042"/>
                </a:lnTo>
                <a:lnTo>
                  <a:pt x="112902" y="84455"/>
                </a:lnTo>
                <a:lnTo>
                  <a:pt x="131572" y="110109"/>
                </a:lnTo>
                <a:lnTo>
                  <a:pt x="131064" y="112649"/>
                </a:lnTo>
                <a:lnTo>
                  <a:pt x="65786" y="157861"/>
                </a:lnTo>
                <a:lnTo>
                  <a:pt x="74295" y="171831"/>
                </a:lnTo>
                <a:lnTo>
                  <a:pt x="128016" y="138811"/>
                </a:lnTo>
                <a:lnTo>
                  <a:pt x="148417" y="112649"/>
                </a:lnTo>
                <a:lnTo>
                  <a:pt x="148304" y="105997"/>
                </a:lnTo>
                <a:lnTo>
                  <a:pt x="146514" y="99554"/>
                </a:lnTo>
                <a:lnTo>
                  <a:pt x="143128" y="92837"/>
                </a:lnTo>
                <a:lnTo>
                  <a:pt x="139826" y="87630"/>
                </a:lnTo>
                <a:lnTo>
                  <a:pt x="135763" y="83312"/>
                </a:lnTo>
                <a:lnTo>
                  <a:pt x="130993" y="80010"/>
                </a:lnTo>
                <a:close/>
              </a:path>
              <a:path w="148590" h="172085">
                <a:moveTo>
                  <a:pt x="97895" y="26924"/>
                </a:moveTo>
                <a:lnTo>
                  <a:pt x="70357" y="26924"/>
                </a:lnTo>
                <a:lnTo>
                  <a:pt x="75692" y="28829"/>
                </a:lnTo>
                <a:lnTo>
                  <a:pt x="80391" y="31242"/>
                </a:lnTo>
                <a:lnTo>
                  <a:pt x="84581" y="33909"/>
                </a:lnTo>
                <a:lnTo>
                  <a:pt x="88900" y="36576"/>
                </a:lnTo>
                <a:lnTo>
                  <a:pt x="92201" y="39878"/>
                </a:lnTo>
                <a:lnTo>
                  <a:pt x="94488" y="43688"/>
                </a:lnTo>
                <a:lnTo>
                  <a:pt x="96900" y="47625"/>
                </a:lnTo>
                <a:lnTo>
                  <a:pt x="98298" y="51054"/>
                </a:lnTo>
                <a:lnTo>
                  <a:pt x="98805" y="56642"/>
                </a:lnTo>
                <a:lnTo>
                  <a:pt x="98171" y="59182"/>
                </a:lnTo>
                <a:lnTo>
                  <a:pt x="96774" y="61595"/>
                </a:lnTo>
                <a:lnTo>
                  <a:pt x="95503" y="63881"/>
                </a:lnTo>
                <a:lnTo>
                  <a:pt x="32893" y="104394"/>
                </a:lnTo>
                <a:lnTo>
                  <a:pt x="41401" y="118364"/>
                </a:lnTo>
                <a:lnTo>
                  <a:pt x="94488" y="85725"/>
                </a:lnTo>
                <a:lnTo>
                  <a:pt x="95885" y="84836"/>
                </a:lnTo>
                <a:lnTo>
                  <a:pt x="97409" y="83947"/>
                </a:lnTo>
                <a:lnTo>
                  <a:pt x="98805" y="82804"/>
                </a:lnTo>
                <a:lnTo>
                  <a:pt x="100329" y="81788"/>
                </a:lnTo>
                <a:lnTo>
                  <a:pt x="101600" y="80899"/>
                </a:lnTo>
                <a:lnTo>
                  <a:pt x="102616" y="80010"/>
                </a:lnTo>
                <a:lnTo>
                  <a:pt x="130993" y="80010"/>
                </a:lnTo>
                <a:lnTo>
                  <a:pt x="125729" y="76581"/>
                </a:lnTo>
                <a:lnTo>
                  <a:pt x="119252" y="73533"/>
                </a:lnTo>
                <a:lnTo>
                  <a:pt x="110998" y="70739"/>
                </a:lnTo>
                <a:lnTo>
                  <a:pt x="114046" y="66294"/>
                </a:lnTo>
                <a:lnTo>
                  <a:pt x="115371" y="61595"/>
                </a:lnTo>
                <a:lnTo>
                  <a:pt x="115443" y="50546"/>
                </a:lnTo>
                <a:lnTo>
                  <a:pt x="113665" y="45085"/>
                </a:lnTo>
                <a:lnTo>
                  <a:pt x="110236" y="39370"/>
                </a:lnTo>
                <a:lnTo>
                  <a:pt x="107188" y="34544"/>
                </a:lnTo>
                <a:lnTo>
                  <a:pt x="103377" y="30480"/>
                </a:lnTo>
                <a:lnTo>
                  <a:pt x="97895" y="26924"/>
                </a:lnTo>
                <a:close/>
              </a:path>
              <a:path w="148590" h="172085">
                <a:moveTo>
                  <a:pt x="82803" y="0"/>
                </a:moveTo>
                <a:lnTo>
                  <a:pt x="0" y="50927"/>
                </a:lnTo>
                <a:lnTo>
                  <a:pt x="8509" y="64897"/>
                </a:lnTo>
                <a:lnTo>
                  <a:pt x="70357" y="26924"/>
                </a:lnTo>
                <a:lnTo>
                  <a:pt x="97895" y="26924"/>
                </a:lnTo>
                <a:lnTo>
                  <a:pt x="93979" y="24384"/>
                </a:lnTo>
                <a:lnTo>
                  <a:pt x="88519" y="21717"/>
                </a:lnTo>
                <a:lnTo>
                  <a:pt x="82169" y="19558"/>
                </a:lnTo>
                <a:lnTo>
                  <a:pt x="91440" y="13970"/>
                </a:lnTo>
                <a:lnTo>
                  <a:pt x="82803" y="0"/>
                </a:lnTo>
                <a:close/>
              </a:path>
            </a:pathLst>
          </a:custGeom>
          <a:solidFill>
            <a:srgbClr val="FFFFFF"/>
          </a:solidFill>
        </p:spPr>
        <p:txBody>
          <a:bodyPr wrap="square" lIns="0" tIns="0" rIns="0" bIns="0" rtlCol="0"/>
          <a:lstStyle/>
          <a:p>
            <a:endParaRPr/>
          </a:p>
        </p:txBody>
      </p:sp>
      <p:sp>
        <p:nvSpPr>
          <p:cNvPr id="38" name="object 38"/>
          <p:cNvSpPr/>
          <p:nvPr/>
        </p:nvSpPr>
        <p:spPr>
          <a:xfrm>
            <a:off x="8950070" y="3923665"/>
            <a:ext cx="133350" cy="144780"/>
          </a:xfrm>
          <a:custGeom>
            <a:avLst/>
            <a:gdLst/>
            <a:ahLst/>
            <a:cxnLst/>
            <a:rect l="l" t="t" r="r" b="b"/>
            <a:pathLst>
              <a:path w="133350" h="144779">
                <a:moveTo>
                  <a:pt x="128310" y="58420"/>
                </a:moveTo>
                <a:lnTo>
                  <a:pt x="101219" y="58420"/>
                </a:lnTo>
                <a:lnTo>
                  <a:pt x="105536" y="59817"/>
                </a:lnTo>
                <a:lnTo>
                  <a:pt x="110108" y="63246"/>
                </a:lnTo>
                <a:lnTo>
                  <a:pt x="115443" y="67310"/>
                </a:lnTo>
                <a:lnTo>
                  <a:pt x="117855" y="72898"/>
                </a:lnTo>
                <a:lnTo>
                  <a:pt x="117606" y="79883"/>
                </a:lnTo>
                <a:lnTo>
                  <a:pt x="96774" y="115189"/>
                </a:lnTo>
                <a:lnTo>
                  <a:pt x="65531" y="130810"/>
                </a:lnTo>
                <a:lnTo>
                  <a:pt x="64770" y="131826"/>
                </a:lnTo>
                <a:lnTo>
                  <a:pt x="82042" y="144780"/>
                </a:lnTo>
                <a:lnTo>
                  <a:pt x="89407" y="140716"/>
                </a:lnTo>
                <a:lnTo>
                  <a:pt x="96011" y="136144"/>
                </a:lnTo>
                <a:lnTo>
                  <a:pt x="101853" y="131191"/>
                </a:lnTo>
                <a:lnTo>
                  <a:pt x="107823" y="126365"/>
                </a:lnTo>
                <a:lnTo>
                  <a:pt x="132079" y="86741"/>
                </a:lnTo>
                <a:lnTo>
                  <a:pt x="132990" y="81280"/>
                </a:lnTo>
                <a:lnTo>
                  <a:pt x="132923" y="76581"/>
                </a:lnTo>
                <a:lnTo>
                  <a:pt x="132799" y="72898"/>
                </a:lnTo>
                <a:lnTo>
                  <a:pt x="132714" y="69342"/>
                </a:lnTo>
                <a:lnTo>
                  <a:pt x="131318" y="64135"/>
                </a:lnTo>
                <a:lnTo>
                  <a:pt x="128310" y="58420"/>
                </a:lnTo>
                <a:close/>
              </a:path>
              <a:path w="133350" h="144779">
                <a:moveTo>
                  <a:pt x="47117" y="0"/>
                </a:moveTo>
                <a:lnTo>
                  <a:pt x="41528" y="3175"/>
                </a:lnTo>
                <a:lnTo>
                  <a:pt x="35813" y="7239"/>
                </a:lnTo>
                <a:lnTo>
                  <a:pt x="29845" y="12318"/>
                </a:lnTo>
                <a:lnTo>
                  <a:pt x="23875" y="17272"/>
                </a:lnTo>
                <a:lnTo>
                  <a:pt x="787" y="56272"/>
                </a:lnTo>
                <a:lnTo>
                  <a:pt x="0" y="64897"/>
                </a:lnTo>
                <a:lnTo>
                  <a:pt x="814" y="73025"/>
                </a:lnTo>
                <a:lnTo>
                  <a:pt x="28448" y="99949"/>
                </a:lnTo>
                <a:lnTo>
                  <a:pt x="36449" y="99060"/>
                </a:lnTo>
                <a:lnTo>
                  <a:pt x="67349" y="81280"/>
                </a:lnTo>
                <a:lnTo>
                  <a:pt x="30987" y="81280"/>
                </a:lnTo>
                <a:lnTo>
                  <a:pt x="26797" y="79883"/>
                </a:lnTo>
                <a:lnTo>
                  <a:pt x="22478" y="76581"/>
                </a:lnTo>
                <a:lnTo>
                  <a:pt x="17652" y="73025"/>
                </a:lnTo>
                <a:lnTo>
                  <a:pt x="15494" y="67818"/>
                </a:lnTo>
                <a:lnTo>
                  <a:pt x="35559" y="27305"/>
                </a:lnTo>
                <a:lnTo>
                  <a:pt x="62610" y="13208"/>
                </a:lnTo>
                <a:lnTo>
                  <a:pt x="63373" y="12192"/>
                </a:lnTo>
                <a:lnTo>
                  <a:pt x="47117" y="0"/>
                </a:lnTo>
                <a:close/>
              </a:path>
              <a:path w="133350" h="144779">
                <a:moveTo>
                  <a:pt x="104267" y="39497"/>
                </a:moveTo>
                <a:lnTo>
                  <a:pt x="66548" y="57658"/>
                </a:lnTo>
                <a:lnTo>
                  <a:pt x="61595" y="62484"/>
                </a:lnTo>
                <a:lnTo>
                  <a:pt x="56514" y="67310"/>
                </a:lnTo>
                <a:lnTo>
                  <a:pt x="30987" y="81280"/>
                </a:lnTo>
                <a:lnTo>
                  <a:pt x="67349" y="81280"/>
                </a:lnTo>
                <a:lnTo>
                  <a:pt x="73786" y="75057"/>
                </a:lnTo>
                <a:lnTo>
                  <a:pt x="77470" y="71374"/>
                </a:lnTo>
                <a:lnTo>
                  <a:pt x="81025" y="68199"/>
                </a:lnTo>
                <a:lnTo>
                  <a:pt x="89280" y="61722"/>
                </a:lnTo>
                <a:lnTo>
                  <a:pt x="93472" y="59562"/>
                </a:lnTo>
                <a:lnTo>
                  <a:pt x="97408" y="59055"/>
                </a:lnTo>
                <a:lnTo>
                  <a:pt x="101219" y="58420"/>
                </a:lnTo>
                <a:lnTo>
                  <a:pt x="128310" y="58420"/>
                </a:lnTo>
                <a:lnTo>
                  <a:pt x="126237" y="54483"/>
                </a:lnTo>
                <a:lnTo>
                  <a:pt x="122935" y="50546"/>
                </a:lnTo>
                <a:lnTo>
                  <a:pt x="111505" y="41910"/>
                </a:lnTo>
                <a:lnTo>
                  <a:pt x="104267" y="39497"/>
                </a:lnTo>
                <a:close/>
              </a:path>
            </a:pathLst>
          </a:custGeom>
          <a:solidFill>
            <a:srgbClr val="FFFFFF"/>
          </a:solidFill>
        </p:spPr>
        <p:txBody>
          <a:bodyPr wrap="square" lIns="0" tIns="0" rIns="0" bIns="0" rtlCol="0"/>
          <a:lstStyle/>
          <a:p>
            <a:endParaRPr/>
          </a:p>
        </p:txBody>
      </p:sp>
      <p:sp>
        <p:nvSpPr>
          <p:cNvPr id="39" name="object 39"/>
          <p:cNvSpPr/>
          <p:nvPr/>
        </p:nvSpPr>
        <p:spPr>
          <a:xfrm>
            <a:off x="9036573" y="3859732"/>
            <a:ext cx="107314" cy="95250"/>
          </a:xfrm>
          <a:custGeom>
            <a:avLst/>
            <a:gdLst/>
            <a:ahLst/>
            <a:cxnLst/>
            <a:rect l="l" t="t" r="r" b="b"/>
            <a:pathLst>
              <a:path w="107315" h="95250">
                <a:moveTo>
                  <a:pt x="36198" y="0"/>
                </a:moveTo>
                <a:lnTo>
                  <a:pt x="5064" y="23927"/>
                </a:lnTo>
                <a:lnTo>
                  <a:pt x="0" y="42787"/>
                </a:lnTo>
                <a:lnTo>
                  <a:pt x="509" y="51931"/>
                </a:lnTo>
                <a:lnTo>
                  <a:pt x="31607" y="88951"/>
                </a:lnTo>
                <a:lnTo>
                  <a:pt x="52339" y="95031"/>
                </a:lnTo>
                <a:lnTo>
                  <a:pt x="61932" y="94898"/>
                </a:lnTo>
                <a:lnTo>
                  <a:pt x="70977" y="92634"/>
                </a:lnTo>
                <a:lnTo>
                  <a:pt x="79380" y="88368"/>
                </a:lnTo>
                <a:lnTo>
                  <a:pt x="86867" y="82220"/>
                </a:lnTo>
                <a:lnTo>
                  <a:pt x="89557" y="78918"/>
                </a:lnTo>
                <a:lnTo>
                  <a:pt x="59801" y="78918"/>
                </a:lnTo>
                <a:lnTo>
                  <a:pt x="50276" y="78410"/>
                </a:lnTo>
                <a:lnTo>
                  <a:pt x="45196" y="77013"/>
                </a:lnTo>
                <a:lnTo>
                  <a:pt x="39735" y="74346"/>
                </a:lnTo>
                <a:lnTo>
                  <a:pt x="42281" y="69012"/>
                </a:lnTo>
                <a:lnTo>
                  <a:pt x="28432" y="69012"/>
                </a:lnTo>
                <a:lnTo>
                  <a:pt x="21828" y="65075"/>
                </a:lnTo>
                <a:lnTo>
                  <a:pt x="17256" y="59614"/>
                </a:lnTo>
                <a:lnTo>
                  <a:pt x="12430" y="45898"/>
                </a:lnTo>
                <a:lnTo>
                  <a:pt x="13065" y="38405"/>
                </a:lnTo>
                <a:lnTo>
                  <a:pt x="16875" y="30531"/>
                </a:lnTo>
                <a:lnTo>
                  <a:pt x="20558" y="22657"/>
                </a:lnTo>
                <a:lnTo>
                  <a:pt x="25511" y="17831"/>
                </a:lnTo>
                <a:lnTo>
                  <a:pt x="31607" y="15926"/>
                </a:lnTo>
                <a:lnTo>
                  <a:pt x="37703" y="14148"/>
                </a:lnTo>
                <a:lnTo>
                  <a:pt x="68474" y="14148"/>
                </a:lnTo>
                <a:lnTo>
                  <a:pt x="70596" y="9703"/>
                </a:lnTo>
                <a:lnTo>
                  <a:pt x="62595" y="5893"/>
                </a:lnTo>
                <a:lnTo>
                  <a:pt x="53256" y="2198"/>
                </a:lnTo>
                <a:lnTo>
                  <a:pt x="44465" y="242"/>
                </a:lnTo>
                <a:lnTo>
                  <a:pt x="36198" y="0"/>
                </a:lnTo>
                <a:close/>
              </a:path>
              <a:path w="107315" h="95250">
                <a:moveTo>
                  <a:pt x="90662" y="21387"/>
                </a:moveTo>
                <a:lnTo>
                  <a:pt x="90281" y="22149"/>
                </a:lnTo>
                <a:lnTo>
                  <a:pt x="91297" y="25832"/>
                </a:lnTo>
                <a:lnTo>
                  <a:pt x="91678" y="31293"/>
                </a:lnTo>
                <a:lnTo>
                  <a:pt x="75295" y="72822"/>
                </a:lnTo>
                <a:lnTo>
                  <a:pt x="68056" y="76632"/>
                </a:lnTo>
                <a:lnTo>
                  <a:pt x="64119" y="78283"/>
                </a:lnTo>
                <a:lnTo>
                  <a:pt x="59801" y="78918"/>
                </a:lnTo>
                <a:lnTo>
                  <a:pt x="89557" y="78918"/>
                </a:lnTo>
                <a:lnTo>
                  <a:pt x="105775" y="40945"/>
                </a:lnTo>
                <a:lnTo>
                  <a:pt x="106791" y="29007"/>
                </a:lnTo>
                <a:lnTo>
                  <a:pt x="90662" y="21387"/>
                </a:lnTo>
                <a:close/>
              </a:path>
              <a:path w="107315" h="95250">
                <a:moveTo>
                  <a:pt x="68474" y="14148"/>
                </a:moveTo>
                <a:lnTo>
                  <a:pt x="37703" y="14148"/>
                </a:lnTo>
                <a:lnTo>
                  <a:pt x="44561" y="15037"/>
                </a:lnTo>
                <a:lnTo>
                  <a:pt x="52435" y="18720"/>
                </a:lnTo>
                <a:lnTo>
                  <a:pt x="28432" y="69012"/>
                </a:lnTo>
                <a:lnTo>
                  <a:pt x="42281" y="69012"/>
                </a:lnTo>
                <a:lnTo>
                  <a:pt x="68474" y="14148"/>
                </a:lnTo>
                <a:close/>
              </a:path>
            </a:pathLst>
          </a:custGeom>
          <a:solidFill>
            <a:srgbClr val="FFFFFF"/>
          </a:solidFill>
        </p:spPr>
        <p:txBody>
          <a:bodyPr wrap="square" lIns="0" tIns="0" rIns="0" bIns="0" rtlCol="0"/>
          <a:lstStyle/>
          <a:p>
            <a:endParaRPr/>
          </a:p>
        </p:txBody>
      </p:sp>
      <p:sp>
        <p:nvSpPr>
          <p:cNvPr id="40" name="object 40"/>
          <p:cNvSpPr/>
          <p:nvPr/>
        </p:nvSpPr>
        <p:spPr>
          <a:xfrm>
            <a:off x="9067418" y="3773170"/>
            <a:ext cx="97790" cy="88900"/>
          </a:xfrm>
          <a:custGeom>
            <a:avLst/>
            <a:gdLst/>
            <a:ahLst/>
            <a:cxnLst/>
            <a:rect l="l" t="t" r="r" b="b"/>
            <a:pathLst>
              <a:path w="97790" h="88900">
                <a:moveTo>
                  <a:pt x="5206" y="41655"/>
                </a:moveTo>
                <a:lnTo>
                  <a:pt x="0" y="57149"/>
                </a:lnTo>
                <a:lnTo>
                  <a:pt x="92075" y="88391"/>
                </a:lnTo>
                <a:lnTo>
                  <a:pt x="97281" y="72897"/>
                </a:lnTo>
                <a:lnTo>
                  <a:pt x="31876" y="50672"/>
                </a:lnTo>
                <a:lnTo>
                  <a:pt x="30250" y="46227"/>
                </a:lnTo>
                <a:lnTo>
                  <a:pt x="18796" y="46227"/>
                </a:lnTo>
                <a:lnTo>
                  <a:pt x="5206" y="41655"/>
                </a:lnTo>
                <a:close/>
              </a:path>
              <a:path w="97790" h="88900">
                <a:moveTo>
                  <a:pt x="20447" y="0"/>
                </a:moveTo>
                <a:lnTo>
                  <a:pt x="18414" y="4063"/>
                </a:lnTo>
                <a:lnTo>
                  <a:pt x="17779" y="5206"/>
                </a:lnTo>
                <a:lnTo>
                  <a:pt x="17272" y="6349"/>
                </a:lnTo>
                <a:lnTo>
                  <a:pt x="16467" y="8381"/>
                </a:lnTo>
                <a:lnTo>
                  <a:pt x="13970" y="15874"/>
                </a:lnTo>
                <a:lnTo>
                  <a:pt x="13334" y="20954"/>
                </a:lnTo>
                <a:lnTo>
                  <a:pt x="14350" y="31749"/>
                </a:lnTo>
                <a:lnTo>
                  <a:pt x="16001" y="38480"/>
                </a:lnTo>
                <a:lnTo>
                  <a:pt x="18796" y="46227"/>
                </a:lnTo>
                <a:lnTo>
                  <a:pt x="30250" y="46227"/>
                </a:lnTo>
                <a:lnTo>
                  <a:pt x="29972" y="45465"/>
                </a:lnTo>
                <a:lnTo>
                  <a:pt x="28701" y="40258"/>
                </a:lnTo>
                <a:lnTo>
                  <a:pt x="27431" y="29844"/>
                </a:lnTo>
                <a:lnTo>
                  <a:pt x="27939" y="24891"/>
                </a:lnTo>
                <a:lnTo>
                  <a:pt x="29590" y="20192"/>
                </a:lnTo>
                <a:lnTo>
                  <a:pt x="30606" y="17144"/>
                </a:lnTo>
                <a:lnTo>
                  <a:pt x="31623" y="14604"/>
                </a:lnTo>
                <a:lnTo>
                  <a:pt x="32638" y="12572"/>
                </a:lnTo>
                <a:lnTo>
                  <a:pt x="33654" y="10413"/>
                </a:lnTo>
                <a:lnTo>
                  <a:pt x="34872" y="8254"/>
                </a:lnTo>
                <a:lnTo>
                  <a:pt x="36067" y="6222"/>
                </a:lnTo>
                <a:lnTo>
                  <a:pt x="36322" y="5460"/>
                </a:lnTo>
                <a:lnTo>
                  <a:pt x="20447" y="0"/>
                </a:lnTo>
                <a:close/>
              </a:path>
            </a:pathLst>
          </a:custGeom>
          <a:solidFill>
            <a:srgbClr val="FFFFFF"/>
          </a:solidFill>
        </p:spPr>
        <p:txBody>
          <a:bodyPr wrap="square" lIns="0" tIns="0" rIns="0" bIns="0" rtlCol="0"/>
          <a:lstStyle/>
          <a:p>
            <a:endParaRPr/>
          </a:p>
        </p:txBody>
      </p:sp>
      <p:sp>
        <p:nvSpPr>
          <p:cNvPr id="41" name="object 41"/>
          <p:cNvSpPr/>
          <p:nvPr/>
        </p:nvSpPr>
        <p:spPr>
          <a:xfrm>
            <a:off x="9086977" y="3681857"/>
            <a:ext cx="107314" cy="92710"/>
          </a:xfrm>
          <a:custGeom>
            <a:avLst/>
            <a:gdLst/>
            <a:ahLst/>
            <a:cxnLst/>
            <a:rect l="l" t="t" r="r" b="b"/>
            <a:pathLst>
              <a:path w="107315" h="92710">
                <a:moveTo>
                  <a:pt x="21081" y="0"/>
                </a:moveTo>
                <a:lnTo>
                  <a:pt x="17272" y="16764"/>
                </a:lnTo>
                <a:lnTo>
                  <a:pt x="86105" y="63119"/>
                </a:lnTo>
                <a:lnTo>
                  <a:pt x="3937" y="75311"/>
                </a:lnTo>
                <a:lnTo>
                  <a:pt x="0" y="92583"/>
                </a:lnTo>
                <a:lnTo>
                  <a:pt x="103504" y="76073"/>
                </a:lnTo>
                <a:lnTo>
                  <a:pt x="107188" y="60071"/>
                </a:lnTo>
                <a:lnTo>
                  <a:pt x="21081" y="0"/>
                </a:lnTo>
                <a:close/>
              </a:path>
            </a:pathLst>
          </a:custGeom>
          <a:solidFill>
            <a:srgbClr val="FFFFFF"/>
          </a:solidFill>
        </p:spPr>
        <p:txBody>
          <a:bodyPr wrap="square" lIns="0" tIns="0" rIns="0" bIns="0" rtlCol="0"/>
          <a:lstStyle/>
          <a:p>
            <a:endParaRPr/>
          </a:p>
        </p:txBody>
      </p:sp>
      <p:sp>
        <p:nvSpPr>
          <p:cNvPr id="42" name="object 42"/>
          <p:cNvSpPr/>
          <p:nvPr/>
        </p:nvSpPr>
        <p:spPr>
          <a:xfrm>
            <a:off x="9076181" y="3644265"/>
            <a:ext cx="132080" cy="34925"/>
          </a:xfrm>
          <a:custGeom>
            <a:avLst/>
            <a:gdLst/>
            <a:ahLst/>
            <a:cxnLst/>
            <a:rect l="l" t="t" r="r" b="b"/>
            <a:pathLst>
              <a:path w="132079" h="34925">
                <a:moveTo>
                  <a:pt x="35178" y="5461"/>
                </a:moveTo>
                <a:lnTo>
                  <a:pt x="33020" y="21717"/>
                </a:lnTo>
                <a:lnTo>
                  <a:pt x="129413" y="34543"/>
                </a:lnTo>
                <a:lnTo>
                  <a:pt x="131572" y="18287"/>
                </a:lnTo>
                <a:lnTo>
                  <a:pt x="35178" y="5461"/>
                </a:lnTo>
                <a:close/>
              </a:path>
              <a:path w="132079" h="34925">
                <a:moveTo>
                  <a:pt x="2413" y="0"/>
                </a:moveTo>
                <a:lnTo>
                  <a:pt x="0" y="18287"/>
                </a:lnTo>
                <a:lnTo>
                  <a:pt x="16764" y="20574"/>
                </a:lnTo>
                <a:lnTo>
                  <a:pt x="19176" y="2286"/>
                </a:lnTo>
                <a:lnTo>
                  <a:pt x="2413" y="0"/>
                </a:lnTo>
                <a:close/>
              </a:path>
            </a:pathLst>
          </a:custGeom>
          <a:solidFill>
            <a:srgbClr val="FFFFFF"/>
          </a:solidFill>
        </p:spPr>
        <p:txBody>
          <a:bodyPr wrap="square" lIns="0" tIns="0" rIns="0" bIns="0" rtlCol="0"/>
          <a:lstStyle/>
          <a:p>
            <a:endParaRPr/>
          </a:p>
        </p:txBody>
      </p:sp>
      <p:sp>
        <p:nvSpPr>
          <p:cNvPr id="43" name="object 43"/>
          <p:cNvSpPr/>
          <p:nvPr/>
        </p:nvSpPr>
        <p:spPr>
          <a:xfrm>
            <a:off x="9114089" y="3550158"/>
            <a:ext cx="102235" cy="80645"/>
          </a:xfrm>
          <a:custGeom>
            <a:avLst/>
            <a:gdLst/>
            <a:ahLst/>
            <a:cxnLst/>
            <a:rect l="l" t="t" r="r" b="b"/>
            <a:pathLst>
              <a:path w="102234" h="80645">
                <a:moveTo>
                  <a:pt x="9209" y="0"/>
                </a:moveTo>
                <a:lnTo>
                  <a:pt x="6796" y="4444"/>
                </a:lnTo>
                <a:lnTo>
                  <a:pt x="4637" y="9270"/>
                </a:lnTo>
                <a:lnTo>
                  <a:pt x="2859" y="14604"/>
                </a:lnTo>
                <a:lnTo>
                  <a:pt x="1081" y="19812"/>
                </a:lnTo>
                <a:lnTo>
                  <a:pt x="192" y="25272"/>
                </a:lnTo>
                <a:lnTo>
                  <a:pt x="111" y="27050"/>
                </a:lnTo>
                <a:lnTo>
                  <a:pt x="0" y="32130"/>
                </a:lnTo>
                <a:lnTo>
                  <a:pt x="436" y="41124"/>
                </a:lnTo>
                <a:lnTo>
                  <a:pt x="28100" y="76295"/>
                </a:lnTo>
                <a:lnTo>
                  <a:pt x="57850" y="80644"/>
                </a:lnTo>
                <a:lnTo>
                  <a:pt x="65343" y="79755"/>
                </a:lnTo>
                <a:lnTo>
                  <a:pt x="71820" y="77596"/>
                </a:lnTo>
                <a:lnTo>
                  <a:pt x="78297" y="75564"/>
                </a:lnTo>
                <a:lnTo>
                  <a:pt x="83631" y="72516"/>
                </a:lnTo>
                <a:lnTo>
                  <a:pt x="87949" y="68325"/>
                </a:lnTo>
                <a:lnTo>
                  <a:pt x="92267" y="64388"/>
                </a:lnTo>
                <a:lnTo>
                  <a:pt x="92944" y="63372"/>
                </a:lnTo>
                <a:lnTo>
                  <a:pt x="49849" y="63372"/>
                </a:lnTo>
                <a:lnTo>
                  <a:pt x="41370" y="62589"/>
                </a:lnTo>
                <a:lnTo>
                  <a:pt x="13781" y="41401"/>
                </a:lnTo>
                <a:lnTo>
                  <a:pt x="14068" y="34416"/>
                </a:lnTo>
                <a:lnTo>
                  <a:pt x="14194" y="30861"/>
                </a:lnTo>
                <a:lnTo>
                  <a:pt x="27370" y="1524"/>
                </a:lnTo>
                <a:lnTo>
                  <a:pt x="27370" y="634"/>
                </a:lnTo>
                <a:lnTo>
                  <a:pt x="9209" y="0"/>
                </a:lnTo>
                <a:close/>
              </a:path>
              <a:path w="102234" h="80645">
                <a:moveTo>
                  <a:pt x="76392" y="2412"/>
                </a:moveTo>
                <a:lnTo>
                  <a:pt x="76392" y="3175"/>
                </a:lnTo>
                <a:lnTo>
                  <a:pt x="77281" y="4444"/>
                </a:lnTo>
                <a:lnTo>
                  <a:pt x="78499" y="6350"/>
                </a:lnTo>
                <a:lnTo>
                  <a:pt x="79773" y="8508"/>
                </a:lnTo>
                <a:lnTo>
                  <a:pt x="80964" y="10413"/>
                </a:lnTo>
                <a:lnTo>
                  <a:pt x="82234" y="12700"/>
                </a:lnTo>
                <a:lnTo>
                  <a:pt x="87511" y="30861"/>
                </a:lnTo>
                <a:lnTo>
                  <a:pt x="87447" y="34416"/>
                </a:lnTo>
                <a:lnTo>
                  <a:pt x="58187" y="63156"/>
                </a:lnTo>
                <a:lnTo>
                  <a:pt x="49849" y="63372"/>
                </a:lnTo>
                <a:lnTo>
                  <a:pt x="92944" y="63372"/>
                </a:lnTo>
                <a:lnTo>
                  <a:pt x="95569" y="59435"/>
                </a:lnTo>
                <a:lnTo>
                  <a:pt x="97855" y="53593"/>
                </a:lnTo>
                <a:lnTo>
                  <a:pt x="100141" y="47878"/>
                </a:lnTo>
                <a:lnTo>
                  <a:pt x="101411" y="41401"/>
                </a:lnTo>
                <a:lnTo>
                  <a:pt x="101538" y="34416"/>
                </a:lnTo>
                <a:lnTo>
                  <a:pt x="101703" y="30861"/>
                </a:lnTo>
                <a:lnTo>
                  <a:pt x="94426" y="3047"/>
                </a:lnTo>
                <a:lnTo>
                  <a:pt x="76392" y="2412"/>
                </a:lnTo>
                <a:close/>
              </a:path>
            </a:pathLst>
          </a:custGeom>
          <a:solidFill>
            <a:srgbClr val="FFFFFF"/>
          </a:solidFill>
        </p:spPr>
        <p:txBody>
          <a:bodyPr wrap="square" lIns="0" tIns="0" rIns="0" bIns="0" rtlCol="0"/>
          <a:lstStyle/>
          <a:p>
            <a:endParaRPr/>
          </a:p>
        </p:txBody>
      </p:sp>
      <p:sp>
        <p:nvSpPr>
          <p:cNvPr id="44" name="object 44"/>
          <p:cNvSpPr/>
          <p:nvPr/>
        </p:nvSpPr>
        <p:spPr>
          <a:xfrm>
            <a:off x="9107471" y="3447160"/>
            <a:ext cx="102235" cy="93345"/>
          </a:xfrm>
          <a:custGeom>
            <a:avLst/>
            <a:gdLst/>
            <a:ahLst/>
            <a:cxnLst/>
            <a:rect l="l" t="t" r="r" b="b"/>
            <a:pathLst>
              <a:path w="102234" h="93345">
                <a:moveTo>
                  <a:pt x="46816" y="4317"/>
                </a:moveTo>
                <a:lnTo>
                  <a:pt x="7446" y="21209"/>
                </a:lnTo>
                <a:lnTo>
                  <a:pt x="0" y="43179"/>
                </a:lnTo>
                <a:lnTo>
                  <a:pt x="60" y="45338"/>
                </a:lnTo>
                <a:lnTo>
                  <a:pt x="19638" y="84709"/>
                </a:lnTo>
                <a:lnTo>
                  <a:pt x="47802" y="92727"/>
                </a:lnTo>
                <a:lnTo>
                  <a:pt x="59135" y="91821"/>
                </a:lnTo>
                <a:lnTo>
                  <a:pt x="70231" y="89273"/>
                </a:lnTo>
                <a:lnTo>
                  <a:pt x="79709" y="85248"/>
                </a:lnTo>
                <a:lnTo>
                  <a:pt x="87567" y="79748"/>
                </a:lnTo>
                <a:lnTo>
                  <a:pt x="89490" y="77597"/>
                </a:lnTo>
                <a:lnTo>
                  <a:pt x="37672" y="77597"/>
                </a:lnTo>
                <a:lnTo>
                  <a:pt x="30814" y="75691"/>
                </a:lnTo>
                <a:lnTo>
                  <a:pt x="24972" y="71247"/>
                </a:lnTo>
                <a:lnTo>
                  <a:pt x="19003" y="66928"/>
                </a:lnTo>
                <a:lnTo>
                  <a:pt x="15447" y="60451"/>
                </a:lnTo>
                <a:lnTo>
                  <a:pt x="14050" y="51815"/>
                </a:lnTo>
                <a:lnTo>
                  <a:pt x="12780" y="43179"/>
                </a:lnTo>
                <a:lnTo>
                  <a:pt x="14177" y="36322"/>
                </a:lnTo>
                <a:lnTo>
                  <a:pt x="22178" y="26542"/>
                </a:lnTo>
                <a:lnTo>
                  <a:pt x="28401" y="23367"/>
                </a:lnTo>
                <a:lnTo>
                  <a:pt x="36910" y="21971"/>
                </a:lnTo>
                <a:lnTo>
                  <a:pt x="49536" y="21971"/>
                </a:lnTo>
                <a:lnTo>
                  <a:pt x="46816" y="4317"/>
                </a:lnTo>
                <a:close/>
              </a:path>
              <a:path w="102234" h="93345">
                <a:moveTo>
                  <a:pt x="49536" y="21971"/>
                </a:moveTo>
                <a:lnTo>
                  <a:pt x="36910" y="21971"/>
                </a:lnTo>
                <a:lnTo>
                  <a:pt x="45292" y="77088"/>
                </a:lnTo>
                <a:lnTo>
                  <a:pt x="37672" y="77597"/>
                </a:lnTo>
                <a:lnTo>
                  <a:pt x="89490" y="77597"/>
                </a:lnTo>
                <a:lnTo>
                  <a:pt x="91648" y="75184"/>
                </a:lnTo>
                <a:lnTo>
                  <a:pt x="57738" y="75184"/>
                </a:lnTo>
                <a:lnTo>
                  <a:pt x="49536" y="21971"/>
                </a:lnTo>
                <a:close/>
              </a:path>
              <a:path w="102234" h="93345">
                <a:moveTo>
                  <a:pt x="87710" y="0"/>
                </a:moveTo>
                <a:lnTo>
                  <a:pt x="70057" y="2793"/>
                </a:lnTo>
                <a:lnTo>
                  <a:pt x="70184" y="3683"/>
                </a:lnTo>
                <a:lnTo>
                  <a:pt x="73105" y="6096"/>
                </a:lnTo>
                <a:lnTo>
                  <a:pt x="76407" y="10413"/>
                </a:lnTo>
                <a:lnTo>
                  <a:pt x="80090" y="16637"/>
                </a:lnTo>
                <a:lnTo>
                  <a:pt x="83646" y="22860"/>
                </a:lnTo>
                <a:lnTo>
                  <a:pt x="85932" y="29210"/>
                </a:lnTo>
                <a:lnTo>
                  <a:pt x="87710" y="40639"/>
                </a:lnTo>
                <a:lnTo>
                  <a:pt x="87710" y="45338"/>
                </a:lnTo>
                <a:lnTo>
                  <a:pt x="86186" y="53975"/>
                </a:lnTo>
                <a:lnTo>
                  <a:pt x="84662" y="57785"/>
                </a:lnTo>
                <a:lnTo>
                  <a:pt x="82376" y="61213"/>
                </a:lnTo>
                <a:lnTo>
                  <a:pt x="80090" y="64769"/>
                </a:lnTo>
                <a:lnTo>
                  <a:pt x="57738" y="75184"/>
                </a:lnTo>
                <a:lnTo>
                  <a:pt x="91648" y="75184"/>
                </a:lnTo>
                <a:lnTo>
                  <a:pt x="93806" y="72771"/>
                </a:lnTo>
                <a:lnTo>
                  <a:pt x="98330" y="64529"/>
                </a:lnTo>
                <a:lnTo>
                  <a:pt x="101045" y="55229"/>
                </a:lnTo>
                <a:lnTo>
                  <a:pt x="101907" y="45338"/>
                </a:lnTo>
                <a:lnTo>
                  <a:pt x="101817" y="43179"/>
                </a:lnTo>
                <a:lnTo>
                  <a:pt x="90758" y="5206"/>
                </a:lnTo>
                <a:lnTo>
                  <a:pt x="87710" y="0"/>
                </a:lnTo>
                <a:close/>
              </a:path>
            </a:pathLst>
          </a:custGeom>
          <a:solidFill>
            <a:srgbClr val="FFFFFF"/>
          </a:solidFill>
        </p:spPr>
        <p:txBody>
          <a:bodyPr wrap="square" lIns="0" tIns="0" rIns="0" bIns="0" rtlCol="0"/>
          <a:lstStyle/>
          <a:p>
            <a:endParaRPr/>
          </a:p>
        </p:txBody>
      </p:sp>
      <p:sp>
        <p:nvSpPr>
          <p:cNvPr id="45" name="object 45"/>
          <p:cNvSpPr/>
          <p:nvPr/>
        </p:nvSpPr>
        <p:spPr>
          <a:xfrm>
            <a:off x="8118347" y="4567428"/>
            <a:ext cx="130175" cy="142240"/>
          </a:xfrm>
          <a:custGeom>
            <a:avLst/>
            <a:gdLst/>
            <a:ahLst/>
            <a:cxnLst/>
            <a:rect l="l" t="t" r="r" b="b"/>
            <a:pathLst>
              <a:path w="130175" h="142239">
                <a:moveTo>
                  <a:pt x="23241" y="10795"/>
                </a:moveTo>
                <a:lnTo>
                  <a:pt x="0" y="13589"/>
                </a:lnTo>
                <a:lnTo>
                  <a:pt x="15112" y="142240"/>
                </a:lnTo>
                <a:lnTo>
                  <a:pt x="31115" y="140462"/>
                </a:lnTo>
                <a:lnTo>
                  <a:pt x="18033" y="29464"/>
                </a:lnTo>
                <a:lnTo>
                  <a:pt x="35044" y="29464"/>
                </a:lnTo>
                <a:lnTo>
                  <a:pt x="23241" y="10795"/>
                </a:lnTo>
                <a:close/>
              </a:path>
              <a:path w="130175" h="142239">
                <a:moveTo>
                  <a:pt x="116898" y="19812"/>
                </a:moveTo>
                <a:lnTo>
                  <a:pt x="99568" y="19812"/>
                </a:lnTo>
                <a:lnTo>
                  <a:pt x="112649" y="130810"/>
                </a:lnTo>
                <a:lnTo>
                  <a:pt x="129794" y="128778"/>
                </a:lnTo>
                <a:lnTo>
                  <a:pt x="116898" y="19812"/>
                </a:lnTo>
                <a:close/>
              </a:path>
              <a:path w="130175" h="142239">
                <a:moveTo>
                  <a:pt x="35044" y="29464"/>
                </a:moveTo>
                <a:lnTo>
                  <a:pt x="18033" y="29464"/>
                </a:lnTo>
                <a:lnTo>
                  <a:pt x="62483" y="100711"/>
                </a:lnTo>
                <a:lnTo>
                  <a:pt x="72644" y="99568"/>
                </a:lnTo>
                <a:lnTo>
                  <a:pt x="79760" y="78486"/>
                </a:lnTo>
                <a:lnTo>
                  <a:pt x="66040" y="78486"/>
                </a:lnTo>
                <a:lnTo>
                  <a:pt x="35044" y="29464"/>
                </a:lnTo>
                <a:close/>
              </a:path>
              <a:path w="130175" h="142239">
                <a:moveTo>
                  <a:pt x="114553" y="0"/>
                </a:moveTo>
                <a:lnTo>
                  <a:pt x="90804" y="2794"/>
                </a:lnTo>
                <a:lnTo>
                  <a:pt x="66040" y="78486"/>
                </a:lnTo>
                <a:lnTo>
                  <a:pt x="79760" y="78486"/>
                </a:lnTo>
                <a:lnTo>
                  <a:pt x="99568" y="19812"/>
                </a:lnTo>
                <a:lnTo>
                  <a:pt x="116898" y="19812"/>
                </a:lnTo>
                <a:lnTo>
                  <a:pt x="114553" y="0"/>
                </a:lnTo>
                <a:close/>
              </a:path>
            </a:pathLst>
          </a:custGeom>
          <a:solidFill>
            <a:srgbClr val="FFFFFF"/>
          </a:solidFill>
        </p:spPr>
        <p:txBody>
          <a:bodyPr wrap="square" lIns="0" tIns="0" rIns="0" bIns="0" rtlCol="0"/>
          <a:lstStyle/>
          <a:p>
            <a:endParaRPr/>
          </a:p>
        </p:txBody>
      </p:sp>
      <p:sp>
        <p:nvSpPr>
          <p:cNvPr id="46" name="object 46"/>
          <p:cNvSpPr/>
          <p:nvPr/>
        </p:nvSpPr>
        <p:spPr>
          <a:xfrm>
            <a:off x="8260460" y="4578603"/>
            <a:ext cx="97155" cy="107314"/>
          </a:xfrm>
          <a:custGeom>
            <a:avLst/>
            <a:gdLst/>
            <a:ahLst/>
            <a:cxnLst/>
            <a:rect l="l" t="t" r="r" b="b"/>
            <a:pathLst>
              <a:path w="97154" h="107314">
                <a:moveTo>
                  <a:pt x="75785" y="14986"/>
                </a:moveTo>
                <a:lnTo>
                  <a:pt x="46482" y="14986"/>
                </a:lnTo>
                <a:lnTo>
                  <a:pt x="49403" y="15113"/>
                </a:lnTo>
                <a:lnTo>
                  <a:pt x="51943" y="15748"/>
                </a:lnTo>
                <a:lnTo>
                  <a:pt x="54737" y="16383"/>
                </a:lnTo>
                <a:lnTo>
                  <a:pt x="57023" y="17780"/>
                </a:lnTo>
                <a:lnTo>
                  <a:pt x="58928" y="19812"/>
                </a:lnTo>
                <a:lnTo>
                  <a:pt x="60833" y="21717"/>
                </a:lnTo>
                <a:lnTo>
                  <a:pt x="62230" y="24511"/>
                </a:lnTo>
                <a:lnTo>
                  <a:pt x="63312" y="28448"/>
                </a:lnTo>
                <a:lnTo>
                  <a:pt x="63881" y="30607"/>
                </a:lnTo>
                <a:lnTo>
                  <a:pt x="57237" y="32821"/>
                </a:lnTo>
                <a:lnTo>
                  <a:pt x="50831" y="35083"/>
                </a:lnTo>
                <a:lnTo>
                  <a:pt x="14605" y="54610"/>
                </a:lnTo>
                <a:lnTo>
                  <a:pt x="7620" y="75946"/>
                </a:lnTo>
                <a:lnTo>
                  <a:pt x="12065" y="91694"/>
                </a:lnTo>
                <a:lnTo>
                  <a:pt x="17018" y="98044"/>
                </a:lnTo>
                <a:lnTo>
                  <a:pt x="31750" y="105918"/>
                </a:lnTo>
                <a:lnTo>
                  <a:pt x="39750" y="106807"/>
                </a:lnTo>
                <a:lnTo>
                  <a:pt x="48133" y="104394"/>
                </a:lnTo>
                <a:lnTo>
                  <a:pt x="52832" y="103124"/>
                </a:lnTo>
                <a:lnTo>
                  <a:pt x="56642" y="101600"/>
                </a:lnTo>
                <a:lnTo>
                  <a:pt x="62992" y="98044"/>
                </a:lnTo>
                <a:lnTo>
                  <a:pt x="65659" y="96012"/>
                </a:lnTo>
                <a:lnTo>
                  <a:pt x="67945" y="94107"/>
                </a:lnTo>
                <a:lnTo>
                  <a:pt x="69977" y="92456"/>
                </a:lnTo>
                <a:lnTo>
                  <a:pt x="71882" y="90424"/>
                </a:lnTo>
                <a:lnTo>
                  <a:pt x="72182" y="90043"/>
                </a:lnTo>
                <a:lnTo>
                  <a:pt x="37846" y="90043"/>
                </a:lnTo>
                <a:lnTo>
                  <a:pt x="33782" y="88265"/>
                </a:lnTo>
                <a:lnTo>
                  <a:pt x="29845" y="86360"/>
                </a:lnTo>
                <a:lnTo>
                  <a:pt x="27050" y="82804"/>
                </a:lnTo>
                <a:lnTo>
                  <a:pt x="25617" y="77343"/>
                </a:lnTo>
                <a:lnTo>
                  <a:pt x="24257" y="72644"/>
                </a:lnTo>
                <a:lnTo>
                  <a:pt x="36068" y="56007"/>
                </a:lnTo>
                <a:lnTo>
                  <a:pt x="39497" y="53848"/>
                </a:lnTo>
                <a:lnTo>
                  <a:pt x="44450" y="51689"/>
                </a:lnTo>
                <a:lnTo>
                  <a:pt x="50800" y="49276"/>
                </a:lnTo>
                <a:lnTo>
                  <a:pt x="62738" y="44958"/>
                </a:lnTo>
                <a:lnTo>
                  <a:pt x="67437" y="43307"/>
                </a:lnTo>
                <a:lnTo>
                  <a:pt x="84339" y="43307"/>
                </a:lnTo>
                <a:lnTo>
                  <a:pt x="77470" y="18542"/>
                </a:lnTo>
                <a:lnTo>
                  <a:pt x="75785" y="14986"/>
                </a:lnTo>
                <a:close/>
              </a:path>
              <a:path w="97154" h="107314">
                <a:moveTo>
                  <a:pt x="95224" y="82550"/>
                </a:moveTo>
                <a:lnTo>
                  <a:pt x="78359" y="82550"/>
                </a:lnTo>
                <a:lnTo>
                  <a:pt x="81153" y="92456"/>
                </a:lnTo>
                <a:lnTo>
                  <a:pt x="96774" y="88138"/>
                </a:lnTo>
                <a:lnTo>
                  <a:pt x="95224" y="82550"/>
                </a:lnTo>
                <a:close/>
              </a:path>
              <a:path w="97154" h="107314">
                <a:moveTo>
                  <a:pt x="84339" y="43307"/>
                </a:moveTo>
                <a:lnTo>
                  <a:pt x="67437" y="43307"/>
                </a:lnTo>
                <a:lnTo>
                  <a:pt x="74675" y="69469"/>
                </a:lnTo>
                <a:lnTo>
                  <a:pt x="71628" y="73533"/>
                </a:lnTo>
                <a:lnTo>
                  <a:pt x="49784" y="88138"/>
                </a:lnTo>
                <a:lnTo>
                  <a:pt x="43180" y="90043"/>
                </a:lnTo>
                <a:lnTo>
                  <a:pt x="72182" y="90043"/>
                </a:lnTo>
                <a:lnTo>
                  <a:pt x="73787" y="88011"/>
                </a:lnTo>
                <a:lnTo>
                  <a:pt x="75692" y="85725"/>
                </a:lnTo>
                <a:lnTo>
                  <a:pt x="77216" y="83820"/>
                </a:lnTo>
                <a:lnTo>
                  <a:pt x="78359" y="82550"/>
                </a:lnTo>
                <a:lnTo>
                  <a:pt x="95224" y="82550"/>
                </a:lnTo>
                <a:lnTo>
                  <a:pt x="84339" y="43307"/>
                </a:lnTo>
                <a:close/>
              </a:path>
              <a:path w="97154" h="107314">
                <a:moveTo>
                  <a:pt x="52324" y="0"/>
                </a:moveTo>
                <a:lnTo>
                  <a:pt x="47117" y="381"/>
                </a:lnTo>
                <a:lnTo>
                  <a:pt x="41910" y="635"/>
                </a:lnTo>
                <a:lnTo>
                  <a:pt x="36068" y="1651"/>
                </a:lnTo>
                <a:lnTo>
                  <a:pt x="29464" y="3429"/>
                </a:lnTo>
                <a:lnTo>
                  <a:pt x="23749" y="5080"/>
                </a:lnTo>
                <a:lnTo>
                  <a:pt x="18161" y="7112"/>
                </a:lnTo>
                <a:lnTo>
                  <a:pt x="12573" y="9779"/>
                </a:lnTo>
                <a:lnTo>
                  <a:pt x="7112" y="12319"/>
                </a:lnTo>
                <a:lnTo>
                  <a:pt x="2921" y="14478"/>
                </a:lnTo>
                <a:lnTo>
                  <a:pt x="0" y="16256"/>
                </a:lnTo>
                <a:lnTo>
                  <a:pt x="4445" y="32258"/>
                </a:lnTo>
                <a:lnTo>
                  <a:pt x="5334" y="32004"/>
                </a:lnTo>
                <a:lnTo>
                  <a:pt x="10160" y="28448"/>
                </a:lnTo>
                <a:lnTo>
                  <a:pt x="14986" y="25400"/>
                </a:lnTo>
                <a:lnTo>
                  <a:pt x="46482" y="14986"/>
                </a:lnTo>
                <a:lnTo>
                  <a:pt x="75785" y="14986"/>
                </a:lnTo>
                <a:lnTo>
                  <a:pt x="75184" y="13716"/>
                </a:lnTo>
                <a:lnTo>
                  <a:pt x="72136" y="10160"/>
                </a:lnTo>
                <a:lnTo>
                  <a:pt x="69215" y="6604"/>
                </a:lnTo>
                <a:lnTo>
                  <a:pt x="65659" y="3937"/>
                </a:lnTo>
                <a:lnTo>
                  <a:pt x="61341" y="2413"/>
                </a:lnTo>
                <a:lnTo>
                  <a:pt x="57023" y="762"/>
                </a:lnTo>
                <a:lnTo>
                  <a:pt x="52324" y="0"/>
                </a:lnTo>
                <a:close/>
              </a:path>
            </a:pathLst>
          </a:custGeom>
          <a:solidFill>
            <a:srgbClr val="FFFFFF"/>
          </a:solidFill>
        </p:spPr>
        <p:txBody>
          <a:bodyPr wrap="square" lIns="0" tIns="0" rIns="0" bIns="0" rtlCol="0"/>
          <a:lstStyle/>
          <a:p>
            <a:endParaRPr/>
          </a:p>
        </p:txBody>
      </p:sp>
      <p:sp>
        <p:nvSpPr>
          <p:cNvPr id="47" name="object 47"/>
          <p:cNvSpPr/>
          <p:nvPr/>
        </p:nvSpPr>
        <p:spPr>
          <a:xfrm>
            <a:off x="8354314" y="4544948"/>
            <a:ext cx="63500" cy="111760"/>
          </a:xfrm>
          <a:custGeom>
            <a:avLst/>
            <a:gdLst/>
            <a:ahLst/>
            <a:cxnLst/>
            <a:rect l="l" t="t" r="r" b="b"/>
            <a:pathLst>
              <a:path w="63500" h="111760">
                <a:moveTo>
                  <a:pt x="15366" y="14350"/>
                </a:moveTo>
                <a:lnTo>
                  <a:pt x="0" y="19938"/>
                </a:lnTo>
                <a:lnTo>
                  <a:pt x="33400" y="111251"/>
                </a:lnTo>
                <a:lnTo>
                  <a:pt x="48767" y="105663"/>
                </a:lnTo>
                <a:lnTo>
                  <a:pt x="25018" y="40767"/>
                </a:lnTo>
                <a:lnTo>
                  <a:pt x="27939" y="35940"/>
                </a:lnTo>
                <a:lnTo>
                  <a:pt x="31241" y="31750"/>
                </a:lnTo>
                <a:lnTo>
                  <a:pt x="34924" y="27812"/>
                </a:lnTo>
                <a:lnTo>
                  <a:pt x="20319" y="27812"/>
                </a:lnTo>
                <a:lnTo>
                  <a:pt x="15366" y="14350"/>
                </a:lnTo>
                <a:close/>
              </a:path>
              <a:path w="63500" h="111760">
                <a:moveTo>
                  <a:pt x="57276" y="0"/>
                </a:moveTo>
                <a:lnTo>
                  <a:pt x="52831" y="888"/>
                </a:lnTo>
                <a:lnTo>
                  <a:pt x="51688" y="1269"/>
                </a:lnTo>
                <a:lnTo>
                  <a:pt x="50418" y="1524"/>
                </a:lnTo>
                <a:lnTo>
                  <a:pt x="48386" y="2158"/>
                </a:lnTo>
                <a:lnTo>
                  <a:pt x="45719" y="3175"/>
                </a:lnTo>
                <a:lnTo>
                  <a:pt x="40893" y="4952"/>
                </a:lnTo>
                <a:lnTo>
                  <a:pt x="20319" y="27812"/>
                </a:lnTo>
                <a:lnTo>
                  <a:pt x="34924" y="27812"/>
                </a:lnTo>
                <a:lnTo>
                  <a:pt x="38480" y="24256"/>
                </a:lnTo>
                <a:lnTo>
                  <a:pt x="42671" y="21589"/>
                </a:lnTo>
                <a:lnTo>
                  <a:pt x="50418" y="18668"/>
                </a:lnTo>
                <a:lnTo>
                  <a:pt x="52958" y="17906"/>
                </a:lnTo>
                <a:lnTo>
                  <a:pt x="55244" y="17399"/>
                </a:lnTo>
                <a:lnTo>
                  <a:pt x="57403" y="16763"/>
                </a:lnTo>
                <a:lnTo>
                  <a:pt x="59816" y="16382"/>
                </a:lnTo>
                <a:lnTo>
                  <a:pt x="62229" y="16128"/>
                </a:lnTo>
                <a:lnTo>
                  <a:pt x="63118" y="15748"/>
                </a:lnTo>
                <a:lnTo>
                  <a:pt x="57276" y="0"/>
                </a:lnTo>
                <a:close/>
              </a:path>
            </a:pathLst>
          </a:custGeom>
          <a:solidFill>
            <a:srgbClr val="FFFFFF"/>
          </a:solidFill>
        </p:spPr>
        <p:txBody>
          <a:bodyPr wrap="square" lIns="0" tIns="0" rIns="0" bIns="0" rtlCol="0"/>
          <a:lstStyle/>
          <a:p>
            <a:endParaRPr/>
          </a:p>
        </p:txBody>
      </p:sp>
      <p:sp>
        <p:nvSpPr>
          <p:cNvPr id="48" name="object 48"/>
          <p:cNvSpPr/>
          <p:nvPr/>
        </p:nvSpPr>
        <p:spPr>
          <a:xfrm>
            <a:off x="8405114" y="4498466"/>
            <a:ext cx="135255" cy="130810"/>
          </a:xfrm>
          <a:custGeom>
            <a:avLst/>
            <a:gdLst/>
            <a:ahLst/>
            <a:cxnLst/>
            <a:rect l="l" t="t" r="r" b="b"/>
            <a:pathLst>
              <a:path w="135254" h="130810">
                <a:moveTo>
                  <a:pt x="14858" y="0"/>
                </a:moveTo>
                <a:lnTo>
                  <a:pt x="0" y="6603"/>
                </a:lnTo>
                <a:lnTo>
                  <a:pt x="55244" y="130301"/>
                </a:lnTo>
                <a:lnTo>
                  <a:pt x="70230" y="123697"/>
                </a:lnTo>
                <a:lnTo>
                  <a:pt x="56895" y="93979"/>
                </a:lnTo>
                <a:lnTo>
                  <a:pt x="62483" y="80390"/>
                </a:lnTo>
                <a:lnTo>
                  <a:pt x="101979" y="80390"/>
                </a:lnTo>
                <a:lnTo>
                  <a:pt x="99305" y="79247"/>
                </a:lnTo>
                <a:lnTo>
                  <a:pt x="50418" y="79247"/>
                </a:lnTo>
                <a:lnTo>
                  <a:pt x="14858" y="0"/>
                </a:lnTo>
                <a:close/>
              </a:path>
              <a:path w="135254" h="130810">
                <a:moveTo>
                  <a:pt x="101979" y="80390"/>
                </a:moveTo>
                <a:lnTo>
                  <a:pt x="62483" y="80390"/>
                </a:lnTo>
                <a:lnTo>
                  <a:pt x="115442" y="103377"/>
                </a:lnTo>
                <a:lnTo>
                  <a:pt x="135254" y="94614"/>
                </a:lnTo>
                <a:lnTo>
                  <a:pt x="101979" y="80390"/>
                </a:lnTo>
                <a:close/>
              </a:path>
              <a:path w="135254" h="130810">
                <a:moveTo>
                  <a:pt x="92455" y="7111"/>
                </a:moveTo>
                <a:lnTo>
                  <a:pt x="73659" y="15620"/>
                </a:lnTo>
                <a:lnTo>
                  <a:pt x="50418" y="79247"/>
                </a:lnTo>
                <a:lnTo>
                  <a:pt x="99305" y="79247"/>
                </a:lnTo>
                <a:lnTo>
                  <a:pt x="69595" y="66547"/>
                </a:lnTo>
                <a:lnTo>
                  <a:pt x="92455" y="7111"/>
                </a:lnTo>
                <a:close/>
              </a:path>
            </a:pathLst>
          </a:custGeom>
          <a:solidFill>
            <a:srgbClr val="FFFFFF"/>
          </a:solidFill>
        </p:spPr>
        <p:txBody>
          <a:bodyPr wrap="square" lIns="0" tIns="0" rIns="0" bIns="0" rtlCol="0"/>
          <a:lstStyle/>
          <a:p>
            <a:endParaRPr/>
          </a:p>
        </p:txBody>
      </p:sp>
      <p:sp>
        <p:nvSpPr>
          <p:cNvPr id="49" name="object 49"/>
          <p:cNvSpPr/>
          <p:nvPr/>
        </p:nvSpPr>
        <p:spPr>
          <a:xfrm>
            <a:off x="8517270" y="4472563"/>
            <a:ext cx="104139" cy="102235"/>
          </a:xfrm>
          <a:custGeom>
            <a:avLst/>
            <a:gdLst/>
            <a:ahLst/>
            <a:cxnLst/>
            <a:rect l="l" t="t" r="r" b="b"/>
            <a:pathLst>
              <a:path w="104140" h="102235">
                <a:moveTo>
                  <a:pt x="49432" y="0"/>
                </a:moveTo>
                <a:lnTo>
                  <a:pt x="9651" y="18157"/>
                </a:lnTo>
                <a:lnTo>
                  <a:pt x="0" y="43943"/>
                </a:lnTo>
                <a:lnTo>
                  <a:pt x="619" y="53669"/>
                </a:lnTo>
                <a:lnTo>
                  <a:pt x="21002" y="91182"/>
                </a:lnTo>
                <a:lnTo>
                  <a:pt x="46835" y="101852"/>
                </a:lnTo>
                <a:lnTo>
                  <a:pt x="56499" y="101294"/>
                </a:lnTo>
                <a:lnTo>
                  <a:pt x="88026" y="86864"/>
                </a:lnTo>
                <a:lnTo>
                  <a:pt x="52689" y="86864"/>
                </a:lnTo>
                <a:lnTo>
                  <a:pt x="48498" y="86737"/>
                </a:lnTo>
                <a:lnTo>
                  <a:pt x="23098" y="67179"/>
                </a:lnTo>
                <a:lnTo>
                  <a:pt x="43547" y="56130"/>
                </a:lnTo>
                <a:lnTo>
                  <a:pt x="17129" y="56130"/>
                </a:lnTo>
                <a:lnTo>
                  <a:pt x="14081" y="49018"/>
                </a:lnTo>
                <a:lnTo>
                  <a:pt x="13573" y="42033"/>
                </a:lnTo>
                <a:lnTo>
                  <a:pt x="15849" y="34540"/>
                </a:lnTo>
                <a:lnTo>
                  <a:pt x="44942" y="13077"/>
                </a:lnTo>
                <a:lnTo>
                  <a:pt x="73311" y="13077"/>
                </a:lnTo>
                <a:lnTo>
                  <a:pt x="70643" y="10029"/>
                </a:lnTo>
                <a:lnTo>
                  <a:pt x="64129" y="4980"/>
                </a:lnTo>
                <a:lnTo>
                  <a:pt x="57007" y="1647"/>
                </a:lnTo>
                <a:lnTo>
                  <a:pt x="49432" y="0"/>
                </a:lnTo>
                <a:close/>
              </a:path>
              <a:path w="104140" h="102235">
                <a:moveTo>
                  <a:pt x="95488" y="54352"/>
                </a:moveTo>
                <a:lnTo>
                  <a:pt x="94726" y="54860"/>
                </a:lnTo>
                <a:lnTo>
                  <a:pt x="93329" y="58416"/>
                </a:lnTo>
                <a:lnTo>
                  <a:pt x="90408" y="62988"/>
                </a:lnTo>
                <a:lnTo>
                  <a:pt x="85709" y="68449"/>
                </a:lnTo>
                <a:lnTo>
                  <a:pt x="81137" y="73910"/>
                </a:lnTo>
                <a:lnTo>
                  <a:pt x="75930" y="78355"/>
                </a:lnTo>
                <a:lnTo>
                  <a:pt x="70088" y="81403"/>
                </a:lnTo>
                <a:lnTo>
                  <a:pt x="65643" y="83816"/>
                </a:lnTo>
                <a:lnTo>
                  <a:pt x="61325" y="85340"/>
                </a:lnTo>
                <a:lnTo>
                  <a:pt x="52689" y="86864"/>
                </a:lnTo>
                <a:lnTo>
                  <a:pt x="88026" y="86864"/>
                </a:lnTo>
                <a:lnTo>
                  <a:pt x="91805" y="83308"/>
                </a:lnTo>
                <a:lnTo>
                  <a:pt x="96123" y="79117"/>
                </a:lnTo>
                <a:lnTo>
                  <a:pt x="100187" y="74799"/>
                </a:lnTo>
                <a:lnTo>
                  <a:pt x="103870" y="70100"/>
                </a:lnTo>
                <a:lnTo>
                  <a:pt x="95488" y="54352"/>
                </a:lnTo>
                <a:close/>
              </a:path>
              <a:path w="104140" h="102235">
                <a:moveTo>
                  <a:pt x="73311" y="13077"/>
                </a:moveTo>
                <a:lnTo>
                  <a:pt x="44942" y="13077"/>
                </a:lnTo>
                <a:lnTo>
                  <a:pt x="50911" y="15109"/>
                </a:lnTo>
                <a:lnTo>
                  <a:pt x="57007" y="17268"/>
                </a:lnTo>
                <a:lnTo>
                  <a:pt x="61960" y="22094"/>
                </a:lnTo>
                <a:lnTo>
                  <a:pt x="66151" y="29587"/>
                </a:lnTo>
                <a:lnTo>
                  <a:pt x="17129" y="56130"/>
                </a:lnTo>
                <a:lnTo>
                  <a:pt x="43547" y="56130"/>
                </a:lnTo>
                <a:lnTo>
                  <a:pt x="86090" y="33143"/>
                </a:lnTo>
                <a:lnTo>
                  <a:pt x="81899" y="25269"/>
                </a:lnTo>
                <a:lnTo>
                  <a:pt x="76563" y="16791"/>
                </a:lnTo>
                <a:lnTo>
                  <a:pt x="73311" y="13077"/>
                </a:lnTo>
                <a:close/>
              </a:path>
            </a:pathLst>
          </a:custGeom>
          <a:solidFill>
            <a:srgbClr val="FFFFFF"/>
          </a:solidFill>
        </p:spPr>
        <p:txBody>
          <a:bodyPr wrap="square" lIns="0" tIns="0" rIns="0" bIns="0" rtlCol="0"/>
          <a:lstStyle/>
          <a:p>
            <a:endParaRPr/>
          </a:p>
        </p:txBody>
      </p:sp>
      <p:sp>
        <p:nvSpPr>
          <p:cNvPr id="50" name="object 50"/>
          <p:cNvSpPr/>
          <p:nvPr/>
        </p:nvSpPr>
        <p:spPr>
          <a:xfrm>
            <a:off x="8581517" y="4418203"/>
            <a:ext cx="108585" cy="107314"/>
          </a:xfrm>
          <a:custGeom>
            <a:avLst/>
            <a:gdLst/>
            <a:ahLst/>
            <a:cxnLst/>
            <a:rect l="l" t="t" r="r" b="b"/>
            <a:pathLst>
              <a:path w="108584" h="107314">
                <a:moveTo>
                  <a:pt x="41513" y="43942"/>
                </a:moveTo>
                <a:lnTo>
                  <a:pt x="22225" y="43942"/>
                </a:lnTo>
                <a:lnTo>
                  <a:pt x="49656" y="87757"/>
                </a:lnTo>
                <a:lnTo>
                  <a:pt x="77088" y="107188"/>
                </a:lnTo>
                <a:lnTo>
                  <a:pt x="84962" y="105410"/>
                </a:lnTo>
                <a:lnTo>
                  <a:pt x="106023" y="90043"/>
                </a:lnTo>
                <a:lnTo>
                  <a:pt x="77342" y="90043"/>
                </a:lnTo>
                <a:lnTo>
                  <a:pt x="74929" y="89535"/>
                </a:lnTo>
                <a:lnTo>
                  <a:pt x="72643" y="88265"/>
                </a:lnTo>
                <a:lnTo>
                  <a:pt x="70103" y="86995"/>
                </a:lnTo>
                <a:lnTo>
                  <a:pt x="68072" y="85090"/>
                </a:lnTo>
                <a:lnTo>
                  <a:pt x="64515" y="80518"/>
                </a:lnTo>
                <a:lnTo>
                  <a:pt x="62356" y="77216"/>
                </a:lnTo>
                <a:lnTo>
                  <a:pt x="59689" y="72771"/>
                </a:lnTo>
                <a:lnTo>
                  <a:pt x="41513" y="43942"/>
                </a:lnTo>
                <a:close/>
              </a:path>
              <a:path w="108584" h="107314">
                <a:moveTo>
                  <a:pt x="100837" y="74803"/>
                </a:moveTo>
                <a:lnTo>
                  <a:pt x="100075" y="75311"/>
                </a:lnTo>
                <a:lnTo>
                  <a:pt x="99186" y="76454"/>
                </a:lnTo>
                <a:lnTo>
                  <a:pt x="97789" y="78105"/>
                </a:lnTo>
                <a:lnTo>
                  <a:pt x="95757" y="80264"/>
                </a:lnTo>
                <a:lnTo>
                  <a:pt x="93725" y="82550"/>
                </a:lnTo>
                <a:lnTo>
                  <a:pt x="91566" y="84328"/>
                </a:lnTo>
                <a:lnTo>
                  <a:pt x="89280" y="85725"/>
                </a:lnTo>
                <a:lnTo>
                  <a:pt x="85471" y="88138"/>
                </a:lnTo>
                <a:lnTo>
                  <a:pt x="82296" y="89535"/>
                </a:lnTo>
                <a:lnTo>
                  <a:pt x="77342" y="90043"/>
                </a:lnTo>
                <a:lnTo>
                  <a:pt x="106023" y="90043"/>
                </a:lnTo>
                <a:lnTo>
                  <a:pt x="106545" y="89535"/>
                </a:lnTo>
                <a:lnTo>
                  <a:pt x="108584" y="87376"/>
                </a:lnTo>
                <a:lnTo>
                  <a:pt x="100837" y="74803"/>
                </a:lnTo>
                <a:close/>
              </a:path>
              <a:path w="108584" h="107314">
                <a:moveTo>
                  <a:pt x="13842" y="0"/>
                </a:moveTo>
                <a:lnTo>
                  <a:pt x="0" y="8636"/>
                </a:lnTo>
                <a:lnTo>
                  <a:pt x="14858" y="32385"/>
                </a:lnTo>
                <a:lnTo>
                  <a:pt x="5587" y="38227"/>
                </a:lnTo>
                <a:lnTo>
                  <a:pt x="12826" y="49911"/>
                </a:lnTo>
                <a:lnTo>
                  <a:pt x="22225" y="43942"/>
                </a:lnTo>
                <a:lnTo>
                  <a:pt x="41513" y="43942"/>
                </a:lnTo>
                <a:lnTo>
                  <a:pt x="36067" y="35306"/>
                </a:lnTo>
                <a:lnTo>
                  <a:pt x="54581" y="23622"/>
                </a:lnTo>
                <a:lnTo>
                  <a:pt x="28701" y="23622"/>
                </a:lnTo>
                <a:lnTo>
                  <a:pt x="13842" y="0"/>
                </a:lnTo>
                <a:close/>
              </a:path>
              <a:path w="108584" h="107314">
                <a:moveTo>
                  <a:pt x="57403" y="5715"/>
                </a:moveTo>
                <a:lnTo>
                  <a:pt x="28701" y="23622"/>
                </a:lnTo>
                <a:lnTo>
                  <a:pt x="54581" y="23622"/>
                </a:lnTo>
                <a:lnTo>
                  <a:pt x="64642" y="17272"/>
                </a:lnTo>
                <a:lnTo>
                  <a:pt x="57403" y="5715"/>
                </a:lnTo>
                <a:close/>
              </a:path>
            </a:pathLst>
          </a:custGeom>
          <a:solidFill>
            <a:srgbClr val="FFFFFF"/>
          </a:solidFill>
        </p:spPr>
        <p:txBody>
          <a:bodyPr wrap="square" lIns="0" tIns="0" rIns="0" bIns="0" rtlCol="0"/>
          <a:lstStyle/>
          <a:p>
            <a:endParaRPr/>
          </a:p>
        </p:txBody>
      </p:sp>
      <p:sp>
        <p:nvSpPr>
          <p:cNvPr id="51" name="object 51"/>
          <p:cNvSpPr/>
          <p:nvPr/>
        </p:nvSpPr>
        <p:spPr>
          <a:xfrm>
            <a:off x="8631935" y="4377435"/>
            <a:ext cx="88900" cy="117475"/>
          </a:xfrm>
          <a:custGeom>
            <a:avLst/>
            <a:gdLst/>
            <a:ahLst/>
            <a:cxnLst/>
            <a:rect l="l" t="t" r="r" b="b"/>
            <a:pathLst>
              <a:path w="88900" h="117475">
                <a:moveTo>
                  <a:pt x="33274" y="27939"/>
                </a:moveTo>
                <a:lnTo>
                  <a:pt x="19812" y="37211"/>
                </a:lnTo>
                <a:lnTo>
                  <a:pt x="75438" y="117093"/>
                </a:lnTo>
                <a:lnTo>
                  <a:pt x="88900" y="107695"/>
                </a:lnTo>
                <a:lnTo>
                  <a:pt x="33274" y="27939"/>
                </a:lnTo>
                <a:close/>
              </a:path>
              <a:path w="88900" h="117475">
                <a:moveTo>
                  <a:pt x="15113" y="0"/>
                </a:moveTo>
                <a:lnTo>
                  <a:pt x="0" y="10540"/>
                </a:lnTo>
                <a:lnTo>
                  <a:pt x="9652" y="24511"/>
                </a:lnTo>
                <a:lnTo>
                  <a:pt x="24765" y="13969"/>
                </a:lnTo>
                <a:lnTo>
                  <a:pt x="15113" y="0"/>
                </a:lnTo>
                <a:close/>
              </a:path>
            </a:pathLst>
          </a:custGeom>
          <a:solidFill>
            <a:srgbClr val="FFFFFF"/>
          </a:solidFill>
        </p:spPr>
        <p:txBody>
          <a:bodyPr wrap="square" lIns="0" tIns="0" rIns="0" bIns="0" rtlCol="0"/>
          <a:lstStyle/>
          <a:p>
            <a:endParaRPr/>
          </a:p>
        </p:txBody>
      </p:sp>
      <p:sp>
        <p:nvSpPr>
          <p:cNvPr id="52" name="object 52"/>
          <p:cNvSpPr/>
          <p:nvPr/>
        </p:nvSpPr>
        <p:spPr>
          <a:xfrm>
            <a:off x="8688196" y="4348426"/>
            <a:ext cx="124460" cy="116839"/>
          </a:xfrm>
          <a:custGeom>
            <a:avLst/>
            <a:gdLst/>
            <a:ahLst/>
            <a:cxnLst/>
            <a:rect l="l" t="t" r="r" b="b"/>
            <a:pathLst>
              <a:path w="124459" h="116839">
                <a:moveTo>
                  <a:pt x="12700" y="30787"/>
                </a:moveTo>
                <a:lnTo>
                  <a:pt x="0" y="41074"/>
                </a:lnTo>
                <a:lnTo>
                  <a:pt x="61341" y="116512"/>
                </a:lnTo>
                <a:lnTo>
                  <a:pt x="74041" y="106225"/>
                </a:lnTo>
                <a:lnTo>
                  <a:pt x="28194" y="49837"/>
                </a:lnTo>
                <a:lnTo>
                  <a:pt x="29463" y="44376"/>
                </a:lnTo>
                <a:lnTo>
                  <a:pt x="31369" y="39296"/>
                </a:lnTo>
                <a:lnTo>
                  <a:pt x="31432" y="39169"/>
                </a:lnTo>
                <a:lnTo>
                  <a:pt x="19430" y="39169"/>
                </a:lnTo>
                <a:lnTo>
                  <a:pt x="12700" y="30787"/>
                </a:lnTo>
                <a:close/>
              </a:path>
              <a:path w="124459" h="116839">
                <a:moveTo>
                  <a:pt x="85098" y="16944"/>
                </a:moveTo>
                <a:lnTo>
                  <a:pt x="54736" y="16944"/>
                </a:lnTo>
                <a:lnTo>
                  <a:pt x="57530" y="17071"/>
                </a:lnTo>
                <a:lnTo>
                  <a:pt x="60198" y="18087"/>
                </a:lnTo>
                <a:lnTo>
                  <a:pt x="111632" y="75618"/>
                </a:lnTo>
                <a:lnTo>
                  <a:pt x="124332" y="65204"/>
                </a:lnTo>
                <a:lnTo>
                  <a:pt x="85098" y="16944"/>
                </a:lnTo>
                <a:close/>
              </a:path>
              <a:path w="124459" h="116839">
                <a:moveTo>
                  <a:pt x="54717" y="0"/>
                </a:moveTo>
                <a:lnTo>
                  <a:pt x="25526" y="21389"/>
                </a:lnTo>
                <a:lnTo>
                  <a:pt x="22732" y="26723"/>
                </a:lnTo>
                <a:lnTo>
                  <a:pt x="20700" y="32692"/>
                </a:lnTo>
                <a:lnTo>
                  <a:pt x="19430" y="39169"/>
                </a:lnTo>
                <a:lnTo>
                  <a:pt x="31432" y="39169"/>
                </a:lnTo>
                <a:lnTo>
                  <a:pt x="33781" y="34470"/>
                </a:lnTo>
                <a:lnTo>
                  <a:pt x="36068" y="29644"/>
                </a:lnTo>
                <a:lnTo>
                  <a:pt x="39116" y="25961"/>
                </a:lnTo>
                <a:lnTo>
                  <a:pt x="54736" y="16944"/>
                </a:lnTo>
                <a:lnTo>
                  <a:pt x="85098" y="16944"/>
                </a:lnTo>
                <a:lnTo>
                  <a:pt x="84465" y="16182"/>
                </a:lnTo>
                <a:lnTo>
                  <a:pt x="78890" y="10094"/>
                </a:lnTo>
                <a:lnTo>
                  <a:pt x="73056" y="5355"/>
                </a:lnTo>
                <a:lnTo>
                  <a:pt x="67079" y="2093"/>
                </a:lnTo>
                <a:lnTo>
                  <a:pt x="60959" y="307"/>
                </a:lnTo>
                <a:lnTo>
                  <a:pt x="54717" y="0"/>
                </a:lnTo>
                <a:close/>
              </a:path>
            </a:pathLst>
          </a:custGeom>
          <a:solidFill>
            <a:srgbClr val="FFFFFF"/>
          </a:solidFill>
        </p:spPr>
        <p:txBody>
          <a:bodyPr wrap="square" lIns="0" tIns="0" rIns="0" bIns="0" rtlCol="0"/>
          <a:lstStyle/>
          <a:p>
            <a:endParaRPr/>
          </a:p>
        </p:txBody>
      </p:sp>
      <p:sp>
        <p:nvSpPr>
          <p:cNvPr id="53" name="object 53"/>
          <p:cNvSpPr/>
          <p:nvPr/>
        </p:nvSpPr>
        <p:spPr>
          <a:xfrm>
            <a:off x="8778493" y="4266184"/>
            <a:ext cx="124460" cy="144145"/>
          </a:xfrm>
          <a:custGeom>
            <a:avLst/>
            <a:gdLst/>
            <a:ahLst/>
            <a:cxnLst/>
            <a:rect l="l" t="t" r="r" b="b"/>
            <a:pathLst>
              <a:path w="124459" h="144145">
                <a:moveTo>
                  <a:pt x="114634" y="69342"/>
                </a:moveTo>
                <a:lnTo>
                  <a:pt x="92582" y="69342"/>
                </a:lnTo>
                <a:lnTo>
                  <a:pt x="99326" y="75692"/>
                </a:lnTo>
                <a:lnTo>
                  <a:pt x="101853" y="78105"/>
                </a:lnTo>
                <a:lnTo>
                  <a:pt x="104266" y="80899"/>
                </a:lnTo>
                <a:lnTo>
                  <a:pt x="105997" y="83823"/>
                </a:lnTo>
                <a:lnTo>
                  <a:pt x="107696" y="86614"/>
                </a:lnTo>
                <a:lnTo>
                  <a:pt x="108667" y="89408"/>
                </a:lnTo>
                <a:lnTo>
                  <a:pt x="108789" y="90424"/>
                </a:lnTo>
                <a:lnTo>
                  <a:pt x="108965" y="92456"/>
                </a:lnTo>
                <a:lnTo>
                  <a:pt x="109347" y="95631"/>
                </a:lnTo>
                <a:lnTo>
                  <a:pt x="108711" y="98933"/>
                </a:lnTo>
                <a:lnTo>
                  <a:pt x="107187" y="102489"/>
                </a:lnTo>
                <a:lnTo>
                  <a:pt x="105663" y="106172"/>
                </a:lnTo>
                <a:lnTo>
                  <a:pt x="74040" y="131826"/>
                </a:lnTo>
                <a:lnTo>
                  <a:pt x="73405" y="132461"/>
                </a:lnTo>
                <a:lnTo>
                  <a:pt x="85725" y="143891"/>
                </a:lnTo>
                <a:lnTo>
                  <a:pt x="89915" y="141224"/>
                </a:lnTo>
                <a:lnTo>
                  <a:pt x="93979" y="138430"/>
                </a:lnTo>
                <a:lnTo>
                  <a:pt x="97789" y="135382"/>
                </a:lnTo>
                <a:lnTo>
                  <a:pt x="101726" y="132334"/>
                </a:lnTo>
                <a:lnTo>
                  <a:pt x="123485" y="100091"/>
                </a:lnTo>
                <a:lnTo>
                  <a:pt x="123959" y="91281"/>
                </a:lnTo>
                <a:lnTo>
                  <a:pt x="122624" y="83823"/>
                </a:lnTo>
                <a:lnTo>
                  <a:pt x="119014" y="75628"/>
                </a:lnTo>
                <a:lnTo>
                  <a:pt x="114634" y="69342"/>
                </a:lnTo>
                <a:close/>
              </a:path>
              <a:path w="124459" h="144145">
                <a:moveTo>
                  <a:pt x="42417" y="0"/>
                </a:moveTo>
                <a:lnTo>
                  <a:pt x="32003" y="11176"/>
                </a:lnTo>
                <a:lnTo>
                  <a:pt x="34289" y="14732"/>
                </a:lnTo>
                <a:lnTo>
                  <a:pt x="29717" y="16256"/>
                </a:lnTo>
                <a:lnTo>
                  <a:pt x="2794" y="43307"/>
                </a:lnTo>
                <a:lnTo>
                  <a:pt x="0" y="54356"/>
                </a:lnTo>
                <a:lnTo>
                  <a:pt x="524" y="60198"/>
                </a:lnTo>
                <a:lnTo>
                  <a:pt x="888" y="65913"/>
                </a:lnTo>
                <a:lnTo>
                  <a:pt x="27005" y="102028"/>
                </a:lnTo>
                <a:lnTo>
                  <a:pt x="51561" y="111887"/>
                </a:lnTo>
                <a:lnTo>
                  <a:pt x="59394" y="111581"/>
                </a:lnTo>
                <a:lnTo>
                  <a:pt x="66690" y="109537"/>
                </a:lnTo>
                <a:lnTo>
                  <a:pt x="73439" y="105779"/>
                </a:lnTo>
                <a:lnTo>
                  <a:pt x="79628" y="100330"/>
                </a:lnTo>
                <a:lnTo>
                  <a:pt x="83369" y="96393"/>
                </a:lnTo>
                <a:lnTo>
                  <a:pt x="58800" y="96393"/>
                </a:lnTo>
                <a:lnTo>
                  <a:pt x="52070" y="95250"/>
                </a:lnTo>
                <a:lnTo>
                  <a:pt x="20240" y="70739"/>
                </a:lnTo>
                <a:lnTo>
                  <a:pt x="15239" y="50927"/>
                </a:lnTo>
                <a:lnTo>
                  <a:pt x="17906" y="43688"/>
                </a:lnTo>
                <a:lnTo>
                  <a:pt x="24002" y="37211"/>
                </a:lnTo>
                <a:lnTo>
                  <a:pt x="26542" y="34417"/>
                </a:lnTo>
                <a:lnTo>
                  <a:pt x="29463" y="32004"/>
                </a:lnTo>
                <a:lnTo>
                  <a:pt x="35813" y="27686"/>
                </a:lnTo>
                <a:lnTo>
                  <a:pt x="39624" y="25781"/>
                </a:lnTo>
                <a:lnTo>
                  <a:pt x="44069" y="23876"/>
                </a:lnTo>
                <a:lnTo>
                  <a:pt x="67889" y="23876"/>
                </a:lnTo>
                <a:lnTo>
                  <a:pt x="42417" y="0"/>
                </a:lnTo>
                <a:close/>
              </a:path>
              <a:path w="124459" h="144145">
                <a:moveTo>
                  <a:pt x="67889" y="23876"/>
                </a:moveTo>
                <a:lnTo>
                  <a:pt x="44069" y="23876"/>
                </a:lnTo>
                <a:lnTo>
                  <a:pt x="82676" y="60198"/>
                </a:lnTo>
                <a:lnTo>
                  <a:pt x="82169" y="65151"/>
                </a:lnTo>
                <a:lnTo>
                  <a:pt x="81025" y="70104"/>
                </a:lnTo>
                <a:lnTo>
                  <a:pt x="78994" y="74803"/>
                </a:lnTo>
                <a:lnTo>
                  <a:pt x="77088" y="79502"/>
                </a:lnTo>
                <a:lnTo>
                  <a:pt x="74549" y="83693"/>
                </a:lnTo>
                <a:lnTo>
                  <a:pt x="71247" y="87122"/>
                </a:lnTo>
                <a:lnTo>
                  <a:pt x="65150" y="93599"/>
                </a:lnTo>
                <a:lnTo>
                  <a:pt x="58800" y="96393"/>
                </a:lnTo>
                <a:lnTo>
                  <a:pt x="83369" y="96393"/>
                </a:lnTo>
                <a:lnTo>
                  <a:pt x="92582" y="69342"/>
                </a:lnTo>
                <a:lnTo>
                  <a:pt x="114634" y="69342"/>
                </a:lnTo>
                <a:lnTo>
                  <a:pt x="113238" y="67337"/>
                </a:lnTo>
                <a:lnTo>
                  <a:pt x="105282" y="58928"/>
                </a:lnTo>
                <a:lnTo>
                  <a:pt x="67889" y="23876"/>
                </a:lnTo>
                <a:close/>
              </a:path>
            </a:pathLst>
          </a:custGeom>
          <a:solidFill>
            <a:srgbClr val="FFFFFF"/>
          </a:solidFill>
        </p:spPr>
        <p:txBody>
          <a:bodyPr wrap="square" lIns="0" tIns="0" rIns="0" bIns="0" rtlCol="0"/>
          <a:lstStyle/>
          <a:p>
            <a:endParaRPr/>
          </a:p>
        </p:txBody>
      </p:sp>
      <p:sp>
        <p:nvSpPr>
          <p:cNvPr id="54" name="object 54"/>
          <p:cNvSpPr/>
          <p:nvPr/>
        </p:nvSpPr>
        <p:spPr>
          <a:xfrm>
            <a:off x="7182993" y="4247896"/>
            <a:ext cx="811052" cy="480060"/>
          </a:xfrm>
          <a:prstGeom prst="rect">
            <a:avLst/>
          </a:prstGeom>
          <a:blipFill>
            <a:blip r:embed="rId17" cstate="print"/>
            <a:stretch>
              <a:fillRect/>
            </a:stretch>
          </a:blipFill>
        </p:spPr>
        <p:txBody>
          <a:bodyPr wrap="square" lIns="0" tIns="0" rIns="0" bIns="0" rtlCol="0"/>
          <a:lstStyle/>
          <a:p>
            <a:endParaRPr/>
          </a:p>
        </p:txBody>
      </p:sp>
      <p:sp>
        <p:nvSpPr>
          <p:cNvPr id="55" name="object 55"/>
          <p:cNvSpPr/>
          <p:nvPr/>
        </p:nvSpPr>
        <p:spPr>
          <a:xfrm>
            <a:off x="9245854" y="2356485"/>
            <a:ext cx="261620" cy="267970"/>
          </a:xfrm>
          <a:custGeom>
            <a:avLst/>
            <a:gdLst/>
            <a:ahLst/>
            <a:cxnLst/>
            <a:rect l="l" t="t" r="r" b="b"/>
            <a:pathLst>
              <a:path w="261620" h="267969">
                <a:moveTo>
                  <a:pt x="137922" y="201422"/>
                </a:moveTo>
                <a:lnTo>
                  <a:pt x="123825" y="212851"/>
                </a:lnTo>
                <a:lnTo>
                  <a:pt x="125095" y="217677"/>
                </a:lnTo>
                <a:lnTo>
                  <a:pt x="127253" y="223265"/>
                </a:lnTo>
                <a:lnTo>
                  <a:pt x="151129" y="257682"/>
                </a:lnTo>
                <a:lnTo>
                  <a:pt x="173100" y="267080"/>
                </a:lnTo>
                <a:lnTo>
                  <a:pt x="178307" y="267842"/>
                </a:lnTo>
                <a:lnTo>
                  <a:pt x="183642" y="267462"/>
                </a:lnTo>
                <a:lnTo>
                  <a:pt x="188722" y="265938"/>
                </a:lnTo>
                <a:lnTo>
                  <a:pt x="193928" y="264540"/>
                </a:lnTo>
                <a:lnTo>
                  <a:pt x="198881" y="261874"/>
                </a:lnTo>
                <a:lnTo>
                  <a:pt x="203453" y="258190"/>
                </a:lnTo>
                <a:lnTo>
                  <a:pt x="208025" y="254380"/>
                </a:lnTo>
                <a:lnTo>
                  <a:pt x="211095" y="250698"/>
                </a:lnTo>
                <a:lnTo>
                  <a:pt x="176275" y="250698"/>
                </a:lnTo>
                <a:lnTo>
                  <a:pt x="172593" y="250189"/>
                </a:lnTo>
                <a:lnTo>
                  <a:pt x="143460" y="220852"/>
                </a:lnTo>
                <a:lnTo>
                  <a:pt x="140970" y="214502"/>
                </a:lnTo>
                <a:lnTo>
                  <a:pt x="139319" y="208279"/>
                </a:lnTo>
                <a:lnTo>
                  <a:pt x="138811" y="202437"/>
                </a:lnTo>
                <a:lnTo>
                  <a:pt x="137922" y="201422"/>
                </a:lnTo>
                <a:close/>
              </a:path>
              <a:path w="261620" h="267969">
                <a:moveTo>
                  <a:pt x="198627" y="190373"/>
                </a:moveTo>
                <a:lnTo>
                  <a:pt x="187451" y="199516"/>
                </a:lnTo>
                <a:lnTo>
                  <a:pt x="195072" y="208914"/>
                </a:lnTo>
                <a:lnTo>
                  <a:pt x="197357" y="212216"/>
                </a:lnTo>
                <a:lnTo>
                  <a:pt x="199331" y="215645"/>
                </a:lnTo>
                <a:lnTo>
                  <a:pt x="201041" y="218820"/>
                </a:lnTo>
                <a:lnTo>
                  <a:pt x="202056" y="222123"/>
                </a:lnTo>
                <a:lnTo>
                  <a:pt x="202311" y="225298"/>
                </a:lnTo>
                <a:lnTo>
                  <a:pt x="202596" y="227584"/>
                </a:lnTo>
                <a:lnTo>
                  <a:pt x="182879" y="249427"/>
                </a:lnTo>
                <a:lnTo>
                  <a:pt x="179704" y="250443"/>
                </a:lnTo>
                <a:lnTo>
                  <a:pt x="176275" y="250698"/>
                </a:lnTo>
                <a:lnTo>
                  <a:pt x="211095" y="250698"/>
                </a:lnTo>
                <a:lnTo>
                  <a:pt x="211200" y="250570"/>
                </a:lnTo>
                <a:lnTo>
                  <a:pt x="213101" y="246506"/>
                </a:lnTo>
                <a:lnTo>
                  <a:pt x="214756" y="243077"/>
                </a:lnTo>
                <a:lnTo>
                  <a:pt x="215773" y="239267"/>
                </a:lnTo>
                <a:lnTo>
                  <a:pt x="215900" y="235457"/>
                </a:lnTo>
                <a:lnTo>
                  <a:pt x="215932" y="231520"/>
                </a:lnTo>
                <a:lnTo>
                  <a:pt x="215519" y="228726"/>
                </a:lnTo>
                <a:lnTo>
                  <a:pt x="213232" y="221234"/>
                </a:lnTo>
                <a:lnTo>
                  <a:pt x="211963" y="218186"/>
                </a:lnTo>
                <a:lnTo>
                  <a:pt x="210566" y="215645"/>
                </a:lnTo>
                <a:lnTo>
                  <a:pt x="211581" y="214884"/>
                </a:lnTo>
                <a:lnTo>
                  <a:pt x="251996" y="214884"/>
                </a:lnTo>
                <a:lnTo>
                  <a:pt x="254253" y="212978"/>
                </a:lnTo>
                <a:lnTo>
                  <a:pt x="256872" y="209676"/>
                </a:lnTo>
                <a:lnTo>
                  <a:pt x="226314" y="209676"/>
                </a:lnTo>
                <a:lnTo>
                  <a:pt x="220091" y="208025"/>
                </a:lnTo>
                <a:lnTo>
                  <a:pt x="213868" y="206248"/>
                </a:lnTo>
                <a:lnTo>
                  <a:pt x="208025" y="201929"/>
                </a:lnTo>
                <a:lnTo>
                  <a:pt x="198627" y="190373"/>
                </a:lnTo>
                <a:close/>
              </a:path>
              <a:path w="261620" h="267969">
                <a:moveTo>
                  <a:pt x="251996" y="214884"/>
                </a:moveTo>
                <a:lnTo>
                  <a:pt x="211581" y="214884"/>
                </a:lnTo>
                <a:lnTo>
                  <a:pt x="217043" y="219328"/>
                </a:lnTo>
                <a:lnTo>
                  <a:pt x="223393" y="221868"/>
                </a:lnTo>
                <a:lnTo>
                  <a:pt x="238125" y="222885"/>
                </a:lnTo>
                <a:lnTo>
                  <a:pt x="244601" y="220852"/>
                </a:lnTo>
                <a:lnTo>
                  <a:pt x="250190" y="216407"/>
                </a:lnTo>
                <a:lnTo>
                  <a:pt x="251996" y="214884"/>
                </a:lnTo>
                <a:close/>
              </a:path>
              <a:path w="261620" h="267969">
                <a:moveTo>
                  <a:pt x="218059" y="140588"/>
                </a:moveTo>
                <a:lnTo>
                  <a:pt x="203962" y="152145"/>
                </a:lnTo>
                <a:lnTo>
                  <a:pt x="204470" y="152780"/>
                </a:lnTo>
                <a:lnTo>
                  <a:pt x="210820" y="154812"/>
                </a:lnTo>
                <a:lnTo>
                  <a:pt x="216662" y="157606"/>
                </a:lnTo>
                <a:lnTo>
                  <a:pt x="243204" y="186181"/>
                </a:lnTo>
                <a:lnTo>
                  <a:pt x="243967" y="191897"/>
                </a:lnTo>
                <a:lnTo>
                  <a:pt x="243713" y="194563"/>
                </a:lnTo>
                <a:lnTo>
                  <a:pt x="226314" y="209676"/>
                </a:lnTo>
                <a:lnTo>
                  <a:pt x="256872" y="209676"/>
                </a:lnTo>
                <a:lnTo>
                  <a:pt x="257175" y="209295"/>
                </a:lnTo>
                <a:lnTo>
                  <a:pt x="258825" y="205104"/>
                </a:lnTo>
                <a:lnTo>
                  <a:pt x="260603" y="200913"/>
                </a:lnTo>
                <a:lnTo>
                  <a:pt x="261112" y="196341"/>
                </a:lnTo>
                <a:lnTo>
                  <a:pt x="260730" y="191388"/>
                </a:lnTo>
                <a:lnTo>
                  <a:pt x="260223" y="186689"/>
                </a:lnTo>
                <a:lnTo>
                  <a:pt x="238505" y="154050"/>
                </a:lnTo>
                <a:lnTo>
                  <a:pt x="232791" y="149860"/>
                </a:lnTo>
                <a:lnTo>
                  <a:pt x="227202" y="145668"/>
                </a:lnTo>
                <a:lnTo>
                  <a:pt x="222250" y="142493"/>
                </a:lnTo>
                <a:lnTo>
                  <a:pt x="218059" y="140588"/>
                </a:lnTo>
                <a:close/>
              </a:path>
              <a:path w="261620" h="267969">
                <a:moveTo>
                  <a:pt x="67310" y="115697"/>
                </a:moveTo>
                <a:lnTo>
                  <a:pt x="53086" y="127380"/>
                </a:lnTo>
                <a:lnTo>
                  <a:pt x="54228" y="132206"/>
                </a:lnTo>
                <a:lnTo>
                  <a:pt x="56388" y="137667"/>
                </a:lnTo>
                <a:lnTo>
                  <a:pt x="80518" y="171195"/>
                </a:lnTo>
                <a:lnTo>
                  <a:pt x="102616" y="179959"/>
                </a:lnTo>
                <a:lnTo>
                  <a:pt x="107950" y="180593"/>
                </a:lnTo>
                <a:lnTo>
                  <a:pt x="113411" y="179959"/>
                </a:lnTo>
                <a:lnTo>
                  <a:pt x="124841" y="176402"/>
                </a:lnTo>
                <a:lnTo>
                  <a:pt x="129921" y="173609"/>
                </a:lnTo>
                <a:lnTo>
                  <a:pt x="134620" y="169672"/>
                </a:lnTo>
                <a:lnTo>
                  <a:pt x="140462" y="164973"/>
                </a:lnTo>
                <a:lnTo>
                  <a:pt x="141509" y="163702"/>
                </a:lnTo>
                <a:lnTo>
                  <a:pt x="105791" y="163702"/>
                </a:lnTo>
                <a:lnTo>
                  <a:pt x="102235" y="163322"/>
                </a:lnTo>
                <a:lnTo>
                  <a:pt x="72644" y="134492"/>
                </a:lnTo>
                <a:lnTo>
                  <a:pt x="70230" y="128269"/>
                </a:lnTo>
                <a:lnTo>
                  <a:pt x="68804" y="122681"/>
                </a:lnTo>
                <a:lnTo>
                  <a:pt x="68678" y="122047"/>
                </a:lnTo>
                <a:lnTo>
                  <a:pt x="68072" y="116712"/>
                </a:lnTo>
                <a:lnTo>
                  <a:pt x="67310" y="115697"/>
                </a:lnTo>
                <a:close/>
              </a:path>
              <a:path w="261620" h="267969">
                <a:moveTo>
                  <a:pt x="153162" y="52704"/>
                </a:moveTo>
                <a:lnTo>
                  <a:pt x="101473" y="94995"/>
                </a:lnTo>
                <a:lnTo>
                  <a:pt x="104140" y="97154"/>
                </a:lnTo>
                <a:lnTo>
                  <a:pt x="107315" y="99822"/>
                </a:lnTo>
                <a:lnTo>
                  <a:pt x="110744" y="103124"/>
                </a:lnTo>
                <a:lnTo>
                  <a:pt x="114300" y="106299"/>
                </a:lnTo>
                <a:lnTo>
                  <a:pt x="117728" y="109854"/>
                </a:lnTo>
                <a:lnTo>
                  <a:pt x="120903" y="113918"/>
                </a:lnTo>
                <a:lnTo>
                  <a:pt x="124332" y="117982"/>
                </a:lnTo>
                <a:lnTo>
                  <a:pt x="127000" y="122047"/>
                </a:lnTo>
                <a:lnTo>
                  <a:pt x="129031" y="125984"/>
                </a:lnTo>
                <a:lnTo>
                  <a:pt x="131191" y="129793"/>
                </a:lnTo>
                <a:lnTo>
                  <a:pt x="132206" y="133730"/>
                </a:lnTo>
                <a:lnTo>
                  <a:pt x="132705" y="140588"/>
                </a:lnTo>
                <a:lnTo>
                  <a:pt x="132694" y="140842"/>
                </a:lnTo>
                <a:lnTo>
                  <a:pt x="132206" y="143890"/>
                </a:lnTo>
                <a:lnTo>
                  <a:pt x="129413" y="150240"/>
                </a:lnTo>
                <a:lnTo>
                  <a:pt x="127000" y="153162"/>
                </a:lnTo>
                <a:lnTo>
                  <a:pt x="123444" y="155955"/>
                </a:lnTo>
                <a:lnTo>
                  <a:pt x="119888" y="158876"/>
                </a:lnTo>
                <a:lnTo>
                  <a:pt x="116459" y="160909"/>
                </a:lnTo>
                <a:lnTo>
                  <a:pt x="112902" y="162178"/>
                </a:lnTo>
                <a:lnTo>
                  <a:pt x="109347" y="163322"/>
                </a:lnTo>
                <a:lnTo>
                  <a:pt x="105791" y="163702"/>
                </a:lnTo>
                <a:lnTo>
                  <a:pt x="141509" y="163702"/>
                </a:lnTo>
                <a:lnTo>
                  <a:pt x="144652" y="159892"/>
                </a:lnTo>
                <a:lnTo>
                  <a:pt x="147224" y="154050"/>
                </a:lnTo>
                <a:lnTo>
                  <a:pt x="149225" y="149605"/>
                </a:lnTo>
                <a:lnTo>
                  <a:pt x="133631" y="106299"/>
                </a:lnTo>
                <a:lnTo>
                  <a:pt x="132334" y="104648"/>
                </a:lnTo>
                <a:lnTo>
                  <a:pt x="127000" y="98932"/>
                </a:lnTo>
                <a:lnTo>
                  <a:pt x="125222" y="97154"/>
                </a:lnTo>
                <a:lnTo>
                  <a:pt x="152019" y="75311"/>
                </a:lnTo>
                <a:lnTo>
                  <a:pt x="171675" y="75311"/>
                </a:lnTo>
                <a:lnTo>
                  <a:pt x="153162" y="52704"/>
                </a:lnTo>
                <a:close/>
              </a:path>
              <a:path w="261620" h="267969">
                <a:moveTo>
                  <a:pt x="171675" y="75311"/>
                </a:moveTo>
                <a:lnTo>
                  <a:pt x="152019" y="75311"/>
                </a:lnTo>
                <a:lnTo>
                  <a:pt x="190753" y="122681"/>
                </a:lnTo>
                <a:lnTo>
                  <a:pt x="202565" y="113029"/>
                </a:lnTo>
                <a:lnTo>
                  <a:pt x="171675" y="75311"/>
                </a:lnTo>
                <a:close/>
              </a:path>
              <a:path w="261620" h="267969">
                <a:moveTo>
                  <a:pt x="15494" y="0"/>
                </a:moveTo>
                <a:lnTo>
                  <a:pt x="0" y="12700"/>
                </a:lnTo>
                <a:lnTo>
                  <a:pt x="39370" y="60705"/>
                </a:lnTo>
                <a:lnTo>
                  <a:pt x="11049" y="83819"/>
                </a:lnTo>
                <a:lnTo>
                  <a:pt x="21717" y="96774"/>
                </a:lnTo>
                <a:lnTo>
                  <a:pt x="49911" y="73660"/>
                </a:lnTo>
                <a:lnTo>
                  <a:pt x="67938" y="73660"/>
                </a:lnTo>
                <a:lnTo>
                  <a:pt x="60705" y="64769"/>
                </a:lnTo>
                <a:lnTo>
                  <a:pt x="76358" y="51942"/>
                </a:lnTo>
                <a:lnTo>
                  <a:pt x="50038" y="51942"/>
                </a:lnTo>
                <a:lnTo>
                  <a:pt x="18288" y="13080"/>
                </a:lnTo>
                <a:lnTo>
                  <a:pt x="120678" y="13080"/>
                </a:lnTo>
                <a:lnTo>
                  <a:pt x="111887" y="2286"/>
                </a:lnTo>
                <a:lnTo>
                  <a:pt x="15494" y="0"/>
                </a:lnTo>
                <a:close/>
              </a:path>
              <a:path w="261620" h="267969">
                <a:moveTo>
                  <a:pt x="67938" y="73660"/>
                </a:moveTo>
                <a:lnTo>
                  <a:pt x="49911" y="73660"/>
                </a:lnTo>
                <a:lnTo>
                  <a:pt x="62102" y="88518"/>
                </a:lnTo>
                <a:lnTo>
                  <a:pt x="72898" y="79755"/>
                </a:lnTo>
                <a:lnTo>
                  <a:pt x="67938" y="73660"/>
                </a:lnTo>
                <a:close/>
              </a:path>
              <a:path w="261620" h="267969">
                <a:moveTo>
                  <a:pt x="120678" y="13080"/>
                </a:moveTo>
                <a:lnTo>
                  <a:pt x="18288" y="13080"/>
                </a:lnTo>
                <a:lnTo>
                  <a:pt x="95376" y="14859"/>
                </a:lnTo>
                <a:lnTo>
                  <a:pt x="50038" y="51942"/>
                </a:lnTo>
                <a:lnTo>
                  <a:pt x="76358" y="51942"/>
                </a:lnTo>
                <a:lnTo>
                  <a:pt x="121920" y="14604"/>
                </a:lnTo>
                <a:lnTo>
                  <a:pt x="120678" y="13080"/>
                </a:lnTo>
                <a:close/>
              </a:path>
            </a:pathLst>
          </a:custGeom>
          <a:solidFill>
            <a:srgbClr val="FFFFFF"/>
          </a:solidFill>
        </p:spPr>
        <p:txBody>
          <a:bodyPr wrap="square" lIns="0" tIns="0" rIns="0" bIns="0" rtlCol="0"/>
          <a:lstStyle/>
          <a:p>
            <a:endParaRPr/>
          </a:p>
        </p:txBody>
      </p:sp>
      <p:sp>
        <p:nvSpPr>
          <p:cNvPr id="56" name="object 56"/>
          <p:cNvSpPr/>
          <p:nvPr/>
        </p:nvSpPr>
        <p:spPr>
          <a:xfrm>
            <a:off x="9540367" y="3731660"/>
            <a:ext cx="202565" cy="321310"/>
          </a:xfrm>
          <a:custGeom>
            <a:avLst/>
            <a:gdLst/>
            <a:ahLst/>
            <a:cxnLst/>
            <a:rect l="l" t="t" r="r" b="b"/>
            <a:pathLst>
              <a:path w="202565" h="321310">
                <a:moveTo>
                  <a:pt x="130632" y="245090"/>
                </a:moveTo>
                <a:lnTo>
                  <a:pt x="93979" y="245090"/>
                </a:lnTo>
                <a:lnTo>
                  <a:pt x="97789" y="245344"/>
                </a:lnTo>
                <a:lnTo>
                  <a:pt x="106425" y="247884"/>
                </a:lnTo>
                <a:lnTo>
                  <a:pt x="110108" y="249662"/>
                </a:lnTo>
                <a:lnTo>
                  <a:pt x="113156" y="251948"/>
                </a:lnTo>
                <a:lnTo>
                  <a:pt x="116077" y="254107"/>
                </a:lnTo>
                <a:lnTo>
                  <a:pt x="123030" y="275951"/>
                </a:lnTo>
                <a:lnTo>
                  <a:pt x="122554" y="279634"/>
                </a:lnTo>
                <a:lnTo>
                  <a:pt x="121284" y="283571"/>
                </a:lnTo>
                <a:lnTo>
                  <a:pt x="119633" y="289540"/>
                </a:lnTo>
                <a:lnTo>
                  <a:pt x="116839" y="295255"/>
                </a:lnTo>
                <a:lnTo>
                  <a:pt x="113029" y="300716"/>
                </a:lnTo>
                <a:lnTo>
                  <a:pt x="109219" y="306304"/>
                </a:lnTo>
                <a:lnTo>
                  <a:pt x="105155" y="310876"/>
                </a:lnTo>
                <a:lnTo>
                  <a:pt x="100964" y="314686"/>
                </a:lnTo>
                <a:lnTo>
                  <a:pt x="100583" y="315829"/>
                </a:lnTo>
                <a:lnTo>
                  <a:pt x="118236" y="320909"/>
                </a:lnTo>
                <a:lnTo>
                  <a:pt x="121538" y="317226"/>
                </a:lnTo>
                <a:lnTo>
                  <a:pt x="124713" y="312400"/>
                </a:lnTo>
                <a:lnTo>
                  <a:pt x="138810" y="273538"/>
                </a:lnTo>
                <a:lnTo>
                  <a:pt x="138429" y="267315"/>
                </a:lnTo>
                <a:lnTo>
                  <a:pt x="137922" y="261219"/>
                </a:lnTo>
                <a:lnTo>
                  <a:pt x="136398" y="255504"/>
                </a:lnTo>
                <a:lnTo>
                  <a:pt x="133202" y="249662"/>
                </a:lnTo>
                <a:lnTo>
                  <a:pt x="131063" y="245598"/>
                </a:lnTo>
                <a:lnTo>
                  <a:pt x="130632" y="245090"/>
                </a:lnTo>
                <a:close/>
              </a:path>
              <a:path w="202565" h="321310">
                <a:moveTo>
                  <a:pt x="21971" y="205720"/>
                </a:moveTo>
                <a:lnTo>
                  <a:pt x="0" y="280523"/>
                </a:lnTo>
                <a:lnTo>
                  <a:pt x="64134" y="299319"/>
                </a:lnTo>
                <a:lnTo>
                  <a:pt x="64388" y="295890"/>
                </a:lnTo>
                <a:lnTo>
                  <a:pt x="64897" y="291699"/>
                </a:lnTo>
                <a:lnTo>
                  <a:pt x="66166" y="282301"/>
                </a:lnTo>
                <a:lnTo>
                  <a:pt x="67099" y="278364"/>
                </a:lnTo>
                <a:lnTo>
                  <a:pt x="52450" y="278364"/>
                </a:lnTo>
                <a:lnTo>
                  <a:pt x="19430" y="268712"/>
                </a:lnTo>
                <a:lnTo>
                  <a:pt x="36575" y="209911"/>
                </a:lnTo>
                <a:lnTo>
                  <a:pt x="21971" y="205720"/>
                </a:lnTo>
                <a:close/>
              </a:path>
              <a:path w="202565" h="321310">
                <a:moveTo>
                  <a:pt x="93344" y="227056"/>
                </a:moveTo>
                <a:lnTo>
                  <a:pt x="60198" y="251821"/>
                </a:lnTo>
                <a:lnTo>
                  <a:pt x="55879" y="264394"/>
                </a:lnTo>
                <a:lnTo>
                  <a:pt x="54736" y="268331"/>
                </a:lnTo>
                <a:lnTo>
                  <a:pt x="53441" y="273538"/>
                </a:lnTo>
                <a:lnTo>
                  <a:pt x="52450" y="278364"/>
                </a:lnTo>
                <a:lnTo>
                  <a:pt x="67099" y="278364"/>
                </a:lnTo>
                <a:lnTo>
                  <a:pt x="67309" y="277475"/>
                </a:lnTo>
                <a:lnTo>
                  <a:pt x="68706" y="272522"/>
                </a:lnTo>
                <a:lnTo>
                  <a:pt x="81660" y="249789"/>
                </a:lnTo>
                <a:lnTo>
                  <a:pt x="84200" y="247630"/>
                </a:lnTo>
                <a:lnTo>
                  <a:pt x="87122" y="246233"/>
                </a:lnTo>
                <a:lnTo>
                  <a:pt x="90550" y="245725"/>
                </a:lnTo>
                <a:lnTo>
                  <a:pt x="93979" y="245090"/>
                </a:lnTo>
                <a:lnTo>
                  <a:pt x="130632" y="245090"/>
                </a:lnTo>
                <a:lnTo>
                  <a:pt x="127507" y="241407"/>
                </a:lnTo>
                <a:lnTo>
                  <a:pt x="118109" y="234041"/>
                </a:lnTo>
                <a:lnTo>
                  <a:pt x="112902" y="231374"/>
                </a:lnTo>
                <a:lnTo>
                  <a:pt x="107060" y="229723"/>
                </a:lnTo>
                <a:lnTo>
                  <a:pt x="99822" y="227564"/>
                </a:lnTo>
                <a:lnTo>
                  <a:pt x="93344" y="227056"/>
                </a:lnTo>
                <a:close/>
              </a:path>
              <a:path w="202565" h="321310">
                <a:moveTo>
                  <a:pt x="149628" y="133838"/>
                </a:moveTo>
                <a:lnTo>
                  <a:pt x="119887" y="133838"/>
                </a:lnTo>
                <a:lnTo>
                  <a:pt x="128722" y="137935"/>
                </a:lnTo>
                <a:lnTo>
                  <a:pt x="136175" y="142807"/>
                </a:lnTo>
                <a:lnTo>
                  <a:pt x="142247" y="148464"/>
                </a:lnTo>
                <a:lnTo>
                  <a:pt x="146938" y="154920"/>
                </a:lnTo>
                <a:lnTo>
                  <a:pt x="150104" y="162085"/>
                </a:lnTo>
                <a:lnTo>
                  <a:pt x="151590" y="169858"/>
                </a:lnTo>
                <a:lnTo>
                  <a:pt x="151385" y="178226"/>
                </a:lnTo>
                <a:lnTo>
                  <a:pt x="141097" y="202799"/>
                </a:lnTo>
                <a:lnTo>
                  <a:pt x="140842" y="203688"/>
                </a:lnTo>
                <a:lnTo>
                  <a:pt x="156844" y="208260"/>
                </a:lnTo>
                <a:lnTo>
                  <a:pt x="158114" y="206482"/>
                </a:lnTo>
                <a:lnTo>
                  <a:pt x="159257" y="204323"/>
                </a:lnTo>
                <a:lnTo>
                  <a:pt x="166218" y="174986"/>
                </a:lnTo>
                <a:lnTo>
                  <a:pt x="166178" y="169858"/>
                </a:lnTo>
                <a:lnTo>
                  <a:pt x="152808" y="137116"/>
                </a:lnTo>
                <a:lnTo>
                  <a:pt x="149628" y="133838"/>
                </a:lnTo>
                <a:close/>
              </a:path>
              <a:path w="202565" h="321310">
                <a:moveTo>
                  <a:pt x="85836" y="107420"/>
                </a:moveTo>
                <a:lnTo>
                  <a:pt x="79501" y="107422"/>
                </a:lnTo>
                <a:lnTo>
                  <a:pt x="71500" y="107803"/>
                </a:lnTo>
                <a:lnTo>
                  <a:pt x="64515" y="109708"/>
                </a:lnTo>
                <a:lnTo>
                  <a:pt x="58547" y="113137"/>
                </a:lnTo>
                <a:lnTo>
                  <a:pt x="53593" y="115931"/>
                </a:lnTo>
                <a:lnTo>
                  <a:pt x="36637" y="157968"/>
                </a:lnTo>
                <a:lnTo>
                  <a:pt x="38146" y="165969"/>
                </a:lnTo>
                <a:lnTo>
                  <a:pt x="68833" y="195687"/>
                </a:lnTo>
                <a:lnTo>
                  <a:pt x="82676" y="198481"/>
                </a:lnTo>
                <a:lnTo>
                  <a:pt x="88646" y="197465"/>
                </a:lnTo>
                <a:lnTo>
                  <a:pt x="94614" y="196576"/>
                </a:lnTo>
                <a:lnTo>
                  <a:pt x="100075" y="194163"/>
                </a:lnTo>
                <a:lnTo>
                  <a:pt x="108965" y="186924"/>
                </a:lnTo>
                <a:lnTo>
                  <a:pt x="112140" y="183241"/>
                </a:lnTo>
                <a:lnTo>
                  <a:pt x="113741" y="180574"/>
                </a:lnTo>
                <a:lnTo>
                  <a:pt x="82930" y="180574"/>
                </a:lnTo>
                <a:lnTo>
                  <a:pt x="78358" y="180066"/>
                </a:lnTo>
                <a:lnTo>
                  <a:pt x="64007" y="175875"/>
                </a:lnTo>
                <a:lnTo>
                  <a:pt x="57657" y="171430"/>
                </a:lnTo>
                <a:lnTo>
                  <a:pt x="50291" y="159238"/>
                </a:lnTo>
                <a:lnTo>
                  <a:pt x="49656" y="152126"/>
                </a:lnTo>
                <a:lnTo>
                  <a:pt x="53085" y="140696"/>
                </a:lnTo>
                <a:lnTo>
                  <a:pt x="64388" y="127996"/>
                </a:lnTo>
                <a:lnTo>
                  <a:pt x="68199" y="125710"/>
                </a:lnTo>
                <a:lnTo>
                  <a:pt x="73025" y="124440"/>
                </a:lnTo>
                <a:lnTo>
                  <a:pt x="84454" y="123932"/>
                </a:lnTo>
                <a:lnTo>
                  <a:pt x="136968" y="123932"/>
                </a:lnTo>
                <a:lnTo>
                  <a:pt x="131056" y="120564"/>
                </a:lnTo>
                <a:lnTo>
                  <a:pt x="92836" y="108168"/>
                </a:lnTo>
                <a:lnTo>
                  <a:pt x="85836" y="107420"/>
                </a:lnTo>
                <a:close/>
              </a:path>
              <a:path w="202565" h="321310">
                <a:moveTo>
                  <a:pt x="136968" y="123932"/>
                </a:moveTo>
                <a:lnTo>
                  <a:pt x="84454" y="123932"/>
                </a:lnTo>
                <a:lnTo>
                  <a:pt x="91693" y="125075"/>
                </a:lnTo>
                <a:lnTo>
                  <a:pt x="102217" y="128162"/>
                </a:lnTo>
                <a:lnTo>
                  <a:pt x="103504" y="128631"/>
                </a:lnTo>
                <a:lnTo>
                  <a:pt x="104648" y="129012"/>
                </a:lnTo>
                <a:lnTo>
                  <a:pt x="105790" y="129520"/>
                </a:lnTo>
                <a:lnTo>
                  <a:pt x="108076" y="130282"/>
                </a:lnTo>
                <a:lnTo>
                  <a:pt x="109219" y="134854"/>
                </a:lnTo>
                <a:lnTo>
                  <a:pt x="109469" y="137935"/>
                </a:lnTo>
                <a:lnTo>
                  <a:pt x="109570" y="140696"/>
                </a:lnTo>
                <a:lnTo>
                  <a:pt x="109347" y="149078"/>
                </a:lnTo>
                <a:lnTo>
                  <a:pt x="97662" y="174986"/>
                </a:lnTo>
                <a:lnTo>
                  <a:pt x="94106" y="177907"/>
                </a:lnTo>
                <a:lnTo>
                  <a:pt x="90424" y="179558"/>
                </a:lnTo>
                <a:lnTo>
                  <a:pt x="82930" y="180574"/>
                </a:lnTo>
                <a:lnTo>
                  <a:pt x="113741" y="180574"/>
                </a:lnTo>
                <a:lnTo>
                  <a:pt x="122300" y="155428"/>
                </a:lnTo>
                <a:lnTo>
                  <a:pt x="122300" y="145395"/>
                </a:lnTo>
                <a:lnTo>
                  <a:pt x="121538" y="139934"/>
                </a:lnTo>
                <a:lnTo>
                  <a:pt x="119887" y="133838"/>
                </a:lnTo>
                <a:lnTo>
                  <a:pt x="149628" y="133838"/>
                </a:lnTo>
                <a:lnTo>
                  <a:pt x="148304" y="132472"/>
                </a:lnTo>
                <a:lnTo>
                  <a:pt x="143123" y="128123"/>
                </a:lnTo>
                <a:lnTo>
                  <a:pt x="137413" y="124186"/>
                </a:lnTo>
                <a:lnTo>
                  <a:pt x="136968" y="123932"/>
                </a:lnTo>
                <a:close/>
              </a:path>
              <a:path w="202565" h="321310">
                <a:moveTo>
                  <a:pt x="106771" y="0"/>
                </a:moveTo>
                <a:lnTo>
                  <a:pt x="70738" y="29825"/>
                </a:lnTo>
                <a:lnTo>
                  <a:pt x="68693" y="40443"/>
                </a:lnTo>
                <a:lnTo>
                  <a:pt x="69040" y="50192"/>
                </a:lnTo>
                <a:lnTo>
                  <a:pt x="94900" y="80815"/>
                </a:lnTo>
                <a:lnTo>
                  <a:pt x="138533" y="95757"/>
                </a:lnTo>
                <a:lnTo>
                  <a:pt x="164441" y="97750"/>
                </a:lnTo>
                <a:lnTo>
                  <a:pt x="174751" y="95865"/>
                </a:lnTo>
                <a:lnTo>
                  <a:pt x="183419" y="91961"/>
                </a:lnTo>
                <a:lnTo>
                  <a:pt x="190563" y="85975"/>
                </a:lnTo>
                <a:lnTo>
                  <a:pt x="193585" y="81641"/>
                </a:lnTo>
                <a:lnTo>
                  <a:pt x="161671" y="81641"/>
                </a:lnTo>
                <a:lnTo>
                  <a:pt x="156082" y="81514"/>
                </a:lnTo>
                <a:lnTo>
                  <a:pt x="112902" y="70084"/>
                </a:lnTo>
                <a:lnTo>
                  <a:pt x="106425" y="67417"/>
                </a:lnTo>
                <a:lnTo>
                  <a:pt x="99949" y="64877"/>
                </a:lnTo>
                <a:lnTo>
                  <a:pt x="94996" y="61956"/>
                </a:lnTo>
                <a:lnTo>
                  <a:pt x="87629" y="55606"/>
                </a:lnTo>
                <a:lnTo>
                  <a:pt x="85089" y="51923"/>
                </a:lnTo>
                <a:lnTo>
                  <a:pt x="82803" y="43795"/>
                </a:lnTo>
                <a:lnTo>
                  <a:pt x="82930" y="39096"/>
                </a:lnTo>
                <a:lnTo>
                  <a:pt x="103631" y="16744"/>
                </a:lnTo>
                <a:lnTo>
                  <a:pt x="108584" y="15982"/>
                </a:lnTo>
                <a:lnTo>
                  <a:pt x="174296" y="15982"/>
                </a:lnTo>
                <a:lnTo>
                  <a:pt x="163409" y="11013"/>
                </a:lnTo>
                <a:lnTo>
                  <a:pt x="147954" y="5822"/>
                </a:lnTo>
                <a:lnTo>
                  <a:pt x="132576" y="1992"/>
                </a:lnTo>
                <a:lnTo>
                  <a:pt x="118840" y="43"/>
                </a:lnTo>
                <a:lnTo>
                  <a:pt x="106771" y="0"/>
                </a:lnTo>
                <a:close/>
              </a:path>
              <a:path w="202565" h="321310">
                <a:moveTo>
                  <a:pt x="174296" y="15982"/>
                </a:moveTo>
                <a:lnTo>
                  <a:pt x="108584" y="15982"/>
                </a:lnTo>
                <a:lnTo>
                  <a:pt x="114173" y="16236"/>
                </a:lnTo>
                <a:lnTo>
                  <a:pt x="120650" y="17252"/>
                </a:lnTo>
                <a:lnTo>
                  <a:pt x="158876" y="27793"/>
                </a:lnTo>
                <a:lnTo>
                  <a:pt x="179450" y="38842"/>
                </a:lnTo>
                <a:lnTo>
                  <a:pt x="183387" y="42017"/>
                </a:lnTo>
                <a:lnTo>
                  <a:pt x="185800" y="45700"/>
                </a:lnTo>
                <a:lnTo>
                  <a:pt x="187191" y="50192"/>
                </a:lnTo>
                <a:lnTo>
                  <a:pt x="188213" y="53828"/>
                </a:lnTo>
                <a:lnTo>
                  <a:pt x="187959" y="58527"/>
                </a:lnTo>
                <a:lnTo>
                  <a:pt x="166877" y="81006"/>
                </a:lnTo>
                <a:lnTo>
                  <a:pt x="161671" y="81641"/>
                </a:lnTo>
                <a:lnTo>
                  <a:pt x="193585" y="81641"/>
                </a:lnTo>
                <a:lnTo>
                  <a:pt x="196183" y="77916"/>
                </a:lnTo>
                <a:lnTo>
                  <a:pt x="200278" y="67798"/>
                </a:lnTo>
                <a:lnTo>
                  <a:pt x="202307" y="57197"/>
                </a:lnTo>
                <a:lnTo>
                  <a:pt x="201929" y="47478"/>
                </a:lnTo>
                <a:lnTo>
                  <a:pt x="199171" y="38615"/>
                </a:lnTo>
                <a:lnTo>
                  <a:pt x="194055" y="30587"/>
                </a:lnTo>
                <a:lnTo>
                  <a:pt x="186459" y="23395"/>
                </a:lnTo>
                <a:lnTo>
                  <a:pt x="176244" y="16871"/>
                </a:lnTo>
                <a:lnTo>
                  <a:pt x="174296" y="15982"/>
                </a:lnTo>
                <a:close/>
              </a:path>
            </a:pathLst>
          </a:custGeom>
          <a:solidFill>
            <a:srgbClr val="FFFFFF"/>
          </a:solidFill>
        </p:spPr>
        <p:txBody>
          <a:bodyPr wrap="square" lIns="0" tIns="0" rIns="0" bIns="0" rtlCol="0"/>
          <a:lstStyle/>
          <a:p>
            <a:endParaRPr/>
          </a:p>
        </p:txBody>
      </p:sp>
      <p:sp>
        <p:nvSpPr>
          <p:cNvPr id="57" name="object 57"/>
          <p:cNvSpPr/>
          <p:nvPr/>
        </p:nvSpPr>
        <p:spPr>
          <a:xfrm>
            <a:off x="8547861" y="4935601"/>
            <a:ext cx="325755" cy="233045"/>
          </a:xfrm>
          <a:custGeom>
            <a:avLst/>
            <a:gdLst/>
            <a:ahLst/>
            <a:cxnLst/>
            <a:rect l="l" t="t" r="r" b="b"/>
            <a:pathLst>
              <a:path w="325754" h="233045">
                <a:moveTo>
                  <a:pt x="41275" y="216026"/>
                </a:moveTo>
                <a:lnTo>
                  <a:pt x="40132" y="216662"/>
                </a:lnTo>
                <a:lnTo>
                  <a:pt x="48006" y="233044"/>
                </a:lnTo>
                <a:lnTo>
                  <a:pt x="52959" y="232918"/>
                </a:lnTo>
                <a:lnTo>
                  <a:pt x="58928" y="232156"/>
                </a:lnTo>
                <a:lnTo>
                  <a:pt x="65913" y="230631"/>
                </a:lnTo>
                <a:lnTo>
                  <a:pt x="72898" y="229235"/>
                </a:lnTo>
                <a:lnTo>
                  <a:pt x="79629" y="226949"/>
                </a:lnTo>
                <a:lnTo>
                  <a:pt x="86106" y="223774"/>
                </a:lnTo>
                <a:lnTo>
                  <a:pt x="92456" y="220725"/>
                </a:lnTo>
                <a:lnTo>
                  <a:pt x="97917" y="217043"/>
                </a:lnTo>
                <a:lnTo>
                  <a:pt x="98051" y="216916"/>
                </a:lnTo>
                <a:lnTo>
                  <a:pt x="47117" y="216916"/>
                </a:lnTo>
                <a:lnTo>
                  <a:pt x="41275" y="216026"/>
                </a:lnTo>
                <a:close/>
              </a:path>
              <a:path w="325754" h="233045">
                <a:moveTo>
                  <a:pt x="106834" y="159131"/>
                </a:moveTo>
                <a:lnTo>
                  <a:pt x="75438" y="159131"/>
                </a:lnTo>
                <a:lnTo>
                  <a:pt x="81661" y="160147"/>
                </a:lnTo>
                <a:lnTo>
                  <a:pt x="84582" y="161417"/>
                </a:lnTo>
                <a:lnTo>
                  <a:pt x="97615" y="187832"/>
                </a:lnTo>
                <a:lnTo>
                  <a:pt x="97028" y="191007"/>
                </a:lnTo>
                <a:lnTo>
                  <a:pt x="60579" y="215773"/>
                </a:lnTo>
                <a:lnTo>
                  <a:pt x="53594" y="216788"/>
                </a:lnTo>
                <a:lnTo>
                  <a:pt x="47117" y="216916"/>
                </a:lnTo>
                <a:lnTo>
                  <a:pt x="98051" y="216916"/>
                </a:lnTo>
                <a:lnTo>
                  <a:pt x="102362" y="212851"/>
                </a:lnTo>
                <a:lnTo>
                  <a:pt x="106807" y="208534"/>
                </a:lnTo>
                <a:lnTo>
                  <a:pt x="110109" y="203581"/>
                </a:lnTo>
                <a:lnTo>
                  <a:pt x="112372" y="197738"/>
                </a:lnTo>
                <a:lnTo>
                  <a:pt x="114300" y="193040"/>
                </a:lnTo>
                <a:lnTo>
                  <a:pt x="115062" y="187832"/>
                </a:lnTo>
                <a:lnTo>
                  <a:pt x="114935" y="182499"/>
                </a:lnTo>
                <a:lnTo>
                  <a:pt x="114681" y="177165"/>
                </a:lnTo>
                <a:lnTo>
                  <a:pt x="113284" y="171704"/>
                </a:lnTo>
                <a:lnTo>
                  <a:pt x="108204" y="161036"/>
                </a:lnTo>
                <a:lnTo>
                  <a:pt x="106834" y="159131"/>
                </a:lnTo>
                <a:close/>
              </a:path>
              <a:path w="325754" h="233045">
                <a:moveTo>
                  <a:pt x="81091" y="110743"/>
                </a:moveTo>
                <a:lnTo>
                  <a:pt x="50292" y="110743"/>
                </a:lnTo>
                <a:lnTo>
                  <a:pt x="53213" y="110998"/>
                </a:lnTo>
                <a:lnTo>
                  <a:pt x="56007" y="111379"/>
                </a:lnTo>
                <a:lnTo>
                  <a:pt x="58547" y="112268"/>
                </a:lnTo>
                <a:lnTo>
                  <a:pt x="60706" y="113792"/>
                </a:lnTo>
                <a:lnTo>
                  <a:pt x="62992" y="115316"/>
                </a:lnTo>
                <a:lnTo>
                  <a:pt x="64770" y="117475"/>
                </a:lnTo>
                <a:lnTo>
                  <a:pt x="66040" y="120396"/>
                </a:lnTo>
                <a:lnTo>
                  <a:pt x="69088" y="126746"/>
                </a:lnTo>
                <a:lnTo>
                  <a:pt x="69088" y="132715"/>
                </a:lnTo>
                <a:lnTo>
                  <a:pt x="65843" y="138430"/>
                </a:lnTo>
                <a:lnTo>
                  <a:pt x="62865" y="143891"/>
                </a:lnTo>
                <a:lnTo>
                  <a:pt x="57277" y="148590"/>
                </a:lnTo>
                <a:lnTo>
                  <a:pt x="49276" y="152400"/>
                </a:lnTo>
                <a:lnTo>
                  <a:pt x="43815" y="155067"/>
                </a:lnTo>
                <a:lnTo>
                  <a:pt x="50038" y="168148"/>
                </a:lnTo>
                <a:lnTo>
                  <a:pt x="57150" y="164719"/>
                </a:lnTo>
                <a:lnTo>
                  <a:pt x="60960" y="162813"/>
                </a:lnTo>
                <a:lnTo>
                  <a:pt x="64770" y="161417"/>
                </a:lnTo>
                <a:lnTo>
                  <a:pt x="72009" y="159385"/>
                </a:lnTo>
                <a:lnTo>
                  <a:pt x="75438" y="159131"/>
                </a:lnTo>
                <a:lnTo>
                  <a:pt x="106834" y="159131"/>
                </a:lnTo>
                <a:lnTo>
                  <a:pt x="105283" y="156972"/>
                </a:lnTo>
                <a:lnTo>
                  <a:pt x="101981" y="154431"/>
                </a:lnTo>
                <a:lnTo>
                  <a:pt x="98806" y="151765"/>
                </a:lnTo>
                <a:lnTo>
                  <a:pt x="95377" y="149987"/>
                </a:lnTo>
                <a:lnTo>
                  <a:pt x="93330" y="149351"/>
                </a:lnTo>
                <a:lnTo>
                  <a:pt x="71247" y="149351"/>
                </a:lnTo>
                <a:lnTo>
                  <a:pt x="70739" y="148336"/>
                </a:lnTo>
                <a:lnTo>
                  <a:pt x="76327" y="144018"/>
                </a:lnTo>
                <a:lnTo>
                  <a:pt x="80264" y="138430"/>
                </a:lnTo>
                <a:lnTo>
                  <a:pt x="82550" y="131318"/>
                </a:lnTo>
                <a:lnTo>
                  <a:pt x="84709" y="124332"/>
                </a:lnTo>
                <a:lnTo>
                  <a:pt x="84328" y="117601"/>
                </a:lnTo>
                <a:lnTo>
                  <a:pt x="81091" y="110743"/>
                </a:lnTo>
                <a:close/>
              </a:path>
              <a:path w="325754" h="233045">
                <a:moveTo>
                  <a:pt x="84963" y="147700"/>
                </a:moveTo>
                <a:lnTo>
                  <a:pt x="81153" y="147828"/>
                </a:lnTo>
                <a:lnTo>
                  <a:pt x="77216" y="148081"/>
                </a:lnTo>
                <a:lnTo>
                  <a:pt x="73914" y="148590"/>
                </a:lnTo>
                <a:lnTo>
                  <a:pt x="71247" y="149351"/>
                </a:lnTo>
                <a:lnTo>
                  <a:pt x="93330" y="149351"/>
                </a:lnTo>
                <a:lnTo>
                  <a:pt x="91694" y="148844"/>
                </a:lnTo>
                <a:lnTo>
                  <a:pt x="88519" y="147955"/>
                </a:lnTo>
                <a:lnTo>
                  <a:pt x="84963" y="147700"/>
                </a:lnTo>
                <a:close/>
              </a:path>
              <a:path w="325754" h="233045">
                <a:moveTo>
                  <a:pt x="54737" y="94361"/>
                </a:moveTo>
                <a:lnTo>
                  <a:pt x="17907" y="107696"/>
                </a:lnTo>
                <a:lnTo>
                  <a:pt x="12446" y="112268"/>
                </a:lnTo>
                <a:lnTo>
                  <a:pt x="6985" y="116712"/>
                </a:lnTo>
                <a:lnTo>
                  <a:pt x="2921" y="120776"/>
                </a:lnTo>
                <a:lnTo>
                  <a:pt x="0" y="124460"/>
                </a:lnTo>
                <a:lnTo>
                  <a:pt x="7874" y="140843"/>
                </a:lnTo>
                <a:lnTo>
                  <a:pt x="8763" y="140462"/>
                </a:lnTo>
                <a:lnTo>
                  <a:pt x="12065" y="134874"/>
                </a:lnTo>
                <a:lnTo>
                  <a:pt x="16256" y="129793"/>
                </a:lnTo>
                <a:lnTo>
                  <a:pt x="50292" y="110743"/>
                </a:lnTo>
                <a:lnTo>
                  <a:pt x="81091" y="110743"/>
                </a:lnTo>
                <a:lnTo>
                  <a:pt x="78994" y="106299"/>
                </a:lnTo>
                <a:lnTo>
                  <a:pt x="75946" y="102616"/>
                </a:lnTo>
                <a:lnTo>
                  <a:pt x="68707" y="97409"/>
                </a:lnTo>
                <a:lnTo>
                  <a:pt x="64389" y="95631"/>
                </a:lnTo>
                <a:lnTo>
                  <a:pt x="54737" y="94361"/>
                </a:lnTo>
                <a:close/>
              </a:path>
              <a:path w="325754" h="233045">
                <a:moveTo>
                  <a:pt x="203744" y="132842"/>
                </a:moveTo>
                <a:lnTo>
                  <a:pt x="185166" y="132842"/>
                </a:lnTo>
                <a:lnTo>
                  <a:pt x="200914" y="165735"/>
                </a:lnTo>
                <a:lnTo>
                  <a:pt x="216027" y="158496"/>
                </a:lnTo>
                <a:lnTo>
                  <a:pt x="203744" y="132842"/>
                </a:lnTo>
                <a:close/>
              </a:path>
              <a:path w="325754" h="233045">
                <a:moveTo>
                  <a:pt x="159893" y="41656"/>
                </a:moveTo>
                <a:lnTo>
                  <a:pt x="145542" y="48513"/>
                </a:lnTo>
                <a:lnTo>
                  <a:pt x="120523" y="141605"/>
                </a:lnTo>
                <a:lnTo>
                  <a:pt x="129159" y="159638"/>
                </a:lnTo>
                <a:lnTo>
                  <a:pt x="166054" y="141986"/>
                </a:lnTo>
                <a:lnTo>
                  <a:pt x="133858" y="141986"/>
                </a:lnTo>
                <a:lnTo>
                  <a:pt x="153797" y="67563"/>
                </a:lnTo>
                <a:lnTo>
                  <a:pt x="172339" y="67563"/>
                </a:lnTo>
                <a:lnTo>
                  <a:pt x="159893" y="41656"/>
                </a:lnTo>
                <a:close/>
              </a:path>
              <a:path w="325754" h="233045">
                <a:moveTo>
                  <a:pt x="172339" y="67563"/>
                </a:moveTo>
                <a:lnTo>
                  <a:pt x="153797" y="67563"/>
                </a:lnTo>
                <a:lnTo>
                  <a:pt x="179197" y="120268"/>
                </a:lnTo>
                <a:lnTo>
                  <a:pt x="133858" y="141986"/>
                </a:lnTo>
                <a:lnTo>
                  <a:pt x="166054" y="141986"/>
                </a:lnTo>
                <a:lnTo>
                  <a:pt x="185166" y="132842"/>
                </a:lnTo>
                <a:lnTo>
                  <a:pt x="203744" y="132842"/>
                </a:lnTo>
                <a:lnTo>
                  <a:pt x="200279" y="125603"/>
                </a:lnTo>
                <a:lnTo>
                  <a:pt x="217551" y="117221"/>
                </a:lnTo>
                <a:lnTo>
                  <a:pt x="215541" y="113030"/>
                </a:lnTo>
                <a:lnTo>
                  <a:pt x="194183" y="113030"/>
                </a:lnTo>
                <a:lnTo>
                  <a:pt x="172339" y="67563"/>
                </a:lnTo>
                <a:close/>
              </a:path>
              <a:path w="325754" h="233045">
                <a:moveTo>
                  <a:pt x="262060" y="34290"/>
                </a:moveTo>
                <a:lnTo>
                  <a:pt x="243459" y="34290"/>
                </a:lnTo>
                <a:lnTo>
                  <a:pt x="281051" y="112649"/>
                </a:lnTo>
                <a:lnTo>
                  <a:pt x="256667" y="124332"/>
                </a:lnTo>
                <a:lnTo>
                  <a:pt x="262382" y="136271"/>
                </a:lnTo>
                <a:lnTo>
                  <a:pt x="325755" y="105918"/>
                </a:lnTo>
                <a:lnTo>
                  <a:pt x="325511" y="105410"/>
                </a:lnTo>
                <a:lnTo>
                  <a:pt x="296164" y="105410"/>
                </a:lnTo>
                <a:lnTo>
                  <a:pt x="262060" y="34290"/>
                </a:lnTo>
                <a:close/>
              </a:path>
              <a:path w="325754" h="233045">
                <a:moveTo>
                  <a:pt x="211582" y="104775"/>
                </a:moveTo>
                <a:lnTo>
                  <a:pt x="194183" y="113030"/>
                </a:lnTo>
                <a:lnTo>
                  <a:pt x="215541" y="113030"/>
                </a:lnTo>
                <a:lnTo>
                  <a:pt x="211582" y="104775"/>
                </a:lnTo>
                <a:close/>
              </a:path>
              <a:path w="325754" h="233045">
                <a:moveTo>
                  <a:pt x="320040" y="93980"/>
                </a:moveTo>
                <a:lnTo>
                  <a:pt x="296164" y="105410"/>
                </a:lnTo>
                <a:lnTo>
                  <a:pt x="325511" y="105410"/>
                </a:lnTo>
                <a:lnTo>
                  <a:pt x="320040" y="93980"/>
                </a:lnTo>
                <a:close/>
              </a:path>
              <a:path w="325754" h="233045">
                <a:moveTo>
                  <a:pt x="245618" y="0"/>
                </a:moveTo>
                <a:lnTo>
                  <a:pt x="233426" y="5842"/>
                </a:lnTo>
                <a:lnTo>
                  <a:pt x="234823" y="9398"/>
                </a:lnTo>
                <a:lnTo>
                  <a:pt x="235331" y="12446"/>
                </a:lnTo>
                <a:lnTo>
                  <a:pt x="224155" y="29337"/>
                </a:lnTo>
                <a:lnTo>
                  <a:pt x="220726" y="31750"/>
                </a:lnTo>
                <a:lnTo>
                  <a:pt x="217297" y="33655"/>
                </a:lnTo>
                <a:lnTo>
                  <a:pt x="213995" y="35306"/>
                </a:lnTo>
                <a:lnTo>
                  <a:pt x="219075" y="45974"/>
                </a:lnTo>
                <a:lnTo>
                  <a:pt x="243459" y="34290"/>
                </a:lnTo>
                <a:lnTo>
                  <a:pt x="262060" y="34290"/>
                </a:lnTo>
                <a:lnTo>
                  <a:pt x="245618" y="0"/>
                </a:lnTo>
                <a:close/>
              </a:path>
            </a:pathLst>
          </a:custGeom>
          <a:solidFill>
            <a:srgbClr val="FFFFFF"/>
          </a:solidFill>
        </p:spPr>
        <p:txBody>
          <a:bodyPr wrap="square" lIns="0" tIns="0" rIns="0" bIns="0" rtlCol="0"/>
          <a:lstStyle/>
          <a:p>
            <a:endParaRPr/>
          </a:p>
        </p:txBody>
      </p:sp>
      <p:sp>
        <p:nvSpPr>
          <p:cNvPr id="58" name="object 58"/>
          <p:cNvSpPr/>
          <p:nvPr/>
        </p:nvSpPr>
        <p:spPr>
          <a:xfrm>
            <a:off x="7127747" y="4886241"/>
            <a:ext cx="327660" cy="248920"/>
          </a:xfrm>
          <a:custGeom>
            <a:avLst/>
            <a:gdLst/>
            <a:ahLst/>
            <a:cxnLst/>
            <a:rect l="l" t="t" r="r" b="b"/>
            <a:pathLst>
              <a:path w="327659" h="248920">
                <a:moveTo>
                  <a:pt x="278637" y="124459"/>
                </a:moveTo>
                <a:lnTo>
                  <a:pt x="270255" y="125729"/>
                </a:lnTo>
                <a:lnTo>
                  <a:pt x="262635" y="128269"/>
                </a:lnTo>
                <a:lnTo>
                  <a:pt x="256684" y="132079"/>
                </a:lnTo>
                <a:lnTo>
                  <a:pt x="251031" y="134619"/>
                </a:lnTo>
                <a:lnTo>
                  <a:pt x="222123" y="167639"/>
                </a:lnTo>
                <a:lnTo>
                  <a:pt x="209930" y="210819"/>
                </a:lnTo>
                <a:lnTo>
                  <a:pt x="213359" y="222249"/>
                </a:lnTo>
                <a:lnTo>
                  <a:pt x="249761" y="248919"/>
                </a:lnTo>
                <a:lnTo>
                  <a:pt x="258280" y="248919"/>
                </a:lnTo>
                <a:lnTo>
                  <a:pt x="266953" y="247649"/>
                </a:lnTo>
                <a:lnTo>
                  <a:pt x="275240" y="245109"/>
                </a:lnTo>
                <a:lnTo>
                  <a:pt x="282574" y="240029"/>
                </a:lnTo>
                <a:lnTo>
                  <a:pt x="287361" y="236219"/>
                </a:lnTo>
                <a:lnTo>
                  <a:pt x="254634" y="236219"/>
                </a:lnTo>
                <a:lnTo>
                  <a:pt x="247650" y="234949"/>
                </a:lnTo>
                <a:lnTo>
                  <a:pt x="240283" y="231139"/>
                </a:lnTo>
                <a:lnTo>
                  <a:pt x="237108" y="228599"/>
                </a:lnTo>
                <a:lnTo>
                  <a:pt x="234569" y="227329"/>
                </a:lnTo>
                <a:lnTo>
                  <a:pt x="232409" y="224789"/>
                </a:lnTo>
                <a:lnTo>
                  <a:pt x="230377" y="222249"/>
                </a:lnTo>
                <a:lnTo>
                  <a:pt x="228726" y="218439"/>
                </a:lnTo>
                <a:lnTo>
                  <a:pt x="227710" y="214629"/>
                </a:lnTo>
                <a:lnTo>
                  <a:pt x="226313" y="210819"/>
                </a:lnTo>
                <a:lnTo>
                  <a:pt x="236474" y="179069"/>
                </a:lnTo>
                <a:lnTo>
                  <a:pt x="237235" y="177799"/>
                </a:lnTo>
                <a:lnTo>
                  <a:pt x="238505" y="175259"/>
                </a:lnTo>
                <a:lnTo>
                  <a:pt x="239268" y="173989"/>
                </a:lnTo>
                <a:lnTo>
                  <a:pt x="239902" y="172719"/>
                </a:lnTo>
                <a:lnTo>
                  <a:pt x="282194" y="172719"/>
                </a:lnTo>
                <a:lnTo>
                  <a:pt x="277368" y="170179"/>
                </a:lnTo>
                <a:lnTo>
                  <a:pt x="272033" y="166369"/>
                </a:lnTo>
                <a:lnTo>
                  <a:pt x="257175" y="162559"/>
                </a:lnTo>
                <a:lnTo>
                  <a:pt x="246125" y="162559"/>
                </a:lnTo>
                <a:lnTo>
                  <a:pt x="252174" y="154939"/>
                </a:lnTo>
                <a:lnTo>
                  <a:pt x="258699" y="148589"/>
                </a:lnTo>
                <a:lnTo>
                  <a:pt x="265699" y="144779"/>
                </a:lnTo>
                <a:lnTo>
                  <a:pt x="273176" y="140969"/>
                </a:lnTo>
                <a:lnTo>
                  <a:pt x="280959" y="139699"/>
                </a:lnTo>
                <a:lnTo>
                  <a:pt x="322495" y="139699"/>
                </a:lnTo>
                <a:lnTo>
                  <a:pt x="320040" y="137159"/>
                </a:lnTo>
                <a:lnTo>
                  <a:pt x="317626" y="135889"/>
                </a:lnTo>
                <a:lnTo>
                  <a:pt x="314578" y="134619"/>
                </a:lnTo>
                <a:lnTo>
                  <a:pt x="307671" y="130809"/>
                </a:lnTo>
                <a:lnTo>
                  <a:pt x="294094" y="125729"/>
                </a:lnTo>
                <a:lnTo>
                  <a:pt x="287400" y="125729"/>
                </a:lnTo>
                <a:lnTo>
                  <a:pt x="278637" y="124459"/>
                </a:lnTo>
                <a:close/>
              </a:path>
              <a:path w="327659" h="248920">
                <a:moveTo>
                  <a:pt x="282194" y="172719"/>
                </a:moveTo>
                <a:lnTo>
                  <a:pt x="244982" y="172719"/>
                </a:lnTo>
                <a:lnTo>
                  <a:pt x="249681" y="173989"/>
                </a:lnTo>
                <a:lnTo>
                  <a:pt x="262508" y="177799"/>
                </a:lnTo>
                <a:lnTo>
                  <a:pt x="266700" y="180339"/>
                </a:lnTo>
                <a:lnTo>
                  <a:pt x="269875" y="181609"/>
                </a:lnTo>
                <a:lnTo>
                  <a:pt x="272669" y="184149"/>
                </a:lnTo>
                <a:lnTo>
                  <a:pt x="275208" y="186689"/>
                </a:lnTo>
                <a:lnTo>
                  <a:pt x="277622" y="187959"/>
                </a:lnTo>
                <a:lnTo>
                  <a:pt x="279653" y="190499"/>
                </a:lnTo>
                <a:lnTo>
                  <a:pt x="281050" y="194309"/>
                </a:lnTo>
                <a:lnTo>
                  <a:pt x="282955" y="198119"/>
                </a:lnTo>
                <a:lnTo>
                  <a:pt x="283591" y="201929"/>
                </a:lnTo>
                <a:lnTo>
                  <a:pt x="254634" y="236219"/>
                </a:lnTo>
                <a:lnTo>
                  <a:pt x="287361" y="236219"/>
                </a:lnTo>
                <a:lnTo>
                  <a:pt x="301244" y="201929"/>
                </a:lnTo>
                <a:lnTo>
                  <a:pt x="300100" y="195579"/>
                </a:lnTo>
                <a:lnTo>
                  <a:pt x="295148" y="185419"/>
                </a:lnTo>
                <a:lnTo>
                  <a:pt x="292480" y="181609"/>
                </a:lnTo>
                <a:lnTo>
                  <a:pt x="289305" y="179069"/>
                </a:lnTo>
                <a:lnTo>
                  <a:pt x="286130" y="175259"/>
                </a:lnTo>
                <a:lnTo>
                  <a:pt x="282194" y="172719"/>
                </a:lnTo>
                <a:close/>
              </a:path>
              <a:path w="327659" h="248920">
                <a:moveTo>
                  <a:pt x="111251" y="142239"/>
                </a:moveTo>
                <a:lnTo>
                  <a:pt x="110108" y="142239"/>
                </a:lnTo>
                <a:lnTo>
                  <a:pt x="100965" y="157479"/>
                </a:lnTo>
                <a:lnTo>
                  <a:pt x="103885" y="161289"/>
                </a:lnTo>
                <a:lnTo>
                  <a:pt x="107950" y="166369"/>
                </a:lnTo>
                <a:lnTo>
                  <a:pt x="113156" y="171449"/>
                </a:lnTo>
                <a:lnTo>
                  <a:pt x="118236" y="176529"/>
                </a:lnTo>
                <a:lnTo>
                  <a:pt x="123951" y="180339"/>
                </a:lnTo>
                <a:lnTo>
                  <a:pt x="136398" y="187959"/>
                </a:lnTo>
                <a:lnTo>
                  <a:pt x="142367" y="190499"/>
                </a:lnTo>
                <a:lnTo>
                  <a:pt x="154558" y="193039"/>
                </a:lnTo>
                <a:lnTo>
                  <a:pt x="166370" y="190499"/>
                </a:lnTo>
                <a:lnTo>
                  <a:pt x="171450" y="189229"/>
                </a:lnTo>
                <a:lnTo>
                  <a:pt x="176275" y="187959"/>
                </a:lnTo>
                <a:lnTo>
                  <a:pt x="184911" y="181609"/>
                </a:lnTo>
                <a:lnTo>
                  <a:pt x="188468" y="176529"/>
                </a:lnTo>
                <a:lnTo>
                  <a:pt x="152653" y="176529"/>
                </a:lnTo>
                <a:lnTo>
                  <a:pt x="144272" y="173989"/>
                </a:lnTo>
                <a:lnTo>
                  <a:pt x="113919" y="148589"/>
                </a:lnTo>
                <a:lnTo>
                  <a:pt x="111251" y="142239"/>
                </a:lnTo>
                <a:close/>
              </a:path>
              <a:path w="327659" h="248920">
                <a:moveTo>
                  <a:pt x="162941" y="110489"/>
                </a:moveTo>
                <a:lnTo>
                  <a:pt x="155701" y="123189"/>
                </a:lnTo>
                <a:lnTo>
                  <a:pt x="162432" y="126999"/>
                </a:lnTo>
                <a:lnTo>
                  <a:pt x="166243" y="128269"/>
                </a:lnTo>
                <a:lnTo>
                  <a:pt x="169545" y="130809"/>
                </a:lnTo>
                <a:lnTo>
                  <a:pt x="180594" y="151129"/>
                </a:lnTo>
                <a:lnTo>
                  <a:pt x="180340" y="153669"/>
                </a:lnTo>
                <a:lnTo>
                  <a:pt x="179070" y="157479"/>
                </a:lnTo>
                <a:lnTo>
                  <a:pt x="176783" y="161289"/>
                </a:lnTo>
                <a:lnTo>
                  <a:pt x="174371" y="166369"/>
                </a:lnTo>
                <a:lnTo>
                  <a:pt x="171830" y="168909"/>
                </a:lnTo>
                <a:lnTo>
                  <a:pt x="166497" y="172719"/>
                </a:lnTo>
                <a:lnTo>
                  <a:pt x="163449" y="173989"/>
                </a:lnTo>
                <a:lnTo>
                  <a:pt x="159893" y="175259"/>
                </a:lnTo>
                <a:lnTo>
                  <a:pt x="156463" y="176529"/>
                </a:lnTo>
                <a:lnTo>
                  <a:pt x="188468" y="176529"/>
                </a:lnTo>
                <a:lnTo>
                  <a:pt x="191516" y="171449"/>
                </a:lnTo>
                <a:lnTo>
                  <a:pt x="194436" y="166369"/>
                </a:lnTo>
                <a:lnTo>
                  <a:pt x="196087" y="162559"/>
                </a:lnTo>
                <a:lnTo>
                  <a:pt x="196723" y="153669"/>
                </a:lnTo>
                <a:lnTo>
                  <a:pt x="196342" y="149859"/>
                </a:lnTo>
                <a:lnTo>
                  <a:pt x="195199" y="146049"/>
                </a:lnTo>
                <a:lnTo>
                  <a:pt x="194055" y="143509"/>
                </a:lnTo>
                <a:lnTo>
                  <a:pt x="192404" y="139699"/>
                </a:lnTo>
                <a:lnTo>
                  <a:pt x="189992" y="137159"/>
                </a:lnTo>
                <a:lnTo>
                  <a:pt x="187578" y="133349"/>
                </a:lnTo>
                <a:lnTo>
                  <a:pt x="185293" y="130809"/>
                </a:lnTo>
                <a:lnTo>
                  <a:pt x="183133" y="129539"/>
                </a:lnTo>
                <a:lnTo>
                  <a:pt x="183769" y="128269"/>
                </a:lnTo>
                <a:lnTo>
                  <a:pt x="206713" y="128269"/>
                </a:lnTo>
                <a:lnTo>
                  <a:pt x="211454" y="126999"/>
                </a:lnTo>
                <a:lnTo>
                  <a:pt x="216788" y="121919"/>
                </a:lnTo>
                <a:lnTo>
                  <a:pt x="218211" y="119379"/>
                </a:lnTo>
                <a:lnTo>
                  <a:pt x="182879" y="119379"/>
                </a:lnTo>
                <a:lnTo>
                  <a:pt x="175768" y="118109"/>
                </a:lnTo>
                <a:lnTo>
                  <a:pt x="168148" y="113029"/>
                </a:lnTo>
                <a:lnTo>
                  <a:pt x="162941" y="110489"/>
                </a:lnTo>
                <a:close/>
              </a:path>
              <a:path w="327659" h="248920">
                <a:moveTo>
                  <a:pt x="322495" y="139699"/>
                </a:moveTo>
                <a:lnTo>
                  <a:pt x="280959" y="139699"/>
                </a:lnTo>
                <a:lnTo>
                  <a:pt x="296858" y="142239"/>
                </a:lnTo>
                <a:lnTo>
                  <a:pt x="304926" y="146049"/>
                </a:lnTo>
                <a:lnTo>
                  <a:pt x="307848" y="147319"/>
                </a:lnTo>
                <a:lnTo>
                  <a:pt x="310642" y="149859"/>
                </a:lnTo>
                <a:lnTo>
                  <a:pt x="315468" y="154939"/>
                </a:lnTo>
                <a:lnTo>
                  <a:pt x="317246" y="156209"/>
                </a:lnTo>
                <a:lnTo>
                  <a:pt x="318134" y="157479"/>
                </a:lnTo>
                <a:lnTo>
                  <a:pt x="318897" y="158749"/>
                </a:lnTo>
                <a:lnTo>
                  <a:pt x="327278" y="143509"/>
                </a:lnTo>
                <a:lnTo>
                  <a:pt x="323723" y="140969"/>
                </a:lnTo>
                <a:lnTo>
                  <a:pt x="322495" y="139699"/>
                </a:lnTo>
                <a:close/>
              </a:path>
              <a:path w="327659" h="248920">
                <a:moveTo>
                  <a:pt x="69215" y="0"/>
                </a:moveTo>
                <a:lnTo>
                  <a:pt x="64643" y="0"/>
                </a:lnTo>
                <a:lnTo>
                  <a:pt x="55625" y="16509"/>
                </a:lnTo>
                <a:lnTo>
                  <a:pt x="69976" y="16509"/>
                </a:lnTo>
                <a:lnTo>
                  <a:pt x="82423" y="19049"/>
                </a:lnTo>
                <a:lnTo>
                  <a:pt x="107696" y="43179"/>
                </a:lnTo>
                <a:lnTo>
                  <a:pt x="107060" y="49529"/>
                </a:lnTo>
                <a:lnTo>
                  <a:pt x="74834" y="74929"/>
                </a:lnTo>
                <a:lnTo>
                  <a:pt x="65901" y="78739"/>
                </a:lnTo>
                <a:lnTo>
                  <a:pt x="48259" y="82549"/>
                </a:lnTo>
                <a:lnTo>
                  <a:pt x="40640" y="85089"/>
                </a:lnTo>
                <a:lnTo>
                  <a:pt x="9144" y="90169"/>
                </a:lnTo>
                <a:lnTo>
                  <a:pt x="0" y="106679"/>
                </a:lnTo>
                <a:lnTo>
                  <a:pt x="76200" y="149859"/>
                </a:lnTo>
                <a:lnTo>
                  <a:pt x="83566" y="137159"/>
                </a:lnTo>
                <a:lnTo>
                  <a:pt x="23113" y="102869"/>
                </a:lnTo>
                <a:lnTo>
                  <a:pt x="47117" y="97789"/>
                </a:lnTo>
                <a:lnTo>
                  <a:pt x="66208" y="93979"/>
                </a:lnTo>
                <a:lnTo>
                  <a:pt x="72517" y="91439"/>
                </a:lnTo>
                <a:lnTo>
                  <a:pt x="78485" y="90169"/>
                </a:lnTo>
                <a:lnTo>
                  <a:pt x="83566" y="88899"/>
                </a:lnTo>
                <a:lnTo>
                  <a:pt x="92328" y="86359"/>
                </a:lnTo>
                <a:lnTo>
                  <a:pt x="96393" y="83819"/>
                </a:lnTo>
                <a:lnTo>
                  <a:pt x="100202" y="82549"/>
                </a:lnTo>
                <a:lnTo>
                  <a:pt x="124380" y="49529"/>
                </a:lnTo>
                <a:lnTo>
                  <a:pt x="124346" y="41909"/>
                </a:lnTo>
                <a:lnTo>
                  <a:pt x="100329" y="11429"/>
                </a:lnTo>
                <a:lnTo>
                  <a:pt x="94742" y="7619"/>
                </a:lnTo>
                <a:lnTo>
                  <a:pt x="88519" y="5079"/>
                </a:lnTo>
                <a:lnTo>
                  <a:pt x="81787" y="3809"/>
                </a:lnTo>
                <a:lnTo>
                  <a:pt x="74929" y="1269"/>
                </a:lnTo>
                <a:lnTo>
                  <a:pt x="69215" y="0"/>
                </a:lnTo>
                <a:close/>
              </a:path>
              <a:path w="327659" h="248920">
                <a:moveTo>
                  <a:pt x="206713" y="128269"/>
                </a:moveTo>
                <a:lnTo>
                  <a:pt x="183769" y="128269"/>
                </a:lnTo>
                <a:lnTo>
                  <a:pt x="190373" y="130809"/>
                </a:lnTo>
                <a:lnTo>
                  <a:pt x="197230" y="130809"/>
                </a:lnTo>
                <a:lnTo>
                  <a:pt x="206713" y="128269"/>
                </a:lnTo>
                <a:close/>
              </a:path>
              <a:path w="327659" h="248920">
                <a:moveTo>
                  <a:pt x="206078" y="72389"/>
                </a:moveTo>
                <a:lnTo>
                  <a:pt x="161671" y="72389"/>
                </a:lnTo>
                <a:lnTo>
                  <a:pt x="180848" y="76199"/>
                </a:lnTo>
                <a:lnTo>
                  <a:pt x="186435" y="77469"/>
                </a:lnTo>
                <a:lnTo>
                  <a:pt x="191134" y="81279"/>
                </a:lnTo>
                <a:lnTo>
                  <a:pt x="194309" y="82549"/>
                </a:lnTo>
                <a:lnTo>
                  <a:pt x="196976" y="83819"/>
                </a:lnTo>
                <a:lnTo>
                  <a:pt x="201295" y="87629"/>
                </a:lnTo>
                <a:lnTo>
                  <a:pt x="203073" y="90169"/>
                </a:lnTo>
                <a:lnTo>
                  <a:pt x="205867" y="95249"/>
                </a:lnTo>
                <a:lnTo>
                  <a:pt x="206501" y="97789"/>
                </a:lnTo>
                <a:lnTo>
                  <a:pt x="206501" y="102869"/>
                </a:lnTo>
                <a:lnTo>
                  <a:pt x="205612" y="106679"/>
                </a:lnTo>
                <a:lnTo>
                  <a:pt x="200532" y="115569"/>
                </a:lnTo>
                <a:lnTo>
                  <a:pt x="195579" y="118109"/>
                </a:lnTo>
                <a:lnTo>
                  <a:pt x="189229" y="119379"/>
                </a:lnTo>
                <a:lnTo>
                  <a:pt x="218211" y="119379"/>
                </a:lnTo>
                <a:lnTo>
                  <a:pt x="220345" y="115569"/>
                </a:lnTo>
                <a:lnTo>
                  <a:pt x="223011" y="111759"/>
                </a:lnTo>
                <a:lnTo>
                  <a:pt x="224281" y="106679"/>
                </a:lnTo>
                <a:lnTo>
                  <a:pt x="209042" y="74929"/>
                </a:lnTo>
                <a:lnTo>
                  <a:pt x="206078" y="72389"/>
                </a:lnTo>
                <a:close/>
              </a:path>
              <a:path w="327659" h="248920">
                <a:moveTo>
                  <a:pt x="167894" y="57149"/>
                </a:moveTo>
                <a:lnTo>
                  <a:pt x="163322" y="57149"/>
                </a:lnTo>
                <a:lnTo>
                  <a:pt x="154304" y="72389"/>
                </a:lnTo>
                <a:lnTo>
                  <a:pt x="155067" y="73659"/>
                </a:lnTo>
                <a:lnTo>
                  <a:pt x="161671" y="72389"/>
                </a:lnTo>
                <a:lnTo>
                  <a:pt x="206078" y="72389"/>
                </a:lnTo>
                <a:lnTo>
                  <a:pt x="204597" y="71119"/>
                </a:lnTo>
                <a:lnTo>
                  <a:pt x="193421" y="64769"/>
                </a:lnTo>
                <a:lnTo>
                  <a:pt x="187325" y="62229"/>
                </a:lnTo>
                <a:lnTo>
                  <a:pt x="173608" y="58419"/>
                </a:lnTo>
                <a:lnTo>
                  <a:pt x="167894" y="57149"/>
                </a:lnTo>
                <a:close/>
              </a:path>
            </a:pathLst>
          </a:custGeom>
          <a:solidFill>
            <a:srgbClr val="FFFFFF"/>
          </a:solidFill>
        </p:spPr>
        <p:txBody>
          <a:bodyPr wrap="square" lIns="0" tIns="0" rIns="0" bIns="0" rtlCol="0"/>
          <a:lstStyle/>
          <a:p>
            <a:endParaRPr/>
          </a:p>
        </p:txBody>
      </p:sp>
      <p:sp>
        <p:nvSpPr>
          <p:cNvPr id="59" name="object 59"/>
          <p:cNvSpPr/>
          <p:nvPr/>
        </p:nvSpPr>
        <p:spPr>
          <a:xfrm>
            <a:off x="6341745" y="3788362"/>
            <a:ext cx="209550" cy="324485"/>
          </a:xfrm>
          <a:custGeom>
            <a:avLst/>
            <a:gdLst/>
            <a:ahLst/>
            <a:cxnLst/>
            <a:rect l="l" t="t" r="r" b="b"/>
            <a:pathLst>
              <a:path w="209550" h="324485">
                <a:moveTo>
                  <a:pt x="15747" y="37131"/>
                </a:moveTo>
                <a:lnTo>
                  <a:pt x="0" y="42338"/>
                </a:lnTo>
                <a:lnTo>
                  <a:pt x="93" y="45513"/>
                </a:lnTo>
                <a:lnTo>
                  <a:pt x="253" y="47037"/>
                </a:lnTo>
                <a:lnTo>
                  <a:pt x="17017" y="82724"/>
                </a:lnTo>
                <a:lnTo>
                  <a:pt x="56884" y="100447"/>
                </a:lnTo>
                <a:lnTo>
                  <a:pt x="63880" y="100377"/>
                </a:lnTo>
                <a:lnTo>
                  <a:pt x="102457" y="91436"/>
                </a:lnTo>
                <a:lnTo>
                  <a:pt x="116361" y="84486"/>
                </a:lnTo>
                <a:lnTo>
                  <a:pt x="54292" y="84486"/>
                </a:lnTo>
                <a:lnTo>
                  <a:pt x="46053" y="83258"/>
                </a:lnTo>
                <a:lnTo>
                  <a:pt x="17993" y="55546"/>
                </a:lnTo>
                <a:lnTo>
                  <a:pt x="15768" y="42846"/>
                </a:lnTo>
                <a:lnTo>
                  <a:pt x="15874" y="38909"/>
                </a:lnTo>
                <a:lnTo>
                  <a:pt x="16001" y="38020"/>
                </a:lnTo>
                <a:lnTo>
                  <a:pt x="15747" y="37131"/>
                </a:lnTo>
                <a:close/>
              </a:path>
              <a:path w="209550" h="324485">
                <a:moveTo>
                  <a:pt x="97615" y="0"/>
                </a:moveTo>
                <a:lnTo>
                  <a:pt x="57784" y="16684"/>
                </a:lnTo>
                <a:lnTo>
                  <a:pt x="51046" y="38909"/>
                </a:lnTo>
                <a:lnTo>
                  <a:pt x="51688" y="46402"/>
                </a:lnTo>
                <a:lnTo>
                  <a:pt x="72770" y="82597"/>
                </a:lnTo>
                <a:lnTo>
                  <a:pt x="63198" y="84262"/>
                </a:lnTo>
                <a:lnTo>
                  <a:pt x="54292" y="84486"/>
                </a:lnTo>
                <a:lnTo>
                  <a:pt x="116361" y="84486"/>
                </a:lnTo>
                <a:lnTo>
                  <a:pt x="121030" y="81327"/>
                </a:lnTo>
                <a:lnTo>
                  <a:pt x="124287" y="78787"/>
                </a:lnTo>
                <a:lnTo>
                  <a:pt x="84454" y="78787"/>
                </a:lnTo>
                <a:lnTo>
                  <a:pt x="81025" y="75612"/>
                </a:lnTo>
                <a:lnTo>
                  <a:pt x="77977" y="72056"/>
                </a:lnTo>
                <a:lnTo>
                  <a:pt x="75310" y="67992"/>
                </a:lnTo>
                <a:lnTo>
                  <a:pt x="72643" y="64055"/>
                </a:lnTo>
                <a:lnTo>
                  <a:pt x="66420" y="42211"/>
                </a:lnTo>
                <a:lnTo>
                  <a:pt x="66614" y="39798"/>
                </a:lnTo>
                <a:lnTo>
                  <a:pt x="66712" y="38909"/>
                </a:lnTo>
                <a:lnTo>
                  <a:pt x="68833" y="31670"/>
                </a:lnTo>
                <a:lnTo>
                  <a:pt x="70865" y="28241"/>
                </a:lnTo>
                <a:lnTo>
                  <a:pt x="73659" y="25701"/>
                </a:lnTo>
                <a:lnTo>
                  <a:pt x="76453" y="23034"/>
                </a:lnTo>
                <a:lnTo>
                  <a:pt x="80517" y="20875"/>
                </a:lnTo>
                <a:lnTo>
                  <a:pt x="85725" y="19097"/>
                </a:lnTo>
                <a:lnTo>
                  <a:pt x="94741" y="16176"/>
                </a:lnTo>
                <a:lnTo>
                  <a:pt x="128086" y="16176"/>
                </a:lnTo>
                <a:lnTo>
                  <a:pt x="127698" y="15605"/>
                </a:lnTo>
                <a:lnTo>
                  <a:pt x="121606" y="9604"/>
                </a:lnTo>
                <a:lnTo>
                  <a:pt x="114300" y="4746"/>
                </a:lnTo>
                <a:lnTo>
                  <a:pt x="106130" y="1462"/>
                </a:lnTo>
                <a:lnTo>
                  <a:pt x="97615" y="0"/>
                </a:lnTo>
                <a:close/>
              </a:path>
              <a:path w="209550" h="324485">
                <a:moveTo>
                  <a:pt x="128086" y="16176"/>
                </a:moveTo>
                <a:lnTo>
                  <a:pt x="102488" y="16176"/>
                </a:lnTo>
                <a:lnTo>
                  <a:pt x="115442" y="22018"/>
                </a:lnTo>
                <a:lnTo>
                  <a:pt x="120014" y="27479"/>
                </a:lnTo>
                <a:lnTo>
                  <a:pt x="122681" y="35353"/>
                </a:lnTo>
                <a:lnTo>
                  <a:pt x="123825" y="38909"/>
                </a:lnTo>
                <a:lnTo>
                  <a:pt x="124332" y="42211"/>
                </a:lnTo>
                <a:lnTo>
                  <a:pt x="124205" y="48942"/>
                </a:lnTo>
                <a:lnTo>
                  <a:pt x="123316" y="52371"/>
                </a:lnTo>
                <a:lnTo>
                  <a:pt x="121665" y="55673"/>
                </a:lnTo>
                <a:lnTo>
                  <a:pt x="119887" y="59737"/>
                </a:lnTo>
                <a:lnTo>
                  <a:pt x="116585" y="63547"/>
                </a:lnTo>
                <a:lnTo>
                  <a:pt x="112013" y="66976"/>
                </a:lnTo>
                <a:lnTo>
                  <a:pt x="107441" y="70532"/>
                </a:lnTo>
                <a:lnTo>
                  <a:pt x="100964" y="73707"/>
                </a:lnTo>
                <a:lnTo>
                  <a:pt x="92290" y="76515"/>
                </a:lnTo>
                <a:lnTo>
                  <a:pt x="90550" y="77136"/>
                </a:lnTo>
                <a:lnTo>
                  <a:pt x="89153" y="77517"/>
                </a:lnTo>
                <a:lnTo>
                  <a:pt x="88010" y="77771"/>
                </a:lnTo>
                <a:lnTo>
                  <a:pt x="86867" y="78152"/>
                </a:lnTo>
                <a:lnTo>
                  <a:pt x="85725" y="78406"/>
                </a:lnTo>
                <a:lnTo>
                  <a:pt x="84454" y="78787"/>
                </a:lnTo>
                <a:lnTo>
                  <a:pt x="124287" y="78787"/>
                </a:lnTo>
                <a:lnTo>
                  <a:pt x="138968" y="42211"/>
                </a:lnTo>
                <a:lnTo>
                  <a:pt x="138175" y="37004"/>
                </a:lnTo>
                <a:lnTo>
                  <a:pt x="136143" y="31035"/>
                </a:lnTo>
                <a:lnTo>
                  <a:pt x="132552" y="22748"/>
                </a:lnTo>
                <a:lnTo>
                  <a:pt x="128086" y="16176"/>
                </a:lnTo>
                <a:close/>
              </a:path>
              <a:path w="209550" h="324485">
                <a:moveTo>
                  <a:pt x="49275" y="146732"/>
                </a:moveTo>
                <a:lnTo>
                  <a:pt x="36702" y="150923"/>
                </a:lnTo>
                <a:lnTo>
                  <a:pt x="58800" y="217471"/>
                </a:lnTo>
                <a:lnTo>
                  <a:pt x="71374" y="213280"/>
                </a:lnTo>
                <a:lnTo>
                  <a:pt x="62991" y="188134"/>
                </a:lnTo>
                <a:lnTo>
                  <a:pt x="110781" y="172259"/>
                </a:lnTo>
                <a:lnTo>
                  <a:pt x="57784" y="172259"/>
                </a:lnTo>
                <a:lnTo>
                  <a:pt x="49275" y="146732"/>
                </a:lnTo>
                <a:close/>
              </a:path>
              <a:path w="209550" h="324485">
                <a:moveTo>
                  <a:pt x="142875" y="115490"/>
                </a:moveTo>
                <a:lnTo>
                  <a:pt x="131699" y="119300"/>
                </a:lnTo>
                <a:lnTo>
                  <a:pt x="140207" y="144827"/>
                </a:lnTo>
                <a:lnTo>
                  <a:pt x="57784" y="172259"/>
                </a:lnTo>
                <a:lnTo>
                  <a:pt x="110781" y="172259"/>
                </a:lnTo>
                <a:lnTo>
                  <a:pt x="173862" y="151304"/>
                </a:lnTo>
                <a:lnTo>
                  <a:pt x="170003" y="139493"/>
                </a:lnTo>
                <a:lnTo>
                  <a:pt x="162813" y="139493"/>
                </a:lnTo>
                <a:lnTo>
                  <a:pt x="160274" y="138731"/>
                </a:lnTo>
                <a:lnTo>
                  <a:pt x="144017" y="118919"/>
                </a:lnTo>
                <a:lnTo>
                  <a:pt x="142875" y="115490"/>
                </a:lnTo>
                <a:close/>
              </a:path>
              <a:path w="209550" h="324485">
                <a:moveTo>
                  <a:pt x="169672" y="138477"/>
                </a:moveTo>
                <a:lnTo>
                  <a:pt x="165988" y="139366"/>
                </a:lnTo>
                <a:lnTo>
                  <a:pt x="162813" y="139493"/>
                </a:lnTo>
                <a:lnTo>
                  <a:pt x="170003" y="139493"/>
                </a:lnTo>
                <a:lnTo>
                  <a:pt x="169672" y="138477"/>
                </a:lnTo>
                <a:close/>
              </a:path>
              <a:path w="209550" h="324485">
                <a:moveTo>
                  <a:pt x="84835" y="253666"/>
                </a:moveTo>
                <a:lnTo>
                  <a:pt x="72262" y="257857"/>
                </a:lnTo>
                <a:lnTo>
                  <a:pt x="94487" y="324405"/>
                </a:lnTo>
                <a:lnTo>
                  <a:pt x="107060" y="320214"/>
                </a:lnTo>
                <a:lnTo>
                  <a:pt x="98678" y="295195"/>
                </a:lnTo>
                <a:lnTo>
                  <a:pt x="146303" y="279320"/>
                </a:lnTo>
                <a:lnTo>
                  <a:pt x="93344" y="279320"/>
                </a:lnTo>
                <a:lnTo>
                  <a:pt x="84835" y="253666"/>
                </a:lnTo>
                <a:close/>
              </a:path>
              <a:path w="209550" h="324485">
                <a:moveTo>
                  <a:pt x="178561" y="222551"/>
                </a:moveTo>
                <a:lnTo>
                  <a:pt x="167258" y="226234"/>
                </a:lnTo>
                <a:lnTo>
                  <a:pt x="175768" y="251888"/>
                </a:lnTo>
                <a:lnTo>
                  <a:pt x="93344" y="279320"/>
                </a:lnTo>
                <a:lnTo>
                  <a:pt x="146303" y="279320"/>
                </a:lnTo>
                <a:lnTo>
                  <a:pt x="209550" y="258238"/>
                </a:lnTo>
                <a:lnTo>
                  <a:pt x="205616" y="246554"/>
                </a:lnTo>
                <a:lnTo>
                  <a:pt x="198500" y="246554"/>
                </a:lnTo>
                <a:lnTo>
                  <a:pt x="195833" y="245792"/>
                </a:lnTo>
                <a:lnTo>
                  <a:pt x="179704" y="225980"/>
                </a:lnTo>
                <a:lnTo>
                  <a:pt x="178561" y="222551"/>
                </a:lnTo>
                <a:close/>
              </a:path>
              <a:path w="209550" h="324485">
                <a:moveTo>
                  <a:pt x="205231" y="245411"/>
                </a:moveTo>
                <a:lnTo>
                  <a:pt x="201549" y="246427"/>
                </a:lnTo>
                <a:lnTo>
                  <a:pt x="198500" y="246554"/>
                </a:lnTo>
                <a:lnTo>
                  <a:pt x="205616" y="246554"/>
                </a:lnTo>
                <a:lnTo>
                  <a:pt x="205231" y="245411"/>
                </a:lnTo>
                <a:close/>
              </a:path>
            </a:pathLst>
          </a:custGeom>
          <a:solidFill>
            <a:srgbClr val="FFFFFF"/>
          </a:solidFill>
        </p:spPr>
        <p:txBody>
          <a:bodyPr wrap="square" lIns="0" tIns="0" rIns="0" bIns="0" rtlCol="0"/>
          <a:lstStyle/>
          <a:p>
            <a:endParaRPr/>
          </a:p>
        </p:txBody>
      </p:sp>
      <p:sp>
        <p:nvSpPr>
          <p:cNvPr id="60" name="object 60"/>
          <p:cNvSpPr/>
          <p:nvPr/>
        </p:nvSpPr>
        <p:spPr>
          <a:xfrm>
            <a:off x="6505575" y="2417317"/>
            <a:ext cx="319405" cy="398780"/>
          </a:xfrm>
          <a:custGeom>
            <a:avLst/>
            <a:gdLst/>
            <a:ahLst/>
            <a:cxnLst/>
            <a:rect l="l" t="t" r="r" b="b"/>
            <a:pathLst>
              <a:path w="319404" h="398780">
                <a:moveTo>
                  <a:pt x="53754" y="318769"/>
                </a:moveTo>
                <a:lnTo>
                  <a:pt x="25400" y="318769"/>
                </a:lnTo>
                <a:lnTo>
                  <a:pt x="95884" y="369569"/>
                </a:lnTo>
                <a:lnTo>
                  <a:pt x="80136" y="391159"/>
                </a:lnTo>
                <a:lnTo>
                  <a:pt x="90804" y="398779"/>
                </a:lnTo>
                <a:lnTo>
                  <a:pt x="122503" y="355600"/>
                </a:lnTo>
                <a:lnTo>
                  <a:pt x="105664" y="355600"/>
                </a:lnTo>
                <a:lnTo>
                  <a:pt x="53754" y="318769"/>
                </a:lnTo>
                <a:close/>
              </a:path>
              <a:path w="319404" h="398780">
                <a:moveTo>
                  <a:pt x="121157" y="335279"/>
                </a:moveTo>
                <a:lnTo>
                  <a:pt x="105664" y="355600"/>
                </a:lnTo>
                <a:lnTo>
                  <a:pt x="122503" y="355600"/>
                </a:lnTo>
                <a:lnTo>
                  <a:pt x="131825" y="342900"/>
                </a:lnTo>
                <a:lnTo>
                  <a:pt x="121157" y="335279"/>
                </a:lnTo>
                <a:close/>
              </a:path>
              <a:path w="319404" h="398780">
                <a:moveTo>
                  <a:pt x="10795" y="288289"/>
                </a:moveTo>
                <a:lnTo>
                  <a:pt x="2921" y="298450"/>
                </a:lnTo>
                <a:lnTo>
                  <a:pt x="5842" y="300989"/>
                </a:lnTo>
                <a:lnTo>
                  <a:pt x="7747" y="303529"/>
                </a:lnTo>
                <a:lnTo>
                  <a:pt x="8763" y="306069"/>
                </a:lnTo>
                <a:lnTo>
                  <a:pt x="9651" y="308609"/>
                </a:lnTo>
                <a:lnTo>
                  <a:pt x="9905" y="311150"/>
                </a:lnTo>
                <a:lnTo>
                  <a:pt x="9525" y="314959"/>
                </a:lnTo>
                <a:lnTo>
                  <a:pt x="0" y="334009"/>
                </a:lnTo>
                <a:lnTo>
                  <a:pt x="9651" y="340359"/>
                </a:lnTo>
                <a:lnTo>
                  <a:pt x="25400" y="318769"/>
                </a:lnTo>
                <a:lnTo>
                  <a:pt x="53754" y="318769"/>
                </a:lnTo>
                <a:lnTo>
                  <a:pt x="10795" y="288289"/>
                </a:lnTo>
                <a:close/>
              </a:path>
              <a:path w="319404" h="398780">
                <a:moveTo>
                  <a:pt x="131487" y="203200"/>
                </a:moveTo>
                <a:lnTo>
                  <a:pt x="99822" y="203200"/>
                </a:lnTo>
                <a:lnTo>
                  <a:pt x="105282" y="204469"/>
                </a:lnTo>
                <a:lnTo>
                  <a:pt x="110744" y="208279"/>
                </a:lnTo>
                <a:lnTo>
                  <a:pt x="129684" y="247650"/>
                </a:lnTo>
                <a:lnTo>
                  <a:pt x="131445" y="259079"/>
                </a:lnTo>
                <a:lnTo>
                  <a:pt x="132460" y="265429"/>
                </a:lnTo>
                <a:lnTo>
                  <a:pt x="133350" y="273050"/>
                </a:lnTo>
                <a:lnTo>
                  <a:pt x="133984" y="281939"/>
                </a:lnTo>
                <a:lnTo>
                  <a:pt x="134747" y="289559"/>
                </a:lnTo>
                <a:lnTo>
                  <a:pt x="136017" y="306069"/>
                </a:lnTo>
                <a:lnTo>
                  <a:pt x="150749" y="316229"/>
                </a:lnTo>
                <a:lnTo>
                  <a:pt x="167240" y="293369"/>
                </a:lnTo>
                <a:lnTo>
                  <a:pt x="149225" y="293369"/>
                </a:lnTo>
                <a:lnTo>
                  <a:pt x="148590" y="285750"/>
                </a:lnTo>
                <a:lnTo>
                  <a:pt x="144018" y="242569"/>
                </a:lnTo>
                <a:lnTo>
                  <a:pt x="143128" y="236219"/>
                </a:lnTo>
                <a:lnTo>
                  <a:pt x="142240" y="231139"/>
                </a:lnTo>
                <a:lnTo>
                  <a:pt x="141097" y="227329"/>
                </a:lnTo>
                <a:lnTo>
                  <a:pt x="140080" y="222250"/>
                </a:lnTo>
                <a:lnTo>
                  <a:pt x="138810" y="218439"/>
                </a:lnTo>
                <a:lnTo>
                  <a:pt x="137159" y="214629"/>
                </a:lnTo>
                <a:lnTo>
                  <a:pt x="135508" y="209550"/>
                </a:lnTo>
                <a:lnTo>
                  <a:pt x="133350" y="205739"/>
                </a:lnTo>
                <a:lnTo>
                  <a:pt x="131487" y="203200"/>
                </a:lnTo>
                <a:close/>
              </a:path>
              <a:path w="319404" h="398780">
                <a:moveTo>
                  <a:pt x="189992" y="236219"/>
                </a:moveTo>
                <a:lnTo>
                  <a:pt x="149225" y="293369"/>
                </a:lnTo>
                <a:lnTo>
                  <a:pt x="167240" y="293369"/>
                </a:lnTo>
                <a:lnTo>
                  <a:pt x="202056" y="245109"/>
                </a:lnTo>
                <a:lnTo>
                  <a:pt x="189992" y="236219"/>
                </a:lnTo>
                <a:close/>
              </a:path>
              <a:path w="319404" h="398780">
                <a:moveTo>
                  <a:pt x="99877" y="185419"/>
                </a:moveTo>
                <a:lnTo>
                  <a:pt x="66675" y="207009"/>
                </a:lnTo>
                <a:lnTo>
                  <a:pt x="51816" y="241300"/>
                </a:lnTo>
                <a:lnTo>
                  <a:pt x="66675" y="251459"/>
                </a:lnTo>
                <a:lnTo>
                  <a:pt x="67182" y="251459"/>
                </a:lnTo>
                <a:lnTo>
                  <a:pt x="67564" y="243839"/>
                </a:lnTo>
                <a:lnTo>
                  <a:pt x="68706" y="237489"/>
                </a:lnTo>
                <a:lnTo>
                  <a:pt x="70866" y="231139"/>
                </a:lnTo>
                <a:lnTo>
                  <a:pt x="72898" y="224789"/>
                </a:lnTo>
                <a:lnTo>
                  <a:pt x="75565" y="219709"/>
                </a:lnTo>
                <a:lnTo>
                  <a:pt x="83184" y="209550"/>
                </a:lnTo>
                <a:lnTo>
                  <a:pt x="88392" y="205739"/>
                </a:lnTo>
                <a:lnTo>
                  <a:pt x="99822" y="203200"/>
                </a:lnTo>
                <a:lnTo>
                  <a:pt x="131487" y="203200"/>
                </a:lnTo>
                <a:lnTo>
                  <a:pt x="130555" y="201929"/>
                </a:lnTo>
                <a:lnTo>
                  <a:pt x="127889" y="199389"/>
                </a:lnTo>
                <a:lnTo>
                  <a:pt x="124459" y="195579"/>
                </a:lnTo>
                <a:lnTo>
                  <a:pt x="120523" y="193039"/>
                </a:lnTo>
                <a:lnTo>
                  <a:pt x="113784" y="189229"/>
                </a:lnTo>
                <a:lnTo>
                  <a:pt x="106902" y="186689"/>
                </a:lnTo>
                <a:lnTo>
                  <a:pt x="99877" y="185419"/>
                </a:lnTo>
                <a:close/>
              </a:path>
              <a:path w="319404" h="398780">
                <a:moveTo>
                  <a:pt x="245046" y="140969"/>
                </a:moveTo>
                <a:lnTo>
                  <a:pt x="213741" y="140969"/>
                </a:lnTo>
                <a:lnTo>
                  <a:pt x="217043" y="142239"/>
                </a:lnTo>
                <a:lnTo>
                  <a:pt x="220599" y="143509"/>
                </a:lnTo>
                <a:lnTo>
                  <a:pt x="228219" y="148589"/>
                </a:lnTo>
                <a:lnTo>
                  <a:pt x="230885" y="151129"/>
                </a:lnTo>
                <a:lnTo>
                  <a:pt x="232664" y="154939"/>
                </a:lnTo>
                <a:lnTo>
                  <a:pt x="234442" y="157479"/>
                </a:lnTo>
                <a:lnTo>
                  <a:pt x="235584" y="160019"/>
                </a:lnTo>
                <a:lnTo>
                  <a:pt x="236093" y="163829"/>
                </a:lnTo>
                <a:lnTo>
                  <a:pt x="236474" y="167639"/>
                </a:lnTo>
                <a:lnTo>
                  <a:pt x="235966" y="171450"/>
                </a:lnTo>
                <a:lnTo>
                  <a:pt x="233172" y="179069"/>
                </a:lnTo>
                <a:lnTo>
                  <a:pt x="231394" y="182879"/>
                </a:lnTo>
                <a:lnTo>
                  <a:pt x="229234" y="186689"/>
                </a:lnTo>
                <a:lnTo>
                  <a:pt x="225551" y="190500"/>
                </a:lnTo>
                <a:lnTo>
                  <a:pt x="220979" y="195579"/>
                </a:lnTo>
                <a:lnTo>
                  <a:pt x="215265" y="199389"/>
                </a:lnTo>
                <a:lnTo>
                  <a:pt x="209676" y="204469"/>
                </a:lnTo>
                <a:lnTo>
                  <a:pt x="204089" y="207009"/>
                </a:lnTo>
                <a:lnTo>
                  <a:pt x="198627" y="209550"/>
                </a:lnTo>
                <a:lnTo>
                  <a:pt x="197866" y="210819"/>
                </a:lnTo>
                <a:lnTo>
                  <a:pt x="212598" y="220979"/>
                </a:lnTo>
                <a:lnTo>
                  <a:pt x="216789" y="218439"/>
                </a:lnTo>
                <a:lnTo>
                  <a:pt x="221742" y="214629"/>
                </a:lnTo>
                <a:lnTo>
                  <a:pt x="227202" y="210819"/>
                </a:lnTo>
                <a:lnTo>
                  <a:pt x="232664" y="205739"/>
                </a:lnTo>
                <a:lnTo>
                  <a:pt x="237490" y="200659"/>
                </a:lnTo>
                <a:lnTo>
                  <a:pt x="241680" y="194309"/>
                </a:lnTo>
                <a:lnTo>
                  <a:pt x="245745" y="189229"/>
                </a:lnTo>
                <a:lnTo>
                  <a:pt x="248793" y="182879"/>
                </a:lnTo>
                <a:lnTo>
                  <a:pt x="250571" y="177800"/>
                </a:lnTo>
                <a:lnTo>
                  <a:pt x="252475" y="171450"/>
                </a:lnTo>
                <a:lnTo>
                  <a:pt x="252983" y="165100"/>
                </a:lnTo>
                <a:lnTo>
                  <a:pt x="252222" y="160019"/>
                </a:lnTo>
                <a:lnTo>
                  <a:pt x="251586" y="153669"/>
                </a:lnTo>
                <a:lnTo>
                  <a:pt x="249808" y="149859"/>
                </a:lnTo>
                <a:lnTo>
                  <a:pt x="247142" y="144779"/>
                </a:lnTo>
                <a:lnTo>
                  <a:pt x="245046" y="140969"/>
                </a:lnTo>
                <a:close/>
              </a:path>
              <a:path w="319404" h="398780">
                <a:moveTo>
                  <a:pt x="193293" y="110489"/>
                </a:moveTo>
                <a:lnTo>
                  <a:pt x="169291" y="110489"/>
                </a:lnTo>
                <a:lnTo>
                  <a:pt x="171957" y="111759"/>
                </a:lnTo>
                <a:lnTo>
                  <a:pt x="174498" y="113029"/>
                </a:lnTo>
                <a:lnTo>
                  <a:pt x="180213" y="118109"/>
                </a:lnTo>
                <a:lnTo>
                  <a:pt x="183133" y="123189"/>
                </a:lnTo>
                <a:lnTo>
                  <a:pt x="182879" y="135889"/>
                </a:lnTo>
                <a:lnTo>
                  <a:pt x="180340" y="142239"/>
                </a:lnTo>
                <a:lnTo>
                  <a:pt x="175132" y="149859"/>
                </a:lnTo>
                <a:lnTo>
                  <a:pt x="171576" y="154939"/>
                </a:lnTo>
                <a:lnTo>
                  <a:pt x="183260" y="162559"/>
                </a:lnTo>
                <a:lnTo>
                  <a:pt x="190373" y="153669"/>
                </a:lnTo>
                <a:lnTo>
                  <a:pt x="193040" y="149859"/>
                </a:lnTo>
                <a:lnTo>
                  <a:pt x="198500" y="144779"/>
                </a:lnTo>
                <a:lnTo>
                  <a:pt x="201295" y="143509"/>
                </a:lnTo>
                <a:lnTo>
                  <a:pt x="204216" y="142239"/>
                </a:lnTo>
                <a:lnTo>
                  <a:pt x="207264" y="140969"/>
                </a:lnTo>
                <a:lnTo>
                  <a:pt x="245046" y="140969"/>
                </a:lnTo>
                <a:lnTo>
                  <a:pt x="244348" y="139700"/>
                </a:lnTo>
                <a:lnTo>
                  <a:pt x="241807" y="137159"/>
                </a:lnTo>
                <a:lnTo>
                  <a:pt x="192913" y="137159"/>
                </a:lnTo>
                <a:lnTo>
                  <a:pt x="191897" y="135889"/>
                </a:lnTo>
                <a:lnTo>
                  <a:pt x="194818" y="129539"/>
                </a:lnTo>
                <a:lnTo>
                  <a:pt x="195579" y="121919"/>
                </a:lnTo>
                <a:lnTo>
                  <a:pt x="193293" y="110489"/>
                </a:lnTo>
                <a:close/>
              </a:path>
              <a:path w="319404" h="398780">
                <a:moveTo>
                  <a:pt x="165734" y="91439"/>
                </a:moveTo>
                <a:lnTo>
                  <a:pt x="133096" y="114300"/>
                </a:lnTo>
                <a:lnTo>
                  <a:pt x="118491" y="148589"/>
                </a:lnTo>
                <a:lnTo>
                  <a:pt x="133223" y="158750"/>
                </a:lnTo>
                <a:lnTo>
                  <a:pt x="133730" y="158750"/>
                </a:lnTo>
                <a:lnTo>
                  <a:pt x="133984" y="152400"/>
                </a:lnTo>
                <a:lnTo>
                  <a:pt x="135254" y="146050"/>
                </a:lnTo>
                <a:lnTo>
                  <a:pt x="155955" y="113029"/>
                </a:lnTo>
                <a:lnTo>
                  <a:pt x="161290" y="110489"/>
                </a:lnTo>
                <a:lnTo>
                  <a:pt x="193293" y="110489"/>
                </a:lnTo>
                <a:lnTo>
                  <a:pt x="192785" y="107950"/>
                </a:lnTo>
                <a:lnTo>
                  <a:pt x="189229" y="101600"/>
                </a:lnTo>
                <a:lnTo>
                  <a:pt x="183388" y="97789"/>
                </a:lnTo>
                <a:lnTo>
                  <a:pt x="174751" y="92709"/>
                </a:lnTo>
                <a:lnTo>
                  <a:pt x="170179" y="92709"/>
                </a:lnTo>
                <a:lnTo>
                  <a:pt x="165734" y="91439"/>
                </a:lnTo>
                <a:close/>
              </a:path>
              <a:path w="319404" h="398780">
                <a:moveTo>
                  <a:pt x="218185" y="125729"/>
                </a:moveTo>
                <a:lnTo>
                  <a:pt x="210693" y="125729"/>
                </a:lnTo>
                <a:lnTo>
                  <a:pt x="207391" y="127000"/>
                </a:lnTo>
                <a:lnTo>
                  <a:pt x="204216" y="128269"/>
                </a:lnTo>
                <a:lnTo>
                  <a:pt x="197611" y="132079"/>
                </a:lnTo>
                <a:lnTo>
                  <a:pt x="194945" y="134619"/>
                </a:lnTo>
                <a:lnTo>
                  <a:pt x="192913" y="137159"/>
                </a:lnTo>
                <a:lnTo>
                  <a:pt x="241807" y="137159"/>
                </a:lnTo>
                <a:lnTo>
                  <a:pt x="240538" y="135889"/>
                </a:lnTo>
                <a:lnTo>
                  <a:pt x="235839" y="132079"/>
                </a:lnTo>
                <a:lnTo>
                  <a:pt x="230885" y="129539"/>
                </a:lnTo>
                <a:lnTo>
                  <a:pt x="226441" y="127000"/>
                </a:lnTo>
                <a:lnTo>
                  <a:pt x="218185" y="125729"/>
                </a:lnTo>
                <a:close/>
              </a:path>
              <a:path w="319404" h="398780">
                <a:moveTo>
                  <a:pt x="310959" y="49529"/>
                </a:moveTo>
                <a:lnTo>
                  <a:pt x="279653" y="49529"/>
                </a:lnTo>
                <a:lnTo>
                  <a:pt x="282955" y="50800"/>
                </a:lnTo>
                <a:lnTo>
                  <a:pt x="286511" y="52069"/>
                </a:lnTo>
                <a:lnTo>
                  <a:pt x="294131" y="57150"/>
                </a:lnTo>
                <a:lnTo>
                  <a:pt x="296799" y="59689"/>
                </a:lnTo>
                <a:lnTo>
                  <a:pt x="298576" y="63500"/>
                </a:lnTo>
                <a:lnTo>
                  <a:pt x="300354" y="66039"/>
                </a:lnTo>
                <a:lnTo>
                  <a:pt x="301498" y="68579"/>
                </a:lnTo>
                <a:lnTo>
                  <a:pt x="302005" y="72389"/>
                </a:lnTo>
                <a:lnTo>
                  <a:pt x="302386" y="76200"/>
                </a:lnTo>
                <a:lnTo>
                  <a:pt x="301878" y="80009"/>
                </a:lnTo>
                <a:lnTo>
                  <a:pt x="299084" y="87629"/>
                </a:lnTo>
                <a:lnTo>
                  <a:pt x="297306" y="91439"/>
                </a:lnTo>
                <a:lnTo>
                  <a:pt x="295148" y="93979"/>
                </a:lnTo>
                <a:lnTo>
                  <a:pt x="291465" y="99059"/>
                </a:lnTo>
                <a:lnTo>
                  <a:pt x="286893" y="104139"/>
                </a:lnTo>
                <a:lnTo>
                  <a:pt x="281177" y="107950"/>
                </a:lnTo>
                <a:lnTo>
                  <a:pt x="275590" y="113029"/>
                </a:lnTo>
                <a:lnTo>
                  <a:pt x="270001" y="115569"/>
                </a:lnTo>
                <a:lnTo>
                  <a:pt x="264541" y="118109"/>
                </a:lnTo>
                <a:lnTo>
                  <a:pt x="263778" y="119379"/>
                </a:lnTo>
                <a:lnTo>
                  <a:pt x="278510" y="129539"/>
                </a:lnTo>
                <a:lnTo>
                  <a:pt x="282701" y="127000"/>
                </a:lnTo>
                <a:lnTo>
                  <a:pt x="287654" y="123189"/>
                </a:lnTo>
                <a:lnTo>
                  <a:pt x="293116" y="119379"/>
                </a:lnTo>
                <a:lnTo>
                  <a:pt x="298576" y="114300"/>
                </a:lnTo>
                <a:lnTo>
                  <a:pt x="303402" y="109219"/>
                </a:lnTo>
                <a:lnTo>
                  <a:pt x="307594" y="102869"/>
                </a:lnTo>
                <a:lnTo>
                  <a:pt x="311657" y="97789"/>
                </a:lnTo>
                <a:lnTo>
                  <a:pt x="314705" y="91439"/>
                </a:lnTo>
                <a:lnTo>
                  <a:pt x="316483" y="86359"/>
                </a:lnTo>
                <a:lnTo>
                  <a:pt x="318389" y="80009"/>
                </a:lnTo>
                <a:lnTo>
                  <a:pt x="318897" y="73659"/>
                </a:lnTo>
                <a:lnTo>
                  <a:pt x="318261" y="67309"/>
                </a:lnTo>
                <a:lnTo>
                  <a:pt x="317500" y="62229"/>
                </a:lnTo>
                <a:lnTo>
                  <a:pt x="315849" y="57150"/>
                </a:lnTo>
                <a:lnTo>
                  <a:pt x="313054" y="53339"/>
                </a:lnTo>
                <a:lnTo>
                  <a:pt x="310959" y="49529"/>
                </a:lnTo>
                <a:close/>
              </a:path>
              <a:path w="319404" h="398780">
                <a:moveTo>
                  <a:pt x="258952" y="17779"/>
                </a:moveTo>
                <a:lnTo>
                  <a:pt x="229870" y="17779"/>
                </a:lnTo>
                <a:lnTo>
                  <a:pt x="232536" y="19050"/>
                </a:lnTo>
                <a:lnTo>
                  <a:pt x="235203" y="19050"/>
                </a:lnTo>
                <a:lnTo>
                  <a:pt x="237871" y="20319"/>
                </a:lnTo>
                <a:lnTo>
                  <a:pt x="240410" y="21589"/>
                </a:lnTo>
                <a:lnTo>
                  <a:pt x="246125" y="25400"/>
                </a:lnTo>
                <a:lnTo>
                  <a:pt x="249047" y="31750"/>
                </a:lnTo>
                <a:lnTo>
                  <a:pt x="248793" y="44450"/>
                </a:lnTo>
                <a:lnTo>
                  <a:pt x="246252" y="50800"/>
                </a:lnTo>
                <a:lnTo>
                  <a:pt x="237490" y="63500"/>
                </a:lnTo>
                <a:lnTo>
                  <a:pt x="249174" y="71119"/>
                </a:lnTo>
                <a:lnTo>
                  <a:pt x="253873" y="64769"/>
                </a:lnTo>
                <a:lnTo>
                  <a:pt x="256285" y="62229"/>
                </a:lnTo>
                <a:lnTo>
                  <a:pt x="258952" y="58419"/>
                </a:lnTo>
                <a:lnTo>
                  <a:pt x="261620" y="55879"/>
                </a:lnTo>
                <a:lnTo>
                  <a:pt x="264414" y="53339"/>
                </a:lnTo>
                <a:lnTo>
                  <a:pt x="267207" y="52069"/>
                </a:lnTo>
                <a:lnTo>
                  <a:pt x="270255" y="50800"/>
                </a:lnTo>
                <a:lnTo>
                  <a:pt x="273176" y="49529"/>
                </a:lnTo>
                <a:lnTo>
                  <a:pt x="310959" y="49529"/>
                </a:lnTo>
                <a:lnTo>
                  <a:pt x="310260" y="48259"/>
                </a:lnTo>
                <a:lnTo>
                  <a:pt x="306577" y="44450"/>
                </a:lnTo>
                <a:lnTo>
                  <a:pt x="257809" y="44450"/>
                </a:lnTo>
                <a:lnTo>
                  <a:pt x="260730" y="38100"/>
                </a:lnTo>
                <a:lnTo>
                  <a:pt x="261493" y="30479"/>
                </a:lnTo>
                <a:lnTo>
                  <a:pt x="258952" y="17779"/>
                </a:lnTo>
                <a:close/>
              </a:path>
              <a:path w="319404" h="398780">
                <a:moveTo>
                  <a:pt x="231648" y="0"/>
                </a:moveTo>
                <a:lnTo>
                  <a:pt x="227075" y="1269"/>
                </a:lnTo>
                <a:lnTo>
                  <a:pt x="218058" y="5079"/>
                </a:lnTo>
                <a:lnTo>
                  <a:pt x="213995" y="6350"/>
                </a:lnTo>
                <a:lnTo>
                  <a:pt x="206501" y="13969"/>
                </a:lnTo>
                <a:lnTo>
                  <a:pt x="202819" y="17779"/>
                </a:lnTo>
                <a:lnTo>
                  <a:pt x="199135" y="22859"/>
                </a:lnTo>
                <a:lnTo>
                  <a:pt x="195325" y="27939"/>
                </a:lnTo>
                <a:lnTo>
                  <a:pt x="192150" y="34289"/>
                </a:lnTo>
                <a:lnTo>
                  <a:pt x="186817" y="46989"/>
                </a:lnTo>
                <a:lnTo>
                  <a:pt x="185166" y="52069"/>
                </a:lnTo>
                <a:lnTo>
                  <a:pt x="184403" y="57150"/>
                </a:lnTo>
                <a:lnTo>
                  <a:pt x="199135" y="67309"/>
                </a:lnTo>
                <a:lnTo>
                  <a:pt x="199644" y="67309"/>
                </a:lnTo>
                <a:lnTo>
                  <a:pt x="200025" y="60959"/>
                </a:lnTo>
                <a:lnTo>
                  <a:pt x="201168" y="54609"/>
                </a:lnTo>
                <a:lnTo>
                  <a:pt x="221996" y="21589"/>
                </a:lnTo>
                <a:lnTo>
                  <a:pt x="224663" y="20319"/>
                </a:lnTo>
                <a:lnTo>
                  <a:pt x="227202" y="19050"/>
                </a:lnTo>
                <a:lnTo>
                  <a:pt x="229870" y="17779"/>
                </a:lnTo>
                <a:lnTo>
                  <a:pt x="258952" y="17779"/>
                </a:lnTo>
                <a:lnTo>
                  <a:pt x="258699" y="16509"/>
                </a:lnTo>
                <a:lnTo>
                  <a:pt x="255143" y="10159"/>
                </a:lnTo>
                <a:lnTo>
                  <a:pt x="249300" y="6350"/>
                </a:lnTo>
                <a:lnTo>
                  <a:pt x="240665" y="1269"/>
                </a:lnTo>
                <a:lnTo>
                  <a:pt x="236220" y="1269"/>
                </a:lnTo>
                <a:lnTo>
                  <a:pt x="231648" y="0"/>
                </a:lnTo>
                <a:close/>
              </a:path>
              <a:path w="319404" h="398780">
                <a:moveTo>
                  <a:pt x="284099" y="34289"/>
                </a:moveTo>
                <a:lnTo>
                  <a:pt x="276605" y="34289"/>
                </a:lnTo>
                <a:lnTo>
                  <a:pt x="273430" y="35559"/>
                </a:lnTo>
                <a:lnTo>
                  <a:pt x="270128" y="36829"/>
                </a:lnTo>
                <a:lnTo>
                  <a:pt x="266826" y="39369"/>
                </a:lnTo>
                <a:lnTo>
                  <a:pt x="263525" y="40639"/>
                </a:lnTo>
                <a:lnTo>
                  <a:pt x="260857" y="43179"/>
                </a:lnTo>
                <a:lnTo>
                  <a:pt x="258825" y="44450"/>
                </a:lnTo>
                <a:lnTo>
                  <a:pt x="306577" y="44450"/>
                </a:lnTo>
                <a:lnTo>
                  <a:pt x="301751" y="40639"/>
                </a:lnTo>
                <a:lnTo>
                  <a:pt x="296799" y="36829"/>
                </a:lnTo>
                <a:lnTo>
                  <a:pt x="292353" y="35559"/>
                </a:lnTo>
                <a:lnTo>
                  <a:pt x="284099" y="34289"/>
                </a:lnTo>
                <a:close/>
              </a:path>
            </a:pathLst>
          </a:custGeom>
          <a:solidFill>
            <a:srgbClr val="2B133C"/>
          </a:solidFill>
        </p:spPr>
        <p:txBody>
          <a:bodyPr wrap="square" lIns="0" tIns="0" rIns="0" bIns="0" rtlCol="0"/>
          <a:lstStyle/>
          <a:p>
            <a:endParaRPr/>
          </a:p>
        </p:txBody>
      </p:sp>
      <p:sp>
        <p:nvSpPr>
          <p:cNvPr id="61" name="object 61"/>
          <p:cNvSpPr/>
          <p:nvPr/>
        </p:nvSpPr>
        <p:spPr>
          <a:xfrm>
            <a:off x="8614029" y="2101850"/>
            <a:ext cx="166370" cy="196215"/>
          </a:xfrm>
          <a:custGeom>
            <a:avLst/>
            <a:gdLst/>
            <a:ahLst/>
            <a:cxnLst/>
            <a:rect l="l" t="t" r="r" b="b"/>
            <a:pathLst>
              <a:path w="166370" h="196214">
                <a:moveTo>
                  <a:pt x="86232" y="0"/>
                </a:moveTo>
                <a:lnTo>
                  <a:pt x="0" y="195961"/>
                </a:lnTo>
                <a:lnTo>
                  <a:pt x="165989" y="152019"/>
                </a:lnTo>
                <a:lnTo>
                  <a:pt x="86232" y="0"/>
                </a:lnTo>
                <a:close/>
              </a:path>
            </a:pathLst>
          </a:custGeom>
          <a:solidFill>
            <a:srgbClr val="FFFFFF"/>
          </a:solidFill>
        </p:spPr>
        <p:txBody>
          <a:bodyPr wrap="square" lIns="0" tIns="0" rIns="0" bIns="0" rtlCol="0"/>
          <a:lstStyle/>
          <a:p>
            <a:endParaRPr/>
          </a:p>
        </p:txBody>
      </p:sp>
      <p:sp>
        <p:nvSpPr>
          <p:cNvPr id="62" name="object 62"/>
          <p:cNvSpPr/>
          <p:nvPr/>
        </p:nvSpPr>
        <p:spPr>
          <a:xfrm>
            <a:off x="7253096" y="2112772"/>
            <a:ext cx="168910" cy="190500"/>
          </a:xfrm>
          <a:custGeom>
            <a:avLst/>
            <a:gdLst/>
            <a:ahLst/>
            <a:cxnLst/>
            <a:rect l="l" t="t" r="r" b="b"/>
            <a:pathLst>
              <a:path w="168909" h="190500">
                <a:moveTo>
                  <a:pt x="69596" y="0"/>
                </a:moveTo>
                <a:lnTo>
                  <a:pt x="0" y="156972"/>
                </a:lnTo>
                <a:lnTo>
                  <a:pt x="168528" y="189991"/>
                </a:lnTo>
                <a:lnTo>
                  <a:pt x="69596" y="0"/>
                </a:lnTo>
                <a:close/>
              </a:path>
            </a:pathLst>
          </a:custGeom>
          <a:solidFill>
            <a:srgbClr val="FFFFFF"/>
          </a:solidFill>
        </p:spPr>
        <p:txBody>
          <a:bodyPr wrap="square" lIns="0" tIns="0" rIns="0" bIns="0" rtlCol="0"/>
          <a:lstStyle/>
          <a:p>
            <a:endParaRPr/>
          </a:p>
        </p:txBody>
      </p:sp>
      <p:sp>
        <p:nvSpPr>
          <p:cNvPr id="63" name="object 63"/>
          <p:cNvSpPr/>
          <p:nvPr/>
        </p:nvSpPr>
        <p:spPr>
          <a:xfrm>
            <a:off x="7301738" y="1433194"/>
            <a:ext cx="100330" cy="124460"/>
          </a:xfrm>
          <a:custGeom>
            <a:avLst/>
            <a:gdLst/>
            <a:ahLst/>
            <a:cxnLst/>
            <a:rect l="l" t="t" r="r" b="b"/>
            <a:pathLst>
              <a:path w="100329" h="124459">
                <a:moveTo>
                  <a:pt x="66928" y="0"/>
                </a:moveTo>
                <a:lnTo>
                  <a:pt x="57022" y="762"/>
                </a:lnTo>
                <a:lnTo>
                  <a:pt x="51180" y="2158"/>
                </a:lnTo>
                <a:lnTo>
                  <a:pt x="0" y="19557"/>
                </a:lnTo>
                <a:lnTo>
                  <a:pt x="35559" y="124459"/>
                </a:lnTo>
                <a:lnTo>
                  <a:pt x="62610" y="115315"/>
                </a:lnTo>
                <a:lnTo>
                  <a:pt x="51053" y="81152"/>
                </a:lnTo>
                <a:lnTo>
                  <a:pt x="75564" y="72770"/>
                </a:lnTo>
                <a:lnTo>
                  <a:pt x="81533" y="69595"/>
                </a:lnTo>
                <a:lnTo>
                  <a:pt x="85978" y="65658"/>
                </a:lnTo>
                <a:lnTo>
                  <a:pt x="90423" y="61849"/>
                </a:lnTo>
                <a:lnTo>
                  <a:pt x="90808" y="61340"/>
                </a:lnTo>
                <a:lnTo>
                  <a:pt x="44322" y="61340"/>
                </a:lnTo>
                <a:lnTo>
                  <a:pt x="33654" y="29971"/>
                </a:lnTo>
                <a:lnTo>
                  <a:pt x="42798" y="26796"/>
                </a:lnTo>
                <a:lnTo>
                  <a:pt x="46354" y="25653"/>
                </a:lnTo>
                <a:lnTo>
                  <a:pt x="49148" y="24891"/>
                </a:lnTo>
                <a:lnTo>
                  <a:pt x="51815" y="24129"/>
                </a:lnTo>
                <a:lnTo>
                  <a:pt x="54736" y="23749"/>
                </a:lnTo>
                <a:lnTo>
                  <a:pt x="97968" y="23749"/>
                </a:lnTo>
                <a:lnTo>
                  <a:pt x="95757" y="17144"/>
                </a:lnTo>
                <a:lnTo>
                  <a:pt x="75818" y="1524"/>
                </a:lnTo>
                <a:lnTo>
                  <a:pt x="71627" y="380"/>
                </a:lnTo>
                <a:lnTo>
                  <a:pt x="66928" y="0"/>
                </a:lnTo>
                <a:close/>
              </a:path>
              <a:path w="100329" h="124459">
                <a:moveTo>
                  <a:pt x="97968" y="23749"/>
                </a:moveTo>
                <a:lnTo>
                  <a:pt x="54736" y="23749"/>
                </a:lnTo>
                <a:lnTo>
                  <a:pt x="57911" y="24002"/>
                </a:lnTo>
                <a:lnTo>
                  <a:pt x="60325" y="24129"/>
                </a:lnTo>
                <a:lnTo>
                  <a:pt x="62737" y="24891"/>
                </a:lnTo>
                <a:lnTo>
                  <a:pt x="65023" y="26542"/>
                </a:lnTo>
                <a:lnTo>
                  <a:pt x="67436" y="28066"/>
                </a:lnTo>
                <a:lnTo>
                  <a:pt x="69087" y="30352"/>
                </a:lnTo>
                <a:lnTo>
                  <a:pt x="69976" y="33400"/>
                </a:lnTo>
                <a:lnTo>
                  <a:pt x="70992" y="36321"/>
                </a:lnTo>
                <a:lnTo>
                  <a:pt x="71500" y="38988"/>
                </a:lnTo>
                <a:lnTo>
                  <a:pt x="71416" y="42925"/>
                </a:lnTo>
                <a:lnTo>
                  <a:pt x="71373" y="43687"/>
                </a:lnTo>
                <a:lnTo>
                  <a:pt x="70738" y="45974"/>
                </a:lnTo>
                <a:lnTo>
                  <a:pt x="69468" y="48005"/>
                </a:lnTo>
                <a:lnTo>
                  <a:pt x="68071" y="50418"/>
                </a:lnTo>
                <a:lnTo>
                  <a:pt x="52069" y="58674"/>
                </a:lnTo>
                <a:lnTo>
                  <a:pt x="44322" y="61340"/>
                </a:lnTo>
                <a:lnTo>
                  <a:pt x="90808" y="61340"/>
                </a:lnTo>
                <a:lnTo>
                  <a:pt x="93979" y="57150"/>
                </a:lnTo>
                <a:lnTo>
                  <a:pt x="98805" y="47497"/>
                </a:lnTo>
                <a:lnTo>
                  <a:pt x="99948" y="42925"/>
                </a:lnTo>
                <a:lnTo>
                  <a:pt x="100047" y="38988"/>
                </a:lnTo>
                <a:lnTo>
                  <a:pt x="100075" y="32765"/>
                </a:lnTo>
                <a:lnTo>
                  <a:pt x="99440" y="27939"/>
                </a:lnTo>
                <a:lnTo>
                  <a:pt x="97968" y="23749"/>
                </a:lnTo>
                <a:close/>
              </a:path>
            </a:pathLst>
          </a:custGeom>
          <a:solidFill>
            <a:srgbClr val="000000"/>
          </a:solidFill>
        </p:spPr>
        <p:txBody>
          <a:bodyPr wrap="square" lIns="0" tIns="0" rIns="0" bIns="0" rtlCol="0"/>
          <a:lstStyle/>
          <a:p>
            <a:endParaRPr/>
          </a:p>
        </p:txBody>
      </p:sp>
      <p:sp>
        <p:nvSpPr>
          <p:cNvPr id="64" name="object 64"/>
          <p:cNvSpPr/>
          <p:nvPr/>
        </p:nvSpPr>
        <p:spPr>
          <a:xfrm>
            <a:off x="7414259" y="1401699"/>
            <a:ext cx="130175" cy="122555"/>
          </a:xfrm>
          <a:custGeom>
            <a:avLst/>
            <a:gdLst/>
            <a:ahLst/>
            <a:cxnLst/>
            <a:rect l="l" t="t" r="r" b="b"/>
            <a:pathLst>
              <a:path w="130175" h="122555">
                <a:moveTo>
                  <a:pt x="68072" y="0"/>
                </a:moveTo>
                <a:lnTo>
                  <a:pt x="58547" y="762"/>
                </a:lnTo>
                <a:lnTo>
                  <a:pt x="52959" y="1650"/>
                </a:lnTo>
                <a:lnTo>
                  <a:pt x="46609" y="3301"/>
                </a:lnTo>
                <a:lnTo>
                  <a:pt x="0" y="14604"/>
                </a:lnTo>
                <a:lnTo>
                  <a:pt x="26162" y="122174"/>
                </a:lnTo>
                <a:lnTo>
                  <a:pt x="53721" y="115570"/>
                </a:lnTo>
                <a:lnTo>
                  <a:pt x="44196" y="76073"/>
                </a:lnTo>
                <a:lnTo>
                  <a:pt x="57023" y="72898"/>
                </a:lnTo>
                <a:lnTo>
                  <a:pt x="99287" y="72898"/>
                </a:lnTo>
                <a:lnTo>
                  <a:pt x="82676" y="59689"/>
                </a:lnTo>
                <a:lnTo>
                  <a:pt x="86428" y="56641"/>
                </a:lnTo>
                <a:lnTo>
                  <a:pt x="39497" y="56641"/>
                </a:lnTo>
                <a:lnTo>
                  <a:pt x="32385" y="27686"/>
                </a:lnTo>
                <a:lnTo>
                  <a:pt x="42545" y="25273"/>
                </a:lnTo>
                <a:lnTo>
                  <a:pt x="45847" y="24384"/>
                </a:lnTo>
                <a:lnTo>
                  <a:pt x="48768" y="23749"/>
                </a:lnTo>
                <a:lnTo>
                  <a:pt x="51308" y="23367"/>
                </a:lnTo>
                <a:lnTo>
                  <a:pt x="53848" y="22860"/>
                </a:lnTo>
                <a:lnTo>
                  <a:pt x="96356" y="22860"/>
                </a:lnTo>
                <a:lnTo>
                  <a:pt x="94869" y="16763"/>
                </a:lnTo>
                <a:lnTo>
                  <a:pt x="92456" y="12191"/>
                </a:lnTo>
                <a:lnTo>
                  <a:pt x="89154" y="9016"/>
                </a:lnTo>
                <a:lnTo>
                  <a:pt x="85851" y="5714"/>
                </a:lnTo>
                <a:lnTo>
                  <a:pt x="81915" y="3428"/>
                </a:lnTo>
                <a:lnTo>
                  <a:pt x="77216" y="1904"/>
                </a:lnTo>
                <a:lnTo>
                  <a:pt x="72644" y="508"/>
                </a:lnTo>
                <a:lnTo>
                  <a:pt x="68072" y="0"/>
                </a:lnTo>
                <a:close/>
              </a:path>
              <a:path w="130175" h="122555">
                <a:moveTo>
                  <a:pt x="99287" y="72898"/>
                </a:moveTo>
                <a:lnTo>
                  <a:pt x="57023" y="72898"/>
                </a:lnTo>
                <a:lnTo>
                  <a:pt x="95885" y="105283"/>
                </a:lnTo>
                <a:lnTo>
                  <a:pt x="129794" y="97154"/>
                </a:lnTo>
                <a:lnTo>
                  <a:pt x="99287" y="72898"/>
                </a:lnTo>
                <a:close/>
              </a:path>
              <a:path w="130175" h="122555">
                <a:moveTo>
                  <a:pt x="96356" y="22860"/>
                </a:moveTo>
                <a:lnTo>
                  <a:pt x="56134" y="22860"/>
                </a:lnTo>
                <a:lnTo>
                  <a:pt x="58166" y="23113"/>
                </a:lnTo>
                <a:lnTo>
                  <a:pt x="61214" y="23622"/>
                </a:lnTo>
                <a:lnTo>
                  <a:pt x="69215" y="38480"/>
                </a:lnTo>
                <a:lnTo>
                  <a:pt x="68834" y="40512"/>
                </a:lnTo>
                <a:lnTo>
                  <a:pt x="39497" y="56641"/>
                </a:lnTo>
                <a:lnTo>
                  <a:pt x="86428" y="56641"/>
                </a:lnTo>
                <a:lnTo>
                  <a:pt x="98110" y="30225"/>
                </a:lnTo>
                <a:lnTo>
                  <a:pt x="96356" y="22860"/>
                </a:lnTo>
                <a:close/>
              </a:path>
            </a:pathLst>
          </a:custGeom>
          <a:solidFill>
            <a:srgbClr val="000000"/>
          </a:solidFill>
        </p:spPr>
        <p:txBody>
          <a:bodyPr wrap="square" lIns="0" tIns="0" rIns="0" bIns="0" rtlCol="0"/>
          <a:lstStyle/>
          <a:p>
            <a:endParaRPr/>
          </a:p>
        </p:txBody>
      </p:sp>
      <p:sp>
        <p:nvSpPr>
          <p:cNvPr id="65" name="object 65"/>
          <p:cNvSpPr/>
          <p:nvPr/>
        </p:nvSpPr>
        <p:spPr>
          <a:xfrm>
            <a:off x="7541768" y="1377822"/>
            <a:ext cx="113030" cy="121920"/>
          </a:xfrm>
          <a:custGeom>
            <a:avLst/>
            <a:gdLst/>
            <a:ahLst/>
            <a:cxnLst/>
            <a:rect l="l" t="t" r="r" b="b"/>
            <a:pathLst>
              <a:path w="113029" h="121919">
                <a:moveTo>
                  <a:pt x="53975" y="0"/>
                </a:moveTo>
                <a:lnTo>
                  <a:pt x="21589" y="5587"/>
                </a:lnTo>
                <a:lnTo>
                  <a:pt x="0" y="121665"/>
                </a:lnTo>
                <a:lnTo>
                  <a:pt x="28321" y="116839"/>
                </a:lnTo>
                <a:lnTo>
                  <a:pt x="32130" y="93472"/>
                </a:lnTo>
                <a:lnTo>
                  <a:pt x="72516" y="86487"/>
                </a:lnTo>
                <a:lnTo>
                  <a:pt x="103933" y="86487"/>
                </a:lnTo>
                <a:lnTo>
                  <a:pt x="95716" y="72262"/>
                </a:lnTo>
                <a:lnTo>
                  <a:pt x="35432" y="72262"/>
                </a:lnTo>
                <a:lnTo>
                  <a:pt x="42163" y="30861"/>
                </a:lnTo>
                <a:lnTo>
                  <a:pt x="71801" y="30861"/>
                </a:lnTo>
                <a:lnTo>
                  <a:pt x="53975" y="0"/>
                </a:lnTo>
                <a:close/>
              </a:path>
              <a:path w="113029" h="121919">
                <a:moveTo>
                  <a:pt x="103933" y="86487"/>
                </a:moveTo>
                <a:lnTo>
                  <a:pt x="72516" y="86487"/>
                </a:lnTo>
                <a:lnTo>
                  <a:pt x="83947" y="107314"/>
                </a:lnTo>
                <a:lnTo>
                  <a:pt x="113029" y="102235"/>
                </a:lnTo>
                <a:lnTo>
                  <a:pt x="103933" y="86487"/>
                </a:lnTo>
                <a:close/>
              </a:path>
              <a:path w="113029" h="121919">
                <a:moveTo>
                  <a:pt x="71801" y="30861"/>
                </a:moveTo>
                <a:lnTo>
                  <a:pt x="42163" y="30861"/>
                </a:lnTo>
                <a:lnTo>
                  <a:pt x="62356" y="67690"/>
                </a:lnTo>
                <a:lnTo>
                  <a:pt x="35432" y="72262"/>
                </a:lnTo>
                <a:lnTo>
                  <a:pt x="95716" y="72262"/>
                </a:lnTo>
                <a:lnTo>
                  <a:pt x="71801" y="30861"/>
                </a:lnTo>
                <a:close/>
              </a:path>
            </a:pathLst>
          </a:custGeom>
          <a:solidFill>
            <a:srgbClr val="000000"/>
          </a:solidFill>
        </p:spPr>
        <p:txBody>
          <a:bodyPr wrap="square" lIns="0" tIns="0" rIns="0" bIns="0" rtlCol="0"/>
          <a:lstStyle/>
          <a:p>
            <a:endParaRPr/>
          </a:p>
        </p:txBody>
      </p:sp>
      <p:sp>
        <p:nvSpPr>
          <p:cNvPr id="66" name="object 66"/>
          <p:cNvSpPr/>
          <p:nvPr/>
        </p:nvSpPr>
        <p:spPr>
          <a:xfrm>
            <a:off x="7655432" y="1359661"/>
            <a:ext cx="102235" cy="116205"/>
          </a:xfrm>
          <a:custGeom>
            <a:avLst/>
            <a:gdLst/>
            <a:ahLst/>
            <a:cxnLst/>
            <a:rect l="l" t="t" r="r" b="b"/>
            <a:pathLst>
              <a:path w="102234" h="116205">
                <a:moveTo>
                  <a:pt x="59309" y="0"/>
                </a:moveTo>
                <a:lnTo>
                  <a:pt x="27813" y="7492"/>
                </a:lnTo>
                <a:lnTo>
                  <a:pt x="21082" y="10922"/>
                </a:lnTo>
                <a:lnTo>
                  <a:pt x="15621" y="15366"/>
                </a:lnTo>
                <a:lnTo>
                  <a:pt x="11133" y="21209"/>
                </a:lnTo>
                <a:lnTo>
                  <a:pt x="6985" y="26542"/>
                </a:lnTo>
                <a:lnTo>
                  <a:pt x="3937" y="33020"/>
                </a:lnTo>
                <a:lnTo>
                  <a:pt x="2159" y="40512"/>
                </a:lnTo>
                <a:lnTo>
                  <a:pt x="381" y="47878"/>
                </a:lnTo>
                <a:lnTo>
                  <a:pt x="11557" y="95758"/>
                </a:lnTo>
                <a:lnTo>
                  <a:pt x="21717" y="105410"/>
                </a:lnTo>
                <a:lnTo>
                  <a:pt x="27177" y="109600"/>
                </a:lnTo>
                <a:lnTo>
                  <a:pt x="33527" y="112522"/>
                </a:lnTo>
                <a:lnTo>
                  <a:pt x="40767" y="114173"/>
                </a:lnTo>
                <a:lnTo>
                  <a:pt x="48006" y="115697"/>
                </a:lnTo>
                <a:lnTo>
                  <a:pt x="55625" y="116077"/>
                </a:lnTo>
                <a:lnTo>
                  <a:pt x="69342" y="114426"/>
                </a:lnTo>
                <a:lnTo>
                  <a:pt x="73660" y="113664"/>
                </a:lnTo>
                <a:lnTo>
                  <a:pt x="76708" y="112775"/>
                </a:lnTo>
                <a:lnTo>
                  <a:pt x="79883" y="111887"/>
                </a:lnTo>
                <a:lnTo>
                  <a:pt x="99060" y="102615"/>
                </a:lnTo>
                <a:lnTo>
                  <a:pt x="101726" y="101091"/>
                </a:lnTo>
                <a:lnTo>
                  <a:pt x="100837" y="93725"/>
                </a:lnTo>
                <a:lnTo>
                  <a:pt x="62357" y="93725"/>
                </a:lnTo>
                <a:lnTo>
                  <a:pt x="58674" y="93599"/>
                </a:lnTo>
                <a:lnTo>
                  <a:pt x="30480" y="61213"/>
                </a:lnTo>
                <a:lnTo>
                  <a:pt x="29718" y="54610"/>
                </a:lnTo>
                <a:lnTo>
                  <a:pt x="53340" y="21971"/>
                </a:lnTo>
                <a:lnTo>
                  <a:pt x="57403" y="21589"/>
                </a:lnTo>
                <a:lnTo>
                  <a:pt x="60960" y="21082"/>
                </a:lnTo>
                <a:lnTo>
                  <a:pt x="92298" y="21082"/>
                </a:lnTo>
                <a:lnTo>
                  <a:pt x="90424" y="5334"/>
                </a:lnTo>
                <a:lnTo>
                  <a:pt x="88392" y="4572"/>
                </a:lnTo>
                <a:lnTo>
                  <a:pt x="85851" y="3810"/>
                </a:lnTo>
                <a:lnTo>
                  <a:pt x="83058" y="2921"/>
                </a:lnTo>
                <a:lnTo>
                  <a:pt x="80264" y="2159"/>
                </a:lnTo>
                <a:lnTo>
                  <a:pt x="77089" y="1397"/>
                </a:lnTo>
                <a:lnTo>
                  <a:pt x="73660" y="888"/>
                </a:lnTo>
                <a:lnTo>
                  <a:pt x="70485" y="380"/>
                </a:lnTo>
                <a:lnTo>
                  <a:pt x="66928" y="126"/>
                </a:lnTo>
                <a:lnTo>
                  <a:pt x="63119" y="126"/>
                </a:lnTo>
                <a:lnTo>
                  <a:pt x="59309" y="0"/>
                </a:lnTo>
                <a:close/>
              </a:path>
              <a:path w="102234" h="116205">
                <a:moveTo>
                  <a:pt x="98551" y="74802"/>
                </a:moveTo>
                <a:lnTo>
                  <a:pt x="95631" y="75057"/>
                </a:lnTo>
                <a:lnTo>
                  <a:pt x="94488" y="76453"/>
                </a:lnTo>
                <a:lnTo>
                  <a:pt x="92964" y="78104"/>
                </a:lnTo>
                <a:lnTo>
                  <a:pt x="91059" y="79883"/>
                </a:lnTo>
                <a:lnTo>
                  <a:pt x="89153" y="81787"/>
                </a:lnTo>
                <a:lnTo>
                  <a:pt x="87122" y="83565"/>
                </a:lnTo>
                <a:lnTo>
                  <a:pt x="84836" y="85216"/>
                </a:lnTo>
                <a:lnTo>
                  <a:pt x="82169" y="87375"/>
                </a:lnTo>
                <a:lnTo>
                  <a:pt x="79248" y="89153"/>
                </a:lnTo>
                <a:lnTo>
                  <a:pt x="75946" y="90550"/>
                </a:lnTo>
                <a:lnTo>
                  <a:pt x="72771" y="91948"/>
                </a:lnTo>
                <a:lnTo>
                  <a:pt x="69342" y="92837"/>
                </a:lnTo>
                <a:lnTo>
                  <a:pt x="65913" y="93345"/>
                </a:lnTo>
                <a:lnTo>
                  <a:pt x="62357" y="93725"/>
                </a:lnTo>
                <a:lnTo>
                  <a:pt x="100837" y="93725"/>
                </a:lnTo>
                <a:lnTo>
                  <a:pt x="98551" y="74802"/>
                </a:lnTo>
                <a:close/>
              </a:path>
              <a:path w="102234" h="116205">
                <a:moveTo>
                  <a:pt x="92298" y="21082"/>
                </a:moveTo>
                <a:lnTo>
                  <a:pt x="60960" y="21082"/>
                </a:lnTo>
                <a:lnTo>
                  <a:pt x="64389" y="21209"/>
                </a:lnTo>
                <a:lnTo>
                  <a:pt x="70993" y="22733"/>
                </a:lnTo>
                <a:lnTo>
                  <a:pt x="90297" y="32385"/>
                </a:lnTo>
                <a:lnTo>
                  <a:pt x="93599" y="32003"/>
                </a:lnTo>
                <a:lnTo>
                  <a:pt x="92298" y="21082"/>
                </a:lnTo>
                <a:close/>
              </a:path>
            </a:pathLst>
          </a:custGeom>
          <a:solidFill>
            <a:srgbClr val="000000"/>
          </a:solidFill>
        </p:spPr>
        <p:txBody>
          <a:bodyPr wrap="square" lIns="0" tIns="0" rIns="0" bIns="0" rtlCol="0"/>
          <a:lstStyle/>
          <a:p>
            <a:endParaRPr/>
          </a:p>
        </p:txBody>
      </p:sp>
      <p:sp>
        <p:nvSpPr>
          <p:cNvPr id="67" name="object 67"/>
          <p:cNvSpPr/>
          <p:nvPr/>
        </p:nvSpPr>
        <p:spPr>
          <a:xfrm>
            <a:off x="7757668" y="1349628"/>
            <a:ext cx="99060" cy="115570"/>
          </a:xfrm>
          <a:custGeom>
            <a:avLst/>
            <a:gdLst/>
            <a:ahLst/>
            <a:cxnLst/>
            <a:rect l="l" t="t" r="r" b="b"/>
            <a:pathLst>
              <a:path w="99059" h="115569">
                <a:moveTo>
                  <a:pt x="64675" y="26035"/>
                </a:moveTo>
                <a:lnTo>
                  <a:pt x="36067" y="26035"/>
                </a:lnTo>
                <a:lnTo>
                  <a:pt x="42545" y="115188"/>
                </a:lnTo>
                <a:lnTo>
                  <a:pt x="71120" y="113030"/>
                </a:lnTo>
                <a:lnTo>
                  <a:pt x="64675" y="26035"/>
                </a:lnTo>
                <a:close/>
              </a:path>
              <a:path w="99059" h="115569">
                <a:moveTo>
                  <a:pt x="97535" y="0"/>
                </a:moveTo>
                <a:lnTo>
                  <a:pt x="0" y="7112"/>
                </a:lnTo>
                <a:lnTo>
                  <a:pt x="1524" y="28575"/>
                </a:lnTo>
                <a:lnTo>
                  <a:pt x="36067" y="26035"/>
                </a:lnTo>
                <a:lnTo>
                  <a:pt x="64675" y="26035"/>
                </a:lnTo>
                <a:lnTo>
                  <a:pt x="64515" y="23875"/>
                </a:lnTo>
                <a:lnTo>
                  <a:pt x="99059" y="21336"/>
                </a:lnTo>
                <a:lnTo>
                  <a:pt x="97535" y="0"/>
                </a:lnTo>
                <a:close/>
              </a:path>
            </a:pathLst>
          </a:custGeom>
          <a:solidFill>
            <a:srgbClr val="000000"/>
          </a:solidFill>
        </p:spPr>
        <p:txBody>
          <a:bodyPr wrap="square" lIns="0" tIns="0" rIns="0" bIns="0" rtlCol="0"/>
          <a:lstStyle/>
          <a:p>
            <a:endParaRPr/>
          </a:p>
        </p:txBody>
      </p:sp>
      <p:sp>
        <p:nvSpPr>
          <p:cNvPr id="68" name="object 68"/>
          <p:cNvSpPr/>
          <p:nvPr/>
        </p:nvSpPr>
        <p:spPr>
          <a:xfrm>
            <a:off x="7869808" y="1346708"/>
            <a:ext cx="69215" cy="113664"/>
          </a:xfrm>
          <a:custGeom>
            <a:avLst/>
            <a:gdLst/>
            <a:ahLst/>
            <a:cxnLst/>
            <a:rect l="l" t="t" r="r" b="b"/>
            <a:pathLst>
              <a:path w="69215" h="113665">
                <a:moveTo>
                  <a:pt x="47410" y="21336"/>
                </a:moveTo>
                <a:lnTo>
                  <a:pt x="18923" y="21336"/>
                </a:lnTo>
                <a:lnTo>
                  <a:pt x="21590" y="92837"/>
                </a:lnTo>
                <a:lnTo>
                  <a:pt x="3429" y="93471"/>
                </a:lnTo>
                <a:lnTo>
                  <a:pt x="4191" y="113156"/>
                </a:lnTo>
                <a:lnTo>
                  <a:pt x="69088" y="110616"/>
                </a:lnTo>
                <a:lnTo>
                  <a:pt x="68350" y="91693"/>
                </a:lnTo>
                <a:lnTo>
                  <a:pt x="50165" y="91693"/>
                </a:lnTo>
                <a:lnTo>
                  <a:pt x="47410" y="21336"/>
                </a:lnTo>
                <a:close/>
              </a:path>
              <a:path w="69215" h="113665">
                <a:moveTo>
                  <a:pt x="68325" y="91058"/>
                </a:moveTo>
                <a:lnTo>
                  <a:pt x="50165" y="91693"/>
                </a:lnTo>
                <a:lnTo>
                  <a:pt x="68350" y="91693"/>
                </a:lnTo>
                <a:lnTo>
                  <a:pt x="68325" y="91058"/>
                </a:lnTo>
                <a:close/>
              </a:path>
              <a:path w="69215" h="113665">
                <a:moveTo>
                  <a:pt x="64770" y="0"/>
                </a:moveTo>
                <a:lnTo>
                  <a:pt x="0" y="2412"/>
                </a:lnTo>
                <a:lnTo>
                  <a:pt x="762" y="22097"/>
                </a:lnTo>
                <a:lnTo>
                  <a:pt x="18923" y="21336"/>
                </a:lnTo>
                <a:lnTo>
                  <a:pt x="47410" y="21336"/>
                </a:lnTo>
                <a:lnTo>
                  <a:pt x="47371" y="20319"/>
                </a:lnTo>
                <a:lnTo>
                  <a:pt x="65532" y="19557"/>
                </a:lnTo>
                <a:lnTo>
                  <a:pt x="64770" y="0"/>
                </a:lnTo>
                <a:close/>
              </a:path>
            </a:pathLst>
          </a:custGeom>
          <a:solidFill>
            <a:srgbClr val="000000"/>
          </a:solidFill>
        </p:spPr>
        <p:txBody>
          <a:bodyPr wrap="square" lIns="0" tIns="0" rIns="0" bIns="0" rtlCol="0"/>
          <a:lstStyle/>
          <a:p>
            <a:endParaRPr/>
          </a:p>
        </p:txBody>
      </p:sp>
      <p:sp>
        <p:nvSpPr>
          <p:cNvPr id="69" name="object 69"/>
          <p:cNvSpPr/>
          <p:nvPr/>
        </p:nvSpPr>
        <p:spPr>
          <a:xfrm>
            <a:off x="7998968" y="1367282"/>
            <a:ext cx="0" cy="89535"/>
          </a:xfrm>
          <a:custGeom>
            <a:avLst/>
            <a:gdLst/>
            <a:ahLst/>
            <a:cxnLst/>
            <a:rect l="l" t="t" r="r" b="b"/>
            <a:pathLst>
              <a:path h="89534">
                <a:moveTo>
                  <a:pt x="0" y="0"/>
                </a:moveTo>
                <a:lnTo>
                  <a:pt x="0" y="89407"/>
                </a:lnTo>
              </a:path>
            </a:pathLst>
          </a:custGeom>
          <a:ln w="28955">
            <a:solidFill>
              <a:srgbClr val="000000"/>
            </a:solidFill>
          </a:ln>
        </p:spPr>
        <p:txBody>
          <a:bodyPr wrap="square" lIns="0" tIns="0" rIns="0" bIns="0" rtlCol="0"/>
          <a:lstStyle/>
          <a:p>
            <a:endParaRPr/>
          </a:p>
        </p:txBody>
      </p:sp>
      <p:sp>
        <p:nvSpPr>
          <p:cNvPr id="70" name="object 70"/>
          <p:cNvSpPr/>
          <p:nvPr/>
        </p:nvSpPr>
        <p:spPr>
          <a:xfrm>
            <a:off x="7949818" y="1366519"/>
            <a:ext cx="63500" cy="1270"/>
          </a:xfrm>
          <a:custGeom>
            <a:avLst/>
            <a:gdLst/>
            <a:ahLst/>
            <a:cxnLst/>
            <a:rect l="l" t="t" r="r" b="b"/>
            <a:pathLst>
              <a:path w="63500" h="1269">
                <a:moveTo>
                  <a:pt x="0" y="1270"/>
                </a:moveTo>
                <a:lnTo>
                  <a:pt x="63246" y="1270"/>
                </a:lnTo>
                <a:lnTo>
                  <a:pt x="63246" y="0"/>
                </a:lnTo>
                <a:lnTo>
                  <a:pt x="0" y="0"/>
                </a:lnTo>
                <a:lnTo>
                  <a:pt x="0" y="1270"/>
                </a:lnTo>
                <a:close/>
              </a:path>
            </a:pathLst>
          </a:custGeom>
          <a:solidFill>
            <a:srgbClr val="000000"/>
          </a:solidFill>
        </p:spPr>
        <p:txBody>
          <a:bodyPr wrap="square" lIns="0" tIns="0" rIns="0" bIns="0" rtlCol="0"/>
          <a:lstStyle/>
          <a:p>
            <a:endParaRPr/>
          </a:p>
        </p:txBody>
      </p:sp>
      <p:sp>
        <p:nvSpPr>
          <p:cNvPr id="71" name="object 71"/>
          <p:cNvSpPr/>
          <p:nvPr/>
        </p:nvSpPr>
        <p:spPr>
          <a:xfrm>
            <a:off x="7949818" y="1356360"/>
            <a:ext cx="97790" cy="0"/>
          </a:xfrm>
          <a:custGeom>
            <a:avLst/>
            <a:gdLst/>
            <a:ahLst/>
            <a:cxnLst/>
            <a:rect l="l" t="t" r="r" b="b"/>
            <a:pathLst>
              <a:path w="97790">
                <a:moveTo>
                  <a:pt x="0" y="0"/>
                </a:moveTo>
                <a:lnTo>
                  <a:pt x="97726" y="0"/>
                </a:lnTo>
              </a:path>
            </a:pathLst>
          </a:custGeom>
          <a:ln w="20319">
            <a:solidFill>
              <a:srgbClr val="000000"/>
            </a:solidFill>
          </a:ln>
        </p:spPr>
        <p:txBody>
          <a:bodyPr wrap="square" lIns="0" tIns="0" rIns="0" bIns="0" rtlCol="0"/>
          <a:lstStyle/>
          <a:p>
            <a:endParaRPr/>
          </a:p>
        </p:txBody>
      </p:sp>
      <p:sp>
        <p:nvSpPr>
          <p:cNvPr id="72" name="object 72"/>
          <p:cNvSpPr/>
          <p:nvPr/>
        </p:nvSpPr>
        <p:spPr>
          <a:xfrm>
            <a:off x="8057515" y="1346072"/>
            <a:ext cx="67945" cy="113030"/>
          </a:xfrm>
          <a:custGeom>
            <a:avLst/>
            <a:gdLst/>
            <a:ahLst/>
            <a:cxnLst/>
            <a:rect l="l" t="t" r="r" b="b"/>
            <a:pathLst>
              <a:path w="67945" h="113030">
                <a:moveTo>
                  <a:pt x="507" y="91186"/>
                </a:moveTo>
                <a:lnTo>
                  <a:pt x="0" y="110743"/>
                </a:lnTo>
                <a:lnTo>
                  <a:pt x="64769" y="112649"/>
                </a:lnTo>
                <a:lnTo>
                  <a:pt x="65404" y="92963"/>
                </a:lnTo>
                <a:lnTo>
                  <a:pt x="47243" y="92455"/>
                </a:lnTo>
                <a:lnTo>
                  <a:pt x="47265" y="91693"/>
                </a:lnTo>
                <a:lnTo>
                  <a:pt x="18668" y="91693"/>
                </a:lnTo>
                <a:lnTo>
                  <a:pt x="507" y="91186"/>
                </a:lnTo>
                <a:close/>
              </a:path>
              <a:path w="67945" h="113030">
                <a:moveTo>
                  <a:pt x="3048" y="0"/>
                </a:moveTo>
                <a:lnTo>
                  <a:pt x="2539" y="19685"/>
                </a:lnTo>
                <a:lnTo>
                  <a:pt x="20700" y="20192"/>
                </a:lnTo>
                <a:lnTo>
                  <a:pt x="18668" y="91693"/>
                </a:lnTo>
                <a:lnTo>
                  <a:pt x="47265" y="91693"/>
                </a:lnTo>
                <a:lnTo>
                  <a:pt x="49275" y="20954"/>
                </a:lnTo>
                <a:lnTo>
                  <a:pt x="67450" y="20954"/>
                </a:lnTo>
                <a:lnTo>
                  <a:pt x="67944" y="1904"/>
                </a:lnTo>
                <a:lnTo>
                  <a:pt x="3048" y="0"/>
                </a:lnTo>
                <a:close/>
              </a:path>
              <a:path w="67945" h="113030">
                <a:moveTo>
                  <a:pt x="67450" y="20954"/>
                </a:moveTo>
                <a:lnTo>
                  <a:pt x="49275" y="20954"/>
                </a:lnTo>
                <a:lnTo>
                  <a:pt x="67436" y="21462"/>
                </a:lnTo>
                <a:lnTo>
                  <a:pt x="67450" y="20954"/>
                </a:lnTo>
                <a:close/>
              </a:path>
            </a:pathLst>
          </a:custGeom>
          <a:solidFill>
            <a:srgbClr val="000000"/>
          </a:solidFill>
        </p:spPr>
        <p:txBody>
          <a:bodyPr wrap="square" lIns="0" tIns="0" rIns="0" bIns="0" rtlCol="0"/>
          <a:lstStyle/>
          <a:p>
            <a:endParaRPr/>
          </a:p>
        </p:txBody>
      </p:sp>
      <p:sp>
        <p:nvSpPr>
          <p:cNvPr id="73" name="object 73"/>
          <p:cNvSpPr/>
          <p:nvPr/>
        </p:nvSpPr>
        <p:spPr>
          <a:xfrm>
            <a:off x="8142471" y="1350010"/>
            <a:ext cx="114300" cy="115570"/>
          </a:xfrm>
          <a:custGeom>
            <a:avLst/>
            <a:gdLst/>
            <a:ahLst/>
            <a:cxnLst/>
            <a:rect l="l" t="t" r="r" b="b"/>
            <a:pathLst>
              <a:path w="114300" h="115569">
                <a:moveTo>
                  <a:pt x="60838" y="0"/>
                </a:moveTo>
                <a:lnTo>
                  <a:pt x="17912" y="12700"/>
                </a:lnTo>
                <a:lnTo>
                  <a:pt x="8" y="52831"/>
                </a:lnTo>
                <a:lnTo>
                  <a:pt x="0" y="66341"/>
                </a:lnTo>
                <a:lnTo>
                  <a:pt x="2085" y="77724"/>
                </a:lnTo>
                <a:lnTo>
                  <a:pt x="29438" y="109696"/>
                </a:lnTo>
                <a:lnTo>
                  <a:pt x="52964" y="115188"/>
                </a:lnTo>
                <a:lnTo>
                  <a:pt x="65655" y="115097"/>
                </a:lnTo>
                <a:lnTo>
                  <a:pt x="77047" y="112934"/>
                </a:lnTo>
                <a:lnTo>
                  <a:pt x="87129" y="108723"/>
                </a:lnTo>
                <a:lnTo>
                  <a:pt x="95890" y="102488"/>
                </a:lnTo>
                <a:lnTo>
                  <a:pt x="102973" y="94614"/>
                </a:lnTo>
                <a:lnTo>
                  <a:pt x="58044" y="94614"/>
                </a:lnTo>
                <a:lnTo>
                  <a:pt x="50805" y="94106"/>
                </a:lnTo>
                <a:lnTo>
                  <a:pt x="35819" y="84454"/>
                </a:lnTo>
                <a:lnTo>
                  <a:pt x="33533" y="81406"/>
                </a:lnTo>
                <a:lnTo>
                  <a:pt x="31882" y="77469"/>
                </a:lnTo>
                <a:lnTo>
                  <a:pt x="30612" y="72770"/>
                </a:lnTo>
                <a:lnTo>
                  <a:pt x="29469" y="68072"/>
                </a:lnTo>
                <a:lnTo>
                  <a:pt x="29088" y="62356"/>
                </a:lnTo>
                <a:lnTo>
                  <a:pt x="29596" y="55752"/>
                </a:lnTo>
                <a:lnTo>
                  <a:pt x="29977" y="49402"/>
                </a:lnTo>
                <a:lnTo>
                  <a:pt x="55885" y="20700"/>
                </a:lnTo>
                <a:lnTo>
                  <a:pt x="103158" y="20700"/>
                </a:lnTo>
                <a:lnTo>
                  <a:pt x="101605" y="18414"/>
                </a:lnTo>
                <a:lnTo>
                  <a:pt x="93700" y="11054"/>
                </a:lnTo>
                <a:lnTo>
                  <a:pt x="84270" y="5540"/>
                </a:lnTo>
                <a:lnTo>
                  <a:pt x="73316" y="1859"/>
                </a:lnTo>
                <a:lnTo>
                  <a:pt x="60838" y="0"/>
                </a:lnTo>
                <a:close/>
              </a:path>
              <a:path w="114300" h="115569">
                <a:moveTo>
                  <a:pt x="103158" y="20700"/>
                </a:moveTo>
                <a:lnTo>
                  <a:pt x="55885" y="20700"/>
                </a:lnTo>
                <a:lnTo>
                  <a:pt x="62997" y="21209"/>
                </a:lnTo>
                <a:lnTo>
                  <a:pt x="66426" y="22098"/>
                </a:lnTo>
                <a:lnTo>
                  <a:pt x="72776" y="25145"/>
                </a:lnTo>
                <a:lnTo>
                  <a:pt x="75570" y="27559"/>
                </a:lnTo>
                <a:lnTo>
                  <a:pt x="77856" y="30734"/>
                </a:lnTo>
                <a:lnTo>
                  <a:pt x="80142" y="33781"/>
                </a:lnTo>
                <a:lnTo>
                  <a:pt x="81920" y="37591"/>
                </a:lnTo>
                <a:lnTo>
                  <a:pt x="83063" y="42417"/>
                </a:lnTo>
                <a:lnTo>
                  <a:pt x="84333" y="47116"/>
                </a:lnTo>
                <a:lnTo>
                  <a:pt x="84714" y="52831"/>
                </a:lnTo>
                <a:lnTo>
                  <a:pt x="84206" y="59436"/>
                </a:lnTo>
                <a:lnTo>
                  <a:pt x="83825" y="65659"/>
                </a:lnTo>
                <a:lnTo>
                  <a:pt x="82809" y="70992"/>
                </a:lnTo>
                <a:lnTo>
                  <a:pt x="81158" y="75437"/>
                </a:lnTo>
                <a:lnTo>
                  <a:pt x="79507" y="80010"/>
                </a:lnTo>
                <a:lnTo>
                  <a:pt x="58044" y="94614"/>
                </a:lnTo>
                <a:lnTo>
                  <a:pt x="102973" y="94614"/>
                </a:lnTo>
                <a:lnTo>
                  <a:pt x="108479" y="84994"/>
                </a:lnTo>
                <a:lnTo>
                  <a:pt x="112089" y="74021"/>
                </a:lnTo>
                <a:lnTo>
                  <a:pt x="113812" y="62356"/>
                </a:lnTo>
                <a:lnTo>
                  <a:pt x="113803" y="48900"/>
                </a:lnTo>
                <a:lnTo>
                  <a:pt x="111718" y="37480"/>
                </a:lnTo>
                <a:lnTo>
                  <a:pt x="107656" y="27322"/>
                </a:lnTo>
                <a:lnTo>
                  <a:pt x="103158" y="20700"/>
                </a:lnTo>
                <a:close/>
              </a:path>
            </a:pathLst>
          </a:custGeom>
          <a:solidFill>
            <a:srgbClr val="000000"/>
          </a:solidFill>
        </p:spPr>
        <p:txBody>
          <a:bodyPr wrap="square" lIns="0" tIns="0" rIns="0" bIns="0" rtlCol="0"/>
          <a:lstStyle/>
          <a:p>
            <a:endParaRPr/>
          </a:p>
        </p:txBody>
      </p:sp>
      <p:sp>
        <p:nvSpPr>
          <p:cNvPr id="74" name="object 74"/>
          <p:cNvSpPr/>
          <p:nvPr/>
        </p:nvSpPr>
        <p:spPr>
          <a:xfrm>
            <a:off x="8272780" y="1358900"/>
            <a:ext cx="113664" cy="122555"/>
          </a:xfrm>
          <a:custGeom>
            <a:avLst/>
            <a:gdLst/>
            <a:ahLst/>
            <a:cxnLst/>
            <a:rect l="l" t="t" r="r" b="b"/>
            <a:pathLst>
              <a:path w="113665" h="122555">
                <a:moveTo>
                  <a:pt x="63351" y="37719"/>
                </a:moveTo>
                <a:lnTo>
                  <a:pt x="35305" y="37719"/>
                </a:lnTo>
                <a:lnTo>
                  <a:pt x="72771" y="118872"/>
                </a:lnTo>
                <a:lnTo>
                  <a:pt x="100075" y="122300"/>
                </a:lnTo>
                <a:lnTo>
                  <a:pt x="106216" y="72136"/>
                </a:lnTo>
                <a:lnTo>
                  <a:pt x="79755" y="72136"/>
                </a:lnTo>
                <a:lnTo>
                  <a:pt x="63351" y="37719"/>
                </a:lnTo>
                <a:close/>
              </a:path>
              <a:path w="113665" h="122555">
                <a:moveTo>
                  <a:pt x="13462" y="0"/>
                </a:moveTo>
                <a:lnTo>
                  <a:pt x="0" y="109982"/>
                </a:lnTo>
                <a:lnTo>
                  <a:pt x="26035" y="113157"/>
                </a:lnTo>
                <a:lnTo>
                  <a:pt x="35305" y="37719"/>
                </a:lnTo>
                <a:lnTo>
                  <a:pt x="63351" y="37719"/>
                </a:lnTo>
                <a:lnTo>
                  <a:pt x="47371" y="4190"/>
                </a:lnTo>
                <a:lnTo>
                  <a:pt x="13462" y="0"/>
                </a:lnTo>
                <a:close/>
              </a:path>
              <a:path w="113665" h="122555">
                <a:moveTo>
                  <a:pt x="87502" y="9144"/>
                </a:moveTo>
                <a:lnTo>
                  <a:pt x="79755" y="72136"/>
                </a:lnTo>
                <a:lnTo>
                  <a:pt x="106216" y="72136"/>
                </a:lnTo>
                <a:lnTo>
                  <a:pt x="113538" y="12319"/>
                </a:lnTo>
                <a:lnTo>
                  <a:pt x="87502" y="9144"/>
                </a:lnTo>
                <a:close/>
              </a:path>
            </a:pathLst>
          </a:custGeom>
          <a:solidFill>
            <a:srgbClr val="000000"/>
          </a:solidFill>
        </p:spPr>
        <p:txBody>
          <a:bodyPr wrap="square" lIns="0" tIns="0" rIns="0" bIns="0" rtlCol="0"/>
          <a:lstStyle/>
          <a:p>
            <a:endParaRPr/>
          </a:p>
        </p:txBody>
      </p:sp>
      <p:sp>
        <p:nvSpPr>
          <p:cNvPr id="75" name="object 75"/>
          <p:cNvSpPr/>
          <p:nvPr/>
        </p:nvSpPr>
        <p:spPr>
          <a:xfrm>
            <a:off x="8399653" y="1376425"/>
            <a:ext cx="98425" cy="123189"/>
          </a:xfrm>
          <a:custGeom>
            <a:avLst/>
            <a:gdLst/>
            <a:ahLst/>
            <a:cxnLst/>
            <a:rect l="l" t="t" r="r" b="b"/>
            <a:pathLst>
              <a:path w="98425" h="123190">
                <a:moveTo>
                  <a:pt x="19557" y="0"/>
                </a:moveTo>
                <a:lnTo>
                  <a:pt x="0" y="109093"/>
                </a:lnTo>
                <a:lnTo>
                  <a:pt x="78867" y="123189"/>
                </a:lnTo>
                <a:lnTo>
                  <a:pt x="82676" y="102108"/>
                </a:lnTo>
                <a:lnTo>
                  <a:pt x="31750" y="93090"/>
                </a:lnTo>
                <a:lnTo>
                  <a:pt x="36575" y="66039"/>
                </a:lnTo>
                <a:lnTo>
                  <a:pt x="85357" y="66039"/>
                </a:lnTo>
                <a:lnTo>
                  <a:pt x="87629" y="53466"/>
                </a:lnTo>
                <a:lnTo>
                  <a:pt x="40386" y="44958"/>
                </a:lnTo>
                <a:lnTo>
                  <a:pt x="43688" y="26162"/>
                </a:lnTo>
                <a:lnTo>
                  <a:pt x="96257" y="26162"/>
                </a:lnTo>
                <a:lnTo>
                  <a:pt x="98425" y="14097"/>
                </a:lnTo>
                <a:lnTo>
                  <a:pt x="19557" y="0"/>
                </a:lnTo>
                <a:close/>
              </a:path>
              <a:path w="98425" h="123190">
                <a:moveTo>
                  <a:pt x="85357" y="66039"/>
                </a:moveTo>
                <a:lnTo>
                  <a:pt x="36575" y="66039"/>
                </a:lnTo>
                <a:lnTo>
                  <a:pt x="83820" y="74549"/>
                </a:lnTo>
                <a:lnTo>
                  <a:pt x="85357" y="66039"/>
                </a:lnTo>
                <a:close/>
              </a:path>
              <a:path w="98425" h="123190">
                <a:moveTo>
                  <a:pt x="96257" y="26162"/>
                </a:moveTo>
                <a:lnTo>
                  <a:pt x="43688" y="26162"/>
                </a:lnTo>
                <a:lnTo>
                  <a:pt x="94615" y="35306"/>
                </a:lnTo>
                <a:lnTo>
                  <a:pt x="96257" y="26162"/>
                </a:lnTo>
                <a:close/>
              </a:path>
            </a:pathLst>
          </a:custGeom>
          <a:solidFill>
            <a:srgbClr val="000000"/>
          </a:solidFill>
        </p:spPr>
        <p:txBody>
          <a:bodyPr wrap="square" lIns="0" tIns="0" rIns="0" bIns="0" rtlCol="0"/>
          <a:lstStyle/>
          <a:p>
            <a:endParaRPr/>
          </a:p>
        </p:txBody>
      </p:sp>
      <p:sp>
        <p:nvSpPr>
          <p:cNvPr id="76" name="object 76"/>
          <p:cNvSpPr/>
          <p:nvPr/>
        </p:nvSpPr>
        <p:spPr>
          <a:xfrm>
            <a:off x="8499602" y="1396364"/>
            <a:ext cx="109855" cy="133350"/>
          </a:xfrm>
          <a:custGeom>
            <a:avLst/>
            <a:gdLst/>
            <a:ahLst/>
            <a:cxnLst/>
            <a:rect l="l" t="t" r="r" b="b"/>
            <a:pathLst>
              <a:path w="109854" h="133350">
                <a:moveTo>
                  <a:pt x="90204" y="75057"/>
                </a:moveTo>
                <a:lnTo>
                  <a:pt x="37338" y="75057"/>
                </a:lnTo>
                <a:lnTo>
                  <a:pt x="50165" y="78232"/>
                </a:lnTo>
                <a:lnTo>
                  <a:pt x="69723" y="124840"/>
                </a:lnTo>
                <a:lnTo>
                  <a:pt x="103631" y="133223"/>
                </a:lnTo>
                <a:lnTo>
                  <a:pt x="79121" y="78232"/>
                </a:lnTo>
                <a:lnTo>
                  <a:pt x="86741" y="76581"/>
                </a:lnTo>
                <a:lnTo>
                  <a:pt x="90204" y="75057"/>
                </a:lnTo>
                <a:close/>
              </a:path>
              <a:path w="109854" h="133350">
                <a:moveTo>
                  <a:pt x="26543" y="0"/>
                </a:moveTo>
                <a:lnTo>
                  <a:pt x="0" y="107569"/>
                </a:lnTo>
                <a:lnTo>
                  <a:pt x="27686" y="114426"/>
                </a:lnTo>
                <a:lnTo>
                  <a:pt x="37338" y="75057"/>
                </a:lnTo>
                <a:lnTo>
                  <a:pt x="90204" y="75057"/>
                </a:lnTo>
                <a:lnTo>
                  <a:pt x="93091" y="73787"/>
                </a:lnTo>
                <a:lnTo>
                  <a:pt x="97917" y="69596"/>
                </a:lnTo>
                <a:lnTo>
                  <a:pt x="102870" y="65532"/>
                </a:lnTo>
                <a:lnTo>
                  <a:pt x="105934" y="60198"/>
                </a:lnTo>
                <a:lnTo>
                  <a:pt x="65024" y="60198"/>
                </a:lnTo>
                <a:lnTo>
                  <a:pt x="61975" y="59817"/>
                </a:lnTo>
                <a:lnTo>
                  <a:pt x="58927" y="59562"/>
                </a:lnTo>
                <a:lnTo>
                  <a:pt x="55118" y="58800"/>
                </a:lnTo>
                <a:lnTo>
                  <a:pt x="50673" y="57785"/>
                </a:lnTo>
                <a:lnTo>
                  <a:pt x="42164" y="55625"/>
                </a:lnTo>
                <a:lnTo>
                  <a:pt x="49275" y="26670"/>
                </a:lnTo>
                <a:lnTo>
                  <a:pt x="103124" y="26670"/>
                </a:lnTo>
                <a:lnTo>
                  <a:pt x="100965" y="24511"/>
                </a:lnTo>
                <a:lnTo>
                  <a:pt x="79501" y="13081"/>
                </a:lnTo>
                <a:lnTo>
                  <a:pt x="26543" y="0"/>
                </a:lnTo>
                <a:close/>
              </a:path>
              <a:path w="109854" h="133350">
                <a:moveTo>
                  <a:pt x="103124" y="26670"/>
                </a:moveTo>
                <a:lnTo>
                  <a:pt x="49275" y="26670"/>
                </a:lnTo>
                <a:lnTo>
                  <a:pt x="59308" y="29083"/>
                </a:lnTo>
                <a:lnTo>
                  <a:pt x="65531" y="30734"/>
                </a:lnTo>
                <a:lnTo>
                  <a:pt x="79501" y="42799"/>
                </a:lnTo>
                <a:lnTo>
                  <a:pt x="79501" y="45212"/>
                </a:lnTo>
                <a:lnTo>
                  <a:pt x="78740" y="47879"/>
                </a:lnTo>
                <a:lnTo>
                  <a:pt x="77977" y="50926"/>
                </a:lnTo>
                <a:lnTo>
                  <a:pt x="70230" y="58674"/>
                </a:lnTo>
                <a:lnTo>
                  <a:pt x="67818" y="59817"/>
                </a:lnTo>
                <a:lnTo>
                  <a:pt x="65024" y="60198"/>
                </a:lnTo>
                <a:lnTo>
                  <a:pt x="105934" y="60198"/>
                </a:lnTo>
                <a:lnTo>
                  <a:pt x="106299" y="59562"/>
                </a:lnTo>
                <a:lnTo>
                  <a:pt x="108330" y="51562"/>
                </a:lnTo>
                <a:lnTo>
                  <a:pt x="109727" y="45847"/>
                </a:lnTo>
                <a:lnTo>
                  <a:pt x="109648" y="40512"/>
                </a:lnTo>
                <a:lnTo>
                  <a:pt x="108330" y="36322"/>
                </a:lnTo>
                <a:lnTo>
                  <a:pt x="106806" y="31876"/>
                </a:lnTo>
                <a:lnTo>
                  <a:pt x="104394" y="27939"/>
                </a:lnTo>
                <a:lnTo>
                  <a:pt x="103124" y="26670"/>
                </a:lnTo>
                <a:close/>
              </a:path>
            </a:pathLst>
          </a:custGeom>
          <a:solidFill>
            <a:srgbClr val="000000"/>
          </a:solidFill>
        </p:spPr>
        <p:txBody>
          <a:bodyPr wrap="square" lIns="0" tIns="0" rIns="0" bIns="0" rtlCol="0"/>
          <a:lstStyle/>
          <a:p>
            <a:endParaRPr/>
          </a:p>
        </p:txBody>
      </p:sp>
      <p:sp>
        <p:nvSpPr>
          <p:cNvPr id="77" name="object 77"/>
          <p:cNvSpPr/>
          <p:nvPr/>
        </p:nvSpPr>
        <p:spPr>
          <a:xfrm>
            <a:off x="8608568" y="1436608"/>
            <a:ext cx="118110" cy="115570"/>
          </a:xfrm>
          <a:custGeom>
            <a:avLst/>
            <a:gdLst/>
            <a:ahLst/>
            <a:cxnLst/>
            <a:rect l="l" t="t" r="r" b="b"/>
            <a:pathLst>
              <a:path w="118109" h="115569">
                <a:moveTo>
                  <a:pt x="8635" y="63134"/>
                </a:moveTo>
                <a:lnTo>
                  <a:pt x="0" y="88280"/>
                </a:lnTo>
                <a:lnTo>
                  <a:pt x="4825" y="92471"/>
                </a:lnTo>
                <a:lnTo>
                  <a:pt x="10159" y="96535"/>
                </a:lnTo>
                <a:lnTo>
                  <a:pt x="48904" y="113474"/>
                </a:lnTo>
                <a:lnTo>
                  <a:pt x="59039" y="114950"/>
                </a:lnTo>
                <a:lnTo>
                  <a:pt x="68387" y="114808"/>
                </a:lnTo>
                <a:lnTo>
                  <a:pt x="97970" y="94122"/>
                </a:lnTo>
                <a:lnTo>
                  <a:pt x="57276" y="94122"/>
                </a:lnTo>
                <a:lnTo>
                  <a:pt x="54863" y="93741"/>
                </a:lnTo>
                <a:lnTo>
                  <a:pt x="52197" y="93106"/>
                </a:lnTo>
                <a:lnTo>
                  <a:pt x="47116" y="91963"/>
                </a:lnTo>
                <a:lnTo>
                  <a:pt x="45592" y="91328"/>
                </a:lnTo>
                <a:lnTo>
                  <a:pt x="11683" y="64150"/>
                </a:lnTo>
                <a:lnTo>
                  <a:pt x="8635" y="63134"/>
                </a:lnTo>
                <a:close/>
              </a:path>
              <a:path w="118109" h="115569">
                <a:moveTo>
                  <a:pt x="62595" y="0"/>
                </a:moveTo>
                <a:lnTo>
                  <a:pt x="27066" y="14402"/>
                </a:lnTo>
                <a:lnTo>
                  <a:pt x="21208" y="35194"/>
                </a:lnTo>
                <a:lnTo>
                  <a:pt x="25526" y="47640"/>
                </a:lnTo>
                <a:lnTo>
                  <a:pt x="30606" y="53736"/>
                </a:lnTo>
                <a:lnTo>
                  <a:pt x="38353" y="59578"/>
                </a:lnTo>
                <a:lnTo>
                  <a:pt x="41782" y="62245"/>
                </a:lnTo>
                <a:lnTo>
                  <a:pt x="45592" y="64658"/>
                </a:lnTo>
                <a:lnTo>
                  <a:pt x="49656" y="66944"/>
                </a:lnTo>
                <a:lnTo>
                  <a:pt x="53721" y="69357"/>
                </a:lnTo>
                <a:lnTo>
                  <a:pt x="57657" y="71643"/>
                </a:lnTo>
                <a:lnTo>
                  <a:pt x="61213" y="73929"/>
                </a:lnTo>
                <a:lnTo>
                  <a:pt x="64642" y="76088"/>
                </a:lnTo>
                <a:lnTo>
                  <a:pt x="67055" y="78374"/>
                </a:lnTo>
                <a:lnTo>
                  <a:pt x="68452" y="80660"/>
                </a:lnTo>
                <a:lnTo>
                  <a:pt x="69850" y="83073"/>
                </a:lnTo>
                <a:lnTo>
                  <a:pt x="70075" y="85105"/>
                </a:lnTo>
                <a:lnTo>
                  <a:pt x="70019" y="85613"/>
                </a:lnTo>
                <a:lnTo>
                  <a:pt x="59181" y="93995"/>
                </a:lnTo>
                <a:lnTo>
                  <a:pt x="57276" y="94122"/>
                </a:lnTo>
                <a:lnTo>
                  <a:pt x="97970" y="94122"/>
                </a:lnTo>
                <a:lnTo>
                  <a:pt x="98805" y="92344"/>
                </a:lnTo>
                <a:lnTo>
                  <a:pt x="101134" y="85359"/>
                </a:lnTo>
                <a:lnTo>
                  <a:pt x="101258" y="83073"/>
                </a:lnTo>
                <a:lnTo>
                  <a:pt x="101252" y="78374"/>
                </a:lnTo>
                <a:lnTo>
                  <a:pt x="74675" y="48910"/>
                </a:lnTo>
                <a:lnTo>
                  <a:pt x="71374" y="46878"/>
                </a:lnTo>
                <a:lnTo>
                  <a:pt x="67945" y="44846"/>
                </a:lnTo>
                <a:lnTo>
                  <a:pt x="64388" y="42814"/>
                </a:lnTo>
                <a:lnTo>
                  <a:pt x="58927" y="39512"/>
                </a:lnTo>
                <a:lnTo>
                  <a:pt x="55499" y="36845"/>
                </a:lnTo>
                <a:lnTo>
                  <a:pt x="53848" y="34559"/>
                </a:lnTo>
                <a:lnTo>
                  <a:pt x="52197" y="32400"/>
                </a:lnTo>
                <a:lnTo>
                  <a:pt x="60325" y="21351"/>
                </a:lnTo>
                <a:lnTo>
                  <a:pt x="62356" y="21351"/>
                </a:lnTo>
                <a:lnTo>
                  <a:pt x="64642" y="21224"/>
                </a:lnTo>
                <a:lnTo>
                  <a:pt x="114133" y="21224"/>
                </a:lnTo>
                <a:lnTo>
                  <a:pt x="113410" y="20589"/>
                </a:lnTo>
                <a:lnTo>
                  <a:pt x="108203" y="16906"/>
                </a:lnTo>
                <a:lnTo>
                  <a:pt x="101853" y="13223"/>
                </a:lnTo>
                <a:lnTo>
                  <a:pt x="95630" y="9540"/>
                </a:lnTo>
                <a:lnTo>
                  <a:pt x="89026" y="6492"/>
                </a:lnTo>
                <a:lnTo>
                  <a:pt x="82168" y="4206"/>
                </a:lnTo>
                <a:lnTo>
                  <a:pt x="72090" y="1347"/>
                </a:lnTo>
                <a:lnTo>
                  <a:pt x="62595" y="0"/>
                </a:lnTo>
                <a:close/>
              </a:path>
              <a:path w="118109" h="115569">
                <a:moveTo>
                  <a:pt x="114133" y="21224"/>
                </a:moveTo>
                <a:lnTo>
                  <a:pt x="64642" y="21224"/>
                </a:lnTo>
                <a:lnTo>
                  <a:pt x="67055" y="21351"/>
                </a:lnTo>
                <a:lnTo>
                  <a:pt x="69341" y="21859"/>
                </a:lnTo>
                <a:lnTo>
                  <a:pt x="103377" y="42560"/>
                </a:lnTo>
                <a:lnTo>
                  <a:pt x="106425" y="47386"/>
                </a:lnTo>
                <a:lnTo>
                  <a:pt x="109347" y="48402"/>
                </a:lnTo>
                <a:lnTo>
                  <a:pt x="117601" y="24272"/>
                </a:lnTo>
                <a:lnTo>
                  <a:pt x="114133" y="21224"/>
                </a:lnTo>
                <a:close/>
              </a:path>
            </a:pathLst>
          </a:custGeom>
          <a:solidFill>
            <a:srgbClr val="000000"/>
          </a:solidFill>
        </p:spPr>
        <p:txBody>
          <a:bodyPr wrap="square" lIns="0" tIns="0" rIns="0" bIns="0" rtlCol="0"/>
          <a:lstStyle/>
          <a:p>
            <a:endParaRPr/>
          </a:p>
        </p:txBody>
      </p:sp>
      <p:sp>
        <p:nvSpPr>
          <p:cNvPr id="78" name="object 78"/>
          <p:cNvSpPr/>
          <p:nvPr/>
        </p:nvSpPr>
        <p:spPr>
          <a:xfrm>
            <a:off x="6930643" y="1518538"/>
            <a:ext cx="167640" cy="193675"/>
          </a:xfrm>
          <a:custGeom>
            <a:avLst/>
            <a:gdLst/>
            <a:ahLst/>
            <a:cxnLst/>
            <a:rect l="l" t="t" r="r" b="b"/>
            <a:pathLst>
              <a:path w="167640" h="193675">
                <a:moveTo>
                  <a:pt x="74675" y="0"/>
                </a:moveTo>
                <a:lnTo>
                  <a:pt x="0" y="154686"/>
                </a:lnTo>
                <a:lnTo>
                  <a:pt x="167385" y="193166"/>
                </a:lnTo>
                <a:lnTo>
                  <a:pt x="74675" y="0"/>
                </a:lnTo>
                <a:close/>
              </a:path>
            </a:pathLst>
          </a:custGeom>
          <a:solidFill>
            <a:srgbClr val="FFFFFF"/>
          </a:solidFill>
        </p:spPr>
        <p:txBody>
          <a:bodyPr wrap="square" lIns="0" tIns="0" rIns="0" bIns="0" rtlCol="0"/>
          <a:lstStyle/>
          <a:p>
            <a:endParaRPr/>
          </a:p>
        </p:txBody>
      </p:sp>
      <p:sp>
        <p:nvSpPr>
          <p:cNvPr id="79" name="object 79"/>
          <p:cNvSpPr/>
          <p:nvPr/>
        </p:nvSpPr>
        <p:spPr>
          <a:xfrm>
            <a:off x="8898635" y="1509394"/>
            <a:ext cx="166370" cy="196215"/>
          </a:xfrm>
          <a:custGeom>
            <a:avLst/>
            <a:gdLst/>
            <a:ahLst/>
            <a:cxnLst/>
            <a:rect l="l" t="t" r="r" b="b"/>
            <a:pathLst>
              <a:path w="166370" h="196214">
                <a:moveTo>
                  <a:pt x="86233" y="0"/>
                </a:moveTo>
                <a:lnTo>
                  <a:pt x="0" y="195960"/>
                </a:lnTo>
                <a:lnTo>
                  <a:pt x="165989" y="152018"/>
                </a:lnTo>
                <a:lnTo>
                  <a:pt x="86233" y="0"/>
                </a:lnTo>
                <a:close/>
              </a:path>
            </a:pathLst>
          </a:custGeom>
          <a:solidFill>
            <a:srgbClr val="FFFFFF"/>
          </a:solidFill>
        </p:spPr>
        <p:txBody>
          <a:bodyPr wrap="square" lIns="0" tIns="0" rIns="0" bIns="0" rtlCol="0"/>
          <a:lstStyle/>
          <a:p>
            <a:endParaRPr/>
          </a:p>
        </p:txBody>
      </p:sp>
      <p:sp>
        <p:nvSpPr>
          <p:cNvPr id="80" name="object 80"/>
          <p:cNvSpPr/>
          <p:nvPr/>
        </p:nvSpPr>
        <p:spPr>
          <a:xfrm>
            <a:off x="9556750" y="2042922"/>
            <a:ext cx="283210" cy="306070"/>
          </a:xfrm>
          <a:custGeom>
            <a:avLst/>
            <a:gdLst/>
            <a:ahLst/>
            <a:cxnLst/>
            <a:rect l="l" t="t" r="r" b="b"/>
            <a:pathLst>
              <a:path w="283209" h="306069">
                <a:moveTo>
                  <a:pt x="166116" y="80644"/>
                </a:moveTo>
                <a:lnTo>
                  <a:pt x="154304" y="90297"/>
                </a:lnTo>
                <a:lnTo>
                  <a:pt x="201041" y="147447"/>
                </a:lnTo>
                <a:lnTo>
                  <a:pt x="73025" y="171576"/>
                </a:lnTo>
                <a:lnTo>
                  <a:pt x="84835" y="186054"/>
                </a:lnTo>
                <a:lnTo>
                  <a:pt x="207264" y="161670"/>
                </a:lnTo>
                <a:lnTo>
                  <a:pt x="222376" y="149351"/>
                </a:lnTo>
                <a:lnTo>
                  <a:pt x="166116" y="80644"/>
                </a:lnTo>
                <a:close/>
              </a:path>
              <a:path w="283209" h="306069">
                <a:moveTo>
                  <a:pt x="14224" y="62991"/>
                </a:moveTo>
                <a:lnTo>
                  <a:pt x="0" y="74675"/>
                </a:lnTo>
                <a:lnTo>
                  <a:pt x="1270" y="79501"/>
                </a:lnTo>
                <a:lnTo>
                  <a:pt x="3301" y="84962"/>
                </a:lnTo>
                <a:lnTo>
                  <a:pt x="9398" y="96900"/>
                </a:lnTo>
                <a:lnTo>
                  <a:pt x="13080" y="102742"/>
                </a:lnTo>
                <a:lnTo>
                  <a:pt x="17652" y="108203"/>
                </a:lnTo>
                <a:lnTo>
                  <a:pt x="22478" y="114045"/>
                </a:lnTo>
                <a:lnTo>
                  <a:pt x="49529" y="127253"/>
                </a:lnTo>
                <a:lnTo>
                  <a:pt x="54864" y="127888"/>
                </a:lnTo>
                <a:lnTo>
                  <a:pt x="60451" y="127253"/>
                </a:lnTo>
                <a:lnTo>
                  <a:pt x="71754" y="123698"/>
                </a:lnTo>
                <a:lnTo>
                  <a:pt x="76834" y="120903"/>
                </a:lnTo>
                <a:lnTo>
                  <a:pt x="81533" y="116966"/>
                </a:lnTo>
                <a:lnTo>
                  <a:pt x="87502" y="112267"/>
                </a:lnTo>
                <a:lnTo>
                  <a:pt x="88519" y="110998"/>
                </a:lnTo>
                <a:lnTo>
                  <a:pt x="52704" y="110998"/>
                </a:lnTo>
                <a:lnTo>
                  <a:pt x="49275" y="110616"/>
                </a:lnTo>
                <a:lnTo>
                  <a:pt x="29082" y="98425"/>
                </a:lnTo>
                <a:lnTo>
                  <a:pt x="25146" y="93599"/>
                </a:lnTo>
                <a:lnTo>
                  <a:pt x="21971" y="88137"/>
                </a:lnTo>
                <a:lnTo>
                  <a:pt x="19065" y="80517"/>
                </a:lnTo>
                <a:lnTo>
                  <a:pt x="17145" y="75564"/>
                </a:lnTo>
                <a:lnTo>
                  <a:pt x="15718" y="69976"/>
                </a:lnTo>
                <a:lnTo>
                  <a:pt x="15592" y="69341"/>
                </a:lnTo>
                <a:lnTo>
                  <a:pt x="14985" y="64007"/>
                </a:lnTo>
                <a:lnTo>
                  <a:pt x="14224" y="62991"/>
                </a:lnTo>
                <a:close/>
              </a:path>
              <a:path w="283209" h="306069">
                <a:moveTo>
                  <a:pt x="100075" y="0"/>
                </a:moveTo>
                <a:lnTo>
                  <a:pt x="48386" y="42290"/>
                </a:lnTo>
                <a:lnTo>
                  <a:pt x="51053" y="44450"/>
                </a:lnTo>
                <a:lnTo>
                  <a:pt x="54228" y="47243"/>
                </a:lnTo>
                <a:lnTo>
                  <a:pt x="76073" y="73278"/>
                </a:lnTo>
                <a:lnTo>
                  <a:pt x="78104" y="77088"/>
                </a:lnTo>
                <a:lnTo>
                  <a:pt x="79248" y="81025"/>
                </a:lnTo>
                <a:lnTo>
                  <a:pt x="79375" y="84708"/>
                </a:lnTo>
                <a:lnTo>
                  <a:pt x="79628" y="88011"/>
                </a:lnTo>
                <a:lnTo>
                  <a:pt x="52704" y="110998"/>
                </a:lnTo>
                <a:lnTo>
                  <a:pt x="88519" y="110998"/>
                </a:lnTo>
                <a:lnTo>
                  <a:pt x="91567" y="107187"/>
                </a:lnTo>
                <a:lnTo>
                  <a:pt x="93852" y="101980"/>
                </a:lnTo>
                <a:lnTo>
                  <a:pt x="96139" y="96900"/>
                </a:lnTo>
                <a:lnTo>
                  <a:pt x="97027" y="91439"/>
                </a:lnTo>
                <a:lnTo>
                  <a:pt x="96520" y="85851"/>
                </a:lnTo>
                <a:lnTo>
                  <a:pt x="96139" y="80517"/>
                </a:lnTo>
                <a:lnTo>
                  <a:pt x="94615" y="75437"/>
                </a:lnTo>
                <a:lnTo>
                  <a:pt x="89789" y="65786"/>
                </a:lnTo>
                <a:lnTo>
                  <a:pt x="86359" y="60578"/>
                </a:lnTo>
                <a:lnTo>
                  <a:pt x="80545" y="53593"/>
                </a:lnTo>
                <a:lnTo>
                  <a:pt x="79248" y="51942"/>
                </a:lnTo>
                <a:lnTo>
                  <a:pt x="72263" y="44450"/>
                </a:lnTo>
                <a:lnTo>
                  <a:pt x="98932" y="22605"/>
                </a:lnTo>
                <a:lnTo>
                  <a:pt x="118589" y="22605"/>
                </a:lnTo>
                <a:lnTo>
                  <a:pt x="100075" y="0"/>
                </a:lnTo>
                <a:close/>
              </a:path>
              <a:path w="283209" h="306069">
                <a:moveTo>
                  <a:pt x="118589" y="22605"/>
                </a:moveTo>
                <a:lnTo>
                  <a:pt x="98932" y="22605"/>
                </a:lnTo>
                <a:lnTo>
                  <a:pt x="137668" y="69976"/>
                </a:lnTo>
                <a:lnTo>
                  <a:pt x="149478" y="60325"/>
                </a:lnTo>
                <a:lnTo>
                  <a:pt x="118589" y="22605"/>
                </a:lnTo>
                <a:close/>
              </a:path>
              <a:path w="283209" h="306069">
                <a:moveTo>
                  <a:pt x="176783" y="209041"/>
                </a:moveTo>
                <a:lnTo>
                  <a:pt x="161290" y="221741"/>
                </a:lnTo>
                <a:lnTo>
                  <a:pt x="200532" y="269748"/>
                </a:lnTo>
                <a:lnTo>
                  <a:pt x="172339" y="292862"/>
                </a:lnTo>
                <a:lnTo>
                  <a:pt x="182879" y="305815"/>
                </a:lnTo>
                <a:lnTo>
                  <a:pt x="211200" y="282701"/>
                </a:lnTo>
                <a:lnTo>
                  <a:pt x="229059" y="282701"/>
                </a:lnTo>
                <a:lnTo>
                  <a:pt x="221869" y="273938"/>
                </a:lnTo>
                <a:lnTo>
                  <a:pt x="237708" y="260985"/>
                </a:lnTo>
                <a:lnTo>
                  <a:pt x="211327" y="260985"/>
                </a:lnTo>
                <a:lnTo>
                  <a:pt x="179450" y="222123"/>
                </a:lnTo>
                <a:lnTo>
                  <a:pt x="281862" y="222123"/>
                </a:lnTo>
                <a:lnTo>
                  <a:pt x="273050" y="211327"/>
                </a:lnTo>
                <a:lnTo>
                  <a:pt x="176783" y="209041"/>
                </a:lnTo>
                <a:close/>
              </a:path>
              <a:path w="283209" h="306069">
                <a:moveTo>
                  <a:pt x="229059" y="282701"/>
                </a:moveTo>
                <a:lnTo>
                  <a:pt x="211200" y="282701"/>
                </a:lnTo>
                <a:lnTo>
                  <a:pt x="223393" y="297688"/>
                </a:lnTo>
                <a:lnTo>
                  <a:pt x="234060" y="288798"/>
                </a:lnTo>
                <a:lnTo>
                  <a:pt x="229059" y="282701"/>
                </a:lnTo>
                <a:close/>
              </a:path>
              <a:path w="283209" h="306069">
                <a:moveTo>
                  <a:pt x="281862" y="222123"/>
                </a:moveTo>
                <a:lnTo>
                  <a:pt x="179450" y="222123"/>
                </a:lnTo>
                <a:lnTo>
                  <a:pt x="256667" y="223900"/>
                </a:lnTo>
                <a:lnTo>
                  <a:pt x="211327" y="260985"/>
                </a:lnTo>
                <a:lnTo>
                  <a:pt x="237708" y="260985"/>
                </a:lnTo>
                <a:lnTo>
                  <a:pt x="283209" y="223774"/>
                </a:lnTo>
                <a:lnTo>
                  <a:pt x="281862" y="222123"/>
                </a:lnTo>
                <a:close/>
              </a:path>
            </a:pathLst>
          </a:custGeom>
          <a:solidFill>
            <a:srgbClr val="FFFFFF"/>
          </a:solidFill>
        </p:spPr>
        <p:txBody>
          <a:bodyPr wrap="square" lIns="0" tIns="0" rIns="0" bIns="0" rtlCol="0"/>
          <a:lstStyle/>
          <a:p>
            <a:endParaRPr/>
          </a:p>
        </p:txBody>
      </p:sp>
      <p:sp>
        <p:nvSpPr>
          <p:cNvPr id="81" name="object 81"/>
          <p:cNvSpPr/>
          <p:nvPr/>
        </p:nvSpPr>
        <p:spPr>
          <a:xfrm>
            <a:off x="10014780" y="3856027"/>
            <a:ext cx="197485" cy="314325"/>
          </a:xfrm>
          <a:custGeom>
            <a:avLst/>
            <a:gdLst/>
            <a:ahLst/>
            <a:cxnLst/>
            <a:rect l="l" t="t" r="r" b="b"/>
            <a:pathLst>
              <a:path w="197484" h="314325">
                <a:moveTo>
                  <a:pt x="10345" y="211655"/>
                </a:moveTo>
                <a:lnTo>
                  <a:pt x="0" y="248739"/>
                </a:lnTo>
                <a:lnTo>
                  <a:pt x="312" y="254581"/>
                </a:lnTo>
                <a:lnTo>
                  <a:pt x="22343" y="292542"/>
                </a:lnTo>
                <a:lnTo>
                  <a:pt x="63598" y="311663"/>
                </a:lnTo>
                <a:lnTo>
                  <a:pt x="84386" y="314271"/>
                </a:lnTo>
                <a:lnTo>
                  <a:pt x="92895" y="314144"/>
                </a:lnTo>
                <a:lnTo>
                  <a:pt x="100134" y="312493"/>
                </a:lnTo>
                <a:lnTo>
                  <a:pt x="111183" y="306524"/>
                </a:lnTo>
                <a:lnTo>
                  <a:pt x="115374" y="303095"/>
                </a:lnTo>
                <a:lnTo>
                  <a:pt x="119408" y="297888"/>
                </a:lnTo>
                <a:lnTo>
                  <a:pt x="80703" y="297888"/>
                </a:lnTo>
                <a:lnTo>
                  <a:pt x="73464" y="296618"/>
                </a:lnTo>
                <a:lnTo>
                  <a:pt x="64828" y="293824"/>
                </a:lnTo>
                <a:lnTo>
                  <a:pt x="63050" y="293189"/>
                </a:lnTo>
                <a:lnTo>
                  <a:pt x="61653" y="292808"/>
                </a:lnTo>
                <a:lnTo>
                  <a:pt x="60510" y="292300"/>
                </a:lnTo>
                <a:lnTo>
                  <a:pt x="59367" y="291919"/>
                </a:lnTo>
                <a:lnTo>
                  <a:pt x="57081" y="290903"/>
                </a:lnTo>
                <a:lnTo>
                  <a:pt x="56397" y="287093"/>
                </a:lnTo>
                <a:lnTo>
                  <a:pt x="45397" y="287093"/>
                </a:lnTo>
                <a:lnTo>
                  <a:pt x="36824" y="282785"/>
                </a:lnTo>
                <a:lnTo>
                  <a:pt x="14758" y="249977"/>
                </a:lnTo>
                <a:lnTo>
                  <a:pt x="15062" y="242008"/>
                </a:lnTo>
                <a:lnTo>
                  <a:pt x="25966" y="217624"/>
                </a:lnTo>
                <a:lnTo>
                  <a:pt x="26220" y="216735"/>
                </a:lnTo>
                <a:lnTo>
                  <a:pt x="10345" y="211655"/>
                </a:lnTo>
                <a:close/>
              </a:path>
              <a:path w="197484" h="314325">
                <a:moveTo>
                  <a:pt x="120159" y="241373"/>
                </a:moveTo>
                <a:lnTo>
                  <a:pt x="83624" y="241373"/>
                </a:lnTo>
                <a:lnTo>
                  <a:pt x="88196" y="242008"/>
                </a:lnTo>
                <a:lnTo>
                  <a:pt x="93276" y="243532"/>
                </a:lnTo>
                <a:lnTo>
                  <a:pt x="102420" y="246580"/>
                </a:lnTo>
                <a:lnTo>
                  <a:pt x="108770" y="251025"/>
                </a:lnTo>
                <a:lnTo>
                  <a:pt x="112199" y="257248"/>
                </a:lnTo>
                <a:lnTo>
                  <a:pt x="115628" y="263344"/>
                </a:lnTo>
                <a:lnTo>
                  <a:pt x="116009" y="270456"/>
                </a:lnTo>
                <a:lnTo>
                  <a:pt x="112326" y="282013"/>
                </a:lnTo>
                <a:lnTo>
                  <a:pt x="110802" y="285061"/>
                </a:lnTo>
                <a:lnTo>
                  <a:pt x="108643" y="287601"/>
                </a:lnTo>
                <a:lnTo>
                  <a:pt x="106611" y="290141"/>
                </a:lnTo>
                <a:lnTo>
                  <a:pt x="80703" y="297888"/>
                </a:lnTo>
                <a:lnTo>
                  <a:pt x="119408" y="297888"/>
                </a:lnTo>
                <a:lnTo>
                  <a:pt x="129234" y="265122"/>
                </a:lnTo>
                <a:lnTo>
                  <a:pt x="127895" y="256954"/>
                </a:lnTo>
                <a:lnTo>
                  <a:pt x="124772" y="248739"/>
                </a:lnTo>
                <a:lnTo>
                  <a:pt x="120159" y="241373"/>
                </a:lnTo>
                <a:close/>
              </a:path>
              <a:path w="197484" h="314325">
                <a:moveTo>
                  <a:pt x="84005" y="223466"/>
                </a:moveTo>
                <a:lnTo>
                  <a:pt x="49842" y="245310"/>
                </a:lnTo>
                <a:lnTo>
                  <a:pt x="43365" y="276298"/>
                </a:lnTo>
                <a:lnTo>
                  <a:pt x="44000" y="281505"/>
                </a:lnTo>
                <a:lnTo>
                  <a:pt x="45397" y="287093"/>
                </a:lnTo>
                <a:lnTo>
                  <a:pt x="56397" y="287093"/>
                </a:lnTo>
                <a:lnTo>
                  <a:pt x="56192" y="285950"/>
                </a:lnTo>
                <a:lnTo>
                  <a:pt x="55873" y="282013"/>
                </a:lnTo>
                <a:lnTo>
                  <a:pt x="72194" y="243786"/>
                </a:lnTo>
                <a:lnTo>
                  <a:pt x="83624" y="241373"/>
                </a:lnTo>
                <a:lnTo>
                  <a:pt x="120159" y="241373"/>
                </a:lnTo>
                <a:lnTo>
                  <a:pt x="114088" y="235102"/>
                </a:lnTo>
                <a:lnTo>
                  <a:pt x="106716" y="230183"/>
                </a:lnTo>
                <a:lnTo>
                  <a:pt x="97975" y="226514"/>
                </a:lnTo>
                <a:lnTo>
                  <a:pt x="90736" y="224228"/>
                </a:lnTo>
                <a:lnTo>
                  <a:pt x="84005" y="223466"/>
                </a:lnTo>
                <a:close/>
              </a:path>
              <a:path w="197484" h="314325">
                <a:moveTo>
                  <a:pt x="69035" y="107370"/>
                </a:moveTo>
                <a:lnTo>
                  <a:pt x="32189" y="136344"/>
                </a:lnTo>
                <a:lnTo>
                  <a:pt x="29881" y="146893"/>
                </a:lnTo>
                <a:lnTo>
                  <a:pt x="30014" y="156632"/>
                </a:lnTo>
                <a:lnTo>
                  <a:pt x="55177" y="187906"/>
                </a:lnTo>
                <a:lnTo>
                  <a:pt x="98368" y="203852"/>
                </a:lnTo>
                <a:lnTo>
                  <a:pt x="124189" y="206519"/>
                </a:lnTo>
                <a:lnTo>
                  <a:pt x="134551" y="204924"/>
                </a:lnTo>
                <a:lnTo>
                  <a:pt x="143336" y="201281"/>
                </a:lnTo>
                <a:lnTo>
                  <a:pt x="150632" y="195494"/>
                </a:lnTo>
                <a:lnTo>
                  <a:pt x="154323" y="190446"/>
                </a:lnTo>
                <a:lnTo>
                  <a:pt x="121851" y="190446"/>
                </a:lnTo>
                <a:lnTo>
                  <a:pt x="116263" y="190065"/>
                </a:lnTo>
                <a:lnTo>
                  <a:pt x="73337" y="177619"/>
                </a:lnTo>
                <a:lnTo>
                  <a:pt x="52255" y="165808"/>
                </a:lnTo>
                <a:lnTo>
                  <a:pt x="48445" y="162506"/>
                </a:lnTo>
                <a:lnTo>
                  <a:pt x="46032" y="158696"/>
                </a:lnTo>
                <a:lnTo>
                  <a:pt x="44000" y="150568"/>
                </a:lnTo>
                <a:lnTo>
                  <a:pt x="44254" y="145869"/>
                </a:lnTo>
                <a:lnTo>
                  <a:pt x="65463" y="124025"/>
                </a:lnTo>
                <a:lnTo>
                  <a:pt x="70416" y="123390"/>
                </a:lnTo>
                <a:lnTo>
                  <a:pt x="132679" y="123390"/>
                </a:lnTo>
                <a:lnTo>
                  <a:pt x="125377" y="119814"/>
                </a:lnTo>
                <a:lnTo>
                  <a:pt x="110040" y="114246"/>
                </a:lnTo>
                <a:lnTo>
                  <a:pt x="94752" y="110001"/>
                </a:lnTo>
                <a:lnTo>
                  <a:pt x="81084" y="107721"/>
                </a:lnTo>
                <a:lnTo>
                  <a:pt x="69035" y="107370"/>
                </a:lnTo>
                <a:close/>
              </a:path>
              <a:path w="197484" h="314325">
                <a:moveTo>
                  <a:pt x="132679" y="123390"/>
                </a:moveTo>
                <a:lnTo>
                  <a:pt x="70416" y="123390"/>
                </a:lnTo>
                <a:lnTo>
                  <a:pt x="76131" y="123771"/>
                </a:lnTo>
                <a:lnTo>
                  <a:pt x="88958" y="126311"/>
                </a:lnTo>
                <a:lnTo>
                  <a:pt x="126169" y="139011"/>
                </a:lnTo>
                <a:lnTo>
                  <a:pt x="148905" y="165562"/>
                </a:lnTo>
                <a:lnTo>
                  <a:pt x="148775" y="167967"/>
                </a:lnTo>
                <a:lnTo>
                  <a:pt x="121851" y="190446"/>
                </a:lnTo>
                <a:lnTo>
                  <a:pt x="154323" y="190446"/>
                </a:lnTo>
                <a:lnTo>
                  <a:pt x="156446" y="187525"/>
                </a:lnTo>
                <a:lnTo>
                  <a:pt x="160713" y="177492"/>
                </a:lnTo>
                <a:lnTo>
                  <a:pt x="163043" y="166945"/>
                </a:lnTo>
                <a:lnTo>
                  <a:pt x="162967" y="157220"/>
                </a:lnTo>
                <a:lnTo>
                  <a:pt x="160463" y="148328"/>
                </a:lnTo>
                <a:lnTo>
                  <a:pt x="155506" y="140281"/>
                </a:lnTo>
                <a:lnTo>
                  <a:pt x="148098" y="132855"/>
                </a:lnTo>
                <a:lnTo>
                  <a:pt x="138059" y="126025"/>
                </a:lnTo>
                <a:lnTo>
                  <a:pt x="132679" y="123390"/>
                </a:lnTo>
                <a:close/>
              </a:path>
              <a:path w="197484" h="314325">
                <a:moveTo>
                  <a:pt x="103454" y="0"/>
                </a:moveTo>
                <a:lnTo>
                  <a:pt x="66606" y="28902"/>
                </a:lnTo>
                <a:lnTo>
                  <a:pt x="64370" y="39469"/>
                </a:lnTo>
                <a:lnTo>
                  <a:pt x="64526" y="49238"/>
                </a:lnTo>
                <a:lnTo>
                  <a:pt x="89577" y="80448"/>
                </a:lnTo>
                <a:lnTo>
                  <a:pt x="132785" y="96535"/>
                </a:lnTo>
                <a:lnTo>
                  <a:pt x="158606" y="99151"/>
                </a:lnTo>
                <a:lnTo>
                  <a:pt x="168968" y="97482"/>
                </a:lnTo>
                <a:lnTo>
                  <a:pt x="177753" y="93839"/>
                </a:lnTo>
                <a:lnTo>
                  <a:pt x="185049" y="88052"/>
                </a:lnTo>
                <a:lnTo>
                  <a:pt x="188740" y="83004"/>
                </a:lnTo>
                <a:lnTo>
                  <a:pt x="156268" y="83004"/>
                </a:lnTo>
                <a:lnTo>
                  <a:pt x="150680" y="82623"/>
                </a:lnTo>
                <a:lnTo>
                  <a:pt x="107754" y="70177"/>
                </a:lnTo>
                <a:lnTo>
                  <a:pt x="86672" y="58493"/>
                </a:lnTo>
                <a:lnTo>
                  <a:pt x="82862" y="55064"/>
                </a:lnTo>
                <a:lnTo>
                  <a:pt x="80576" y="51381"/>
                </a:lnTo>
                <a:lnTo>
                  <a:pt x="79433" y="47190"/>
                </a:lnTo>
                <a:lnTo>
                  <a:pt x="78417" y="43126"/>
                </a:lnTo>
                <a:lnTo>
                  <a:pt x="78671" y="38554"/>
                </a:lnTo>
                <a:lnTo>
                  <a:pt x="80322" y="33347"/>
                </a:lnTo>
                <a:lnTo>
                  <a:pt x="81973" y="28013"/>
                </a:lnTo>
                <a:lnTo>
                  <a:pt x="104833" y="15948"/>
                </a:lnTo>
                <a:lnTo>
                  <a:pt x="167025" y="15948"/>
                </a:lnTo>
                <a:lnTo>
                  <a:pt x="159848" y="12426"/>
                </a:lnTo>
                <a:lnTo>
                  <a:pt x="144584" y="6804"/>
                </a:lnTo>
                <a:lnTo>
                  <a:pt x="129223" y="2615"/>
                </a:lnTo>
                <a:lnTo>
                  <a:pt x="115517" y="343"/>
                </a:lnTo>
                <a:lnTo>
                  <a:pt x="103454" y="0"/>
                </a:lnTo>
                <a:close/>
              </a:path>
              <a:path w="197484" h="314325">
                <a:moveTo>
                  <a:pt x="167025" y="15948"/>
                </a:moveTo>
                <a:lnTo>
                  <a:pt x="104833" y="15948"/>
                </a:lnTo>
                <a:lnTo>
                  <a:pt x="110548" y="16329"/>
                </a:lnTo>
                <a:lnTo>
                  <a:pt x="116898" y="17599"/>
                </a:lnTo>
                <a:lnTo>
                  <a:pt x="154871" y="29029"/>
                </a:lnTo>
                <a:lnTo>
                  <a:pt x="160586" y="31696"/>
                </a:lnTo>
                <a:lnTo>
                  <a:pt x="166428" y="34236"/>
                </a:lnTo>
                <a:lnTo>
                  <a:pt x="171381" y="37284"/>
                </a:lnTo>
                <a:lnTo>
                  <a:pt x="175191" y="40713"/>
                </a:lnTo>
                <a:lnTo>
                  <a:pt x="179001" y="43888"/>
                </a:lnTo>
                <a:lnTo>
                  <a:pt x="181414" y="47698"/>
                </a:lnTo>
                <a:lnTo>
                  <a:pt x="183255" y="55064"/>
                </a:lnTo>
                <a:lnTo>
                  <a:pt x="183319" y="58173"/>
                </a:lnTo>
                <a:lnTo>
                  <a:pt x="183192" y="60525"/>
                </a:lnTo>
                <a:lnTo>
                  <a:pt x="181541" y="65732"/>
                </a:lnTo>
                <a:lnTo>
                  <a:pt x="179763" y="71193"/>
                </a:lnTo>
                <a:lnTo>
                  <a:pt x="177223" y="75384"/>
                </a:lnTo>
                <a:lnTo>
                  <a:pt x="173794" y="77924"/>
                </a:lnTo>
                <a:lnTo>
                  <a:pt x="170492" y="80591"/>
                </a:lnTo>
                <a:lnTo>
                  <a:pt x="166428" y="82115"/>
                </a:lnTo>
                <a:lnTo>
                  <a:pt x="161475" y="82496"/>
                </a:lnTo>
                <a:lnTo>
                  <a:pt x="156268" y="83004"/>
                </a:lnTo>
                <a:lnTo>
                  <a:pt x="188740" y="83004"/>
                </a:lnTo>
                <a:lnTo>
                  <a:pt x="190846" y="80123"/>
                </a:lnTo>
                <a:lnTo>
                  <a:pt x="195130" y="70050"/>
                </a:lnTo>
                <a:lnTo>
                  <a:pt x="197460" y="59574"/>
                </a:lnTo>
                <a:lnTo>
                  <a:pt x="197384" y="49873"/>
                </a:lnTo>
                <a:lnTo>
                  <a:pt x="194880" y="40957"/>
                </a:lnTo>
                <a:lnTo>
                  <a:pt x="189923" y="32839"/>
                </a:lnTo>
                <a:lnTo>
                  <a:pt x="182517" y="25431"/>
                </a:lnTo>
                <a:lnTo>
                  <a:pt x="172492" y="18631"/>
                </a:lnTo>
                <a:lnTo>
                  <a:pt x="167025" y="15948"/>
                </a:lnTo>
                <a:close/>
              </a:path>
            </a:pathLst>
          </a:custGeom>
          <a:solidFill>
            <a:srgbClr val="FFFFFF"/>
          </a:solidFill>
        </p:spPr>
        <p:txBody>
          <a:bodyPr wrap="square" lIns="0" tIns="0" rIns="0" bIns="0" rtlCol="0"/>
          <a:lstStyle/>
          <a:p>
            <a:endParaRPr/>
          </a:p>
        </p:txBody>
      </p:sp>
      <p:sp>
        <p:nvSpPr>
          <p:cNvPr id="82" name="object 82"/>
          <p:cNvSpPr/>
          <p:nvPr/>
        </p:nvSpPr>
        <p:spPr>
          <a:xfrm>
            <a:off x="8768715" y="5337698"/>
            <a:ext cx="294005" cy="222885"/>
          </a:xfrm>
          <a:custGeom>
            <a:avLst/>
            <a:gdLst/>
            <a:ahLst/>
            <a:cxnLst/>
            <a:rect l="l" t="t" r="r" b="b"/>
            <a:pathLst>
              <a:path w="294004" h="222885">
                <a:moveTo>
                  <a:pt x="83111" y="190103"/>
                </a:moveTo>
                <a:lnTo>
                  <a:pt x="64261" y="190103"/>
                </a:lnTo>
                <a:lnTo>
                  <a:pt x="81279" y="222361"/>
                </a:lnTo>
                <a:lnTo>
                  <a:pt x="96138" y="214614"/>
                </a:lnTo>
                <a:lnTo>
                  <a:pt x="83111" y="190103"/>
                </a:lnTo>
                <a:close/>
              </a:path>
              <a:path w="294004" h="222885">
                <a:moveTo>
                  <a:pt x="35559" y="99933"/>
                </a:moveTo>
                <a:lnTo>
                  <a:pt x="21335" y="107426"/>
                </a:lnTo>
                <a:lnTo>
                  <a:pt x="0" y="201406"/>
                </a:lnTo>
                <a:lnTo>
                  <a:pt x="9398" y="219059"/>
                </a:lnTo>
                <a:lnTo>
                  <a:pt x="43086" y="201279"/>
                </a:lnTo>
                <a:lnTo>
                  <a:pt x="13334" y="201279"/>
                </a:lnTo>
                <a:lnTo>
                  <a:pt x="30479" y="126095"/>
                </a:lnTo>
                <a:lnTo>
                  <a:pt x="49351" y="126095"/>
                </a:lnTo>
                <a:lnTo>
                  <a:pt x="35559" y="99933"/>
                </a:lnTo>
                <a:close/>
              </a:path>
              <a:path w="294004" h="222885">
                <a:moveTo>
                  <a:pt x="49351" y="126095"/>
                </a:moveTo>
                <a:lnTo>
                  <a:pt x="30479" y="126095"/>
                </a:lnTo>
                <a:lnTo>
                  <a:pt x="57784" y="177784"/>
                </a:lnTo>
                <a:lnTo>
                  <a:pt x="13334" y="201279"/>
                </a:lnTo>
                <a:lnTo>
                  <a:pt x="43086" y="201279"/>
                </a:lnTo>
                <a:lnTo>
                  <a:pt x="64261" y="190103"/>
                </a:lnTo>
                <a:lnTo>
                  <a:pt x="83111" y="190103"/>
                </a:lnTo>
                <a:lnTo>
                  <a:pt x="78993" y="182356"/>
                </a:lnTo>
                <a:lnTo>
                  <a:pt x="96011" y="173339"/>
                </a:lnTo>
                <a:lnTo>
                  <a:pt x="94275" y="170037"/>
                </a:lnTo>
                <a:lnTo>
                  <a:pt x="72516" y="170037"/>
                </a:lnTo>
                <a:lnTo>
                  <a:pt x="49351" y="126095"/>
                </a:lnTo>
                <a:close/>
              </a:path>
              <a:path w="294004" h="222885">
                <a:moveTo>
                  <a:pt x="128508" y="52689"/>
                </a:moveTo>
                <a:lnTo>
                  <a:pt x="92868" y="71358"/>
                </a:lnTo>
                <a:lnTo>
                  <a:pt x="86421" y="92694"/>
                </a:lnTo>
                <a:lnTo>
                  <a:pt x="86527" y="99298"/>
                </a:lnTo>
                <a:lnTo>
                  <a:pt x="100583" y="139049"/>
                </a:lnTo>
                <a:lnTo>
                  <a:pt x="125283" y="172910"/>
                </a:lnTo>
                <a:lnTo>
                  <a:pt x="151876" y="183515"/>
                </a:lnTo>
                <a:lnTo>
                  <a:pt x="161557" y="181929"/>
                </a:lnTo>
                <a:lnTo>
                  <a:pt x="171703" y="177784"/>
                </a:lnTo>
                <a:lnTo>
                  <a:pt x="180679" y="171827"/>
                </a:lnTo>
                <a:lnTo>
                  <a:pt x="183485" y="168894"/>
                </a:lnTo>
                <a:lnTo>
                  <a:pt x="155193" y="168894"/>
                </a:lnTo>
                <a:lnTo>
                  <a:pt x="146684" y="167878"/>
                </a:lnTo>
                <a:lnTo>
                  <a:pt x="142748" y="166100"/>
                </a:lnTo>
                <a:lnTo>
                  <a:pt x="138937" y="163052"/>
                </a:lnTo>
                <a:lnTo>
                  <a:pt x="134746" y="159750"/>
                </a:lnTo>
                <a:lnTo>
                  <a:pt x="112394" y="123555"/>
                </a:lnTo>
                <a:lnTo>
                  <a:pt x="106552" y="110220"/>
                </a:lnTo>
                <a:lnTo>
                  <a:pt x="103885" y="103743"/>
                </a:lnTo>
                <a:lnTo>
                  <a:pt x="102488" y="98155"/>
                </a:lnTo>
                <a:lnTo>
                  <a:pt x="101980" y="88376"/>
                </a:lnTo>
                <a:lnTo>
                  <a:pt x="102869" y="84058"/>
                </a:lnTo>
                <a:lnTo>
                  <a:pt x="105028" y="80375"/>
                </a:lnTo>
                <a:lnTo>
                  <a:pt x="107060" y="76692"/>
                </a:lnTo>
                <a:lnTo>
                  <a:pt x="110489" y="73644"/>
                </a:lnTo>
                <a:lnTo>
                  <a:pt x="115315" y="71104"/>
                </a:lnTo>
                <a:lnTo>
                  <a:pt x="120268" y="68564"/>
                </a:lnTo>
                <a:lnTo>
                  <a:pt x="124713" y="67421"/>
                </a:lnTo>
                <a:lnTo>
                  <a:pt x="159036" y="67421"/>
                </a:lnTo>
                <a:lnTo>
                  <a:pt x="155203" y="63454"/>
                </a:lnTo>
                <a:lnTo>
                  <a:pt x="146684" y="57261"/>
                </a:lnTo>
                <a:lnTo>
                  <a:pt x="137804" y="53689"/>
                </a:lnTo>
                <a:lnTo>
                  <a:pt x="128508" y="52689"/>
                </a:lnTo>
                <a:close/>
              </a:path>
              <a:path w="294004" h="222885">
                <a:moveTo>
                  <a:pt x="89534" y="161020"/>
                </a:moveTo>
                <a:lnTo>
                  <a:pt x="72516" y="170037"/>
                </a:lnTo>
                <a:lnTo>
                  <a:pt x="94275" y="170037"/>
                </a:lnTo>
                <a:lnTo>
                  <a:pt x="89534" y="161020"/>
                </a:lnTo>
                <a:close/>
              </a:path>
              <a:path w="294004" h="222885">
                <a:moveTo>
                  <a:pt x="159036" y="67421"/>
                </a:moveTo>
                <a:lnTo>
                  <a:pt x="124713" y="67421"/>
                </a:lnTo>
                <a:lnTo>
                  <a:pt x="133095" y="68183"/>
                </a:lnTo>
                <a:lnTo>
                  <a:pt x="137159" y="69834"/>
                </a:lnTo>
                <a:lnTo>
                  <a:pt x="140969" y="72882"/>
                </a:lnTo>
                <a:lnTo>
                  <a:pt x="144906" y="75803"/>
                </a:lnTo>
                <a:lnTo>
                  <a:pt x="148716" y="80121"/>
                </a:lnTo>
                <a:lnTo>
                  <a:pt x="152400" y="85455"/>
                </a:lnTo>
                <a:lnTo>
                  <a:pt x="156082" y="90916"/>
                </a:lnTo>
                <a:lnTo>
                  <a:pt x="160019" y="97520"/>
                </a:lnTo>
                <a:lnTo>
                  <a:pt x="164083" y="105267"/>
                </a:lnTo>
                <a:lnTo>
                  <a:pt x="168275" y="113141"/>
                </a:lnTo>
                <a:lnTo>
                  <a:pt x="171635" y="120278"/>
                </a:lnTo>
                <a:lnTo>
                  <a:pt x="173965" y="126349"/>
                </a:lnTo>
                <a:lnTo>
                  <a:pt x="176275" y="132064"/>
                </a:lnTo>
                <a:lnTo>
                  <a:pt x="177545" y="137525"/>
                </a:lnTo>
                <a:lnTo>
                  <a:pt x="177926" y="142732"/>
                </a:lnTo>
                <a:lnTo>
                  <a:pt x="178434" y="147685"/>
                </a:lnTo>
                <a:lnTo>
                  <a:pt x="177545" y="152003"/>
                </a:lnTo>
                <a:lnTo>
                  <a:pt x="173227" y="159369"/>
                </a:lnTo>
                <a:lnTo>
                  <a:pt x="169799" y="162417"/>
                </a:lnTo>
                <a:lnTo>
                  <a:pt x="164973" y="164957"/>
                </a:lnTo>
                <a:lnTo>
                  <a:pt x="159765" y="167751"/>
                </a:lnTo>
                <a:lnTo>
                  <a:pt x="155193" y="168894"/>
                </a:lnTo>
                <a:lnTo>
                  <a:pt x="183485" y="168894"/>
                </a:lnTo>
                <a:lnTo>
                  <a:pt x="187404" y="164798"/>
                </a:lnTo>
                <a:lnTo>
                  <a:pt x="191867" y="156674"/>
                </a:lnTo>
                <a:lnTo>
                  <a:pt x="193995" y="147685"/>
                </a:lnTo>
                <a:lnTo>
                  <a:pt x="193940" y="136981"/>
                </a:lnTo>
                <a:lnTo>
                  <a:pt x="179831" y="97012"/>
                </a:lnTo>
                <a:lnTo>
                  <a:pt x="163591" y="72136"/>
                </a:lnTo>
                <a:lnTo>
                  <a:pt x="159036" y="67421"/>
                </a:lnTo>
                <a:close/>
              </a:path>
              <a:path w="294004" h="222885">
                <a:moveTo>
                  <a:pt x="228203" y="0"/>
                </a:moveTo>
                <a:lnTo>
                  <a:pt x="192611" y="18748"/>
                </a:lnTo>
                <a:lnTo>
                  <a:pt x="186128" y="40751"/>
                </a:lnTo>
                <a:lnTo>
                  <a:pt x="186223" y="46680"/>
                </a:lnTo>
                <a:lnTo>
                  <a:pt x="200278" y="86471"/>
                </a:lnTo>
                <a:lnTo>
                  <a:pt x="224978" y="120278"/>
                </a:lnTo>
                <a:lnTo>
                  <a:pt x="251618" y="130809"/>
                </a:lnTo>
                <a:lnTo>
                  <a:pt x="261306" y="129224"/>
                </a:lnTo>
                <a:lnTo>
                  <a:pt x="271399" y="125079"/>
                </a:lnTo>
                <a:lnTo>
                  <a:pt x="280427" y="119177"/>
                </a:lnTo>
                <a:lnTo>
                  <a:pt x="283287" y="116189"/>
                </a:lnTo>
                <a:lnTo>
                  <a:pt x="254888" y="116189"/>
                </a:lnTo>
                <a:lnTo>
                  <a:pt x="250698" y="115681"/>
                </a:lnTo>
                <a:lnTo>
                  <a:pt x="246506" y="115300"/>
                </a:lnTo>
                <a:lnTo>
                  <a:pt x="242442" y="113522"/>
                </a:lnTo>
                <a:lnTo>
                  <a:pt x="238632" y="110347"/>
                </a:lnTo>
                <a:lnTo>
                  <a:pt x="234568" y="107045"/>
                </a:lnTo>
                <a:lnTo>
                  <a:pt x="212089" y="70850"/>
                </a:lnTo>
                <a:lnTo>
                  <a:pt x="206146" y="57261"/>
                </a:lnTo>
                <a:lnTo>
                  <a:pt x="203707" y="51165"/>
                </a:lnTo>
                <a:lnTo>
                  <a:pt x="202310" y="45577"/>
                </a:lnTo>
                <a:lnTo>
                  <a:pt x="201929" y="40751"/>
                </a:lnTo>
                <a:lnTo>
                  <a:pt x="201675" y="35798"/>
                </a:lnTo>
                <a:lnTo>
                  <a:pt x="202564" y="31480"/>
                </a:lnTo>
                <a:lnTo>
                  <a:pt x="204724" y="27797"/>
                </a:lnTo>
                <a:lnTo>
                  <a:pt x="206755" y="24114"/>
                </a:lnTo>
                <a:lnTo>
                  <a:pt x="210311" y="20939"/>
                </a:lnTo>
                <a:lnTo>
                  <a:pt x="219963" y="15859"/>
                </a:lnTo>
                <a:lnTo>
                  <a:pt x="224535" y="14716"/>
                </a:lnTo>
                <a:lnTo>
                  <a:pt x="258739" y="14716"/>
                </a:lnTo>
                <a:lnTo>
                  <a:pt x="254952" y="10804"/>
                </a:lnTo>
                <a:lnTo>
                  <a:pt x="246379" y="4683"/>
                </a:lnTo>
                <a:lnTo>
                  <a:pt x="237499" y="1037"/>
                </a:lnTo>
                <a:lnTo>
                  <a:pt x="228203" y="0"/>
                </a:lnTo>
                <a:close/>
              </a:path>
              <a:path w="294004" h="222885">
                <a:moveTo>
                  <a:pt x="258739" y="14716"/>
                </a:moveTo>
                <a:lnTo>
                  <a:pt x="224535" y="14716"/>
                </a:lnTo>
                <a:lnTo>
                  <a:pt x="232790" y="15478"/>
                </a:lnTo>
                <a:lnTo>
                  <a:pt x="236854" y="17129"/>
                </a:lnTo>
                <a:lnTo>
                  <a:pt x="240664" y="20177"/>
                </a:lnTo>
                <a:lnTo>
                  <a:pt x="244728" y="23225"/>
                </a:lnTo>
                <a:lnTo>
                  <a:pt x="248538" y="27416"/>
                </a:lnTo>
                <a:lnTo>
                  <a:pt x="252221" y="32877"/>
                </a:lnTo>
                <a:lnTo>
                  <a:pt x="255904" y="38211"/>
                </a:lnTo>
                <a:lnTo>
                  <a:pt x="259714" y="44815"/>
                </a:lnTo>
                <a:lnTo>
                  <a:pt x="268096" y="60563"/>
                </a:lnTo>
                <a:lnTo>
                  <a:pt x="271271" y="67421"/>
                </a:lnTo>
                <a:lnTo>
                  <a:pt x="273660" y="73644"/>
                </a:lnTo>
                <a:lnTo>
                  <a:pt x="275970" y="79359"/>
                </a:lnTo>
                <a:lnTo>
                  <a:pt x="277367" y="84947"/>
                </a:lnTo>
                <a:lnTo>
                  <a:pt x="278129" y="94980"/>
                </a:lnTo>
                <a:lnTo>
                  <a:pt x="277240" y="99298"/>
                </a:lnTo>
                <a:lnTo>
                  <a:pt x="275081" y="102981"/>
                </a:lnTo>
                <a:lnTo>
                  <a:pt x="273050" y="106664"/>
                </a:lnTo>
                <a:lnTo>
                  <a:pt x="269493" y="109839"/>
                </a:lnTo>
                <a:lnTo>
                  <a:pt x="259587" y="115046"/>
                </a:lnTo>
                <a:lnTo>
                  <a:pt x="254888" y="116189"/>
                </a:lnTo>
                <a:lnTo>
                  <a:pt x="283287" y="116189"/>
                </a:lnTo>
                <a:lnTo>
                  <a:pt x="287146" y="112156"/>
                </a:lnTo>
                <a:lnTo>
                  <a:pt x="291580" y="104040"/>
                </a:lnTo>
                <a:lnTo>
                  <a:pt x="293720" y="94980"/>
                </a:lnTo>
                <a:lnTo>
                  <a:pt x="293635" y="84349"/>
                </a:lnTo>
                <a:lnTo>
                  <a:pt x="279526" y="44434"/>
                </a:lnTo>
                <a:lnTo>
                  <a:pt x="263334" y="19462"/>
                </a:lnTo>
                <a:lnTo>
                  <a:pt x="258739" y="14716"/>
                </a:lnTo>
                <a:close/>
              </a:path>
            </a:pathLst>
          </a:custGeom>
          <a:solidFill>
            <a:srgbClr val="FFFFFF"/>
          </a:solidFill>
        </p:spPr>
        <p:txBody>
          <a:bodyPr wrap="square" lIns="0" tIns="0" rIns="0" bIns="0" rtlCol="0"/>
          <a:lstStyle/>
          <a:p>
            <a:endParaRPr/>
          </a:p>
        </p:txBody>
      </p:sp>
      <p:sp>
        <p:nvSpPr>
          <p:cNvPr id="83" name="object 83"/>
          <p:cNvSpPr/>
          <p:nvPr/>
        </p:nvSpPr>
        <p:spPr>
          <a:xfrm>
            <a:off x="6909434" y="5322951"/>
            <a:ext cx="307975" cy="227329"/>
          </a:xfrm>
          <a:custGeom>
            <a:avLst/>
            <a:gdLst/>
            <a:ahLst/>
            <a:cxnLst/>
            <a:rect l="l" t="t" r="r" b="b"/>
            <a:pathLst>
              <a:path w="307975" h="227329">
                <a:moveTo>
                  <a:pt x="267335" y="97266"/>
                </a:moveTo>
                <a:lnTo>
                  <a:pt x="231552" y="115188"/>
                </a:lnTo>
                <a:lnTo>
                  <a:pt x="206819" y="154191"/>
                </a:lnTo>
                <a:lnTo>
                  <a:pt x="198366" y="189992"/>
                </a:lnTo>
                <a:lnTo>
                  <a:pt x="200009" y="198741"/>
                </a:lnTo>
                <a:lnTo>
                  <a:pt x="229421" y="225178"/>
                </a:lnTo>
                <a:lnTo>
                  <a:pt x="238950" y="227107"/>
                </a:lnTo>
                <a:lnTo>
                  <a:pt x="248193" y="226512"/>
                </a:lnTo>
                <a:lnTo>
                  <a:pt x="257175" y="223393"/>
                </a:lnTo>
                <a:lnTo>
                  <a:pt x="265936" y="217729"/>
                </a:lnTo>
                <a:lnTo>
                  <a:pt x="271676" y="212217"/>
                </a:lnTo>
                <a:lnTo>
                  <a:pt x="235966" y="212217"/>
                </a:lnTo>
                <a:lnTo>
                  <a:pt x="231521" y="210947"/>
                </a:lnTo>
                <a:lnTo>
                  <a:pt x="226695" y="208280"/>
                </a:lnTo>
                <a:lnTo>
                  <a:pt x="221742" y="205359"/>
                </a:lnTo>
                <a:lnTo>
                  <a:pt x="218186" y="202057"/>
                </a:lnTo>
                <a:lnTo>
                  <a:pt x="216390" y="198211"/>
                </a:lnTo>
                <a:lnTo>
                  <a:pt x="214503" y="194437"/>
                </a:lnTo>
                <a:lnTo>
                  <a:pt x="213868" y="189992"/>
                </a:lnTo>
                <a:lnTo>
                  <a:pt x="214503" y="185165"/>
                </a:lnTo>
                <a:lnTo>
                  <a:pt x="215011" y="179959"/>
                </a:lnTo>
                <a:lnTo>
                  <a:pt x="229616" y="148717"/>
                </a:lnTo>
                <a:lnTo>
                  <a:pt x="233680" y="141605"/>
                </a:lnTo>
                <a:lnTo>
                  <a:pt x="262000" y="112522"/>
                </a:lnTo>
                <a:lnTo>
                  <a:pt x="270383" y="112140"/>
                </a:lnTo>
                <a:lnTo>
                  <a:pt x="297593" y="112140"/>
                </a:lnTo>
                <a:lnTo>
                  <a:pt x="295669" y="109964"/>
                </a:lnTo>
                <a:lnTo>
                  <a:pt x="286766" y="103632"/>
                </a:lnTo>
                <a:lnTo>
                  <a:pt x="276907" y="99181"/>
                </a:lnTo>
                <a:lnTo>
                  <a:pt x="267335" y="97266"/>
                </a:lnTo>
                <a:close/>
              </a:path>
              <a:path w="307975" h="227329">
                <a:moveTo>
                  <a:pt x="297593" y="112140"/>
                </a:moveTo>
                <a:lnTo>
                  <a:pt x="270383" y="112140"/>
                </a:lnTo>
                <a:lnTo>
                  <a:pt x="274828" y="113411"/>
                </a:lnTo>
                <a:lnTo>
                  <a:pt x="279654" y="116078"/>
                </a:lnTo>
                <a:lnTo>
                  <a:pt x="284353" y="118872"/>
                </a:lnTo>
                <a:lnTo>
                  <a:pt x="287782" y="122047"/>
                </a:lnTo>
                <a:lnTo>
                  <a:pt x="289687" y="125857"/>
                </a:lnTo>
                <a:lnTo>
                  <a:pt x="291592" y="129540"/>
                </a:lnTo>
                <a:lnTo>
                  <a:pt x="292354" y="133858"/>
                </a:lnTo>
                <a:lnTo>
                  <a:pt x="291846" y="138684"/>
                </a:lnTo>
                <a:lnTo>
                  <a:pt x="291465" y="143637"/>
                </a:lnTo>
                <a:lnTo>
                  <a:pt x="276733" y="175640"/>
                </a:lnTo>
                <a:lnTo>
                  <a:pt x="272288" y="183387"/>
                </a:lnTo>
                <a:lnTo>
                  <a:pt x="268224" y="189865"/>
                </a:lnTo>
                <a:lnTo>
                  <a:pt x="264414" y="194945"/>
                </a:lnTo>
                <a:lnTo>
                  <a:pt x="260604" y="200152"/>
                </a:lnTo>
                <a:lnTo>
                  <a:pt x="235966" y="212217"/>
                </a:lnTo>
                <a:lnTo>
                  <a:pt x="271676" y="212217"/>
                </a:lnTo>
                <a:lnTo>
                  <a:pt x="299438" y="170328"/>
                </a:lnTo>
                <a:lnTo>
                  <a:pt x="307975" y="135128"/>
                </a:lnTo>
                <a:lnTo>
                  <a:pt x="306286" y="125724"/>
                </a:lnTo>
                <a:lnTo>
                  <a:pt x="302180" y="117332"/>
                </a:lnTo>
                <a:lnTo>
                  <a:pt x="297593" y="112140"/>
                </a:lnTo>
                <a:close/>
              </a:path>
              <a:path w="307975" h="227329">
                <a:moveTo>
                  <a:pt x="169545" y="41132"/>
                </a:moveTo>
                <a:lnTo>
                  <a:pt x="133762" y="59055"/>
                </a:lnTo>
                <a:lnTo>
                  <a:pt x="109029" y="98057"/>
                </a:lnTo>
                <a:lnTo>
                  <a:pt x="100576" y="133858"/>
                </a:lnTo>
                <a:lnTo>
                  <a:pt x="102219" y="142607"/>
                </a:lnTo>
                <a:lnTo>
                  <a:pt x="131575" y="169044"/>
                </a:lnTo>
                <a:lnTo>
                  <a:pt x="141097" y="170973"/>
                </a:lnTo>
                <a:lnTo>
                  <a:pt x="150332" y="170378"/>
                </a:lnTo>
                <a:lnTo>
                  <a:pt x="159258" y="167259"/>
                </a:lnTo>
                <a:lnTo>
                  <a:pt x="168092" y="161542"/>
                </a:lnTo>
                <a:lnTo>
                  <a:pt x="173805" y="156083"/>
                </a:lnTo>
                <a:lnTo>
                  <a:pt x="138175" y="156083"/>
                </a:lnTo>
                <a:lnTo>
                  <a:pt x="133604" y="154812"/>
                </a:lnTo>
                <a:lnTo>
                  <a:pt x="128905" y="152146"/>
                </a:lnTo>
                <a:lnTo>
                  <a:pt x="123951" y="149225"/>
                </a:lnTo>
                <a:lnTo>
                  <a:pt x="120396" y="145796"/>
                </a:lnTo>
                <a:lnTo>
                  <a:pt x="118618" y="141986"/>
                </a:lnTo>
                <a:lnTo>
                  <a:pt x="116713" y="138176"/>
                </a:lnTo>
                <a:lnTo>
                  <a:pt x="116078" y="133858"/>
                </a:lnTo>
                <a:lnTo>
                  <a:pt x="116713" y="129032"/>
                </a:lnTo>
                <a:lnTo>
                  <a:pt x="117221" y="123825"/>
                </a:lnTo>
                <a:lnTo>
                  <a:pt x="118745" y="118364"/>
                </a:lnTo>
                <a:lnTo>
                  <a:pt x="123825" y="107187"/>
                </a:lnTo>
                <a:lnTo>
                  <a:pt x="127254" y="100457"/>
                </a:lnTo>
                <a:lnTo>
                  <a:pt x="131825" y="92583"/>
                </a:lnTo>
                <a:lnTo>
                  <a:pt x="135890" y="85471"/>
                </a:lnTo>
                <a:lnTo>
                  <a:pt x="164211" y="56387"/>
                </a:lnTo>
                <a:lnTo>
                  <a:pt x="172593" y="56007"/>
                </a:lnTo>
                <a:lnTo>
                  <a:pt x="199803" y="56007"/>
                </a:lnTo>
                <a:lnTo>
                  <a:pt x="197879" y="53830"/>
                </a:lnTo>
                <a:lnTo>
                  <a:pt x="188975" y="47498"/>
                </a:lnTo>
                <a:lnTo>
                  <a:pt x="179117" y="43047"/>
                </a:lnTo>
                <a:lnTo>
                  <a:pt x="169545" y="41132"/>
                </a:lnTo>
                <a:close/>
              </a:path>
              <a:path w="307975" h="227329">
                <a:moveTo>
                  <a:pt x="199803" y="56007"/>
                </a:moveTo>
                <a:lnTo>
                  <a:pt x="172593" y="56007"/>
                </a:lnTo>
                <a:lnTo>
                  <a:pt x="177038" y="57277"/>
                </a:lnTo>
                <a:lnTo>
                  <a:pt x="181864" y="59943"/>
                </a:lnTo>
                <a:lnTo>
                  <a:pt x="186563" y="62737"/>
                </a:lnTo>
                <a:lnTo>
                  <a:pt x="189992" y="65912"/>
                </a:lnTo>
                <a:lnTo>
                  <a:pt x="191897" y="69723"/>
                </a:lnTo>
                <a:lnTo>
                  <a:pt x="193801" y="73406"/>
                </a:lnTo>
                <a:lnTo>
                  <a:pt x="183165" y="112268"/>
                </a:lnTo>
                <a:lnTo>
                  <a:pt x="178943" y="119507"/>
                </a:lnTo>
                <a:lnTo>
                  <a:pt x="174498" y="127254"/>
                </a:lnTo>
                <a:lnTo>
                  <a:pt x="170434" y="133731"/>
                </a:lnTo>
                <a:lnTo>
                  <a:pt x="166624" y="138811"/>
                </a:lnTo>
                <a:lnTo>
                  <a:pt x="162814" y="144018"/>
                </a:lnTo>
                <a:lnTo>
                  <a:pt x="138175" y="156083"/>
                </a:lnTo>
                <a:lnTo>
                  <a:pt x="173805" y="156083"/>
                </a:lnTo>
                <a:lnTo>
                  <a:pt x="201594" y="114194"/>
                </a:lnTo>
                <a:lnTo>
                  <a:pt x="210185" y="78993"/>
                </a:lnTo>
                <a:lnTo>
                  <a:pt x="208496" y="69590"/>
                </a:lnTo>
                <a:lnTo>
                  <a:pt x="204390" y="61198"/>
                </a:lnTo>
                <a:lnTo>
                  <a:pt x="199803" y="56007"/>
                </a:lnTo>
                <a:close/>
              </a:path>
              <a:path w="307975" h="227329">
                <a:moveTo>
                  <a:pt x="100838" y="0"/>
                </a:moveTo>
                <a:lnTo>
                  <a:pt x="10033" y="32131"/>
                </a:lnTo>
                <a:lnTo>
                  <a:pt x="0" y="49530"/>
                </a:lnTo>
                <a:lnTo>
                  <a:pt x="53848" y="80390"/>
                </a:lnTo>
                <a:lnTo>
                  <a:pt x="35687" y="112014"/>
                </a:lnTo>
                <a:lnTo>
                  <a:pt x="50165" y="120396"/>
                </a:lnTo>
                <a:lnTo>
                  <a:pt x="68453" y="88773"/>
                </a:lnTo>
                <a:lnTo>
                  <a:pt x="90604" y="88773"/>
                </a:lnTo>
                <a:lnTo>
                  <a:pt x="92075" y="86233"/>
                </a:lnTo>
                <a:lnTo>
                  <a:pt x="75311" y="76708"/>
                </a:lnTo>
                <a:lnTo>
                  <a:pt x="80129" y="68326"/>
                </a:lnTo>
                <a:lnTo>
                  <a:pt x="60833" y="68326"/>
                </a:lnTo>
                <a:lnTo>
                  <a:pt x="17272" y="43307"/>
                </a:lnTo>
                <a:lnTo>
                  <a:pt x="89916" y="17526"/>
                </a:lnTo>
                <a:lnTo>
                  <a:pt x="109332" y="17526"/>
                </a:lnTo>
                <a:lnTo>
                  <a:pt x="114808" y="8001"/>
                </a:lnTo>
                <a:lnTo>
                  <a:pt x="100838" y="0"/>
                </a:lnTo>
                <a:close/>
              </a:path>
              <a:path w="307975" h="227329">
                <a:moveTo>
                  <a:pt x="90604" y="88773"/>
                </a:moveTo>
                <a:lnTo>
                  <a:pt x="68453" y="88773"/>
                </a:lnTo>
                <a:lnTo>
                  <a:pt x="85090" y="98298"/>
                </a:lnTo>
                <a:lnTo>
                  <a:pt x="90604" y="88773"/>
                </a:lnTo>
                <a:close/>
              </a:path>
              <a:path w="307975" h="227329">
                <a:moveTo>
                  <a:pt x="109332" y="17526"/>
                </a:moveTo>
                <a:lnTo>
                  <a:pt x="89916" y="17526"/>
                </a:lnTo>
                <a:lnTo>
                  <a:pt x="60833" y="68326"/>
                </a:lnTo>
                <a:lnTo>
                  <a:pt x="80129" y="68326"/>
                </a:lnTo>
                <a:lnTo>
                  <a:pt x="109332" y="17526"/>
                </a:lnTo>
                <a:close/>
              </a:path>
            </a:pathLst>
          </a:custGeom>
          <a:solidFill>
            <a:srgbClr val="FFFFFF"/>
          </a:solidFill>
        </p:spPr>
        <p:txBody>
          <a:bodyPr wrap="square" lIns="0" tIns="0" rIns="0" bIns="0" rtlCol="0"/>
          <a:lstStyle/>
          <a:p>
            <a:endParaRPr/>
          </a:p>
        </p:txBody>
      </p:sp>
      <p:sp>
        <p:nvSpPr>
          <p:cNvPr id="84" name="object 84"/>
          <p:cNvSpPr/>
          <p:nvPr/>
        </p:nvSpPr>
        <p:spPr>
          <a:xfrm>
            <a:off x="5900292" y="3953732"/>
            <a:ext cx="210185" cy="318770"/>
          </a:xfrm>
          <a:custGeom>
            <a:avLst/>
            <a:gdLst/>
            <a:ahLst/>
            <a:cxnLst/>
            <a:rect l="l" t="t" r="r" b="b"/>
            <a:pathLst>
              <a:path w="210185" h="318770">
                <a:moveTo>
                  <a:pt x="15875" y="36734"/>
                </a:moveTo>
                <a:lnTo>
                  <a:pt x="0" y="41941"/>
                </a:lnTo>
                <a:lnTo>
                  <a:pt x="93" y="45116"/>
                </a:lnTo>
                <a:lnTo>
                  <a:pt x="254" y="46640"/>
                </a:lnTo>
                <a:lnTo>
                  <a:pt x="16891" y="82454"/>
                </a:lnTo>
                <a:lnTo>
                  <a:pt x="56701" y="100284"/>
                </a:lnTo>
                <a:lnTo>
                  <a:pt x="63754" y="100234"/>
                </a:lnTo>
                <a:lnTo>
                  <a:pt x="102330" y="91438"/>
                </a:lnTo>
                <a:lnTo>
                  <a:pt x="116558" y="84296"/>
                </a:lnTo>
                <a:lnTo>
                  <a:pt x="54181" y="84296"/>
                </a:lnTo>
                <a:lnTo>
                  <a:pt x="45979" y="83061"/>
                </a:lnTo>
                <a:lnTo>
                  <a:pt x="18034" y="55276"/>
                </a:lnTo>
                <a:lnTo>
                  <a:pt x="16002" y="45116"/>
                </a:lnTo>
                <a:lnTo>
                  <a:pt x="15822" y="42957"/>
                </a:lnTo>
                <a:lnTo>
                  <a:pt x="15849" y="39020"/>
                </a:lnTo>
                <a:lnTo>
                  <a:pt x="16129" y="37623"/>
                </a:lnTo>
                <a:lnTo>
                  <a:pt x="15875" y="36734"/>
                </a:lnTo>
                <a:close/>
              </a:path>
              <a:path w="210185" h="318770">
                <a:moveTo>
                  <a:pt x="97853" y="0"/>
                </a:moveTo>
                <a:lnTo>
                  <a:pt x="62357" y="12350"/>
                </a:lnTo>
                <a:lnTo>
                  <a:pt x="57912" y="16414"/>
                </a:lnTo>
                <a:lnTo>
                  <a:pt x="54864" y="21494"/>
                </a:lnTo>
                <a:lnTo>
                  <a:pt x="51562" y="32543"/>
                </a:lnTo>
                <a:lnTo>
                  <a:pt x="51201" y="35972"/>
                </a:lnTo>
                <a:lnTo>
                  <a:pt x="51181" y="39528"/>
                </a:lnTo>
                <a:lnTo>
                  <a:pt x="51308" y="41687"/>
                </a:lnTo>
                <a:lnTo>
                  <a:pt x="67818" y="78390"/>
                </a:lnTo>
                <a:lnTo>
                  <a:pt x="72644" y="82454"/>
                </a:lnTo>
                <a:lnTo>
                  <a:pt x="63073" y="84101"/>
                </a:lnTo>
                <a:lnTo>
                  <a:pt x="54181" y="84296"/>
                </a:lnTo>
                <a:lnTo>
                  <a:pt x="116558" y="84296"/>
                </a:lnTo>
                <a:lnTo>
                  <a:pt x="120904" y="81311"/>
                </a:lnTo>
                <a:lnTo>
                  <a:pt x="124413" y="78644"/>
                </a:lnTo>
                <a:lnTo>
                  <a:pt x="84328" y="78644"/>
                </a:lnTo>
                <a:lnTo>
                  <a:pt x="80899" y="75596"/>
                </a:lnTo>
                <a:lnTo>
                  <a:pt x="77851" y="71913"/>
                </a:lnTo>
                <a:lnTo>
                  <a:pt x="75311" y="67976"/>
                </a:lnTo>
                <a:lnTo>
                  <a:pt x="72644" y="63912"/>
                </a:lnTo>
                <a:lnTo>
                  <a:pt x="66452" y="41687"/>
                </a:lnTo>
                <a:lnTo>
                  <a:pt x="66675" y="39020"/>
                </a:lnTo>
                <a:lnTo>
                  <a:pt x="94869" y="16160"/>
                </a:lnTo>
                <a:lnTo>
                  <a:pt x="128161" y="16160"/>
                </a:lnTo>
                <a:lnTo>
                  <a:pt x="127873" y="15732"/>
                </a:lnTo>
                <a:lnTo>
                  <a:pt x="121787" y="9717"/>
                </a:lnTo>
                <a:lnTo>
                  <a:pt x="114427" y="4857"/>
                </a:lnTo>
                <a:lnTo>
                  <a:pt x="106330" y="1500"/>
                </a:lnTo>
                <a:lnTo>
                  <a:pt x="97853" y="0"/>
                </a:lnTo>
                <a:close/>
              </a:path>
              <a:path w="210185" h="318770">
                <a:moveTo>
                  <a:pt x="128161" y="16160"/>
                </a:moveTo>
                <a:lnTo>
                  <a:pt x="102616" y="16160"/>
                </a:lnTo>
                <a:lnTo>
                  <a:pt x="109093" y="19081"/>
                </a:lnTo>
                <a:lnTo>
                  <a:pt x="115570" y="22129"/>
                </a:lnTo>
                <a:lnTo>
                  <a:pt x="120142" y="27590"/>
                </a:lnTo>
                <a:lnTo>
                  <a:pt x="123825" y="39020"/>
                </a:lnTo>
                <a:lnTo>
                  <a:pt x="124235" y="41687"/>
                </a:lnTo>
                <a:lnTo>
                  <a:pt x="124206" y="49053"/>
                </a:lnTo>
                <a:lnTo>
                  <a:pt x="123317" y="52355"/>
                </a:lnTo>
                <a:lnTo>
                  <a:pt x="121554" y="56038"/>
                </a:lnTo>
                <a:lnTo>
                  <a:pt x="119887" y="59848"/>
                </a:lnTo>
                <a:lnTo>
                  <a:pt x="90551" y="76993"/>
                </a:lnTo>
                <a:lnTo>
                  <a:pt x="89027" y="77501"/>
                </a:lnTo>
                <a:lnTo>
                  <a:pt x="86741" y="78009"/>
                </a:lnTo>
                <a:lnTo>
                  <a:pt x="85598" y="78390"/>
                </a:lnTo>
                <a:lnTo>
                  <a:pt x="84328" y="78644"/>
                </a:lnTo>
                <a:lnTo>
                  <a:pt x="124413" y="78644"/>
                </a:lnTo>
                <a:lnTo>
                  <a:pt x="127254" y="76485"/>
                </a:lnTo>
                <a:lnTo>
                  <a:pt x="139036" y="44227"/>
                </a:lnTo>
                <a:lnTo>
                  <a:pt x="138926" y="42068"/>
                </a:lnTo>
                <a:lnTo>
                  <a:pt x="138176" y="37242"/>
                </a:lnTo>
                <a:lnTo>
                  <a:pt x="136271" y="31273"/>
                </a:lnTo>
                <a:lnTo>
                  <a:pt x="132697" y="22913"/>
                </a:lnTo>
                <a:lnTo>
                  <a:pt x="128161" y="16160"/>
                </a:lnTo>
                <a:close/>
              </a:path>
              <a:path w="210185" h="318770">
                <a:moveTo>
                  <a:pt x="55753" y="134016"/>
                </a:moveTo>
                <a:lnTo>
                  <a:pt x="38481" y="139731"/>
                </a:lnTo>
                <a:lnTo>
                  <a:pt x="37999" y="144303"/>
                </a:lnTo>
                <a:lnTo>
                  <a:pt x="38027" y="151415"/>
                </a:lnTo>
                <a:lnTo>
                  <a:pt x="38989" y="164877"/>
                </a:lnTo>
                <a:lnTo>
                  <a:pt x="40386" y="171862"/>
                </a:lnTo>
                <a:lnTo>
                  <a:pt x="43445" y="181133"/>
                </a:lnTo>
                <a:lnTo>
                  <a:pt x="44831" y="185451"/>
                </a:lnTo>
                <a:lnTo>
                  <a:pt x="74549" y="212121"/>
                </a:lnTo>
                <a:lnTo>
                  <a:pt x="85217" y="213137"/>
                </a:lnTo>
                <a:lnTo>
                  <a:pt x="90805" y="212502"/>
                </a:lnTo>
                <a:lnTo>
                  <a:pt x="115584" y="195357"/>
                </a:lnTo>
                <a:lnTo>
                  <a:pt x="83693" y="195357"/>
                </a:lnTo>
                <a:lnTo>
                  <a:pt x="77089" y="194849"/>
                </a:lnTo>
                <a:lnTo>
                  <a:pt x="73787" y="193833"/>
                </a:lnTo>
                <a:lnTo>
                  <a:pt x="67437" y="190404"/>
                </a:lnTo>
                <a:lnTo>
                  <a:pt x="64643" y="187737"/>
                </a:lnTo>
                <a:lnTo>
                  <a:pt x="62230" y="184181"/>
                </a:lnTo>
                <a:lnTo>
                  <a:pt x="59817" y="180752"/>
                </a:lnTo>
                <a:lnTo>
                  <a:pt x="58039" y="177196"/>
                </a:lnTo>
                <a:lnTo>
                  <a:pt x="56679" y="173132"/>
                </a:lnTo>
                <a:lnTo>
                  <a:pt x="54864" y="167798"/>
                </a:lnTo>
                <a:lnTo>
                  <a:pt x="54027" y="161702"/>
                </a:lnTo>
                <a:lnTo>
                  <a:pt x="53908" y="157638"/>
                </a:lnTo>
                <a:lnTo>
                  <a:pt x="53848" y="147351"/>
                </a:lnTo>
                <a:lnTo>
                  <a:pt x="54610" y="141001"/>
                </a:lnTo>
                <a:lnTo>
                  <a:pt x="56134" y="135286"/>
                </a:lnTo>
                <a:lnTo>
                  <a:pt x="55753" y="134016"/>
                </a:lnTo>
                <a:close/>
              </a:path>
              <a:path w="210185" h="318770">
                <a:moveTo>
                  <a:pt x="116332" y="145700"/>
                </a:moveTo>
                <a:lnTo>
                  <a:pt x="102616" y="150145"/>
                </a:lnTo>
                <a:lnTo>
                  <a:pt x="105108" y="157892"/>
                </a:lnTo>
                <a:lnTo>
                  <a:pt x="106299" y="161702"/>
                </a:lnTo>
                <a:lnTo>
                  <a:pt x="107315" y="165639"/>
                </a:lnTo>
                <a:lnTo>
                  <a:pt x="108158" y="171862"/>
                </a:lnTo>
                <a:lnTo>
                  <a:pt x="108233" y="174402"/>
                </a:lnTo>
                <a:lnTo>
                  <a:pt x="108077" y="176434"/>
                </a:lnTo>
                <a:lnTo>
                  <a:pt x="107124" y="179736"/>
                </a:lnTo>
                <a:lnTo>
                  <a:pt x="106426" y="182530"/>
                </a:lnTo>
                <a:lnTo>
                  <a:pt x="83693" y="195357"/>
                </a:lnTo>
                <a:lnTo>
                  <a:pt x="115584" y="195357"/>
                </a:lnTo>
                <a:lnTo>
                  <a:pt x="118872" y="176307"/>
                </a:lnTo>
                <a:lnTo>
                  <a:pt x="118364" y="173640"/>
                </a:lnTo>
                <a:lnTo>
                  <a:pt x="119507" y="173259"/>
                </a:lnTo>
                <a:lnTo>
                  <a:pt x="134620" y="173259"/>
                </a:lnTo>
                <a:lnTo>
                  <a:pt x="130048" y="169830"/>
                </a:lnTo>
                <a:lnTo>
                  <a:pt x="124841" y="166020"/>
                </a:lnTo>
                <a:lnTo>
                  <a:pt x="120904" y="159797"/>
                </a:lnTo>
                <a:lnTo>
                  <a:pt x="118237" y="151415"/>
                </a:lnTo>
                <a:lnTo>
                  <a:pt x="116332" y="145700"/>
                </a:lnTo>
                <a:close/>
              </a:path>
              <a:path w="210185" h="318770">
                <a:moveTo>
                  <a:pt x="134620" y="173259"/>
                </a:moveTo>
                <a:lnTo>
                  <a:pt x="119507" y="173259"/>
                </a:lnTo>
                <a:lnTo>
                  <a:pt x="123062" y="179355"/>
                </a:lnTo>
                <a:lnTo>
                  <a:pt x="128143" y="183927"/>
                </a:lnTo>
                <a:lnTo>
                  <a:pt x="141478" y="190277"/>
                </a:lnTo>
                <a:lnTo>
                  <a:pt x="148209" y="190658"/>
                </a:lnTo>
                <a:lnTo>
                  <a:pt x="155067" y="188499"/>
                </a:lnTo>
                <a:lnTo>
                  <a:pt x="172128" y="174402"/>
                </a:lnTo>
                <a:lnTo>
                  <a:pt x="141097" y="174402"/>
                </a:lnTo>
                <a:lnTo>
                  <a:pt x="135128" y="173640"/>
                </a:lnTo>
                <a:lnTo>
                  <a:pt x="134620" y="173259"/>
                </a:lnTo>
                <a:close/>
              </a:path>
              <a:path w="210185" h="318770">
                <a:moveTo>
                  <a:pt x="152400" y="106203"/>
                </a:moveTo>
                <a:lnTo>
                  <a:pt x="135128" y="111918"/>
                </a:lnTo>
                <a:lnTo>
                  <a:pt x="135382" y="112807"/>
                </a:lnTo>
                <a:lnTo>
                  <a:pt x="140462" y="116871"/>
                </a:lnTo>
                <a:lnTo>
                  <a:pt x="144907" y="121570"/>
                </a:lnTo>
                <a:lnTo>
                  <a:pt x="148717" y="126904"/>
                </a:lnTo>
                <a:lnTo>
                  <a:pt x="152527" y="132111"/>
                </a:lnTo>
                <a:lnTo>
                  <a:pt x="155321" y="137445"/>
                </a:lnTo>
                <a:lnTo>
                  <a:pt x="158242" y="146081"/>
                </a:lnTo>
                <a:lnTo>
                  <a:pt x="158877" y="149256"/>
                </a:lnTo>
                <a:lnTo>
                  <a:pt x="159639" y="154971"/>
                </a:lnTo>
                <a:lnTo>
                  <a:pt x="159385" y="157892"/>
                </a:lnTo>
                <a:lnTo>
                  <a:pt x="141097" y="174402"/>
                </a:lnTo>
                <a:lnTo>
                  <a:pt x="172128" y="174402"/>
                </a:lnTo>
                <a:lnTo>
                  <a:pt x="172466" y="173767"/>
                </a:lnTo>
                <a:lnTo>
                  <a:pt x="173862" y="168941"/>
                </a:lnTo>
                <a:lnTo>
                  <a:pt x="175133" y="164369"/>
                </a:lnTo>
                <a:lnTo>
                  <a:pt x="175514" y="159670"/>
                </a:lnTo>
                <a:lnTo>
                  <a:pt x="175092" y="154336"/>
                </a:lnTo>
                <a:lnTo>
                  <a:pt x="162814" y="120173"/>
                </a:lnTo>
                <a:lnTo>
                  <a:pt x="159131" y="114204"/>
                </a:lnTo>
                <a:lnTo>
                  <a:pt x="155575" y="109505"/>
                </a:lnTo>
                <a:lnTo>
                  <a:pt x="152400" y="106203"/>
                </a:lnTo>
                <a:close/>
              </a:path>
              <a:path w="210185" h="318770">
                <a:moveTo>
                  <a:pt x="170590" y="218678"/>
                </a:moveTo>
                <a:lnTo>
                  <a:pt x="129032" y="225964"/>
                </a:lnTo>
                <a:lnTo>
                  <a:pt x="91527" y="244592"/>
                </a:lnTo>
                <a:lnTo>
                  <a:pt x="76608" y="278895"/>
                </a:lnTo>
                <a:lnTo>
                  <a:pt x="78994" y="289591"/>
                </a:lnTo>
                <a:lnTo>
                  <a:pt x="115488" y="318287"/>
                </a:lnTo>
                <a:lnTo>
                  <a:pt x="127619" y="317896"/>
                </a:lnTo>
                <a:lnTo>
                  <a:pt x="141535" y="315481"/>
                </a:lnTo>
                <a:lnTo>
                  <a:pt x="157226" y="311054"/>
                </a:lnTo>
                <a:lnTo>
                  <a:pt x="172086" y="305433"/>
                </a:lnTo>
                <a:lnTo>
                  <a:pt x="178869" y="302037"/>
                </a:lnTo>
                <a:lnTo>
                  <a:pt x="117602" y="302037"/>
                </a:lnTo>
                <a:lnTo>
                  <a:pt x="112522" y="301656"/>
                </a:lnTo>
                <a:lnTo>
                  <a:pt x="92710" y="285019"/>
                </a:lnTo>
                <a:lnTo>
                  <a:pt x="90932" y="279558"/>
                </a:lnTo>
                <a:lnTo>
                  <a:pt x="90551" y="274732"/>
                </a:lnTo>
                <a:lnTo>
                  <a:pt x="92837" y="266604"/>
                </a:lnTo>
                <a:lnTo>
                  <a:pt x="95377" y="262921"/>
                </a:lnTo>
                <a:lnTo>
                  <a:pt x="99060" y="259746"/>
                </a:lnTo>
                <a:lnTo>
                  <a:pt x="102997" y="256190"/>
                </a:lnTo>
                <a:lnTo>
                  <a:pt x="142367" y="240188"/>
                </a:lnTo>
                <a:lnTo>
                  <a:pt x="169037" y="234727"/>
                </a:lnTo>
                <a:lnTo>
                  <a:pt x="200824" y="234727"/>
                </a:lnTo>
                <a:lnTo>
                  <a:pt x="197072" y="229695"/>
                </a:lnTo>
                <a:lnTo>
                  <a:pt x="189761" y="223942"/>
                </a:lnTo>
                <a:lnTo>
                  <a:pt x="180975" y="220249"/>
                </a:lnTo>
                <a:lnTo>
                  <a:pt x="170590" y="218678"/>
                </a:lnTo>
                <a:close/>
              </a:path>
              <a:path w="210185" h="318770">
                <a:moveTo>
                  <a:pt x="200824" y="234727"/>
                </a:moveTo>
                <a:lnTo>
                  <a:pt x="169037" y="234727"/>
                </a:lnTo>
                <a:lnTo>
                  <a:pt x="178816" y="235743"/>
                </a:lnTo>
                <a:lnTo>
                  <a:pt x="182880" y="237394"/>
                </a:lnTo>
                <a:lnTo>
                  <a:pt x="189484" y="242728"/>
                </a:lnTo>
                <a:lnTo>
                  <a:pt x="191897" y="246665"/>
                </a:lnTo>
                <a:lnTo>
                  <a:pt x="193591" y="251999"/>
                </a:lnTo>
                <a:lnTo>
                  <a:pt x="195326" y="257079"/>
                </a:lnTo>
                <a:lnTo>
                  <a:pt x="195707" y="261778"/>
                </a:lnTo>
                <a:lnTo>
                  <a:pt x="194564" y="265842"/>
                </a:lnTo>
                <a:lnTo>
                  <a:pt x="193548" y="269906"/>
                </a:lnTo>
                <a:lnTo>
                  <a:pt x="191262" y="273589"/>
                </a:lnTo>
                <a:lnTo>
                  <a:pt x="187579" y="276891"/>
                </a:lnTo>
                <a:lnTo>
                  <a:pt x="184023" y="280320"/>
                </a:lnTo>
                <a:lnTo>
                  <a:pt x="179197" y="283368"/>
                </a:lnTo>
                <a:lnTo>
                  <a:pt x="173228" y="286035"/>
                </a:lnTo>
                <a:lnTo>
                  <a:pt x="167259" y="288829"/>
                </a:lnTo>
                <a:lnTo>
                  <a:pt x="123317" y="301656"/>
                </a:lnTo>
                <a:lnTo>
                  <a:pt x="117602" y="302037"/>
                </a:lnTo>
                <a:lnTo>
                  <a:pt x="178869" y="302037"/>
                </a:lnTo>
                <a:lnTo>
                  <a:pt x="209550" y="267890"/>
                </a:lnTo>
                <a:lnTo>
                  <a:pt x="209645" y="258069"/>
                </a:lnTo>
                <a:lnTo>
                  <a:pt x="207264" y="247427"/>
                </a:lnTo>
                <a:lnTo>
                  <a:pt x="202906" y="237519"/>
                </a:lnTo>
                <a:lnTo>
                  <a:pt x="200824" y="234727"/>
                </a:lnTo>
                <a:close/>
              </a:path>
            </a:pathLst>
          </a:custGeom>
          <a:solidFill>
            <a:srgbClr val="FFFFFF"/>
          </a:solidFill>
        </p:spPr>
        <p:txBody>
          <a:bodyPr wrap="square" lIns="0" tIns="0" rIns="0" bIns="0" rtlCol="0"/>
          <a:lstStyle/>
          <a:p>
            <a:endParaRPr/>
          </a:p>
        </p:txBody>
      </p:sp>
      <p:sp>
        <p:nvSpPr>
          <p:cNvPr id="85" name="object 85"/>
          <p:cNvSpPr/>
          <p:nvPr/>
        </p:nvSpPr>
        <p:spPr>
          <a:xfrm>
            <a:off x="6109970" y="2132583"/>
            <a:ext cx="296545" cy="414020"/>
          </a:xfrm>
          <a:custGeom>
            <a:avLst/>
            <a:gdLst/>
            <a:ahLst/>
            <a:cxnLst/>
            <a:rect l="l" t="t" r="r" b="b"/>
            <a:pathLst>
              <a:path w="296545" h="414019">
                <a:moveTo>
                  <a:pt x="56082" y="340360"/>
                </a:moveTo>
                <a:lnTo>
                  <a:pt x="24129" y="340360"/>
                </a:lnTo>
                <a:lnTo>
                  <a:pt x="98805" y="384810"/>
                </a:lnTo>
                <a:lnTo>
                  <a:pt x="84962" y="407670"/>
                </a:lnTo>
                <a:lnTo>
                  <a:pt x="96392" y="414020"/>
                </a:lnTo>
                <a:lnTo>
                  <a:pt x="122300" y="370840"/>
                </a:lnTo>
                <a:lnTo>
                  <a:pt x="107314" y="370840"/>
                </a:lnTo>
                <a:lnTo>
                  <a:pt x="56082" y="340360"/>
                </a:lnTo>
                <a:close/>
              </a:path>
              <a:path w="296545" h="414019">
                <a:moveTo>
                  <a:pt x="120903" y="347980"/>
                </a:moveTo>
                <a:lnTo>
                  <a:pt x="107314" y="370840"/>
                </a:lnTo>
                <a:lnTo>
                  <a:pt x="122300" y="370840"/>
                </a:lnTo>
                <a:lnTo>
                  <a:pt x="132206" y="354330"/>
                </a:lnTo>
                <a:lnTo>
                  <a:pt x="120903" y="347980"/>
                </a:lnTo>
                <a:close/>
              </a:path>
              <a:path w="296545" h="414019">
                <a:moveTo>
                  <a:pt x="6984" y="311150"/>
                </a:moveTo>
                <a:lnTo>
                  <a:pt x="0" y="322580"/>
                </a:lnTo>
                <a:lnTo>
                  <a:pt x="3175" y="323850"/>
                </a:lnTo>
                <a:lnTo>
                  <a:pt x="5333" y="326390"/>
                </a:lnTo>
                <a:lnTo>
                  <a:pt x="6350" y="328930"/>
                </a:lnTo>
                <a:lnTo>
                  <a:pt x="7492" y="331470"/>
                </a:lnTo>
                <a:lnTo>
                  <a:pt x="8000" y="334010"/>
                </a:lnTo>
                <a:lnTo>
                  <a:pt x="7874" y="340360"/>
                </a:lnTo>
                <a:lnTo>
                  <a:pt x="6984" y="342900"/>
                </a:lnTo>
                <a:lnTo>
                  <a:pt x="5333" y="346710"/>
                </a:lnTo>
                <a:lnTo>
                  <a:pt x="3809" y="350520"/>
                </a:lnTo>
                <a:lnTo>
                  <a:pt x="2031" y="354330"/>
                </a:lnTo>
                <a:lnTo>
                  <a:pt x="126" y="356870"/>
                </a:lnTo>
                <a:lnTo>
                  <a:pt x="10287" y="363220"/>
                </a:lnTo>
                <a:lnTo>
                  <a:pt x="24129" y="340360"/>
                </a:lnTo>
                <a:lnTo>
                  <a:pt x="56082" y="340360"/>
                </a:lnTo>
                <a:lnTo>
                  <a:pt x="6984" y="311150"/>
                </a:lnTo>
                <a:close/>
              </a:path>
              <a:path w="296545" h="414019">
                <a:moveTo>
                  <a:pt x="99397" y="201930"/>
                </a:moveTo>
                <a:lnTo>
                  <a:pt x="88900" y="201930"/>
                </a:lnTo>
                <a:lnTo>
                  <a:pt x="79418" y="203200"/>
                </a:lnTo>
                <a:lnTo>
                  <a:pt x="52401" y="232410"/>
                </a:lnTo>
                <a:lnTo>
                  <a:pt x="50339" y="241300"/>
                </a:lnTo>
                <a:lnTo>
                  <a:pt x="50825" y="250190"/>
                </a:lnTo>
                <a:lnTo>
                  <a:pt x="78654" y="287020"/>
                </a:lnTo>
                <a:lnTo>
                  <a:pt x="106293" y="302260"/>
                </a:lnTo>
                <a:lnTo>
                  <a:pt x="119205" y="308610"/>
                </a:lnTo>
                <a:lnTo>
                  <a:pt x="130903" y="311150"/>
                </a:lnTo>
                <a:lnTo>
                  <a:pt x="141350" y="312420"/>
                </a:lnTo>
                <a:lnTo>
                  <a:pt x="150703" y="309880"/>
                </a:lnTo>
                <a:lnTo>
                  <a:pt x="159115" y="306070"/>
                </a:lnTo>
                <a:lnTo>
                  <a:pt x="166550" y="299720"/>
                </a:lnTo>
                <a:lnTo>
                  <a:pt x="169303" y="295910"/>
                </a:lnTo>
                <a:lnTo>
                  <a:pt x="137413" y="295910"/>
                </a:lnTo>
                <a:lnTo>
                  <a:pt x="132206" y="294640"/>
                </a:lnTo>
                <a:lnTo>
                  <a:pt x="87756" y="271780"/>
                </a:lnTo>
                <a:lnTo>
                  <a:pt x="76707" y="262890"/>
                </a:lnTo>
                <a:lnTo>
                  <a:pt x="72516" y="259080"/>
                </a:lnTo>
                <a:lnTo>
                  <a:pt x="69850" y="255270"/>
                </a:lnTo>
                <a:lnTo>
                  <a:pt x="66928" y="251460"/>
                </a:lnTo>
                <a:lnTo>
                  <a:pt x="65531" y="247650"/>
                </a:lnTo>
                <a:lnTo>
                  <a:pt x="79247" y="219710"/>
                </a:lnTo>
                <a:lnTo>
                  <a:pt x="82930" y="217170"/>
                </a:lnTo>
                <a:lnTo>
                  <a:pt x="135473" y="217170"/>
                </a:lnTo>
                <a:lnTo>
                  <a:pt x="123868" y="210820"/>
                </a:lnTo>
                <a:lnTo>
                  <a:pt x="111061" y="205740"/>
                </a:lnTo>
                <a:lnTo>
                  <a:pt x="99397" y="201930"/>
                </a:lnTo>
                <a:close/>
              </a:path>
              <a:path w="296545" h="414019">
                <a:moveTo>
                  <a:pt x="135473" y="217170"/>
                </a:moveTo>
                <a:lnTo>
                  <a:pt x="92075" y="217170"/>
                </a:lnTo>
                <a:lnTo>
                  <a:pt x="97154" y="218440"/>
                </a:lnTo>
                <a:lnTo>
                  <a:pt x="102488" y="219710"/>
                </a:lnTo>
                <a:lnTo>
                  <a:pt x="114426" y="224790"/>
                </a:lnTo>
                <a:lnTo>
                  <a:pt x="121284" y="228600"/>
                </a:lnTo>
                <a:lnTo>
                  <a:pt x="128777" y="233680"/>
                </a:lnTo>
                <a:lnTo>
                  <a:pt x="136525" y="237490"/>
                </a:lnTo>
                <a:lnTo>
                  <a:pt x="142875" y="242570"/>
                </a:lnTo>
                <a:lnTo>
                  <a:pt x="153034" y="250190"/>
                </a:lnTo>
                <a:lnTo>
                  <a:pt x="157099" y="254000"/>
                </a:lnTo>
                <a:lnTo>
                  <a:pt x="160146" y="257810"/>
                </a:lnTo>
                <a:lnTo>
                  <a:pt x="163067" y="261620"/>
                </a:lnTo>
                <a:lnTo>
                  <a:pt x="164591" y="266700"/>
                </a:lnTo>
                <a:lnTo>
                  <a:pt x="164718" y="274320"/>
                </a:lnTo>
                <a:lnTo>
                  <a:pt x="163449" y="279400"/>
                </a:lnTo>
                <a:lnTo>
                  <a:pt x="157733" y="288290"/>
                </a:lnTo>
                <a:lnTo>
                  <a:pt x="154304" y="292100"/>
                </a:lnTo>
                <a:lnTo>
                  <a:pt x="150494" y="293370"/>
                </a:lnTo>
                <a:lnTo>
                  <a:pt x="146557" y="295910"/>
                </a:lnTo>
                <a:lnTo>
                  <a:pt x="169303" y="295910"/>
                </a:lnTo>
                <a:lnTo>
                  <a:pt x="172974" y="290830"/>
                </a:lnTo>
                <a:lnTo>
                  <a:pt x="177615" y="281940"/>
                </a:lnTo>
                <a:lnTo>
                  <a:pt x="179720" y="271780"/>
                </a:lnTo>
                <a:lnTo>
                  <a:pt x="179278" y="262890"/>
                </a:lnTo>
                <a:lnTo>
                  <a:pt x="151487" y="227330"/>
                </a:lnTo>
                <a:lnTo>
                  <a:pt x="137794" y="218440"/>
                </a:lnTo>
                <a:lnTo>
                  <a:pt x="135473" y="217170"/>
                </a:lnTo>
                <a:close/>
              </a:path>
              <a:path w="296545" h="414019">
                <a:moveTo>
                  <a:pt x="178434" y="120650"/>
                </a:moveTo>
                <a:lnTo>
                  <a:pt x="145668" y="120650"/>
                </a:lnTo>
                <a:lnTo>
                  <a:pt x="151383" y="121920"/>
                </a:lnTo>
                <a:lnTo>
                  <a:pt x="157099" y="125730"/>
                </a:lnTo>
                <a:lnTo>
                  <a:pt x="179454" y="163830"/>
                </a:lnTo>
                <a:lnTo>
                  <a:pt x="186689" y="196850"/>
                </a:lnTo>
                <a:lnTo>
                  <a:pt x="190880" y="219710"/>
                </a:lnTo>
                <a:lnTo>
                  <a:pt x="206501" y="229870"/>
                </a:lnTo>
                <a:lnTo>
                  <a:pt x="219951" y="207010"/>
                </a:lnTo>
                <a:lnTo>
                  <a:pt x="202945" y="207010"/>
                </a:lnTo>
                <a:lnTo>
                  <a:pt x="201675" y="199390"/>
                </a:lnTo>
                <a:lnTo>
                  <a:pt x="198754" y="182880"/>
                </a:lnTo>
                <a:lnTo>
                  <a:pt x="197562" y="176530"/>
                </a:lnTo>
                <a:lnTo>
                  <a:pt x="196262" y="170180"/>
                </a:lnTo>
                <a:lnTo>
                  <a:pt x="194843" y="162560"/>
                </a:lnTo>
                <a:lnTo>
                  <a:pt x="193293" y="157480"/>
                </a:lnTo>
                <a:lnTo>
                  <a:pt x="191896" y="151130"/>
                </a:lnTo>
                <a:lnTo>
                  <a:pt x="189102" y="140970"/>
                </a:lnTo>
                <a:lnTo>
                  <a:pt x="187578" y="137160"/>
                </a:lnTo>
                <a:lnTo>
                  <a:pt x="185927" y="133350"/>
                </a:lnTo>
                <a:lnTo>
                  <a:pt x="181990" y="124460"/>
                </a:lnTo>
                <a:lnTo>
                  <a:pt x="179450" y="121920"/>
                </a:lnTo>
                <a:lnTo>
                  <a:pt x="178434" y="120650"/>
                </a:lnTo>
                <a:close/>
              </a:path>
              <a:path w="296545" h="414019">
                <a:moveTo>
                  <a:pt x="238505" y="146050"/>
                </a:moveTo>
                <a:lnTo>
                  <a:pt x="202945" y="207010"/>
                </a:lnTo>
                <a:lnTo>
                  <a:pt x="219951" y="207010"/>
                </a:lnTo>
                <a:lnTo>
                  <a:pt x="251332" y="153670"/>
                </a:lnTo>
                <a:lnTo>
                  <a:pt x="238505" y="146050"/>
                </a:lnTo>
                <a:close/>
              </a:path>
              <a:path w="296545" h="414019">
                <a:moveTo>
                  <a:pt x="151383" y="104140"/>
                </a:moveTo>
                <a:lnTo>
                  <a:pt x="144335" y="104140"/>
                </a:lnTo>
                <a:lnTo>
                  <a:pt x="137287" y="105410"/>
                </a:lnTo>
                <a:lnTo>
                  <a:pt x="130496" y="109220"/>
                </a:lnTo>
                <a:lnTo>
                  <a:pt x="124205" y="114300"/>
                </a:lnTo>
                <a:lnTo>
                  <a:pt x="118391" y="119380"/>
                </a:lnTo>
                <a:lnTo>
                  <a:pt x="113029" y="128270"/>
                </a:lnTo>
                <a:lnTo>
                  <a:pt x="109727" y="133350"/>
                </a:lnTo>
                <a:lnTo>
                  <a:pt x="101345" y="163830"/>
                </a:lnTo>
                <a:lnTo>
                  <a:pt x="117093" y="172720"/>
                </a:lnTo>
                <a:lnTo>
                  <a:pt x="117475" y="171450"/>
                </a:lnTo>
                <a:lnTo>
                  <a:pt x="117424" y="170180"/>
                </a:lnTo>
                <a:lnTo>
                  <a:pt x="117474" y="162560"/>
                </a:lnTo>
                <a:lnTo>
                  <a:pt x="134619" y="124460"/>
                </a:lnTo>
                <a:lnTo>
                  <a:pt x="140207" y="123190"/>
                </a:lnTo>
                <a:lnTo>
                  <a:pt x="145668" y="120650"/>
                </a:lnTo>
                <a:lnTo>
                  <a:pt x="178434" y="120650"/>
                </a:lnTo>
                <a:lnTo>
                  <a:pt x="173354" y="114300"/>
                </a:lnTo>
                <a:lnTo>
                  <a:pt x="169671" y="111760"/>
                </a:lnTo>
                <a:lnTo>
                  <a:pt x="165480" y="109220"/>
                </a:lnTo>
                <a:lnTo>
                  <a:pt x="151383" y="104140"/>
                </a:lnTo>
                <a:close/>
              </a:path>
              <a:path w="296545" h="414019">
                <a:moveTo>
                  <a:pt x="191769" y="0"/>
                </a:moveTo>
                <a:lnTo>
                  <a:pt x="189864" y="1270"/>
                </a:lnTo>
                <a:lnTo>
                  <a:pt x="188213" y="3810"/>
                </a:lnTo>
                <a:lnTo>
                  <a:pt x="186816" y="5080"/>
                </a:lnTo>
                <a:lnTo>
                  <a:pt x="185419" y="7620"/>
                </a:lnTo>
                <a:lnTo>
                  <a:pt x="183768" y="8890"/>
                </a:lnTo>
                <a:lnTo>
                  <a:pt x="181990" y="12700"/>
                </a:lnTo>
                <a:lnTo>
                  <a:pt x="171322" y="48260"/>
                </a:lnTo>
                <a:lnTo>
                  <a:pt x="172465" y="57150"/>
                </a:lnTo>
                <a:lnTo>
                  <a:pt x="175387" y="64770"/>
                </a:lnTo>
                <a:lnTo>
                  <a:pt x="178075" y="69850"/>
                </a:lnTo>
                <a:lnTo>
                  <a:pt x="181371" y="76200"/>
                </a:lnTo>
                <a:lnTo>
                  <a:pt x="207025" y="100330"/>
                </a:lnTo>
                <a:lnTo>
                  <a:pt x="214121" y="105410"/>
                </a:lnTo>
                <a:lnTo>
                  <a:pt x="221220" y="109220"/>
                </a:lnTo>
                <a:lnTo>
                  <a:pt x="228044" y="113030"/>
                </a:lnTo>
                <a:lnTo>
                  <a:pt x="234606" y="114300"/>
                </a:lnTo>
                <a:lnTo>
                  <a:pt x="240918" y="116840"/>
                </a:lnTo>
                <a:lnTo>
                  <a:pt x="249174" y="118110"/>
                </a:lnTo>
                <a:lnTo>
                  <a:pt x="256539" y="118110"/>
                </a:lnTo>
                <a:lnTo>
                  <a:pt x="263270" y="116840"/>
                </a:lnTo>
                <a:lnTo>
                  <a:pt x="268604" y="115570"/>
                </a:lnTo>
                <a:lnTo>
                  <a:pt x="273557" y="113030"/>
                </a:lnTo>
                <a:lnTo>
                  <a:pt x="277875" y="109220"/>
                </a:lnTo>
                <a:lnTo>
                  <a:pt x="282320" y="105410"/>
                </a:lnTo>
                <a:lnTo>
                  <a:pt x="286130" y="101600"/>
                </a:lnTo>
                <a:lnTo>
                  <a:pt x="251967" y="101600"/>
                </a:lnTo>
                <a:lnTo>
                  <a:pt x="246506" y="100330"/>
                </a:lnTo>
                <a:lnTo>
                  <a:pt x="240918" y="100330"/>
                </a:lnTo>
                <a:lnTo>
                  <a:pt x="234187" y="96520"/>
                </a:lnTo>
                <a:lnTo>
                  <a:pt x="223519" y="90170"/>
                </a:lnTo>
                <a:lnTo>
                  <a:pt x="219455" y="87630"/>
                </a:lnTo>
                <a:lnTo>
                  <a:pt x="219709" y="82550"/>
                </a:lnTo>
                <a:lnTo>
                  <a:pt x="219868" y="81280"/>
                </a:lnTo>
                <a:lnTo>
                  <a:pt x="208914" y="81280"/>
                </a:lnTo>
                <a:lnTo>
                  <a:pt x="187029" y="45720"/>
                </a:lnTo>
                <a:lnTo>
                  <a:pt x="187467" y="38100"/>
                </a:lnTo>
                <a:lnTo>
                  <a:pt x="189644" y="30480"/>
                </a:lnTo>
                <a:lnTo>
                  <a:pt x="193547" y="22860"/>
                </a:lnTo>
                <a:lnTo>
                  <a:pt x="195325" y="19050"/>
                </a:lnTo>
                <a:lnTo>
                  <a:pt x="197357" y="16510"/>
                </a:lnTo>
                <a:lnTo>
                  <a:pt x="199643" y="13970"/>
                </a:lnTo>
                <a:lnTo>
                  <a:pt x="202056" y="11430"/>
                </a:lnTo>
                <a:lnTo>
                  <a:pt x="203962" y="10160"/>
                </a:lnTo>
                <a:lnTo>
                  <a:pt x="205612" y="8890"/>
                </a:lnTo>
                <a:lnTo>
                  <a:pt x="205993" y="8890"/>
                </a:lnTo>
                <a:lnTo>
                  <a:pt x="191769" y="0"/>
                </a:lnTo>
                <a:close/>
              </a:path>
              <a:path w="296545" h="414019">
                <a:moveTo>
                  <a:pt x="286373" y="44450"/>
                </a:moveTo>
                <a:lnTo>
                  <a:pt x="248792" y="44450"/>
                </a:lnTo>
                <a:lnTo>
                  <a:pt x="256539" y="45720"/>
                </a:lnTo>
                <a:lnTo>
                  <a:pt x="260730" y="46990"/>
                </a:lnTo>
                <a:lnTo>
                  <a:pt x="282701" y="73660"/>
                </a:lnTo>
                <a:lnTo>
                  <a:pt x="281558" y="81280"/>
                </a:lnTo>
                <a:lnTo>
                  <a:pt x="256920" y="101600"/>
                </a:lnTo>
                <a:lnTo>
                  <a:pt x="286130" y="101600"/>
                </a:lnTo>
                <a:lnTo>
                  <a:pt x="289305" y="95250"/>
                </a:lnTo>
                <a:lnTo>
                  <a:pt x="293304" y="87630"/>
                </a:lnTo>
                <a:lnTo>
                  <a:pt x="295576" y="78740"/>
                </a:lnTo>
                <a:lnTo>
                  <a:pt x="296110" y="69850"/>
                </a:lnTo>
                <a:lnTo>
                  <a:pt x="294893" y="62230"/>
                </a:lnTo>
                <a:lnTo>
                  <a:pt x="292064" y="53340"/>
                </a:lnTo>
                <a:lnTo>
                  <a:pt x="287591" y="45720"/>
                </a:lnTo>
                <a:lnTo>
                  <a:pt x="286373" y="44450"/>
                </a:lnTo>
                <a:close/>
              </a:path>
              <a:path w="296545" h="414019">
                <a:moveTo>
                  <a:pt x="255015" y="26670"/>
                </a:moveTo>
                <a:lnTo>
                  <a:pt x="249046" y="26670"/>
                </a:lnTo>
                <a:lnTo>
                  <a:pt x="243204" y="27940"/>
                </a:lnTo>
                <a:lnTo>
                  <a:pt x="216915" y="50800"/>
                </a:lnTo>
                <a:lnTo>
                  <a:pt x="213740" y="55880"/>
                </a:lnTo>
                <a:lnTo>
                  <a:pt x="208914" y="81280"/>
                </a:lnTo>
                <a:lnTo>
                  <a:pt x="219868" y="81280"/>
                </a:lnTo>
                <a:lnTo>
                  <a:pt x="220344" y="77470"/>
                </a:lnTo>
                <a:lnTo>
                  <a:pt x="221487" y="73660"/>
                </a:lnTo>
                <a:lnTo>
                  <a:pt x="222757" y="69850"/>
                </a:lnTo>
                <a:lnTo>
                  <a:pt x="224535" y="64770"/>
                </a:lnTo>
                <a:lnTo>
                  <a:pt x="227075" y="60960"/>
                </a:lnTo>
                <a:lnTo>
                  <a:pt x="228853" y="58420"/>
                </a:lnTo>
                <a:lnTo>
                  <a:pt x="230885" y="54610"/>
                </a:lnTo>
                <a:lnTo>
                  <a:pt x="233044" y="52070"/>
                </a:lnTo>
                <a:lnTo>
                  <a:pt x="235203" y="50800"/>
                </a:lnTo>
                <a:lnTo>
                  <a:pt x="237743" y="48260"/>
                </a:lnTo>
                <a:lnTo>
                  <a:pt x="240664" y="46990"/>
                </a:lnTo>
                <a:lnTo>
                  <a:pt x="244855" y="45720"/>
                </a:lnTo>
                <a:lnTo>
                  <a:pt x="248792" y="44450"/>
                </a:lnTo>
                <a:lnTo>
                  <a:pt x="286373" y="44450"/>
                </a:lnTo>
                <a:lnTo>
                  <a:pt x="281499" y="39370"/>
                </a:lnTo>
                <a:lnTo>
                  <a:pt x="273812" y="34290"/>
                </a:lnTo>
                <a:lnTo>
                  <a:pt x="267207" y="30480"/>
                </a:lnTo>
                <a:lnTo>
                  <a:pt x="260857" y="27940"/>
                </a:lnTo>
                <a:lnTo>
                  <a:pt x="255015" y="26670"/>
                </a:lnTo>
                <a:close/>
              </a:path>
            </a:pathLst>
          </a:custGeom>
          <a:solidFill>
            <a:srgbClr val="2B133C"/>
          </a:solidFill>
        </p:spPr>
        <p:txBody>
          <a:bodyPr wrap="square" lIns="0" tIns="0" rIns="0" bIns="0" rtlCol="0"/>
          <a:lstStyle/>
          <a:p>
            <a:endParaRPr/>
          </a:p>
        </p:txBody>
      </p:sp>
      <p:sp>
        <p:nvSpPr>
          <p:cNvPr id="86" name="object 86"/>
          <p:cNvSpPr/>
          <p:nvPr/>
        </p:nvSpPr>
        <p:spPr>
          <a:xfrm>
            <a:off x="7194804" y="3250692"/>
            <a:ext cx="1645920" cy="481584"/>
          </a:xfrm>
          <a:prstGeom prst="rect">
            <a:avLst/>
          </a:prstGeom>
          <a:blipFill>
            <a:blip r:embed="rId18" cstate="print"/>
            <a:stretch>
              <a:fillRect/>
            </a:stretch>
          </a:blipFill>
        </p:spPr>
        <p:txBody>
          <a:bodyPr wrap="square" lIns="0" tIns="0" rIns="0" bIns="0" rtlCol="0"/>
          <a:lstStyle/>
          <a:p>
            <a:endParaRPr/>
          </a:p>
        </p:txBody>
      </p:sp>
      <p:sp>
        <p:nvSpPr>
          <p:cNvPr id="87" name="object 87"/>
          <p:cNvSpPr/>
          <p:nvPr/>
        </p:nvSpPr>
        <p:spPr>
          <a:xfrm>
            <a:off x="2026920" y="4847844"/>
            <a:ext cx="1507490" cy="1440180"/>
          </a:xfrm>
          <a:custGeom>
            <a:avLst/>
            <a:gdLst/>
            <a:ahLst/>
            <a:cxnLst/>
            <a:rect l="l" t="t" r="r" b="b"/>
            <a:pathLst>
              <a:path w="1507489" h="1440179">
                <a:moveTo>
                  <a:pt x="753618" y="0"/>
                </a:moveTo>
                <a:lnTo>
                  <a:pt x="704071" y="1531"/>
                </a:lnTo>
                <a:lnTo>
                  <a:pt x="655379" y="6064"/>
                </a:lnTo>
                <a:lnTo>
                  <a:pt x="607642" y="13502"/>
                </a:lnTo>
                <a:lnTo>
                  <a:pt x="560958" y="23751"/>
                </a:lnTo>
                <a:lnTo>
                  <a:pt x="515428" y="36716"/>
                </a:lnTo>
                <a:lnTo>
                  <a:pt x="471151" y="52301"/>
                </a:lnTo>
                <a:lnTo>
                  <a:pt x="428226" y="70412"/>
                </a:lnTo>
                <a:lnTo>
                  <a:pt x="386752" y="90955"/>
                </a:lnTo>
                <a:lnTo>
                  <a:pt x="346828" y="113833"/>
                </a:lnTo>
                <a:lnTo>
                  <a:pt x="308555" y="138952"/>
                </a:lnTo>
                <a:lnTo>
                  <a:pt x="272030" y="166217"/>
                </a:lnTo>
                <a:lnTo>
                  <a:pt x="237355" y="195533"/>
                </a:lnTo>
                <a:lnTo>
                  <a:pt x="204627" y="226805"/>
                </a:lnTo>
                <a:lnTo>
                  <a:pt x="173947" y="259939"/>
                </a:lnTo>
                <a:lnTo>
                  <a:pt x="145413" y="294839"/>
                </a:lnTo>
                <a:lnTo>
                  <a:pt x="119126" y="331410"/>
                </a:lnTo>
                <a:lnTo>
                  <a:pt x="95184" y="369557"/>
                </a:lnTo>
                <a:lnTo>
                  <a:pt x="73686" y="409186"/>
                </a:lnTo>
                <a:lnTo>
                  <a:pt x="54733" y="450201"/>
                </a:lnTo>
                <a:lnTo>
                  <a:pt x="38423" y="492508"/>
                </a:lnTo>
                <a:lnTo>
                  <a:pt x="24855" y="536011"/>
                </a:lnTo>
                <a:lnTo>
                  <a:pt x="14130" y="580615"/>
                </a:lnTo>
                <a:lnTo>
                  <a:pt x="6346" y="626227"/>
                </a:lnTo>
                <a:lnTo>
                  <a:pt x="1603" y="672750"/>
                </a:lnTo>
                <a:lnTo>
                  <a:pt x="0" y="720089"/>
                </a:lnTo>
                <a:lnTo>
                  <a:pt x="1603" y="767435"/>
                </a:lnTo>
                <a:lnTo>
                  <a:pt x="6346" y="813963"/>
                </a:lnTo>
                <a:lnTo>
                  <a:pt x="14130" y="859578"/>
                </a:lnTo>
                <a:lnTo>
                  <a:pt x="24855" y="904186"/>
                </a:lnTo>
                <a:lnTo>
                  <a:pt x="38423" y="947691"/>
                </a:lnTo>
                <a:lnTo>
                  <a:pt x="54733" y="989999"/>
                </a:lnTo>
                <a:lnTo>
                  <a:pt x="73686" y="1031015"/>
                </a:lnTo>
                <a:lnTo>
                  <a:pt x="95184" y="1070645"/>
                </a:lnTo>
                <a:lnTo>
                  <a:pt x="119126" y="1108792"/>
                </a:lnTo>
                <a:lnTo>
                  <a:pt x="145413" y="1145362"/>
                </a:lnTo>
                <a:lnTo>
                  <a:pt x="173947" y="1180261"/>
                </a:lnTo>
                <a:lnTo>
                  <a:pt x="204627" y="1213393"/>
                </a:lnTo>
                <a:lnTo>
                  <a:pt x="237355" y="1244664"/>
                </a:lnTo>
                <a:lnTo>
                  <a:pt x="272030" y="1273979"/>
                </a:lnTo>
                <a:lnTo>
                  <a:pt x="308555" y="1301242"/>
                </a:lnTo>
                <a:lnTo>
                  <a:pt x="346828" y="1326359"/>
                </a:lnTo>
                <a:lnTo>
                  <a:pt x="386752" y="1349235"/>
                </a:lnTo>
                <a:lnTo>
                  <a:pt x="428226" y="1369775"/>
                </a:lnTo>
                <a:lnTo>
                  <a:pt x="471151" y="1387885"/>
                </a:lnTo>
                <a:lnTo>
                  <a:pt x="515428" y="1403468"/>
                </a:lnTo>
                <a:lnTo>
                  <a:pt x="560958" y="1416431"/>
                </a:lnTo>
                <a:lnTo>
                  <a:pt x="607642" y="1426679"/>
                </a:lnTo>
                <a:lnTo>
                  <a:pt x="655379" y="1434116"/>
                </a:lnTo>
                <a:lnTo>
                  <a:pt x="704071" y="1438648"/>
                </a:lnTo>
                <a:lnTo>
                  <a:pt x="753618" y="1440179"/>
                </a:lnTo>
                <a:lnTo>
                  <a:pt x="803164" y="1438648"/>
                </a:lnTo>
                <a:lnTo>
                  <a:pt x="851856" y="1434116"/>
                </a:lnTo>
                <a:lnTo>
                  <a:pt x="899593" y="1426679"/>
                </a:lnTo>
                <a:lnTo>
                  <a:pt x="946277" y="1416431"/>
                </a:lnTo>
                <a:lnTo>
                  <a:pt x="991807" y="1403468"/>
                </a:lnTo>
                <a:lnTo>
                  <a:pt x="1036084" y="1387885"/>
                </a:lnTo>
                <a:lnTo>
                  <a:pt x="1079009" y="1369775"/>
                </a:lnTo>
                <a:lnTo>
                  <a:pt x="1120483" y="1349235"/>
                </a:lnTo>
                <a:lnTo>
                  <a:pt x="1160407" y="1326359"/>
                </a:lnTo>
                <a:lnTo>
                  <a:pt x="1198680" y="1301242"/>
                </a:lnTo>
                <a:lnTo>
                  <a:pt x="1235205" y="1273979"/>
                </a:lnTo>
                <a:lnTo>
                  <a:pt x="1269880" y="1244664"/>
                </a:lnTo>
                <a:lnTo>
                  <a:pt x="1302608" y="1213393"/>
                </a:lnTo>
                <a:lnTo>
                  <a:pt x="1333288" y="1180261"/>
                </a:lnTo>
                <a:lnTo>
                  <a:pt x="1361822" y="1145362"/>
                </a:lnTo>
                <a:lnTo>
                  <a:pt x="1388109" y="1108792"/>
                </a:lnTo>
                <a:lnTo>
                  <a:pt x="1412051" y="1070645"/>
                </a:lnTo>
                <a:lnTo>
                  <a:pt x="1433549" y="1031015"/>
                </a:lnTo>
                <a:lnTo>
                  <a:pt x="1452502" y="989999"/>
                </a:lnTo>
                <a:lnTo>
                  <a:pt x="1468812" y="947691"/>
                </a:lnTo>
                <a:lnTo>
                  <a:pt x="1482380" y="904186"/>
                </a:lnTo>
                <a:lnTo>
                  <a:pt x="1493105" y="859578"/>
                </a:lnTo>
                <a:lnTo>
                  <a:pt x="1500889" y="813963"/>
                </a:lnTo>
                <a:lnTo>
                  <a:pt x="1505632" y="767435"/>
                </a:lnTo>
                <a:lnTo>
                  <a:pt x="1507235" y="720089"/>
                </a:lnTo>
                <a:lnTo>
                  <a:pt x="1505632" y="672750"/>
                </a:lnTo>
                <a:lnTo>
                  <a:pt x="1500889" y="626227"/>
                </a:lnTo>
                <a:lnTo>
                  <a:pt x="1493105" y="580615"/>
                </a:lnTo>
                <a:lnTo>
                  <a:pt x="1482380" y="536011"/>
                </a:lnTo>
                <a:lnTo>
                  <a:pt x="1468812" y="492508"/>
                </a:lnTo>
                <a:lnTo>
                  <a:pt x="1452502" y="450201"/>
                </a:lnTo>
                <a:lnTo>
                  <a:pt x="1433549" y="409186"/>
                </a:lnTo>
                <a:lnTo>
                  <a:pt x="1412051" y="369557"/>
                </a:lnTo>
                <a:lnTo>
                  <a:pt x="1388109" y="331410"/>
                </a:lnTo>
                <a:lnTo>
                  <a:pt x="1361822" y="294839"/>
                </a:lnTo>
                <a:lnTo>
                  <a:pt x="1333288" y="259939"/>
                </a:lnTo>
                <a:lnTo>
                  <a:pt x="1302608" y="226805"/>
                </a:lnTo>
                <a:lnTo>
                  <a:pt x="1269880" y="195533"/>
                </a:lnTo>
                <a:lnTo>
                  <a:pt x="1235205" y="166217"/>
                </a:lnTo>
                <a:lnTo>
                  <a:pt x="1198680" y="138952"/>
                </a:lnTo>
                <a:lnTo>
                  <a:pt x="1160407" y="113833"/>
                </a:lnTo>
                <a:lnTo>
                  <a:pt x="1120483" y="90955"/>
                </a:lnTo>
                <a:lnTo>
                  <a:pt x="1079009" y="70412"/>
                </a:lnTo>
                <a:lnTo>
                  <a:pt x="1036084" y="52301"/>
                </a:lnTo>
                <a:lnTo>
                  <a:pt x="991807" y="36716"/>
                </a:lnTo>
                <a:lnTo>
                  <a:pt x="946277" y="23751"/>
                </a:lnTo>
                <a:lnTo>
                  <a:pt x="899593" y="13502"/>
                </a:lnTo>
                <a:lnTo>
                  <a:pt x="851856" y="6064"/>
                </a:lnTo>
                <a:lnTo>
                  <a:pt x="803164" y="1531"/>
                </a:lnTo>
                <a:lnTo>
                  <a:pt x="753618" y="0"/>
                </a:lnTo>
                <a:close/>
              </a:path>
            </a:pathLst>
          </a:custGeom>
          <a:solidFill>
            <a:srgbClr val="12ABDB"/>
          </a:solidFill>
        </p:spPr>
        <p:txBody>
          <a:bodyPr wrap="square" lIns="0" tIns="0" rIns="0" bIns="0" rtlCol="0"/>
          <a:lstStyle/>
          <a:p>
            <a:endParaRPr/>
          </a:p>
        </p:txBody>
      </p:sp>
      <p:sp>
        <p:nvSpPr>
          <p:cNvPr id="88" name="object 88"/>
          <p:cNvSpPr txBox="1"/>
          <p:nvPr/>
        </p:nvSpPr>
        <p:spPr>
          <a:xfrm>
            <a:off x="2210561" y="5046726"/>
            <a:ext cx="1117600" cy="1012825"/>
          </a:xfrm>
          <a:prstGeom prst="rect">
            <a:avLst/>
          </a:prstGeom>
        </p:spPr>
        <p:txBody>
          <a:bodyPr vert="horz" wrap="square" lIns="0" tIns="12700" rIns="0" bIns="0" rtlCol="0">
            <a:spAutoFit/>
          </a:bodyPr>
          <a:lstStyle/>
          <a:p>
            <a:pPr algn="ctr">
              <a:lnSpc>
                <a:spcPct val="100000"/>
              </a:lnSpc>
              <a:spcBef>
                <a:spcPts val="100"/>
              </a:spcBef>
            </a:pPr>
            <a:r>
              <a:rPr sz="3200" b="1" spc="5">
                <a:solidFill>
                  <a:srgbClr val="FFFFFF"/>
                </a:solidFill>
                <a:latin typeface="Verdana"/>
                <a:cs typeface="Verdana"/>
              </a:rPr>
              <a:t>#1</a:t>
            </a:r>
            <a:endParaRPr sz="3200">
              <a:latin typeface="Verdana"/>
              <a:cs typeface="Verdana"/>
            </a:endParaRPr>
          </a:p>
          <a:p>
            <a:pPr marL="12700" marR="5080" algn="ctr">
              <a:lnSpc>
                <a:spcPct val="100000"/>
              </a:lnSpc>
              <a:spcBef>
                <a:spcPts val="90"/>
              </a:spcBef>
            </a:pPr>
            <a:r>
              <a:rPr sz="1600" spc="-10">
                <a:solidFill>
                  <a:srgbClr val="FFFFFF"/>
                </a:solidFill>
                <a:latin typeface="Verdana"/>
                <a:cs typeface="Verdana"/>
              </a:rPr>
              <a:t>C</a:t>
            </a:r>
            <a:r>
              <a:rPr sz="1600" spc="-5">
                <a:solidFill>
                  <a:srgbClr val="FFFFFF"/>
                </a:solidFill>
                <a:latin typeface="Verdana"/>
                <a:cs typeface="Verdana"/>
              </a:rPr>
              <a:t>o</a:t>
            </a:r>
            <a:r>
              <a:rPr sz="1600" spc="-10">
                <a:solidFill>
                  <a:srgbClr val="FFFFFF"/>
                </a:solidFill>
                <a:latin typeface="Verdana"/>
                <a:cs typeface="Verdana"/>
              </a:rPr>
              <a:t>mm</a:t>
            </a:r>
            <a:r>
              <a:rPr sz="1600" spc="-5">
                <a:solidFill>
                  <a:srgbClr val="FFFFFF"/>
                </a:solidFill>
                <a:latin typeface="Verdana"/>
                <a:cs typeface="Verdana"/>
              </a:rPr>
              <a:t>erce  </a:t>
            </a:r>
            <a:r>
              <a:rPr sz="1600" spc="-10">
                <a:solidFill>
                  <a:srgbClr val="FFFFFF"/>
                </a:solidFill>
                <a:latin typeface="Verdana"/>
                <a:cs typeface="Verdana"/>
              </a:rPr>
              <a:t>Cloud</a:t>
            </a:r>
            <a:endParaRPr sz="1600">
              <a:latin typeface="Verdana"/>
              <a:cs typeface="Verdana"/>
            </a:endParaRPr>
          </a:p>
        </p:txBody>
      </p:sp>
      <p:sp>
        <p:nvSpPr>
          <p:cNvPr id="89" name="object 8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90" name="object 90"/>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0</a:t>
            </a:f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10662920" cy="813043"/>
          </a:xfrm>
          <a:prstGeom prst="rect">
            <a:avLst/>
          </a:prstGeom>
        </p:spPr>
        <p:txBody>
          <a:bodyPr vert="horz" wrap="square" lIns="0" tIns="12700" rIns="0" bIns="0" rtlCol="0">
            <a:spAutoFit/>
          </a:bodyPr>
          <a:lstStyle/>
          <a:p>
            <a:pPr marL="12700">
              <a:lnSpc>
                <a:spcPct val="100000"/>
              </a:lnSpc>
              <a:spcBef>
                <a:spcPts val="100"/>
              </a:spcBef>
            </a:pPr>
            <a:r>
              <a:rPr sz="2600" spc="-15"/>
              <a:t>At </a:t>
            </a:r>
            <a:r>
              <a:rPr sz="2600"/>
              <a:t>a global glance: </a:t>
            </a:r>
            <a:r>
              <a:rPr sz="2600" spc="-10"/>
              <a:t>Capgemini’s </a:t>
            </a:r>
            <a:r>
              <a:rPr lang="it-IT" sz="2600" spc="-10"/>
              <a:t>SFDC </a:t>
            </a:r>
            <a:r>
              <a:rPr sz="2600"/>
              <a:t>certifications </a:t>
            </a:r>
            <a:r>
              <a:rPr sz="2600" spc="-5"/>
              <a:t>and </a:t>
            </a:r>
            <a:r>
              <a:rPr sz="2600" spc="-15"/>
              <a:t>vast</a:t>
            </a:r>
            <a:r>
              <a:rPr sz="2600" spc="-30"/>
              <a:t> </a:t>
            </a:r>
            <a:r>
              <a:rPr sz="2600" spc="-5"/>
              <a:t>expertise</a:t>
            </a:r>
            <a:endParaRPr sz="2600"/>
          </a:p>
        </p:txBody>
      </p:sp>
      <p:sp>
        <p:nvSpPr>
          <p:cNvPr id="3" name="object 3"/>
          <p:cNvSpPr/>
          <p:nvPr/>
        </p:nvSpPr>
        <p:spPr>
          <a:xfrm>
            <a:off x="3642359" y="1636776"/>
            <a:ext cx="8398764" cy="4817364"/>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6680326" y="6162227"/>
            <a:ext cx="3246755" cy="239395"/>
          </a:xfrm>
          <a:prstGeom prst="rect">
            <a:avLst/>
          </a:prstGeom>
        </p:spPr>
        <p:txBody>
          <a:bodyPr vert="horz" wrap="square" lIns="0" tIns="12700" rIns="0" bIns="0" rtlCol="0">
            <a:spAutoFit/>
          </a:bodyPr>
          <a:lstStyle/>
          <a:p>
            <a:pPr marL="12700">
              <a:lnSpc>
                <a:spcPct val="100000"/>
              </a:lnSpc>
              <a:spcBef>
                <a:spcPts val="100"/>
              </a:spcBef>
            </a:pPr>
            <a:r>
              <a:rPr sz="1400" b="1" spc="-5">
                <a:solidFill>
                  <a:srgbClr val="FFFFFF"/>
                </a:solidFill>
                <a:latin typeface="Verdana"/>
                <a:cs typeface="Verdana"/>
              </a:rPr>
              <a:t>Global Industry Salesforce</a:t>
            </a:r>
            <a:r>
              <a:rPr sz="1400" b="1" spc="-65">
                <a:solidFill>
                  <a:srgbClr val="FFFFFF"/>
                </a:solidFill>
                <a:latin typeface="Verdana"/>
                <a:cs typeface="Verdana"/>
              </a:rPr>
              <a:t> </a:t>
            </a:r>
            <a:r>
              <a:rPr sz="1400" b="1">
                <a:solidFill>
                  <a:srgbClr val="FFFFFF"/>
                </a:solidFill>
                <a:latin typeface="Verdana"/>
                <a:cs typeface="Verdana"/>
              </a:rPr>
              <a:t>COEs</a:t>
            </a:r>
            <a:endParaRPr sz="1400">
              <a:latin typeface="Verdana"/>
              <a:cs typeface="Verdana"/>
            </a:endParaRPr>
          </a:p>
        </p:txBody>
      </p:sp>
      <p:sp>
        <p:nvSpPr>
          <p:cNvPr id="5" name="object 5"/>
          <p:cNvSpPr txBox="1"/>
          <p:nvPr/>
        </p:nvSpPr>
        <p:spPr>
          <a:xfrm>
            <a:off x="10158730" y="950213"/>
            <a:ext cx="751205" cy="330835"/>
          </a:xfrm>
          <a:prstGeom prst="rect">
            <a:avLst/>
          </a:prstGeom>
        </p:spPr>
        <p:txBody>
          <a:bodyPr vert="horz" wrap="square" lIns="0" tIns="13335" rIns="0" bIns="0" rtlCol="0">
            <a:spAutoFit/>
          </a:bodyPr>
          <a:lstStyle/>
          <a:p>
            <a:pPr marL="12700">
              <a:lnSpc>
                <a:spcPct val="100000"/>
              </a:lnSpc>
              <a:spcBef>
                <a:spcPts val="105"/>
              </a:spcBef>
            </a:pPr>
            <a:r>
              <a:rPr sz="2000" b="1">
                <a:solidFill>
                  <a:srgbClr val="00D1D0"/>
                </a:solidFill>
                <a:latin typeface="Verdana"/>
                <a:cs typeface="Verdana"/>
              </a:rPr>
              <a:t>4402</a:t>
            </a:r>
            <a:endParaRPr sz="2000">
              <a:latin typeface="Verdana"/>
              <a:cs typeface="Verdana"/>
            </a:endParaRPr>
          </a:p>
        </p:txBody>
      </p:sp>
      <p:sp>
        <p:nvSpPr>
          <p:cNvPr id="6" name="object 6"/>
          <p:cNvSpPr txBox="1"/>
          <p:nvPr/>
        </p:nvSpPr>
        <p:spPr>
          <a:xfrm>
            <a:off x="1407413" y="1568323"/>
            <a:ext cx="530860" cy="452120"/>
          </a:xfrm>
          <a:prstGeom prst="rect">
            <a:avLst/>
          </a:prstGeom>
        </p:spPr>
        <p:txBody>
          <a:bodyPr vert="horz" wrap="square" lIns="0" tIns="12065" rIns="0" bIns="0" rtlCol="0">
            <a:spAutoFit/>
          </a:bodyPr>
          <a:lstStyle/>
          <a:p>
            <a:pPr marL="12700">
              <a:lnSpc>
                <a:spcPct val="100000"/>
              </a:lnSpc>
              <a:spcBef>
                <a:spcPts val="95"/>
              </a:spcBef>
            </a:pPr>
            <a:r>
              <a:rPr sz="2800" b="1" spc="-5">
                <a:solidFill>
                  <a:srgbClr val="12ABDB"/>
                </a:solidFill>
                <a:latin typeface="Verdana"/>
                <a:cs typeface="Verdana"/>
              </a:rPr>
              <a:t>50</a:t>
            </a:r>
            <a:endParaRPr sz="2800">
              <a:latin typeface="Verdana"/>
              <a:cs typeface="Verdana"/>
            </a:endParaRPr>
          </a:p>
        </p:txBody>
      </p:sp>
      <p:sp>
        <p:nvSpPr>
          <p:cNvPr id="7" name="object 7"/>
          <p:cNvSpPr txBox="1"/>
          <p:nvPr/>
        </p:nvSpPr>
        <p:spPr>
          <a:xfrm>
            <a:off x="1407413" y="1931670"/>
            <a:ext cx="848360" cy="239395"/>
          </a:xfrm>
          <a:prstGeom prst="rect">
            <a:avLst/>
          </a:prstGeom>
        </p:spPr>
        <p:txBody>
          <a:bodyPr vert="horz" wrap="square" lIns="0" tIns="13335" rIns="0" bIns="0" rtlCol="0">
            <a:spAutoFit/>
          </a:bodyPr>
          <a:lstStyle/>
          <a:p>
            <a:pPr marL="12700">
              <a:lnSpc>
                <a:spcPct val="100000"/>
              </a:lnSpc>
              <a:spcBef>
                <a:spcPts val="105"/>
              </a:spcBef>
            </a:pPr>
            <a:r>
              <a:rPr sz="1400">
                <a:solidFill>
                  <a:srgbClr val="2B133C"/>
                </a:solidFill>
                <a:latin typeface="Verdana"/>
                <a:cs typeface="Verdana"/>
              </a:rPr>
              <a:t>countr</a:t>
            </a:r>
            <a:r>
              <a:rPr sz="1400" spc="10">
                <a:solidFill>
                  <a:srgbClr val="2B133C"/>
                </a:solidFill>
                <a:latin typeface="Verdana"/>
                <a:cs typeface="Verdana"/>
              </a:rPr>
              <a:t>i</a:t>
            </a:r>
            <a:r>
              <a:rPr sz="1400">
                <a:solidFill>
                  <a:srgbClr val="2B133C"/>
                </a:solidFill>
                <a:latin typeface="Verdana"/>
                <a:cs typeface="Verdana"/>
              </a:rPr>
              <a:t>es</a:t>
            </a:r>
            <a:endParaRPr sz="1400">
              <a:latin typeface="Verdana"/>
              <a:cs typeface="Verdana"/>
            </a:endParaRPr>
          </a:p>
        </p:txBody>
      </p:sp>
      <p:sp>
        <p:nvSpPr>
          <p:cNvPr id="8" name="object 8"/>
          <p:cNvSpPr/>
          <p:nvPr/>
        </p:nvSpPr>
        <p:spPr>
          <a:xfrm>
            <a:off x="1298447" y="1459991"/>
            <a:ext cx="0" cy="822960"/>
          </a:xfrm>
          <a:custGeom>
            <a:avLst/>
            <a:gdLst/>
            <a:ahLst/>
            <a:cxnLst/>
            <a:rect l="l" t="t" r="r" b="b"/>
            <a:pathLst>
              <a:path h="822960">
                <a:moveTo>
                  <a:pt x="0" y="0"/>
                </a:moveTo>
                <a:lnTo>
                  <a:pt x="0" y="822960"/>
                </a:lnTo>
              </a:path>
            </a:pathLst>
          </a:custGeom>
          <a:ln w="30480">
            <a:solidFill>
              <a:srgbClr val="4600A7"/>
            </a:solidFill>
          </a:ln>
        </p:spPr>
        <p:txBody>
          <a:bodyPr wrap="square" lIns="0" tIns="0" rIns="0" bIns="0" rtlCol="0"/>
          <a:lstStyle/>
          <a:p>
            <a:endParaRPr/>
          </a:p>
        </p:txBody>
      </p:sp>
      <p:sp>
        <p:nvSpPr>
          <p:cNvPr id="9" name="object 9"/>
          <p:cNvSpPr/>
          <p:nvPr/>
        </p:nvSpPr>
        <p:spPr>
          <a:xfrm>
            <a:off x="398968" y="1522933"/>
            <a:ext cx="736600" cy="704850"/>
          </a:xfrm>
          <a:custGeom>
            <a:avLst/>
            <a:gdLst/>
            <a:ahLst/>
            <a:cxnLst/>
            <a:rect l="l" t="t" r="r" b="b"/>
            <a:pathLst>
              <a:path w="736600" h="704850">
                <a:moveTo>
                  <a:pt x="362304" y="0"/>
                </a:moveTo>
                <a:lnTo>
                  <a:pt x="318540" y="3751"/>
                </a:lnTo>
                <a:lnTo>
                  <a:pt x="275239" y="12610"/>
                </a:lnTo>
                <a:lnTo>
                  <a:pt x="232893" y="26647"/>
                </a:lnTo>
                <a:lnTo>
                  <a:pt x="191991" y="45932"/>
                </a:lnTo>
                <a:lnTo>
                  <a:pt x="153024" y="70535"/>
                </a:lnTo>
                <a:lnTo>
                  <a:pt x="114246" y="102242"/>
                </a:lnTo>
                <a:lnTo>
                  <a:pt x="80938" y="137783"/>
                </a:lnTo>
                <a:lnTo>
                  <a:pt x="53202" y="176564"/>
                </a:lnTo>
                <a:lnTo>
                  <a:pt x="31138" y="217991"/>
                </a:lnTo>
                <a:lnTo>
                  <a:pt x="14848" y="261470"/>
                </a:lnTo>
                <a:lnTo>
                  <a:pt x="4435" y="306406"/>
                </a:lnTo>
                <a:lnTo>
                  <a:pt x="0" y="352204"/>
                </a:lnTo>
                <a:lnTo>
                  <a:pt x="1643" y="398270"/>
                </a:lnTo>
                <a:lnTo>
                  <a:pt x="9468" y="444010"/>
                </a:lnTo>
                <a:lnTo>
                  <a:pt x="23576" y="488830"/>
                </a:lnTo>
                <a:lnTo>
                  <a:pt x="44067" y="532134"/>
                </a:lnTo>
                <a:lnTo>
                  <a:pt x="71045" y="573328"/>
                </a:lnTo>
                <a:lnTo>
                  <a:pt x="103243" y="609742"/>
                </a:lnTo>
                <a:lnTo>
                  <a:pt x="138986" y="640205"/>
                </a:lnTo>
                <a:lnTo>
                  <a:pt x="177753" y="664760"/>
                </a:lnTo>
                <a:lnTo>
                  <a:pt x="219020" y="683446"/>
                </a:lnTo>
                <a:lnTo>
                  <a:pt x="262267" y="696305"/>
                </a:lnTo>
                <a:lnTo>
                  <a:pt x="306971" y="703376"/>
                </a:lnTo>
                <a:lnTo>
                  <a:pt x="352611" y="704700"/>
                </a:lnTo>
                <a:lnTo>
                  <a:pt x="398664" y="700319"/>
                </a:lnTo>
                <a:lnTo>
                  <a:pt x="444608" y="690271"/>
                </a:lnTo>
                <a:lnTo>
                  <a:pt x="489921" y="674599"/>
                </a:lnTo>
                <a:lnTo>
                  <a:pt x="534082" y="653342"/>
                </a:lnTo>
                <a:lnTo>
                  <a:pt x="576569" y="626541"/>
                </a:lnTo>
                <a:lnTo>
                  <a:pt x="615165" y="595223"/>
                </a:lnTo>
                <a:lnTo>
                  <a:pt x="648842" y="560761"/>
                </a:lnTo>
                <a:lnTo>
                  <a:pt x="677395" y="523619"/>
                </a:lnTo>
                <a:lnTo>
                  <a:pt x="700621" y="484263"/>
                </a:lnTo>
                <a:lnTo>
                  <a:pt x="718316" y="443158"/>
                </a:lnTo>
                <a:lnTo>
                  <a:pt x="730278" y="400767"/>
                </a:lnTo>
                <a:lnTo>
                  <a:pt x="736303" y="357556"/>
                </a:lnTo>
                <a:lnTo>
                  <a:pt x="736188" y="313989"/>
                </a:lnTo>
                <a:lnTo>
                  <a:pt x="729729" y="270532"/>
                </a:lnTo>
                <a:lnTo>
                  <a:pt x="716723" y="227649"/>
                </a:lnTo>
                <a:lnTo>
                  <a:pt x="696966" y="185805"/>
                </a:lnTo>
                <a:lnTo>
                  <a:pt x="670256" y="145465"/>
                </a:lnTo>
                <a:lnTo>
                  <a:pt x="640439" y="110876"/>
                </a:lnTo>
                <a:lnTo>
                  <a:pt x="607161" y="80834"/>
                </a:lnTo>
                <a:lnTo>
                  <a:pt x="570914" y="55409"/>
                </a:lnTo>
                <a:lnTo>
                  <a:pt x="532188" y="34672"/>
                </a:lnTo>
                <a:lnTo>
                  <a:pt x="491474" y="18692"/>
                </a:lnTo>
                <a:lnTo>
                  <a:pt x="449261" y="7540"/>
                </a:lnTo>
                <a:lnTo>
                  <a:pt x="406041" y="1286"/>
                </a:lnTo>
                <a:lnTo>
                  <a:pt x="362304" y="0"/>
                </a:lnTo>
                <a:close/>
              </a:path>
            </a:pathLst>
          </a:custGeom>
          <a:solidFill>
            <a:srgbClr val="2B133C"/>
          </a:solidFill>
        </p:spPr>
        <p:txBody>
          <a:bodyPr wrap="square" lIns="0" tIns="0" rIns="0" bIns="0" rtlCol="0"/>
          <a:lstStyle/>
          <a:p>
            <a:endParaRPr/>
          </a:p>
        </p:txBody>
      </p:sp>
      <p:sp>
        <p:nvSpPr>
          <p:cNvPr id="10" name="object 10"/>
          <p:cNvSpPr/>
          <p:nvPr/>
        </p:nvSpPr>
        <p:spPr>
          <a:xfrm>
            <a:off x="536448" y="1638300"/>
            <a:ext cx="466725" cy="464820"/>
          </a:xfrm>
          <a:custGeom>
            <a:avLst/>
            <a:gdLst/>
            <a:ahLst/>
            <a:cxnLst/>
            <a:rect l="l" t="t" r="r" b="b"/>
            <a:pathLst>
              <a:path w="466725" h="464819">
                <a:moveTo>
                  <a:pt x="233172" y="0"/>
                </a:moveTo>
                <a:lnTo>
                  <a:pt x="186179" y="4720"/>
                </a:lnTo>
                <a:lnTo>
                  <a:pt x="142410" y="18258"/>
                </a:lnTo>
                <a:lnTo>
                  <a:pt x="102803" y="39681"/>
                </a:lnTo>
                <a:lnTo>
                  <a:pt x="68294" y="68056"/>
                </a:lnTo>
                <a:lnTo>
                  <a:pt x="39821" y="102449"/>
                </a:lnTo>
                <a:lnTo>
                  <a:pt x="18323" y="141928"/>
                </a:lnTo>
                <a:lnTo>
                  <a:pt x="4737" y="185559"/>
                </a:lnTo>
                <a:lnTo>
                  <a:pt x="0" y="232410"/>
                </a:lnTo>
                <a:lnTo>
                  <a:pt x="4737" y="279260"/>
                </a:lnTo>
                <a:lnTo>
                  <a:pt x="18323" y="322891"/>
                </a:lnTo>
                <a:lnTo>
                  <a:pt x="39821" y="362370"/>
                </a:lnTo>
                <a:lnTo>
                  <a:pt x="68294" y="396763"/>
                </a:lnTo>
                <a:lnTo>
                  <a:pt x="102803" y="425138"/>
                </a:lnTo>
                <a:lnTo>
                  <a:pt x="142410" y="446561"/>
                </a:lnTo>
                <a:lnTo>
                  <a:pt x="186179" y="460099"/>
                </a:lnTo>
                <a:lnTo>
                  <a:pt x="233172" y="464820"/>
                </a:lnTo>
                <a:lnTo>
                  <a:pt x="280164" y="460099"/>
                </a:lnTo>
                <a:lnTo>
                  <a:pt x="323933" y="446561"/>
                </a:lnTo>
                <a:lnTo>
                  <a:pt x="363540" y="425138"/>
                </a:lnTo>
                <a:lnTo>
                  <a:pt x="398049" y="396763"/>
                </a:lnTo>
                <a:lnTo>
                  <a:pt x="426522" y="362370"/>
                </a:lnTo>
                <a:lnTo>
                  <a:pt x="448020" y="322891"/>
                </a:lnTo>
                <a:lnTo>
                  <a:pt x="461606" y="279260"/>
                </a:lnTo>
                <a:lnTo>
                  <a:pt x="466343" y="232410"/>
                </a:lnTo>
                <a:lnTo>
                  <a:pt x="461606" y="185559"/>
                </a:lnTo>
                <a:lnTo>
                  <a:pt x="448020" y="141928"/>
                </a:lnTo>
                <a:lnTo>
                  <a:pt x="426522" y="102449"/>
                </a:lnTo>
                <a:lnTo>
                  <a:pt x="398049" y="68056"/>
                </a:lnTo>
                <a:lnTo>
                  <a:pt x="363540" y="39681"/>
                </a:lnTo>
                <a:lnTo>
                  <a:pt x="323933" y="18258"/>
                </a:lnTo>
                <a:lnTo>
                  <a:pt x="280164" y="4720"/>
                </a:lnTo>
                <a:lnTo>
                  <a:pt x="233172" y="0"/>
                </a:lnTo>
                <a:close/>
              </a:path>
            </a:pathLst>
          </a:custGeom>
          <a:solidFill>
            <a:srgbClr val="FFFFFF"/>
          </a:solidFill>
        </p:spPr>
        <p:txBody>
          <a:bodyPr wrap="square" lIns="0" tIns="0" rIns="0" bIns="0" rtlCol="0"/>
          <a:lstStyle/>
          <a:p>
            <a:endParaRPr/>
          </a:p>
        </p:txBody>
      </p:sp>
      <p:sp>
        <p:nvSpPr>
          <p:cNvPr id="11" name="object 11"/>
          <p:cNvSpPr/>
          <p:nvPr/>
        </p:nvSpPr>
        <p:spPr>
          <a:xfrm>
            <a:off x="652272" y="1646554"/>
            <a:ext cx="135890" cy="37465"/>
          </a:xfrm>
          <a:custGeom>
            <a:avLst/>
            <a:gdLst/>
            <a:ahLst/>
            <a:cxnLst/>
            <a:rect l="l" t="t" r="r" b="b"/>
            <a:pathLst>
              <a:path w="135890" h="37464">
                <a:moveTo>
                  <a:pt x="135636" y="0"/>
                </a:moveTo>
                <a:lnTo>
                  <a:pt x="88850" y="35"/>
                </a:lnTo>
                <a:lnTo>
                  <a:pt x="53654" y="6762"/>
                </a:lnTo>
                <a:lnTo>
                  <a:pt x="25540" y="18395"/>
                </a:lnTo>
                <a:lnTo>
                  <a:pt x="0" y="33147"/>
                </a:lnTo>
                <a:lnTo>
                  <a:pt x="24036" y="37153"/>
                </a:lnTo>
                <a:lnTo>
                  <a:pt x="45496" y="35290"/>
                </a:lnTo>
                <a:lnTo>
                  <a:pt x="65667" y="30164"/>
                </a:lnTo>
                <a:lnTo>
                  <a:pt x="85839" y="24384"/>
                </a:lnTo>
                <a:lnTo>
                  <a:pt x="99902" y="20841"/>
                </a:lnTo>
                <a:lnTo>
                  <a:pt x="113318" y="15478"/>
                </a:lnTo>
                <a:lnTo>
                  <a:pt x="125444" y="8471"/>
                </a:lnTo>
                <a:lnTo>
                  <a:pt x="135636" y="0"/>
                </a:lnTo>
                <a:close/>
              </a:path>
            </a:pathLst>
          </a:custGeom>
          <a:solidFill>
            <a:srgbClr val="12ABDB"/>
          </a:solidFill>
        </p:spPr>
        <p:txBody>
          <a:bodyPr wrap="square" lIns="0" tIns="0" rIns="0" bIns="0" rtlCol="0"/>
          <a:lstStyle/>
          <a:p>
            <a:endParaRPr/>
          </a:p>
        </p:txBody>
      </p:sp>
      <p:sp>
        <p:nvSpPr>
          <p:cNvPr id="12" name="object 12"/>
          <p:cNvSpPr/>
          <p:nvPr/>
        </p:nvSpPr>
        <p:spPr>
          <a:xfrm>
            <a:off x="739140" y="1667510"/>
            <a:ext cx="237490" cy="384175"/>
          </a:xfrm>
          <a:custGeom>
            <a:avLst/>
            <a:gdLst/>
            <a:ahLst/>
            <a:cxnLst/>
            <a:rect l="l" t="t" r="r" b="b"/>
            <a:pathLst>
              <a:path w="237490" h="384175">
                <a:moveTo>
                  <a:pt x="147894" y="224817"/>
                </a:moveTo>
                <a:lnTo>
                  <a:pt x="132129" y="228346"/>
                </a:lnTo>
                <a:lnTo>
                  <a:pt x="117971" y="235779"/>
                </a:lnTo>
                <a:lnTo>
                  <a:pt x="106222" y="244855"/>
                </a:lnTo>
                <a:lnTo>
                  <a:pt x="113716" y="257159"/>
                </a:lnTo>
                <a:lnTo>
                  <a:pt x="113499" y="267652"/>
                </a:lnTo>
                <a:lnTo>
                  <a:pt x="106215" y="275859"/>
                </a:lnTo>
                <a:lnTo>
                  <a:pt x="92506" y="281304"/>
                </a:lnTo>
                <a:lnTo>
                  <a:pt x="91679" y="300150"/>
                </a:lnTo>
                <a:lnTo>
                  <a:pt x="98720" y="316055"/>
                </a:lnTo>
                <a:lnTo>
                  <a:pt x="108651" y="330650"/>
                </a:lnTo>
                <a:lnTo>
                  <a:pt x="116497" y="345566"/>
                </a:lnTo>
                <a:lnTo>
                  <a:pt x="120915" y="357665"/>
                </a:lnTo>
                <a:lnTo>
                  <a:pt x="124848" y="367966"/>
                </a:lnTo>
                <a:lnTo>
                  <a:pt x="129746" y="376624"/>
                </a:lnTo>
                <a:lnTo>
                  <a:pt x="137058" y="383793"/>
                </a:lnTo>
                <a:lnTo>
                  <a:pt x="161683" y="359511"/>
                </a:lnTo>
                <a:lnTo>
                  <a:pt x="187593" y="336883"/>
                </a:lnTo>
                <a:lnTo>
                  <a:pt x="212219" y="312945"/>
                </a:lnTo>
                <a:lnTo>
                  <a:pt x="232994" y="284734"/>
                </a:lnTo>
                <a:lnTo>
                  <a:pt x="229538" y="276609"/>
                </a:lnTo>
                <a:lnTo>
                  <a:pt x="228493" y="267843"/>
                </a:lnTo>
                <a:lnTo>
                  <a:pt x="228413" y="258409"/>
                </a:lnTo>
                <a:lnTo>
                  <a:pt x="227850" y="248285"/>
                </a:lnTo>
                <a:lnTo>
                  <a:pt x="218832" y="241456"/>
                </a:lnTo>
                <a:lnTo>
                  <a:pt x="207081" y="235283"/>
                </a:lnTo>
                <a:lnTo>
                  <a:pt x="196294" y="227800"/>
                </a:lnTo>
                <a:lnTo>
                  <a:pt x="196099" y="227456"/>
                </a:lnTo>
                <a:lnTo>
                  <a:pt x="164465" y="227456"/>
                </a:lnTo>
                <a:lnTo>
                  <a:pt x="147894" y="224817"/>
                </a:lnTo>
                <a:close/>
              </a:path>
              <a:path w="237490" h="384175">
                <a:moveTo>
                  <a:pt x="233603" y="114553"/>
                </a:moveTo>
                <a:lnTo>
                  <a:pt x="121640" y="114553"/>
                </a:lnTo>
                <a:lnTo>
                  <a:pt x="131328" y="120967"/>
                </a:lnTo>
                <a:lnTo>
                  <a:pt x="142625" y="135858"/>
                </a:lnTo>
                <a:lnTo>
                  <a:pt x="151996" y="152701"/>
                </a:lnTo>
                <a:lnTo>
                  <a:pt x="155905" y="164973"/>
                </a:lnTo>
                <a:lnTo>
                  <a:pt x="155905" y="170179"/>
                </a:lnTo>
                <a:lnTo>
                  <a:pt x="150761" y="175387"/>
                </a:lnTo>
                <a:lnTo>
                  <a:pt x="150761" y="178815"/>
                </a:lnTo>
                <a:lnTo>
                  <a:pt x="159321" y="185800"/>
                </a:lnTo>
                <a:lnTo>
                  <a:pt x="159321" y="189229"/>
                </a:lnTo>
                <a:lnTo>
                  <a:pt x="164704" y="197185"/>
                </a:lnTo>
                <a:lnTo>
                  <a:pt x="168960" y="207057"/>
                </a:lnTo>
                <a:lnTo>
                  <a:pt x="169683" y="217572"/>
                </a:lnTo>
                <a:lnTo>
                  <a:pt x="164465" y="227456"/>
                </a:lnTo>
                <a:lnTo>
                  <a:pt x="196099" y="227456"/>
                </a:lnTo>
                <a:lnTo>
                  <a:pt x="190169" y="217042"/>
                </a:lnTo>
                <a:lnTo>
                  <a:pt x="188803" y="206513"/>
                </a:lnTo>
                <a:lnTo>
                  <a:pt x="189525" y="192722"/>
                </a:lnTo>
                <a:lnTo>
                  <a:pt x="210508" y="157591"/>
                </a:lnTo>
                <a:lnTo>
                  <a:pt x="220117" y="154775"/>
                </a:lnTo>
                <a:lnTo>
                  <a:pt x="229565" y="149351"/>
                </a:lnTo>
                <a:lnTo>
                  <a:pt x="237328" y="134649"/>
                </a:lnTo>
                <a:lnTo>
                  <a:pt x="235134" y="117840"/>
                </a:lnTo>
                <a:lnTo>
                  <a:pt x="233603" y="114553"/>
                </a:lnTo>
                <a:close/>
              </a:path>
              <a:path w="237490" h="384175">
                <a:moveTo>
                  <a:pt x="231837" y="110763"/>
                </a:moveTo>
                <a:lnTo>
                  <a:pt x="40954" y="110763"/>
                </a:lnTo>
                <a:lnTo>
                  <a:pt x="52716" y="118110"/>
                </a:lnTo>
                <a:lnTo>
                  <a:pt x="63762" y="128012"/>
                </a:lnTo>
                <a:lnTo>
                  <a:pt x="77088" y="133730"/>
                </a:lnTo>
                <a:lnTo>
                  <a:pt x="89109" y="130502"/>
                </a:lnTo>
                <a:lnTo>
                  <a:pt x="110584" y="116853"/>
                </a:lnTo>
                <a:lnTo>
                  <a:pt x="121640" y="114553"/>
                </a:lnTo>
                <a:lnTo>
                  <a:pt x="233603" y="114553"/>
                </a:lnTo>
                <a:lnTo>
                  <a:pt x="231837" y="110763"/>
                </a:lnTo>
                <a:close/>
              </a:path>
              <a:path w="237490" h="384175">
                <a:moveTo>
                  <a:pt x="118211" y="0"/>
                </a:moveTo>
                <a:lnTo>
                  <a:pt x="109244" y="377"/>
                </a:lnTo>
                <a:lnTo>
                  <a:pt x="100436" y="3206"/>
                </a:lnTo>
                <a:lnTo>
                  <a:pt x="91949" y="7036"/>
                </a:lnTo>
                <a:lnTo>
                  <a:pt x="83947" y="10413"/>
                </a:lnTo>
                <a:lnTo>
                  <a:pt x="75325" y="26431"/>
                </a:lnTo>
                <a:lnTo>
                  <a:pt x="59958" y="35591"/>
                </a:lnTo>
                <a:lnTo>
                  <a:pt x="42022" y="42132"/>
                </a:lnTo>
                <a:lnTo>
                  <a:pt x="25692" y="50291"/>
                </a:lnTo>
                <a:lnTo>
                  <a:pt x="22159" y="69211"/>
                </a:lnTo>
                <a:lnTo>
                  <a:pt x="14131" y="84200"/>
                </a:lnTo>
                <a:lnTo>
                  <a:pt x="5460" y="99190"/>
                </a:lnTo>
                <a:lnTo>
                  <a:pt x="0" y="118110"/>
                </a:lnTo>
                <a:lnTo>
                  <a:pt x="3428" y="118110"/>
                </a:lnTo>
                <a:lnTo>
                  <a:pt x="6857" y="104139"/>
                </a:lnTo>
                <a:lnTo>
                  <a:pt x="228750" y="104139"/>
                </a:lnTo>
                <a:lnTo>
                  <a:pt x="204861" y="65244"/>
                </a:lnTo>
                <a:lnTo>
                  <a:pt x="176858" y="34744"/>
                </a:lnTo>
                <a:lnTo>
                  <a:pt x="140052" y="7127"/>
                </a:lnTo>
                <a:lnTo>
                  <a:pt x="128971" y="2022"/>
                </a:lnTo>
                <a:lnTo>
                  <a:pt x="118211" y="0"/>
                </a:lnTo>
                <a:close/>
              </a:path>
              <a:path w="237490" h="384175">
                <a:moveTo>
                  <a:pt x="228750" y="104139"/>
                </a:moveTo>
                <a:lnTo>
                  <a:pt x="20561" y="104139"/>
                </a:lnTo>
                <a:lnTo>
                  <a:pt x="18846" y="112902"/>
                </a:lnTo>
                <a:lnTo>
                  <a:pt x="25692" y="112902"/>
                </a:lnTo>
                <a:lnTo>
                  <a:pt x="40954" y="110763"/>
                </a:lnTo>
                <a:lnTo>
                  <a:pt x="231837" y="110763"/>
                </a:lnTo>
                <a:lnTo>
                  <a:pt x="228750" y="104139"/>
                </a:lnTo>
                <a:close/>
              </a:path>
            </a:pathLst>
          </a:custGeom>
          <a:solidFill>
            <a:srgbClr val="12ABDB"/>
          </a:solidFill>
        </p:spPr>
        <p:txBody>
          <a:bodyPr wrap="square" lIns="0" tIns="0" rIns="0" bIns="0" rtlCol="0"/>
          <a:lstStyle/>
          <a:p>
            <a:endParaRPr/>
          </a:p>
        </p:txBody>
      </p:sp>
      <p:sp>
        <p:nvSpPr>
          <p:cNvPr id="13" name="object 13"/>
          <p:cNvSpPr/>
          <p:nvPr/>
        </p:nvSpPr>
        <p:spPr>
          <a:xfrm>
            <a:off x="536471" y="1745233"/>
            <a:ext cx="127725" cy="220725"/>
          </a:xfrm>
          <a:prstGeom prst="rect">
            <a:avLst/>
          </a:prstGeom>
          <a:blipFill>
            <a:blip r:embed="rId3" cstate="print"/>
            <a:stretch>
              <a:fillRect/>
            </a:stretch>
          </a:blipFill>
        </p:spPr>
        <p:txBody>
          <a:bodyPr wrap="square" lIns="0" tIns="0" rIns="0" bIns="0" rtlCol="0"/>
          <a:lstStyle/>
          <a:p>
            <a:endParaRPr/>
          </a:p>
        </p:txBody>
      </p:sp>
      <p:sp>
        <p:nvSpPr>
          <p:cNvPr id="14" name="object 14"/>
          <p:cNvSpPr txBox="1"/>
          <p:nvPr/>
        </p:nvSpPr>
        <p:spPr>
          <a:xfrm>
            <a:off x="1407413" y="3854710"/>
            <a:ext cx="1635125" cy="748665"/>
          </a:xfrm>
          <a:prstGeom prst="rect">
            <a:avLst/>
          </a:prstGeom>
        </p:spPr>
        <p:txBody>
          <a:bodyPr vert="horz" wrap="square" lIns="0" tIns="38735" rIns="0" bIns="0" rtlCol="0">
            <a:spAutoFit/>
          </a:bodyPr>
          <a:lstStyle/>
          <a:p>
            <a:pPr marL="12700">
              <a:lnSpc>
                <a:spcPct val="100000"/>
              </a:lnSpc>
              <a:spcBef>
                <a:spcPts val="305"/>
              </a:spcBef>
            </a:pPr>
            <a:r>
              <a:rPr sz="2200" b="1" spc="-5">
                <a:solidFill>
                  <a:srgbClr val="2B133C"/>
                </a:solidFill>
                <a:latin typeface="Verdana"/>
                <a:cs typeface="Verdana"/>
              </a:rPr>
              <a:t>57%</a:t>
            </a:r>
            <a:r>
              <a:rPr sz="2200" b="1" spc="-80">
                <a:solidFill>
                  <a:srgbClr val="2B133C"/>
                </a:solidFill>
                <a:latin typeface="Verdana"/>
                <a:cs typeface="Verdana"/>
              </a:rPr>
              <a:t> </a:t>
            </a:r>
            <a:r>
              <a:rPr sz="1400" spc="-5">
                <a:solidFill>
                  <a:srgbClr val="2B133C"/>
                </a:solidFill>
                <a:latin typeface="Verdana"/>
                <a:cs typeface="Verdana"/>
              </a:rPr>
              <a:t>Offshore</a:t>
            </a:r>
            <a:endParaRPr sz="1400">
              <a:latin typeface="Verdana"/>
              <a:cs typeface="Verdana"/>
            </a:endParaRPr>
          </a:p>
          <a:p>
            <a:pPr marL="12700">
              <a:lnSpc>
                <a:spcPct val="100000"/>
              </a:lnSpc>
              <a:spcBef>
                <a:spcPts val="209"/>
              </a:spcBef>
            </a:pPr>
            <a:r>
              <a:rPr sz="2200" b="1" spc="-5">
                <a:solidFill>
                  <a:srgbClr val="12ABDB"/>
                </a:solidFill>
                <a:latin typeface="Verdana"/>
                <a:cs typeface="Verdana"/>
              </a:rPr>
              <a:t>43%</a:t>
            </a:r>
            <a:r>
              <a:rPr sz="2200" b="1" spc="-80">
                <a:solidFill>
                  <a:srgbClr val="12ABDB"/>
                </a:solidFill>
                <a:latin typeface="Verdana"/>
                <a:cs typeface="Verdana"/>
              </a:rPr>
              <a:t> </a:t>
            </a:r>
            <a:r>
              <a:rPr sz="1400" spc="-5">
                <a:solidFill>
                  <a:srgbClr val="2B133C"/>
                </a:solidFill>
                <a:latin typeface="Verdana"/>
                <a:cs typeface="Verdana"/>
              </a:rPr>
              <a:t>Onshore</a:t>
            </a:r>
            <a:endParaRPr sz="1400">
              <a:latin typeface="Verdana"/>
              <a:cs typeface="Verdana"/>
            </a:endParaRPr>
          </a:p>
        </p:txBody>
      </p:sp>
      <p:sp>
        <p:nvSpPr>
          <p:cNvPr id="15" name="object 15"/>
          <p:cNvSpPr/>
          <p:nvPr/>
        </p:nvSpPr>
        <p:spPr>
          <a:xfrm>
            <a:off x="1298447" y="3835908"/>
            <a:ext cx="0" cy="821690"/>
          </a:xfrm>
          <a:custGeom>
            <a:avLst/>
            <a:gdLst/>
            <a:ahLst/>
            <a:cxnLst/>
            <a:rect l="l" t="t" r="r" b="b"/>
            <a:pathLst>
              <a:path h="821689">
                <a:moveTo>
                  <a:pt x="0" y="0"/>
                </a:moveTo>
                <a:lnTo>
                  <a:pt x="0" y="821436"/>
                </a:lnTo>
              </a:path>
            </a:pathLst>
          </a:custGeom>
          <a:ln w="30480">
            <a:solidFill>
              <a:srgbClr val="4600A7"/>
            </a:solidFill>
          </a:ln>
        </p:spPr>
        <p:txBody>
          <a:bodyPr wrap="square" lIns="0" tIns="0" rIns="0" bIns="0" rtlCol="0"/>
          <a:lstStyle/>
          <a:p>
            <a:endParaRPr/>
          </a:p>
        </p:txBody>
      </p:sp>
      <p:sp>
        <p:nvSpPr>
          <p:cNvPr id="16" name="object 16"/>
          <p:cNvSpPr/>
          <p:nvPr/>
        </p:nvSpPr>
        <p:spPr>
          <a:xfrm>
            <a:off x="398968" y="3898763"/>
            <a:ext cx="736600" cy="703580"/>
          </a:xfrm>
          <a:custGeom>
            <a:avLst/>
            <a:gdLst/>
            <a:ahLst/>
            <a:cxnLst/>
            <a:rect l="l" t="t" r="r" b="b"/>
            <a:pathLst>
              <a:path w="736600" h="703579">
                <a:moveTo>
                  <a:pt x="362304" y="0"/>
                </a:moveTo>
                <a:lnTo>
                  <a:pt x="318540" y="3759"/>
                </a:lnTo>
                <a:lnTo>
                  <a:pt x="275239" y="12618"/>
                </a:lnTo>
                <a:lnTo>
                  <a:pt x="232893" y="26647"/>
                </a:lnTo>
                <a:lnTo>
                  <a:pt x="191991" y="45916"/>
                </a:lnTo>
                <a:lnTo>
                  <a:pt x="153024" y="70494"/>
                </a:lnTo>
                <a:lnTo>
                  <a:pt x="114246" y="102105"/>
                </a:lnTo>
                <a:lnTo>
                  <a:pt x="80938" y="137551"/>
                </a:lnTo>
                <a:lnTo>
                  <a:pt x="53202" y="176237"/>
                </a:lnTo>
                <a:lnTo>
                  <a:pt x="31138" y="217569"/>
                </a:lnTo>
                <a:lnTo>
                  <a:pt x="14848" y="260953"/>
                </a:lnTo>
                <a:lnTo>
                  <a:pt x="4435" y="305793"/>
                </a:lnTo>
                <a:lnTo>
                  <a:pt x="0" y="351496"/>
                </a:lnTo>
                <a:lnTo>
                  <a:pt x="1643" y="397467"/>
                </a:lnTo>
                <a:lnTo>
                  <a:pt x="9468" y="443112"/>
                </a:lnTo>
                <a:lnTo>
                  <a:pt x="23576" y="487836"/>
                </a:lnTo>
                <a:lnTo>
                  <a:pt x="44067" y="531045"/>
                </a:lnTo>
                <a:lnTo>
                  <a:pt x="71045" y="572144"/>
                </a:lnTo>
                <a:lnTo>
                  <a:pt x="103243" y="608526"/>
                </a:lnTo>
                <a:lnTo>
                  <a:pt x="138986" y="638959"/>
                </a:lnTo>
                <a:lnTo>
                  <a:pt x="177753" y="663485"/>
                </a:lnTo>
                <a:lnTo>
                  <a:pt x="219020" y="682145"/>
                </a:lnTo>
                <a:lnTo>
                  <a:pt x="262267" y="694981"/>
                </a:lnTo>
                <a:lnTo>
                  <a:pt x="306971" y="702033"/>
                </a:lnTo>
                <a:lnTo>
                  <a:pt x="352611" y="703345"/>
                </a:lnTo>
                <a:lnTo>
                  <a:pt x="398664" y="698956"/>
                </a:lnTo>
                <a:lnTo>
                  <a:pt x="444608" y="688909"/>
                </a:lnTo>
                <a:lnTo>
                  <a:pt x="489921" y="673244"/>
                </a:lnTo>
                <a:lnTo>
                  <a:pt x="534082" y="652004"/>
                </a:lnTo>
                <a:lnTo>
                  <a:pt x="576569" y="625230"/>
                </a:lnTo>
                <a:lnTo>
                  <a:pt x="615165" y="594007"/>
                </a:lnTo>
                <a:lnTo>
                  <a:pt x="648842" y="559640"/>
                </a:lnTo>
                <a:lnTo>
                  <a:pt x="677395" y="522592"/>
                </a:lnTo>
                <a:lnTo>
                  <a:pt x="700621" y="483329"/>
                </a:lnTo>
                <a:lnTo>
                  <a:pt x="718316" y="442314"/>
                </a:lnTo>
                <a:lnTo>
                  <a:pt x="730278" y="400011"/>
                </a:lnTo>
                <a:lnTo>
                  <a:pt x="736303" y="356886"/>
                </a:lnTo>
                <a:lnTo>
                  <a:pt x="736188" y="313403"/>
                </a:lnTo>
                <a:lnTo>
                  <a:pt x="729729" y="270025"/>
                </a:lnTo>
                <a:lnTo>
                  <a:pt x="716723" y="227217"/>
                </a:lnTo>
                <a:lnTo>
                  <a:pt x="696966" y="185444"/>
                </a:lnTo>
                <a:lnTo>
                  <a:pt x="670256" y="145170"/>
                </a:lnTo>
                <a:lnTo>
                  <a:pt x="640439" y="110637"/>
                </a:lnTo>
                <a:lnTo>
                  <a:pt x="607161" y="80646"/>
                </a:lnTo>
                <a:lnTo>
                  <a:pt x="570914" y="55268"/>
                </a:lnTo>
                <a:lnTo>
                  <a:pt x="532188" y="34571"/>
                </a:lnTo>
                <a:lnTo>
                  <a:pt x="491474" y="18627"/>
                </a:lnTo>
                <a:lnTo>
                  <a:pt x="449261" y="7503"/>
                </a:lnTo>
                <a:lnTo>
                  <a:pt x="406041" y="1271"/>
                </a:lnTo>
                <a:lnTo>
                  <a:pt x="362304" y="0"/>
                </a:lnTo>
                <a:close/>
              </a:path>
            </a:pathLst>
          </a:custGeom>
          <a:solidFill>
            <a:srgbClr val="2B133C"/>
          </a:solidFill>
        </p:spPr>
        <p:txBody>
          <a:bodyPr wrap="square" lIns="0" tIns="0" rIns="0" bIns="0" rtlCol="0"/>
          <a:lstStyle/>
          <a:p>
            <a:endParaRPr/>
          </a:p>
        </p:txBody>
      </p:sp>
      <p:sp>
        <p:nvSpPr>
          <p:cNvPr id="17" name="object 17"/>
          <p:cNvSpPr/>
          <p:nvPr/>
        </p:nvSpPr>
        <p:spPr>
          <a:xfrm>
            <a:off x="493776" y="3971544"/>
            <a:ext cx="550545" cy="550545"/>
          </a:xfrm>
          <a:custGeom>
            <a:avLst/>
            <a:gdLst/>
            <a:ahLst/>
            <a:cxnLst/>
            <a:rect l="l" t="t" r="r" b="b"/>
            <a:pathLst>
              <a:path w="550544" h="550545">
                <a:moveTo>
                  <a:pt x="275081" y="0"/>
                </a:moveTo>
                <a:lnTo>
                  <a:pt x="225637" y="4432"/>
                </a:lnTo>
                <a:lnTo>
                  <a:pt x="179099" y="17213"/>
                </a:lnTo>
                <a:lnTo>
                  <a:pt x="136245" y="37563"/>
                </a:lnTo>
                <a:lnTo>
                  <a:pt x="97852" y="64706"/>
                </a:lnTo>
                <a:lnTo>
                  <a:pt x="64697" y="97863"/>
                </a:lnTo>
                <a:lnTo>
                  <a:pt x="37558" y="136256"/>
                </a:lnTo>
                <a:lnTo>
                  <a:pt x="17210" y="179109"/>
                </a:lnTo>
                <a:lnTo>
                  <a:pt x="4432" y="225643"/>
                </a:lnTo>
                <a:lnTo>
                  <a:pt x="0" y="275081"/>
                </a:lnTo>
                <a:lnTo>
                  <a:pt x="4432" y="324520"/>
                </a:lnTo>
                <a:lnTo>
                  <a:pt x="17210" y="371054"/>
                </a:lnTo>
                <a:lnTo>
                  <a:pt x="37558" y="413907"/>
                </a:lnTo>
                <a:lnTo>
                  <a:pt x="64697" y="452300"/>
                </a:lnTo>
                <a:lnTo>
                  <a:pt x="97852" y="485457"/>
                </a:lnTo>
                <a:lnTo>
                  <a:pt x="136245" y="512600"/>
                </a:lnTo>
                <a:lnTo>
                  <a:pt x="179099" y="532950"/>
                </a:lnTo>
                <a:lnTo>
                  <a:pt x="225637" y="545731"/>
                </a:lnTo>
                <a:lnTo>
                  <a:pt x="275081" y="550163"/>
                </a:lnTo>
                <a:lnTo>
                  <a:pt x="324526" y="545731"/>
                </a:lnTo>
                <a:lnTo>
                  <a:pt x="371064" y="532950"/>
                </a:lnTo>
                <a:lnTo>
                  <a:pt x="413918" y="512600"/>
                </a:lnTo>
                <a:lnTo>
                  <a:pt x="452311" y="485457"/>
                </a:lnTo>
                <a:lnTo>
                  <a:pt x="482853" y="454913"/>
                </a:lnTo>
                <a:lnTo>
                  <a:pt x="275081" y="454913"/>
                </a:lnTo>
                <a:lnTo>
                  <a:pt x="227283" y="448489"/>
                </a:lnTo>
                <a:lnTo>
                  <a:pt x="184331" y="430360"/>
                </a:lnTo>
                <a:lnTo>
                  <a:pt x="147940" y="402240"/>
                </a:lnTo>
                <a:lnTo>
                  <a:pt x="119824" y="365844"/>
                </a:lnTo>
                <a:lnTo>
                  <a:pt x="101698" y="322886"/>
                </a:lnTo>
                <a:lnTo>
                  <a:pt x="95275" y="275081"/>
                </a:lnTo>
                <a:lnTo>
                  <a:pt x="101698" y="227277"/>
                </a:lnTo>
                <a:lnTo>
                  <a:pt x="119824" y="184319"/>
                </a:lnTo>
                <a:lnTo>
                  <a:pt x="147940" y="147923"/>
                </a:lnTo>
                <a:lnTo>
                  <a:pt x="184331" y="119803"/>
                </a:lnTo>
                <a:lnTo>
                  <a:pt x="227283" y="101674"/>
                </a:lnTo>
                <a:lnTo>
                  <a:pt x="275081" y="95249"/>
                </a:lnTo>
                <a:lnTo>
                  <a:pt x="482853" y="95249"/>
                </a:lnTo>
                <a:lnTo>
                  <a:pt x="452311" y="64706"/>
                </a:lnTo>
                <a:lnTo>
                  <a:pt x="413918" y="37563"/>
                </a:lnTo>
                <a:lnTo>
                  <a:pt x="371064" y="17213"/>
                </a:lnTo>
                <a:lnTo>
                  <a:pt x="324526" y="4432"/>
                </a:lnTo>
                <a:lnTo>
                  <a:pt x="275081" y="0"/>
                </a:lnTo>
                <a:close/>
              </a:path>
              <a:path w="550544" h="550545">
                <a:moveTo>
                  <a:pt x="482853" y="95249"/>
                </a:moveTo>
                <a:lnTo>
                  <a:pt x="275081" y="95249"/>
                </a:lnTo>
                <a:lnTo>
                  <a:pt x="322880" y="101674"/>
                </a:lnTo>
                <a:lnTo>
                  <a:pt x="365832" y="119803"/>
                </a:lnTo>
                <a:lnTo>
                  <a:pt x="402223" y="147923"/>
                </a:lnTo>
                <a:lnTo>
                  <a:pt x="430339" y="184319"/>
                </a:lnTo>
                <a:lnTo>
                  <a:pt x="448465" y="227277"/>
                </a:lnTo>
                <a:lnTo>
                  <a:pt x="454888" y="275081"/>
                </a:lnTo>
                <a:lnTo>
                  <a:pt x="448465" y="322886"/>
                </a:lnTo>
                <a:lnTo>
                  <a:pt x="430339" y="365844"/>
                </a:lnTo>
                <a:lnTo>
                  <a:pt x="402223" y="402240"/>
                </a:lnTo>
                <a:lnTo>
                  <a:pt x="365832" y="430360"/>
                </a:lnTo>
                <a:lnTo>
                  <a:pt x="322880" y="448489"/>
                </a:lnTo>
                <a:lnTo>
                  <a:pt x="275081" y="454913"/>
                </a:lnTo>
                <a:lnTo>
                  <a:pt x="482853" y="454913"/>
                </a:lnTo>
                <a:lnTo>
                  <a:pt x="512605" y="413907"/>
                </a:lnTo>
                <a:lnTo>
                  <a:pt x="532953" y="371054"/>
                </a:lnTo>
                <a:lnTo>
                  <a:pt x="545731" y="324520"/>
                </a:lnTo>
                <a:lnTo>
                  <a:pt x="550164" y="275081"/>
                </a:lnTo>
                <a:lnTo>
                  <a:pt x="545731" y="225643"/>
                </a:lnTo>
                <a:lnTo>
                  <a:pt x="532953" y="179109"/>
                </a:lnTo>
                <a:lnTo>
                  <a:pt x="512605" y="136256"/>
                </a:lnTo>
                <a:lnTo>
                  <a:pt x="485466" y="97863"/>
                </a:lnTo>
                <a:lnTo>
                  <a:pt x="482853" y="95249"/>
                </a:lnTo>
                <a:close/>
              </a:path>
            </a:pathLst>
          </a:custGeom>
          <a:solidFill>
            <a:srgbClr val="FFFFFF"/>
          </a:solidFill>
        </p:spPr>
        <p:txBody>
          <a:bodyPr wrap="square" lIns="0" tIns="0" rIns="0" bIns="0" rtlCol="0"/>
          <a:lstStyle/>
          <a:p>
            <a:endParaRPr/>
          </a:p>
        </p:txBody>
      </p:sp>
      <p:sp>
        <p:nvSpPr>
          <p:cNvPr id="18" name="object 18"/>
          <p:cNvSpPr/>
          <p:nvPr/>
        </p:nvSpPr>
        <p:spPr>
          <a:xfrm>
            <a:off x="493079" y="3970528"/>
            <a:ext cx="292735" cy="525780"/>
          </a:xfrm>
          <a:custGeom>
            <a:avLst/>
            <a:gdLst/>
            <a:ahLst/>
            <a:cxnLst/>
            <a:rect l="l" t="t" r="r" b="b"/>
            <a:pathLst>
              <a:path w="292734" h="525779">
                <a:moveTo>
                  <a:pt x="292631" y="0"/>
                </a:moveTo>
                <a:lnTo>
                  <a:pt x="244641" y="1335"/>
                </a:lnTo>
                <a:lnTo>
                  <a:pt x="198445" y="10653"/>
                </a:lnTo>
                <a:lnTo>
                  <a:pt x="154925" y="27428"/>
                </a:lnTo>
                <a:lnTo>
                  <a:pt x="114964" y="51137"/>
                </a:lnTo>
                <a:lnTo>
                  <a:pt x="79442" y="81255"/>
                </a:lnTo>
                <a:lnTo>
                  <a:pt x="49242" y="117259"/>
                </a:lnTo>
                <a:lnTo>
                  <a:pt x="25245" y="158623"/>
                </a:lnTo>
                <a:lnTo>
                  <a:pt x="8189" y="205397"/>
                </a:lnTo>
                <a:lnTo>
                  <a:pt x="0" y="253083"/>
                </a:lnTo>
                <a:lnTo>
                  <a:pt x="298" y="300641"/>
                </a:lnTo>
                <a:lnTo>
                  <a:pt x="8705" y="347037"/>
                </a:lnTo>
                <a:lnTo>
                  <a:pt x="24844" y="391232"/>
                </a:lnTo>
                <a:lnTo>
                  <a:pt x="48335" y="432190"/>
                </a:lnTo>
                <a:lnTo>
                  <a:pt x="78801" y="468874"/>
                </a:lnTo>
                <a:lnTo>
                  <a:pt x="115862" y="500247"/>
                </a:lnTo>
                <a:lnTo>
                  <a:pt x="159142" y="525272"/>
                </a:lnTo>
                <a:lnTo>
                  <a:pt x="200544" y="437134"/>
                </a:lnTo>
                <a:lnTo>
                  <a:pt x="155532" y="407495"/>
                </a:lnTo>
                <a:lnTo>
                  <a:pt x="122021" y="366902"/>
                </a:lnTo>
                <a:lnTo>
                  <a:pt x="101847" y="318404"/>
                </a:lnTo>
                <a:lnTo>
                  <a:pt x="96848" y="265049"/>
                </a:lnTo>
                <a:lnTo>
                  <a:pt x="106036" y="218040"/>
                </a:lnTo>
                <a:lnTo>
                  <a:pt x="126639" y="176506"/>
                </a:lnTo>
                <a:lnTo>
                  <a:pt x="156844" y="142049"/>
                </a:lnTo>
                <a:lnTo>
                  <a:pt x="194840" y="116270"/>
                </a:lnTo>
                <a:lnTo>
                  <a:pt x="238814" y="100772"/>
                </a:lnTo>
                <a:lnTo>
                  <a:pt x="286954" y="97155"/>
                </a:lnTo>
                <a:lnTo>
                  <a:pt x="292631" y="0"/>
                </a:lnTo>
                <a:close/>
              </a:path>
            </a:pathLst>
          </a:custGeom>
          <a:solidFill>
            <a:srgbClr val="12ABDB"/>
          </a:solidFill>
        </p:spPr>
        <p:txBody>
          <a:bodyPr wrap="square" lIns="0" tIns="0" rIns="0" bIns="0" rtlCol="0"/>
          <a:lstStyle/>
          <a:p>
            <a:endParaRPr/>
          </a:p>
        </p:txBody>
      </p:sp>
      <p:sp>
        <p:nvSpPr>
          <p:cNvPr id="19" name="object 19"/>
          <p:cNvSpPr/>
          <p:nvPr/>
        </p:nvSpPr>
        <p:spPr>
          <a:xfrm>
            <a:off x="1298447" y="5023103"/>
            <a:ext cx="0" cy="821690"/>
          </a:xfrm>
          <a:custGeom>
            <a:avLst/>
            <a:gdLst/>
            <a:ahLst/>
            <a:cxnLst/>
            <a:rect l="l" t="t" r="r" b="b"/>
            <a:pathLst>
              <a:path h="821689">
                <a:moveTo>
                  <a:pt x="0" y="0"/>
                </a:moveTo>
                <a:lnTo>
                  <a:pt x="0" y="821436"/>
                </a:lnTo>
              </a:path>
            </a:pathLst>
          </a:custGeom>
          <a:ln w="30480">
            <a:solidFill>
              <a:srgbClr val="4600A7"/>
            </a:solidFill>
          </a:ln>
        </p:spPr>
        <p:txBody>
          <a:bodyPr wrap="square" lIns="0" tIns="0" rIns="0" bIns="0" rtlCol="0"/>
          <a:lstStyle/>
          <a:p>
            <a:endParaRPr/>
          </a:p>
        </p:txBody>
      </p:sp>
      <p:sp>
        <p:nvSpPr>
          <p:cNvPr id="20" name="object 20"/>
          <p:cNvSpPr/>
          <p:nvPr/>
        </p:nvSpPr>
        <p:spPr>
          <a:xfrm>
            <a:off x="398968" y="5085959"/>
            <a:ext cx="736600" cy="703580"/>
          </a:xfrm>
          <a:custGeom>
            <a:avLst/>
            <a:gdLst/>
            <a:ahLst/>
            <a:cxnLst/>
            <a:rect l="l" t="t" r="r" b="b"/>
            <a:pathLst>
              <a:path w="736600" h="703579">
                <a:moveTo>
                  <a:pt x="362304" y="0"/>
                </a:moveTo>
                <a:lnTo>
                  <a:pt x="318540" y="3759"/>
                </a:lnTo>
                <a:lnTo>
                  <a:pt x="275239" y="12618"/>
                </a:lnTo>
                <a:lnTo>
                  <a:pt x="232893" y="26647"/>
                </a:lnTo>
                <a:lnTo>
                  <a:pt x="191991" y="45916"/>
                </a:lnTo>
                <a:lnTo>
                  <a:pt x="153024" y="70494"/>
                </a:lnTo>
                <a:lnTo>
                  <a:pt x="114246" y="102105"/>
                </a:lnTo>
                <a:lnTo>
                  <a:pt x="80938" y="137551"/>
                </a:lnTo>
                <a:lnTo>
                  <a:pt x="53202" y="176238"/>
                </a:lnTo>
                <a:lnTo>
                  <a:pt x="31138" y="217570"/>
                </a:lnTo>
                <a:lnTo>
                  <a:pt x="14848" y="260954"/>
                </a:lnTo>
                <a:lnTo>
                  <a:pt x="4435" y="305795"/>
                </a:lnTo>
                <a:lnTo>
                  <a:pt x="0" y="351499"/>
                </a:lnTo>
                <a:lnTo>
                  <a:pt x="1643" y="397471"/>
                </a:lnTo>
                <a:lnTo>
                  <a:pt x="9468" y="443117"/>
                </a:lnTo>
                <a:lnTo>
                  <a:pt x="23576" y="487843"/>
                </a:lnTo>
                <a:lnTo>
                  <a:pt x="44067" y="531055"/>
                </a:lnTo>
                <a:lnTo>
                  <a:pt x="71045" y="572157"/>
                </a:lnTo>
                <a:lnTo>
                  <a:pt x="103243" y="608522"/>
                </a:lnTo>
                <a:lnTo>
                  <a:pt x="138986" y="638945"/>
                </a:lnTo>
                <a:lnTo>
                  <a:pt x="177753" y="663464"/>
                </a:lnTo>
                <a:lnTo>
                  <a:pt x="219020" y="682122"/>
                </a:lnTo>
                <a:lnTo>
                  <a:pt x="262267" y="694960"/>
                </a:lnTo>
                <a:lnTo>
                  <a:pt x="306971" y="702017"/>
                </a:lnTo>
                <a:lnTo>
                  <a:pt x="352611" y="703336"/>
                </a:lnTo>
                <a:lnTo>
                  <a:pt x="398664" y="698957"/>
                </a:lnTo>
                <a:lnTo>
                  <a:pt x="444608" y="688921"/>
                </a:lnTo>
                <a:lnTo>
                  <a:pt x="489921" y="673269"/>
                </a:lnTo>
                <a:lnTo>
                  <a:pt x="534082" y="652042"/>
                </a:lnTo>
                <a:lnTo>
                  <a:pt x="576569" y="625281"/>
                </a:lnTo>
                <a:lnTo>
                  <a:pt x="615165" y="594044"/>
                </a:lnTo>
                <a:lnTo>
                  <a:pt x="648842" y="559665"/>
                </a:lnTo>
                <a:lnTo>
                  <a:pt x="677395" y="522608"/>
                </a:lnTo>
                <a:lnTo>
                  <a:pt x="700621" y="483338"/>
                </a:lnTo>
                <a:lnTo>
                  <a:pt x="718316" y="442318"/>
                </a:lnTo>
                <a:lnTo>
                  <a:pt x="730278" y="400013"/>
                </a:lnTo>
                <a:lnTo>
                  <a:pt x="736303" y="356886"/>
                </a:lnTo>
                <a:lnTo>
                  <a:pt x="736188" y="313402"/>
                </a:lnTo>
                <a:lnTo>
                  <a:pt x="729729" y="270024"/>
                </a:lnTo>
                <a:lnTo>
                  <a:pt x="716723" y="227217"/>
                </a:lnTo>
                <a:lnTo>
                  <a:pt x="696966" y="185444"/>
                </a:lnTo>
                <a:lnTo>
                  <a:pt x="670256" y="145170"/>
                </a:lnTo>
                <a:lnTo>
                  <a:pt x="640439" y="110637"/>
                </a:lnTo>
                <a:lnTo>
                  <a:pt x="607161" y="80646"/>
                </a:lnTo>
                <a:lnTo>
                  <a:pt x="570914" y="55268"/>
                </a:lnTo>
                <a:lnTo>
                  <a:pt x="532188" y="34571"/>
                </a:lnTo>
                <a:lnTo>
                  <a:pt x="491474" y="18627"/>
                </a:lnTo>
                <a:lnTo>
                  <a:pt x="449261" y="7503"/>
                </a:lnTo>
                <a:lnTo>
                  <a:pt x="406041" y="1271"/>
                </a:lnTo>
                <a:lnTo>
                  <a:pt x="362304" y="0"/>
                </a:lnTo>
                <a:close/>
              </a:path>
            </a:pathLst>
          </a:custGeom>
          <a:solidFill>
            <a:srgbClr val="2B133C"/>
          </a:solidFill>
        </p:spPr>
        <p:txBody>
          <a:bodyPr wrap="square" lIns="0" tIns="0" rIns="0" bIns="0" rtlCol="0"/>
          <a:lstStyle/>
          <a:p>
            <a:endParaRPr/>
          </a:p>
        </p:txBody>
      </p:sp>
      <p:sp>
        <p:nvSpPr>
          <p:cNvPr id="21" name="object 21"/>
          <p:cNvSpPr/>
          <p:nvPr/>
        </p:nvSpPr>
        <p:spPr>
          <a:xfrm>
            <a:off x="489204" y="5259323"/>
            <a:ext cx="566927" cy="396240"/>
          </a:xfrm>
          <a:prstGeom prst="rect">
            <a:avLst/>
          </a:prstGeom>
          <a:blipFill>
            <a:blip r:embed="rId4" cstate="print"/>
            <a:stretch>
              <a:fillRect/>
            </a:stretch>
          </a:blipFill>
        </p:spPr>
        <p:txBody>
          <a:bodyPr wrap="square" lIns="0" tIns="0" rIns="0" bIns="0" rtlCol="0"/>
          <a:lstStyle/>
          <a:p>
            <a:endParaRPr/>
          </a:p>
        </p:txBody>
      </p:sp>
      <p:sp>
        <p:nvSpPr>
          <p:cNvPr id="22" name="object 22"/>
          <p:cNvSpPr txBox="1"/>
          <p:nvPr/>
        </p:nvSpPr>
        <p:spPr>
          <a:xfrm>
            <a:off x="1400683" y="4987544"/>
            <a:ext cx="1942464" cy="844550"/>
          </a:xfrm>
          <a:prstGeom prst="rect">
            <a:avLst/>
          </a:prstGeom>
        </p:spPr>
        <p:txBody>
          <a:bodyPr vert="horz" wrap="square" lIns="0" tIns="12065" rIns="0" bIns="0" rtlCol="0">
            <a:spAutoFit/>
          </a:bodyPr>
          <a:lstStyle/>
          <a:p>
            <a:pPr marL="12700">
              <a:lnSpc>
                <a:spcPts val="3225"/>
              </a:lnSpc>
              <a:spcBef>
                <a:spcPts val="95"/>
              </a:spcBef>
            </a:pPr>
            <a:r>
              <a:rPr sz="2800" b="1" spc="-5">
                <a:solidFill>
                  <a:srgbClr val="6C189B"/>
                </a:solidFill>
                <a:latin typeface="Verdana"/>
                <a:cs typeface="Verdana"/>
              </a:rPr>
              <a:t>3</a:t>
            </a:r>
            <a:endParaRPr sz="2800">
              <a:latin typeface="Verdana"/>
              <a:cs typeface="Verdana"/>
            </a:endParaRPr>
          </a:p>
          <a:p>
            <a:pPr marL="12700">
              <a:lnSpc>
                <a:spcPts val="1545"/>
              </a:lnSpc>
            </a:pPr>
            <a:r>
              <a:rPr sz="1400">
                <a:solidFill>
                  <a:srgbClr val="2B133C"/>
                </a:solidFill>
                <a:latin typeface="Verdana"/>
                <a:cs typeface="Verdana"/>
              </a:rPr>
              <a:t>Salesforce</a:t>
            </a:r>
            <a:r>
              <a:rPr sz="1400" spc="-45">
                <a:solidFill>
                  <a:srgbClr val="2B133C"/>
                </a:solidFill>
                <a:latin typeface="Verdana"/>
                <a:cs typeface="Verdana"/>
              </a:rPr>
              <a:t> </a:t>
            </a:r>
            <a:r>
              <a:rPr sz="1400">
                <a:solidFill>
                  <a:srgbClr val="2B133C"/>
                </a:solidFill>
                <a:latin typeface="Verdana"/>
                <a:cs typeface="Verdana"/>
              </a:rPr>
              <a:t>Global</a:t>
            </a:r>
            <a:endParaRPr sz="1400">
              <a:latin typeface="Verdana"/>
              <a:cs typeface="Verdana"/>
            </a:endParaRPr>
          </a:p>
          <a:p>
            <a:pPr marL="12700">
              <a:lnSpc>
                <a:spcPct val="100000"/>
              </a:lnSpc>
            </a:pPr>
            <a:r>
              <a:rPr sz="1400">
                <a:solidFill>
                  <a:srgbClr val="2B133C"/>
                </a:solidFill>
                <a:latin typeface="Verdana"/>
                <a:cs typeface="Verdana"/>
              </a:rPr>
              <a:t>Centers of</a:t>
            </a:r>
            <a:r>
              <a:rPr sz="1400" spc="-105">
                <a:solidFill>
                  <a:srgbClr val="2B133C"/>
                </a:solidFill>
                <a:latin typeface="Verdana"/>
                <a:cs typeface="Verdana"/>
              </a:rPr>
              <a:t> </a:t>
            </a:r>
            <a:r>
              <a:rPr sz="1400">
                <a:solidFill>
                  <a:srgbClr val="2B133C"/>
                </a:solidFill>
                <a:latin typeface="Verdana"/>
                <a:cs typeface="Verdana"/>
              </a:rPr>
              <a:t>Excellence</a:t>
            </a:r>
            <a:endParaRPr sz="1400">
              <a:latin typeface="Verdana"/>
              <a:cs typeface="Verdana"/>
            </a:endParaRPr>
          </a:p>
        </p:txBody>
      </p:sp>
      <p:sp>
        <p:nvSpPr>
          <p:cNvPr id="23" name="object 23"/>
          <p:cNvSpPr txBox="1"/>
          <p:nvPr/>
        </p:nvSpPr>
        <p:spPr>
          <a:xfrm>
            <a:off x="1395475" y="2598189"/>
            <a:ext cx="1710055" cy="851535"/>
          </a:xfrm>
          <a:prstGeom prst="rect">
            <a:avLst/>
          </a:prstGeom>
        </p:spPr>
        <p:txBody>
          <a:bodyPr vert="horz" wrap="square" lIns="0" tIns="50800" rIns="0" bIns="0" rtlCol="0">
            <a:spAutoFit/>
          </a:bodyPr>
          <a:lstStyle/>
          <a:p>
            <a:pPr marL="12700">
              <a:lnSpc>
                <a:spcPct val="100000"/>
              </a:lnSpc>
              <a:spcBef>
                <a:spcPts val="400"/>
              </a:spcBef>
            </a:pPr>
            <a:r>
              <a:rPr sz="2200" b="1" spc="-10">
                <a:solidFill>
                  <a:srgbClr val="2B133C"/>
                </a:solidFill>
                <a:latin typeface="Verdana"/>
                <a:cs typeface="Verdana"/>
              </a:rPr>
              <a:t>22</a:t>
            </a:r>
            <a:endParaRPr sz="2200">
              <a:latin typeface="Verdana"/>
              <a:cs typeface="Verdana"/>
            </a:endParaRPr>
          </a:p>
          <a:p>
            <a:pPr marL="12700" marR="5080">
              <a:lnSpc>
                <a:spcPct val="100000"/>
              </a:lnSpc>
              <a:spcBef>
                <a:spcPts val="200"/>
              </a:spcBef>
            </a:pPr>
            <a:r>
              <a:rPr sz="1400" spc="5">
                <a:solidFill>
                  <a:srgbClr val="2B133C"/>
                </a:solidFill>
                <a:latin typeface="Verdana"/>
                <a:cs typeface="Verdana"/>
              </a:rPr>
              <a:t>Applied</a:t>
            </a:r>
            <a:r>
              <a:rPr sz="1400" spc="-110">
                <a:solidFill>
                  <a:srgbClr val="2B133C"/>
                </a:solidFill>
                <a:latin typeface="Verdana"/>
                <a:cs typeface="Verdana"/>
              </a:rPr>
              <a:t> </a:t>
            </a:r>
            <a:r>
              <a:rPr sz="1400">
                <a:solidFill>
                  <a:srgbClr val="2B133C"/>
                </a:solidFill>
                <a:latin typeface="Verdana"/>
                <a:cs typeface="Verdana"/>
              </a:rPr>
              <a:t>Innovation  </a:t>
            </a:r>
            <a:r>
              <a:rPr sz="1400" spc="-5">
                <a:solidFill>
                  <a:srgbClr val="2B133C"/>
                </a:solidFill>
                <a:latin typeface="Verdana"/>
                <a:cs typeface="Verdana"/>
              </a:rPr>
              <a:t>Exchange</a:t>
            </a:r>
            <a:r>
              <a:rPr sz="1400" spc="-45">
                <a:solidFill>
                  <a:srgbClr val="2B133C"/>
                </a:solidFill>
                <a:latin typeface="Verdana"/>
                <a:cs typeface="Verdana"/>
              </a:rPr>
              <a:t> </a:t>
            </a:r>
            <a:r>
              <a:rPr sz="1400">
                <a:solidFill>
                  <a:srgbClr val="2B133C"/>
                </a:solidFill>
                <a:latin typeface="Verdana"/>
                <a:cs typeface="Verdana"/>
              </a:rPr>
              <a:t>Centers</a:t>
            </a:r>
            <a:endParaRPr sz="1400">
              <a:latin typeface="Verdana"/>
              <a:cs typeface="Verdana"/>
            </a:endParaRPr>
          </a:p>
        </p:txBody>
      </p:sp>
      <p:sp>
        <p:nvSpPr>
          <p:cNvPr id="24" name="object 24"/>
          <p:cNvSpPr/>
          <p:nvPr/>
        </p:nvSpPr>
        <p:spPr>
          <a:xfrm>
            <a:off x="398968" y="2710129"/>
            <a:ext cx="736600" cy="704850"/>
          </a:xfrm>
          <a:custGeom>
            <a:avLst/>
            <a:gdLst/>
            <a:ahLst/>
            <a:cxnLst/>
            <a:rect l="l" t="t" r="r" b="b"/>
            <a:pathLst>
              <a:path w="736600" h="704850">
                <a:moveTo>
                  <a:pt x="362304" y="0"/>
                </a:moveTo>
                <a:lnTo>
                  <a:pt x="318540" y="3751"/>
                </a:lnTo>
                <a:lnTo>
                  <a:pt x="275239" y="12610"/>
                </a:lnTo>
                <a:lnTo>
                  <a:pt x="232893" y="26647"/>
                </a:lnTo>
                <a:lnTo>
                  <a:pt x="191991" y="45932"/>
                </a:lnTo>
                <a:lnTo>
                  <a:pt x="153024" y="70535"/>
                </a:lnTo>
                <a:lnTo>
                  <a:pt x="114246" y="102242"/>
                </a:lnTo>
                <a:lnTo>
                  <a:pt x="80938" y="137783"/>
                </a:lnTo>
                <a:lnTo>
                  <a:pt x="53202" y="176564"/>
                </a:lnTo>
                <a:lnTo>
                  <a:pt x="31138" y="217991"/>
                </a:lnTo>
                <a:lnTo>
                  <a:pt x="14848" y="261470"/>
                </a:lnTo>
                <a:lnTo>
                  <a:pt x="4435" y="306406"/>
                </a:lnTo>
                <a:lnTo>
                  <a:pt x="0" y="352204"/>
                </a:lnTo>
                <a:lnTo>
                  <a:pt x="1643" y="398270"/>
                </a:lnTo>
                <a:lnTo>
                  <a:pt x="9468" y="444010"/>
                </a:lnTo>
                <a:lnTo>
                  <a:pt x="23576" y="488830"/>
                </a:lnTo>
                <a:lnTo>
                  <a:pt x="44067" y="532134"/>
                </a:lnTo>
                <a:lnTo>
                  <a:pt x="71045" y="573328"/>
                </a:lnTo>
                <a:lnTo>
                  <a:pt x="103243" y="609742"/>
                </a:lnTo>
                <a:lnTo>
                  <a:pt x="138986" y="640205"/>
                </a:lnTo>
                <a:lnTo>
                  <a:pt x="177753" y="664760"/>
                </a:lnTo>
                <a:lnTo>
                  <a:pt x="219020" y="683446"/>
                </a:lnTo>
                <a:lnTo>
                  <a:pt x="262267" y="696305"/>
                </a:lnTo>
                <a:lnTo>
                  <a:pt x="306971" y="703376"/>
                </a:lnTo>
                <a:lnTo>
                  <a:pt x="352611" y="704700"/>
                </a:lnTo>
                <a:lnTo>
                  <a:pt x="398664" y="700319"/>
                </a:lnTo>
                <a:lnTo>
                  <a:pt x="444608" y="690271"/>
                </a:lnTo>
                <a:lnTo>
                  <a:pt x="489921" y="674599"/>
                </a:lnTo>
                <a:lnTo>
                  <a:pt x="534082" y="653342"/>
                </a:lnTo>
                <a:lnTo>
                  <a:pt x="576569" y="626541"/>
                </a:lnTo>
                <a:lnTo>
                  <a:pt x="615165" y="595223"/>
                </a:lnTo>
                <a:lnTo>
                  <a:pt x="648842" y="560761"/>
                </a:lnTo>
                <a:lnTo>
                  <a:pt x="677395" y="523619"/>
                </a:lnTo>
                <a:lnTo>
                  <a:pt x="700621" y="484263"/>
                </a:lnTo>
                <a:lnTo>
                  <a:pt x="718316" y="443158"/>
                </a:lnTo>
                <a:lnTo>
                  <a:pt x="730278" y="400767"/>
                </a:lnTo>
                <a:lnTo>
                  <a:pt x="736303" y="357556"/>
                </a:lnTo>
                <a:lnTo>
                  <a:pt x="736188" y="313989"/>
                </a:lnTo>
                <a:lnTo>
                  <a:pt x="729729" y="270532"/>
                </a:lnTo>
                <a:lnTo>
                  <a:pt x="716723" y="227649"/>
                </a:lnTo>
                <a:lnTo>
                  <a:pt x="696966" y="185805"/>
                </a:lnTo>
                <a:lnTo>
                  <a:pt x="670256" y="145465"/>
                </a:lnTo>
                <a:lnTo>
                  <a:pt x="640439" y="110876"/>
                </a:lnTo>
                <a:lnTo>
                  <a:pt x="607161" y="80834"/>
                </a:lnTo>
                <a:lnTo>
                  <a:pt x="570914" y="55409"/>
                </a:lnTo>
                <a:lnTo>
                  <a:pt x="532188" y="34672"/>
                </a:lnTo>
                <a:lnTo>
                  <a:pt x="491474" y="18692"/>
                </a:lnTo>
                <a:lnTo>
                  <a:pt x="449261" y="7540"/>
                </a:lnTo>
                <a:lnTo>
                  <a:pt x="406041" y="1286"/>
                </a:lnTo>
                <a:lnTo>
                  <a:pt x="362304" y="0"/>
                </a:lnTo>
                <a:close/>
              </a:path>
            </a:pathLst>
          </a:custGeom>
          <a:solidFill>
            <a:srgbClr val="2B133C"/>
          </a:solidFill>
        </p:spPr>
        <p:txBody>
          <a:bodyPr wrap="square" lIns="0" tIns="0" rIns="0" bIns="0" rtlCol="0"/>
          <a:lstStyle/>
          <a:p>
            <a:endParaRPr/>
          </a:p>
        </p:txBody>
      </p:sp>
      <p:sp>
        <p:nvSpPr>
          <p:cNvPr id="25" name="object 25"/>
          <p:cNvSpPr/>
          <p:nvPr/>
        </p:nvSpPr>
        <p:spPr>
          <a:xfrm>
            <a:off x="771144" y="2807207"/>
            <a:ext cx="0" cy="94615"/>
          </a:xfrm>
          <a:custGeom>
            <a:avLst/>
            <a:gdLst/>
            <a:ahLst/>
            <a:cxnLst/>
            <a:rect l="l" t="t" r="r" b="b"/>
            <a:pathLst>
              <a:path h="94614">
                <a:moveTo>
                  <a:pt x="0" y="0"/>
                </a:moveTo>
                <a:lnTo>
                  <a:pt x="0" y="94487"/>
                </a:lnTo>
              </a:path>
            </a:pathLst>
          </a:custGeom>
          <a:ln w="9143">
            <a:solidFill>
              <a:srgbClr val="FFFFFF"/>
            </a:solidFill>
          </a:ln>
        </p:spPr>
        <p:txBody>
          <a:bodyPr wrap="square" lIns="0" tIns="0" rIns="0" bIns="0" rtlCol="0"/>
          <a:lstStyle/>
          <a:p>
            <a:endParaRPr/>
          </a:p>
        </p:txBody>
      </p:sp>
      <p:sp>
        <p:nvSpPr>
          <p:cNvPr id="26" name="object 26"/>
          <p:cNvSpPr/>
          <p:nvPr/>
        </p:nvSpPr>
        <p:spPr>
          <a:xfrm>
            <a:off x="551687" y="2924555"/>
            <a:ext cx="90170" cy="53340"/>
          </a:xfrm>
          <a:custGeom>
            <a:avLst/>
            <a:gdLst/>
            <a:ahLst/>
            <a:cxnLst/>
            <a:rect l="l" t="t" r="r" b="b"/>
            <a:pathLst>
              <a:path w="90170" h="53339">
                <a:moveTo>
                  <a:pt x="8991" y="0"/>
                </a:moveTo>
                <a:lnTo>
                  <a:pt x="4495" y="0"/>
                </a:lnTo>
                <a:lnTo>
                  <a:pt x="4495" y="4445"/>
                </a:lnTo>
                <a:lnTo>
                  <a:pt x="0" y="8890"/>
                </a:lnTo>
                <a:lnTo>
                  <a:pt x="4495" y="8890"/>
                </a:lnTo>
                <a:lnTo>
                  <a:pt x="4495" y="13335"/>
                </a:lnTo>
                <a:lnTo>
                  <a:pt x="76428" y="53340"/>
                </a:lnTo>
                <a:lnTo>
                  <a:pt x="85420" y="53340"/>
                </a:lnTo>
                <a:lnTo>
                  <a:pt x="89916" y="48895"/>
                </a:lnTo>
                <a:lnTo>
                  <a:pt x="85420" y="44450"/>
                </a:lnTo>
                <a:lnTo>
                  <a:pt x="13487" y="4445"/>
                </a:lnTo>
                <a:lnTo>
                  <a:pt x="8991" y="0"/>
                </a:lnTo>
                <a:close/>
              </a:path>
            </a:pathLst>
          </a:custGeom>
          <a:solidFill>
            <a:srgbClr val="FFFFFF"/>
          </a:solidFill>
        </p:spPr>
        <p:txBody>
          <a:bodyPr wrap="square" lIns="0" tIns="0" rIns="0" bIns="0" rtlCol="0"/>
          <a:lstStyle/>
          <a:p>
            <a:endParaRPr/>
          </a:p>
        </p:txBody>
      </p:sp>
      <p:sp>
        <p:nvSpPr>
          <p:cNvPr id="27" name="object 27"/>
          <p:cNvSpPr/>
          <p:nvPr/>
        </p:nvSpPr>
        <p:spPr>
          <a:xfrm>
            <a:off x="551687" y="3125723"/>
            <a:ext cx="86995" cy="55244"/>
          </a:xfrm>
          <a:custGeom>
            <a:avLst/>
            <a:gdLst/>
            <a:ahLst/>
            <a:cxnLst/>
            <a:rect l="l" t="t" r="r" b="b"/>
            <a:pathLst>
              <a:path w="86995" h="55244">
                <a:moveTo>
                  <a:pt x="82296" y="0"/>
                </a:moveTo>
                <a:lnTo>
                  <a:pt x="77724" y="0"/>
                </a:lnTo>
                <a:lnTo>
                  <a:pt x="0" y="41148"/>
                </a:lnTo>
                <a:lnTo>
                  <a:pt x="0" y="54863"/>
                </a:lnTo>
                <a:lnTo>
                  <a:pt x="9143" y="54863"/>
                </a:lnTo>
                <a:lnTo>
                  <a:pt x="82296" y="9143"/>
                </a:lnTo>
                <a:lnTo>
                  <a:pt x="86868" y="4572"/>
                </a:lnTo>
                <a:lnTo>
                  <a:pt x="82296" y="4572"/>
                </a:lnTo>
                <a:lnTo>
                  <a:pt x="82296" y="0"/>
                </a:lnTo>
                <a:close/>
              </a:path>
            </a:pathLst>
          </a:custGeom>
          <a:solidFill>
            <a:srgbClr val="FFFFFF"/>
          </a:solidFill>
        </p:spPr>
        <p:txBody>
          <a:bodyPr wrap="square" lIns="0" tIns="0" rIns="0" bIns="0" rtlCol="0"/>
          <a:lstStyle/>
          <a:p>
            <a:endParaRPr/>
          </a:p>
        </p:txBody>
      </p:sp>
      <p:sp>
        <p:nvSpPr>
          <p:cNvPr id="28" name="object 28"/>
          <p:cNvSpPr/>
          <p:nvPr/>
        </p:nvSpPr>
        <p:spPr>
          <a:xfrm>
            <a:off x="897636" y="3131820"/>
            <a:ext cx="83820" cy="52069"/>
          </a:xfrm>
          <a:custGeom>
            <a:avLst/>
            <a:gdLst/>
            <a:ahLst/>
            <a:cxnLst/>
            <a:rect l="l" t="t" r="r" b="b"/>
            <a:pathLst>
              <a:path w="83819" h="52069">
                <a:moveTo>
                  <a:pt x="4406" y="0"/>
                </a:moveTo>
                <a:lnTo>
                  <a:pt x="0" y="0"/>
                </a:lnTo>
                <a:lnTo>
                  <a:pt x="0" y="8635"/>
                </a:lnTo>
                <a:lnTo>
                  <a:pt x="4406" y="12953"/>
                </a:lnTo>
                <a:lnTo>
                  <a:pt x="74993" y="51815"/>
                </a:lnTo>
                <a:lnTo>
                  <a:pt x="79413" y="51815"/>
                </a:lnTo>
                <a:lnTo>
                  <a:pt x="83819" y="47497"/>
                </a:lnTo>
                <a:lnTo>
                  <a:pt x="83819" y="43179"/>
                </a:lnTo>
                <a:lnTo>
                  <a:pt x="79413" y="43179"/>
                </a:lnTo>
                <a:lnTo>
                  <a:pt x="8826" y="4317"/>
                </a:lnTo>
                <a:lnTo>
                  <a:pt x="4406" y="0"/>
                </a:lnTo>
                <a:close/>
              </a:path>
            </a:pathLst>
          </a:custGeom>
          <a:solidFill>
            <a:srgbClr val="FFFFFF"/>
          </a:solidFill>
        </p:spPr>
        <p:txBody>
          <a:bodyPr wrap="square" lIns="0" tIns="0" rIns="0" bIns="0" rtlCol="0"/>
          <a:lstStyle/>
          <a:p>
            <a:endParaRPr/>
          </a:p>
        </p:txBody>
      </p:sp>
      <p:sp>
        <p:nvSpPr>
          <p:cNvPr id="29" name="object 29"/>
          <p:cNvSpPr/>
          <p:nvPr/>
        </p:nvSpPr>
        <p:spPr>
          <a:xfrm>
            <a:off x="900683" y="2933700"/>
            <a:ext cx="86995" cy="53340"/>
          </a:xfrm>
          <a:custGeom>
            <a:avLst/>
            <a:gdLst/>
            <a:ahLst/>
            <a:cxnLst/>
            <a:rect l="l" t="t" r="r" b="b"/>
            <a:pathLst>
              <a:path w="86994" h="53339">
                <a:moveTo>
                  <a:pt x="82296" y="0"/>
                </a:moveTo>
                <a:lnTo>
                  <a:pt x="77724" y="0"/>
                </a:lnTo>
                <a:lnTo>
                  <a:pt x="0" y="40004"/>
                </a:lnTo>
                <a:lnTo>
                  <a:pt x="0" y="53339"/>
                </a:lnTo>
                <a:lnTo>
                  <a:pt x="9143" y="53339"/>
                </a:lnTo>
                <a:lnTo>
                  <a:pt x="82296" y="8889"/>
                </a:lnTo>
                <a:lnTo>
                  <a:pt x="86868" y="4445"/>
                </a:lnTo>
                <a:lnTo>
                  <a:pt x="82296" y="4445"/>
                </a:lnTo>
                <a:lnTo>
                  <a:pt x="82296" y="0"/>
                </a:lnTo>
                <a:close/>
              </a:path>
            </a:pathLst>
          </a:custGeom>
          <a:solidFill>
            <a:srgbClr val="FFFFFF"/>
          </a:solidFill>
        </p:spPr>
        <p:txBody>
          <a:bodyPr wrap="square" lIns="0" tIns="0" rIns="0" bIns="0" rtlCol="0"/>
          <a:lstStyle/>
          <a:p>
            <a:endParaRPr/>
          </a:p>
        </p:txBody>
      </p:sp>
      <p:sp>
        <p:nvSpPr>
          <p:cNvPr id="30" name="object 30"/>
          <p:cNvSpPr/>
          <p:nvPr/>
        </p:nvSpPr>
        <p:spPr>
          <a:xfrm>
            <a:off x="653279" y="2938145"/>
            <a:ext cx="237490" cy="292735"/>
          </a:xfrm>
          <a:custGeom>
            <a:avLst/>
            <a:gdLst/>
            <a:ahLst/>
            <a:cxnLst/>
            <a:rect l="l" t="t" r="r" b="b"/>
            <a:pathLst>
              <a:path w="237490" h="292735">
                <a:moveTo>
                  <a:pt x="139582" y="290661"/>
                </a:moveTo>
                <a:lnTo>
                  <a:pt x="79848" y="290661"/>
                </a:lnTo>
                <a:lnTo>
                  <a:pt x="103211" y="292496"/>
                </a:lnTo>
                <a:lnTo>
                  <a:pt x="129084" y="292641"/>
                </a:lnTo>
                <a:lnTo>
                  <a:pt x="139582" y="290661"/>
                </a:lnTo>
                <a:close/>
              </a:path>
              <a:path w="237490" h="292735">
                <a:moveTo>
                  <a:pt x="101531" y="0"/>
                </a:moveTo>
                <a:lnTo>
                  <a:pt x="62482" y="11191"/>
                </a:lnTo>
                <a:lnTo>
                  <a:pt x="30119" y="35813"/>
                </a:lnTo>
                <a:lnTo>
                  <a:pt x="3346" y="86264"/>
                </a:lnTo>
                <a:lnTo>
                  <a:pt x="0" y="114002"/>
                </a:lnTo>
                <a:lnTo>
                  <a:pt x="3348" y="143382"/>
                </a:lnTo>
                <a:lnTo>
                  <a:pt x="9203" y="166006"/>
                </a:lnTo>
                <a:lnTo>
                  <a:pt x="20082" y="186547"/>
                </a:lnTo>
                <a:lnTo>
                  <a:pt x="35982" y="204587"/>
                </a:lnTo>
                <a:lnTo>
                  <a:pt x="56904" y="219709"/>
                </a:lnTo>
                <a:lnTo>
                  <a:pt x="56904" y="291338"/>
                </a:lnTo>
                <a:lnTo>
                  <a:pt x="79848" y="290661"/>
                </a:lnTo>
                <a:lnTo>
                  <a:pt x="139582" y="290661"/>
                </a:lnTo>
                <a:lnTo>
                  <a:pt x="159558" y="286892"/>
                </a:lnTo>
                <a:lnTo>
                  <a:pt x="164015" y="286892"/>
                </a:lnTo>
                <a:lnTo>
                  <a:pt x="168486" y="282447"/>
                </a:lnTo>
                <a:lnTo>
                  <a:pt x="172944" y="277875"/>
                </a:lnTo>
                <a:lnTo>
                  <a:pt x="177414" y="273430"/>
                </a:lnTo>
                <a:lnTo>
                  <a:pt x="177414" y="224154"/>
                </a:lnTo>
                <a:lnTo>
                  <a:pt x="181872" y="219709"/>
                </a:lnTo>
                <a:lnTo>
                  <a:pt x="210323" y="195655"/>
                </a:lnTo>
                <a:lnTo>
                  <a:pt x="228733" y="165290"/>
                </a:lnTo>
                <a:lnTo>
                  <a:pt x="237102" y="130734"/>
                </a:lnTo>
                <a:lnTo>
                  <a:pt x="235428" y="94106"/>
                </a:lnTo>
                <a:lnTo>
                  <a:pt x="220155" y="53542"/>
                </a:lnTo>
                <a:lnTo>
                  <a:pt x="190239" y="21812"/>
                </a:lnTo>
                <a:lnTo>
                  <a:pt x="149444" y="2702"/>
                </a:lnTo>
                <a:lnTo>
                  <a:pt x="101531" y="0"/>
                </a:lnTo>
                <a:close/>
              </a:path>
            </a:pathLst>
          </a:custGeom>
          <a:solidFill>
            <a:srgbClr val="12ABDB"/>
          </a:solidFill>
        </p:spPr>
        <p:txBody>
          <a:bodyPr wrap="square" lIns="0" tIns="0" rIns="0" bIns="0" rtlCol="0"/>
          <a:lstStyle/>
          <a:p>
            <a:endParaRPr/>
          </a:p>
        </p:txBody>
      </p:sp>
      <p:sp>
        <p:nvSpPr>
          <p:cNvPr id="31" name="object 31"/>
          <p:cNvSpPr/>
          <p:nvPr/>
        </p:nvSpPr>
        <p:spPr>
          <a:xfrm>
            <a:off x="713231" y="3233927"/>
            <a:ext cx="111252" cy="74675"/>
          </a:xfrm>
          <a:prstGeom prst="rect">
            <a:avLst/>
          </a:prstGeom>
          <a:blipFill>
            <a:blip r:embed="rId5" cstate="print"/>
            <a:stretch>
              <a:fillRect/>
            </a:stretch>
          </a:blipFill>
        </p:spPr>
        <p:txBody>
          <a:bodyPr wrap="square" lIns="0" tIns="0" rIns="0" bIns="0" rtlCol="0"/>
          <a:lstStyle/>
          <a:p>
            <a:endParaRPr/>
          </a:p>
        </p:txBody>
      </p:sp>
      <p:sp>
        <p:nvSpPr>
          <p:cNvPr id="32" name="object 32"/>
          <p:cNvSpPr/>
          <p:nvPr/>
        </p:nvSpPr>
        <p:spPr>
          <a:xfrm>
            <a:off x="1298447" y="2607564"/>
            <a:ext cx="0" cy="821690"/>
          </a:xfrm>
          <a:custGeom>
            <a:avLst/>
            <a:gdLst/>
            <a:ahLst/>
            <a:cxnLst/>
            <a:rect l="l" t="t" r="r" b="b"/>
            <a:pathLst>
              <a:path h="821689">
                <a:moveTo>
                  <a:pt x="0" y="0"/>
                </a:moveTo>
                <a:lnTo>
                  <a:pt x="0" y="821436"/>
                </a:lnTo>
              </a:path>
            </a:pathLst>
          </a:custGeom>
          <a:ln w="30480">
            <a:solidFill>
              <a:srgbClr val="4600A7"/>
            </a:solidFill>
          </a:ln>
        </p:spPr>
        <p:txBody>
          <a:bodyPr wrap="square" lIns="0" tIns="0" rIns="0" bIns="0" rtlCol="0"/>
          <a:lstStyle/>
          <a:p>
            <a:endParaRPr/>
          </a:p>
        </p:txBody>
      </p:sp>
      <p:sp>
        <p:nvSpPr>
          <p:cNvPr id="33" name="object 33"/>
          <p:cNvSpPr txBox="1"/>
          <p:nvPr/>
        </p:nvSpPr>
        <p:spPr>
          <a:xfrm>
            <a:off x="7443596" y="1575458"/>
            <a:ext cx="1254125" cy="1276350"/>
          </a:xfrm>
          <a:prstGeom prst="rect">
            <a:avLst/>
          </a:prstGeom>
        </p:spPr>
        <p:txBody>
          <a:bodyPr vert="horz" wrap="square" lIns="0" tIns="41275" rIns="0" bIns="0" rtlCol="0">
            <a:spAutoFit/>
          </a:bodyPr>
          <a:lstStyle/>
          <a:p>
            <a:pPr marL="312420">
              <a:lnSpc>
                <a:spcPct val="100000"/>
              </a:lnSpc>
              <a:spcBef>
                <a:spcPts val="325"/>
              </a:spcBef>
            </a:pPr>
            <a:r>
              <a:rPr sz="2000" b="1">
                <a:solidFill>
                  <a:srgbClr val="006FAC"/>
                </a:solidFill>
                <a:latin typeface="Verdana"/>
                <a:cs typeface="Verdana"/>
              </a:rPr>
              <a:t>2473</a:t>
            </a:r>
            <a:endParaRPr sz="2000">
              <a:latin typeface="Verdana"/>
              <a:cs typeface="Verdana"/>
            </a:endParaRPr>
          </a:p>
          <a:p>
            <a:pPr marL="327660" marR="5080">
              <a:lnSpc>
                <a:spcPct val="100000"/>
              </a:lnSpc>
              <a:spcBef>
                <a:spcPts val="125"/>
              </a:spcBef>
            </a:pPr>
            <a:r>
              <a:rPr sz="1100" b="1" spc="-5">
                <a:solidFill>
                  <a:srgbClr val="006FAC"/>
                </a:solidFill>
                <a:latin typeface="Verdana"/>
                <a:cs typeface="Verdana"/>
              </a:rPr>
              <a:t>Europe  </a:t>
            </a:r>
            <a:r>
              <a:rPr sz="1100">
                <a:solidFill>
                  <a:srgbClr val="006FAC"/>
                </a:solidFill>
                <a:latin typeface="Verdana"/>
                <a:cs typeface="Verdana"/>
              </a:rPr>
              <a:t>Salesforce  </a:t>
            </a:r>
            <a:r>
              <a:rPr sz="1100" spc="-5">
                <a:solidFill>
                  <a:srgbClr val="006FAC"/>
                </a:solidFill>
                <a:latin typeface="Verdana"/>
                <a:cs typeface="Verdana"/>
              </a:rPr>
              <a:t>Cer</a:t>
            </a:r>
            <a:r>
              <a:rPr sz="1100">
                <a:solidFill>
                  <a:srgbClr val="006FAC"/>
                </a:solidFill>
                <a:latin typeface="Verdana"/>
                <a:cs typeface="Verdana"/>
              </a:rPr>
              <a:t>t</a:t>
            </a:r>
            <a:r>
              <a:rPr sz="1100" spc="-20">
                <a:solidFill>
                  <a:srgbClr val="006FAC"/>
                </a:solidFill>
                <a:latin typeface="Verdana"/>
                <a:cs typeface="Verdana"/>
              </a:rPr>
              <a:t>i</a:t>
            </a:r>
            <a:r>
              <a:rPr sz="1100" spc="-5">
                <a:solidFill>
                  <a:srgbClr val="006FAC"/>
                </a:solidFill>
                <a:latin typeface="Verdana"/>
                <a:cs typeface="Verdana"/>
              </a:rPr>
              <a:t>f</a:t>
            </a:r>
            <a:r>
              <a:rPr sz="1100" spc="-15">
                <a:solidFill>
                  <a:srgbClr val="006FAC"/>
                </a:solidFill>
                <a:latin typeface="Verdana"/>
                <a:cs typeface="Verdana"/>
              </a:rPr>
              <a:t>i</a:t>
            </a:r>
            <a:r>
              <a:rPr sz="1100">
                <a:solidFill>
                  <a:srgbClr val="006FAC"/>
                </a:solidFill>
                <a:latin typeface="Verdana"/>
                <a:cs typeface="Verdana"/>
              </a:rPr>
              <a:t>ca</a:t>
            </a:r>
            <a:r>
              <a:rPr sz="1100" spc="-10">
                <a:solidFill>
                  <a:srgbClr val="006FAC"/>
                </a:solidFill>
                <a:latin typeface="Verdana"/>
                <a:cs typeface="Verdana"/>
              </a:rPr>
              <a:t>t</a:t>
            </a:r>
            <a:r>
              <a:rPr sz="1100" spc="-15">
                <a:solidFill>
                  <a:srgbClr val="006FAC"/>
                </a:solidFill>
                <a:latin typeface="Verdana"/>
                <a:cs typeface="Verdana"/>
              </a:rPr>
              <a:t>i</a:t>
            </a:r>
            <a:r>
              <a:rPr sz="1100">
                <a:solidFill>
                  <a:srgbClr val="006FAC"/>
                </a:solidFill>
                <a:latin typeface="Verdana"/>
                <a:cs typeface="Verdana"/>
              </a:rPr>
              <a:t>ons</a:t>
            </a:r>
            <a:endParaRPr sz="1100">
              <a:latin typeface="Verdana"/>
              <a:cs typeface="Verdana"/>
            </a:endParaRPr>
          </a:p>
          <a:p>
            <a:pPr marL="47625">
              <a:lnSpc>
                <a:spcPct val="100000"/>
              </a:lnSpc>
              <a:spcBef>
                <a:spcPts val="5"/>
              </a:spcBef>
            </a:pPr>
            <a:r>
              <a:rPr sz="1400" b="1" spc="-5">
                <a:solidFill>
                  <a:srgbClr val="006FAC"/>
                </a:solidFill>
                <a:latin typeface="Verdana"/>
                <a:cs typeface="Verdana"/>
              </a:rPr>
              <a:t>1093</a:t>
            </a:r>
            <a:endParaRPr sz="1400">
              <a:latin typeface="Verdana"/>
              <a:cs typeface="Verdana"/>
            </a:endParaRPr>
          </a:p>
          <a:p>
            <a:pPr marL="12700">
              <a:lnSpc>
                <a:spcPct val="100000"/>
              </a:lnSpc>
              <a:spcBef>
                <a:spcPts val="10"/>
              </a:spcBef>
            </a:pPr>
            <a:r>
              <a:rPr sz="1200" spc="-5">
                <a:solidFill>
                  <a:srgbClr val="006FAC"/>
                </a:solidFill>
                <a:latin typeface="Verdana"/>
                <a:cs typeface="Verdana"/>
              </a:rPr>
              <a:t>Experts</a:t>
            </a:r>
            <a:endParaRPr sz="1200">
              <a:latin typeface="Verdana"/>
              <a:cs typeface="Verdana"/>
            </a:endParaRPr>
          </a:p>
        </p:txBody>
      </p:sp>
      <p:sp>
        <p:nvSpPr>
          <p:cNvPr id="38" name="object 3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9" name="object 39"/>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1</a:t>
            </a:fld>
            <a:endParaRPr/>
          </a:p>
        </p:txBody>
      </p:sp>
      <p:sp>
        <p:nvSpPr>
          <p:cNvPr id="34" name="object 34"/>
          <p:cNvSpPr txBox="1"/>
          <p:nvPr/>
        </p:nvSpPr>
        <p:spPr>
          <a:xfrm>
            <a:off x="8940800" y="4547094"/>
            <a:ext cx="1296670" cy="1241425"/>
          </a:xfrm>
          <a:prstGeom prst="rect">
            <a:avLst/>
          </a:prstGeom>
        </p:spPr>
        <p:txBody>
          <a:bodyPr vert="horz" wrap="square" lIns="0" tIns="55880" rIns="0" bIns="0" rtlCol="0">
            <a:spAutoFit/>
          </a:bodyPr>
          <a:lstStyle/>
          <a:p>
            <a:pPr marL="45720" algn="ctr">
              <a:lnSpc>
                <a:spcPct val="100000"/>
              </a:lnSpc>
              <a:spcBef>
                <a:spcPts val="440"/>
              </a:spcBef>
            </a:pPr>
            <a:r>
              <a:rPr sz="2000" b="1">
                <a:solidFill>
                  <a:srgbClr val="33C4EA"/>
                </a:solidFill>
                <a:latin typeface="Verdana"/>
                <a:cs typeface="Verdana"/>
              </a:rPr>
              <a:t>3390</a:t>
            </a:r>
            <a:endParaRPr sz="2000">
              <a:latin typeface="Verdana"/>
              <a:cs typeface="Verdana"/>
            </a:endParaRPr>
          </a:p>
          <a:p>
            <a:pPr marL="12700" marR="5080" algn="ctr">
              <a:lnSpc>
                <a:spcPts val="1520"/>
              </a:lnSpc>
              <a:spcBef>
                <a:spcPts val="75"/>
              </a:spcBef>
            </a:pPr>
            <a:r>
              <a:rPr sz="1100" b="1">
                <a:solidFill>
                  <a:srgbClr val="33C4EA"/>
                </a:solidFill>
                <a:latin typeface="Verdana"/>
                <a:cs typeface="Verdana"/>
              </a:rPr>
              <a:t>India</a:t>
            </a:r>
            <a:r>
              <a:rPr sz="1100" b="1" spc="-65">
                <a:solidFill>
                  <a:srgbClr val="33C4EA"/>
                </a:solidFill>
                <a:latin typeface="Verdana"/>
                <a:cs typeface="Verdana"/>
              </a:rPr>
              <a:t> </a:t>
            </a:r>
            <a:r>
              <a:rPr sz="1100" b="1" spc="-5">
                <a:solidFill>
                  <a:srgbClr val="33C4EA"/>
                </a:solidFill>
                <a:latin typeface="Verdana"/>
                <a:cs typeface="Verdana"/>
              </a:rPr>
              <a:t>Salesforc</a:t>
            </a:r>
            <a:r>
              <a:rPr sz="1100" spc="-5">
                <a:solidFill>
                  <a:srgbClr val="33C4EA"/>
                </a:solidFill>
                <a:latin typeface="Verdana"/>
                <a:cs typeface="Verdana"/>
              </a:rPr>
              <a:t>e  Certifications</a:t>
            </a:r>
            <a:endParaRPr sz="1100">
              <a:latin typeface="Verdana"/>
              <a:cs typeface="Verdana"/>
            </a:endParaRPr>
          </a:p>
          <a:p>
            <a:pPr marL="382270">
              <a:lnSpc>
                <a:spcPts val="1680"/>
              </a:lnSpc>
              <a:spcBef>
                <a:spcPts val="600"/>
              </a:spcBef>
            </a:pPr>
            <a:r>
              <a:rPr sz="1400" b="1" spc="-5">
                <a:solidFill>
                  <a:srgbClr val="33C4EA"/>
                </a:solidFill>
                <a:latin typeface="Verdana"/>
                <a:cs typeface="Verdana"/>
              </a:rPr>
              <a:t>1501</a:t>
            </a:r>
            <a:endParaRPr sz="1400">
              <a:latin typeface="Verdana"/>
              <a:cs typeface="Verdana"/>
            </a:endParaRPr>
          </a:p>
          <a:p>
            <a:pPr marL="374650">
              <a:lnSpc>
                <a:spcPts val="1440"/>
              </a:lnSpc>
            </a:pPr>
            <a:r>
              <a:rPr sz="1200" spc="-5">
                <a:solidFill>
                  <a:srgbClr val="33C4EA"/>
                </a:solidFill>
                <a:latin typeface="Verdana"/>
                <a:cs typeface="Verdana"/>
              </a:rPr>
              <a:t>Experts</a:t>
            </a:r>
            <a:endParaRPr sz="1200">
              <a:latin typeface="Verdana"/>
              <a:cs typeface="Verdana"/>
            </a:endParaRPr>
          </a:p>
        </p:txBody>
      </p:sp>
      <p:sp>
        <p:nvSpPr>
          <p:cNvPr id="35" name="object 35"/>
          <p:cNvSpPr txBox="1"/>
          <p:nvPr/>
        </p:nvSpPr>
        <p:spPr>
          <a:xfrm>
            <a:off x="3586098" y="2971072"/>
            <a:ext cx="1163320" cy="1355090"/>
          </a:xfrm>
          <a:prstGeom prst="rect">
            <a:avLst/>
          </a:prstGeom>
        </p:spPr>
        <p:txBody>
          <a:bodyPr vert="horz" wrap="square" lIns="0" tIns="55244" rIns="0" bIns="0" rtlCol="0">
            <a:spAutoFit/>
          </a:bodyPr>
          <a:lstStyle/>
          <a:p>
            <a:pPr marR="6985" algn="ctr">
              <a:lnSpc>
                <a:spcPct val="100000"/>
              </a:lnSpc>
              <a:spcBef>
                <a:spcPts val="434"/>
              </a:spcBef>
            </a:pPr>
            <a:r>
              <a:rPr sz="2000" b="1">
                <a:solidFill>
                  <a:srgbClr val="12ABDB"/>
                </a:solidFill>
                <a:latin typeface="Verdana"/>
                <a:cs typeface="Verdana"/>
              </a:rPr>
              <a:t>1274</a:t>
            </a:r>
            <a:endParaRPr sz="2000">
              <a:latin typeface="Verdana"/>
              <a:cs typeface="Verdana"/>
            </a:endParaRPr>
          </a:p>
          <a:p>
            <a:pPr marL="12700" marR="5080" algn="ctr">
              <a:lnSpc>
                <a:spcPct val="100000"/>
              </a:lnSpc>
              <a:spcBef>
                <a:spcPts val="185"/>
              </a:spcBef>
            </a:pPr>
            <a:r>
              <a:rPr sz="1100" b="1">
                <a:solidFill>
                  <a:srgbClr val="12ABDB"/>
                </a:solidFill>
                <a:latin typeface="Verdana"/>
                <a:cs typeface="Verdana"/>
              </a:rPr>
              <a:t>North</a:t>
            </a:r>
            <a:r>
              <a:rPr sz="1100" b="1" spc="-80">
                <a:solidFill>
                  <a:srgbClr val="12ABDB"/>
                </a:solidFill>
                <a:latin typeface="Verdana"/>
                <a:cs typeface="Verdana"/>
              </a:rPr>
              <a:t> </a:t>
            </a:r>
            <a:r>
              <a:rPr sz="1100" b="1" spc="-5">
                <a:solidFill>
                  <a:srgbClr val="12ABDB"/>
                </a:solidFill>
                <a:latin typeface="Verdana"/>
                <a:cs typeface="Verdana"/>
              </a:rPr>
              <a:t>America  </a:t>
            </a:r>
            <a:r>
              <a:rPr sz="1100" spc="-5">
                <a:solidFill>
                  <a:srgbClr val="12ABDB"/>
                </a:solidFill>
                <a:latin typeface="Verdana"/>
                <a:cs typeface="Verdana"/>
              </a:rPr>
              <a:t>Salesforce  Certifications</a:t>
            </a:r>
            <a:endParaRPr sz="1100">
              <a:latin typeface="Verdana"/>
              <a:cs typeface="Verdana"/>
            </a:endParaRPr>
          </a:p>
          <a:p>
            <a:pPr marR="96520" algn="ctr">
              <a:lnSpc>
                <a:spcPts val="1680"/>
              </a:lnSpc>
              <a:spcBef>
                <a:spcPts val="470"/>
              </a:spcBef>
            </a:pPr>
            <a:r>
              <a:rPr sz="1400" b="1" spc="-5">
                <a:solidFill>
                  <a:srgbClr val="12ABDB"/>
                </a:solidFill>
                <a:latin typeface="Verdana"/>
                <a:cs typeface="Verdana"/>
              </a:rPr>
              <a:t>545</a:t>
            </a:r>
            <a:endParaRPr sz="1400">
              <a:latin typeface="Verdana"/>
              <a:cs typeface="Verdana"/>
            </a:endParaRPr>
          </a:p>
          <a:p>
            <a:pPr marR="152400" algn="ctr">
              <a:lnSpc>
                <a:spcPts val="1440"/>
              </a:lnSpc>
            </a:pPr>
            <a:r>
              <a:rPr sz="1200" spc="-5">
                <a:solidFill>
                  <a:srgbClr val="12ABDB"/>
                </a:solidFill>
                <a:latin typeface="Verdana"/>
                <a:cs typeface="Verdana"/>
              </a:rPr>
              <a:t>Experts</a:t>
            </a:r>
            <a:endParaRPr sz="1200">
              <a:latin typeface="Verdana"/>
              <a:cs typeface="Verdana"/>
            </a:endParaRPr>
          </a:p>
        </p:txBody>
      </p:sp>
      <p:sp>
        <p:nvSpPr>
          <p:cNvPr id="36" name="object 36"/>
          <p:cNvSpPr txBox="1"/>
          <p:nvPr/>
        </p:nvSpPr>
        <p:spPr>
          <a:xfrm>
            <a:off x="6638290" y="5184140"/>
            <a:ext cx="888365" cy="604520"/>
          </a:xfrm>
          <a:prstGeom prst="rect">
            <a:avLst/>
          </a:prstGeom>
        </p:spPr>
        <p:txBody>
          <a:bodyPr vert="horz" wrap="square" lIns="0" tIns="12700" rIns="0" bIns="0" rtlCol="0">
            <a:spAutoFit/>
          </a:bodyPr>
          <a:lstStyle/>
          <a:p>
            <a:pPr marL="51435" algn="ctr">
              <a:lnSpc>
                <a:spcPts val="1680"/>
              </a:lnSpc>
              <a:spcBef>
                <a:spcPts val="100"/>
              </a:spcBef>
            </a:pPr>
            <a:r>
              <a:rPr sz="1400" b="1" spc="-5">
                <a:solidFill>
                  <a:srgbClr val="15626B"/>
                </a:solidFill>
                <a:latin typeface="Verdana"/>
                <a:cs typeface="Verdana"/>
              </a:rPr>
              <a:t>17</a:t>
            </a:r>
            <a:endParaRPr sz="1400">
              <a:latin typeface="Verdana"/>
              <a:cs typeface="Verdana"/>
            </a:endParaRPr>
          </a:p>
          <a:p>
            <a:pPr marL="12065" marR="5080" algn="ctr">
              <a:lnSpc>
                <a:spcPts val="1440"/>
              </a:lnSpc>
              <a:spcBef>
                <a:spcPts val="50"/>
              </a:spcBef>
            </a:pPr>
            <a:r>
              <a:rPr sz="1200" b="1" spc="-5">
                <a:solidFill>
                  <a:srgbClr val="15626B"/>
                </a:solidFill>
                <a:latin typeface="Verdana"/>
                <a:cs typeface="Verdana"/>
              </a:rPr>
              <a:t>Experts</a:t>
            </a:r>
            <a:r>
              <a:rPr sz="1200" b="1" spc="-70">
                <a:solidFill>
                  <a:srgbClr val="15626B"/>
                </a:solidFill>
                <a:latin typeface="Verdana"/>
                <a:cs typeface="Verdana"/>
              </a:rPr>
              <a:t> </a:t>
            </a:r>
            <a:r>
              <a:rPr sz="1200" b="1">
                <a:solidFill>
                  <a:srgbClr val="15626B"/>
                </a:solidFill>
                <a:latin typeface="Verdana"/>
                <a:cs typeface="Verdana"/>
              </a:rPr>
              <a:t>in  </a:t>
            </a:r>
            <a:r>
              <a:rPr sz="1200" b="1" spc="-5">
                <a:solidFill>
                  <a:srgbClr val="15626B"/>
                </a:solidFill>
                <a:latin typeface="Verdana"/>
                <a:cs typeface="Verdana"/>
              </a:rPr>
              <a:t>Latham</a:t>
            </a:r>
            <a:endParaRPr sz="1200">
              <a:latin typeface="Verdana"/>
              <a:cs typeface="Verdana"/>
            </a:endParaRPr>
          </a:p>
        </p:txBody>
      </p:sp>
      <p:sp>
        <p:nvSpPr>
          <p:cNvPr id="37" name="object 37"/>
          <p:cNvSpPr txBox="1"/>
          <p:nvPr/>
        </p:nvSpPr>
        <p:spPr>
          <a:xfrm>
            <a:off x="9927081" y="1256538"/>
            <a:ext cx="1313180" cy="718820"/>
          </a:xfrm>
          <a:prstGeom prst="rect">
            <a:avLst/>
          </a:prstGeom>
        </p:spPr>
        <p:txBody>
          <a:bodyPr vert="horz" wrap="square" lIns="0" tIns="13335" rIns="0" bIns="0" rtlCol="0">
            <a:spAutoFit/>
          </a:bodyPr>
          <a:lstStyle/>
          <a:p>
            <a:pPr marL="151130" marR="102235" indent="-139065">
              <a:lnSpc>
                <a:spcPct val="100000"/>
              </a:lnSpc>
              <a:spcBef>
                <a:spcPts val="105"/>
              </a:spcBef>
            </a:pPr>
            <a:r>
              <a:rPr sz="1100" b="1" spc="-5">
                <a:solidFill>
                  <a:srgbClr val="00D1D0"/>
                </a:solidFill>
                <a:latin typeface="Verdana"/>
                <a:cs typeface="Verdana"/>
              </a:rPr>
              <a:t>APAC</a:t>
            </a:r>
            <a:r>
              <a:rPr sz="1100" b="1" spc="-100">
                <a:solidFill>
                  <a:srgbClr val="00D1D0"/>
                </a:solidFill>
                <a:latin typeface="Verdana"/>
                <a:cs typeface="Verdana"/>
              </a:rPr>
              <a:t> </a:t>
            </a:r>
            <a:r>
              <a:rPr sz="1100">
                <a:solidFill>
                  <a:srgbClr val="00D1D0"/>
                </a:solidFill>
                <a:latin typeface="Verdana"/>
                <a:cs typeface="Verdana"/>
              </a:rPr>
              <a:t>Salesforce  </a:t>
            </a:r>
            <a:r>
              <a:rPr sz="1100" spc="-5">
                <a:solidFill>
                  <a:srgbClr val="00D1D0"/>
                </a:solidFill>
                <a:latin typeface="Verdana"/>
                <a:cs typeface="Verdana"/>
              </a:rPr>
              <a:t>Certifications</a:t>
            </a:r>
            <a:endParaRPr sz="1100">
              <a:latin typeface="Verdana"/>
              <a:cs typeface="Verdana"/>
            </a:endParaRPr>
          </a:p>
          <a:p>
            <a:pPr marL="758825">
              <a:lnSpc>
                <a:spcPts val="1375"/>
              </a:lnSpc>
            </a:pPr>
            <a:r>
              <a:rPr sz="1400" b="1" spc="-5">
                <a:solidFill>
                  <a:srgbClr val="00D1D0"/>
                </a:solidFill>
                <a:latin typeface="Verdana"/>
                <a:cs typeface="Verdana"/>
              </a:rPr>
              <a:t>1776</a:t>
            </a:r>
            <a:endParaRPr sz="1400">
              <a:latin typeface="Verdana"/>
              <a:cs typeface="Verdana"/>
            </a:endParaRPr>
          </a:p>
          <a:p>
            <a:pPr marL="723900">
              <a:lnSpc>
                <a:spcPts val="1440"/>
              </a:lnSpc>
            </a:pPr>
            <a:r>
              <a:rPr sz="1200" spc="-5">
                <a:solidFill>
                  <a:srgbClr val="00D1D0"/>
                </a:solidFill>
                <a:latin typeface="Verdana"/>
                <a:cs typeface="Verdana"/>
              </a:rPr>
              <a:t>E</a:t>
            </a:r>
            <a:r>
              <a:rPr sz="1200" spc="-10">
                <a:solidFill>
                  <a:srgbClr val="00D1D0"/>
                </a:solidFill>
                <a:latin typeface="Verdana"/>
                <a:cs typeface="Verdana"/>
              </a:rPr>
              <a:t>x</a:t>
            </a:r>
            <a:r>
              <a:rPr sz="1200" spc="-5">
                <a:solidFill>
                  <a:srgbClr val="00D1D0"/>
                </a:solidFill>
                <a:latin typeface="Verdana"/>
                <a:cs typeface="Verdana"/>
              </a:rPr>
              <a:t>p</a:t>
            </a:r>
            <a:r>
              <a:rPr sz="1200">
                <a:solidFill>
                  <a:srgbClr val="00D1D0"/>
                </a:solidFill>
                <a:latin typeface="Verdana"/>
                <a:cs typeface="Verdana"/>
              </a:rPr>
              <a:t>erts</a:t>
            </a:r>
            <a:endParaRPr sz="1200">
              <a:latin typeface="Verdana"/>
              <a:cs typeface="Verdan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604629" y="6638645"/>
            <a:ext cx="2091689"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a:t>
            </a:r>
            <a:r>
              <a:rPr sz="800" spc="-55">
                <a:solidFill>
                  <a:srgbClr val="A6A6A6"/>
                </a:solidFill>
                <a:latin typeface="Verdana"/>
                <a:cs typeface="Verdana"/>
              </a:rPr>
              <a:t> </a:t>
            </a:r>
            <a:r>
              <a:rPr sz="800">
                <a:solidFill>
                  <a:srgbClr val="12ABDB"/>
                </a:solidFill>
                <a:latin typeface="Verdana"/>
                <a:cs typeface="Verdana"/>
              </a:rPr>
              <a:t>|</a:t>
            </a:r>
            <a:endParaRPr sz="800">
              <a:latin typeface="Verdana"/>
              <a:cs typeface="Verdana"/>
            </a:endParaRPr>
          </a:p>
        </p:txBody>
      </p:sp>
      <p:sp>
        <p:nvSpPr>
          <p:cNvPr id="3" name="object 3"/>
          <p:cNvSpPr/>
          <p:nvPr/>
        </p:nvSpPr>
        <p:spPr>
          <a:xfrm>
            <a:off x="0" y="12699"/>
            <a:ext cx="12192000" cy="6845300"/>
          </a:xfrm>
          <a:custGeom>
            <a:avLst/>
            <a:gdLst/>
            <a:ahLst/>
            <a:cxnLst/>
            <a:rect l="l" t="t" r="r" b="b"/>
            <a:pathLst>
              <a:path w="12192000" h="6845300">
                <a:moveTo>
                  <a:pt x="5253862" y="0"/>
                </a:moveTo>
                <a:lnTo>
                  <a:pt x="0" y="0"/>
                </a:lnTo>
                <a:lnTo>
                  <a:pt x="0" y="6845300"/>
                </a:lnTo>
                <a:lnTo>
                  <a:pt x="12191999" y="6845300"/>
                </a:lnTo>
                <a:lnTo>
                  <a:pt x="12191999" y="6527800"/>
                </a:lnTo>
                <a:lnTo>
                  <a:pt x="8520602" y="6527800"/>
                </a:lnTo>
                <a:lnTo>
                  <a:pt x="8488387" y="6515100"/>
                </a:lnTo>
                <a:lnTo>
                  <a:pt x="8424532" y="6515100"/>
                </a:lnTo>
                <a:lnTo>
                  <a:pt x="8392894" y="6502400"/>
                </a:lnTo>
                <a:lnTo>
                  <a:pt x="8361448" y="6502400"/>
                </a:lnTo>
                <a:lnTo>
                  <a:pt x="8330197" y="6489700"/>
                </a:lnTo>
                <a:lnTo>
                  <a:pt x="8299141" y="6489700"/>
                </a:lnTo>
                <a:lnTo>
                  <a:pt x="8237614" y="6464300"/>
                </a:lnTo>
                <a:lnTo>
                  <a:pt x="8207145" y="6464300"/>
                </a:lnTo>
                <a:lnTo>
                  <a:pt x="8028482" y="6388100"/>
                </a:lnTo>
                <a:lnTo>
                  <a:pt x="7857029" y="6311900"/>
                </a:lnTo>
                <a:lnTo>
                  <a:pt x="7829163" y="6286500"/>
                </a:lnTo>
                <a:lnTo>
                  <a:pt x="7774045" y="6261100"/>
                </a:lnTo>
                <a:lnTo>
                  <a:pt x="7746794" y="6235700"/>
                </a:lnTo>
                <a:lnTo>
                  <a:pt x="7719748" y="6223000"/>
                </a:lnTo>
                <a:lnTo>
                  <a:pt x="7692909" y="6197600"/>
                </a:lnTo>
                <a:lnTo>
                  <a:pt x="7666277" y="6184900"/>
                </a:lnTo>
                <a:lnTo>
                  <a:pt x="7613637" y="6134100"/>
                </a:lnTo>
                <a:lnTo>
                  <a:pt x="7587630" y="6121400"/>
                </a:lnTo>
                <a:lnTo>
                  <a:pt x="7536244" y="6070600"/>
                </a:lnTo>
                <a:lnTo>
                  <a:pt x="7485701" y="6019800"/>
                </a:lnTo>
                <a:lnTo>
                  <a:pt x="7460746" y="5994400"/>
                </a:lnTo>
                <a:lnTo>
                  <a:pt x="7436004" y="5981700"/>
                </a:lnTo>
                <a:lnTo>
                  <a:pt x="7387158" y="5930900"/>
                </a:lnTo>
                <a:lnTo>
                  <a:pt x="7363056" y="5892800"/>
                </a:lnTo>
                <a:lnTo>
                  <a:pt x="7315496" y="5842000"/>
                </a:lnTo>
                <a:lnTo>
                  <a:pt x="7292038" y="5816600"/>
                </a:lnTo>
                <a:lnTo>
                  <a:pt x="7268798" y="5791200"/>
                </a:lnTo>
                <a:lnTo>
                  <a:pt x="7245774" y="5765800"/>
                </a:lnTo>
                <a:lnTo>
                  <a:pt x="7222967" y="5727700"/>
                </a:lnTo>
                <a:lnTo>
                  <a:pt x="7200378" y="5702300"/>
                </a:lnTo>
                <a:lnTo>
                  <a:pt x="7178008" y="5664200"/>
                </a:lnTo>
                <a:lnTo>
                  <a:pt x="7155856" y="5638800"/>
                </a:lnTo>
                <a:lnTo>
                  <a:pt x="7133925" y="5613400"/>
                </a:lnTo>
                <a:lnTo>
                  <a:pt x="7112213" y="5575300"/>
                </a:lnTo>
                <a:lnTo>
                  <a:pt x="7090723" y="5549900"/>
                </a:lnTo>
                <a:lnTo>
                  <a:pt x="7069453" y="5511800"/>
                </a:lnTo>
                <a:lnTo>
                  <a:pt x="7048406" y="5473700"/>
                </a:lnTo>
                <a:lnTo>
                  <a:pt x="7027581" y="5448300"/>
                </a:lnTo>
                <a:lnTo>
                  <a:pt x="7006979" y="5410200"/>
                </a:lnTo>
                <a:lnTo>
                  <a:pt x="6986601" y="5372100"/>
                </a:lnTo>
                <a:lnTo>
                  <a:pt x="6966447" y="5346700"/>
                </a:lnTo>
                <a:lnTo>
                  <a:pt x="6946517" y="5308600"/>
                </a:lnTo>
                <a:lnTo>
                  <a:pt x="6926813" y="5270500"/>
                </a:lnTo>
                <a:lnTo>
                  <a:pt x="6907335" y="5232400"/>
                </a:lnTo>
                <a:lnTo>
                  <a:pt x="6888083" y="5194300"/>
                </a:lnTo>
                <a:lnTo>
                  <a:pt x="6869059" y="5156200"/>
                </a:lnTo>
                <a:lnTo>
                  <a:pt x="6850262" y="5118100"/>
                </a:lnTo>
                <a:lnTo>
                  <a:pt x="6831693" y="5080000"/>
                </a:lnTo>
                <a:lnTo>
                  <a:pt x="6813352" y="5041900"/>
                </a:lnTo>
                <a:lnTo>
                  <a:pt x="6795242" y="5003800"/>
                </a:lnTo>
                <a:lnTo>
                  <a:pt x="6777361" y="4965700"/>
                </a:lnTo>
                <a:lnTo>
                  <a:pt x="6759710" y="4927600"/>
                </a:lnTo>
                <a:lnTo>
                  <a:pt x="6742290" y="4889500"/>
                </a:lnTo>
                <a:lnTo>
                  <a:pt x="6725103" y="4851400"/>
                </a:lnTo>
                <a:lnTo>
                  <a:pt x="6708147" y="4813300"/>
                </a:lnTo>
                <a:lnTo>
                  <a:pt x="6691424" y="4762500"/>
                </a:lnTo>
                <a:lnTo>
                  <a:pt x="6674934" y="4724400"/>
                </a:lnTo>
                <a:lnTo>
                  <a:pt x="6658678" y="4686300"/>
                </a:lnTo>
                <a:lnTo>
                  <a:pt x="6642656" y="4635500"/>
                </a:lnTo>
                <a:lnTo>
                  <a:pt x="6626870" y="4597400"/>
                </a:lnTo>
                <a:lnTo>
                  <a:pt x="6611319" y="4559300"/>
                </a:lnTo>
                <a:lnTo>
                  <a:pt x="6596004" y="4508500"/>
                </a:lnTo>
                <a:lnTo>
                  <a:pt x="6580926" y="4470400"/>
                </a:lnTo>
                <a:lnTo>
                  <a:pt x="6566085" y="4419600"/>
                </a:lnTo>
                <a:lnTo>
                  <a:pt x="6551482" y="4381500"/>
                </a:lnTo>
                <a:lnTo>
                  <a:pt x="6537118" y="4330700"/>
                </a:lnTo>
                <a:lnTo>
                  <a:pt x="6522992" y="4279900"/>
                </a:lnTo>
                <a:lnTo>
                  <a:pt x="6509106" y="4241800"/>
                </a:lnTo>
                <a:lnTo>
                  <a:pt x="6495460" y="4191000"/>
                </a:lnTo>
                <a:lnTo>
                  <a:pt x="6482055" y="4140200"/>
                </a:lnTo>
                <a:lnTo>
                  <a:pt x="6468891" y="4102100"/>
                </a:lnTo>
                <a:lnTo>
                  <a:pt x="6455969" y="4051300"/>
                </a:lnTo>
                <a:lnTo>
                  <a:pt x="6443289" y="4000500"/>
                </a:lnTo>
                <a:lnTo>
                  <a:pt x="6430852" y="3949700"/>
                </a:lnTo>
                <a:lnTo>
                  <a:pt x="6418659" y="3911600"/>
                </a:lnTo>
                <a:lnTo>
                  <a:pt x="6406710" y="3860800"/>
                </a:lnTo>
                <a:lnTo>
                  <a:pt x="6395006" y="3810000"/>
                </a:lnTo>
                <a:lnTo>
                  <a:pt x="6383547" y="3759200"/>
                </a:lnTo>
                <a:lnTo>
                  <a:pt x="6372333" y="3708400"/>
                </a:lnTo>
                <a:lnTo>
                  <a:pt x="6361366" y="3657600"/>
                </a:lnTo>
                <a:lnTo>
                  <a:pt x="6350646" y="3606800"/>
                </a:lnTo>
                <a:lnTo>
                  <a:pt x="6340174" y="3556000"/>
                </a:lnTo>
                <a:lnTo>
                  <a:pt x="6329950" y="3505200"/>
                </a:lnTo>
                <a:lnTo>
                  <a:pt x="6319974" y="3454400"/>
                </a:lnTo>
                <a:lnTo>
                  <a:pt x="6310247" y="3403600"/>
                </a:lnTo>
                <a:lnTo>
                  <a:pt x="6300771" y="3352800"/>
                </a:lnTo>
                <a:lnTo>
                  <a:pt x="6291544" y="3302000"/>
                </a:lnTo>
                <a:lnTo>
                  <a:pt x="6282569" y="3251200"/>
                </a:lnTo>
                <a:lnTo>
                  <a:pt x="6273845" y="3187700"/>
                </a:lnTo>
                <a:lnTo>
                  <a:pt x="6265373" y="3136900"/>
                </a:lnTo>
                <a:lnTo>
                  <a:pt x="6257154" y="3086100"/>
                </a:lnTo>
                <a:lnTo>
                  <a:pt x="6249188" y="3035300"/>
                </a:lnTo>
                <a:lnTo>
                  <a:pt x="6241476" y="2984500"/>
                </a:lnTo>
                <a:lnTo>
                  <a:pt x="6234019" y="2921000"/>
                </a:lnTo>
                <a:lnTo>
                  <a:pt x="6226816" y="2870200"/>
                </a:lnTo>
                <a:lnTo>
                  <a:pt x="6219869" y="2819400"/>
                </a:lnTo>
                <a:lnTo>
                  <a:pt x="6213177" y="2755900"/>
                </a:lnTo>
                <a:lnTo>
                  <a:pt x="6206743" y="2705100"/>
                </a:lnTo>
                <a:lnTo>
                  <a:pt x="6200565" y="2641600"/>
                </a:lnTo>
                <a:lnTo>
                  <a:pt x="6194646" y="2590800"/>
                </a:lnTo>
                <a:lnTo>
                  <a:pt x="6188984" y="2540000"/>
                </a:lnTo>
                <a:lnTo>
                  <a:pt x="6183582" y="2476500"/>
                </a:lnTo>
                <a:lnTo>
                  <a:pt x="6178439" y="2425700"/>
                </a:lnTo>
                <a:lnTo>
                  <a:pt x="6173556" y="2362200"/>
                </a:lnTo>
                <a:lnTo>
                  <a:pt x="6168934" y="2311400"/>
                </a:lnTo>
                <a:lnTo>
                  <a:pt x="6164573" y="2247900"/>
                </a:lnTo>
                <a:lnTo>
                  <a:pt x="6160474" y="2197100"/>
                </a:lnTo>
                <a:lnTo>
                  <a:pt x="6156637" y="2133600"/>
                </a:lnTo>
                <a:lnTo>
                  <a:pt x="6153063" y="2070100"/>
                </a:lnTo>
                <a:lnTo>
                  <a:pt x="6149752" y="2019300"/>
                </a:lnTo>
                <a:lnTo>
                  <a:pt x="6146706" y="1955800"/>
                </a:lnTo>
                <a:lnTo>
                  <a:pt x="6143924" y="1892300"/>
                </a:lnTo>
                <a:lnTo>
                  <a:pt x="6141407" y="1841500"/>
                </a:lnTo>
                <a:lnTo>
                  <a:pt x="6139156" y="1778000"/>
                </a:lnTo>
                <a:lnTo>
                  <a:pt x="6137171" y="1714500"/>
                </a:lnTo>
                <a:lnTo>
                  <a:pt x="6135454" y="1663700"/>
                </a:lnTo>
                <a:lnTo>
                  <a:pt x="6134003" y="1600200"/>
                </a:lnTo>
                <a:lnTo>
                  <a:pt x="6132821" y="1536700"/>
                </a:lnTo>
                <a:lnTo>
                  <a:pt x="6131907" y="1473200"/>
                </a:lnTo>
                <a:lnTo>
                  <a:pt x="6131263" y="1422400"/>
                </a:lnTo>
                <a:lnTo>
                  <a:pt x="6130888" y="1358900"/>
                </a:lnTo>
                <a:lnTo>
                  <a:pt x="6130783" y="1295400"/>
                </a:lnTo>
                <a:lnTo>
                  <a:pt x="6130950" y="1231900"/>
                </a:lnTo>
                <a:lnTo>
                  <a:pt x="6131388" y="1168400"/>
                </a:lnTo>
                <a:lnTo>
                  <a:pt x="6132097" y="1104900"/>
                </a:lnTo>
                <a:lnTo>
                  <a:pt x="6133080" y="1041400"/>
                </a:lnTo>
                <a:lnTo>
                  <a:pt x="6134335" y="990600"/>
                </a:lnTo>
                <a:lnTo>
                  <a:pt x="6135865" y="927100"/>
                </a:lnTo>
                <a:lnTo>
                  <a:pt x="6137668" y="863600"/>
                </a:lnTo>
                <a:lnTo>
                  <a:pt x="6139747" y="800100"/>
                </a:lnTo>
                <a:lnTo>
                  <a:pt x="6142100" y="736600"/>
                </a:lnTo>
                <a:lnTo>
                  <a:pt x="6026246" y="622300"/>
                </a:lnTo>
                <a:lnTo>
                  <a:pt x="5987543" y="596900"/>
                </a:lnTo>
                <a:lnTo>
                  <a:pt x="5871206" y="482600"/>
                </a:lnTo>
                <a:lnTo>
                  <a:pt x="5832358" y="457200"/>
                </a:lnTo>
                <a:lnTo>
                  <a:pt x="5754570" y="381000"/>
                </a:lnTo>
                <a:lnTo>
                  <a:pt x="5715634" y="355600"/>
                </a:lnTo>
                <a:lnTo>
                  <a:pt x="5676674" y="317500"/>
                </a:lnTo>
                <a:lnTo>
                  <a:pt x="5637690" y="292100"/>
                </a:lnTo>
                <a:lnTo>
                  <a:pt x="5598684" y="254000"/>
                </a:lnTo>
                <a:lnTo>
                  <a:pt x="5559660" y="228600"/>
                </a:lnTo>
                <a:lnTo>
                  <a:pt x="5520618" y="190500"/>
                </a:lnTo>
                <a:lnTo>
                  <a:pt x="5442492" y="139700"/>
                </a:lnTo>
                <a:lnTo>
                  <a:pt x="5403411" y="101600"/>
                </a:lnTo>
                <a:lnTo>
                  <a:pt x="5325223" y="50800"/>
                </a:lnTo>
                <a:lnTo>
                  <a:pt x="5286120" y="12700"/>
                </a:lnTo>
                <a:lnTo>
                  <a:pt x="5253862" y="0"/>
                </a:lnTo>
                <a:close/>
              </a:path>
              <a:path w="12192000" h="6845300">
                <a:moveTo>
                  <a:pt x="12041402" y="5118100"/>
                </a:moveTo>
                <a:lnTo>
                  <a:pt x="11745334" y="5118100"/>
                </a:lnTo>
                <a:lnTo>
                  <a:pt x="11705774" y="5130800"/>
                </a:lnTo>
                <a:lnTo>
                  <a:pt x="11665632" y="5130800"/>
                </a:lnTo>
                <a:lnTo>
                  <a:pt x="11624906" y="5143500"/>
                </a:lnTo>
                <a:lnTo>
                  <a:pt x="11583591" y="5143500"/>
                </a:lnTo>
                <a:lnTo>
                  <a:pt x="11541682" y="5156200"/>
                </a:lnTo>
                <a:lnTo>
                  <a:pt x="11368031" y="5207000"/>
                </a:lnTo>
                <a:lnTo>
                  <a:pt x="11323094" y="5232400"/>
                </a:lnTo>
                <a:lnTo>
                  <a:pt x="11277538" y="5245100"/>
                </a:lnTo>
                <a:lnTo>
                  <a:pt x="11231360" y="5270500"/>
                </a:lnTo>
                <a:lnTo>
                  <a:pt x="11184555" y="5283200"/>
                </a:lnTo>
                <a:lnTo>
                  <a:pt x="11137120" y="5308600"/>
                </a:lnTo>
                <a:lnTo>
                  <a:pt x="11040340" y="5359400"/>
                </a:lnTo>
                <a:lnTo>
                  <a:pt x="10890336" y="5435600"/>
                </a:lnTo>
                <a:lnTo>
                  <a:pt x="10787063" y="5511800"/>
                </a:lnTo>
                <a:lnTo>
                  <a:pt x="10734432" y="5537200"/>
                </a:lnTo>
                <a:lnTo>
                  <a:pt x="10627163" y="5613400"/>
                </a:lnTo>
                <a:lnTo>
                  <a:pt x="10517188" y="5689600"/>
                </a:lnTo>
                <a:lnTo>
                  <a:pt x="10461176" y="5740400"/>
                </a:lnTo>
                <a:lnTo>
                  <a:pt x="10404474" y="5778500"/>
                </a:lnTo>
                <a:lnTo>
                  <a:pt x="10363236" y="5816600"/>
                </a:lnTo>
                <a:lnTo>
                  <a:pt x="10322161" y="5842000"/>
                </a:lnTo>
                <a:lnTo>
                  <a:pt x="10281248" y="5880100"/>
                </a:lnTo>
                <a:lnTo>
                  <a:pt x="10240500" y="5905500"/>
                </a:lnTo>
                <a:lnTo>
                  <a:pt x="10199916" y="5943600"/>
                </a:lnTo>
                <a:lnTo>
                  <a:pt x="10039234" y="6045200"/>
                </a:lnTo>
                <a:lnTo>
                  <a:pt x="9999481" y="6083300"/>
                </a:lnTo>
                <a:lnTo>
                  <a:pt x="9959895" y="6096000"/>
                </a:lnTo>
                <a:lnTo>
                  <a:pt x="9764503" y="6223000"/>
                </a:lnTo>
                <a:lnTo>
                  <a:pt x="9725936" y="6235700"/>
                </a:lnTo>
                <a:lnTo>
                  <a:pt x="9687541" y="6261100"/>
                </a:lnTo>
                <a:lnTo>
                  <a:pt x="9649318" y="6273800"/>
                </a:lnTo>
                <a:lnTo>
                  <a:pt x="9611268" y="6299200"/>
                </a:lnTo>
                <a:lnTo>
                  <a:pt x="9535689" y="6324600"/>
                </a:lnTo>
                <a:lnTo>
                  <a:pt x="9498161" y="6350000"/>
                </a:lnTo>
                <a:lnTo>
                  <a:pt x="9132615" y="6477000"/>
                </a:lnTo>
                <a:lnTo>
                  <a:pt x="9097046" y="6477000"/>
                </a:lnTo>
                <a:lnTo>
                  <a:pt x="9061658" y="6489700"/>
                </a:lnTo>
                <a:lnTo>
                  <a:pt x="9026453" y="6489700"/>
                </a:lnTo>
                <a:lnTo>
                  <a:pt x="8991430" y="6502400"/>
                </a:lnTo>
                <a:lnTo>
                  <a:pt x="8956590" y="6502400"/>
                </a:lnTo>
                <a:lnTo>
                  <a:pt x="8921934" y="6515100"/>
                </a:lnTo>
                <a:lnTo>
                  <a:pt x="8853176" y="6515100"/>
                </a:lnTo>
                <a:lnTo>
                  <a:pt x="8819074" y="6527800"/>
                </a:lnTo>
                <a:lnTo>
                  <a:pt x="12191999" y="6527800"/>
                </a:lnTo>
                <a:lnTo>
                  <a:pt x="12191999" y="5156200"/>
                </a:lnTo>
                <a:lnTo>
                  <a:pt x="12075921" y="5130800"/>
                </a:lnTo>
                <a:lnTo>
                  <a:pt x="12041402" y="5118100"/>
                </a:lnTo>
                <a:close/>
              </a:path>
            </a:pathLst>
          </a:custGeom>
          <a:solidFill>
            <a:srgbClr val="2B133C"/>
          </a:solidFill>
        </p:spPr>
        <p:txBody>
          <a:bodyPr wrap="square" lIns="0" tIns="0" rIns="0" bIns="0" rtlCol="0"/>
          <a:lstStyle/>
          <a:p>
            <a:endParaRPr/>
          </a:p>
        </p:txBody>
      </p:sp>
      <p:sp>
        <p:nvSpPr>
          <p:cNvPr id="4" name="object 4"/>
          <p:cNvSpPr txBox="1"/>
          <p:nvPr/>
        </p:nvSpPr>
        <p:spPr>
          <a:xfrm>
            <a:off x="11737593" y="6588658"/>
            <a:ext cx="237490" cy="147955"/>
          </a:xfrm>
          <a:prstGeom prst="rect">
            <a:avLst/>
          </a:prstGeom>
        </p:spPr>
        <p:txBody>
          <a:bodyPr vert="horz" wrap="square" lIns="0" tIns="12700" rIns="0" bIns="0" rtlCol="0">
            <a:spAutoFit/>
          </a:bodyPr>
          <a:lstStyle/>
          <a:p>
            <a:pPr marL="38100">
              <a:lnSpc>
                <a:spcPct val="100000"/>
              </a:lnSpc>
              <a:spcBef>
                <a:spcPts val="100"/>
              </a:spcBef>
            </a:pPr>
            <a:r>
              <a:rPr sz="1200" spc="-292" baseline="-27777">
                <a:solidFill>
                  <a:srgbClr val="A6A6A6"/>
                </a:solidFill>
                <a:latin typeface="Verdana"/>
                <a:cs typeface="Verdana"/>
              </a:rPr>
              <a:t>2</a:t>
            </a:r>
            <a:r>
              <a:rPr sz="800" spc="-195">
                <a:solidFill>
                  <a:srgbClr val="FFFFFF"/>
                </a:solidFill>
                <a:latin typeface="Verdana"/>
                <a:cs typeface="Verdana"/>
              </a:rPr>
              <a:t>2</a:t>
            </a:r>
            <a:r>
              <a:rPr sz="1200" spc="-292" baseline="-27777">
                <a:solidFill>
                  <a:srgbClr val="A6A6A6"/>
                </a:solidFill>
                <a:latin typeface="Verdana"/>
                <a:cs typeface="Verdana"/>
              </a:rPr>
              <a:t>0</a:t>
            </a:r>
            <a:r>
              <a:rPr sz="800" spc="-195">
                <a:solidFill>
                  <a:srgbClr val="FFFFFF"/>
                </a:solidFill>
                <a:latin typeface="Verdana"/>
                <a:cs typeface="Verdana"/>
              </a:rPr>
              <a:t>0</a:t>
            </a:r>
            <a:endParaRPr sz="800">
              <a:latin typeface="Verdana"/>
              <a:cs typeface="Verdana"/>
            </a:endParaRPr>
          </a:p>
        </p:txBody>
      </p:sp>
      <p:sp>
        <p:nvSpPr>
          <p:cNvPr id="5" name="object 5"/>
          <p:cNvSpPr/>
          <p:nvPr/>
        </p:nvSpPr>
        <p:spPr>
          <a:xfrm>
            <a:off x="2362200" y="6588252"/>
            <a:ext cx="0" cy="155575"/>
          </a:xfrm>
          <a:custGeom>
            <a:avLst/>
            <a:gdLst/>
            <a:ahLst/>
            <a:cxnLst/>
            <a:rect l="l" t="t" r="r" b="b"/>
            <a:pathLst>
              <a:path h="155575">
                <a:moveTo>
                  <a:pt x="0" y="155575"/>
                </a:moveTo>
                <a:lnTo>
                  <a:pt x="0" y="0"/>
                </a:lnTo>
              </a:path>
            </a:pathLst>
          </a:custGeom>
          <a:ln w="12192">
            <a:solidFill>
              <a:srgbClr val="12ABDB"/>
            </a:solidFill>
          </a:ln>
        </p:spPr>
        <p:txBody>
          <a:bodyPr wrap="square" lIns="0" tIns="0" rIns="0" bIns="0" rtlCol="0"/>
          <a:lstStyle/>
          <a:p>
            <a:endParaRPr/>
          </a:p>
        </p:txBody>
      </p:sp>
      <p:sp>
        <p:nvSpPr>
          <p:cNvPr id="6" name="object 6"/>
          <p:cNvSpPr txBox="1"/>
          <p:nvPr/>
        </p:nvSpPr>
        <p:spPr>
          <a:xfrm>
            <a:off x="189280" y="6592010"/>
            <a:ext cx="4337685" cy="147955"/>
          </a:xfrm>
          <a:prstGeom prst="rect">
            <a:avLst/>
          </a:prstGeom>
        </p:spPr>
        <p:txBody>
          <a:bodyPr vert="horz" wrap="square" lIns="0" tIns="12700" rIns="0" bIns="0" rtlCol="0">
            <a:spAutoFit/>
          </a:bodyPr>
          <a:lstStyle/>
          <a:p>
            <a:pPr marL="38100">
              <a:lnSpc>
                <a:spcPct val="100000"/>
              </a:lnSpc>
              <a:spcBef>
                <a:spcPts val="100"/>
              </a:spcBef>
            </a:pPr>
            <a:r>
              <a:rPr sz="1200" spc="-292" baseline="-24305">
                <a:solidFill>
                  <a:srgbClr val="A6A6A6"/>
                </a:solidFill>
                <a:latin typeface="Verdana"/>
                <a:cs typeface="Verdana"/>
              </a:rPr>
              <a:t>Cap</a:t>
            </a:r>
            <a:r>
              <a:rPr sz="800" spc="-195">
                <a:solidFill>
                  <a:srgbClr val="FFFFFF"/>
                </a:solidFill>
                <a:latin typeface="Verdana"/>
                <a:cs typeface="Verdana"/>
              </a:rPr>
              <a:t>S</a:t>
            </a:r>
            <a:r>
              <a:rPr sz="1200" spc="-292" baseline="-24305">
                <a:solidFill>
                  <a:srgbClr val="A6A6A6"/>
                </a:solidFill>
                <a:latin typeface="Verdana"/>
                <a:cs typeface="Verdana"/>
              </a:rPr>
              <a:t>g</a:t>
            </a:r>
            <a:r>
              <a:rPr sz="800" spc="-195">
                <a:solidFill>
                  <a:srgbClr val="FFFFFF"/>
                </a:solidFill>
                <a:latin typeface="Verdana"/>
                <a:cs typeface="Verdana"/>
              </a:rPr>
              <a:t>a</a:t>
            </a:r>
            <a:r>
              <a:rPr sz="1200" spc="-292" baseline="-24305">
                <a:solidFill>
                  <a:srgbClr val="A6A6A6"/>
                </a:solidFill>
                <a:latin typeface="Verdana"/>
                <a:cs typeface="Verdana"/>
              </a:rPr>
              <a:t>e</a:t>
            </a:r>
            <a:r>
              <a:rPr sz="800" spc="-195">
                <a:solidFill>
                  <a:srgbClr val="FFFFFF"/>
                </a:solidFill>
                <a:latin typeface="Verdana"/>
                <a:cs typeface="Verdana"/>
              </a:rPr>
              <a:t>l</a:t>
            </a:r>
            <a:r>
              <a:rPr sz="1200" spc="-292" baseline="-24305">
                <a:solidFill>
                  <a:srgbClr val="A6A6A6"/>
                </a:solidFill>
                <a:latin typeface="Verdana"/>
                <a:cs typeface="Verdana"/>
              </a:rPr>
              <a:t>m</a:t>
            </a:r>
            <a:r>
              <a:rPr sz="800" spc="-195">
                <a:solidFill>
                  <a:srgbClr val="FFFFFF"/>
                </a:solidFill>
                <a:latin typeface="Verdana"/>
                <a:cs typeface="Verdana"/>
              </a:rPr>
              <a:t>es</a:t>
            </a:r>
            <a:r>
              <a:rPr sz="1200" spc="-292" baseline="-24305">
                <a:solidFill>
                  <a:srgbClr val="A6A6A6"/>
                </a:solidFill>
                <a:latin typeface="Verdana"/>
                <a:cs typeface="Verdana"/>
              </a:rPr>
              <a:t>in</a:t>
            </a:r>
            <a:r>
              <a:rPr sz="800" spc="-195">
                <a:solidFill>
                  <a:srgbClr val="FFFFFF"/>
                </a:solidFill>
                <a:latin typeface="Verdana"/>
                <a:cs typeface="Verdana"/>
              </a:rPr>
              <a:t>fo</a:t>
            </a:r>
            <a:r>
              <a:rPr sz="1200" spc="-292" baseline="-24305">
                <a:solidFill>
                  <a:srgbClr val="A6A6A6"/>
                </a:solidFill>
                <a:latin typeface="Verdana"/>
                <a:cs typeface="Verdana"/>
              </a:rPr>
              <a:t>i’</a:t>
            </a:r>
            <a:r>
              <a:rPr sz="800" spc="-195">
                <a:solidFill>
                  <a:srgbClr val="FFFFFF"/>
                </a:solidFill>
                <a:latin typeface="Verdana"/>
                <a:cs typeface="Verdana"/>
              </a:rPr>
              <a:t>r</a:t>
            </a:r>
            <a:r>
              <a:rPr sz="1200" spc="-292" baseline="-24305">
                <a:solidFill>
                  <a:srgbClr val="A6A6A6"/>
                </a:solidFill>
                <a:latin typeface="Verdana"/>
                <a:cs typeface="Verdana"/>
              </a:rPr>
              <a:t>s</a:t>
            </a:r>
            <a:r>
              <a:rPr sz="800" spc="-195">
                <a:solidFill>
                  <a:srgbClr val="FFFFFF"/>
                </a:solidFill>
                <a:latin typeface="Verdana"/>
                <a:cs typeface="Verdana"/>
              </a:rPr>
              <a:t>ce</a:t>
            </a:r>
            <a:r>
              <a:rPr sz="1200" spc="-292" baseline="-24305">
                <a:solidFill>
                  <a:srgbClr val="A6A6A6"/>
                </a:solidFill>
                <a:latin typeface="Verdana"/>
                <a:cs typeface="Verdana"/>
              </a:rPr>
              <a:t>Re</a:t>
            </a:r>
            <a:r>
              <a:rPr sz="800" spc="-195">
                <a:solidFill>
                  <a:srgbClr val="FFFFFF"/>
                </a:solidFill>
                <a:latin typeface="Verdana"/>
                <a:cs typeface="Verdana"/>
              </a:rPr>
              <a:t>G</a:t>
            </a:r>
            <a:r>
              <a:rPr sz="1200" spc="-292" baseline="-24305">
                <a:solidFill>
                  <a:srgbClr val="A6A6A6"/>
                </a:solidFill>
                <a:latin typeface="Verdana"/>
                <a:cs typeface="Verdana"/>
              </a:rPr>
              <a:t>s</a:t>
            </a:r>
            <a:r>
              <a:rPr sz="800" spc="-195">
                <a:solidFill>
                  <a:srgbClr val="FFFFFF"/>
                </a:solidFill>
                <a:latin typeface="Verdana"/>
                <a:cs typeface="Verdana"/>
              </a:rPr>
              <a:t>l</a:t>
            </a:r>
            <a:r>
              <a:rPr sz="1200" spc="-292" baseline="-24305">
                <a:solidFill>
                  <a:srgbClr val="A6A6A6"/>
                </a:solidFill>
                <a:latin typeface="Verdana"/>
                <a:cs typeface="Verdana"/>
              </a:rPr>
              <a:t>p</a:t>
            </a:r>
            <a:r>
              <a:rPr sz="800" spc="-195">
                <a:solidFill>
                  <a:srgbClr val="FFFFFF"/>
                </a:solidFill>
                <a:latin typeface="Verdana"/>
                <a:cs typeface="Verdana"/>
              </a:rPr>
              <a:t>o</a:t>
            </a:r>
            <a:r>
              <a:rPr sz="1200" spc="-292" baseline="-24305">
                <a:solidFill>
                  <a:srgbClr val="A6A6A6"/>
                </a:solidFill>
                <a:latin typeface="Verdana"/>
                <a:cs typeface="Verdana"/>
              </a:rPr>
              <a:t>o</a:t>
            </a:r>
            <a:r>
              <a:rPr sz="800" spc="-195">
                <a:solidFill>
                  <a:srgbClr val="FFFFFF"/>
                </a:solidFill>
                <a:latin typeface="Verdana"/>
                <a:cs typeface="Verdana"/>
              </a:rPr>
              <a:t>b</a:t>
            </a:r>
            <a:r>
              <a:rPr sz="1200" spc="-292" baseline="-24305">
                <a:solidFill>
                  <a:srgbClr val="A6A6A6"/>
                </a:solidFill>
                <a:latin typeface="Verdana"/>
                <a:cs typeface="Verdana"/>
              </a:rPr>
              <a:t>n</a:t>
            </a:r>
            <a:r>
              <a:rPr sz="800" spc="-195">
                <a:solidFill>
                  <a:srgbClr val="FFFFFF"/>
                </a:solidFill>
                <a:latin typeface="Verdana"/>
                <a:cs typeface="Verdana"/>
              </a:rPr>
              <a:t>a</a:t>
            </a:r>
            <a:r>
              <a:rPr sz="1200" spc="-292" baseline="-24305">
                <a:solidFill>
                  <a:srgbClr val="A6A6A6"/>
                </a:solidFill>
                <a:latin typeface="Verdana"/>
                <a:cs typeface="Verdana"/>
              </a:rPr>
              <a:t>s</a:t>
            </a:r>
            <a:r>
              <a:rPr sz="800" spc="-195">
                <a:solidFill>
                  <a:srgbClr val="FFFFFF"/>
                </a:solidFill>
                <a:latin typeface="Verdana"/>
                <a:cs typeface="Verdana"/>
              </a:rPr>
              <a:t>l </a:t>
            </a:r>
            <a:r>
              <a:rPr sz="1200" spc="-284" baseline="-24305">
                <a:solidFill>
                  <a:srgbClr val="A6A6A6"/>
                </a:solidFill>
                <a:latin typeface="Verdana"/>
                <a:cs typeface="Verdana"/>
              </a:rPr>
              <a:t>e</a:t>
            </a:r>
            <a:r>
              <a:rPr sz="800" spc="-190">
                <a:solidFill>
                  <a:srgbClr val="FFFFFF"/>
                </a:solidFill>
                <a:latin typeface="Verdana"/>
                <a:cs typeface="Verdana"/>
              </a:rPr>
              <a:t>Pr</a:t>
            </a:r>
            <a:r>
              <a:rPr sz="1200" spc="-284" baseline="-24305">
                <a:solidFill>
                  <a:srgbClr val="A6A6A6"/>
                </a:solidFill>
                <a:latin typeface="Verdana"/>
                <a:cs typeface="Verdana"/>
              </a:rPr>
              <a:t>S</a:t>
            </a:r>
            <a:r>
              <a:rPr sz="800" spc="-190">
                <a:solidFill>
                  <a:srgbClr val="FFFFFF"/>
                </a:solidFill>
                <a:latin typeface="Verdana"/>
                <a:cs typeface="Verdana"/>
              </a:rPr>
              <a:t>a</a:t>
            </a:r>
            <a:r>
              <a:rPr sz="1200" spc="-284" baseline="-24305">
                <a:solidFill>
                  <a:srgbClr val="A6A6A6"/>
                </a:solidFill>
                <a:latin typeface="Verdana"/>
                <a:cs typeface="Verdana"/>
              </a:rPr>
              <a:t>a</a:t>
            </a:r>
            <a:r>
              <a:rPr sz="800" spc="-190">
                <a:solidFill>
                  <a:srgbClr val="FFFFFF"/>
                </a:solidFill>
                <a:latin typeface="Verdana"/>
                <a:cs typeface="Verdana"/>
              </a:rPr>
              <a:t>c</a:t>
            </a:r>
            <a:r>
              <a:rPr sz="1200" spc="-284" baseline="-24305">
                <a:solidFill>
                  <a:srgbClr val="A6A6A6"/>
                </a:solidFill>
                <a:latin typeface="Verdana"/>
                <a:cs typeface="Verdana"/>
              </a:rPr>
              <a:t>l</a:t>
            </a:r>
            <a:r>
              <a:rPr sz="800" spc="-190">
                <a:solidFill>
                  <a:srgbClr val="FFFFFF"/>
                </a:solidFill>
                <a:latin typeface="Verdana"/>
                <a:cs typeface="Verdana"/>
              </a:rPr>
              <a:t>t</a:t>
            </a:r>
            <a:r>
              <a:rPr sz="1200" spc="-284" baseline="-24305">
                <a:solidFill>
                  <a:srgbClr val="A6A6A6"/>
                </a:solidFill>
                <a:latin typeface="Verdana"/>
                <a:cs typeface="Verdana"/>
              </a:rPr>
              <a:t>e</a:t>
            </a:r>
            <a:r>
              <a:rPr sz="800" spc="-190">
                <a:solidFill>
                  <a:srgbClr val="FFFFFF"/>
                </a:solidFill>
                <a:latin typeface="Verdana"/>
                <a:cs typeface="Verdana"/>
              </a:rPr>
              <a:t>ic</a:t>
            </a:r>
            <a:r>
              <a:rPr sz="1200" spc="-284" baseline="-24305">
                <a:solidFill>
                  <a:srgbClr val="A6A6A6"/>
                </a:solidFill>
                <a:latin typeface="Verdana"/>
                <a:cs typeface="Verdana"/>
              </a:rPr>
              <a:t>s</a:t>
            </a:r>
            <a:r>
              <a:rPr sz="800" spc="-190">
                <a:solidFill>
                  <a:srgbClr val="FFFFFF"/>
                </a:solidFill>
                <a:latin typeface="Verdana"/>
                <a:cs typeface="Verdana"/>
              </a:rPr>
              <a:t>e</a:t>
            </a:r>
            <a:r>
              <a:rPr sz="1200" spc="-284" baseline="-24305">
                <a:solidFill>
                  <a:srgbClr val="A6A6A6"/>
                </a:solidFill>
                <a:latin typeface="Verdana"/>
                <a:cs typeface="Verdana"/>
              </a:rPr>
              <a:t>fo</a:t>
            </a:r>
            <a:r>
              <a:rPr sz="800" spc="-190">
                <a:solidFill>
                  <a:srgbClr val="FFFFFF"/>
                </a:solidFill>
                <a:latin typeface="Verdana"/>
                <a:cs typeface="Verdana"/>
              </a:rPr>
              <a:t>O</a:t>
            </a:r>
            <a:r>
              <a:rPr sz="1200" spc="-284" baseline="-24305">
                <a:solidFill>
                  <a:srgbClr val="A6A6A6"/>
                </a:solidFill>
                <a:latin typeface="Verdana"/>
                <a:cs typeface="Verdana"/>
              </a:rPr>
              <a:t>rc</a:t>
            </a:r>
            <a:r>
              <a:rPr sz="800" spc="-190">
                <a:solidFill>
                  <a:srgbClr val="FFFFFF"/>
                </a:solidFill>
                <a:latin typeface="Verdana"/>
                <a:cs typeface="Verdana"/>
              </a:rPr>
              <a:t>v</a:t>
            </a:r>
            <a:r>
              <a:rPr sz="1200" spc="-284" baseline="-24305">
                <a:solidFill>
                  <a:srgbClr val="A6A6A6"/>
                </a:solidFill>
                <a:latin typeface="Verdana"/>
                <a:cs typeface="Verdana"/>
              </a:rPr>
              <a:t>e</a:t>
            </a:r>
            <a:r>
              <a:rPr sz="800" spc="-190">
                <a:solidFill>
                  <a:srgbClr val="FFFFFF"/>
                </a:solidFill>
                <a:latin typeface="Verdana"/>
                <a:cs typeface="Verdana"/>
              </a:rPr>
              <a:t>er</a:t>
            </a:r>
            <a:r>
              <a:rPr sz="1200" spc="-284" baseline="-24305">
                <a:solidFill>
                  <a:srgbClr val="A6A6A6"/>
                </a:solidFill>
                <a:latin typeface="Verdana"/>
                <a:cs typeface="Verdana"/>
              </a:rPr>
              <a:t>R</a:t>
            </a:r>
            <a:r>
              <a:rPr sz="800" spc="-190">
                <a:solidFill>
                  <a:srgbClr val="FFFFFF"/>
                </a:solidFill>
                <a:latin typeface="Verdana"/>
                <a:cs typeface="Verdana"/>
              </a:rPr>
              <a:t>v</a:t>
            </a:r>
            <a:r>
              <a:rPr sz="1200" spc="-284" baseline="-24305">
                <a:solidFill>
                  <a:srgbClr val="A6A6A6"/>
                </a:solidFill>
                <a:latin typeface="Verdana"/>
                <a:cs typeface="Verdana"/>
              </a:rPr>
              <a:t>o</a:t>
            </a:r>
            <a:r>
              <a:rPr sz="800" spc="-190">
                <a:solidFill>
                  <a:srgbClr val="FFFFFF"/>
                </a:solidFill>
                <a:latin typeface="Verdana"/>
                <a:cs typeface="Verdana"/>
              </a:rPr>
              <a:t>ie</a:t>
            </a:r>
            <a:r>
              <a:rPr sz="1200" spc="-284" baseline="-24305">
                <a:solidFill>
                  <a:srgbClr val="A6A6A6"/>
                </a:solidFill>
                <a:latin typeface="Verdana"/>
                <a:cs typeface="Verdana"/>
              </a:rPr>
              <a:t>llo</a:t>
            </a:r>
            <a:r>
              <a:rPr sz="800" spc="-190">
                <a:solidFill>
                  <a:srgbClr val="FFFFFF"/>
                </a:solidFill>
                <a:latin typeface="Verdana"/>
                <a:cs typeface="Verdana"/>
              </a:rPr>
              <a:t>w</a:t>
            </a:r>
            <a:r>
              <a:rPr sz="1200" spc="-284" baseline="-24305">
                <a:solidFill>
                  <a:srgbClr val="A6A6A6"/>
                </a:solidFill>
                <a:latin typeface="Verdana"/>
                <a:cs typeface="Verdana"/>
              </a:rPr>
              <a:t>ut </a:t>
            </a:r>
            <a:r>
              <a:rPr sz="1200" spc="-277" baseline="-24305">
                <a:solidFill>
                  <a:srgbClr val="A6A6A6"/>
                </a:solidFill>
                <a:latin typeface="Verdana"/>
                <a:cs typeface="Verdana"/>
              </a:rPr>
              <a:t>Pr</a:t>
            </a:r>
            <a:r>
              <a:rPr sz="800" spc="-185">
                <a:solidFill>
                  <a:srgbClr val="FFFFFF"/>
                </a:solidFill>
                <a:latin typeface="Verdana"/>
                <a:cs typeface="Verdana"/>
              </a:rPr>
              <a:t>©</a:t>
            </a:r>
            <a:r>
              <a:rPr sz="1200" spc="-277" baseline="-24305">
                <a:solidFill>
                  <a:srgbClr val="A6A6A6"/>
                </a:solidFill>
                <a:latin typeface="Verdana"/>
                <a:cs typeface="Verdana"/>
              </a:rPr>
              <a:t>oje</a:t>
            </a:r>
            <a:r>
              <a:rPr sz="800" spc="-185">
                <a:solidFill>
                  <a:srgbClr val="FFFFFF"/>
                </a:solidFill>
                <a:latin typeface="Verdana"/>
                <a:cs typeface="Verdana"/>
              </a:rPr>
              <a:t>2</a:t>
            </a:r>
            <a:r>
              <a:rPr sz="1200" spc="-277" baseline="-24305">
                <a:solidFill>
                  <a:srgbClr val="A6A6A6"/>
                </a:solidFill>
                <a:latin typeface="Verdana"/>
                <a:cs typeface="Verdana"/>
              </a:rPr>
              <a:t>c</a:t>
            </a:r>
            <a:r>
              <a:rPr sz="800" spc="-185">
                <a:solidFill>
                  <a:srgbClr val="FFFFFF"/>
                </a:solidFill>
                <a:latin typeface="Verdana"/>
                <a:cs typeface="Verdana"/>
              </a:rPr>
              <a:t>0</a:t>
            </a:r>
            <a:r>
              <a:rPr sz="1200" spc="-277" baseline="-24305">
                <a:solidFill>
                  <a:srgbClr val="A6A6A6"/>
                </a:solidFill>
                <a:latin typeface="Verdana"/>
                <a:cs typeface="Verdana"/>
              </a:rPr>
              <a:t>t </a:t>
            </a:r>
            <a:r>
              <a:rPr sz="800" spc="-185">
                <a:solidFill>
                  <a:srgbClr val="FFFFFF"/>
                </a:solidFill>
                <a:latin typeface="Verdana"/>
                <a:cs typeface="Verdana"/>
              </a:rPr>
              <a:t>2</a:t>
            </a:r>
            <a:r>
              <a:rPr sz="1200" spc="-277" baseline="-24305">
                <a:solidFill>
                  <a:srgbClr val="A6A6A6"/>
                </a:solidFill>
                <a:latin typeface="Verdana"/>
                <a:cs typeface="Verdana"/>
              </a:rPr>
              <a:t>|</a:t>
            </a:r>
            <a:r>
              <a:rPr sz="800" spc="-185">
                <a:solidFill>
                  <a:srgbClr val="FFFFFF"/>
                </a:solidFill>
                <a:latin typeface="Verdana"/>
                <a:cs typeface="Verdana"/>
              </a:rPr>
              <a:t>0</a:t>
            </a:r>
            <a:r>
              <a:rPr sz="1200" spc="-277" baseline="-24305">
                <a:solidFill>
                  <a:srgbClr val="A6A6A6"/>
                </a:solidFill>
                <a:latin typeface="Verdana"/>
                <a:cs typeface="Verdana"/>
              </a:rPr>
              <a:t>S</a:t>
            </a:r>
            <a:r>
              <a:rPr sz="800" spc="-185">
                <a:solidFill>
                  <a:srgbClr val="FFFFFF"/>
                </a:solidFill>
                <a:latin typeface="Verdana"/>
                <a:cs typeface="Verdana"/>
              </a:rPr>
              <a:t>C</a:t>
            </a:r>
            <a:r>
              <a:rPr sz="1200" spc="-277" baseline="-24305">
                <a:solidFill>
                  <a:srgbClr val="A6A6A6"/>
                </a:solidFill>
                <a:latin typeface="Verdana"/>
                <a:cs typeface="Verdana"/>
              </a:rPr>
              <a:t>ep</a:t>
            </a:r>
            <a:r>
              <a:rPr sz="800" spc="-185">
                <a:solidFill>
                  <a:srgbClr val="FFFFFF"/>
                </a:solidFill>
                <a:latin typeface="Verdana"/>
                <a:cs typeface="Verdana"/>
              </a:rPr>
              <a:t>ap</a:t>
            </a:r>
            <a:r>
              <a:rPr sz="1200" spc="-277" baseline="-24305">
                <a:solidFill>
                  <a:srgbClr val="A6A6A6"/>
                </a:solidFill>
                <a:latin typeface="Verdana"/>
                <a:cs typeface="Verdana"/>
              </a:rPr>
              <a:t>2</a:t>
            </a:r>
            <a:r>
              <a:rPr sz="800" spc="-185">
                <a:solidFill>
                  <a:srgbClr val="FFFFFF"/>
                </a:solidFill>
                <a:latin typeface="Verdana"/>
                <a:cs typeface="Verdana"/>
              </a:rPr>
              <a:t>g</a:t>
            </a:r>
            <a:r>
              <a:rPr sz="1200" spc="-277" baseline="-24305">
                <a:solidFill>
                  <a:srgbClr val="A6A6A6"/>
                </a:solidFill>
                <a:latin typeface="Verdana"/>
                <a:cs typeface="Verdana"/>
              </a:rPr>
              <a:t>0</a:t>
            </a:r>
            <a:r>
              <a:rPr sz="800" spc="-185">
                <a:solidFill>
                  <a:srgbClr val="FFFFFF"/>
                </a:solidFill>
                <a:latin typeface="Verdana"/>
                <a:cs typeface="Verdana"/>
              </a:rPr>
              <a:t>e</a:t>
            </a:r>
            <a:r>
              <a:rPr sz="1200" spc="-277" baseline="-24305">
                <a:solidFill>
                  <a:srgbClr val="A6A6A6"/>
                </a:solidFill>
                <a:latin typeface="Verdana"/>
                <a:cs typeface="Verdana"/>
              </a:rPr>
              <a:t>2</a:t>
            </a:r>
            <a:r>
              <a:rPr sz="800" spc="-185">
                <a:solidFill>
                  <a:srgbClr val="FFFFFF"/>
                </a:solidFill>
                <a:latin typeface="Verdana"/>
                <a:cs typeface="Verdana"/>
              </a:rPr>
              <a:t>m</a:t>
            </a:r>
            <a:r>
              <a:rPr sz="1200" spc="-277" baseline="-24305">
                <a:solidFill>
                  <a:srgbClr val="A6A6A6"/>
                </a:solidFill>
                <a:latin typeface="Verdana"/>
                <a:cs typeface="Verdana"/>
              </a:rPr>
              <a:t>0</a:t>
            </a:r>
            <a:r>
              <a:rPr sz="800" spc="-185">
                <a:solidFill>
                  <a:srgbClr val="FFFFFF"/>
                </a:solidFill>
                <a:latin typeface="Verdana"/>
                <a:cs typeface="Verdana"/>
              </a:rPr>
              <a:t>ini. </a:t>
            </a:r>
            <a:r>
              <a:rPr sz="800">
                <a:solidFill>
                  <a:srgbClr val="FFFFFF"/>
                </a:solidFill>
                <a:latin typeface="Verdana"/>
                <a:cs typeface="Verdana"/>
              </a:rPr>
              <a:t>All </a:t>
            </a:r>
            <a:r>
              <a:rPr sz="800" spc="-5">
                <a:solidFill>
                  <a:srgbClr val="FFFFFF"/>
                </a:solidFill>
                <a:latin typeface="Verdana"/>
                <a:cs typeface="Verdana"/>
              </a:rPr>
              <a:t>rights</a:t>
            </a:r>
            <a:r>
              <a:rPr sz="800" spc="-60">
                <a:solidFill>
                  <a:srgbClr val="FFFFFF"/>
                </a:solidFill>
                <a:latin typeface="Verdana"/>
                <a:cs typeface="Verdana"/>
              </a:rPr>
              <a:t> </a:t>
            </a:r>
            <a:r>
              <a:rPr sz="800">
                <a:solidFill>
                  <a:srgbClr val="FFFFFF"/>
                </a:solidFill>
                <a:latin typeface="Verdana"/>
                <a:cs typeface="Verdana"/>
              </a:rPr>
              <a:t>reserved.</a:t>
            </a:r>
            <a:endParaRPr sz="800">
              <a:latin typeface="Verdana"/>
              <a:cs typeface="Verdana"/>
            </a:endParaRPr>
          </a:p>
        </p:txBody>
      </p:sp>
      <p:sp>
        <p:nvSpPr>
          <p:cNvPr id="7" name="object 7"/>
          <p:cNvSpPr txBox="1">
            <a:spLocks noGrp="1"/>
          </p:cNvSpPr>
          <p:nvPr>
            <p:ph type="title"/>
          </p:nvPr>
        </p:nvSpPr>
        <p:spPr>
          <a:xfrm>
            <a:off x="395427" y="357378"/>
            <a:ext cx="8974455" cy="662305"/>
          </a:xfrm>
          <a:prstGeom prst="rect">
            <a:avLst/>
          </a:prstGeom>
        </p:spPr>
        <p:txBody>
          <a:bodyPr vert="horz" wrap="square" lIns="0" tIns="49530" rIns="0" bIns="0" rtlCol="0">
            <a:spAutoFit/>
          </a:bodyPr>
          <a:lstStyle/>
          <a:p>
            <a:pPr marL="12700" marR="5080">
              <a:lnSpc>
                <a:spcPts val="2380"/>
              </a:lnSpc>
              <a:spcBef>
                <a:spcPts val="390"/>
              </a:spcBef>
            </a:pPr>
            <a:r>
              <a:rPr sz="2200" spc="-5">
                <a:solidFill>
                  <a:srgbClr val="12ABDB"/>
                </a:solidFill>
              </a:rPr>
              <a:t>Consistently recognized for leadership and expertise across </a:t>
            </a:r>
            <a:r>
              <a:rPr sz="2200" spc="-15">
                <a:solidFill>
                  <a:srgbClr val="12ABDB"/>
                </a:solidFill>
              </a:rPr>
              <a:t>key  </a:t>
            </a:r>
            <a:r>
              <a:rPr sz="2200" spc="-5">
                <a:solidFill>
                  <a:srgbClr val="12ABDB"/>
                </a:solidFill>
              </a:rPr>
              <a:t>business</a:t>
            </a:r>
            <a:r>
              <a:rPr sz="2200" spc="5">
                <a:solidFill>
                  <a:srgbClr val="12ABDB"/>
                </a:solidFill>
              </a:rPr>
              <a:t> </a:t>
            </a:r>
            <a:r>
              <a:rPr sz="2200" spc="-5">
                <a:solidFill>
                  <a:srgbClr val="12ABDB"/>
                </a:solidFill>
              </a:rPr>
              <a:t>competencies</a:t>
            </a:r>
            <a:endParaRPr sz="2200"/>
          </a:p>
        </p:txBody>
      </p:sp>
      <p:sp>
        <p:nvSpPr>
          <p:cNvPr id="8" name="object 8"/>
          <p:cNvSpPr/>
          <p:nvPr/>
        </p:nvSpPr>
        <p:spPr>
          <a:xfrm>
            <a:off x="8755395" y="4206240"/>
            <a:ext cx="887730" cy="855344"/>
          </a:xfrm>
          <a:custGeom>
            <a:avLst/>
            <a:gdLst/>
            <a:ahLst/>
            <a:cxnLst/>
            <a:rect l="l" t="t" r="r" b="b"/>
            <a:pathLst>
              <a:path w="887729" h="855345">
                <a:moveTo>
                  <a:pt x="171926" y="12906"/>
                </a:moveTo>
                <a:lnTo>
                  <a:pt x="102975" y="34899"/>
                </a:lnTo>
                <a:lnTo>
                  <a:pt x="64611" y="69580"/>
                </a:lnTo>
                <a:lnTo>
                  <a:pt x="34605" y="112619"/>
                </a:lnTo>
                <a:lnTo>
                  <a:pt x="14589" y="157861"/>
                </a:lnTo>
                <a:lnTo>
                  <a:pt x="3383" y="206283"/>
                </a:lnTo>
                <a:lnTo>
                  <a:pt x="0" y="256349"/>
                </a:lnTo>
                <a:lnTo>
                  <a:pt x="3498" y="306986"/>
                </a:lnTo>
                <a:lnTo>
                  <a:pt x="12938" y="357124"/>
                </a:lnTo>
                <a:lnTo>
                  <a:pt x="27179" y="406058"/>
                </a:lnTo>
                <a:lnTo>
                  <a:pt x="45243" y="453898"/>
                </a:lnTo>
                <a:lnTo>
                  <a:pt x="66141" y="500784"/>
                </a:lnTo>
                <a:lnTo>
                  <a:pt x="88884" y="546862"/>
                </a:lnTo>
                <a:lnTo>
                  <a:pt x="111712" y="590752"/>
                </a:lnTo>
                <a:lnTo>
                  <a:pt x="135388" y="634179"/>
                </a:lnTo>
                <a:lnTo>
                  <a:pt x="159905" y="677136"/>
                </a:lnTo>
                <a:lnTo>
                  <a:pt x="185257" y="719618"/>
                </a:lnTo>
                <a:lnTo>
                  <a:pt x="211439" y="761619"/>
                </a:lnTo>
                <a:lnTo>
                  <a:pt x="236839" y="798480"/>
                </a:lnTo>
                <a:lnTo>
                  <a:pt x="268335" y="829437"/>
                </a:lnTo>
                <a:lnTo>
                  <a:pt x="327231" y="852789"/>
                </a:lnTo>
                <a:lnTo>
                  <a:pt x="359132" y="855279"/>
                </a:lnTo>
                <a:lnTo>
                  <a:pt x="390890" y="853186"/>
                </a:lnTo>
                <a:lnTo>
                  <a:pt x="436487" y="844176"/>
                </a:lnTo>
                <a:lnTo>
                  <a:pt x="480007" y="829689"/>
                </a:lnTo>
                <a:lnTo>
                  <a:pt x="521842" y="810724"/>
                </a:lnTo>
                <a:lnTo>
                  <a:pt x="562387" y="788279"/>
                </a:lnTo>
                <a:lnTo>
                  <a:pt x="602033" y="763354"/>
                </a:lnTo>
                <a:lnTo>
                  <a:pt x="641175" y="736949"/>
                </a:lnTo>
                <a:lnTo>
                  <a:pt x="680206" y="710062"/>
                </a:lnTo>
                <a:lnTo>
                  <a:pt x="719519" y="683692"/>
                </a:lnTo>
                <a:lnTo>
                  <a:pt x="759507" y="658840"/>
                </a:lnTo>
                <a:lnTo>
                  <a:pt x="800565" y="636504"/>
                </a:lnTo>
                <a:lnTo>
                  <a:pt x="843084" y="617683"/>
                </a:lnTo>
                <a:lnTo>
                  <a:pt x="887460" y="603377"/>
                </a:lnTo>
                <a:lnTo>
                  <a:pt x="865791" y="559214"/>
                </a:lnTo>
                <a:lnTo>
                  <a:pt x="843024" y="515581"/>
                </a:lnTo>
                <a:lnTo>
                  <a:pt x="819177" y="472505"/>
                </a:lnTo>
                <a:lnTo>
                  <a:pt x="794270" y="430012"/>
                </a:lnTo>
                <a:lnTo>
                  <a:pt x="768320" y="388130"/>
                </a:lnTo>
                <a:lnTo>
                  <a:pt x="741346" y="346884"/>
                </a:lnTo>
                <a:lnTo>
                  <a:pt x="713367" y="306303"/>
                </a:lnTo>
                <a:lnTo>
                  <a:pt x="684401" y="266413"/>
                </a:lnTo>
                <a:lnTo>
                  <a:pt x="654466" y="227240"/>
                </a:lnTo>
                <a:lnTo>
                  <a:pt x="623582" y="188813"/>
                </a:lnTo>
                <a:lnTo>
                  <a:pt x="591766" y="151157"/>
                </a:lnTo>
                <a:lnTo>
                  <a:pt x="559038" y="114300"/>
                </a:lnTo>
                <a:lnTo>
                  <a:pt x="532292" y="85879"/>
                </a:lnTo>
                <a:lnTo>
                  <a:pt x="503856" y="59245"/>
                </a:lnTo>
                <a:lnTo>
                  <a:pt x="473134" y="36040"/>
                </a:lnTo>
                <a:lnTo>
                  <a:pt x="439531" y="17907"/>
                </a:lnTo>
                <a:lnTo>
                  <a:pt x="425614" y="13035"/>
                </a:lnTo>
                <a:lnTo>
                  <a:pt x="184267" y="13035"/>
                </a:lnTo>
                <a:lnTo>
                  <a:pt x="171926" y="12906"/>
                </a:lnTo>
                <a:close/>
              </a:path>
              <a:path w="887729" h="855345">
                <a:moveTo>
                  <a:pt x="336915" y="0"/>
                </a:moveTo>
                <a:lnTo>
                  <a:pt x="313243" y="890"/>
                </a:lnTo>
                <a:lnTo>
                  <a:pt x="289655" y="2746"/>
                </a:lnTo>
                <a:lnTo>
                  <a:pt x="207766" y="11660"/>
                </a:lnTo>
                <a:lnTo>
                  <a:pt x="196072" y="12700"/>
                </a:lnTo>
                <a:lnTo>
                  <a:pt x="184267" y="13035"/>
                </a:lnTo>
                <a:lnTo>
                  <a:pt x="425614" y="13035"/>
                </a:lnTo>
                <a:lnTo>
                  <a:pt x="414549" y="9161"/>
                </a:lnTo>
                <a:lnTo>
                  <a:pt x="388937" y="3571"/>
                </a:lnTo>
                <a:lnTo>
                  <a:pt x="362967" y="672"/>
                </a:lnTo>
                <a:lnTo>
                  <a:pt x="336915" y="0"/>
                </a:lnTo>
                <a:close/>
              </a:path>
            </a:pathLst>
          </a:custGeom>
          <a:solidFill>
            <a:srgbClr val="F7A0A0"/>
          </a:solidFill>
        </p:spPr>
        <p:txBody>
          <a:bodyPr wrap="square" lIns="0" tIns="0" rIns="0" bIns="0" rtlCol="0"/>
          <a:lstStyle/>
          <a:p>
            <a:endParaRPr/>
          </a:p>
        </p:txBody>
      </p:sp>
      <p:sp>
        <p:nvSpPr>
          <p:cNvPr id="9" name="object 9"/>
          <p:cNvSpPr/>
          <p:nvPr/>
        </p:nvSpPr>
        <p:spPr>
          <a:xfrm>
            <a:off x="8881871" y="4250435"/>
            <a:ext cx="1378585" cy="1468755"/>
          </a:xfrm>
          <a:custGeom>
            <a:avLst/>
            <a:gdLst/>
            <a:ahLst/>
            <a:cxnLst/>
            <a:rect l="l" t="t" r="r" b="b"/>
            <a:pathLst>
              <a:path w="1378584" h="1468754">
                <a:moveTo>
                  <a:pt x="662558" y="0"/>
                </a:moveTo>
                <a:lnTo>
                  <a:pt x="398399" y="194563"/>
                </a:lnTo>
                <a:lnTo>
                  <a:pt x="424545" y="241120"/>
                </a:lnTo>
                <a:lnTo>
                  <a:pt x="450085" y="288838"/>
                </a:lnTo>
                <a:lnTo>
                  <a:pt x="475189" y="337279"/>
                </a:lnTo>
                <a:lnTo>
                  <a:pt x="524776" y="434566"/>
                </a:lnTo>
                <a:lnTo>
                  <a:pt x="549601" y="482533"/>
                </a:lnTo>
                <a:lnTo>
                  <a:pt x="574675" y="529463"/>
                </a:lnTo>
                <a:lnTo>
                  <a:pt x="529544" y="551884"/>
                </a:lnTo>
                <a:lnTo>
                  <a:pt x="489950" y="583485"/>
                </a:lnTo>
                <a:lnTo>
                  <a:pt x="454713" y="621063"/>
                </a:lnTo>
                <a:lnTo>
                  <a:pt x="422655" y="661415"/>
                </a:lnTo>
                <a:lnTo>
                  <a:pt x="388018" y="694086"/>
                </a:lnTo>
                <a:lnTo>
                  <a:pt x="347392" y="715422"/>
                </a:lnTo>
                <a:lnTo>
                  <a:pt x="303123" y="732424"/>
                </a:lnTo>
                <a:lnTo>
                  <a:pt x="257555" y="752094"/>
                </a:lnTo>
                <a:lnTo>
                  <a:pt x="206398" y="776120"/>
                </a:lnTo>
                <a:lnTo>
                  <a:pt x="155594" y="796507"/>
                </a:lnTo>
                <a:lnTo>
                  <a:pt x="52925" y="833508"/>
                </a:lnTo>
                <a:lnTo>
                  <a:pt x="0" y="853694"/>
                </a:lnTo>
                <a:lnTo>
                  <a:pt x="28980" y="867210"/>
                </a:lnTo>
                <a:lnTo>
                  <a:pt x="71426" y="879715"/>
                </a:lnTo>
                <a:lnTo>
                  <a:pt x="121633" y="891202"/>
                </a:lnTo>
                <a:lnTo>
                  <a:pt x="222503" y="911097"/>
                </a:lnTo>
                <a:lnTo>
                  <a:pt x="277453" y="923337"/>
                </a:lnTo>
                <a:lnTo>
                  <a:pt x="332628" y="939291"/>
                </a:lnTo>
                <a:lnTo>
                  <a:pt x="385827" y="960104"/>
                </a:lnTo>
                <a:lnTo>
                  <a:pt x="434848" y="986916"/>
                </a:lnTo>
                <a:lnTo>
                  <a:pt x="479419" y="1019305"/>
                </a:lnTo>
                <a:lnTo>
                  <a:pt x="521192" y="1055338"/>
                </a:lnTo>
                <a:lnTo>
                  <a:pt x="560845" y="1093894"/>
                </a:lnTo>
                <a:lnTo>
                  <a:pt x="599058" y="1133855"/>
                </a:lnTo>
                <a:lnTo>
                  <a:pt x="631904" y="1169528"/>
                </a:lnTo>
                <a:lnTo>
                  <a:pt x="664311" y="1205592"/>
                </a:lnTo>
                <a:lnTo>
                  <a:pt x="696275" y="1242043"/>
                </a:lnTo>
                <a:lnTo>
                  <a:pt x="727790" y="1278879"/>
                </a:lnTo>
                <a:lnTo>
                  <a:pt x="758852" y="1316095"/>
                </a:lnTo>
                <a:lnTo>
                  <a:pt x="789455" y="1353688"/>
                </a:lnTo>
                <a:lnTo>
                  <a:pt x="819594" y="1391654"/>
                </a:lnTo>
                <a:lnTo>
                  <a:pt x="849263" y="1429990"/>
                </a:lnTo>
                <a:lnTo>
                  <a:pt x="878458" y="1468691"/>
                </a:lnTo>
                <a:lnTo>
                  <a:pt x="957312" y="1407382"/>
                </a:lnTo>
                <a:lnTo>
                  <a:pt x="1035484" y="1345203"/>
                </a:lnTo>
                <a:lnTo>
                  <a:pt x="1112961" y="1282157"/>
                </a:lnTo>
                <a:lnTo>
                  <a:pt x="1189730" y="1218249"/>
                </a:lnTo>
                <a:lnTo>
                  <a:pt x="1265775" y="1153483"/>
                </a:lnTo>
                <a:lnTo>
                  <a:pt x="1341084" y="1087863"/>
                </a:lnTo>
                <a:lnTo>
                  <a:pt x="1378457" y="1054735"/>
                </a:lnTo>
                <a:lnTo>
                  <a:pt x="1345717" y="1022863"/>
                </a:lnTo>
                <a:lnTo>
                  <a:pt x="1314622" y="988186"/>
                </a:lnTo>
                <a:lnTo>
                  <a:pt x="1284137" y="952505"/>
                </a:lnTo>
                <a:lnTo>
                  <a:pt x="1253225" y="917615"/>
                </a:lnTo>
                <a:lnTo>
                  <a:pt x="1220851" y="885316"/>
                </a:lnTo>
                <a:lnTo>
                  <a:pt x="1182579" y="849177"/>
                </a:lnTo>
                <a:lnTo>
                  <a:pt x="1145797" y="811532"/>
                </a:lnTo>
                <a:lnTo>
                  <a:pt x="1110552" y="772450"/>
                </a:lnTo>
                <a:lnTo>
                  <a:pt x="1076892" y="731999"/>
                </a:lnTo>
                <a:lnTo>
                  <a:pt x="1044864" y="690249"/>
                </a:lnTo>
                <a:lnTo>
                  <a:pt x="1014516" y="647269"/>
                </a:lnTo>
                <a:lnTo>
                  <a:pt x="985895" y="603125"/>
                </a:lnTo>
                <a:lnTo>
                  <a:pt x="959049" y="557889"/>
                </a:lnTo>
                <a:lnTo>
                  <a:pt x="934025" y="511628"/>
                </a:lnTo>
                <a:lnTo>
                  <a:pt x="910871" y="464410"/>
                </a:lnTo>
                <a:lnTo>
                  <a:pt x="889634" y="416306"/>
                </a:lnTo>
                <a:lnTo>
                  <a:pt x="870033" y="367214"/>
                </a:lnTo>
                <a:lnTo>
                  <a:pt x="851197" y="317515"/>
                </a:lnTo>
                <a:lnTo>
                  <a:pt x="832212" y="267841"/>
                </a:lnTo>
                <a:lnTo>
                  <a:pt x="812164" y="218820"/>
                </a:lnTo>
                <a:lnTo>
                  <a:pt x="790140" y="171086"/>
                </a:lnTo>
                <a:lnTo>
                  <a:pt x="765226" y="125269"/>
                </a:lnTo>
                <a:lnTo>
                  <a:pt x="736508" y="82000"/>
                </a:lnTo>
                <a:lnTo>
                  <a:pt x="703072" y="41909"/>
                </a:lnTo>
                <a:lnTo>
                  <a:pt x="672318" y="10013"/>
                </a:lnTo>
                <a:lnTo>
                  <a:pt x="662558" y="0"/>
                </a:lnTo>
                <a:close/>
              </a:path>
            </a:pathLst>
          </a:custGeom>
          <a:solidFill>
            <a:srgbClr val="F9C5C2"/>
          </a:solidFill>
        </p:spPr>
        <p:txBody>
          <a:bodyPr wrap="square" lIns="0" tIns="0" rIns="0" bIns="0" rtlCol="0"/>
          <a:lstStyle/>
          <a:p>
            <a:endParaRPr/>
          </a:p>
        </p:txBody>
      </p:sp>
      <p:sp>
        <p:nvSpPr>
          <p:cNvPr id="10" name="object 10"/>
          <p:cNvSpPr/>
          <p:nvPr/>
        </p:nvSpPr>
        <p:spPr>
          <a:xfrm>
            <a:off x="9502140" y="4992623"/>
            <a:ext cx="2346960" cy="1865630"/>
          </a:xfrm>
          <a:custGeom>
            <a:avLst/>
            <a:gdLst/>
            <a:ahLst/>
            <a:cxnLst/>
            <a:rect l="l" t="t" r="r" b="b"/>
            <a:pathLst>
              <a:path w="2346959" h="1865629">
                <a:moveTo>
                  <a:pt x="561212" y="0"/>
                </a:moveTo>
                <a:lnTo>
                  <a:pt x="0" y="485647"/>
                </a:lnTo>
                <a:lnTo>
                  <a:pt x="1203939" y="1865372"/>
                </a:lnTo>
                <a:lnTo>
                  <a:pt x="2346687" y="1865372"/>
                </a:lnTo>
                <a:lnTo>
                  <a:pt x="570102" y="10287"/>
                </a:lnTo>
                <a:lnTo>
                  <a:pt x="561212" y="0"/>
                </a:lnTo>
                <a:close/>
              </a:path>
            </a:pathLst>
          </a:custGeom>
          <a:solidFill>
            <a:srgbClr val="00D1D0"/>
          </a:solidFill>
        </p:spPr>
        <p:txBody>
          <a:bodyPr wrap="square" lIns="0" tIns="0" rIns="0" bIns="0" rtlCol="0"/>
          <a:lstStyle/>
          <a:p>
            <a:endParaRPr/>
          </a:p>
        </p:txBody>
      </p:sp>
      <p:sp>
        <p:nvSpPr>
          <p:cNvPr id="11" name="object 11"/>
          <p:cNvSpPr/>
          <p:nvPr/>
        </p:nvSpPr>
        <p:spPr>
          <a:xfrm>
            <a:off x="9432418" y="4936281"/>
            <a:ext cx="652145" cy="580390"/>
          </a:xfrm>
          <a:custGeom>
            <a:avLst/>
            <a:gdLst/>
            <a:ahLst/>
            <a:cxnLst/>
            <a:rect l="l" t="t" r="r" b="b"/>
            <a:pathLst>
              <a:path w="652145" h="580389">
                <a:moveTo>
                  <a:pt x="599717" y="0"/>
                </a:moveTo>
                <a:lnTo>
                  <a:pt x="553337" y="25735"/>
                </a:lnTo>
                <a:lnTo>
                  <a:pt x="32129" y="477474"/>
                </a:lnTo>
                <a:lnTo>
                  <a:pt x="5443" y="507589"/>
                </a:lnTo>
                <a:lnTo>
                  <a:pt x="0" y="519783"/>
                </a:lnTo>
                <a:lnTo>
                  <a:pt x="1141" y="527893"/>
                </a:lnTo>
                <a:lnTo>
                  <a:pt x="44194" y="577677"/>
                </a:lnTo>
                <a:lnTo>
                  <a:pt x="52115" y="580044"/>
                </a:lnTo>
                <a:lnTo>
                  <a:pt x="64990" y="576423"/>
                </a:lnTo>
                <a:lnTo>
                  <a:pt x="98550" y="554309"/>
                </a:lnTo>
                <a:lnTo>
                  <a:pt x="619758" y="102570"/>
                </a:lnTo>
                <a:lnTo>
                  <a:pt x="646428" y="72503"/>
                </a:lnTo>
                <a:lnTo>
                  <a:pt x="651833" y="60315"/>
                </a:lnTo>
                <a:lnTo>
                  <a:pt x="650619" y="52151"/>
                </a:lnTo>
                <a:lnTo>
                  <a:pt x="607566" y="2367"/>
                </a:lnTo>
                <a:lnTo>
                  <a:pt x="599717" y="0"/>
                </a:lnTo>
                <a:close/>
              </a:path>
            </a:pathLst>
          </a:custGeom>
          <a:solidFill>
            <a:srgbClr val="15626B"/>
          </a:solidFill>
        </p:spPr>
        <p:txBody>
          <a:bodyPr wrap="square" lIns="0" tIns="0" rIns="0" bIns="0" rtlCol="0"/>
          <a:lstStyle/>
          <a:p>
            <a:endParaRPr/>
          </a:p>
        </p:txBody>
      </p:sp>
      <p:sp>
        <p:nvSpPr>
          <p:cNvPr id="12" name="object 12"/>
          <p:cNvSpPr/>
          <p:nvPr/>
        </p:nvSpPr>
        <p:spPr>
          <a:xfrm>
            <a:off x="9171431" y="2106167"/>
            <a:ext cx="715645" cy="1560830"/>
          </a:xfrm>
          <a:custGeom>
            <a:avLst/>
            <a:gdLst/>
            <a:ahLst/>
            <a:cxnLst/>
            <a:rect l="l" t="t" r="r" b="b"/>
            <a:pathLst>
              <a:path w="715645" h="1560829">
                <a:moveTo>
                  <a:pt x="705795" y="193040"/>
                </a:moveTo>
                <a:lnTo>
                  <a:pt x="425576" y="193040"/>
                </a:lnTo>
                <a:lnTo>
                  <a:pt x="498445" y="195292"/>
                </a:lnTo>
                <a:lnTo>
                  <a:pt x="538273" y="223154"/>
                </a:lnTo>
                <a:lnTo>
                  <a:pt x="558292" y="270891"/>
                </a:lnTo>
                <a:lnTo>
                  <a:pt x="564873" y="340671"/>
                </a:lnTo>
                <a:lnTo>
                  <a:pt x="568453" y="407519"/>
                </a:lnTo>
                <a:lnTo>
                  <a:pt x="569184" y="471494"/>
                </a:lnTo>
                <a:lnTo>
                  <a:pt x="567222" y="532655"/>
                </a:lnTo>
                <a:lnTo>
                  <a:pt x="562721" y="591059"/>
                </a:lnTo>
                <a:lnTo>
                  <a:pt x="555834" y="646767"/>
                </a:lnTo>
                <a:lnTo>
                  <a:pt x="546717" y="699837"/>
                </a:lnTo>
                <a:lnTo>
                  <a:pt x="535523" y="750327"/>
                </a:lnTo>
                <a:lnTo>
                  <a:pt x="522407" y="798296"/>
                </a:lnTo>
                <a:lnTo>
                  <a:pt x="507523" y="843803"/>
                </a:lnTo>
                <a:lnTo>
                  <a:pt x="491026" y="886908"/>
                </a:lnTo>
                <a:lnTo>
                  <a:pt x="473069" y="927667"/>
                </a:lnTo>
                <a:lnTo>
                  <a:pt x="453808" y="966142"/>
                </a:lnTo>
                <a:lnTo>
                  <a:pt x="433396" y="1002389"/>
                </a:lnTo>
                <a:lnTo>
                  <a:pt x="411988" y="1036468"/>
                </a:lnTo>
                <a:lnTo>
                  <a:pt x="389737" y="1068438"/>
                </a:lnTo>
                <a:lnTo>
                  <a:pt x="343327" y="1126285"/>
                </a:lnTo>
                <a:lnTo>
                  <a:pt x="295401" y="1176401"/>
                </a:lnTo>
                <a:lnTo>
                  <a:pt x="187791" y="1263848"/>
                </a:lnTo>
                <a:lnTo>
                  <a:pt x="93075" y="1319530"/>
                </a:lnTo>
                <a:lnTo>
                  <a:pt x="25671" y="1348922"/>
                </a:lnTo>
                <a:lnTo>
                  <a:pt x="0" y="1357503"/>
                </a:lnTo>
                <a:lnTo>
                  <a:pt x="27050" y="1560703"/>
                </a:lnTo>
                <a:lnTo>
                  <a:pt x="79259" y="1534070"/>
                </a:lnTo>
                <a:lnTo>
                  <a:pt x="128873" y="1506235"/>
                </a:lnTo>
                <a:lnTo>
                  <a:pt x="175962" y="1477281"/>
                </a:lnTo>
                <a:lnTo>
                  <a:pt x="220599" y="1447292"/>
                </a:lnTo>
                <a:lnTo>
                  <a:pt x="584215" y="1035131"/>
                </a:lnTo>
                <a:lnTo>
                  <a:pt x="714279" y="598789"/>
                </a:lnTo>
                <a:lnTo>
                  <a:pt x="715518" y="252910"/>
                </a:lnTo>
                <a:lnTo>
                  <a:pt x="705795" y="193040"/>
                </a:lnTo>
                <a:close/>
              </a:path>
              <a:path w="715645" h="1560829">
                <a:moveTo>
                  <a:pt x="548132" y="0"/>
                </a:moveTo>
                <a:lnTo>
                  <a:pt x="108203" y="114427"/>
                </a:lnTo>
                <a:lnTo>
                  <a:pt x="152908" y="264033"/>
                </a:lnTo>
                <a:lnTo>
                  <a:pt x="425576" y="193040"/>
                </a:lnTo>
                <a:lnTo>
                  <a:pt x="705795" y="193040"/>
                </a:lnTo>
                <a:lnTo>
                  <a:pt x="692658" y="112141"/>
                </a:lnTo>
                <a:lnTo>
                  <a:pt x="657645" y="46827"/>
                </a:lnTo>
                <a:lnTo>
                  <a:pt x="609346" y="13588"/>
                </a:lnTo>
                <a:lnTo>
                  <a:pt x="566570" y="1591"/>
                </a:lnTo>
                <a:lnTo>
                  <a:pt x="548132" y="0"/>
                </a:lnTo>
                <a:close/>
              </a:path>
            </a:pathLst>
          </a:custGeom>
          <a:solidFill>
            <a:srgbClr val="F7946C"/>
          </a:solidFill>
        </p:spPr>
        <p:txBody>
          <a:bodyPr wrap="square" lIns="0" tIns="0" rIns="0" bIns="0" rtlCol="0"/>
          <a:lstStyle/>
          <a:p>
            <a:endParaRPr/>
          </a:p>
        </p:txBody>
      </p:sp>
      <p:sp>
        <p:nvSpPr>
          <p:cNvPr id="13" name="object 13"/>
          <p:cNvSpPr/>
          <p:nvPr/>
        </p:nvSpPr>
        <p:spPr>
          <a:xfrm>
            <a:off x="9171431" y="3282696"/>
            <a:ext cx="295275" cy="383540"/>
          </a:xfrm>
          <a:custGeom>
            <a:avLst/>
            <a:gdLst/>
            <a:ahLst/>
            <a:cxnLst/>
            <a:rect l="l" t="t" r="r" b="b"/>
            <a:pathLst>
              <a:path w="295275" h="383539">
                <a:moveTo>
                  <a:pt x="295021" y="0"/>
                </a:moveTo>
                <a:lnTo>
                  <a:pt x="187523" y="87260"/>
                </a:lnTo>
                <a:lnTo>
                  <a:pt x="92932" y="142779"/>
                </a:lnTo>
                <a:lnTo>
                  <a:pt x="25630" y="172057"/>
                </a:lnTo>
                <a:lnTo>
                  <a:pt x="0" y="180593"/>
                </a:lnTo>
                <a:lnTo>
                  <a:pt x="27050" y="383285"/>
                </a:lnTo>
                <a:lnTo>
                  <a:pt x="79164" y="356693"/>
                </a:lnTo>
                <a:lnTo>
                  <a:pt x="128682" y="328945"/>
                </a:lnTo>
                <a:lnTo>
                  <a:pt x="175676" y="300079"/>
                </a:lnTo>
                <a:lnTo>
                  <a:pt x="220218" y="270128"/>
                </a:lnTo>
                <a:lnTo>
                  <a:pt x="236280" y="227153"/>
                </a:lnTo>
                <a:lnTo>
                  <a:pt x="250843" y="183246"/>
                </a:lnTo>
                <a:lnTo>
                  <a:pt x="263953" y="138493"/>
                </a:lnTo>
                <a:lnTo>
                  <a:pt x="275655" y="92978"/>
                </a:lnTo>
                <a:lnTo>
                  <a:pt x="285996" y="46785"/>
                </a:lnTo>
                <a:lnTo>
                  <a:pt x="295021" y="0"/>
                </a:lnTo>
                <a:close/>
              </a:path>
            </a:pathLst>
          </a:custGeom>
          <a:solidFill>
            <a:srgbClr val="F36C3A"/>
          </a:solidFill>
        </p:spPr>
        <p:txBody>
          <a:bodyPr wrap="square" lIns="0" tIns="0" rIns="0" bIns="0" rtlCol="0"/>
          <a:lstStyle/>
          <a:p>
            <a:endParaRPr/>
          </a:p>
        </p:txBody>
      </p:sp>
      <p:sp>
        <p:nvSpPr>
          <p:cNvPr id="14" name="object 14"/>
          <p:cNvSpPr/>
          <p:nvPr/>
        </p:nvSpPr>
        <p:spPr>
          <a:xfrm>
            <a:off x="9279635" y="2182367"/>
            <a:ext cx="173863" cy="188341"/>
          </a:xfrm>
          <a:prstGeom prst="rect">
            <a:avLst/>
          </a:prstGeom>
          <a:blipFill>
            <a:blip r:embed="rId2" cstate="print"/>
            <a:stretch>
              <a:fillRect/>
            </a:stretch>
          </a:blipFill>
        </p:spPr>
        <p:txBody>
          <a:bodyPr wrap="square" lIns="0" tIns="0" rIns="0" bIns="0" rtlCol="0"/>
          <a:lstStyle/>
          <a:p>
            <a:endParaRPr/>
          </a:p>
        </p:txBody>
      </p:sp>
      <p:sp>
        <p:nvSpPr>
          <p:cNvPr id="15" name="object 15"/>
          <p:cNvSpPr/>
          <p:nvPr/>
        </p:nvSpPr>
        <p:spPr>
          <a:xfrm>
            <a:off x="7310165" y="2599944"/>
            <a:ext cx="1288415" cy="1226185"/>
          </a:xfrm>
          <a:custGeom>
            <a:avLst/>
            <a:gdLst/>
            <a:ahLst/>
            <a:cxnLst/>
            <a:rect l="l" t="t" r="r" b="b"/>
            <a:pathLst>
              <a:path w="1288415" h="1226185">
                <a:moveTo>
                  <a:pt x="511891" y="0"/>
                </a:moveTo>
                <a:lnTo>
                  <a:pt x="72598" y="114553"/>
                </a:lnTo>
                <a:lnTo>
                  <a:pt x="57304" y="124936"/>
                </a:lnTo>
                <a:lnTo>
                  <a:pt x="25878" y="156273"/>
                </a:lnTo>
                <a:lnTo>
                  <a:pt x="0" y="208851"/>
                </a:lnTo>
                <a:lnTo>
                  <a:pt x="1351" y="282955"/>
                </a:lnTo>
                <a:lnTo>
                  <a:pt x="47630" y="411297"/>
                </a:lnTo>
                <a:lnTo>
                  <a:pt x="208424" y="702563"/>
                </a:lnTo>
                <a:lnTo>
                  <a:pt x="516665" y="1016119"/>
                </a:lnTo>
                <a:lnTo>
                  <a:pt x="1005286" y="1211325"/>
                </a:lnTo>
                <a:lnTo>
                  <a:pt x="1049377" y="1217220"/>
                </a:lnTo>
                <a:lnTo>
                  <a:pt x="1094661" y="1221655"/>
                </a:lnTo>
                <a:lnTo>
                  <a:pt x="1141144" y="1224565"/>
                </a:lnTo>
                <a:lnTo>
                  <a:pt x="1188834" y="1225888"/>
                </a:lnTo>
                <a:lnTo>
                  <a:pt x="1237737" y="1225560"/>
                </a:lnTo>
                <a:lnTo>
                  <a:pt x="1287861" y="1223517"/>
                </a:lnTo>
                <a:lnTo>
                  <a:pt x="1217406" y="1045781"/>
                </a:lnTo>
                <a:lnTo>
                  <a:pt x="1093170" y="1045781"/>
                </a:lnTo>
                <a:lnTo>
                  <a:pt x="964015" y="1038248"/>
                </a:lnTo>
                <a:lnTo>
                  <a:pt x="806023" y="1000378"/>
                </a:lnTo>
                <a:lnTo>
                  <a:pt x="740581" y="974510"/>
                </a:lnTo>
                <a:lnTo>
                  <a:pt x="673567" y="940990"/>
                </a:lnTo>
                <a:lnTo>
                  <a:pt x="639703" y="921083"/>
                </a:lnTo>
                <a:lnTo>
                  <a:pt x="605725" y="898930"/>
                </a:lnTo>
                <a:lnTo>
                  <a:pt x="571724" y="874419"/>
                </a:lnTo>
                <a:lnTo>
                  <a:pt x="537795" y="847440"/>
                </a:lnTo>
                <a:lnTo>
                  <a:pt x="504029" y="817881"/>
                </a:lnTo>
                <a:lnTo>
                  <a:pt x="470520" y="785632"/>
                </a:lnTo>
                <a:lnTo>
                  <a:pt x="437360" y="750581"/>
                </a:lnTo>
                <a:lnTo>
                  <a:pt x="404643" y="712617"/>
                </a:lnTo>
                <a:lnTo>
                  <a:pt x="372460" y="671629"/>
                </a:lnTo>
                <a:lnTo>
                  <a:pt x="340904" y="627507"/>
                </a:lnTo>
                <a:lnTo>
                  <a:pt x="310069" y="580138"/>
                </a:lnTo>
                <a:lnTo>
                  <a:pt x="280047" y="529412"/>
                </a:lnTo>
                <a:lnTo>
                  <a:pt x="250931" y="475218"/>
                </a:lnTo>
                <a:lnTo>
                  <a:pt x="222814" y="417445"/>
                </a:lnTo>
                <a:lnTo>
                  <a:pt x="195788" y="355980"/>
                </a:lnTo>
                <a:lnTo>
                  <a:pt x="189993" y="304593"/>
                </a:lnTo>
                <a:lnTo>
                  <a:pt x="211165" y="260879"/>
                </a:lnTo>
                <a:lnTo>
                  <a:pt x="273639" y="223392"/>
                </a:lnTo>
                <a:lnTo>
                  <a:pt x="545800" y="152400"/>
                </a:lnTo>
                <a:lnTo>
                  <a:pt x="511891" y="0"/>
                </a:lnTo>
                <a:close/>
              </a:path>
              <a:path w="1288415" h="1226185">
                <a:moveTo>
                  <a:pt x="1212296" y="1032890"/>
                </a:moveTo>
                <a:lnTo>
                  <a:pt x="1180320" y="1038740"/>
                </a:lnTo>
                <a:lnTo>
                  <a:pt x="1093170" y="1045781"/>
                </a:lnTo>
                <a:lnTo>
                  <a:pt x="1217406" y="1045781"/>
                </a:lnTo>
                <a:lnTo>
                  <a:pt x="1212296" y="1032890"/>
                </a:lnTo>
                <a:close/>
              </a:path>
            </a:pathLst>
          </a:custGeom>
          <a:solidFill>
            <a:srgbClr val="F7946C"/>
          </a:solidFill>
        </p:spPr>
        <p:txBody>
          <a:bodyPr wrap="square" lIns="0" tIns="0" rIns="0" bIns="0" rtlCol="0"/>
          <a:lstStyle/>
          <a:p>
            <a:endParaRPr/>
          </a:p>
        </p:txBody>
      </p:sp>
      <p:sp>
        <p:nvSpPr>
          <p:cNvPr id="16" name="object 16"/>
          <p:cNvSpPr/>
          <p:nvPr/>
        </p:nvSpPr>
        <p:spPr>
          <a:xfrm>
            <a:off x="7636764" y="2599944"/>
            <a:ext cx="219582" cy="19710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8116823" y="3599688"/>
            <a:ext cx="480695" cy="226060"/>
          </a:xfrm>
          <a:custGeom>
            <a:avLst/>
            <a:gdLst/>
            <a:ahLst/>
            <a:cxnLst/>
            <a:rect l="l" t="t" r="r" b="b"/>
            <a:pathLst>
              <a:path w="480695" h="226060">
                <a:moveTo>
                  <a:pt x="0" y="0"/>
                </a:moveTo>
                <a:lnTo>
                  <a:pt x="30938" y="38486"/>
                </a:lnTo>
                <a:lnTo>
                  <a:pt x="62653" y="75701"/>
                </a:lnTo>
                <a:lnTo>
                  <a:pt x="95345" y="111760"/>
                </a:lnTo>
                <a:lnTo>
                  <a:pt x="128947" y="146463"/>
                </a:lnTo>
                <a:lnTo>
                  <a:pt x="163459" y="179693"/>
                </a:lnTo>
                <a:lnTo>
                  <a:pt x="198881" y="211328"/>
                </a:lnTo>
                <a:lnTo>
                  <a:pt x="242890" y="217213"/>
                </a:lnTo>
                <a:lnTo>
                  <a:pt x="288059" y="221624"/>
                </a:lnTo>
                <a:lnTo>
                  <a:pt x="334406" y="224504"/>
                </a:lnTo>
                <a:lnTo>
                  <a:pt x="381950" y="225796"/>
                </a:lnTo>
                <a:lnTo>
                  <a:pt x="430706" y="225444"/>
                </a:lnTo>
                <a:lnTo>
                  <a:pt x="480695" y="223393"/>
                </a:lnTo>
                <a:lnTo>
                  <a:pt x="410466" y="45513"/>
                </a:lnTo>
                <a:lnTo>
                  <a:pt x="286559" y="45513"/>
                </a:lnTo>
                <a:lnTo>
                  <a:pt x="157692" y="37943"/>
                </a:lnTo>
                <a:lnTo>
                  <a:pt x="0" y="0"/>
                </a:lnTo>
                <a:close/>
              </a:path>
              <a:path w="480695" h="226060">
                <a:moveTo>
                  <a:pt x="405383" y="32638"/>
                </a:moveTo>
                <a:lnTo>
                  <a:pt x="373493" y="38486"/>
                </a:lnTo>
                <a:lnTo>
                  <a:pt x="286559" y="45513"/>
                </a:lnTo>
                <a:lnTo>
                  <a:pt x="410466" y="45513"/>
                </a:lnTo>
                <a:lnTo>
                  <a:pt x="405383" y="32638"/>
                </a:lnTo>
                <a:close/>
              </a:path>
            </a:pathLst>
          </a:custGeom>
          <a:solidFill>
            <a:srgbClr val="F36C3A"/>
          </a:solidFill>
        </p:spPr>
        <p:txBody>
          <a:bodyPr wrap="square" lIns="0" tIns="0" rIns="0" bIns="0" rtlCol="0"/>
          <a:lstStyle/>
          <a:p>
            <a:endParaRPr/>
          </a:p>
        </p:txBody>
      </p:sp>
      <p:sp>
        <p:nvSpPr>
          <p:cNvPr id="18" name="object 18"/>
          <p:cNvSpPr/>
          <p:nvPr/>
        </p:nvSpPr>
        <p:spPr>
          <a:xfrm>
            <a:off x="7648067" y="1869948"/>
            <a:ext cx="1778635" cy="2152650"/>
          </a:xfrm>
          <a:custGeom>
            <a:avLst/>
            <a:gdLst/>
            <a:ahLst/>
            <a:cxnLst/>
            <a:rect l="l" t="t" r="r" b="b"/>
            <a:pathLst>
              <a:path w="1778634" h="2152650">
                <a:moveTo>
                  <a:pt x="1517650" y="0"/>
                </a:moveTo>
                <a:lnTo>
                  <a:pt x="78612" y="374650"/>
                </a:lnTo>
                <a:lnTo>
                  <a:pt x="30210" y="412622"/>
                </a:lnTo>
                <a:lnTo>
                  <a:pt x="2049" y="458339"/>
                </a:lnTo>
                <a:lnTo>
                  <a:pt x="0" y="520318"/>
                </a:lnTo>
                <a:lnTo>
                  <a:pt x="67123" y="746615"/>
                </a:lnTo>
                <a:lnTo>
                  <a:pt x="273431" y="1257030"/>
                </a:lnTo>
                <a:lnTo>
                  <a:pt x="626328" y="1798853"/>
                </a:lnTo>
                <a:lnTo>
                  <a:pt x="1133221" y="2119376"/>
                </a:lnTo>
                <a:lnTo>
                  <a:pt x="1171955" y="2136647"/>
                </a:lnTo>
                <a:lnTo>
                  <a:pt x="1229280" y="2151919"/>
                </a:lnTo>
                <a:lnTo>
                  <a:pt x="1258913" y="2152507"/>
                </a:lnTo>
                <a:lnTo>
                  <a:pt x="1288414" y="2148332"/>
                </a:lnTo>
                <a:lnTo>
                  <a:pt x="1348898" y="2131476"/>
                </a:lnTo>
                <a:lnTo>
                  <a:pt x="1405239" y="2093638"/>
                </a:lnTo>
                <a:lnTo>
                  <a:pt x="1448561" y="2037207"/>
                </a:lnTo>
                <a:lnTo>
                  <a:pt x="1734609" y="1510254"/>
                </a:lnTo>
                <a:lnTo>
                  <a:pt x="1778222" y="865203"/>
                </a:lnTo>
                <a:lnTo>
                  <a:pt x="1709201" y="319045"/>
                </a:lnTo>
                <a:lnTo>
                  <a:pt x="1657350" y="88773"/>
                </a:lnTo>
                <a:lnTo>
                  <a:pt x="1625288" y="35736"/>
                </a:lnTo>
                <a:lnTo>
                  <a:pt x="1578403" y="9572"/>
                </a:lnTo>
                <a:lnTo>
                  <a:pt x="1536066" y="815"/>
                </a:lnTo>
                <a:lnTo>
                  <a:pt x="1517650" y="0"/>
                </a:lnTo>
                <a:close/>
              </a:path>
            </a:pathLst>
          </a:custGeom>
          <a:solidFill>
            <a:srgbClr val="F7946C"/>
          </a:solidFill>
        </p:spPr>
        <p:txBody>
          <a:bodyPr wrap="square" lIns="0" tIns="0" rIns="0" bIns="0" rtlCol="0"/>
          <a:lstStyle/>
          <a:p>
            <a:endParaRPr/>
          </a:p>
        </p:txBody>
      </p:sp>
      <p:sp>
        <p:nvSpPr>
          <p:cNvPr id="19" name="object 19"/>
          <p:cNvSpPr/>
          <p:nvPr/>
        </p:nvSpPr>
        <p:spPr>
          <a:xfrm>
            <a:off x="8985504" y="3080004"/>
            <a:ext cx="237109" cy="266192"/>
          </a:xfrm>
          <a:prstGeom prst="rect">
            <a:avLst/>
          </a:prstGeom>
          <a:blipFill>
            <a:blip r:embed="rId4" cstate="print"/>
            <a:stretch>
              <a:fillRect/>
            </a:stretch>
          </a:blipFill>
        </p:spPr>
        <p:txBody>
          <a:bodyPr wrap="square" lIns="0" tIns="0" rIns="0" bIns="0" rtlCol="0"/>
          <a:lstStyle/>
          <a:p>
            <a:endParaRPr/>
          </a:p>
        </p:txBody>
      </p:sp>
      <p:sp>
        <p:nvSpPr>
          <p:cNvPr id="20" name="object 20"/>
          <p:cNvSpPr/>
          <p:nvPr/>
        </p:nvSpPr>
        <p:spPr>
          <a:xfrm>
            <a:off x="7535771" y="1753713"/>
            <a:ext cx="1859280" cy="757555"/>
          </a:xfrm>
          <a:custGeom>
            <a:avLst/>
            <a:gdLst/>
            <a:ahLst/>
            <a:cxnLst/>
            <a:rect l="l" t="t" r="r" b="b"/>
            <a:pathLst>
              <a:path w="1859279" h="757555">
                <a:moveTo>
                  <a:pt x="1737647" y="0"/>
                </a:moveTo>
                <a:lnTo>
                  <a:pt x="1696874" y="2188"/>
                </a:lnTo>
                <a:lnTo>
                  <a:pt x="75973" y="424082"/>
                </a:lnTo>
                <a:lnTo>
                  <a:pt x="39298" y="441993"/>
                </a:lnTo>
                <a:lnTo>
                  <a:pt x="13172" y="471644"/>
                </a:lnTo>
                <a:lnTo>
                  <a:pt x="0" y="508914"/>
                </a:lnTo>
                <a:lnTo>
                  <a:pt x="2186" y="549685"/>
                </a:lnTo>
                <a:lnTo>
                  <a:pt x="36603" y="681511"/>
                </a:lnTo>
                <a:lnTo>
                  <a:pt x="54532" y="718185"/>
                </a:lnTo>
                <a:lnTo>
                  <a:pt x="84212" y="744297"/>
                </a:lnTo>
                <a:lnTo>
                  <a:pt x="121489" y="757431"/>
                </a:lnTo>
                <a:lnTo>
                  <a:pt x="162206" y="755171"/>
                </a:lnTo>
                <a:lnTo>
                  <a:pt x="1783234" y="333277"/>
                </a:lnTo>
                <a:lnTo>
                  <a:pt x="1819909" y="315368"/>
                </a:lnTo>
                <a:lnTo>
                  <a:pt x="1846036" y="285732"/>
                </a:lnTo>
                <a:lnTo>
                  <a:pt x="1859208" y="248499"/>
                </a:lnTo>
                <a:lnTo>
                  <a:pt x="1857021" y="207801"/>
                </a:lnTo>
                <a:lnTo>
                  <a:pt x="1822604" y="75848"/>
                </a:lnTo>
                <a:lnTo>
                  <a:pt x="1804620" y="39246"/>
                </a:lnTo>
                <a:lnTo>
                  <a:pt x="1774932" y="13158"/>
                </a:lnTo>
                <a:lnTo>
                  <a:pt x="1737647" y="0"/>
                </a:lnTo>
                <a:close/>
              </a:path>
            </a:pathLst>
          </a:custGeom>
          <a:solidFill>
            <a:srgbClr val="F36C3A"/>
          </a:solidFill>
        </p:spPr>
        <p:txBody>
          <a:bodyPr wrap="square" lIns="0" tIns="0" rIns="0" bIns="0" rtlCol="0"/>
          <a:lstStyle/>
          <a:p>
            <a:endParaRPr/>
          </a:p>
        </p:txBody>
      </p:sp>
      <p:sp>
        <p:nvSpPr>
          <p:cNvPr id="21" name="object 21"/>
          <p:cNvSpPr/>
          <p:nvPr/>
        </p:nvSpPr>
        <p:spPr>
          <a:xfrm>
            <a:off x="8804147" y="3820667"/>
            <a:ext cx="671195" cy="1797685"/>
          </a:xfrm>
          <a:custGeom>
            <a:avLst/>
            <a:gdLst/>
            <a:ahLst/>
            <a:cxnLst/>
            <a:rect l="l" t="t" r="r" b="b"/>
            <a:pathLst>
              <a:path w="671195" h="1797685">
                <a:moveTo>
                  <a:pt x="217170" y="0"/>
                </a:moveTo>
                <a:lnTo>
                  <a:pt x="0" y="56514"/>
                </a:lnTo>
                <a:lnTo>
                  <a:pt x="453644" y="1797291"/>
                </a:lnTo>
                <a:lnTo>
                  <a:pt x="670686" y="1740788"/>
                </a:lnTo>
                <a:lnTo>
                  <a:pt x="217170" y="0"/>
                </a:lnTo>
                <a:close/>
              </a:path>
            </a:pathLst>
          </a:custGeom>
          <a:solidFill>
            <a:srgbClr val="F7946C"/>
          </a:solidFill>
        </p:spPr>
        <p:txBody>
          <a:bodyPr wrap="square" lIns="0" tIns="0" rIns="0" bIns="0" rtlCol="0"/>
          <a:lstStyle/>
          <a:p>
            <a:endParaRPr/>
          </a:p>
        </p:txBody>
      </p:sp>
      <p:sp>
        <p:nvSpPr>
          <p:cNvPr id="22" name="object 22"/>
          <p:cNvSpPr/>
          <p:nvPr/>
        </p:nvSpPr>
        <p:spPr>
          <a:xfrm>
            <a:off x="8584692" y="5076444"/>
            <a:ext cx="1583055" cy="1101725"/>
          </a:xfrm>
          <a:custGeom>
            <a:avLst/>
            <a:gdLst/>
            <a:ahLst/>
            <a:cxnLst/>
            <a:rect l="l" t="t" r="r" b="b"/>
            <a:pathLst>
              <a:path w="1583054" h="1101725">
                <a:moveTo>
                  <a:pt x="1389887" y="0"/>
                </a:moveTo>
                <a:lnTo>
                  <a:pt x="0" y="361949"/>
                </a:lnTo>
                <a:lnTo>
                  <a:pt x="192658" y="1101280"/>
                </a:lnTo>
                <a:lnTo>
                  <a:pt x="1582547" y="739305"/>
                </a:lnTo>
                <a:lnTo>
                  <a:pt x="1389887" y="0"/>
                </a:lnTo>
                <a:close/>
              </a:path>
            </a:pathLst>
          </a:custGeom>
          <a:solidFill>
            <a:srgbClr val="5F57A6"/>
          </a:solidFill>
        </p:spPr>
        <p:txBody>
          <a:bodyPr wrap="square" lIns="0" tIns="0" rIns="0" bIns="0" rtlCol="0"/>
          <a:lstStyle/>
          <a:p>
            <a:endParaRPr/>
          </a:p>
        </p:txBody>
      </p:sp>
      <p:sp>
        <p:nvSpPr>
          <p:cNvPr id="23" name="object 23"/>
          <p:cNvSpPr/>
          <p:nvPr/>
        </p:nvSpPr>
        <p:spPr>
          <a:xfrm>
            <a:off x="8653271" y="5672328"/>
            <a:ext cx="1607820" cy="530225"/>
          </a:xfrm>
          <a:custGeom>
            <a:avLst/>
            <a:gdLst/>
            <a:ahLst/>
            <a:cxnLst/>
            <a:rect l="l" t="t" r="r" b="b"/>
            <a:pathLst>
              <a:path w="1607820" h="530225">
                <a:moveTo>
                  <a:pt x="1576451" y="0"/>
                </a:moveTo>
                <a:lnTo>
                  <a:pt x="0" y="410806"/>
                </a:lnTo>
                <a:lnTo>
                  <a:pt x="30987" y="529615"/>
                </a:lnTo>
                <a:lnTo>
                  <a:pt x="1607438" y="118808"/>
                </a:lnTo>
                <a:lnTo>
                  <a:pt x="1576451" y="0"/>
                </a:lnTo>
                <a:close/>
              </a:path>
            </a:pathLst>
          </a:custGeom>
          <a:solidFill>
            <a:srgbClr val="403A96"/>
          </a:solidFill>
        </p:spPr>
        <p:txBody>
          <a:bodyPr wrap="square" lIns="0" tIns="0" rIns="0" bIns="0" rtlCol="0"/>
          <a:lstStyle/>
          <a:p>
            <a:endParaRPr/>
          </a:p>
        </p:txBody>
      </p:sp>
      <p:sp>
        <p:nvSpPr>
          <p:cNvPr id="24" name="object 24"/>
          <p:cNvSpPr/>
          <p:nvPr/>
        </p:nvSpPr>
        <p:spPr>
          <a:xfrm>
            <a:off x="8887968" y="5303520"/>
            <a:ext cx="960119" cy="581025"/>
          </a:xfrm>
          <a:custGeom>
            <a:avLst/>
            <a:gdLst/>
            <a:ahLst/>
            <a:cxnLst/>
            <a:rect l="l" t="t" r="r" b="b"/>
            <a:pathLst>
              <a:path w="960120" h="581025">
                <a:moveTo>
                  <a:pt x="867155" y="0"/>
                </a:moveTo>
                <a:lnTo>
                  <a:pt x="0" y="226059"/>
                </a:lnTo>
                <a:lnTo>
                  <a:pt x="92328" y="580656"/>
                </a:lnTo>
                <a:lnTo>
                  <a:pt x="959611" y="354647"/>
                </a:lnTo>
                <a:lnTo>
                  <a:pt x="867155" y="0"/>
                </a:lnTo>
                <a:close/>
              </a:path>
            </a:pathLst>
          </a:custGeom>
          <a:solidFill>
            <a:srgbClr val="EDF4D4"/>
          </a:solidFill>
        </p:spPr>
        <p:txBody>
          <a:bodyPr wrap="square" lIns="0" tIns="0" rIns="0" bIns="0" rtlCol="0"/>
          <a:lstStyle/>
          <a:p>
            <a:endParaRPr/>
          </a:p>
        </p:txBody>
      </p:sp>
      <p:sp>
        <p:nvSpPr>
          <p:cNvPr id="25" name="object 25"/>
          <p:cNvSpPr/>
          <p:nvPr/>
        </p:nvSpPr>
        <p:spPr>
          <a:xfrm>
            <a:off x="8909304" y="5081015"/>
            <a:ext cx="716915" cy="267335"/>
          </a:xfrm>
          <a:custGeom>
            <a:avLst/>
            <a:gdLst/>
            <a:ahLst/>
            <a:cxnLst/>
            <a:rect l="l" t="t" r="r" b="b"/>
            <a:pathLst>
              <a:path w="716915" h="267335">
                <a:moveTo>
                  <a:pt x="694690" y="0"/>
                </a:moveTo>
                <a:lnTo>
                  <a:pt x="0" y="181863"/>
                </a:lnTo>
                <a:lnTo>
                  <a:pt x="22098" y="267334"/>
                </a:lnTo>
                <a:lnTo>
                  <a:pt x="716788" y="85343"/>
                </a:lnTo>
                <a:lnTo>
                  <a:pt x="694690" y="0"/>
                </a:lnTo>
                <a:close/>
              </a:path>
            </a:pathLst>
          </a:custGeom>
          <a:solidFill>
            <a:srgbClr val="F36C3A"/>
          </a:solidFill>
        </p:spPr>
        <p:txBody>
          <a:bodyPr wrap="square" lIns="0" tIns="0" rIns="0" bIns="0" rtlCol="0"/>
          <a:lstStyle/>
          <a:p>
            <a:endParaRPr/>
          </a:p>
        </p:txBody>
      </p:sp>
      <p:sp>
        <p:nvSpPr>
          <p:cNvPr id="26" name="object 26"/>
          <p:cNvSpPr/>
          <p:nvPr/>
        </p:nvSpPr>
        <p:spPr>
          <a:xfrm>
            <a:off x="8945880" y="4732020"/>
            <a:ext cx="311785" cy="521970"/>
          </a:xfrm>
          <a:custGeom>
            <a:avLst/>
            <a:gdLst/>
            <a:ahLst/>
            <a:cxnLst/>
            <a:rect l="l" t="t" r="r" b="b"/>
            <a:pathLst>
              <a:path w="311784" h="521970">
                <a:moveTo>
                  <a:pt x="196723" y="0"/>
                </a:moveTo>
                <a:lnTo>
                  <a:pt x="87884" y="28320"/>
                </a:lnTo>
                <a:lnTo>
                  <a:pt x="106406" y="97037"/>
                </a:lnTo>
                <a:lnTo>
                  <a:pt x="129952" y="252682"/>
                </a:lnTo>
                <a:lnTo>
                  <a:pt x="110493" y="419494"/>
                </a:lnTo>
                <a:lnTo>
                  <a:pt x="0" y="521715"/>
                </a:lnTo>
                <a:lnTo>
                  <a:pt x="311785" y="440689"/>
                </a:lnTo>
                <a:lnTo>
                  <a:pt x="196723" y="0"/>
                </a:lnTo>
                <a:close/>
              </a:path>
            </a:pathLst>
          </a:custGeom>
          <a:solidFill>
            <a:srgbClr val="F7946C"/>
          </a:solidFill>
        </p:spPr>
        <p:txBody>
          <a:bodyPr wrap="square" lIns="0" tIns="0" rIns="0" bIns="0" rtlCol="0"/>
          <a:lstStyle/>
          <a:p>
            <a:endParaRPr/>
          </a:p>
        </p:txBody>
      </p:sp>
      <p:sp>
        <p:nvSpPr>
          <p:cNvPr id="27" name="object 27"/>
          <p:cNvSpPr/>
          <p:nvPr/>
        </p:nvSpPr>
        <p:spPr>
          <a:xfrm>
            <a:off x="9142476" y="4704588"/>
            <a:ext cx="426084" cy="468630"/>
          </a:xfrm>
          <a:custGeom>
            <a:avLst/>
            <a:gdLst/>
            <a:ahLst/>
            <a:cxnLst/>
            <a:rect l="l" t="t" r="r" b="b"/>
            <a:pathLst>
              <a:path w="426084" h="468629">
                <a:moveTo>
                  <a:pt x="108584" y="0"/>
                </a:moveTo>
                <a:lnTo>
                  <a:pt x="0" y="28193"/>
                </a:lnTo>
                <a:lnTo>
                  <a:pt x="114680" y="468122"/>
                </a:lnTo>
                <a:lnTo>
                  <a:pt x="425576" y="387095"/>
                </a:lnTo>
                <a:lnTo>
                  <a:pt x="279713" y="351740"/>
                </a:lnTo>
                <a:lnTo>
                  <a:pt x="181451" y="215884"/>
                </a:lnTo>
                <a:lnTo>
                  <a:pt x="126003" y="68859"/>
                </a:lnTo>
                <a:lnTo>
                  <a:pt x="108584" y="0"/>
                </a:lnTo>
                <a:close/>
              </a:path>
            </a:pathLst>
          </a:custGeom>
          <a:solidFill>
            <a:srgbClr val="F7946C"/>
          </a:solidFill>
        </p:spPr>
        <p:txBody>
          <a:bodyPr wrap="square" lIns="0" tIns="0" rIns="0" bIns="0" rtlCol="0"/>
          <a:lstStyle/>
          <a:p>
            <a:endParaRPr/>
          </a:p>
        </p:txBody>
      </p:sp>
      <p:sp>
        <p:nvSpPr>
          <p:cNvPr id="28" name="object 28"/>
          <p:cNvSpPr/>
          <p:nvPr/>
        </p:nvSpPr>
        <p:spPr>
          <a:xfrm>
            <a:off x="9005316" y="1872995"/>
            <a:ext cx="187451" cy="187959"/>
          </a:xfrm>
          <a:prstGeom prst="rect">
            <a:avLst/>
          </a:prstGeom>
          <a:blipFill>
            <a:blip r:embed="rId5" cstate="print"/>
            <a:stretch>
              <a:fillRect/>
            </a:stretch>
          </a:blipFill>
        </p:spPr>
        <p:txBody>
          <a:bodyPr wrap="square" lIns="0" tIns="0" rIns="0" bIns="0" rtlCol="0"/>
          <a:lstStyle/>
          <a:p>
            <a:endParaRPr/>
          </a:p>
        </p:txBody>
      </p:sp>
      <p:sp>
        <p:nvSpPr>
          <p:cNvPr id="29" name="object 29"/>
          <p:cNvSpPr/>
          <p:nvPr/>
        </p:nvSpPr>
        <p:spPr>
          <a:xfrm>
            <a:off x="8874252" y="1905000"/>
            <a:ext cx="104267" cy="104139"/>
          </a:xfrm>
          <a:prstGeom prst="rect">
            <a:avLst/>
          </a:prstGeom>
          <a:blipFill>
            <a:blip r:embed="rId6" cstate="print"/>
            <a:stretch>
              <a:fillRect/>
            </a:stretch>
          </a:blipFill>
        </p:spPr>
        <p:txBody>
          <a:bodyPr wrap="square" lIns="0" tIns="0" rIns="0" bIns="0" rtlCol="0"/>
          <a:lstStyle/>
          <a:p>
            <a:endParaRPr/>
          </a:p>
        </p:txBody>
      </p:sp>
      <p:sp>
        <p:nvSpPr>
          <p:cNvPr id="30" name="object 30"/>
          <p:cNvSpPr/>
          <p:nvPr/>
        </p:nvSpPr>
        <p:spPr>
          <a:xfrm>
            <a:off x="7947659" y="2375916"/>
            <a:ext cx="1083945" cy="1597025"/>
          </a:xfrm>
          <a:custGeom>
            <a:avLst/>
            <a:gdLst/>
            <a:ahLst/>
            <a:cxnLst/>
            <a:rect l="l" t="t" r="r" b="b"/>
            <a:pathLst>
              <a:path w="1083945" h="1597025">
                <a:moveTo>
                  <a:pt x="258953" y="0"/>
                </a:moveTo>
                <a:lnTo>
                  <a:pt x="0" y="67563"/>
                </a:lnTo>
                <a:lnTo>
                  <a:pt x="14271" y="241008"/>
                </a:lnTo>
                <a:lnTo>
                  <a:pt x="47402" y="410225"/>
                </a:lnTo>
                <a:lnTo>
                  <a:pt x="80867" y="538605"/>
                </a:lnTo>
                <a:lnTo>
                  <a:pt x="96139" y="589534"/>
                </a:lnTo>
                <a:lnTo>
                  <a:pt x="376050" y="1114796"/>
                </a:lnTo>
                <a:lnTo>
                  <a:pt x="701611" y="1420066"/>
                </a:lnTo>
                <a:lnTo>
                  <a:pt x="971355" y="1561816"/>
                </a:lnTo>
                <a:lnTo>
                  <a:pt x="1083818" y="1596517"/>
                </a:lnTo>
                <a:lnTo>
                  <a:pt x="616586" y="1197256"/>
                </a:lnTo>
                <a:lnTo>
                  <a:pt x="370633" y="665099"/>
                </a:lnTo>
                <a:lnTo>
                  <a:pt x="275056" y="199520"/>
                </a:lnTo>
                <a:lnTo>
                  <a:pt x="258953" y="0"/>
                </a:lnTo>
                <a:close/>
              </a:path>
            </a:pathLst>
          </a:custGeom>
          <a:solidFill>
            <a:srgbClr val="FBCFB7"/>
          </a:solidFill>
        </p:spPr>
        <p:txBody>
          <a:bodyPr wrap="square" lIns="0" tIns="0" rIns="0" bIns="0" rtlCol="0"/>
          <a:lstStyle/>
          <a:p>
            <a:endParaRPr/>
          </a:p>
        </p:txBody>
      </p:sp>
      <p:sp>
        <p:nvSpPr>
          <p:cNvPr id="31" name="object 31"/>
          <p:cNvSpPr/>
          <p:nvPr/>
        </p:nvSpPr>
        <p:spPr>
          <a:xfrm>
            <a:off x="8468359" y="4240784"/>
            <a:ext cx="511175" cy="243840"/>
          </a:xfrm>
          <a:custGeom>
            <a:avLst/>
            <a:gdLst/>
            <a:ahLst/>
            <a:cxnLst/>
            <a:rect l="l" t="t" r="r" b="b"/>
            <a:pathLst>
              <a:path w="511175" h="243839">
                <a:moveTo>
                  <a:pt x="400939" y="0"/>
                </a:moveTo>
                <a:lnTo>
                  <a:pt x="81407" y="45593"/>
                </a:lnTo>
                <a:lnTo>
                  <a:pt x="18272" y="83010"/>
                </a:lnTo>
                <a:lnTo>
                  <a:pt x="0" y="154051"/>
                </a:lnTo>
                <a:lnTo>
                  <a:pt x="1143" y="162433"/>
                </a:lnTo>
                <a:lnTo>
                  <a:pt x="13928" y="198247"/>
                </a:lnTo>
                <a:lnTo>
                  <a:pt x="38608" y="225520"/>
                </a:lnTo>
                <a:lnTo>
                  <a:pt x="71687" y="241621"/>
                </a:lnTo>
                <a:lnTo>
                  <a:pt x="109600" y="243840"/>
                </a:lnTo>
                <a:lnTo>
                  <a:pt x="429315" y="198227"/>
                </a:lnTo>
                <a:lnTo>
                  <a:pt x="465054" y="185477"/>
                </a:lnTo>
                <a:lnTo>
                  <a:pt x="492347" y="160766"/>
                </a:lnTo>
                <a:lnTo>
                  <a:pt x="508448" y="127648"/>
                </a:lnTo>
                <a:lnTo>
                  <a:pt x="510667" y="89662"/>
                </a:lnTo>
                <a:lnTo>
                  <a:pt x="509524" y="81407"/>
                </a:lnTo>
                <a:lnTo>
                  <a:pt x="496754" y="45559"/>
                </a:lnTo>
                <a:lnTo>
                  <a:pt x="472043" y="18272"/>
                </a:lnTo>
                <a:lnTo>
                  <a:pt x="438925" y="2200"/>
                </a:lnTo>
                <a:lnTo>
                  <a:pt x="400939" y="0"/>
                </a:lnTo>
                <a:close/>
              </a:path>
            </a:pathLst>
          </a:custGeom>
          <a:solidFill>
            <a:srgbClr val="F9C5C2"/>
          </a:solidFill>
        </p:spPr>
        <p:txBody>
          <a:bodyPr wrap="square" lIns="0" tIns="0" rIns="0" bIns="0" rtlCol="0"/>
          <a:lstStyle/>
          <a:p>
            <a:endParaRPr/>
          </a:p>
        </p:txBody>
      </p:sp>
      <p:sp>
        <p:nvSpPr>
          <p:cNvPr id="32" name="object 32"/>
          <p:cNvSpPr/>
          <p:nvPr/>
        </p:nvSpPr>
        <p:spPr>
          <a:xfrm>
            <a:off x="8532818" y="4427164"/>
            <a:ext cx="572135" cy="287655"/>
          </a:xfrm>
          <a:custGeom>
            <a:avLst/>
            <a:gdLst/>
            <a:ahLst/>
            <a:cxnLst/>
            <a:rect l="l" t="t" r="r" b="b"/>
            <a:pathLst>
              <a:path w="572134" h="287654">
                <a:moveTo>
                  <a:pt x="489245" y="0"/>
                </a:moveTo>
                <a:lnTo>
                  <a:pt x="449256" y="1198"/>
                </a:lnTo>
                <a:lnTo>
                  <a:pt x="76384" y="88828"/>
                </a:lnTo>
                <a:lnTo>
                  <a:pt x="40080" y="105548"/>
                </a:lnTo>
                <a:lnTo>
                  <a:pt x="13789" y="134008"/>
                </a:lnTo>
                <a:lnTo>
                  <a:pt x="0" y="170231"/>
                </a:lnTo>
                <a:lnTo>
                  <a:pt x="1200" y="210240"/>
                </a:lnTo>
                <a:lnTo>
                  <a:pt x="1327" y="210621"/>
                </a:lnTo>
                <a:lnTo>
                  <a:pt x="17972" y="246999"/>
                </a:lnTo>
                <a:lnTo>
                  <a:pt x="46380" y="273327"/>
                </a:lnTo>
                <a:lnTo>
                  <a:pt x="82551" y="287131"/>
                </a:lnTo>
                <a:lnTo>
                  <a:pt x="122485" y="285932"/>
                </a:lnTo>
                <a:lnTo>
                  <a:pt x="495484" y="198429"/>
                </a:lnTo>
                <a:lnTo>
                  <a:pt x="531770" y="181689"/>
                </a:lnTo>
                <a:lnTo>
                  <a:pt x="558032" y="153185"/>
                </a:lnTo>
                <a:lnTo>
                  <a:pt x="571815" y="116919"/>
                </a:lnTo>
                <a:lnTo>
                  <a:pt x="570668" y="76890"/>
                </a:lnTo>
                <a:lnTo>
                  <a:pt x="570541" y="76509"/>
                </a:lnTo>
                <a:lnTo>
                  <a:pt x="553841" y="40131"/>
                </a:lnTo>
                <a:lnTo>
                  <a:pt x="525424" y="13803"/>
                </a:lnTo>
                <a:lnTo>
                  <a:pt x="489245" y="0"/>
                </a:lnTo>
                <a:close/>
              </a:path>
            </a:pathLst>
          </a:custGeom>
          <a:solidFill>
            <a:srgbClr val="F9C5C2"/>
          </a:solidFill>
        </p:spPr>
        <p:txBody>
          <a:bodyPr wrap="square" lIns="0" tIns="0" rIns="0" bIns="0" rtlCol="0"/>
          <a:lstStyle/>
          <a:p>
            <a:endParaRPr/>
          </a:p>
        </p:txBody>
      </p:sp>
      <p:sp>
        <p:nvSpPr>
          <p:cNvPr id="33" name="object 33"/>
          <p:cNvSpPr/>
          <p:nvPr/>
        </p:nvSpPr>
        <p:spPr>
          <a:xfrm>
            <a:off x="8645797" y="4617862"/>
            <a:ext cx="553720" cy="330835"/>
          </a:xfrm>
          <a:custGeom>
            <a:avLst/>
            <a:gdLst/>
            <a:ahLst/>
            <a:cxnLst/>
            <a:rect l="l" t="t" r="r" b="b"/>
            <a:pathLst>
              <a:path w="553720" h="330835">
                <a:moveTo>
                  <a:pt x="459275" y="0"/>
                </a:moveTo>
                <a:lnTo>
                  <a:pt x="62847" y="135747"/>
                </a:lnTo>
                <a:lnTo>
                  <a:pt x="8919" y="185086"/>
                </a:lnTo>
                <a:lnTo>
                  <a:pt x="0" y="220614"/>
                </a:lnTo>
                <a:lnTo>
                  <a:pt x="5570" y="258048"/>
                </a:lnTo>
                <a:lnTo>
                  <a:pt x="9253" y="268081"/>
                </a:lnTo>
                <a:lnTo>
                  <a:pt x="29009" y="300297"/>
                </a:lnTo>
                <a:lnTo>
                  <a:pt x="58719" y="321786"/>
                </a:lnTo>
                <a:lnTo>
                  <a:pt x="94335" y="330678"/>
                </a:lnTo>
                <a:lnTo>
                  <a:pt x="131808" y="325104"/>
                </a:lnTo>
                <a:lnTo>
                  <a:pt x="490710" y="194929"/>
                </a:lnTo>
                <a:lnTo>
                  <a:pt x="523091" y="175214"/>
                </a:lnTo>
                <a:lnTo>
                  <a:pt x="544685" y="145605"/>
                </a:lnTo>
                <a:lnTo>
                  <a:pt x="553610" y="110114"/>
                </a:lnTo>
                <a:lnTo>
                  <a:pt x="547987" y="72755"/>
                </a:lnTo>
                <a:lnTo>
                  <a:pt x="544304" y="62722"/>
                </a:lnTo>
                <a:lnTo>
                  <a:pt x="524565" y="30432"/>
                </a:lnTo>
                <a:lnTo>
                  <a:pt x="494885" y="8905"/>
                </a:lnTo>
                <a:lnTo>
                  <a:pt x="459275" y="0"/>
                </a:lnTo>
                <a:close/>
              </a:path>
            </a:pathLst>
          </a:custGeom>
          <a:solidFill>
            <a:srgbClr val="F9C5C2"/>
          </a:solidFill>
        </p:spPr>
        <p:txBody>
          <a:bodyPr wrap="square" lIns="0" tIns="0" rIns="0" bIns="0" rtlCol="0"/>
          <a:lstStyle/>
          <a:p>
            <a:endParaRPr/>
          </a:p>
        </p:txBody>
      </p:sp>
      <p:sp>
        <p:nvSpPr>
          <p:cNvPr id="34" name="object 34"/>
          <p:cNvSpPr/>
          <p:nvPr/>
        </p:nvSpPr>
        <p:spPr>
          <a:xfrm>
            <a:off x="8787542" y="4840382"/>
            <a:ext cx="437515" cy="268605"/>
          </a:xfrm>
          <a:custGeom>
            <a:avLst/>
            <a:gdLst/>
            <a:ahLst/>
            <a:cxnLst/>
            <a:rect l="l" t="t" r="r" b="b"/>
            <a:pathLst>
              <a:path w="437515" h="268604">
                <a:moveTo>
                  <a:pt x="359027" y="0"/>
                </a:moveTo>
                <a:lnTo>
                  <a:pt x="51149" y="105378"/>
                </a:lnTo>
                <a:lnTo>
                  <a:pt x="7270" y="145605"/>
                </a:lnTo>
                <a:lnTo>
                  <a:pt x="0" y="174565"/>
                </a:lnTo>
                <a:lnTo>
                  <a:pt x="4540" y="205073"/>
                </a:lnTo>
                <a:lnTo>
                  <a:pt x="8858" y="217011"/>
                </a:lnTo>
                <a:lnTo>
                  <a:pt x="24935" y="243331"/>
                </a:lnTo>
                <a:lnTo>
                  <a:pt x="49085" y="260889"/>
                </a:lnTo>
                <a:lnTo>
                  <a:pt x="78045" y="268160"/>
                </a:lnTo>
                <a:lnTo>
                  <a:pt x="108553" y="263620"/>
                </a:lnTo>
                <a:lnTo>
                  <a:pt x="386048" y="162782"/>
                </a:lnTo>
                <a:lnTo>
                  <a:pt x="412367" y="146684"/>
                </a:lnTo>
                <a:lnTo>
                  <a:pt x="429910" y="122491"/>
                </a:lnTo>
                <a:lnTo>
                  <a:pt x="437143" y="93487"/>
                </a:lnTo>
                <a:lnTo>
                  <a:pt x="432530" y="62960"/>
                </a:lnTo>
                <a:lnTo>
                  <a:pt x="428339" y="51149"/>
                </a:lnTo>
                <a:lnTo>
                  <a:pt x="412188" y="24828"/>
                </a:lnTo>
                <a:lnTo>
                  <a:pt x="388000" y="7270"/>
                </a:lnTo>
                <a:lnTo>
                  <a:pt x="359027" y="0"/>
                </a:lnTo>
                <a:close/>
              </a:path>
            </a:pathLst>
          </a:custGeom>
          <a:solidFill>
            <a:srgbClr val="F9C5C2"/>
          </a:solidFill>
        </p:spPr>
        <p:txBody>
          <a:bodyPr wrap="square" lIns="0" tIns="0" rIns="0" bIns="0" rtlCol="0"/>
          <a:lstStyle/>
          <a:p>
            <a:endParaRPr/>
          </a:p>
        </p:txBody>
      </p:sp>
      <p:sp>
        <p:nvSpPr>
          <p:cNvPr id="35" name="object 35"/>
          <p:cNvSpPr/>
          <p:nvPr/>
        </p:nvSpPr>
        <p:spPr>
          <a:xfrm>
            <a:off x="8816720" y="4273296"/>
            <a:ext cx="132722" cy="141986"/>
          </a:xfrm>
          <a:prstGeom prst="rect">
            <a:avLst/>
          </a:prstGeom>
          <a:blipFill>
            <a:blip r:embed="rId7" cstate="print"/>
            <a:stretch>
              <a:fillRect/>
            </a:stretch>
          </a:blipFill>
        </p:spPr>
        <p:txBody>
          <a:bodyPr wrap="square" lIns="0" tIns="0" rIns="0" bIns="0" rtlCol="0"/>
          <a:lstStyle/>
          <a:p>
            <a:endParaRPr/>
          </a:p>
        </p:txBody>
      </p:sp>
      <p:sp>
        <p:nvSpPr>
          <p:cNvPr id="36" name="object 36"/>
          <p:cNvSpPr/>
          <p:nvPr/>
        </p:nvSpPr>
        <p:spPr>
          <a:xfrm>
            <a:off x="8939910" y="4451723"/>
            <a:ext cx="134588" cy="144914"/>
          </a:xfrm>
          <a:prstGeom prst="rect">
            <a:avLst/>
          </a:prstGeom>
          <a:blipFill>
            <a:blip r:embed="rId8" cstate="print"/>
            <a:stretch>
              <a:fillRect/>
            </a:stretch>
          </a:blipFill>
        </p:spPr>
        <p:txBody>
          <a:bodyPr wrap="square" lIns="0" tIns="0" rIns="0" bIns="0" rtlCol="0"/>
          <a:lstStyle/>
          <a:p>
            <a:endParaRPr/>
          </a:p>
        </p:txBody>
      </p:sp>
      <p:sp>
        <p:nvSpPr>
          <p:cNvPr id="37" name="object 37"/>
          <p:cNvSpPr/>
          <p:nvPr/>
        </p:nvSpPr>
        <p:spPr>
          <a:xfrm>
            <a:off x="9028141" y="4660679"/>
            <a:ext cx="140273" cy="147869"/>
          </a:xfrm>
          <a:prstGeom prst="rect">
            <a:avLst/>
          </a:prstGeom>
          <a:blipFill>
            <a:blip r:embed="rId9" cstate="print"/>
            <a:stretch>
              <a:fillRect/>
            </a:stretch>
          </a:blipFill>
        </p:spPr>
        <p:txBody>
          <a:bodyPr wrap="square" lIns="0" tIns="0" rIns="0" bIns="0" rtlCol="0"/>
          <a:lstStyle/>
          <a:p>
            <a:endParaRPr/>
          </a:p>
        </p:txBody>
      </p:sp>
      <p:sp>
        <p:nvSpPr>
          <p:cNvPr id="38" name="object 38"/>
          <p:cNvSpPr/>
          <p:nvPr/>
        </p:nvSpPr>
        <p:spPr>
          <a:xfrm>
            <a:off x="9056751" y="4875484"/>
            <a:ext cx="124047" cy="130474"/>
          </a:xfrm>
          <a:prstGeom prst="rect">
            <a:avLst/>
          </a:prstGeom>
          <a:blipFill>
            <a:blip r:embed="rId10" cstate="print"/>
            <a:stretch>
              <a:fillRect/>
            </a:stretch>
          </a:blipFill>
        </p:spPr>
        <p:txBody>
          <a:bodyPr wrap="square" lIns="0" tIns="0" rIns="0" bIns="0" rtlCol="0"/>
          <a:lstStyle/>
          <a:p>
            <a:endParaRPr/>
          </a:p>
        </p:txBody>
      </p:sp>
      <p:sp>
        <p:nvSpPr>
          <p:cNvPr id="39" name="object 39"/>
          <p:cNvSpPr/>
          <p:nvPr/>
        </p:nvSpPr>
        <p:spPr>
          <a:xfrm>
            <a:off x="8750784" y="3913679"/>
            <a:ext cx="799465" cy="535940"/>
          </a:xfrm>
          <a:custGeom>
            <a:avLst/>
            <a:gdLst/>
            <a:ahLst/>
            <a:cxnLst/>
            <a:rect l="l" t="t" r="r" b="b"/>
            <a:pathLst>
              <a:path w="799465" h="535939">
                <a:moveTo>
                  <a:pt x="26947" y="0"/>
                </a:moveTo>
                <a:lnTo>
                  <a:pt x="0" y="32567"/>
                </a:lnTo>
                <a:lnTo>
                  <a:pt x="531" y="43259"/>
                </a:lnTo>
                <a:lnTo>
                  <a:pt x="10520" y="91680"/>
                </a:lnTo>
                <a:lnTo>
                  <a:pt x="29336" y="137335"/>
                </a:lnTo>
                <a:lnTo>
                  <a:pt x="55935" y="179076"/>
                </a:lnTo>
                <a:lnTo>
                  <a:pt x="89270" y="215754"/>
                </a:lnTo>
                <a:lnTo>
                  <a:pt x="128294" y="246220"/>
                </a:lnTo>
                <a:lnTo>
                  <a:pt x="171961" y="269326"/>
                </a:lnTo>
                <a:lnTo>
                  <a:pt x="219225" y="283924"/>
                </a:lnTo>
                <a:lnTo>
                  <a:pt x="267723" y="291322"/>
                </a:lnTo>
                <a:lnTo>
                  <a:pt x="291931" y="295140"/>
                </a:lnTo>
                <a:lnTo>
                  <a:pt x="345565" y="312691"/>
                </a:lnTo>
                <a:lnTo>
                  <a:pt x="398631" y="349017"/>
                </a:lnTo>
                <a:lnTo>
                  <a:pt x="442487" y="396224"/>
                </a:lnTo>
                <a:lnTo>
                  <a:pt x="479706" y="448833"/>
                </a:lnTo>
                <a:lnTo>
                  <a:pt x="506362" y="490666"/>
                </a:lnTo>
                <a:lnTo>
                  <a:pt x="533169" y="535511"/>
                </a:lnTo>
                <a:lnTo>
                  <a:pt x="798980" y="340820"/>
                </a:lnTo>
                <a:lnTo>
                  <a:pt x="764168" y="306019"/>
                </a:lnTo>
                <a:lnTo>
                  <a:pt x="728420" y="271920"/>
                </a:lnTo>
                <a:lnTo>
                  <a:pt x="691713" y="238823"/>
                </a:lnTo>
                <a:lnTo>
                  <a:pt x="654022" y="207028"/>
                </a:lnTo>
                <a:lnTo>
                  <a:pt x="615321" y="176834"/>
                </a:lnTo>
                <a:lnTo>
                  <a:pt x="575587" y="148542"/>
                </a:lnTo>
                <a:lnTo>
                  <a:pt x="538922" y="124551"/>
                </a:lnTo>
                <a:lnTo>
                  <a:pt x="501054" y="102536"/>
                </a:lnTo>
                <a:lnTo>
                  <a:pt x="461591" y="84284"/>
                </a:lnTo>
                <a:lnTo>
                  <a:pt x="420139" y="71580"/>
                </a:lnTo>
                <a:lnTo>
                  <a:pt x="381498" y="65835"/>
                </a:lnTo>
                <a:lnTo>
                  <a:pt x="342368" y="63626"/>
                </a:lnTo>
                <a:lnTo>
                  <a:pt x="303071" y="62347"/>
                </a:lnTo>
                <a:lnTo>
                  <a:pt x="263929" y="59388"/>
                </a:lnTo>
                <a:lnTo>
                  <a:pt x="219342" y="51357"/>
                </a:lnTo>
                <a:lnTo>
                  <a:pt x="175517" y="39584"/>
                </a:lnTo>
                <a:lnTo>
                  <a:pt x="88446" y="12879"/>
                </a:lnTo>
                <a:lnTo>
                  <a:pt x="44346" y="1984"/>
                </a:lnTo>
                <a:lnTo>
                  <a:pt x="35683" y="509"/>
                </a:lnTo>
                <a:lnTo>
                  <a:pt x="26947" y="0"/>
                </a:lnTo>
                <a:close/>
              </a:path>
            </a:pathLst>
          </a:custGeom>
          <a:solidFill>
            <a:srgbClr val="F9C5C2"/>
          </a:solidFill>
        </p:spPr>
        <p:txBody>
          <a:bodyPr wrap="square" lIns="0" tIns="0" rIns="0" bIns="0" rtlCol="0"/>
          <a:lstStyle/>
          <a:p>
            <a:endParaRPr/>
          </a:p>
        </p:txBody>
      </p:sp>
      <p:sp>
        <p:nvSpPr>
          <p:cNvPr id="40" name="object 40"/>
          <p:cNvSpPr/>
          <p:nvPr/>
        </p:nvSpPr>
        <p:spPr>
          <a:xfrm>
            <a:off x="8764523" y="3921759"/>
            <a:ext cx="147574" cy="110743"/>
          </a:xfrm>
          <a:prstGeom prst="rect">
            <a:avLst/>
          </a:prstGeom>
          <a:blipFill>
            <a:blip r:embed="rId11" cstate="print"/>
            <a:stretch>
              <a:fillRect/>
            </a:stretch>
          </a:blipFill>
        </p:spPr>
        <p:txBody>
          <a:bodyPr wrap="square" lIns="0" tIns="0" rIns="0" bIns="0" rtlCol="0"/>
          <a:lstStyle/>
          <a:p>
            <a:endParaRPr/>
          </a:p>
        </p:txBody>
      </p:sp>
      <p:sp>
        <p:nvSpPr>
          <p:cNvPr id="41" name="object 41"/>
          <p:cNvSpPr/>
          <p:nvPr/>
        </p:nvSpPr>
        <p:spPr>
          <a:xfrm>
            <a:off x="6780148" y="800988"/>
            <a:ext cx="237490" cy="237616"/>
          </a:xfrm>
          <a:prstGeom prst="rect">
            <a:avLst/>
          </a:prstGeom>
          <a:blipFill>
            <a:blip r:embed="rId12" cstate="print"/>
            <a:stretch>
              <a:fillRect/>
            </a:stretch>
          </a:blipFill>
        </p:spPr>
        <p:txBody>
          <a:bodyPr wrap="square" lIns="0" tIns="0" rIns="0" bIns="0" rtlCol="0"/>
          <a:lstStyle/>
          <a:p>
            <a:endParaRPr/>
          </a:p>
        </p:txBody>
      </p:sp>
      <p:sp>
        <p:nvSpPr>
          <p:cNvPr id="42" name="object 42"/>
          <p:cNvSpPr/>
          <p:nvPr/>
        </p:nvSpPr>
        <p:spPr>
          <a:xfrm>
            <a:off x="7286370" y="444373"/>
            <a:ext cx="144145" cy="144144"/>
          </a:xfrm>
          <a:prstGeom prst="rect">
            <a:avLst/>
          </a:prstGeom>
          <a:blipFill>
            <a:blip r:embed="rId13" cstate="print"/>
            <a:stretch>
              <a:fillRect/>
            </a:stretch>
          </a:blipFill>
        </p:spPr>
        <p:txBody>
          <a:bodyPr wrap="square" lIns="0" tIns="0" rIns="0" bIns="0" rtlCol="0"/>
          <a:lstStyle/>
          <a:p>
            <a:endParaRPr/>
          </a:p>
        </p:txBody>
      </p:sp>
      <p:sp>
        <p:nvSpPr>
          <p:cNvPr id="43" name="object 43"/>
          <p:cNvSpPr/>
          <p:nvPr/>
        </p:nvSpPr>
        <p:spPr>
          <a:xfrm>
            <a:off x="8683879" y="1488566"/>
            <a:ext cx="182879" cy="182753"/>
          </a:xfrm>
          <a:prstGeom prst="rect">
            <a:avLst/>
          </a:prstGeom>
          <a:blipFill>
            <a:blip r:embed="rId14" cstate="print"/>
            <a:stretch>
              <a:fillRect/>
            </a:stretch>
          </a:blipFill>
        </p:spPr>
        <p:txBody>
          <a:bodyPr wrap="square" lIns="0" tIns="0" rIns="0" bIns="0" rtlCol="0"/>
          <a:lstStyle/>
          <a:p>
            <a:endParaRPr/>
          </a:p>
        </p:txBody>
      </p:sp>
      <p:sp>
        <p:nvSpPr>
          <p:cNvPr id="44" name="object 44"/>
          <p:cNvSpPr/>
          <p:nvPr/>
        </p:nvSpPr>
        <p:spPr>
          <a:xfrm>
            <a:off x="7514208" y="915161"/>
            <a:ext cx="302895" cy="302260"/>
          </a:xfrm>
          <a:custGeom>
            <a:avLst/>
            <a:gdLst/>
            <a:ahLst/>
            <a:cxnLst/>
            <a:rect l="l" t="t" r="r" b="b"/>
            <a:pathLst>
              <a:path w="302895" h="302259">
                <a:moveTo>
                  <a:pt x="0" y="111760"/>
                </a:moveTo>
                <a:lnTo>
                  <a:pt x="117475" y="170941"/>
                </a:lnTo>
                <a:lnTo>
                  <a:pt x="111760" y="302260"/>
                </a:lnTo>
                <a:lnTo>
                  <a:pt x="170942" y="184785"/>
                </a:lnTo>
                <a:lnTo>
                  <a:pt x="291030" y="184785"/>
                </a:lnTo>
                <a:lnTo>
                  <a:pt x="184785" y="131317"/>
                </a:lnTo>
                <a:lnTo>
                  <a:pt x="185387" y="117475"/>
                </a:lnTo>
                <a:lnTo>
                  <a:pt x="131445" y="117475"/>
                </a:lnTo>
                <a:lnTo>
                  <a:pt x="0" y="111760"/>
                </a:lnTo>
                <a:close/>
              </a:path>
              <a:path w="302895" h="302259">
                <a:moveTo>
                  <a:pt x="291030" y="184785"/>
                </a:moveTo>
                <a:lnTo>
                  <a:pt x="170942" y="184785"/>
                </a:lnTo>
                <a:lnTo>
                  <a:pt x="302387" y="190500"/>
                </a:lnTo>
                <a:lnTo>
                  <a:pt x="291030" y="184785"/>
                </a:lnTo>
                <a:close/>
              </a:path>
              <a:path w="302895" h="302259">
                <a:moveTo>
                  <a:pt x="190500" y="0"/>
                </a:moveTo>
                <a:lnTo>
                  <a:pt x="131445" y="117475"/>
                </a:lnTo>
                <a:lnTo>
                  <a:pt x="185387" y="117475"/>
                </a:lnTo>
                <a:lnTo>
                  <a:pt x="190500" y="0"/>
                </a:lnTo>
                <a:close/>
              </a:path>
            </a:pathLst>
          </a:custGeom>
          <a:solidFill>
            <a:srgbClr val="4600A7"/>
          </a:solidFill>
        </p:spPr>
        <p:txBody>
          <a:bodyPr wrap="square" lIns="0" tIns="0" rIns="0" bIns="0" rtlCol="0"/>
          <a:lstStyle/>
          <a:p>
            <a:endParaRPr/>
          </a:p>
        </p:txBody>
      </p:sp>
      <p:sp>
        <p:nvSpPr>
          <p:cNvPr id="45" name="object 45"/>
          <p:cNvSpPr txBox="1"/>
          <p:nvPr/>
        </p:nvSpPr>
        <p:spPr>
          <a:xfrm>
            <a:off x="332638" y="1352763"/>
            <a:ext cx="5534660" cy="4978400"/>
          </a:xfrm>
          <a:prstGeom prst="rect">
            <a:avLst/>
          </a:prstGeom>
        </p:spPr>
        <p:txBody>
          <a:bodyPr vert="horz" wrap="square" lIns="0" tIns="12700" rIns="0" bIns="0" rtlCol="0">
            <a:spAutoFit/>
          </a:bodyPr>
          <a:lstStyle/>
          <a:p>
            <a:pPr marL="334010" marR="3390265" indent="-267335">
              <a:lnSpc>
                <a:spcPct val="132700"/>
              </a:lnSpc>
              <a:spcBef>
                <a:spcPts val="100"/>
              </a:spcBef>
            </a:pPr>
            <a:r>
              <a:rPr sz="2200" spc="-15">
                <a:solidFill>
                  <a:srgbClr val="94E616"/>
                </a:solidFill>
                <a:latin typeface="Verdana"/>
                <a:cs typeface="Verdana"/>
              </a:rPr>
              <a:t>Recent</a:t>
            </a:r>
            <a:r>
              <a:rPr sz="2200" spc="-60">
                <a:solidFill>
                  <a:srgbClr val="94E616"/>
                </a:solidFill>
                <a:latin typeface="Verdana"/>
                <a:cs typeface="Verdana"/>
              </a:rPr>
              <a:t> </a:t>
            </a:r>
            <a:r>
              <a:rPr sz="2200" spc="-15">
                <a:solidFill>
                  <a:srgbClr val="94E616"/>
                </a:solidFill>
                <a:latin typeface="Verdana"/>
                <a:cs typeface="Verdana"/>
              </a:rPr>
              <a:t>Awards  2020</a:t>
            </a:r>
            <a:endParaRPr sz="2200">
              <a:latin typeface="Verdana"/>
              <a:cs typeface="Verdana"/>
            </a:endParaRPr>
          </a:p>
          <a:p>
            <a:pPr marL="360045" marR="74295" indent="-347980">
              <a:lnSpc>
                <a:spcPct val="101400"/>
              </a:lnSpc>
              <a:spcBef>
                <a:spcPts val="155"/>
              </a:spcBef>
              <a:buFont typeface="Wingdings"/>
              <a:buChar char=""/>
              <a:tabLst>
                <a:tab pos="360045" algn="l"/>
                <a:tab pos="360680" algn="l"/>
              </a:tabLst>
            </a:pPr>
            <a:r>
              <a:rPr sz="1400">
                <a:solidFill>
                  <a:srgbClr val="FFFFFF"/>
                </a:solidFill>
                <a:latin typeface="Verdana"/>
                <a:cs typeface="Verdana"/>
              </a:rPr>
              <a:t>Best Salesforce Commerce Cloud Agency - </a:t>
            </a:r>
            <a:r>
              <a:rPr sz="1400" spc="-5">
                <a:solidFill>
                  <a:srgbClr val="FFFFFF"/>
                </a:solidFill>
                <a:latin typeface="Verdana"/>
                <a:cs typeface="Verdana"/>
              </a:rPr>
              <a:t>yotpo</a:t>
            </a:r>
            <a:r>
              <a:rPr sz="1400" spc="-155">
                <a:solidFill>
                  <a:srgbClr val="FFFFFF"/>
                </a:solidFill>
                <a:latin typeface="Verdana"/>
                <a:cs typeface="Verdana"/>
              </a:rPr>
              <a:t> </a:t>
            </a:r>
            <a:r>
              <a:rPr sz="1400" spc="-5">
                <a:solidFill>
                  <a:srgbClr val="FFFFFF"/>
                </a:solidFill>
                <a:latin typeface="Verdana"/>
                <a:cs typeface="Verdana"/>
              </a:rPr>
              <a:t>Partner  awards </a:t>
            </a:r>
            <a:r>
              <a:rPr sz="1400" spc="-10">
                <a:solidFill>
                  <a:srgbClr val="FFFFFF"/>
                </a:solidFill>
                <a:latin typeface="Verdana"/>
                <a:cs typeface="Verdana"/>
              </a:rPr>
              <a:t>(2020)</a:t>
            </a:r>
            <a:r>
              <a:rPr sz="1400" spc="-10">
                <a:solidFill>
                  <a:srgbClr val="87D4EC"/>
                </a:solidFill>
                <a:latin typeface="Verdana"/>
                <a:cs typeface="Verdana"/>
              </a:rPr>
              <a:t> </a:t>
            </a:r>
            <a:r>
              <a:rPr sz="1200" u="sng" spc="-5">
                <a:solidFill>
                  <a:srgbClr val="87D4EC"/>
                </a:solidFill>
                <a:uFill>
                  <a:solidFill>
                    <a:srgbClr val="87D4EC"/>
                  </a:solidFill>
                </a:uFill>
                <a:latin typeface="Verdana"/>
                <a:cs typeface="Verdana"/>
                <a:hlinkClick r:id="rId15"/>
              </a:rPr>
              <a:t>Read</a:t>
            </a:r>
            <a:r>
              <a:rPr sz="1200" u="sng" spc="-25">
                <a:solidFill>
                  <a:srgbClr val="87D4EC"/>
                </a:solidFill>
                <a:uFill>
                  <a:solidFill>
                    <a:srgbClr val="87D4EC"/>
                  </a:solidFill>
                </a:uFill>
                <a:latin typeface="Verdana"/>
                <a:cs typeface="Verdana"/>
                <a:hlinkClick r:id="rId15"/>
              </a:rPr>
              <a:t> </a:t>
            </a:r>
            <a:r>
              <a:rPr sz="1200" u="sng" spc="-5">
                <a:solidFill>
                  <a:srgbClr val="87D4EC"/>
                </a:solidFill>
                <a:uFill>
                  <a:solidFill>
                    <a:srgbClr val="87D4EC"/>
                  </a:solidFill>
                </a:uFill>
                <a:latin typeface="Verdana"/>
                <a:cs typeface="Verdana"/>
                <a:hlinkClick r:id="rId15"/>
              </a:rPr>
              <a:t>more</a:t>
            </a:r>
            <a:endParaRPr sz="1200">
              <a:latin typeface="Verdana"/>
              <a:cs typeface="Verdana"/>
            </a:endParaRPr>
          </a:p>
          <a:p>
            <a:pPr marL="360045" marR="5080" indent="-347980">
              <a:lnSpc>
                <a:spcPct val="100699"/>
              </a:lnSpc>
              <a:spcBef>
                <a:spcPts val="615"/>
              </a:spcBef>
              <a:buFont typeface="Wingdings"/>
              <a:buChar char=""/>
              <a:tabLst>
                <a:tab pos="360045" algn="l"/>
                <a:tab pos="360680" algn="l"/>
              </a:tabLst>
            </a:pPr>
            <a:r>
              <a:rPr sz="1400" spc="-15">
                <a:solidFill>
                  <a:srgbClr val="FFFFFF"/>
                </a:solidFill>
                <a:latin typeface="Verdana"/>
                <a:cs typeface="Verdana"/>
              </a:rPr>
              <a:t>INNOVATION </a:t>
            </a:r>
            <a:r>
              <a:rPr sz="1400" spc="-5">
                <a:solidFill>
                  <a:srgbClr val="FFFFFF"/>
                </a:solidFill>
                <a:latin typeface="Verdana"/>
                <a:cs typeface="Verdana"/>
              </a:rPr>
              <a:t>Award: </a:t>
            </a:r>
            <a:r>
              <a:rPr sz="1400">
                <a:solidFill>
                  <a:srgbClr val="FFFFFF"/>
                </a:solidFill>
                <a:latin typeface="Verdana"/>
                <a:cs typeface="Verdana"/>
              </a:rPr>
              <a:t>Project GE </a:t>
            </a:r>
            <a:r>
              <a:rPr sz="1400" spc="-5">
                <a:solidFill>
                  <a:srgbClr val="FFFFFF"/>
                </a:solidFill>
                <a:latin typeface="Verdana"/>
                <a:cs typeface="Verdana"/>
              </a:rPr>
              <a:t>Healthcare </a:t>
            </a:r>
            <a:r>
              <a:rPr sz="1400">
                <a:solidFill>
                  <a:srgbClr val="FFFFFF"/>
                </a:solidFill>
                <a:latin typeface="Verdana"/>
                <a:cs typeface="Verdana"/>
              </a:rPr>
              <a:t>+ Accelerator  </a:t>
            </a:r>
            <a:r>
              <a:rPr sz="1400" spc="-5">
                <a:solidFill>
                  <a:srgbClr val="FFFFFF"/>
                </a:solidFill>
                <a:latin typeface="Verdana"/>
                <a:cs typeface="Verdana"/>
              </a:rPr>
              <a:t>SAP </a:t>
            </a:r>
            <a:r>
              <a:rPr sz="1400">
                <a:solidFill>
                  <a:srgbClr val="FFFFFF"/>
                </a:solidFill>
                <a:latin typeface="Verdana"/>
                <a:cs typeface="Verdana"/>
              </a:rPr>
              <a:t>MuleSoft - </a:t>
            </a:r>
            <a:r>
              <a:rPr sz="1400" spc="-5">
                <a:solidFill>
                  <a:srgbClr val="FFFFFF"/>
                </a:solidFill>
                <a:latin typeface="Verdana"/>
                <a:cs typeface="Verdana"/>
              </a:rPr>
              <a:t>2020 </a:t>
            </a:r>
            <a:r>
              <a:rPr sz="1400">
                <a:solidFill>
                  <a:srgbClr val="FFFFFF"/>
                </a:solidFill>
                <a:latin typeface="Verdana"/>
                <a:cs typeface="Verdana"/>
              </a:rPr>
              <a:t>–</a:t>
            </a:r>
            <a:r>
              <a:rPr sz="1400" spc="-60">
                <a:solidFill>
                  <a:srgbClr val="FFFFFF"/>
                </a:solidFill>
                <a:latin typeface="Verdana"/>
                <a:cs typeface="Verdana"/>
              </a:rPr>
              <a:t> </a:t>
            </a:r>
            <a:r>
              <a:rPr sz="1400" spc="-5">
                <a:solidFill>
                  <a:srgbClr val="FFFFFF"/>
                </a:solidFill>
                <a:latin typeface="Verdana"/>
                <a:cs typeface="Verdana"/>
              </a:rPr>
              <a:t>France</a:t>
            </a:r>
            <a:endParaRPr sz="1400">
              <a:latin typeface="Verdana"/>
              <a:cs typeface="Verdana"/>
            </a:endParaRPr>
          </a:p>
          <a:p>
            <a:pPr marL="360045" indent="-347980">
              <a:lnSpc>
                <a:spcPct val="100000"/>
              </a:lnSpc>
              <a:spcBef>
                <a:spcPts val="625"/>
              </a:spcBef>
              <a:buFont typeface="Wingdings"/>
              <a:buChar char=""/>
              <a:tabLst>
                <a:tab pos="360045" algn="l"/>
                <a:tab pos="360680" algn="l"/>
              </a:tabLst>
            </a:pPr>
            <a:r>
              <a:rPr sz="1400">
                <a:solidFill>
                  <a:srgbClr val="FFFFFF"/>
                </a:solidFill>
                <a:latin typeface="Verdana"/>
                <a:cs typeface="Verdana"/>
              </a:rPr>
              <a:t>RISING </a:t>
            </a:r>
            <a:r>
              <a:rPr sz="1400" spc="-20">
                <a:solidFill>
                  <a:srgbClr val="FFFFFF"/>
                </a:solidFill>
                <a:latin typeface="Verdana"/>
                <a:cs typeface="Verdana"/>
              </a:rPr>
              <a:t>STAR </a:t>
            </a:r>
            <a:r>
              <a:rPr sz="1400" spc="-5">
                <a:solidFill>
                  <a:srgbClr val="FFFFFF"/>
                </a:solidFill>
                <a:latin typeface="Verdana"/>
                <a:cs typeface="Verdana"/>
              </a:rPr>
              <a:t>Award </a:t>
            </a:r>
            <a:r>
              <a:rPr sz="1400" spc="-15">
                <a:solidFill>
                  <a:srgbClr val="FFFFFF"/>
                </a:solidFill>
                <a:latin typeface="Verdana"/>
                <a:cs typeface="Verdana"/>
              </a:rPr>
              <a:t>TABLEAU </a:t>
            </a:r>
            <a:r>
              <a:rPr sz="1400">
                <a:solidFill>
                  <a:srgbClr val="FFFFFF"/>
                </a:solidFill>
                <a:latin typeface="Verdana"/>
                <a:cs typeface="Verdana"/>
              </a:rPr>
              <a:t>- </a:t>
            </a:r>
            <a:r>
              <a:rPr sz="1400" spc="-5">
                <a:solidFill>
                  <a:srgbClr val="FFFFFF"/>
                </a:solidFill>
                <a:latin typeface="Verdana"/>
                <a:cs typeface="Verdana"/>
              </a:rPr>
              <a:t>2020 </a:t>
            </a:r>
            <a:r>
              <a:rPr sz="1400">
                <a:solidFill>
                  <a:srgbClr val="FFFFFF"/>
                </a:solidFill>
                <a:latin typeface="Verdana"/>
                <a:cs typeface="Verdana"/>
              </a:rPr>
              <a:t>-</a:t>
            </a:r>
            <a:r>
              <a:rPr sz="1400" spc="-20">
                <a:solidFill>
                  <a:srgbClr val="FFFFFF"/>
                </a:solidFill>
                <a:latin typeface="Verdana"/>
                <a:cs typeface="Verdana"/>
              </a:rPr>
              <a:t> </a:t>
            </a:r>
            <a:r>
              <a:rPr sz="1400" spc="-5">
                <a:solidFill>
                  <a:srgbClr val="FFFFFF"/>
                </a:solidFill>
                <a:latin typeface="Verdana"/>
                <a:cs typeface="Verdana"/>
              </a:rPr>
              <a:t>France</a:t>
            </a:r>
            <a:endParaRPr sz="1400">
              <a:latin typeface="Verdana"/>
              <a:cs typeface="Verdana"/>
            </a:endParaRPr>
          </a:p>
          <a:p>
            <a:pPr marL="334010">
              <a:lnSpc>
                <a:spcPct val="100000"/>
              </a:lnSpc>
              <a:spcBef>
                <a:spcPts val="680"/>
              </a:spcBef>
            </a:pPr>
            <a:r>
              <a:rPr sz="2200" spc="-10">
                <a:solidFill>
                  <a:srgbClr val="94E616"/>
                </a:solidFill>
                <a:latin typeface="Verdana"/>
                <a:cs typeface="Verdana"/>
              </a:rPr>
              <a:t>2019</a:t>
            </a:r>
            <a:endParaRPr sz="2200">
              <a:latin typeface="Verdana"/>
              <a:cs typeface="Verdana"/>
            </a:endParaRPr>
          </a:p>
          <a:p>
            <a:pPr marL="386080" marR="965200" indent="-347980">
              <a:lnSpc>
                <a:spcPct val="101400"/>
              </a:lnSpc>
              <a:spcBef>
                <a:spcPts val="484"/>
              </a:spcBef>
              <a:buFont typeface="Wingdings"/>
              <a:buChar char=""/>
              <a:tabLst>
                <a:tab pos="386080" algn="l"/>
                <a:tab pos="386715" algn="l"/>
              </a:tabLst>
            </a:pPr>
            <a:r>
              <a:rPr sz="1400">
                <a:solidFill>
                  <a:srgbClr val="FFFFFF"/>
                </a:solidFill>
                <a:latin typeface="Verdana"/>
                <a:cs typeface="Verdana"/>
              </a:rPr>
              <a:t>Vlocity communications </a:t>
            </a:r>
            <a:r>
              <a:rPr sz="1400" spc="-5">
                <a:solidFill>
                  <a:srgbClr val="FFFFFF"/>
                </a:solidFill>
                <a:latin typeface="Verdana"/>
                <a:cs typeface="Verdana"/>
              </a:rPr>
              <a:t>partner </a:t>
            </a:r>
            <a:r>
              <a:rPr sz="1400">
                <a:solidFill>
                  <a:srgbClr val="FFFFFF"/>
                </a:solidFill>
                <a:latin typeface="Verdana"/>
                <a:cs typeface="Verdana"/>
              </a:rPr>
              <a:t>of </a:t>
            </a:r>
            <a:r>
              <a:rPr sz="1400" spc="-5">
                <a:solidFill>
                  <a:srgbClr val="FFFFFF"/>
                </a:solidFill>
                <a:latin typeface="Verdana"/>
                <a:cs typeface="Verdana"/>
              </a:rPr>
              <a:t>the year</a:t>
            </a:r>
            <a:r>
              <a:rPr sz="1400" spc="-135">
                <a:solidFill>
                  <a:srgbClr val="FFFFFF"/>
                </a:solidFill>
                <a:latin typeface="Verdana"/>
                <a:cs typeface="Verdana"/>
              </a:rPr>
              <a:t> </a:t>
            </a:r>
            <a:r>
              <a:rPr sz="1400">
                <a:solidFill>
                  <a:srgbClr val="FFFFFF"/>
                </a:solidFill>
                <a:latin typeface="Verdana"/>
                <a:cs typeface="Verdana"/>
              </a:rPr>
              <a:t>for  EMEA region </a:t>
            </a:r>
            <a:r>
              <a:rPr sz="1400" spc="-10">
                <a:solidFill>
                  <a:srgbClr val="FFFFFF"/>
                </a:solidFill>
                <a:latin typeface="Verdana"/>
                <a:cs typeface="Verdana"/>
              </a:rPr>
              <a:t>(2019)</a:t>
            </a:r>
            <a:r>
              <a:rPr sz="1400" spc="-10">
                <a:solidFill>
                  <a:srgbClr val="87D4EC"/>
                </a:solidFill>
                <a:latin typeface="Verdana"/>
                <a:cs typeface="Verdana"/>
              </a:rPr>
              <a:t> </a:t>
            </a:r>
            <a:r>
              <a:rPr sz="1200" u="sng" spc="-5">
                <a:solidFill>
                  <a:srgbClr val="87D4EC"/>
                </a:solidFill>
                <a:uFill>
                  <a:solidFill>
                    <a:srgbClr val="87D4EC"/>
                  </a:solidFill>
                </a:uFill>
                <a:latin typeface="Verdana"/>
                <a:cs typeface="Verdana"/>
                <a:hlinkClick r:id="rId16"/>
              </a:rPr>
              <a:t>Read</a:t>
            </a:r>
            <a:r>
              <a:rPr sz="1200" u="sng" spc="-40">
                <a:solidFill>
                  <a:srgbClr val="87D4EC"/>
                </a:solidFill>
                <a:uFill>
                  <a:solidFill>
                    <a:srgbClr val="87D4EC"/>
                  </a:solidFill>
                </a:uFill>
                <a:latin typeface="Verdana"/>
                <a:cs typeface="Verdana"/>
                <a:hlinkClick r:id="rId16"/>
              </a:rPr>
              <a:t> </a:t>
            </a:r>
            <a:r>
              <a:rPr sz="1200" u="sng" spc="-5">
                <a:solidFill>
                  <a:srgbClr val="87D4EC"/>
                </a:solidFill>
                <a:uFill>
                  <a:solidFill>
                    <a:srgbClr val="87D4EC"/>
                  </a:solidFill>
                </a:uFill>
                <a:latin typeface="Verdana"/>
                <a:cs typeface="Verdana"/>
                <a:hlinkClick r:id="rId16"/>
              </a:rPr>
              <a:t>more</a:t>
            </a:r>
            <a:endParaRPr sz="1200">
              <a:latin typeface="Verdana"/>
              <a:cs typeface="Verdana"/>
            </a:endParaRPr>
          </a:p>
          <a:p>
            <a:pPr marL="386080" indent="-347980">
              <a:lnSpc>
                <a:spcPct val="100000"/>
              </a:lnSpc>
              <a:spcBef>
                <a:spcPts val="625"/>
              </a:spcBef>
              <a:buFont typeface="Wingdings"/>
              <a:buChar char=""/>
              <a:tabLst>
                <a:tab pos="386080" algn="l"/>
                <a:tab pos="386715" algn="l"/>
              </a:tabLst>
            </a:pPr>
            <a:r>
              <a:rPr sz="1400" spc="-20">
                <a:solidFill>
                  <a:srgbClr val="FFFFFF"/>
                </a:solidFill>
                <a:latin typeface="Verdana"/>
                <a:cs typeface="Verdana"/>
              </a:rPr>
              <a:t>BOLTY's </a:t>
            </a:r>
            <a:r>
              <a:rPr sz="1400" spc="-5">
                <a:solidFill>
                  <a:srgbClr val="FFFFFF"/>
                </a:solidFill>
                <a:latin typeface="Verdana"/>
                <a:cs typeface="Verdana"/>
              </a:rPr>
              <a:t>award </a:t>
            </a:r>
            <a:r>
              <a:rPr sz="1400">
                <a:solidFill>
                  <a:srgbClr val="FFFFFF"/>
                </a:solidFill>
                <a:latin typeface="Verdana"/>
                <a:cs typeface="Verdana"/>
              </a:rPr>
              <a:t>for </a:t>
            </a:r>
            <a:r>
              <a:rPr sz="1400" spc="-5">
                <a:solidFill>
                  <a:srgbClr val="FFFFFF"/>
                </a:solidFill>
                <a:latin typeface="Verdana"/>
                <a:cs typeface="Verdana"/>
              </a:rPr>
              <a:t>B2C Commerce(2019)</a:t>
            </a:r>
            <a:r>
              <a:rPr sz="1400" spc="-5">
                <a:solidFill>
                  <a:srgbClr val="87D4EC"/>
                </a:solidFill>
                <a:latin typeface="Verdana"/>
                <a:cs typeface="Verdana"/>
              </a:rPr>
              <a:t> </a:t>
            </a:r>
            <a:r>
              <a:rPr sz="1200" u="sng" spc="-5">
                <a:solidFill>
                  <a:srgbClr val="87D4EC"/>
                </a:solidFill>
                <a:uFill>
                  <a:solidFill>
                    <a:srgbClr val="87D4EC"/>
                  </a:solidFill>
                </a:uFill>
                <a:latin typeface="Verdana"/>
                <a:cs typeface="Verdana"/>
                <a:hlinkClick r:id="rId17"/>
              </a:rPr>
              <a:t>Read</a:t>
            </a:r>
            <a:r>
              <a:rPr sz="1200" u="sng" spc="-60">
                <a:solidFill>
                  <a:srgbClr val="87D4EC"/>
                </a:solidFill>
                <a:uFill>
                  <a:solidFill>
                    <a:srgbClr val="87D4EC"/>
                  </a:solidFill>
                </a:uFill>
                <a:latin typeface="Verdana"/>
                <a:cs typeface="Verdana"/>
                <a:hlinkClick r:id="rId17"/>
              </a:rPr>
              <a:t> </a:t>
            </a:r>
            <a:r>
              <a:rPr sz="1200" u="sng" spc="-5">
                <a:solidFill>
                  <a:srgbClr val="87D4EC"/>
                </a:solidFill>
                <a:uFill>
                  <a:solidFill>
                    <a:srgbClr val="87D4EC"/>
                  </a:solidFill>
                </a:uFill>
                <a:latin typeface="Verdana"/>
                <a:cs typeface="Verdana"/>
                <a:hlinkClick r:id="rId17"/>
              </a:rPr>
              <a:t>more</a:t>
            </a:r>
            <a:endParaRPr sz="1200">
              <a:latin typeface="Verdana"/>
              <a:cs typeface="Verdana"/>
            </a:endParaRPr>
          </a:p>
          <a:p>
            <a:pPr marL="386080" marR="300990" indent="-347980">
              <a:lnSpc>
                <a:spcPct val="101400"/>
              </a:lnSpc>
              <a:spcBef>
                <a:spcPts val="590"/>
              </a:spcBef>
              <a:buFont typeface="Wingdings"/>
              <a:buChar char=""/>
              <a:tabLst>
                <a:tab pos="386080" algn="l"/>
                <a:tab pos="386715" algn="l"/>
              </a:tabLst>
            </a:pPr>
            <a:r>
              <a:rPr sz="1400">
                <a:solidFill>
                  <a:srgbClr val="FFFFFF"/>
                </a:solidFill>
                <a:latin typeface="Verdana"/>
                <a:cs typeface="Verdana"/>
              </a:rPr>
              <a:t>ISG </a:t>
            </a:r>
            <a:r>
              <a:rPr sz="1400" spc="-10">
                <a:solidFill>
                  <a:srgbClr val="FFFFFF"/>
                </a:solidFill>
                <a:latin typeface="Verdana"/>
                <a:cs typeface="Verdana"/>
              </a:rPr>
              <a:t>Paragon </a:t>
            </a:r>
            <a:r>
              <a:rPr sz="1400" spc="-5">
                <a:solidFill>
                  <a:srgbClr val="FFFFFF"/>
                </a:solidFill>
                <a:latin typeface="Verdana"/>
                <a:cs typeface="Verdana"/>
              </a:rPr>
              <a:t>Award™ </a:t>
            </a:r>
            <a:r>
              <a:rPr sz="1400">
                <a:solidFill>
                  <a:srgbClr val="FFFFFF"/>
                </a:solidFill>
                <a:latin typeface="Verdana"/>
                <a:cs typeface="Verdana"/>
              </a:rPr>
              <a:t>ANZ for </a:t>
            </a:r>
            <a:r>
              <a:rPr sz="1400" spc="-5">
                <a:solidFill>
                  <a:srgbClr val="FFFFFF"/>
                </a:solidFill>
                <a:latin typeface="Verdana"/>
                <a:cs typeface="Verdana"/>
              </a:rPr>
              <a:t>transformation </a:t>
            </a:r>
            <a:r>
              <a:rPr sz="1400">
                <a:solidFill>
                  <a:srgbClr val="FFFFFF"/>
                </a:solidFill>
                <a:latin typeface="Verdana"/>
                <a:cs typeface="Verdana"/>
              </a:rPr>
              <a:t>with</a:t>
            </a:r>
            <a:r>
              <a:rPr sz="1400" spc="-90">
                <a:solidFill>
                  <a:srgbClr val="FFFFFF"/>
                </a:solidFill>
                <a:latin typeface="Verdana"/>
                <a:cs typeface="Verdana"/>
              </a:rPr>
              <a:t> </a:t>
            </a:r>
            <a:r>
              <a:rPr sz="1400">
                <a:solidFill>
                  <a:srgbClr val="FFFFFF"/>
                </a:solidFill>
                <a:latin typeface="Verdana"/>
                <a:cs typeface="Verdana"/>
              </a:rPr>
              <a:t>our  client </a:t>
            </a:r>
            <a:r>
              <a:rPr sz="1400" spc="-5">
                <a:solidFill>
                  <a:srgbClr val="FFFFFF"/>
                </a:solidFill>
                <a:latin typeface="Verdana"/>
                <a:cs typeface="Verdana"/>
              </a:rPr>
              <a:t>RMIT </a:t>
            </a:r>
            <a:r>
              <a:rPr sz="1400" spc="-15">
                <a:solidFill>
                  <a:srgbClr val="FFFFFF"/>
                </a:solidFill>
                <a:latin typeface="Verdana"/>
                <a:cs typeface="Verdana"/>
              </a:rPr>
              <a:t>University, </a:t>
            </a:r>
            <a:r>
              <a:rPr sz="1400" spc="-5">
                <a:solidFill>
                  <a:srgbClr val="FFFFFF"/>
                </a:solidFill>
                <a:latin typeface="Verdana"/>
                <a:cs typeface="Verdana"/>
              </a:rPr>
              <a:t>Australia</a:t>
            </a:r>
            <a:r>
              <a:rPr sz="1400" spc="-5">
                <a:solidFill>
                  <a:srgbClr val="87D4EC"/>
                </a:solidFill>
                <a:latin typeface="Verdana"/>
                <a:cs typeface="Verdana"/>
              </a:rPr>
              <a:t> </a:t>
            </a:r>
            <a:r>
              <a:rPr sz="1200" u="sng" spc="-5">
                <a:solidFill>
                  <a:srgbClr val="87D4EC"/>
                </a:solidFill>
                <a:uFill>
                  <a:solidFill>
                    <a:srgbClr val="87D4EC"/>
                  </a:solidFill>
                </a:uFill>
                <a:latin typeface="Verdana"/>
                <a:cs typeface="Verdana"/>
              </a:rPr>
              <a:t>Read</a:t>
            </a:r>
            <a:r>
              <a:rPr sz="1200" u="sng" spc="-105">
                <a:solidFill>
                  <a:srgbClr val="87D4EC"/>
                </a:solidFill>
                <a:uFill>
                  <a:solidFill>
                    <a:srgbClr val="87D4EC"/>
                  </a:solidFill>
                </a:uFill>
                <a:latin typeface="Verdana"/>
                <a:cs typeface="Verdana"/>
              </a:rPr>
              <a:t> </a:t>
            </a:r>
            <a:r>
              <a:rPr sz="1200" u="sng" spc="-5">
                <a:solidFill>
                  <a:srgbClr val="87D4EC"/>
                </a:solidFill>
                <a:uFill>
                  <a:solidFill>
                    <a:srgbClr val="87D4EC"/>
                  </a:solidFill>
                </a:uFill>
                <a:latin typeface="Verdana"/>
                <a:cs typeface="Verdana"/>
              </a:rPr>
              <a:t>more</a:t>
            </a:r>
            <a:endParaRPr sz="1200">
              <a:latin typeface="Verdana"/>
              <a:cs typeface="Verdana"/>
            </a:endParaRPr>
          </a:p>
          <a:p>
            <a:pPr marL="386080" marR="169545" indent="-347980">
              <a:lnSpc>
                <a:spcPct val="100699"/>
              </a:lnSpc>
              <a:spcBef>
                <a:spcPts val="610"/>
              </a:spcBef>
              <a:buFont typeface="Wingdings"/>
              <a:buChar char=""/>
              <a:tabLst>
                <a:tab pos="386080" algn="l"/>
                <a:tab pos="386715" algn="l"/>
              </a:tabLst>
            </a:pPr>
            <a:r>
              <a:rPr sz="1400" spc="-20">
                <a:solidFill>
                  <a:srgbClr val="FFFFFF"/>
                </a:solidFill>
                <a:latin typeface="Verdana"/>
                <a:cs typeface="Verdana"/>
              </a:rPr>
              <a:t>LYONSCG </a:t>
            </a:r>
            <a:r>
              <a:rPr sz="1400" spc="-40">
                <a:solidFill>
                  <a:srgbClr val="FFFFFF"/>
                </a:solidFill>
                <a:latin typeface="Verdana"/>
                <a:cs typeface="Verdana"/>
              </a:rPr>
              <a:t>Takes </a:t>
            </a:r>
            <a:r>
              <a:rPr sz="1400" spc="-5">
                <a:solidFill>
                  <a:srgbClr val="FFFFFF"/>
                </a:solidFill>
                <a:latin typeface="Verdana"/>
                <a:cs typeface="Verdana"/>
              </a:rPr>
              <a:t>Home </a:t>
            </a:r>
            <a:r>
              <a:rPr sz="1400" spc="-10">
                <a:solidFill>
                  <a:srgbClr val="FFFFFF"/>
                </a:solidFill>
                <a:latin typeface="Verdana"/>
                <a:cs typeface="Verdana"/>
              </a:rPr>
              <a:t>Back-to-Back </a:t>
            </a:r>
            <a:r>
              <a:rPr sz="1400">
                <a:solidFill>
                  <a:srgbClr val="FFFFFF"/>
                </a:solidFill>
                <a:latin typeface="Verdana"/>
                <a:cs typeface="Verdana"/>
              </a:rPr>
              <a:t>“Best In </a:t>
            </a:r>
            <a:r>
              <a:rPr sz="1400" spc="-5">
                <a:solidFill>
                  <a:srgbClr val="FFFFFF"/>
                </a:solidFill>
                <a:latin typeface="Verdana"/>
                <a:cs typeface="Verdana"/>
              </a:rPr>
              <a:t>Category”  </a:t>
            </a:r>
            <a:r>
              <a:rPr sz="1400">
                <a:solidFill>
                  <a:srgbClr val="FFFFFF"/>
                </a:solidFill>
                <a:latin typeface="Verdana"/>
                <a:cs typeface="Verdana"/>
              </a:rPr>
              <a:t>Nods at </a:t>
            </a:r>
            <a:r>
              <a:rPr sz="1400" spc="-5">
                <a:solidFill>
                  <a:srgbClr val="FFFFFF"/>
                </a:solidFill>
                <a:latin typeface="Verdana"/>
                <a:cs typeface="Verdana"/>
              </a:rPr>
              <a:t>Horizon Interactive Awards</a:t>
            </a:r>
            <a:r>
              <a:rPr sz="1400" spc="-5">
                <a:solidFill>
                  <a:srgbClr val="87D4EC"/>
                </a:solidFill>
                <a:latin typeface="Verdana"/>
                <a:cs typeface="Verdana"/>
              </a:rPr>
              <a:t> </a:t>
            </a:r>
            <a:r>
              <a:rPr sz="1200" u="sng" spc="-5">
                <a:solidFill>
                  <a:srgbClr val="87D4EC"/>
                </a:solidFill>
                <a:uFill>
                  <a:solidFill>
                    <a:srgbClr val="87D4EC"/>
                  </a:solidFill>
                </a:uFill>
                <a:latin typeface="Verdana"/>
                <a:cs typeface="Verdana"/>
                <a:hlinkClick r:id="rId18"/>
              </a:rPr>
              <a:t>Read</a:t>
            </a:r>
            <a:r>
              <a:rPr sz="1200" u="sng" spc="-100">
                <a:solidFill>
                  <a:srgbClr val="87D4EC"/>
                </a:solidFill>
                <a:uFill>
                  <a:solidFill>
                    <a:srgbClr val="87D4EC"/>
                  </a:solidFill>
                </a:uFill>
                <a:latin typeface="Verdana"/>
                <a:cs typeface="Verdana"/>
                <a:hlinkClick r:id="rId18"/>
              </a:rPr>
              <a:t> </a:t>
            </a:r>
            <a:r>
              <a:rPr sz="1200" u="sng" spc="-5">
                <a:solidFill>
                  <a:srgbClr val="87D4EC"/>
                </a:solidFill>
                <a:uFill>
                  <a:solidFill>
                    <a:srgbClr val="87D4EC"/>
                  </a:solidFill>
                </a:uFill>
                <a:latin typeface="Verdana"/>
                <a:cs typeface="Verdana"/>
                <a:hlinkClick r:id="rId18"/>
              </a:rPr>
              <a:t>more</a:t>
            </a:r>
            <a:endParaRPr sz="1200">
              <a:latin typeface="Verdana"/>
              <a:cs typeface="Verdana"/>
            </a:endParaRPr>
          </a:p>
          <a:p>
            <a:pPr marL="386080" indent="-347980">
              <a:lnSpc>
                <a:spcPct val="100000"/>
              </a:lnSpc>
              <a:spcBef>
                <a:spcPts val="625"/>
              </a:spcBef>
              <a:buFont typeface="Wingdings"/>
              <a:buChar char=""/>
              <a:tabLst>
                <a:tab pos="386080" algn="l"/>
                <a:tab pos="386715" algn="l"/>
              </a:tabLst>
            </a:pPr>
            <a:r>
              <a:rPr sz="1400" spc="-15">
                <a:solidFill>
                  <a:srgbClr val="FFFFFF"/>
                </a:solidFill>
                <a:latin typeface="Verdana"/>
                <a:cs typeface="Verdana"/>
              </a:rPr>
              <a:t>INNOVATION </a:t>
            </a:r>
            <a:r>
              <a:rPr sz="1400" spc="-5">
                <a:solidFill>
                  <a:srgbClr val="FFFFFF"/>
                </a:solidFill>
                <a:latin typeface="Verdana"/>
                <a:cs typeface="Verdana"/>
              </a:rPr>
              <a:t>Award: </a:t>
            </a:r>
            <a:r>
              <a:rPr sz="1400">
                <a:solidFill>
                  <a:srgbClr val="FFFFFF"/>
                </a:solidFill>
                <a:latin typeface="Verdana"/>
                <a:cs typeface="Verdana"/>
              </a:rPr>
              <a:t>MuleSoft - </a:t>
            </a:r>
            <a:r>
              <a:rPr sz="1400" spc="-5">
                <a:solidFill>
                  <a:srgbClr val="FFFFFF"/>
                </a:solidFill>
                <a:latin typeface="Verdana"/>
                <a:cs typeface="Verdana"/>
              </a:rPr>
              <a:t>2019 </a:t>
            </a:r>
            <a:r>
              <a:rPr sz="1400">
                <a:solidFill>
                  <a:srgbClr val="FFFFFF"/>
                </a:solidFill>
                <a:latin typeface="Verdana"/>
                <a:cs typeface="Verdana"/>
              </a:rPr>
              <a:t>–</a:t>
            </a:r>
            <a:r>
              <a:rPr sz="1400" spc="-85">
                <a:solidFill>
                  <a:srgbClr val="FFFFFF"/>
                </a:solidFill>
                <a:latin typeface="Verdana"/>
                <a:cs typeface="Verdana"/>
              </a:rPr>
              <a:t> </a:t>
            </a:r>
            <a:r>
              <a:rPr sz="1400" spc="-5">
                <a:solidFill>
                  <a:srgbClr val="FFFFFF"/>
                </a:solidFill>
                <a:latin typeface="Verdana"/>
                <a:cs typeface="Verdana"/>
              </a:rPr>
              <a:t>France</a:t>
            </a:r>
            <a:endParaRPr sz="1400">
              <a:latin typeface="Verdana"/>
              <a:cs typeface="Verdana"/>
            </a:endParaRPr>
          </a:p>
          <a:p>
            <a:pPr marL="386080" indent="-347980">
              <a:lnSpc>
                <a:spcPct val="100000"/>
              </a:lnSpc>
              <a:spcBef>
                <a:spcPts val="630"/>
              </a:spcBef>
              <a:buFont typeface="Wingdings"/>
              <a:buChar char=""/>
              <a:tabLst>
                <a:tab pos="386080" algn="l"/>
                <a:tab pos="386715" algn="l"/>
              </a:tabLst>
            </a:pPr>
            <a:r>
              <a:rPr sz="1400" spc="-55">
                <a:solidFill>
                  <a:srgbClr val="FFFFFF"/>
                </a:solidFill>
                <a:latin typeface="Verdana"/>
                <a:cs typeface="Verdana"/>
              </a:rPr>
              <a:t>Top </a:t>
            </a:r>
            <a:r>
              <a:rPr sz="1400" spc="-5">
                <a:solidFill>
                  <a:srgbClr val="FFFFFF"/>
                </a:solidFill>
                <a:latin typeface="Verdana"/>
                <a:cs typeface="Verdana"/>
              </a:rPr>
              <a:t>Partner </a:t>
            </a:r>
            <a:r>
              <a:rPr sz="1400">
                <a:solidFill>
                  <a:srgbClr val="FFFFFF"/>
                </a:solidFill>
                <a:latin typeface="Verdana"/>
                <a:cs typeface="Verdana"/>
              </a:rPr>
              <a:t>-</a:t>
            </a:r>
            <a:r>
              <a:rPr sz="1400" spc="30">
                <a:solidFill>
                  <a:srgbClr val="FFFFFF"/>
                </a:solidFill>
                <a:latin typeface="Verdana"/>
                <a:cs typeface="Verdana"/>
              </a:rPr>
              <a:t> </a:t>
            </a:r>
            <a:r>
              <a:rPr sz="1400">
                <a:solidFill>
                  <a:srgbClr val="FFFFFF"/>
                </a:solidFill>
                <a:latin typeface="Verdana"/>
                <a:cs typeface="Verdana"/>
              </a:rPr>
              <a:t>Netherlands</a:t>
            </a:r>
            <a:endParaRPr sz="1400">
              <a:latin typeface="Verdana"/>
              <a:cs typeface="Verdana"/>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140588"/>
            <a:ext cx="9702800" cy="779145"/>
          </a:xfrm>
          <a:prstGeom prst="rect">
            <a:avLst/>
          </a:prstGeom>
        </p:spPr>
        <p:txBody>
          <a:bodyPr vert="horz" wrap="square" lIns="0" tIns="57785" rIns="0" bIns="0" rtlCol="0">
            <a:spAutoFit/>
          </a:bodyPr>
          <a:lstStyle/>
          <a:p>
            <a:pPr marL="12700" marR="5080">
              <a:lnSpc>
                <a:spcPts val="2810"/>
              </a:lnSpc>
              <a:spcBef>
                <a:spcPts val="455"/>
              </a:spcBef>
            </a:pPr>
            <a:r>
              <a:rPr sz="2600" spc="-10">
                <a:solidFill>
                  <a:srgbClr val="12ABDB"/>
                </a:solidFill>
                <a:latin typeface="Verdana"/>
                <a:cs typeface="Verdana"/>
              </a:rPr>
              <a:t>Leverage </a:t>
            </a:r>
            <a:r>
              <a:rPr sz="2600">
                <a:solidFill>
                  <a:srgbClr val="12ABDB"/>
                </a:solidFill>
                <a:latin typeface="Verdana"/>
                <a:cs typeface="Verdana"/>
              </a:rPr>
              <a:t>our </a:t>
            </a:r>
            <a:r>
              <a:rPr sz="2600" spc="-5">
                <a:solidFill>
                  <a:srgbClr val="12ABDB"/>
                </a:solidFill>
                <a:latin typeface="Verdana"/>
                <a:cs typeface="Verdana"/>
              </a:rPr>
              <a:t>platform experience to enhance </a:t>
            </a:r>
            <a:r>
              <a:rPr sz="2600">
                <a:solidFill>
                  <a:srgbClr val="12ABDB"/>
                </a:solidFill>
                <a:latin typeface="Verdana"/>
                <a:cs typeface="Verdana"/>
              </a:rPr>
              <a:t>and support  </a:t>
            </a:r>
            <a:r>
              <a:rPr sz="2600" spc="-10">
                <a:solidFill>
                  <a:srgbClr val="12ABDB"/>
                </a:solidFill>
                <a:latin typeface="Verdana"/>
                <a:cs typeface="Verdana"/>
              </a:rPr>
              <a:t>Salesforce’s</a:t>
            </a:r>
            <a:r>
              <a:rPr sz="2600" spc="-45">
                <a:solidFill>
                  <a:srgbClr val="12ABDB"/>
                </a:solidFill>
                <a:latin typeface="Verdana"/>
                <a:cs typeface="Verdana"/>
              </a:rPr>
              <a:t> </a:t>
            </a:r>
            <a:r>
              <a:rPr sz="2600">
                <a:solidFill>
                  <a:srgbClr val="12ABDB"/>
                </a:solidFill>
                <a:latin typeface="Verdana"/>
                <a:cs typeface="Verdana"/>
              </a:rPr>
              <a:t>vision</a:t>
            </a:r>
            <a:endParaRPr sz="2600">
              <a:latin typeface="Verdana"/>
              <a:cs typeface="Verdana"/>
            </a:endParaRPr>
          </a:p>
        </p:txBody>
      </p:sp>
      <p:sp>
        <p:nvSpPr>
          <p:cNvPr id="3" name="object 3"/>
          <p:cNvSpPr txBox="1"/>
          <p:nvPr/>
        </p:nvSpPr>
        <p:spPr>
          <a:xfrm>
            <a:off x="5659882" y="3259476"/>
            <a:ext cx="1691639" cy="1002030"/>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2B133C"/>
                </a:solidFill>
                <a:latin typeface="Verdana"/>
                <a:cs typeface="Verdana"/>
              </a:rPr>
              <a:t>12</a:t>
            </a:r>
            <a:endParaRPr sz="2800">
              <a:latin typeface="Verdana"/>
              <a:cs typeface="Verdana"/>
            </a:endParaRPr>
          </a:p>
          <a:p>
            <a:pPr marL="12700" marR="5080">
              <a:lnSpc>
                <a:spcPct val="100000"/>
              </a:lnSpc>
              <a:spcBef>
                <a:spcPts val="325"/>
              </a:spcBef>
            </a:pPr>
            <a:r>
              <a:rPr sz="1400">
                <a:solidFill>
                  <a:srgbClr val="2B133C"/>
                </a:solidFill>
                <a:latin typeface="Verdana"/>
                <a:cs typeface="Verdana"/>
              </a:rPr>
              <a:t>out of </a:t>
            </a:r>
            <a:r>
              <a:rPr sz="1400" spc="-5">
                <a:solidFill>
                  <a:srgbClr val="2B133C"/>
                </a:solidFill>
                <a:latin typeface="Verdana"/>
                <a:cs typeface="Verdana"/>
              </a:rPr>
              <a:t>the top 20  </a:t>
            </a:r>
            <a:r>
              <a:rPr sz="1400">
                <a:solidFill>
                  <a:srgbClr val="2B133C"/>
                </a:solidFill>
                <a:latin typeface="Verdana"/>
                <a:cs typeface="Verdana"/>
              </a:rPr>
              <a:t>utilities</a:t>
            </a:r>
            <a:r>
              <a:rPr sz="1400" spc="-75">
                <a:solidFill>
                  <a:srgbClr val="2B133C"/>
                </a:solidFill>
                <a:latin typeface="Verdana"/>
                <a:cs typeface="Verdana"/>
              </a:rPr>
              <a:t> </a:t>
            </a:r>
            <a:r>
              <a:rPr sz="1400">
                <a:solidFill>
                  <a:srgbClr val="2B133C"/>
                </a:solidFill>
                <a:latin typeface="Verdana"/>
                <a:cs typeface="Verdana"/>
              </a:rPr>
              <a:t>companies</a:t>
            </a:r>
            <a:endParaRPr sz="1400">
              <a:latin typeface="Verdana"/>
              <a:cs typeface="Verdana"/>
            </a:endParaRPr>
          </a:p>
        </p:txBody>
      </p:sp>
      <p:sp>
        <p:nvSpPr>
          <p:cNvPr id="4" name="object 4"/>
          <p:cNvSpPr/>
          <p:nvPr/>
        </p:nvSpPr>
        <p:spPr>
          <a:xfrm>
            <a:off x="5471159" y="3304032"/>
            <a:ext cx="0" cy="1024255"/>
          </a:xfrm>
          <a:custGeom>
            <a:avLst/>
            <a:gdLst/>
            <a:ahLst/>
            <a:cxnLst/>
            <a:rect l="l" t="t" r="r" b="b"/>
            <a:pathLst>
              <a:path h="1024254">
                <a:moveTo>
                  <a:pt x="0" y="0"/>
                </a:moveTo>
                <a:lnTo>
                  <a:pt x="0" y="1024127"/>
                </a:lnTo>
              </a:path>
            </a:pathLst>
          </a:custGeom>
          <a:ln w="27432">
            <a:solidFill>
              <a:srgbClr val="006FAC"/>
            </a:solidFill>
          </a:ln>
        </p:spPr>
        <p:txBody>
          <a:bodyPr wrap="square" lIns="0" tIns="0" rIns="0" bIns="0" rtlCol="0"/>
          <a:lstStyle/>
          <a:p>
            <a:endParaRPr/>
          </a:p>
        </p:txBody>
      </p:sp>
      <p:sp>
        <p:nvSpPr>
          <p:cNvPr id="5" name="object 5"/>
          <p:cNvSpPr/>
          <p:nvPr/>
        </p:nvSpPr>
        <p:spPr>
          <a:xfrm>
            <a:off x="4247625" y="3303935"/>
            <a:ext cx="1085850" cy="1036319"/>
          </a:xfrm>
          <a:custGeom>
            <a:avLst/>
            <a:gdLst/>
            <a:ahLst/>
            <a:cxnLst/>
            <a:rect l="l" t="t" r="r" b="b"/>
            <a:pathLst>
              <a:path w="1085850" h="1036320">
                <a:moveTo>
                  <a:pt x="537423" y="0"/>
                </a:moveTo>
                <a:lnTo>
                  <a:pt x="490824" y="2933"/>
                </a:lnTo>
                <a:lnTo>
                  <a:pt x="444455" y="9763"/>
                </a:lnTo>
                <a:lnTo>
                  <a:pt x="398588" y="20529"/>
                </a:lnTo>
                <a:lnTo>
                  <a:pt x="353494" y="35270"/>
                </a:lnTo>
                <a:lnTo>
                  <a:pt x="309445" y="54024"/>
                </a:lnTo>
                <a:lnTo>
                  <a:pt x="266712" y="76831"/>
                </a:lnTo>
                <a:lnTo>
                  <a:pt x="225568" y="103729"/>
                </a:lnTo>
                <a:lnTo>
                  <a:pt x="186608" y="134110"/>
                </a:lnTo>
                <a:lnTo>
                  <a:pt x="151205" y="167127"/>
                </a:lnTo>
                <a:lnTo>
                  <a:pt x="119405" y="202522"/>
                </a:lnTo>
                <a:lnTo>
                  <a:pt x="91251" y="240033"/>
                </a:lnTo>
                <a:lnTo>
                  <a:pt x="66789" y="279403"/>
                </a:lnTo>
                <a:lnTo>
                  <a:pt x="46061" y="320372"/>
                </a:lnTo>
                <a:lnTo>
                  <a:pt x="29113" y="362680"/>
                </a:lnTo>
                <a:lnTo>
                  <a:pt x="15988" y="406069"/>
                </a:lnTo>
                <a:lnTo>
                  <a:pt x="6731" y="450280"/>
                </a:lnTo>
                <a:lnTo>
                  <a:pt x="1387" y="495052"/>
                </a:lnTo>
                <a:lnTo>
                  <a:pt x="0" y="540128"/>
                </a:lnTo>
                <a:lnTo>
                  <a:pt x="2613" y="585247"/>
                </a:lnTo>
                <a:lnTo>
                  <a:pt x="9271" y="630150"/>
                </a:lnTo>
                <a:lnTo>
                  <a:pt x="20019" y="674579"/>
                </a:lnTo>
                <a:lnTo>
                  <a:pt x="34901" y="718273"/>
                </a:lnTo>
                <a:lnTo>
                  <a:pt x="53960" y="760975"/>
                </a:lnTo>
                <a:lnTo>
                  <a:pt x="77243" y="802423"/>
                </a:lnTo>
                <a:lnTo>
                  <a:pt x="104791" y="842361"/>
                </a:lnTo>
                <a:lnTo>
                  <a:pt x="135801" y="879015"/>
                </a:lnTo>
                <a:lnTo>
                  <a:pt x="169244" y="911773"/>
                </a:lnTo>
                <a:lnTo>
                  <a:pt x="204891" y="940654"/>
                </a:lnTo>
                <a:lnTo>
                  <a:pt x="242515" y="965674"/>
                </a:lnTo>
                <a:lnTo>
                  <a:pt x="281889" y="986852"/>
                </a:lnTo>
                <a:lnTo>
                  <a:pt x="322784" y="1004206"/>
                </a:lnTo>
                <a:lnTo>
                  <a:pt x="364974" y="1017752"/>
                </a:lnTo>
                <a:lnTo>
                  <a:pt x="408231" y="1027509"/>
                </a:lnTo>
                <a:lnTo>
                  <a:pt x="452327" y="1033496"/>
                </a:lnTo>
                <a:lnTo>
                  <a:pt x="497034" y="1035728"/>
                </a:lnTo>
                <a:lnTo>
                  <a:pt x="542125" y="1034225"/>
                </a:lnTo>
                <a:lnTo>
                  <a:pt x="587372" y="1029003"/>
                </a:lnTo>
                <a:lnTo>
                  <a:pt x="632549" y="1020082"/>
                </a:lnTo>
                <a:lnTo>
                  <a:pt x="677426" y="1007478"/>
                </a:lnTo>
                <a:lnTo>
                  <a:pt x="721776" y="991209"/>
                </a:lnTo>
                <a:lnTo>
                  <a:pt x="765372" y="971294"/>
                </a:lnTo>
                <a:lnTo>
                  <a:pt x="807987" y="947749"/>
                </a:lnTo>
                <a:lnTo>
                  <a:pt x="849392" y="920593"/>
                </a:lnTo>
                <a:lnTo>
                  <a:pt x="888073" y="890470"/>
                </a:lnTo>
                <a:lnTo>
                  <a:pt x="923578" y="858191"/>
                </a:lnTo>
                <a:lnTo>
                  <a:pt x="955821" y="823958"/>
                </a:lnTo>
                <a:lnTo>
                  <a:pt x="984711" y="787974"/>
                </a:lnTo>
                <a:lnTo>
                  <a:pt x="1010160" y="750442"/>
                </a:lnTo>
                <a:lnTo>
                  <a:pt x="1032079" y="711565"/>
                </a:lnTo>
                <a:lnTo>
                  <a:pt x="1050380" y="671544"/>
                </a:lnTo>
                <a:lnTo>
                  <a:pt x="1064973" y="630583"/>
                </a:lnTo>
                <a:lnTo>
                  <a:pt x="1075770" y="588884"/>
                </a:lnTo>
                <a:lnTo>
                  <a:pt x="1082681" y="546651"/>
                </a:lnTo>
                <a:lnTo>
                  <a:pt x="1085618" y="504085"/>
                </a:lnTo>
                <a:lnTo>
                  <a:pt x="1084493" y="461389"/>
                </a:lnTo>
                <a:lnTo>
                  <a:pt x="1079215" y="418766"/>
                </a:lnTo>
                <a:lnTo>
                  <a:pt x="1069697" y="376418"/>
                </a:lnTo>
                <a:lnTo>
                  <a:pt x="1055850" y="334549"/>
                </a:lnTo>
                <a:lnTo>
                  <a:pt x="1037584" y="293361"/>
                </a:lnTo>
                <a:lnTo>
                  <a:pt x="1014810" y="253056"/>
                </a:lnTo>
                <a:lnTo>
                  <a:pt x="987441" y="213838"/>
                </a:lnTo>
                <a:lnTo>
                  <a:pt x="956253" y="176465"/>
                </a:lnTo>
                <a:lnTo>
                  <a:pt x="922305" y="142562"/>
                </a:lnTo>
                <a:lnTo>
                  <a:pt x="885868" y="112169"/>
                </a:lnTo>
                <a:lnTo>
                  <a:pt x="847216" y="85323"/>
                </a:lnTo>
                <a:lnTo>
                  <a:pt x="806619" y="62064"/>
                </a:lnTo>
                <a:lnTo>
                  <a:pt x="764349" y="42430"/>
                </a:lnTo>
                <a:lnTo>
                  <a:pt x="720679" y="26460"/>
                </a:lnTo>
                <a:lnTo>
                  <a:pt x="675879" y="14194"/>
                </a:lnTo>
                <a:lnTo>
                  <a:pt x="630222" y="5669"/>
                </a:lnTo>
                <a:lnTo>
                  <a:pt x="583979" y="924"/>
                </a:lnTo>
                <a:lnTo>
                  <a:pt x="537423" y="0"/>
                </a:lnTo>
                <a:close/>
              </a:path>
            </a:pathLst>
          </a:custGeom>
          <a:solidFill>
            <a:srgbClr val="12ABDB"/>
          </a:solidFill>
        </p:spPr>
        <p:txBody>
          <a:bodyPr wrap="square" lIns="0" tIns="0" rIns="0" bIns="0" rtlCol="0"/>
          <a:lstStyle/>
          <a:p>
            <a:endParaRPr/>
          </a:p>
        </p:txBody>
      </p:sp>
      <p:sp>
        <p:nvSpPr>
          <p:cNvPr id="6" name="object 6"/>
          <p:cNvSpPr txBox="1"/>
          <p:nvPr/>
        </p:nvSpPr>
        <p:spPr>
          <a:xfrm>
            <a:off x="1817623" y="1483894"/>
            <a:ext cx="1816100" cy="1172845"/>
          </a:xfrm>
          <a:prstGeom prst="rect">
            <a:avLst/>
          </a:prstGeom>
        </p:spPr>
        <p:txBody>
          <a:bodyPr vert="horz" wrap="square" lIns="0" tIns="65405" rIns="0" bIns="0" rtlCol="0">
            <a:spAutoFit/>
          </a:bodyPr>
          <a:lstStyle/>
          <a:p>
            <a:pPr marL="12700">
              <a:lnSpc>
                <a:spcPct val="100000"/>
              </a:lnSpc>
              <a:spcBef>
                <a:spcPts val="515"/>
              </a:spcBef>
            </a:pPr>
            <a:r>
              <a:rPr sz="2800" b="1" spc="-5">
                <a:solidFill>
                  <a:srgbClr val="006FAC"/>
                </a:solidFill>
                <a:latin typeface="Verdana"/>
                <a:cs typeface="Verdana"/>
              </a:rPr>
              <a:t>27</a:t>
            </a:r>
            <a:endParaRPr sz="2800">
              <a:latin typeface="Verdana"/>
              <a:cs typeface="Verdana"/>
            </a:endParaRPr>
          </a:p>
          <a:p>
            <a:pPr marL="12700" marR="5080">
              <a:lnSpc>
                <a:spcPct val="100000"/>
              </a:lnSpc>
              <a:spcBef>
                <a:spcPts val="215"/>
              </a:spcBef>
            </a:pPr>
            <a:r>
              <a:rPr sz="1400">
                <a:solidFill>
                  <a:srgbClr val="2B133C"/>
                </a:solidFill>
                <a:latin typeface="Verdana"/>
                <a:cs typeface="Verdana"/>
              </a:rPr>
              <a:t>of </a:t>
            </a:r>
            <a:r>
              <a:rPr sz="1400" spc="-5">
                <a:solidFill>
                  <a:srgbClr val="2B133C"/>
                </a:solidFill>
                <a:latin typeface="Verdana"/>
                <a:cs typeface="Verdana"/>
              </a:rPr>
              <a:t>the </a:t>
            </a:r>
            <a:r>
              <a:rPr sz="1400">
                <a:solidFill>
                  <a:srgbClr val="2B133C"/>
                </a:solidFill>
                <a:latin typeface="Verdana"/>
                <a:cs typeface="Verdana"/>
              </a:rPr>
              <a:t>world’s </a:t>
            </a:r>
            <a:r>
              <a:rPr sz="1400" spc="-5">
                <a:solidFill>
                  <a:srgbClr val="2B133C"/>
                </a:solidFill>
                <a:latin typeface="Verdana"/>
                <a:cs typeface="Verdana"/>
              </a:rPr>
              <a:t>30  </a:t>
            </a:r>
            <a:r>
              <a:rPr sz="1400">
                <a:solidFill>
                  <a:srgbClr val="2B133C"/>
                </a:solidFill>
                <a:latin typeface="Verdana"/>
                <a:cs typeface="Verdana"/>
              </a:rPr>
              <a:t>largest consumer  </a:t>
            </a:r>
            <a:r>
              <a:rPr sz="1400" spc="-5">
                <a:solidFill>
                  <a:srgbClr val="2B133C"/>
                </a:solidFill>
                <a:latin typeface="Verdana"/>
                <a:cs typeface="Verdana"/>
              </a:rPr>
              <a:t>products</a:t>
            </a:r>
            <a:r>
              <a:rPr sz="1400" spc="-70">
                <a:solidFill>
                  <a:srgbClr val="2B133C"/>
                </a:solidFill>
                <a:latin typeface="Verdana"/>
                <a:cs typeface="Verdana"/>
              </a:rPr>
              <a:t> </a:t>
            </a:r>
            <a:r>
              <a:rPr sz="1400">
                <a:solidFill>
                  <a:srgbClr val="2B133C"/>
                </a:solidFill>
                <a:latin typeface="Verdana"/>
                <a:cs typeface="Verdana"/>
              </a:rPr>
              <a:t>companies</a:t>
            </a:r>
            <a:endParaRPr sz="1400">
              <a:latin typeface="Verdana"/>
              <a:cs typeface="Verdana"/>
            </a:endParaRPr>
          </a:p>
        </p:txBody>
      </p:sp>
      <p:sp>
        <p:nvSpPr>
          <p:cNvPr id="7" name="object 7"/>
          <p:cNvSpPr/>
          <p:nvPr/>
        </p:nvSpPr>
        <p:spPr>
          <a:xfrm>
            <a:off x="382684" y="1606198"/>
            <a:ext cx="1084580" cy="1036319"/>
          </a:xfrm>
          <a:custGeom>
            <a:avLst/>
            <a:gdLst/>
            <a:ahLst/>
            <a:cxnLst/>
            <a:rect l="l" t="t" r="r" b="b"/>
            <a:pathLst>
              <a:path w="1084580" h="1036319">
                <a:moveTo>
                  <a:pt x="536725" y="0"/>
                </a:moveTo>
                <a:lnTo>
                  <a:pt x="490185" y="2933"/>
                </a:lnTo>
                <a:lnTo>
                  <a:pt x="443875" y="9763"/>
                </a:lnTo>
                <a:lnTo>
                  <a:pt x="398067" y="20529"/>
                </a:lnTo>
                <a:lnTo>
                  <a:pt x="353032" y="35270"/>
                </a:lnTo>
                <a:lnTo>
                  <a:pt x="309043" y="54024"/>
                </a:lnTo>
                <a:lnTo>
                  <a:pt x="266372" y="76831"/>
                </a:lnTo>
                <a:lnTo>
                  <a:pt x="225289" y="103729"/>
                </a:lnTo>
                <a:lnTo>
                  <a:pt x="186375" y="134110"/>
                </a:lnTo>
                <a:lnTo>
                  <a:pt x="151015" y="167127"/>
                </a:lnTo>
                <a:lnTo>
                  <a:pt x="119253" y="202522"/>
                </a:lnTo>
                <a:lnTo>
                  <a:pt x="91133" y="240033"/>
                </a:lnTo>
                <a:lnTo>
                  <a:pt x="66700" y="279403"/>
                </a:lnTo>
                <a:lnTo>
                  <a:pt x="45997" y="320372"/>
                </a:lnTo>
                <a:lnTo>
                  <a:pt x="29070" y="362680"/>
                </a:lnTo>
                <a:lnTo>
                  <a:pt x="15963" y="406069"/>
                </a:lnTo>
                <a:lnTo>
                  <a:pt x="6719" y="450280"/>
                </a:lnTo>
                <a:lnTo>
                  <a:pt x="1383" y="495052"/>
                </a:lnTo>
                <a:lnTo>
                  <a:pt x="0" y="540128"/>
                </a:lnTo>
                <a:lnTo>
                  <a:pt x="2613" y="585247"/>
                </a:lnTo>
                <a:lnTo>
                  <a:pt x="9267" y="630150"/>
                </a:lnTo>
                <a:lnTo>
                  <a:pt x="20006" y="674579"/>
                </a:lnTo>
                <a:lnTo>
                  <a:pt x="34875" y="718273"/>
                </a:lnTo>
                <a:lnTo>
                  <a:pt x="53918" y="760975"/>
                </a:lnTo>
                <a:lnTo>
                  <a:pt x="77179" y="802423"/>
                </a:lnTo>
                <a:lnTo>
                  <a:pt x="104702" y="842361"/>
                </a:lnTo>
                <a:lnTo>
                  <a:pt x="135663" y="879015"/>
                </a:lnTo>
                <a:lnTo>
                  <a:pt x="169055" y="911773"/>
                </a:lnTo>
                <a:lnTo>
                  <a:pt x="204650" y="940654"/>
                </a:lnTo>
                <a:lnTo>
                  <a:pt x="242222" y="965674"/>
                </a:lnTo>
                <a:lnTo>
                  <a:pt x="281542" y="986852"/>
                </a:lnTo>
                <a:lnTo>
                  <a:pt x="322383" y="1004206"/>
                </a:lnTo>
                <a:lnTo>
                  <a:pt x="364518" y="1017752"/>
                </a:lnTo>
                <a:lnTo>
                  <a:pt x="407720" y="1027509"/>
                </a:lnTo>
                <a:lnTo>
                  <a:pt x="451760" y="1033496"/>
                </a:lnTo>
                <a:lnTo>
                  <a:pt x="496412" y="1035728"/>
                </a:lnTo>
                <a:lnTo>
                  <a:pt x="541447" y="1034225"/>
                </a:lnTo>
                <a:lnTo>
                  <a:pt x="586639" y="1029003"/>
                </a:lnTo>
                <a:lnTo>
                  <a:pt x="631760" y="1020082"/>
                </a:lnTo>
                <a:lnTo>
                  <a:pt x="676583" y="1007478"/>
                </a:lnTo>
                <a:lnTo>
                  <a:pt x="720879" y="991209"/>
                </a:lnTo>
                <a:lnTo>
                  <a:pt x="764422" y="971294"/>
                </a:lnTo>
                <a:lnTo>
                  <a:pt x="806984" y="947749"/>
                </a:lnTo>
                <a:lnTo>
                  <a:pt x="848338" y="920593"/>
                </a:lnTo>
                <a:lnTo>
                  <a:pt x="886975" y="890470"/>
                </a:lnTo>
                <a:lnTo>
                  <a:pt x="922441" y="858191"/>
                </a:lnTo>
                <a:lnTo>
                  <a:pt x="954645" y="823958"/>
                </a:lnTo>
                <a:lnTo>
                  <a:pt x="983501" y="787974"/>
                </a:lnTo>
                <a:lnTo>
                  <a:pt x="1008919" y="750442"/>
                </a:lnTo>
                <a:lnTo>
                  <a:pt x="1030809" y="711565"/>
                </a:lnTo>
                <a:lnTo>
                  <a:pt x="1049085" y="671544"/>
                </a:lnTo>
                <a:lnTo>
                  <a:pt x="1063656" y="630583"/>
                </a:lnTo>
                <a:lnTo>
                  <a:pt x="1074435" y="588884"/>
                </a:lnTo>
                <a:lnTo>
                  <a:pt x="1081332" y="546651"/>
                </a:lnTo>
                <a:lnTo>
                  <a:pt x="1084258" y="504085"/>
                </a:lnTo>
                <a:lnTo>
                  <a:pt x="1083125" y="461389"/>
                </a:lnTo>
                <a:lnTo>
                  <a:pt x="1077845" y="418766"/>
                </a:lnTo>
                <a:lnTo>
                  <a:pt x="1068328" y="376418"/>
                </a:lnTo>
                <a:lnTo>
                  <a:pt x="1054486" y="334549"/>
                </a:lnTo>
                <a:lnTo>
                  <a:pt x="1036230" y="293361"/>
                </a:lnTo>
                <a:lnTo>
                  <a:pt x="1013471" y="253056"/>
                </a:lnTo>
                <a:lnTo>
                  <a:pt x="986120" y="213838"/>
                </a:lnTo>
                <a:lnTo>
                  <a:pt x="954987" y="176465"/>
                </a:lnTo>
                <a:lnTo>
                  <a:pt x="921094" y="142562"/>
                </a:lnTo>
                <a:lnTo>
                  <a:pt x="884714" y="112169"/>
                </a:lnTo>
                <a:lnTo>
                  <a:pt x="846117" y="85323"/>
                </a:lnTo>
                <a:lnTo>
                  <a:pt x="805577" y="62064"/>
                </a:lnTo>
                <a:lnTo>
                  <a:pt x="763363" y="42430"/>
                </a:lnTo>
                <a:lnTo>
                  <a:pt x="719750" y="26460"/>
                </a:lnTo>
                <a:lnTo>
                  <a:pt x="675007" y="14194"/>
                </a:lnTo>
                <a:lnTo>
                  <a:pt x="629408" y="5669"/>
                </a:lnTo>
                <a:lnTo>
                  <a:pt x="583223" y="924"/>
                </a:lnTo>
                <a:lnTo>
                  <a:pt x="536725" y="0"/>
                </a:lnTo>
                <a:close/>
              </a:path>
            </a:pathLst>
          </a:custGeom>
          <a:solidFill>
            <a:srgbClr val="12ABDB"/>
          </a:solidFill>
        </p:spPr>
        <p:txBody>
          <a:bodyPr wrap="square" lIns="0" tIns="0" rIns="0" bIns="0" rtlCol="0"/>
          <a:lstStyle/>
          <a:p>
            <a:endParaRPr/>
          </a:p>
        </p:txBody>
      </p:sp>
      <p:sp>
        <p:nvSpPr>
          <p:cNvPr id="8" name="object 8"/>
          <p:cNvSpPr/>
          <p:nvPr/>
        </p:nvSpPr>
        <p:spPr>
          <a:xfrm>
            <a:off x="1607819" y="1606296"/>
            <a:ext cx="0" cy="1097280"/>
          </a:xfrm>
          <a:custGeom>
            <a:avLst/>
            <a:gdLst/>
            <a:ahLst/>
            <a:cxnLst/>
            <a:rect l="l" t="t" r="r" b="b"/>
            <a:pathLst>
              <a:path h="1097280">
                <a:moveTo>
                  <a:pt x="0" y="0"/>
                </a:moveTo>
                <a:lnTo>
                  <a:pt x="0" y="1097279"/>
                </a:lnTo>
              </a:path>
            </a:pathLst>
          </a:custGeom>
          <a:ln w="27431">
            <a:solidFill>
              <a:srgbClr val="006FAC"/>
            </a:solidFill>
          </a:ln>
        </p:spPr>
        <p:txBody>
          <a:bodyPr wrap="square" lIns="0" tIns="0" rIns="0" bIns="0" rtlCol="0"/>
          <a:lstStyle/>
          <a:p>
            <a:endParaRPr/>
          </a:p>
        </p:txBody>
      </p:sp>
      <p:sp>
        <p:nvSpPr>
          <p:cNvPr id="9" name="object 9"/>
          <p:cNvSpPr txBox="1"/>
          <p:nvPr/>
        </p:nvSpPr>
        <p:spPr>
          <a:xfrm>
            <a:off x="1797811" y="3271923"/>
            <a:ext cx="1899920" cy="1002665"/>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006FAC"/>
                </a:solidFill>
                <a:latin typeface="Verdana"/>
                <a:cs typeface="Verdana"/>
              </a:rPr>
              <a:t>12</a:t>
            </a:r>
            <a:endParaRPr sz="2800">
              <a:latin typeface="Verdana"/>
              <a:cs typeface="Verdana"/>
            </a:endParaRPr>
          </a:p>
          <a:p>
            <a:pPr marL="12700" marR="5080">
              <a:lnSpc>
                <a:spcPct val="100000"/>
              </a:lnSpc>
              <a:spcBef>
                <a:spcPts val="330"/>
              </a:spcBef>
            </a:pPr>
            <a:r>
              <a:rPr sz="1400">
                <a:solidFill>
                  <a:srgbClr val="2B133C"/>
                </a:solidFill>
                <a:latin typeface="Verdana"/>
                <a:cs typeface="Verdana"/>
              </a:rPr>
              <a:t>of </a:t>
            </a:r>
            <a:r>
              <a:rPr sz="1400" spc="-5">
                <a:solidFill>
                  <a:srgbClr val="2B133C"/>
                </a:solidFill>
                <a:latin typeface="Verdana"/>
                <a:cs typeface="Verdana"/>
              </a:rPr>
              <a:t>the top 15 </a:t>
            </a:r>
            <a:r>
              <a:rPr sz="1400">
                <a:solidFill>
                  <a:srgbClr val="2B133C"/>
                </a:solidFill>
                <a:latin typeface="Verdana"/>
                <a:cs typeface="Verdana"/>
              </a:rPr>
              <a:t>largest  automotive</a:t>
            </a:r>
            <a:r>
              <a:rPr sz="1400" spc="-95">
                <a:solidFill>
                  <a:srgbClr val="2B133C"/>
                </a:solidFill>
                <a:latin typeface="Verdana"/>
                <a:cs typeface="Verdana"/>
              </a:rPr>
              <a:t> </a:t>
            </a:r>
            <a:r>
              <a:rPr sz="1400">
                <a:solidFill>
                  <a:srgbClr val="2B133C"/>
                </a:solidFill>
                <a:latin typeface="Verdana"/>
                <a:cs typeface="Verdana"/>
              </a:rPr>
              <a:t>suppliers</a:t>
            </a:r>
            <a:endParaRPr sz="1400">
              <a:latin typeface="Verdana"/>
              <a:cs typeface="Verdana"/>
            </a:endParaRPr>
          </a:p>
        </p:txBody>
      </p:sp>
      <p:sp>
        <p:nvSpPr>
          <p:cNvPr id="10" name="object 10"/>
          <p:cNvSpPr/>
          <p:nvPr/>
        </p:nvSpPr>
        <p:spPr>
          <a:xfrm>
            <a:off x="382684" y="3303935"/>
            <a:ext cx="1084580" cy="1036319"/>
          </a:xfrm>
          <a:custGeom>
            <a:avLst/>
            <a:gdLst/>
            <a:ahLst/>
            <a:cxnLst/>
            <a:rect l="l" t="t" r="r" b="b"/>
            <a:pathLst>
              <a:path w="1084580" h="1036320">
                <a:moveTo>
                  <a:pt x="536725" y="0"/>
                </a:moveTo>
                <a:lnTo>
                  <a:pt x="490185" y="2933"/>
                </a:lnTo>
                <a:lnTo>
                  <a:pt x="443875" y="9763"/>
                </a:lnTo>
                <a:lnTo>
                  <a:pt x="398067" y="20529"/>
                </a:lnTo>
                <a:lnTo>
                  <a:pt x="353032" y="35270"/>
                </a:lnTo>
                <a:lnTo>
                  <a:pt x="309043" y="54024"/>
                </a:lnTo>
                <a:lnTo>
                  <a:pt x="266372" y="76831"/>
                </a:lnTo>
                <a:lnTo>
                  <a:pt x="225289" y="103729"/>
                </a:lnTo>
                <a:lnTo>
                  <a:pt x="186375" y="134110"/>
                </a:lnTo>
                <a:lnTo>
                  <a:pt x="151015" y="167127"/>
                </a:lnTo>
                <a:lnTo>
                  <a:pt x="119253" y="202522"/>
                </a:lnTo>
                <a:lnTo>
                  <a:pt x="91133" y="240033"/>
                </a:lnTo>
                <a:lnTo>
                  <a:pt x="66700" y="279403"/>
                </a:lnTo>
                <a:lnTo>
                  <a:pt x="45997" y="320372"/>
                </a:lnTo>
                <a:lnTo>
                  <a:pt x="29070" y="362680"/>
                </a:lnTo>
                <a:lnTo>
                  <a:pt x="15963" y="406069"/>
                </a:lnTo>
                <a:lnTo>
                  <a:pt x="6719" y="450280"/>
                </a:lnTo>
                <a:lnTo>
                  <a:pt x="1383" y="495052"/>
                </a:lnTo>
                <a:lnTo>
                  <a:pt x="0" y="540128"/>
                </a:lnTo>
                <a:lnTo>
                  <a:pt x="2613" y="585247"/>
                </a:lnTo>
                <a:lnTo>
                  <a:pt x="9267" y="630150"/>
                </a:lnTo>
                <a:lnTo>
                  <a:pt x="20006" y="674579"/>
                </a:lnTo>
                <a:lnTo>
                  <a:pt x="34875" y="718273"/>
                </a:lnTo>
                <a:lnTo>
                  <a:pt x="53918" y="760975"/>
                </a:lnTo>
                <a:lnTo>
                  <a:pt x="77179" y="802423"/>
                </a:lnTo>
                <a:lnTo>
                  <a:pt x="104702" y="842361"/>
                </a:lnTo>
                <a:lnTo>
                  <a:pt x="135663" y="879015"/>
                </a:lnTo>
                <a:lnTo>
                  <a:pt x="169055" y="911773"/>
                </a:lnTo>
                <a:lnTo>
                  <a:pt x="204650" y="940654"/>
                </a:lnTo>
                <a:lnTo>
                  <a:pt x="242222" y="965674"/>
                </a:lnTo>
                <a:lnTo>
                  <a:pt x="281542" y="986852"/>
                </a:lnTo>
                <a:lnTo>
                  <a:pt x="322383" y="1004206"/>
                </a:lnTo>
                <a:lnTo>
                  <a:pt x="364518" y="1017752"/>
                </a:lnTo>
                <a:lnTo>
                  <a:pt x="407720" y="1027509"/>
                </a:lnTo>
                <a:lnTo>
                  <a:pt x="451760" y="1033496"/>
                </a:lnTo>
                <a:lnTo>
                  <a:pt x="496412" y="1035728"/>
                </a:lnTo>
                <a:lnTo>
                  <a:pt x="541447" y="1034225"/>
                </a:lnTo>
                <a:lnTo>
                  <a:pt x="586639" y="1029003"/>
                </a:lnTo>
                <a:lnTo>
                  <a:pt x="631760" y="1020082"/>
                </a:lnTo>
                <a:lnTo>
                  <a:pt x="676583" y="1007478"/>
                </a:lnTo>
                <a:lnTo>
                  <a:pt x="720879" y="991209"/>
                </a:lnTo>
                <a:lnTo>
                  <a:pt x="764422" y="971294"/>
                </a:lnTo>
                <a:lnTo>
                  <a:pt x="806984" y="947749"/>
                </a:lnTo>
                <a:lnTo>
                  <a:pt x="848338" y="920593"/>
                </a:lnTo>
                <a:lnTo>
                  <a:pt x="886975" y="890470"/>
                </a:lnTo>
                <a:lnTo>
                  <a:pt x="922441" y="858191"/>
                </a:lnTo>
                <a:lnTo>
                  <a:pt x="954645" y="823958"/>
                </a:lnTo>
                <a:lnTo>
                  <a:pt x="983501" y="787974"/>
                </a:lnTo>
                <a:lnTo>
                  <a:pt x="1008919" y="750442"/>
                </a:lnTo>
                <a:lnTo>
                  <a:pt x="1030809" y="711565"/>
                </a:lnTo>
                <a:lnTo>
                  <a:pt x="1049085" y="671544"/>
                </a:lnTo>
                <a:lnTo>
                  <a:pt x="1063656" y="630583"/>
                </a:lnTo>
                <a:lnTo>
                  <a:pt x="1074435" y="588884"/>
                </a:lnTo>
                <a:lnTo>
                  <a:pt x="1081332" y="546651"/>
                </a:lnTo>
                <a:lnTo>
                  <a:pt x="1084258" y="504085"/>
                </a:lnTo>
                <a:lnTo>
                  <a:pt x="1083125" y="461389"/>
                </a:lnTo>
                <a:lnTo>
                  <a:pt x="1077845" y="418766"/>
                </a:lnTo>
                <a:lnTo>
                  <a:pt x="1068328" y="376418"/>
                </a:lnTo>
                <a:lnTo>
                  <a:pt x="1054486" y="334549"/>
                </a:lnTo>
                <a:lnTo>
                  <a:pt x="1036230" y="293361"/>
                </a:lnTo>
                <a:lnTo>
                  <a:pt x="1013471" y="253056"/>
                </a:lnTo>
                <a:lnTo>
                  <a:pt x="986120" y="213838"/>
                </a:lnTo>
                <a:lnTo>
                  <a:pt x="954987" y="176465"/>
                </a:lnTo>
                <a:lnTo>
                  <a:pt x="921094" y="142562"/>
                </a:lnTo>
                <a:lnTo>
                  <a:pt x="884714" y="112169"/>
                </a:lnTo>
                <a:lnTo>
                  <a:pt x="846117" y="85323"/>
                </a:lnTo>
                <a:lnTo>
                  <a:pt x="805577" y="62064"/>
                </a:lnTo>
                <a:lnTo>
                  <a:pt x="763363" y="42430"/>
                </a:lnTo>
                <a:lnTo>
                  <a:pt x="719750" y="26460"/>
                </a:lnTo>
                <a:lnTo>
                  <a:pt x="675007" y="14194"/>
                </a:lnTo>
                <a:lnTo>
                  <a:pt x="629408" y="5669"/>
                </a:lnTo>
                <a:lnTo>
                  <a:pt x="583223" y="924"/>
                </a:lnTo>
                <a:lnTo>
                  <a:pt x="536725" y="0"/>
                </a:lnTo>
                <a:close/>
              </a:path>
            </a:pathLst>
          </a:custGeom>
          <a:solidFill>
            <a:srgbClr val="12ABDB"/>
          </a:solidFill>
        </p:spPr>
        <p:txBody>
          <a:bodyPr wrap="square" lIns="0" tIns="0" rIns="0" bIns="0" rtlCol="0"/>
          <a:lstStyle/>
          <a:p>
            <a:endParaRPr/>
          </a:p>
        </p:txBody>
      </p:sp>
      <p:sp>
        <p:nvSpPr>
          <p:cNvPr id="11" name="object 11"/>
          <p:cNvSpPr/>
          <p:nvPr/>
        </p:nvSpPr>
        <p:spPr>
          <a:xfrm>
            <a:off x="1607819" y="3304032"/>
            <a:ext cx="0" cy="1024255"/>
          </a:xfrm>
          <a:custGeom>
            <a:avLst/>
            <a:gdLst/>
            <a:ahLst/>
            <a:cxnLst/>
            <a:rect l="l" t="t" r="r" b="b"/>
            <a:pathLst>
              <a:path h="1024254">
                <a:moveTo>
                  <a:pt x="0" y="0"/>
                </a:moveTo>
                <a:lnTo>
                  <a:pt x="0" y="1024127"/>
                </a:lnTo>
              </a:path>
            </a:pathLst>
          </a:custGeom>
          <a:ln w="27431">
            <a:solidFill>
              <a:srgbClr val="006FAC"/>
            </a:solidFill>
          </a:ln>
        </p:spPr>
        <p:txBody>
          <a:bodyPr wrap="square" lIns="0" tIns="0" rIns="0" bIns="0" rtlCol="0"/>
          <a:lstStyle/>
          <a:p>
            <a:endParaRPr/>
          </a:p>
        </p:txBody>
      </p:sp>
      <p:sp>
        <p:nvSpPr>
          <p:cNvPr id="12" name="object 12"/>
          <p:cNvSpPr txBox="1"/>
          <p:nvPr/>
        </p:nvSpPr>
        <p:spPr>
          <a:xfrm>
            <a:off x="1824608" y="4970192"/>
            <a:ext cx="2121535" cy="1002665"/>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006FAC"/>
                </a:solidFill>
                <a:latin typeface="Verdana"/>
                <a:cs typeface="Verdana"/>
              </a:rPr>
              <a:t>6</a:t>
            </a:r>
            <a:endParaRPr sz="2800">
              <a:latin typeface="Verdana"/>
              <a:cs typeface="Verdana"/>
            </a:endParaRPr>
          </a:p>
          <a:p>
            <a:pPr marL="12700" marR="5080">
              <a:lnSpc>
                <a:spcPct val="100000"/>
              </a:lnSpc>
              <a:spcBef>
                <a:spcPts val="330"/>
              </a:spcBef>
            </a:pPr>
            <a:r>
              <a:rPr sz="1400">
                <a:solidFill>
                  <a:srgbClr val="2B133C"/>
                </a:solidFill>
                <a:latin typeface="Verdana"/>
                <a:cs typeface="Verdana"/>
              </a:rPr>
              <a:t>of </a:t>
            </a:r>
            <a:r>
              <a:rPr sz="1400" spc="-5">
                <a:solidFill>
                  <a:srgbClr val="2B133C"/>
                </a:solidFill>
                <a:latin typeface="Verdana"/>
                <a:cs typeface="Verdana"/>
              </a:rPr>
              <a:t>the top 10</a:t>
            </a:r>
            <a:r>
              <a:rPr sz="1400" spc="-90">
                <a:solidFill>
                  <a:srgbClr val="2B133C"/>
                </a:solidFill>
                <a:latin typeface="Verdana"/>
                <a:cs typeface="Verdana"/>
              </a:rPr>
              <a:t> </a:t>
            </a:r>
            <a:r>
              <a:rPr sz="1400">
                <a:solidFill>
                  <a:srgbClr val="2B133C"/>
                </a:solidFill>
                <a:latin typeface="Verdana"/>
                <a:cs typeface="Verdana"/>
              </a:rPr>
              <a:t>consumer  finance</a:t>
            </a:r>
            <a:r>
              <a:rPr sz="1400" spc="-45">
                <a:solidFill>
                  <a:srgbClr val="2B133C"/>
                </a:solidFill>
                <a:latin typeface="Verdana"/>
                <a:cs typeface="Verdana"/>
              </a:rPr>
              <a:t> </a:t>
            </a:r>
            <a:r>
              <a:rPr sz="1400">
                <a:solidFill>
                  <a:srgbClr val="2B133C"/>
                </a:solidFill>
                <a:latin typeface="Verdana"/>
                <a:cs typeface="Verdana"/>
              </a:rPr>
              <a:t>companies</a:t>
            </a:r>
            <a:endParaRPr sz="1400">
              <a:latin typeface="Verdana"/>
              <a:cs typeface="Verdana"/>
            </a:endParaRPr>
          </a:p>
        </p:txBody>
      </p:sp>
      <p:sp>
        <p:nvSpPr>
          <p:cNvPr id="13" name="object 13"/>
          <p:cNvSpPr/>
          <p:nvPr/>
        </p:nvSpPr>
        <p:spPr>
          <a:xfrm>
            <a:off x="382684" y="5001751"/>
            <a:ext cx="1084580" cy="1037590"/>
          </a:xfrm>
          <a:custGeom>
            <a:avLst/>
            <a:gdLst/>
            <a:ahLst/>
            <a:cxnLst/>
            <a:rect l="l" t="t" r="r" b="b"/>
            <a:pathLst>
              <a:path w="1084580" h="1037589">
                <a:moveTo>
                  <a:pt x="536725" y="0"/>
                </a:moveTo>
                <a:lnTo>
                  <a:pt x="490185" y="2942"/>
                </a:lnTo>
                <a:lnTo>
                  <a:pt x="443875" y="9787"/>
                </a:lnTo>
                <a:lnTo>
                  <a:pt x="398067" y="20573"/>
                </a:lnTo>
                <a:lnTo>
                  <a:pt x="353032" y="35339"/>
                </a:lnTo>
                <a:lnTo>
                  <a:pt x="309043" y="54123"/>
                </a:lnTo>
                <a:lnTo>
                  <a:pt x="266372" y="76965"/>
                </a:lnTo>
                <a:lnTo>
                  <a:pt x="225289" y="103902"/>
                </a:lnTo>
                <a:lnTo>
                  <a:pt x="186375" y="134308"/>
                </a:lnTo>
                <a:lnTo>
                  <a:pt x="151015" y="167355"/>
                </a:lnTo>
                <a:lnTo>
                  <a:pt x="119253" y="202784"/>
                </a:lnTo>
                <a:lnTo>
                  <a:pt x="91133" y="240335"/>
                </a:lnTo>
                <a:lnTo>
                  <a:pt x="66700" y="279749"/>
                </a:lnTo>
                <a:lnTo>
                  <a:pt x="45997" y="320766"/>
                </a:lnTo>
                <a:lnTo>
                  <a:pt x="29070" y="363126"/>
                </a:lnTo>
                <a:lnTo>
                  <a:pt x="15963" y="406569"/>
                </a:lnTo>
                <a:lnTo>
                  <a:pt x="6719" y="450836"/>
                </a:lnTo>
                <a:lnTo>
                  <a:pt x="1383" y="495667"/>
                </a:lnTo>
                <a:lnTo>
                  <a:pt x="0" y="540803"/>
                </a:lnTo>
                <a:lnTo>
                  <a:pt x="2613" y="585983"/>
                </a:lnTo>
                <a:lnTo>
                  <a:pt x="9267" y="630948"/>
                </a:lnTo>
                <a:lnTo>
                  <a:pt x="20006" y="675439"/>
                </a:lnTo>
                <a:lnTo>
                  <a:pt x="34875" y="719195"/>
                </a:lnTo>
                <a:lnTo>
                  <a:pt x="53918" y="761957"/>
                </a:lnTo>
                <a:lnTo>
                  <a:pt x="77179" y="803466"/>
                </a:lnTo>
                <a:lnTo>
                  <a:pt x="104702" y="843461"/>
                </a:lnTo>
                <a:lnTo>
                  <a:pt x="135663" y="880171"/>
                </a:lnTo>
                <a:lnTo>
                  <a:pt x="169055" y="912979"/>
                </a:lnTo>
                <a:lnTo>
                  <a:pt x="204650" y="941902"/>
                </a:lnTo>
                <a:lnTo>
                  <a:pt x="242222" y="966959"/>
                </a:lnTo>
                <a:lnTo>
                  <a:pt x="281542" y="988166"/>
                </a:lnTo>
                <a:lnTo>
                  <a:pt x="322383" y="1005543"/>
                </a:lnTo>
                <a:lnTo>
                  <a:pt x="364518" y="1019107"/>
                </a:lnTo>
                <a:lnTo>
                  <a:pt x="407720" y="1028875"/>
                </a:lnTo>
                <a:lnTo>
                  <a:pt x="451760" y="1034866"/>
                </a:lnTo>
                <a:lnTo>
                  <a:pt x="496412" y="1037098"/>
                </a:lnTo>
                <a:lnTo>
                  <a:pt x="541447" y="1035588"/>
                </a:lnTo>
                <a:lnTo>
                  <a:pt x="586639" y="1030354"/>
                </a:lnTo>
                <a:lnTo>
                  <a:pt x="631760" y="1021415"/>
                </a:lnTo>
                <a:lnTo>
                  <a:pt x="676583" y="1008788"/>
                </a:lnTo>
                <a:lnTo>
                  <a:pt x="720879" y="992490"/>
                </a:lnTo>
                <a:lnTo>
                  <a:pt x="764422" y="972541"/>
                </a:lnTo>
                <a:lnTo>
                  <a:pt x="806984" y="948957"/>
                </a:lnTo>
                <a:lnTo>
                  <a:pt x="848338" y="921757"/>
                </a:lnTo>
                <a:lnTo>
                  <a:pt x="886975" y="891609"/>
                </a:lnTo>
                <a:lnTo>
                  <a:pt x="922441" y="859301"/>
                </a:lnTo>
                <a:lnTo>
                  <a:pt x="954645" y="825036"/>
                </a:lnTo>
                <a:lnTo>
                  <a:pt x="983501" y="789017"/>
                </a:lnTo>
                <a:lnTo>
                  <a:pt x="1008919" y="751447"/>
                </a:lnTo>
                <a:lnTo>
                  <a:pt x="1030809" y="712528"/>
                </a:lnTo>
                <a:lnTo>
                  <a:pt x="1049085" y="672463"/>
                </a:lnTo>
                <a:lnTo>
                  <a:pt x="1063656" y="631455"/>
                </a:lnTo>
                <a:lnTo>
                  <a:pt x="1074435" y="589707"/>
                </a:lnTo>
                <a:lnTo>
                  <a:pt x="1081332" y="547422"/>
                </a:lnTo>
                <a:lnTo>
                  <a:pt x="1084258" y="504803"/>
                </a:lnTo>
                <a:lnTo>
                  <a:pt x="1083125" y="462052"/>
                </a:lnTo>
                <a:lnTo>
                  <a:pt x="1077845" y="419372"/>
                </a:lnTo>
                <a:lnTo>
                  <a:pt x="1068328" y="376966"/>
                </a:lnTo>
                <a:lnTo>
                  <a:pt x="1054486" y="335036"/>
                </a:lnTo>
                <a:lnTo>
                  <a:pt x="1036230" y="293787"/>
                </a:lnTo>
                <a:lnTo>
                  <a:pt x="1013471" y="253420"/>
                </a:lnTo>
                <a:lnTo>
                  <a:pt x="986120" y="214138"/>
                </a:lnTo>
                <a:lnTo>
                  <a:pt x="954987" y="176705"/>
                </a:lnTo>
                <a:lnTo>
                  <a:pt x="921094" y="142750"/>
                </a:lnTo>
                <a:lnTo>
                  <a:pt x="884714" y="112310"/>
                </a:lnTo>
                <a:lnTo>
                  <a:pt x="846117" y="85425"/>
                </a:lnTo>
                <a:lnTo>
                  <a:pt x="805577" y="62132"/>
                </a:lnTo>
                <a:lnTo>
                  <a:pt x="763363" y="42472"/>
                </a:lnTo>
                <a:lnTo>
                  <a:pt x="719750" y="26482"/>
                </a:lnTo>
                <a:lnTo>
                  <a:pt x="675007" y="14201"/>
                </a:lnTo>
                <a:lnTo>
                  <a:pt x="629408" y="5668"/>
                </a:lnTo>
                <a:lnTo>
                  <a:pt x="583223" y="921"/>
                </a:lnTo>
                <a:lnTo>
                  <a:pt x="536725" y="0"/>
                </a:lnTo>
                <a:close/>
              </a:path>
            </a:pathLst>
          </a:custGeom>
          <a:solidFill>
            <a:srgbClr val="12ABDB"/>
          </a:solidFill>
        </p:spPr>
        <p:txBody>
          <a:bodyPr wrap="square" lIns="0" tIns="0" rIns="0" bIns="0" rtlCol="0"/>
          <a:lstStyle/>
          <a:p>
            <a:endParaRPr/>
          </a:p>
        </p:txBody>
      </p:sp>
      <p:sp>
        <p:nvSpPr>
          <p:cNvPr id="14" name="object 14"/>
          <p:cNvSpPr/>
          <p:nvPr/>
        </p:nvSpPr>
        <p:spPr>
          <a:xfrm>
            <a:off x="1607819" y="5001767"/>
            <a:ext cx="0" cy="1026160"/>
          </a:xfrm>
          <a:custGeom>
            <a:avLst/>
            <a:gdLst/>
            <a:ahLst/>
            <a:cxnLst/>
            <a:rect l="l" t="t" r="r" b="b"/>
            <a:pathLst>
              <a:path h="1026160">
                <a:moveTo>
                  <a:pt x="0" y="0"/>
                </a:moveTo>
                <a:lnTo>
                  <a:pt x="0" y="1025652"/>
                </a:lnTo>
              </a:path>
            </a:pathLst>
          </a:custGeom>
          <a:ln w="27431">
            <a:solidFill>
              <a:srgbClr val="006FAC"/>
            </a:solidFill>
          </a:ln>
        </p:spPr>
        <p:txBody>
          <a:bodyPr wrap="square" lIns="0" tIns="0" rIns="0" bIns="0" rtlCol="0"/>
          <a:lstStyle/>
          <a:p>
            <a:endParaRPr/>
          </a:p>
        </p:txBody>
      </p:sp>
      <p:sp>
        <p:nvSpPr>
          <p:cNvPr id="15" name="object 15"/>
          <p:cNvSpPr txBox="1"/>
          <p:nvPr/>
        </p:nvSpPr>
        <p:spPr>
          <a:xfrm>
            <a:off x="5672454" y="1468585"/>
            <a:ext cx="2285365" cy="1171575"/>
          </a:xfrm>
          <a:prstGeom prst="rect">
            <a:avLst/>
          </a:prstGeom>
        </p:spPr>
        <p:txBody>
          <a:bodyPr vert="horz" wrap="square" lIns="0" tIns="64135" rIns="0" bIns="0" rtlCol="0">
            <a:spAutoFit/>
          </a:bodyPr>
          <a:lstStyle/>
          <a:p>
            <a:pPr marL="12700">
              <a:lnSpc>
                <a:spcPct val="100000"/>
              </a:lnSpc>
              <a:spcBef>
                <a:spcPts val="505"/>
              </a:spcBef>
            </a:pPr>
            <a:r>
              <a:rPr sz="2800" b="1" spc="-5">
                <a:solidFill>
                  <a:srgbClr val="2B133C"/>
                </a:solidFill>
                <a:latin typeface="Verdana"/>
                <a:cs typeface="Verdana"/>
              </a:rPr>
              <a:t>300</a:t>
            </a:r>
            <a:endParaRPr sz="2800">
              <a:latin typeface="Verdana"/>
              <a:cs typeface="Verdana"/>
            </a:endParaRPr>
          </a:p>
          <a:p>
            <a:pPr marL="12700" marR="5080">
              <a:lnSpc>
                <a:spcPct val="100000"/>
              </a:lnSpc>
              <a:spcBef>
                <a:spcPts val="210"/>
              </a:spcBef>
            </a:pPr>
            <a:r>
              <a:rPr sz="1400">
                <a:solidFill>
                  <a:srgbClr val="2B133C"/>
                </a:solidFill>
                <a:latin typeface="Verdana"/>
                <a:cs typeface="Verdana"/>
              </a:rPr>
              <a:t>leading retailers</a:t>
            </a:r>
            <a:r>
              <a:rPr sz="1400" spc="-95">
                <a:solidFill>
                  <a:srgbClr val="2B133C"/>
                </a:solidFill>
                <a:latin typeface="Verdana"/>
                <a:cs typeface="Verdana"/>
              </a:rPr>
              <a:t> </a:t>
            </a:r>
            <a:r>
              <a:rPr sz="1400">
                <a:solidFill>
                  <a:srgbClr val="2B133C"/>
                </a:solidFill>
                <a:latin typeface="Verdana"/>
                <a:cs typeface="Verdana"/>
              </a:rPr>
              <a:t>globally,  including </a:t>
            </a:r>
            <a:r>
              <a:rPr sz="1400" spc="-5">
                <a:solidFill>
                  <a:srgbClr val="2B133C"/>
                </a:solidFill>
                <a:latin typeface="Verdana"/>
                <a:cs typeface="Verdana"/>
              </a:rPr>
              <a:t>27 </a:t>
            </a:r>
            <a:r>
              <a:rPr sz="1400">
                <a:solidFill>
                  <a:srgbClr val="2B133C"/>
                </a:solidFill>
                <a:latin typeface="Verdana"/>
                <a:cs typeface="Verdana"/>
              </a:rPr>
              <a:t>of </a:t>
            </a:r>
            <a:r>
              <a:rPr sz="1400" spc="-5">
                <a:solidFill>
                  <a:srgbClr val="2B133C"/>
                </a:solidFill>
                <a:latin typeface="Verdana"/>
                <a:cs typeface="Verdana"/>
              </a:rPr>
              <a:t>the  </a:t>
            </a:r>
            <a:r>
              <a:rPr sz="1400">
                <a:solidFill>
                  <a:srgbClr val="2B133C"/>
                </a:solidFill>
                <a:latin typeface="Verdana"/>
                <a:cs typeface="Verdana"/>
              </a:rPr>
              <a:t>world’s </a:t>
            </a:r>
            <a:r>
              <a:rPr sz="1400" spc="-5">
                <a:solidFill>
                  <a:srgbClr val="2B133C"/>
                </a:solidFill>
                <a:latin typeface="Verdana"/>
                <a:cs typeface="Verdana"/>
              </a:rPr>
              <a:t>30</a:t>
            </a:r>
            <a:r>
              <a:rPr sz="1400" spc="-45">
                <a:solidFill>
                  <a:srgbClr val="2B133C"/>
                </a:solidFill>
                <a:latin typeface="Verdana"/>
                <a:cs typeface="Verdana"/>
              </a:rPr>
              <a:t> </a:t>
            </a:r>
            <a:r>
              <a:rPr sz="1400">
                <a:solidFill>
                  <a:srgbClr val="2B133C"/>
                </a:solidFill>
                <a:latin typeface="Verdana"/>
                <a:cs typeface="Verdana"/>
              </a:rPr>
              <a:t>largest</a:t>
            </a:r>
            <a:endParaRPr sz="1400">
              <a:latin typeface="Verdana"/>
              <a:cs typeface="Verdana"/>
            </a:endParaRPr>
          </a:p>
        </p:txBody>
      </p:sp>
      <p:sp>
        <p:nvSpPr>
          <p:cNvPr id="16" name="object 16"/>
          <p:cNvSpPr/>
          <p:nvPr/>
        </p:nvSpPr>
        <p:spPr>
          <a:xfrm>
            <a:off x="4249149" y="1606198"/>
            <a:ext cx="1085850" cy="1036319"/>
          </a:xfrm>
          <a:custGeom>
            <a:avLst/>
            <a:gdLst/>
            <a:ahLst/>
            <a:cxnLst/>
            <a:rect l="l" t="t" r="r" b="b"/>
            <a:pathLst>
              <a:path w="1085850" h="1036319">
                <a:moveTo>
                  <a:pt x="537423" y="0"/>
                </a:moveTo>
                <a:lnTo>
                  <a:pt x="490824" y="2933"/>
                </a:lnTo>
                <a:lnTo>
                  <a:pt x="444455" y="9763"/>
                </a:lnTo>
                <a:lnTo>
                  <a:pt x="398588" y="20529"/>
                </a:lnTo>
                <a:lnTo>
                  <a:pt x="353494" y="35270"/>
                </a:lnTo>
                <a:lnTo>
                  <a:pt x="309445" y="54024"/>
                </a:lnTo>
                <a:lnTo>
                  <a:pt x="266712" y="76831"/>
                </a:lnTo>
                <a:lnTo>
                  <a:pt x="225568" y="103729"/>
                </a:lnTo>
                <a:lnTo>
                  <a:pt x="186608" y="134110"/>
                </a:lnTo>
                <a:lnTo>
                  <a:pt x="151205" y="167127"/>
                </a:lnTo>
                <a:lnTo>
                  <a:pt x="119405" y="202522"/>
                </a:lnTo>
                <a:lnTo>
                  <a:pt x="91251" y="240033"/>
                </a:lnTo>
                <a:lnTo>
                  <a:pt x="66789" y="279403"/>
                </a:lnTo>
                <a:lnTo>
                  <a:pt x="46061" y="320372"/>
                </a:lnTo>
                <a:lnTo>
                  <a:pt x="29113" y="362680"/>
                </a:lnTo>
                <a:lnTo>
                  <a:pt x="15988" y="406069"/>
                </a:lnTo>
                <a:lnTo>
                  <a:pt x="6731" y="450280"/>
                </a:lnTo>
                <a:lnTo>
                  <a:pt x="1387" y="495052"/>
                </a:lnTo>
                <a:lnTo>
                  <a:pt x="0" y="540128"/>
                </a:lnTo>
                <a:lnTo>
                  <a:pt x="2613" y="585247"/>
                </a:lnTo>
                <a:lnTo>
                  <a:pt x="9271" y="630150"/>
                </a:lnTo>
                <a:lnTo>
                  <a:pt x="20019" y="674579"/>
                </a:lnTo>
                <a:lnTo>
                  <a:pt x="34901" y="718273"/>
                </a:lnTo>
                <a:lnTo>
                  <a:pt x="53960" y="760975"/>
                </a:lnTo>
                <a:lnTo>
                  <a:pt x="77243" y="802423"/>
                </a:lnTo>
                <a:lnTo>
                  <a:pt x="104791" y="842361"/>
                </a:lnTo>
                <a:lnTo>
                  <a:pt x="135801" y="879015"/>
                </a:lnTo>
                <a:lnTo>
                  <a:pt x="169244" y="911773"/>
                </a:lnTo>
                <a:lnTo>
                  <a:pt x="204891" y="940654"/>
                </a:lnTo>
                <a:lnTo>
                  <a:pt x="242515" y="965674"/>
                </a:lnTo>
                <a:lnTo>
                  <a:pt x="281889" y="986852"/>
                </a:lnTo>
                <a:lnTo>
                  <a:pt x="322784" y="1004206"/>
                </a:lnTo>
                <a:lnTo>
                  <a:pt x="364974" y="1017752"/>
                </a:lnTo>
                <a:lnTo>
                  <a:pt x="408231" y="1027509"/>
                </a:lnTo>
                <a:lnTo>
                  <a:pt x="452327" y="1033496"/>
                </a:lnTo>
                <a:lnTo>
                  <a:pt x="497034" y="1035728"/>
                </a:lnTo>
                <a:lnTo>
                  <a:pt x="542125" y="1034225"/>
                </a:lnTo>
                <a:lnTo>
                  <a:pt x="587372" y="1029003"/>
                </a:lnTo>
                <a:lnTo>
                  <a:pt x="632549" y="1020082"/>
                </a:lnTo>
                <a:lnTo>
                  <a:pt x="677426" y="1007478"/>
                </a:lnTo>
                <a:lnTo>
                  <a:pt x="721776" y="991209"/>
                </a:lnTo>
                <a:lnTo>
                  <a:pt x="765372" y="971294"/>
                </a:lnTo>
                <a:lnTo>
                  <a:pt x="807987" y="947749"/>
                </a:lnTo>
                <a:lnTo>
                  <a:pt x="849392" y="920593"/>
                </a:lnTo>
                <a:lnTo>
                  <a:pt x="888073" y="890470"/>
                </a:lnTo>
                <a:lnTo>
                  <a:pt x="923578" y="858191"/>
                </a:lnTo>
                <a:lnTo>
                  <a:pt x="955821" y="823958"/>
                </a:lnTo>
                <a:lnTo>
                  <a:pt x="984711" y="787974"/>
                </a:lnTo>
                <a:lnTo>
                  <a:pt x="1010160" y="750442"/>
                </a:lnTo>
                <a:lnTo>
                  <a:pt x="1032079" y="711565"/>
                </a:lnTo>
                <a:lnTo>
                  <a:pt x="1050380" y="671544"/>
                </a:lnTo>
                <a:lnTo>
                  <a:pt x="1064973" y="630583"/>
                </a:lnTo>
                <a:lnTo>
                  <a:pt x="1075770" y="588884"/>
                </a:lnTo>
                <a:lnTo>
                  <a:pt x="1082681" y="546651"/>
                </a:lnTo>
                <a:lnTo>
                  <a:pt x="1085618" y="504085"/>
                </a:lnTo>
                <a:lnTo>
                  <a:pt x="1084493" y="461389"/>
                </a:lnTo>
                <a:lnTo>
                  <a:pt x="1079215" y="418766"/>
                </a:lnTo>
                <a:lnTo>
                  <a:pt x="1069697" y="376418"/>
                </a:lnTo>
                <a:lnTo>
                  <a:pt x="1055850" y="334549"/>
                </a:lnTo>
                <a:lnTo>
                  <a:pt x="1037584" y="293361"/>
                </a:lnTo>
                <a:lnTo>
                  <a:pt x="1014810" y="253056"/>
                </a:lnTo>
                <a:lnTo>
                  <a:pt x="987441" y="213838"/>
                </a:lnTo>
                <a:lnTo>
                  <a:pt x="956253" y="176465"/>
                </a:lnTo>
                <a:lnTo>
                  <a:pt x="922305" y="142562"/>
                </a:lnTo>
                <a:lnTo>
                  <a:pt x="885868" y="112169"/>
                </a:lnTo>
                <a:lnTo>
                  <a:pt x="847216" y="85323"/>
                </a:lnTo>
                <a:lnTo>
                  <a:pt x="806619" y="62064"/>
                </a:lnTo>
                <a:lnTo>
                  <a:pt x="764349" y="42430"/>
                </a:lnTo>
                <a:lnTo>
                  <a:pt x="720679" y="26460"/>
                </a:lnTo>
                <a:lnTo>
                  <a:pt x="675879" y="14194"/>
                </a:lnTo>
                <a:lnTo>
                  <a:pt x="630222" y="5669"/>
                </a:lnTo>
                <a:lnTo>
                  <a:pt x="583979" y="924"/>
                </a:lnTo>
                <a:lnTo>
                  <a:pt x="537423" y="0"/>
                </a:lnTo>
                <a:close/>
              </a:path>
            </a:pathLst>
          </a:custGeom>
          <a:solidFill>
            <a:srgbClr val="12ABDB"/>
          </a:solidFill>
        </p:spPr>
        <p:txBody>
          <a:bodyPr wrap="square" lIns="0" tIns="0" rIns="0" bIns="0" rtlCol="0"/>
          <a:lstStyle/>
          <a:p>
            <a:endParaRPr/>
          </a:p>
        </p:txBody>
      </p:sp>
      <p:sp>
        <p:nvSpPr>
          <p:cNvPr id="17" name="object 17"/>
          <p:cNvSpPr/>
          <p:nvPr/>
        </p:nvSpPr>
        <p:spPr>
          <a:xfrm>
            <a:off x="4426489" y="1770972"/>
            <a:ext cx="715645" cy="706120"/>
          </a:xfrm>
          <a:custGeom>
            <a:avLst/>
            <a:gdLst/>
            <a:ahLst/>
            <a:cxnLst/>
            <a:rect l="l" t="t" r="r" b="b"/>
            <a:pathLst>
              <a:path w="715645" h="706119">
                <a:moveTo>
                  <a:pt x="358960" y="0"/>
                </a:moveTo>
                <a:lnTo>
                  <a:pt x="304342" y="1644"/>
                </a:lnTo>
                <a:lnTo>
                  <a:pt x="252248" y="11690"/>
                </a:lnTo>
                <a:lnTo>
                  <a:pt x="205835" y="31665"/>
                </a:lnTo>
                <a:lnTo>
                  <a:pt x="165946" y="54663"/>
                </a:lnTo>
                <a:lnTo>
                  <a:pt x="128318" y="81285"/>
                </a:lnTo>
                <a:lnTo>
                  <a:pt x="93900" y="111596"/>
                </a:lnTo>
                <a:lnTo>
                  <a:pt x="63642" y="145664"/>
                </a:lnTo>
                <a:lnTo>
                  <a:pt x="38492" y="183557"/>
                </a:lnTo>
                <a:lnTo>
                  <a:pt x="19399" y="225340"/>
                </a:lnTo>
                <a:lnTo>
                  <a:pt x="8457" y="266596"/>
                </a:lnTo>
                <a:lnTo>
                  <a:pt x="1967" y="313958"/>
                </a:lnTo>
                <a:lnTo>
                  <a:pt x="0" y="364262"/>
                </a:lnTo>
                <a:lnTo>
                  <a:pt x="2625" y="414344"/>
                </a:lnTo>
                <a:lnTo>
                  <a:pt x="9915" y="461040"/>
                </a:lnTo>
                <a:lnTo>
                  <a:pt x="21939" y="501184"/>
                </a:lnTo>
                <a:lnTo>
                  <a:pt x="42668" y="540302"/>
                </a:lnTo>
                <a:lnTo>
                  <a:pt x="69440" y="575690"/>
                </a:lnTo>
                <a:lnTo>
                  <a:pt x="101461" y="607192"/>
                </a:lnTo>
                <a:lnTo>
                  <a:pt x="137940" y="634652"/>
                </a:lnTo>
                <a:lnTo>
                  <a:pt x="178083" y="657912"/>
                </a:lnTo>
                <a:lnTo>
                  <a:pt x="221097" y="676816"/>
                </a:lnTo>
                <a:lnTo>
                  <a:pt x="266192" y="691208"/>
                </a:lnTo>
                <a:lnTo>
                  <a:pt x="312573" y="700930"/>
                </a:lnTo>
                <a:lnTo>
                  <a:pt x="359448" y="705827"/>
                </a:lnTo>
                <a:lnTo>
                  <a:pt x="406025" y="705741"/>
                </a:lnTo>
                <a:lnTo>
                  <a:pt x="451511" y="700516"/>
                </a:lnTo>
                <a:lnTo>
                  <a:pt x="495114" y="689996"/>
                </a:lnTo>
                <a:lnTo>
                  <a:pt x="536041" y="674023"/>
                </a:lnTo>
                <a:lnTo>
                  <a:pt x="573500" y="652441"/>
                </a:lnTo>
                <a:lnTo>
                  <a:pt x="607788" y="624136"/>
                </a:lnTo>
                <a:lnTo>
                  <a:pt x="637965" y="589405"/>
                </a:lnTo>
                <a:lnTo>
                  <a:pt x="663700" y="549458"/>
                </a:lnTo>
                <a:lnTo>
                  <a:pt x="684660" y="505503"/>
                </a:lnTo>
                <a:lnTo>
                  <a:pt x="700516" y="458750"/>
                </a:lnTo>
                <a:lnTo>
                  <a:pt x="710934" y="410409"/>
                </a:lnTo>
                <a:lnTo>
                  <a:pt x="715584" y="361687"/>
                </a:lnTo>
                <a:lnTo>
                  <a:pt x="714134" y="313796"/>
                </a:lnTo>
                <a:lnTo>
                  <a:pt x="706253" y="267944"/>
                </a:lnTo>
                <a:lnTo>
                  <a:pt x="691610" y="225340"/>
                </a:lnTo>
                <a:lnTo>
                  <a:pt x="669597" y="184074"/>
                </a:lnTo>
                <a:lnTo>
                  <a:pt x="644049" y="145041"/>
                </a:lnTo>
                <a:lnTo>
                  <a:pt x="614962" y="109167"/>
                </a:lnTo>
                <a:lnTo>
                  <a:pt x="582332" y="77379"/>
                </a:lnTo>
                <a:lnTo>
                  <a:pt x="546154" y="50602"/>
                </a:lnTo>
                <a:lnTo>
                  <a:pt x="506424" y="29764"/>
                </a:lnTo>
                <a:lnTo>
                  <a:pt x="463137" y="15790"/>
                </a:lnTo>
                <a:lnTo>
                  <a:pt x="412944" y="5225"/>
                </a:lnTo>
                <a:lnTo>
                  <a:pt x="358960" y="0"/>
                </a:lnTo>
                <a:close/>
              </a:path>
            </a:pathLst>
          </a:custGeom>
          <a:solidFill>
            <a:srgbClr val="F1F1F1"/>
          </a:solidFill>
        </p:spPr>
        <p:txBody>
          <a:bodyPr wrap="square" lIns="0" tIns="0" rIns="0" bIns="0" rtlCol="0"/>
          <a:lstStyle/>
          <a:p>
            <a:endParaRPr/>
          </a:p>
        </p:txBody>
      </p:sp>
      <p:sp>
        <p:nvSpPr>
          <p:cNvPr id="18" name="object 18"/>
          <p:cNvSpPr/>
          <p:nvPr/>
        </p:nvSpPr>
        <p:spPr>
          <a:xfrm>
            <a:off x="4596384" y="1772666"/>
            <a:ext cx="208915" cy="55880"/>
          </a:xfrm>
          <a:custGeom>
            <a:avLst/>
            <a:gdLst/>
            <a:ahLst/>
            <a:cxnLst/>
            <a:rect l="l" t="t" r="r" b="b"/>
            <a:pathLst>
              <a:path w="208914" h="55880">
                <a:moveTo>
                  <a:pt x="208787" y="0"/>
                </a:moveTo>
                <a:lnTo>
                  <a:pt x="136767" y="25"/>
                </a:lnTo>
                <a:lnTo>
                  <a:pt x="82581" y="10112"/>
                </a:lnTo>
                <a:lnTo>
                  <a:pt x="39302" y="27557"/>
                </a:lnTo>
                <a:lnTo>
                  <a:pt x="0" y="49657"/>
                </a:lnTo>
                <a:lnTo>
                  <a:pt x="36998" y="55667"/>
                </a:lnTo>
                <a:lnTo>
                  <a:pt x="70056" y="52879"/>
                </a:lnTo>
                <a:lnTo>
                  <a:pt x="101137" y="45210"/>
                </a:lnTo>
                <a:lnTo>
                  <a:pt x="132206" y="36575"/>
                </a:lnTo>
                <a:lnTo>
                  <a:pt x="153781" y="31236"/>
                </a:lnTo>
                <a:lnTo>
                  <a:pt x="174402" y="23193"/>
                </a:lnTo>
                <a:lnTo>
                  <a:pt x="193071" y="12698"/>
                </a:lnTo>
                <a:lnTo>
                  <a:pt x="208787" y="0"/>
                </a:lnTo>
                <a:close/>
              </a:path>
            </a:pathLst>
          </a:custGeom>
          <a:solidFill>
            <a:srgbClr val="2B133C"/>
          </a:solidFill>
        </p:spPr>
        <p:txBody>
          <a:bodyPr wrap="square" lIns="0" tIns="0" rIns="0" bIns="0" rtlCol="0"/>
          <a:lstStyle/>
          <a:p>
            <a:endParaRPr/>
          </a:p>
        </p:txBody>
      </p:sp>
      <p:sp>
        <p:nvSpPr>
          <p:cNvPr id="19" name="object 19"/>
          <p:cNvSpPr/>
          <p:nvPr/>
        </p:nvSpPr>
        <p:spPr>
          <a:xfrm>
            <a:off x="4728971" y="1804035"/>
            <a:ext cx="364490" cy="587375"/>
          </a:xfrm>
          <a:custGeom>
            <a:avLst/>
            <a:gdLst/>
            <a:ahLst/>
            <a:cxnLst/>
            <a:rect l="l" t="t" r="r" b="b"/>
            <a:pathLst>
              <a:path w="364489" h="587375">
                <a:moveTo>
                  <a:pt x="226806" y="343947"/>
                </a:moveTo>
                <a:lnTo>
                  <a:pt x="202628" y="349345"/>
                </a:lnTo>
                <a:lnTo>
                  <a:pt x="180927" y="360695"/>
                </a:lnTo>
                <a:lnTo>
                  <a:pt x="162940" y="374523"/>
                </a:lnTo>
                <a:lnTo>
                  <a:pt x="174416" y="393380"/>
                </a:lnTo>
                <a:lnTo>
                  <a:pt x="174069" y="409463"/>
                </a:lnTo>
                <a:lnTo>
                  <a:pt x="162887" y="422046"/>
                </a:lnTo>
                <a:lnTo>
                  <a:pt x="141858" y="430402"/>
                </a:lnTo>
                <a:lnTo>
                  <a:pt x="140612" y="459174"/>
                </a:lnTo>
                <a:lnTo>
                  <a:pt x="151415" y="483504"/>
                </a:lnTo>
                <a:lnTo>
                  <a:pt x="166647" y="505858"/>
                </a:lnTo>
                <a:lnTo>
                  <a:pt x="178688" y="528701"/>
                </a:lnTo>
                <a:lnTo>
                  <a:pt x="185467" y="547151"/>
                </a:lnTo>
                <a:lnTo>
                  <a:pt x="191484" y="562863"/>
                </a:lnTo>
                <a:lnTo>
                  <a:pt x="198977" y="576099"/>
                </a:lnTo>
                <a:lnTo>
                  <a:pt x="210185" y="587120"/>
                </a:lnTo>
                <a:lnTo>
                  <a:pt x="247989" y="550036"/>
                </a:lnTo>
                <a:lnTo>
                  <a:pt x="287734" y="515429"/>
                </a:lnTo>
                <a:lnTo>
                  <a:pt x="325502" y="478821"/>
                </a:lnTo>
                <a:lnTo>
                  <a:pt x="357377" y="435737"/>
                </a:lnTo>
                <a:lnTo>
                  <a:pt x="352057" y="423255"/>
                </a:lnTo>
                <a:lnTo>
                  <a:pt x="350440" y="409797"/>
                </a:lnTo>
                <a:lnTo>
                  <a:pt x="350323" y="395339"/>
                </a:lnTo>
                <a:lnTo>
                  <a:pt x="349503" y="379856"/>
                </a:lnTo>
                <a:lnTo>
                  <a:pt x="335635" y="369431"/>
                </a:lnTo>
                <a:lnTo>
                  <a:pt x="317611" y="359981"/>
                </a:lnTo>
                <a:lnTo>
                  <a:pt x="301087" y="348531"/>
                </a:lnTo>
                <a:lnTo>
                  <a:pt x="300772" y="347979"/>
                </a:lnTo>
                <a:lnTo>
                  <a:pt x="252222" y="347979"/>
                </a:lnTo>
                <a:lnTo>
                  <a:pt x="226806" y="343947"/>
                </a:lnTo>
                <a:close/>
              </a:path>
              <a:path w="364489" h="587375">
                <a:moveTo>
                  <a:pt x="358314" y="175387"/>
                </a:moveTo>
                <a:lnTo>
                  <a:pt x="186562" y="175387"/>
                </a:lnTo>
                <a:lnTo>
                  <a:pt x="201421" y="185179"/>
                </a:lnTo>
                <a:lnTo>
                  <a:pt x="218757" y="207914"/>
                </a:lnTo>
                <a:lnTo>
                  <a:pt x="233140" y="233626"/>
                </a:lnTo>
                <a:lnTo>
                  <a:pt x="239140" y="252349"/>
                </a:lnTo>
                <a:lnTo>
                  <a:pt x="239140" y="260350"/>
                </a:lnTo>
                <a:lnTo>
                  <a:pt x="231266" y="268350"/>
                </a:lnTo>
                <a:lnTo>
                  <a:pt x="231266" y="273685"/>
                </a:lnTo>
                <a:lnTo>
                  <a:pt x="244348" y="284225"/>
                </a:lnTo>
                <a:lnTo>
                  <a:pt x="244348" y="289560"/>
                </a:lnTo>
                <a:lnTo>
                  <a:pt x="252614" y="301706"/>
                </a:lnTo>
                <a:lnTo>
                  <a:pt x="259143" y="316817"/>
                </a:lnTo>
                <a:lnTo>
                  <a:pt x="260242" y="332904"/>
                </a:lnTo>
                <a:lnTo>
                  <a:pt x="252222" y="347979"/>
                </a:lnTo>
                <a:lnTo>
                  <a:pt x="300772" y="347979"/>
                </a:lnTo>
                <a:lnTo>
                  <a:pt x="291718" y="332104"/>
                </a:lnTo>
                <a:lnTo>
                  <a:pt x="289591" y="315975"/>
                </a:lnTo>
                <a:lnTo>
                  <a:pt x="290702" y="294894"/>
                </a:lnTo>
                <a:lnTo>
                  <a:pt x="299592" y="257682"/>
                </a:lnTo>
                <a:lnTo>
                  <a:pt x="337597" y="236751"/>
                </a:lnTo>
                <a:lnTo>
                  <a:pt x="352043" y="228473"/>
                </a:lnTo>
                <a:lnTo>
                  <a:pt x="363974" y="206023"/>
                </a:lnTo>
                <a:lnTo>
                  <a:pt x="360616" y="180324"/>
                </a:lnTo>
                <a:lnTo>
                  <a:pt x="358314" y="175387"/>
                </a:lnTo>
                <a:close/>
              </a:path>
              <a:path w="364489" h="587375">
                <a:moveTo>
                  <a:pt x="355546" y="169449"/>
                </a:moveTo>
                <a:lnTo>
                  <a:pt x="62801" y="169449"/>
                </a:lnTo>
                <a:lnTo>
                  <a:pt x="80803" y="180657"/>
                </a:lnTo>
                <a:lnTo>
                  <a:pt x="97805" y="195865"/>
                </a:lnTo>
                <a:lnTo>
                  <a:pt x="118237" y="204597"/>
                </a:lnTo>
                <a:lnTo>
                  <a:pt x="136681" y="199657"/>
                </a:lnTo>
                <a:lnTo>
                  <a:pt x="153400" y="188991"/>
                </a:lnTo>
                <a:lnTo>
                  <a:pt x="169618" y="178825"/>
                </a:lnTo>
                <a:lnTo>
                  <a:pt x="186562" y="175387"/>
                </a:lnTo>
                <a:lnTo>
                  <a:pt x="358314" y="175387"/>
                </a:lnTo>
                <a:lnTo>
                  <a:pt x="355546" y="169449"/>
                </a:lnTo>
                <a:close/>
              </a:path>
              <a:path w="364489" h="587375">
                <a:moveTo>
                  <a:pt x="181355" y="0"/>
                </a:moveTo>
                <a:lnTo>
                  <a:pt x="167586" y="623"/>
                </a:lnTo>
                <a:lnTo>
                  <a:pt x="154066" y="4984"/>
                </a:lnTo>
                <a:lnTo>
                  <a:pt x="141047" y="10822"/>
                </a:lnTo>
                <a:lnTo>
                  <a:pt x="128777" y="15875"/>
                </a:lnTo>
                <a:lnTo>
                  <a:pt x="115558" y="40387"/>
                </a:lnTo>
                <a:lnTo>
                  <a:pt x="91979" y="54435"/>
                </a:lnTo>
                <a:lnTo>
                  <a:pt x="64448" y="64506"/>
                </a:lnTo>
                <a:lnTo>
                  <a:pt x="39369" y="77088"/>
                </a:lnTo>
                <a:lnTo>
                  <a:pt x="33950" y="105941"/>
                </a:lnTo>
                <a:lnTo>
                  <a:pt x="21637" y="128841"/>
                </a:lnTo>
                <a:lnTo>
                  <a:pt x="8348" y="151741"/>
                </a:lnTo>
                <a:lnTo>
                  <a:pt x="0" y="180593"/>
                </a:lnTo>
                <a:lnTo>
                  <a:pt x="4048" y="177280"/>
                </a:lnTo>
                <a:lnTo>
                  <a:pt x="8858" y="169989"/>
                </a:lnTo>
                <a:lnTo>
                  <a:pt x="15144" y="162698"/>
                </a:lnTo>
                <a:lnTo>
                  <a:pt x="23622" y="159385"/>
                </a:lnTo>
                <a:lnTo>
                  <a:pt x="350853" y="159385"/>
                </a:lnTo>
                <a:lnTo>
                  <a:pt x="348400" y="154124"/>
                </a:lnTo>
                <a:lnTo>
                  <a:pt x="314231" y="99849"/>
                </a:lnTo>
                <a:lnTo>
                  <a:pt x="271230" y="53201"/>
                </a:lnTo>
                <a:lnTo>
                  <a:pt x="230808" y="21270"/>
                </a:lnTo>
                <a:lnTo>
                  <a:pt x="197824" y="3105"/>
                </a:lnTo>
                <a:lnTo>
                  <a:pt x="181355" y="0"/>
                </a:lnTo>
                <a:close/>
              </a:path>
              <a:path w="364489" h="587375">
                <a:moveTo>
                  <a:pt x="350853" y="159385"/>
                </a:moveTo>
                <a:lnTo>
                  <a:pt x="31495" y="159385"/>
                </a:lnTo>
                <a:lnTo>
                  <a:pt x="28955" y="172719"/>
                </a:lnTo>
                <a:lnTo>
                  <a:pt x="39369" y="172719"/>
                </a:lnTo>
                <a:lnTo>
                  <a:pt x="62801" y="169449"/>
                </a:lnTo>
                <a:lnTo>
                  <a:pt x="355546" y="169449"/>
                </a:lnTo>
                <a:lnTo>
                  <a:pt x="350853" y="159385"/>
                </a:lnTo>
                <a:close/>
              </a:path>
            </a:pathLst>
          </a:custGeom>
          <a:solidFill>
            <a:srgbClr val="2B133C"/>
          </a:solidFill>
        </p:spPr>
        <p:txBody>
          <a:bodyPr wrap="square" lIns="0" tIns="0" rIns="0" bIns="0" rtlCol="0"/>
          <a:lstStyle/>
          <a:p>
            <a:endParaRPr/>
          </a:p>
        </p:txBody>
      </p:sp>
      <p:sp>
        <p:nvSpPr>
          <p:cNvPr id="20" name="object 20"/>
          <p:cNvSpPr/>
          <p:nvPr/>
        </p:nvSpPr>
        <p:spPr>
          <a:xfrm>
            <a:off x="4422823" y="1936623"/>
            <a:ext cx="187325" cy="339090"/>
          </a:xfrm>
          <a:custGeom>
            <a:avLst/>
            <a:gdLst/>
            <a:ahLst/>
            <a:cxnLst/>
            <a:rect l="l" t="t" r="r" b="b"/>
            <a:pathLst>
              <a:path w="187325" h="339089">
                <a:moveTo>
                  <a:pt x="51894" y="0"/>
                </a:moveTo>
                <a:lnTo>
                  <a:pt x="28499" y="37636"/>
                </a:lnTo>
                <a:lnTo>
                  <a:pt x="12233" y="83100"/>
                </a:lnTo>
                <a:lnTo>
                  <a:pt x="2822" y="133844"/>
                </a:lnTo>
                <a:lnTo>
                  <a:pt x="0" y="187408"/>
                </a:lnTo>
                <a:lnTo>
                  <a:pt x="3475" y="240990"/>
                </a:lnTo>
                <a:lnTo>
                  <a:pt x="12992" y="292301"/>
                </a:lnTo>
                <a:lnTo>
                  <a:pt x="28272" y="338709"/>
                </a:lnTo>
                <a:lnTo>
                  <a:pt x="48946" y="322302"/>
                </a:lnTo>
                <a:lnTo>
                  <a:pt x="71357" y="308895"/>
                </a:lnTo>
                <a:lnTo>
                  <a:pt x="95245" y="298489"/>
                </a:lnTo>
                <a:lnTo>
                  <a:pt x="120347" y="291084"/>
                </a:lnTo>
                <a:lnTo>
                  <a:pt x="124326" y="285519"/>
                </a:lnTo>
                <a:lnTo>
                  <a:pt x="132188" y="275439"/>
                </a:lnTo>
                <a:lnTo>
                  <a:pt x="136095" y="269875"/>
                </a:lnTo>
                <a:lnTo>
                  <a:pt x="133555" y="267207"/>
                </a:lnTo>
                <a:lnTo>
                  <a:pt x="130888" y="262000"/>
                </a:lnTo>
                <a:lnTo>
                  <a:pt x="128221" y="256666"/>
                </a:lnTo>
                <a:lnTo>
                  <a:pt x="133162" y="240149"/>
                </a:lnTo>
                <a:lnTo>
                  <a:pt x="154903" y="215018"/>
                </a:lnTo>
                <a:lnTo>
                  <a:pt x="159844" y="198500"/>
                </a:lnTo>
                <a:lnTo>
                  <a:pt x="157342" y="187408"/>
                </a:lnTo>
                <a:lnTo>
                  <a:pt x="151637" y="179292"/>
                </a:lnTo>
                <a:lnTo>
                  <a:pt x="145432" y="170176"/>
                </a:lnTo>
                <a:lnTo>
                  <a:pt x="141429" y="156082"/>
                </a:lnTo>
                <a:lnTo>
                  <a:pt x="153951" y="148865"/>
                </a:lnTo>
                <a:lnTo>
                  <a:pt x="166734" y="141874"/>
                </a:lnTo>
                <a:lnTo>
                  <a:pt x="178041" y="133383"/>
                </a:lnTo>
                <a:lnTo>
                  <a:pt x="186133" y="121665"/>
                </a:lnTo>
                <a:lnTo>
                  <a:pt x="186862" y="114073"/>
                </a:lnTo>
                <a:lnTo>
                  <a:pt x="185864" y="106457"/>
                </a:lnTo>
                <a:lnTo>
                  <a:pt x="184365" y="97841"/>
                </a:lnTo>
                <a:lnTo>
                  <a:pt x="183593" y="87249"/>
                </a:lnTo>
                <a:lnTo>
                  <a:pt x="183990" y="79382"/>
                </a:lnTo>
                <a:lnTo>
                  <a:pt x="184863" y="71754"/>
                </a:lnTo>
                <a:lnTo>
                  <a:pt x="185737" y="64603"/>
                </a:lnTo>
                <a:lnTo>
                  <a:pt x="186133" y="58165"/>
                </a:lnTo>
                <a:lnTo>
                  <a:pt x="168480" y="29735"/>
                </a:lnTo>
                <a:lnTo>
                  <a:pt x="135778" y="11223"/>
                </a:lnTo>
                <a:lnTo>
                  <a:pt x="94693" y="1641"/>
                </a:lnTo>
                <a:lnTo>
                  <a:pt x="51894" y="0"/>
                </a:lnTo>
                <a:close/>
              </a:path>
            </a:pathLst>
          </a:custGeom>
          <a:solidFill>
            <a:srgbClr val="2B133C"/>
          </a:solidFill>
        </p:spPr>
        <p:txBody>
          <a:bodyPr wrap="square" lIns="0" tIns="0" rIns="0" bIns="0" rtlCol="0"/>
          <a:lstStyle/>
          <a:p>
            <a:endParaRPr/>
          </a:p>
        </p:txBody>
      </p:sp>
      <p:sp>
        <p:nvSpPr>
          <p:cNvPr id="21" name="object 21"/>
          <p:cNvSpPr/>
          <p:nvPr/>
        </p:nvSpPr>
        <p:spPr>
          <a:xfrm>
            <a:off x="5471159" y="1606296"/>
            <a:ext cx="0" cy="1024255"/>
          </a:xfrm>
          <a:custGeom>
            <a:avLst/>
            <a:gdLst/>
            <a:ahLst/>
            <a:cxnLst/>
            <a:rect l="l" t="t" r="r" b="b"/>
            <a:pathLst>
              <a:path h="1024255">
                <a:moveTo>
                  <a:pt x="0" y="0"/>
                </a:moveTo>
                <a:lnTo>
                  <a:pt x="0" y="1024127"/>
                </a:lnTo>
              </a:path>
            </a:pathLst>
          </a:custGeom>
          <a:ln w="27432">
            <a:solidFill>
              <a:srgbClr val="006FAC"/>
            </a:solidFill>
          </a:ln>
        </p:spPr>
        <p:txBody>
          <a:bodyPr wrap="square" lIns="0" tIns="0" rIns="0" bIns="0" rtlCol="0"/>
          <a:lstStyle/>
          <a:p>
            <a:endParaRPr/>
          </a:p>
        </p:txBody>
      </p:sp>
      <p:sp>
        <p:nvSpPr>
          <p:cNvPr id="22" name="object 22"/>
          <p:cNvSpPr txBox="1"/>
          <p:nvPr/>
        </p:nvSpPr>
        <p:spPr>
          <a:xfrm>
            <a:off x="5691378" y="4945223"/>
            <a:ext cx="1715770" cy="1002030"/>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006FAC"/>
                </a:solidFill>
                <a:latin typeface="Verdana"/>
                <a:cs typeface="Verdana"/>
              </a:rPr>
              <a:t>13</a:t>
            </a:r>
            <a:endParaRPr sz="2800">
              <a:latin typeface="Verdana"/>
              <a:cs typeface="Verdana"/>
            </a:endParaRPr>
          </a:p>
          <a:p>
            <a:pPr marL="12700" marR="5080">
              <a:lnSpc>
                <a:spcPct val="100000"/>
              </a:lnSpc>
              <a:spcBef>
                <a:spcPts val="325"/>
              </a:spcBef>
            </a:pPr>
            <a:r>
              <a:rPr sz="1400">
                <a:solidFill>
                  <a:srgbClr val="2B133C"/>
                </a:solidFill>
                <a:latin typeface="Verdana"/>
                <a:cs typeface="Verdana"/>
              </a:rPr>
              <a:t>of </a:t>
            </a:r>
            <a:r>
              <a:rPr sz="1400" spc="-5">
                <a:solidFill>
                  <a:srgbClr val="2B133C"/>
                </a:solidFill>
                <a:latin typeface="Verdana"/>
                <a:cs typeface="Verdana"/>
              </a:rPr>
              <a:t>the top 15</a:t>
            </a:r>
            <a:r>
              <a:rPr sz="1400" spc="-105">
                <a:solidFill>
                  <a:srgbClr val="2B133C"/>
                </a:solidFill>
                <a:latin typeface="Verdana"/>
                <a:cs typeface="Verdana"/>
              </a:rPr>
              <a:t> </a:t>
            </a:r>
            <a:r>
              <a:rPr sz="1400">
                <a:solidFill>
                  <a:srgbClr val="2B133C"/>
                </a:solidFill>
                <a:latin typeface="Verdana"/>
                <a:cs typeface="Verdana"/>
              </a:rPr>
              <a:t>asset  finance</a:t>
            </a:r>
            <a:r>
              <a:rPr sz="1400" spc="-70">
                <a:solidFill>
                  <a:srgbClr val="2B133C"/>
                </a:solidFill>
                <a:latin typeface="Verdana"/>
                <a:cs typeface="Verdana"/>
              </a:rPr>
              <a:t> </a:t>
            </a:r>
            <a:r>
              <a:rPr sz="1400">
                <a:solidFill>
                  <a:srgbClr val="2B133C"/>
                </a:solidFill>
                <a:latin typeface="Verdana"/>
                <a:cs typeface="Verdana"/>
              </a:rPr>
              <a:t>companies</a:t>
            </a:r>
            <a:endParaRPr sz="1400">
              <a:latin typeface="Verdana"/>
              <a:cs typeface="Verdana"/>
            </a:endParaRPr>
          </a:p>
        </p:txBody>
      </p:sp>
      <p:sp>
        <p:nvSpPr>
          <p:cNvPr id="23" name="object 23"/>
          <p:cNvSpPr/>
          <p:nvPr/>
        </p:nvSpPr>
        <p:spPr>
          <a:xfrm>
            <a:off x="4247625" y="5001751"/>
            <a:ext cx="1085850" cy="1037590"/>
          </a:xfrm>
          <a:custGeom>
            <a:avLst/>
            <a:gdLst/>
            <a:ahLst/>
            <a:cxnLst/>
            <a:rect l="l" t="t" r="r" b="b"/>
            <a:pathLst>
              <a:path w="1085850" h="1037589">
                <a:moveTo>
                  <a:pt x="537423" y="0"/>
                </a:moveTo>
                <a:lnTo>
                  <a:pt x="490824" y="2942"/>
                </a:lnTo>
                <a:lnTo>
                  <a:pt x="444455" y="9787"/>
                </a:lnTo>
                <a:lnTo>
                  <a:pt x="398588" y="20573"/>
                </a:lnTo>
                <a:lnTo>
                  <a:pt x="353494" y="35339"/>
                </a:lnTo>
                <a:lnTo>
                  <a:pt x="309445" y="54123"/>
                </a:lnTo>
                <a:lnTo>
                  <a:pt x="266712" y="76965"/>
                </a:lnTo>
                <a:lnTo>
                  <a:pt x="225568" y="103902"/>
                </a:lnTo>
                <a:lnTo>
                  <a:pt x="186608" y="134308"/>
                </a:lnTo>
                <a:lnTo>
                  <a:pt x="151205" y="167355"/>
                </a:lnTo>
                <a:lnTo>
                  <a:pt x="119405" y="202784"/>
                </a:lnTo>
                <a:lnTo>
                  <a:pt x="91251" y="240335"/>
                </a:lnTo>
                <a:lnTo>
                  <a:pt x="66789" y="279749"/>
                </a:lnTo>
                <a:lnTo>
                  <a:pt x="46061" y="320766"/>
                </a:lnTo>
                <a:lnTo>
                  <a:pt x="29113" y="363126"/>
                </a:lnTo>
                <a:lnTo>
                  <a:pt x="15988" y="406569"/>
                </a:lnTo>
                <a:lnTo>
                  <a:pt x="6731" y="450836"/>
                </a:lnTo>
                <a:lnTo>
                  <a:pt x="1387" y="495667"/>
                </a:lnTo>
                <a:lnTo>
                  <a:pt x="0" y="540803"/>
                </a:lnTo>
                <a:lnTo>
                  <a:pt x="2613" y="585983"/>
                </a:lnTo>
                <a:lnTo>
                  <a:pt x="9271" y="630948"/>
                </a:lnTo>
                <a:lnTo>
                  <a:pt x="20019" y="675439"/>
                </a:lnTo>
                <a:lnTo>
                  <a:pt x="34901" y="719195"/>
                </a:lnTo>
                <a:lnTo>
                  <a:pt x="53960" y="761957"/>
                </a:lnTo>
                <a:lnTo>
                  <a:pt x="77243" y="803466"/>
                </a:lnTo>
                <a:lnTo>
                  <a:pt x="104791" y="843461"/>
                </a:lnTo>
                <a:lnTo>
                  <a:pt x="135801" y="880171"/>
                </a:lnTo>
                <a:lnTo>
                  <a:pt x="169244" y="912979"/>
                </a:lnTo>
                <a:lnTo>
                  <a:pt x="204891" y="941902"/>
                </a:lnTo>
                <a:lnTo>
                  <a:pt x="242515" y="966959"/>
                </a:lnTo>
                <a:lnTo>
                  <a:pt x="281889" y="988166"/>
                </a:lnTo>
                <a:lnTo>
                  <a:pt x="322784" y="1005543"/>
                </a:lnTo>
                <a:lnTo>
                  <a:pt x="364974" y="1019107"/>
                </a:lnTo>
                <a:lnTo>
                  <a:pt x="408231" y="1028875"/>
                </a:lnTo>
                <a:lnTo>
                  <a:pt x="452327" y="1034866"/>
                </a:lnTo>
                <a:lnTo>
                  <a:pt x="497034" y="1037098"/>
                </a:lnTo>
                <a:lnTo>
                  <a:pt x="542125" y="1035588"/>
                </a:lnTo>
                <a:lnTo>
                  <a:pt x="587372" y="1030354"/>
                </a:lnTo>
                <a:lnTo>
                  <a:pt x="632549" y="1021415"/>
                </a:lnTo>
                <a:lnTo>
                  <a:pt x="677426" y="1008788"/>
                </a:lnTo>
                <a:lnTo>
                  <a:pt x="721776" y="992490"/>
                </a:lnTo>
                <a:lnTo>
                  <a:pt x="765372" y="972541"/>
                </a:lnTo>
                <a:lnTo>
                  <a:pt x="807987" y="948957"/>
                </a:lnTo>
                <a:lnTo>
                  <a:pt x="849392" y="921757"/>
                </a:lnTo>
                <a:lnTo>
                  <a:pt x="888073" y="891609"/>
                </a:lnTo>
                <a:lnTo>
                  <a:pt x="923578" y="859301"/>
                </a:lnTo>
                <a:lnTo>
                  <a:pt x="955821" y="825036"/>
                </a:lnTo>
                <a:lnTo>
                  <a:pt x="984711" y="789017"/>
                </a:lnTo>
                <a:lnTo>
                  <a:pt x="1010160" y="751447"/>
                </a:lnTo>
                <a:lnTo>
                  <a:pt x="1032079" y="712528"/>
                </a:lnTo>
                <a:lnTo>
                  <a:pt x="1050380" y="672463"/>
                </a:lnTo>
                <a:lnTo>
                  <a:pt x="1064973" y="631455"/>
                </a:lnTo>
                <a:lnTo>
                  <a:pt x="1075770" y="589707"/>
                </a:lnTo>
                <a:lnTo>
                  <a:pt x="1082681" y="547422"/>
                </a:lnTo>
                <a:lnTo>
                  <a:pt x="1085618" y="504803"/>
                </a:lnTo>
                <a:lnTo>
                  <a:pt x="1084493" y="462052"/>
                </a:lnTo>
                <a:lnTo>
                  <a:pt x="1079215" y="419372"/>
                </a:lnTo>
                <a:lnTo>
                  <a:pt x="1069697" y="376966"/>
                </a:lnTo>
                <a:lnTo>
                  <a:pt x="1055850" y="335036"/>
                </a:lnTo>
                <a:lnTo>
                  <a:pt x="1037584" y="293787"/>
                </a:lnTo>
                <a:lnTo>
                  <a:pt x="1014810" y="253420"/>
                </a:lnTo>
                <a:lnTo>
                  <a:pt x="987441" y="214138"/>
                </a:lnTo>
                <a:lnTo>
                  <a:pt x="956253" y="176705"/>
                </a:lnTo>
                <a:lnTo>
                  <a:pt x="922305" y="142750"/>
                </a:lnTo>
                <a:lnTo>
                  <a:pt x="885868" y="112310"/>
                </a:lnTo>
                <a:lnTo>
                  <a:pt x="847216" y="85425"/>
                </a:lnTo>
                <a:lnTo>
                  <a:pt x="806619" y="62132"/>
                </a:lnTo>
                <a:lnTo>
                  <a:pt x="764349" y="42472"/>
                </a:lnTo>
                <a:lnTo>
                  <a:pt x="720679" y="26482"/>
                </a:lnTo>
                <a:lnTo>
                  <a:pt x="675879" y="14201"/>
                </a:lnTo>
                <a:lnTo>
                  <a:pt x="630222" y="5668"/>
                </a:lnTo>
                <a:lnTo>
                  <a:pt x="583979" y="921"/>
                </a:lnTo>
                <a:lnTo>
                  <a:pt x="537423" y="0"/>
                </a:lnTo>
                <a:close/>
              </a:path>
            </a:pathLst>
          </a:custGeom>
          <a:solidFill>
            <a:srgbClr val="12ABDB"/>
          </a:solidFill>
        </p:spPr>
        <p:txBody>
          <a:bodyPr wrap="square" lIns="0" tIns="0" rIns="0" bIns="0" rtlCol="0"/>
          <a:lstStyle/>
          <a:p>
            <a:endParaRPr/>
          </a:p>
        </p:txBody>
      </p:sp>
      <p:sp>
        <p:nvSpPr>
          <p:cNvPr id="24" name="object 24"/>
          <p:cNvSpPr/>
          <p:nvPr/>
        </p:nvSpPr>
        <p:spPr>
          <a:xfrm>
            <a:off x="5471159" y="5001767"/>
            <a:ext cx="0" cy="1026160"/>
          </a:xfrm>
          <a:custGeom>
            <a:avLst/>
            <a:gdLst/>
            <a:ahLst/>
            <a:cxnLst/>
            <a:rect l="l" t="t" r="r" b="b"/>
            <a:pathLst>
              <a:path h="1026160">
                <a:moveTo>
                  <a:pt x="0" y="0"/>
                </a:moveTo>
                <a:lnTo>
                  <a:pt x="0" y="1025652"/>
                </a:lnTo>
              </a:path>
            </a:pathLst>
          </a:custGeom>
          <a:ln w="27432">
            <a:solidFill>
              <a:srgbClr val="006FAC"/>
            </a:solidFill>
          </a:ln>
        </p:spPr>
        <p:txBody>
          <a:bodyPr wrap="square" lIns="0" tIns="0" rIns="0" bIns="0" rtlCol="0"/>
          <a:lstStyle/>
          <a:p>
            <a:endParaRPr/>
          </a:p>
        </p:txBody>
      </p:sp>
      <p:sp>
        <p:nvSpPr>
          <p:cNvPr id="25" name="object 25"/>
          <p:cNvSpPr txBox="1"/>
          <p:nvPr/>
        </p:nvSpPr>
        <p:spPr>
          <a:xfrm>
            <a:off x="9589769" y="1610003"/>
            <a:ext cx="2266315" cy="958850"/>
          </a:xfrm>
          <a:prstGeom prst="rect">
            <a:avLst/>
          </a:prstGeom>
        </p:spPr>
        <p:txBody>
          <a:bodyPr vert="horz" wrap="square" lIns="0" tIns="64769" rIns="0" bIns="0" rtlCol="0">
            <a:spAutoFit/>
          </a:bodyPr>
          <a:lstStyle/>
          <a:p>
            <a:pPr marL="12700">
              <a:lnSpc>
                <a:spcPct val="100000"/>
              </a:lnSpc>
              <a:spcBef>
                <a:spcPts val="509"/>
              </a:spcBef>
            </a:pPr>
            <a:r>
              <a:rPr sz="2800" b="1" spc="-5">
                <a:solidFill>
                  <a:srgbClr val="2B133C"/>
                </a:solidFill>
                <a:latin typeface="Verdana"/>
                <a:cs typeface="Verdana"/>
              </a:rPr>
              <a:t>14</a:t>
            </a:r>
            <a:endParaRPr sz="2800">
              <a:latin typeface="Verdana"/>
              <a:cs typeface="Verdana"/>
            </a:endParaRPr>
          </a:p>
          <a:p>
            <a:pPr marL="12700">
              <a:lnSpc>
                <a:spcPct val="100000"/>
              </a:lnSpc>
              <a:spcBef>
                <a:spcPts val="210"/>
              </a:spcBef>
            </a:pPr>
            <a:r>
              <a:rPr sz="1400">
                <a:solidFill>
                  <a:srgbClr val="2B133C"/>
                </a:solidFill>
                <a:latin typeface="Verdana"/>
                <a:cs typeface="Verdana"/>
              </a:rPr>
              <a:t>of </a:t>
            </a:r>
            <a:r>
              <a:rPr sz="1400" spc="-5">
                <a:solidFill>
                  <a:srgbClr val="2B133C"/>
                </a:solidFill>
                <a:latin typeface="Verdana"/>
                <a:cs typeface="Verdana"/>
              </a:rPr>
              <a:t>the </a:t>
            </a:r>
            <a:r>
              <a:rPr sz="1400">
                <a:solidFill>
                  <a:srgbClr val="2B133C"/>
                </a:solidFill>
                <a:latin typeface="Verdana"/>
                <a:cs typeface="Verdana"/>
              </a:rPr>
              <a:t>world’s</a:t>
            </a:r>
            <a:r>
              <a:rPr sz="1400" spc="-65">
                <a:solidFill>
                  <a:srgbClr val="2B133C"/>
                </a:solidFill>
                <a:latin typeface="Verdana"/>
                <a:cs typeface="Verdana"/>
              </a:rPr>
              <a:t> </a:t>
            </a:r>
            <a:r>
              <a:rPr sz="1400" spc="-5">
                <a:solidFill>
                  <a:srgbClr val="2B133C"/>
                </a:solidFill>
                <a:latin typeface="Verdana"/>
                <a:cs typeface="Verdana"/>
              </a:rPr>
              <a:t>15</a:t>
            </a:r>
            <a:endParaRPr sz="1400">
              <a:latin typeface="Verdana"/>
              <a:cs typeface="Verdana"/>
            </a:endParaRPr>
          </a:p>
          <a:p>
            <a:pPr marL="12700">
              <a:lnSpc>
                <a:spcPct val="100000"/>
              </a:lnSpc>
              <a:spcBef>
                <a:spcPts val="5"/>
              </a:spcBef>
            </a:pPr>
            <a:r>
              <a:rPr sz="1400">
                <a:solidFill>
                  <a:srgbClr val="2B133C"/>
                </a:solidFill>
                <a:latin typeface="Verdana"/>
                <a:cs typeface="Verdana"/>
              </a:rPr>
              <a:t>largest automotive</a:t>
            </a:r>
            <a:r>
              <a:rPr sz="1400" spc="-125">
                <a:solidFill>
                  <a:srgbClr val="2B133C"/>
                </a:solidFill>
                <a:latin typeface="Verdana"/>
                <a:cs typeface="Verdana"/>
              </a:rPr>
              <a:t> </a:t>
            </a:r>
            <a:r>
              <a:rPr sz="1400" spc="-5">
                <a:solidFill>
                  <a:srgbClr val="2B133C"/>
                </a:solidFill>
                <a:latin typeface="Verdana"/>
                <a:cs typeface="Verdana"/>
              </a:rPr>
              <a:t>OEMs</a:t>
            </a:r>
            <a:endParaRPr sz="1400">
              <a:latin typeface="Verdana"/>
              <a:cs typeface="Verdana"/>
            </a:endParaRPr>
          </a:p>
        </p:txBody>
      </p:sp>
      <p:sp>
        <p:nvSpPr>
          <p:cNvPr id="26" name="object 26"/>
          <p:cNvSpPr/>
          <p:nvPr/>
        </p:nvSpPr>
        <p:spPr>
          <a:xfrm>
            <a:off x="8168877" y="1606198"/>
            <a:ext cx="1085850" cy="1036319"/>
          </a:xfrm>
          <a:custGeom>
            <a:avLst/>
            <a:gdLst/>
            <a:ahLst/>
            <a:cxnLst/>
            <a:rect l="l" t="t" r="r" b="b"/>
            <a:pathLst>
              <a:path w="1085850" h="1036319">
                <a:moveTo>
                  <a:pt x="537423" y="0"/>
                </a:moveTo>
                <a:lnTo>
                  <a:pt x="490824" y="2933"/>
                </a:lnTo>
                <a:lnTo>
                  <a:pt x="444455" y="9763"/>
                </a:lnTo>
                <a:lnTo>
                  <a:pt x="398588" y="20529"/>
                </a:lnTo>
                <a:lnTo>
                  <a:pt x="353494" y="35270"/>
                </a:lnTo>
                <a:lnTo>
                  <a:pt x="309445" y="54024"/>
                </a:lnTo>
                <a:lnTo>
                  <a:pt x="266712" y="76831"/>
                </a:lnTo>
                <a:lnTo>
                  <a:pt x="225568" y="103729"/>
                </a:lnTo>
                <a:lnTo>
                  <a:pt x="186608" y="134110"/>
                </a:lnTo>
                <a:lnTo>
                  <a:pt x="151205" y="167127"/>
                </a:lnTo>
                <a:lnTo>
                  <a:pt x="119405" y="202522"/>
                </a:lnTo>
                <a:lnTo>
                  <a:pt x="91251" y="240033"/>
                </a:lnTo>
                <a:lnTo>
                  <a:pt x="66789" y="279403"/>
                </a:lnTo>
                <a:lnTo>
                  <a:pt x="46061" y="320372"/>
                </a:lnTo>
                <a:lnTo>
                  <a:pt x="29113" y="362680"/>
                </a:lnTo>
                <a:lnTo>
                  <a:pt x="15988" y="406069"/>
                </a:lnTo>
                <a:lnTo>
                  <a:pt x="6731" y="450280"/>
                </a:lnTo>
                <a:lnTo>
                  <a:pt x="1387" y="495052"/>
                </a:lnTo>
                <a:lnTo>
                  <a:pt x="0" y="540128"/>
                </a:lnTo>
                <a:lnTo>
                  <a:pt x="2613" y="585247"/>
                </a:lnTo>
                <a:lnTo>
                  <a:pt x="9271" y="630150"/>
                </a:lnTo>
                <a:lnTo>
                  <a:pt x="20019" y="674579"/>
                </a:lnTo>
                <a:lnTo>
                  <a:pt x="34901" y="718273"/>
                </a:lnTo>
                <a:lnTo>
                  <a:pt x="53960" y="760975"/>
                </a:lnTo>
                <a:lnTo>
                  <a:pt x="77243" y="802423"/>
                </a:lnTo>
                <a:lnTo>
                  <a:pt x="104791" y="842361"/>
                </a:lnTo>
                <a:lnTo>
                  <a:pt x="135801" y="879015"/>
                </a:lnTo>
                <a:lnTo>
                  <a:pt x="169244" y="911773"/>
                </a:lnTo>
                <a:lnTo>
                  <a:pt x="204891" y="940654"/>
                </a:lnTo>
                <a:lnTo>
                  <a:pt x="242515" y="965674"/>
                </a:lnTo>
                <a:lnTo>
                  <a:pt x="281889" y="986852"/>
                </a:lnTo>
                <a:lnTo>
                  <a:pt x="322784" y="1004206"/>
                </a:lnTo>
                <a:lnTo>
                  <a:pt x="364974" y="1017752"/>
                </a:lnTo>
                <a:lnTo>
                  <a:pt x="408231" y="1027509"/>
                </a:lnTo>
                <a:lnTo>
                  <a:pt x="452327" y="1033496"/>
                </a:lnTo>
                <a:lnTo>
                  <a:pt x="497034" y="1035728"/>
                </a:lnTo>
                <a:lnTo>
                  <a:pt x="542125" y="1034225"/>
                </a:lnTo>
                <a:lnTo>
                  <a:pt x="587372" y="1029003"/>
                </a:lnTo>
                <a:lnTo>
                  <a:pt x="632549" y="1020082"/>
                </a:lnTo>
                <a:lnTo>
                  <a:pt x="677426" y="1007478"/>
                </a:lnTo>
                <a:lnTo>
                  <a:pt x="721776" y="991209"/>
                </a:lnTo>
                <a:lnTo>
                  <a:pt x="765372" y="971294"/>
                </a:lnTo>
                <a:lnTo>
                  <a:pt x="807987" y="947749"/>
                </a:lnTo>
                <a:lnTo>
                  <a:pt x="849392" y="920593"/>
                </a:lnTo>
                <a:lnTo>
                  <a:pt x="888073" y="890470"/>
                </a:lnTo>
                <a:lnTo>
                  <a:pt x="923578" y="858191"/>
                </a:lnTo>
                <a:lnTo>
                  <a:pt x="955821" y="823958"/>
                </a:lnTo>
                <a:lnTo>
                  <a:pt x="984711" y="787974"/>
                </a:lnTo>
                <a:lnTo>
                  <a:pt x="1010160" y="750442"/>
                </a:lnTo>
                <a:lnTo>
                  <a:pt x="1032079" y="711565"/>
                </a:lnTo>
                <a:lnTo>
                  <a:pt x="1050380" y="671544"/>
                </a:lnTo>
                <a:lnTo>
                  <a:pt x="1064973" y="630583"/>
                </a:lnTo>
                <a:lnTo>
                  <a:pt x="1075770" y="588884"/>
                </a:lnTo>
                <a:lnTo>
                  <a:pt x="1082681" y="546651"/>
                </a:lnTo>
                <a:lnTo>
                  <a:pt x="1085618" y="504085"/>
                </a:lnTo>
                <a:lnTo>
                  <a:pt x="1084493" y="461389"/>
                </a:lnTo>
                <a:lnTo>
                  <a:pt x="1079215" y="418766"/>
                </a:lnTo>
                <a:lnTo>
                  <a:pt x="1069697" y="376418"/>
                </a:lnTo>
                <a:lnTo>
                  <a:pt x="1055850" y="334549"/>
                </a:lnTo>
                <a:lnTo>
                  <a:pt x="1037584" y="293361"/>
                </a:lnTo>
                <a:lnTo>
                  <a:pt x="1014810" y="253056"/>
                </a:lnTo>
                <a:lnTo>
                  <a:pt x="987441" y="213838"/>
                </a:lnTo>
                <a:lnTo>
                  <a:pt x="956253" y="176465"/>
                </a:lnTo>
                <a:lnTo>
                  <a:pt x="922305" y="142562"/>
                </a:lnTo>
                <a:lnTo>
                  <a:pt x="885868" y="112169"/>
                </a:lnTo>
                <a:lnTo>
                  <a:pt x="847216" y="85323"/>
                </a:lnTo>
                <a:lnTo>
                  <a:pt x="806619" y="62064"/>
                </a:lnTo>
                <a:lnTo>
                  <a:pt x="764349" y="42430"/>
                </a:lnTo>
                <a:lnTo>
                  <a:pt x="720679" y="26460"/>
                </a:lnTo>
                <a:lnTo>
                  <a:pt x="675879" y="14194"/>
                </a:lnTo>
                <a:lnTo>
                  <a:pt x="630222" y="5669"/>
                </a:lnTo>
                <a:lnTo>
                  <a:pt x="583979" y="924"/>
                </a:lnTo>
                <a:lnTo>
                  <a:pt x="537423" y="0"/>
                </a:lnTo>
                <a:close/>
              </a:path>
            </a:pathLst>
          </a:custGeom>
          <a:solidFill>
            <a:srgbClr val="12ABDB"/>
          </a:solidFill>
        </p:spPr>
        <p:txBody>
          <a:bodyPr wrap="square" lIns="0" tIns="0" rIns="0" bIns="0" rtlCol="0"/>
          <a:lstStyle/>
          <a:p>
            <a:endParaRPr/>
          </a:p>
        </p:txBody>
      </p:sp>
      <p:sp>
        <p:nvSpPr>
          <p:cNvPr id="27" name="object 27"/>
          <p:cNvSpPr/>
          <p:nvPr/>
        </p:nvSpPr>
        <p:spPr>
          <a:xfrm>
            <a:off x="9395459" y="1606296"/>
            <a:ext cx="0" cy="1024255"/>
          </a:xfrm>
          <a:custGeom>
            <a:avLst/>
            <a:gdLst/>
            <a:ahLst/>
            <a:cxnLst/>
            <a:rect l="l" t="t" r="r" b="b"/>
            <a:pathLst>
              <a:path h="1024255">
                <a:moveTo>
                  <a:pt x="0" y="0"/>
                </a:moveTo>
                <a:lnTo>
                  <a:pt x="0" y="1024127"/>
                </a:lnTo>
              </a:path>
            </a:pathLst>
          </a:custGeom>
          <a:ln w="27431">
            <a:solidFill>
              <a:srgbClr val="006FAC"/>
            </a:solidFill>
          </a:ln>
        </p:spPr>
        <p:txBody>
          <a:bodyPr wrap="square" lIns="0" tIns="0" rIns="0" bIns="0" rtlCol="0"/>
          <a:lstStyle/>
          <a:p>
            <a:endParaRPr/>
          </a:p>
        </p:txBody>
      </p:sp>
      <p:sp>
        <p:nvSpPr>
          <p:cNvPr id="28" name="object 28"/>
          <p:cNvSpPr txBox="1"/>
          <p:nvPr/>
        </p:nvSpPr>
        <p:spPr>
          <a:xfrm>
            <a:off x="9589769" y="3252110"/>
            <a:ext cx="1775460" cy="788670"/>
          </a:xfrm>
          <a:prstGeom prst="rect">
            <a:avLst/>
          </a:prstGeom>
        </p:spPr>
        <p:txBody>
          <a:bodyPr vert="horz" wrap="square" lIns="0" tIns="93980" rIns="0" bIns="0" rtlCol="0">
            <a:spAutoFit/>
          </a:bodyPr>
          <a:lstStyle/>
          <a:p>
            <a:pPr marL="12700">
              <a:lnSpc>
                <a:spcPct val="100000"/>
              </a:lnSpc>
              <a:spcBef>
                <a:spcPts val="740"/>
              </a:spcBef>
            </a:pPr>
            <a:r>
              <a:rPr sz="2800" b="1" spc="-5">
                <a:solidFill>
                  <a:srgbClr val="2B133C"/>
                </a:solidFill>
                <a:latin typeface="Verdana"/>
                <a:cs typeface="Verdana"/>
              </a:rPr>
              <a:t>9</a:t>
            </a:r>
            <a:endParaRPr sz="2800">
              <a:latin typeface="Verdana"/>
              <a:cs typeface="Verdana"/>
            </a:endParaRPr>
          </a:p>
          <a:p>
            <a:pPr marL="12700">
              <a:lnSpc>
                <a:spcPct val="100000"/>
              </a:lnSpc>
              <a:spcBef>
                <a:spcPts val="325"/>
              </a:spcBef>
            </a:pPr>
            <a:r>
              <a:rPr sz="1400">
                <a:solidFill>
                  <a:srgbClr val="2B133C"/>
                </a:solidFill>
                <a:latin typeface="Verdana"/>
                <a:cs typeface="Verdana"/>
              </a:rPr>
              <a:t>of </a:t>
            </a:r>
            <a:r>
              <a:rPr sz="1400" spc="-5">
                <a:solidFill>
                  <a:srgbClr val="2B133C"/>
                </a:solidFill>
                <a:latin typeface="Verdana"/>
                <a:cs typeface="Verdana"/>
              </a:rPr>
              <a:t>the top 15</a:t>
            </a:r>
            <a:r>
              <a:rPr sz="1400" spc="-105">
                <a:solidFill>
                  <a:srgbClr val="2B133C"/>
                </a:solidFill>
                <a:latin typeface="Verdana"/>
                <a:cs typeface="Verdana"/>
              </a:rPr>
              <a:t> </a:t>
            </a:r>
            <a:r>
              <a:rPr sz="1400">
                <a:solidFill>
                  <a:srgbClr val="2B133C"/>
                </a:solidFill>
                <a:latin typeface="Verdana"/>
                <a:cs typeface="Verdana"/>
              </a:rPr>
              <a:t>banks</a:t>
            </a:r>
            <a:endParaRPr sz="1400">
              <a:latin typeface="Verdana"/>
              <a:cs typeface="Verdana"/>
            </a:endParaRPr>
          </a:p>
        </p:txBody>
      </p:sp>
      <p:sp>
        <p:nvSpPr>
          <p:cNvPr id="29" name="object 29"/>
          <p:cNvSpPr/>
          <p:nvPr/>
        </p:nvSpPr>
        <p:spPr>
          <a:xfrm>
            <a:off x="8168877" y="3303935"/>
            <a:ext cx="1085850" cy="1036319"/>
          </a:xfrm>
          <a:custGeom>
            <a:avLst/>
            <a:gdLst/>
            <a:ahLst/>
            <a:cxnLst/>
            <a:rect l="l" t="t" r="r" b="b"/>
            <a:pathLst>
              <a:path w="1085850" h="1036320">
                <a:moveTo>
                  <a:pt x="537423" y="0"/>
                </a:moveTo>
                <a:lnTo>
                  <a:pt x="490824" y="2933"/>
                </a:lnTo>
                <a:lnTo>
                  <a:pt x="444455" y="9763"/>
                </a:lnTo>
                <a:lnTo>
                  <a:pt x="398588" y="20529"/>
                </a:lnTo>
                <a:lnTo>
                  <a:pt x="353494" y="35270"/>
                </a:lnTo>
                <a:lnTo>
                  <a:pt x="309445" y="54024"/>
                </a:lnTo>
                <a:lnTo>
                  <a:pt x="266712" y="76831"/>
                </a:lnTo>
                <a:lnTo>
                  <a:pt x="225568" y="103729"/>
                </a:lnTo>
                <a:lnTo>
                  <a:pt x="186608" y="134110"/>
                </a:lnTo>
                <a:lnTo>
                  <a:pt x="151205" y="167127"/>
                </a:lnTo>
                <a:lnTo>
                  <a:pt x="119405" y="202522"/>
                </a:lnTo>
                <a:lnTo>
                  <a:pt x="91251" y="240033"/>
                </a:lnTo>
                <a:lnTo>
                  <a:pt x="66789" y="279403"/>
                </a:lnTo>
                <a:lnTo>
                  <a:pt x="46061" y="320372"/>
                </a:lnTo>
                <a:lnTo>
                  <a:pt x="29113" y="362680"/>
                </a:lnTo>
                <a:lnTo>
                  <a:pt x="15988" y="406069"/>
                </a:lnTo>
                <a:lnTo>
                  <a:pt x="6731" y="450280"/>
                </a:lnTo>
                <a:lnTo>
                  <a:pt x="1387" y="495052"/>
                </a:lnTo>
                <a:lnTo>
                  <a:pt x="0" y="540128"/>
                </a:lnTo>
                <a:lnTo>
                  <a:pt x="2613" y="585247"/>
                </a:lnTo>
                <a:lnTo>
                  <a:pt x="9271" y="630150"/>
                </a:lnTo>
                <a:lnTo>
                  <a:pt x="20019" y="674579"/>
                </a:lnTo>
                <a:lnTo>
                  <a:pt x="34901" y="718273"/>
                </a:lnTo>
                <a:lnTo>
                  <a:pt x="53960" y="760975"/>
                </a:lnTo>
                <a:lnTo>
                  <a:pt x="77243" y="802423"/>
                </a:lnTo>
                <a:lnTo>
                  <a:pt x="104791" y="842361"/>
                </a:lnTo>
                <a:lnTo>
                  <a:pt x="135801" y="879015"/>
                </a:lnTo>
                <a:lnTo>
                  <a:pt x="169244" y="911773"/>
                </a:lnTo>
                <a:lnTo>
                  <a:pt x="204891" y="940654"/>
                </a:lnTo>
                <a:lnTo>
                  <a:pt x="242515" y="965674"/>
                </a:lnTo>
                <a:lnTo>
                  <a:pt x="281889" y="986852"/>
                </a:lnTo>
                <a:lnTo>
                  <a:pt x="322784" y="1004206"/>
                </a:lnTo>
                <a:lnTo>
                  <a:pt x="364974" y="1017752"/>
                </a:lnTo>
                <a:lnTo>
                  <a:pt x="408231" y="1027509"/>
                </a:lnTo>
                <a:lnTo>
                  <a:pt x="452327" y="1033496"/>
                </a:lnTo>
                <a:lnTo>
                  <a:pt x="497034" y="1035728"/>
                </a:lnTo>
                <a:lnTo>
                  <a:pt x="542125" y="1034225"/>
                </a:lnTo>
                <a:lnTo>
                  <a:pt x="587372" y="1029003"/>
                </a:lnTo>
                <a:lnTo>
                  <a:pt x="632549" y="1020082"/>
                </a:lnTo>
                <a:lnTo>
                  <a:pt x="677426" y="1007478"/>
                </a:lnTo>
                <a:lnTo>
                  <a:pt x="721776" y="991209"/>
                </a:lnTo>
                <a:lnTo>
                  <a:pt x="765372" y="971294"/>
                </a:lnTo>
                <a:lnTo>
                  <a:pt x="807987" y="947749"/>
                </a:lnTo>
                <a:lnTo>
                  <a:pt x="849392" y="920593"/>
                </a:lnTo>
                <a:lnTo>
                  <a:pt x="888073" y="890470"/>
                </a:lnTo>
                <a:lnTo>
                  <a:pt x="923578" y="858191"/>
                </a:lnTo>
                <a:lnTo>
                  <a:pt x="955821" y="823958"/>
                </a:lnTo>
                <a:lnTo>
                  <a:pt x="984711" y="787974"/>
                </a:lnTo>
                <a:lnTo>
                  <a:pt x="1010160" y="750442"/>
                </a:lnTo>
                <a:lnTo>
                  <a:pt x="1032079" y="711565"/>
                </a:lnTo>
                <a:lnTo>
                  <a:pt x="1050380" y="671544"/>
                </a:lnTo>
                <a:lnTo>
                  <a:pt x="1064973" y="630583"/>
                </a:lnTo>
                <a:lnTo>
                  <a:pt x="1075770" y="588884"/>
                </a:lnTo>
                <a:lnTo>
                  <a:pt x="1082681" y="546651"/>
                </a:lnTo>
                <a:lnTo>
                  <a:pt x="1085618" y="504085"/>
                </a:lnTo>
                <a:lnTo>
                  <a:pt x="1084493" y="461389"/>
                </a:lnTo>
                <a:lnTo>
                  <a:pt x="1079215" y="418766"/>
                </a:lnTo>
                <a:lnTo>
                  <a:pt x="1069697" y="376418"/>
                </a:lnTo>
                <a:lnTo>
                  <a:pt x="1055850" y="334549"/>
                </a:lnTo>
                <a:lnTo>
                  <a:pt x="1037584" y="293361"/>
                </a:lnTo>
                <a:lnTo>
                  <a:pt x="1014810" y="253056"/>
                </a:lnTo>
                <a:lnTo>
                  <a:pt x="987441" y="213838"/>
                </a:lnTo>
                <a:lnTo>
                  <a:pt x="956253" y="176465"/>
                </a:lnTo>
                <a:lnTo>
                  <a:pt x="922305" y="142562"/>
                </a:lnTo>
                <a:lnTo>
                  <a:pt x="885868" y="112169"/>
                </a:lnTo>
                <a:lnTo>
                  <a:pt x="847216" y="85323"/>
                </a:lnTo>
                <a:lnTo>
                  <a:pt x="806619" y="62064"/>
                </a:lnTo>
                <a:lnTo>
                  <a:pt x="764349" y="42430"/>
                </a:lnTo>
                <a:lnTo>
                  <a:pt x="720679" y="26460"/>
                </a:lnTo>
                <a:lnTo>
                  <a:pt x="675879" y="14194"/>
                </a:lnTo>
                <a:lnTo>
                  <a:pt x="630222" y="5669"/>
                </a:lnTo>
                <a:lnTo>
                  <a:pt x="583979" y="924"/>
                </a:lnTo>
                <a:lnTo>
                  <a:pt x="537423" y="0"/>
                </a:lnTo>
                <a:close/>
              </a:path>
            </a:pathLst>
          </a:custGeom>
          <a:solidFill>
            <a:srgbClr val="12ABDB"/>
          </a:solidFill>
        </p:spPr>
        <p:txBody>
          <a:bodyPr wrap="square" lIns="0" tIns="0" rIns="0" bIns="0" rtlCol="0"/>
          <a:lstStyle/>
          <a:p>
            <a:endParaRPr/>
          </a:p>
        </p:txBody>
      </p:sp>
      <p:sp>
        <p:nvSpPr>
          <p:cNvPr id="30" name="object 30"/>
          <p:cNvSpPr/>
          <p:nvPr/>
        </p:nvSpPr>
        <p:spPr>
          <a:xfrm>
            <a:off x="9395459" y="3304032"/>
            <a:ext cx="0" cy="1024255"/>
          </a:xfrm>
          <a:custGeom>
            <a:avLst/>
            <a:gdLst/>
            <a:ahLst/>
            <a:cxnLst/>
            <a:rect l="l" t="t" r="r" b="b"/>
            <a:pathLst>
              <a:path h="1024254">
                <a:moveTo>
                  <a:pt x="0" y="0"/>
                </a:moveTo>
                <a:lnTo>
                  <a:pt x="0" y="1024127"/>
                </a:lnTo>
              </a:path>
            </a:pathLst>
          </a:custGeom>
          <a:ln w="27431">
            <a:solidFill>
              <a:srgbClr val="006FAC"/>
            </a:solidFill>
          </a:ln>
        </p:spPr>
        <p:txBody>
          <a:bodyPr wrap="square" lIns="0" tIns="0" rIns="0" bIns="0" rtlCol="0"/>
          <a:lstStyle/>
          <a:p>
            <a:endParaRPr/>
          </a:p>
        </p:txBody>
      </p:sp>
      <p:sp>
        <p:nvSpPr>
          <p:cNvPr id="31" name="object 31"/>
          <p:cNvSpPr txBox="1"/>
          <p:nvPr/>
        </p:nvSpPr>
        <p:spPr>
          <a:xfrm>
            <a:off x="9594342" y="5091176"/>
            <a:ext cx="1613535" cy="886460"/>
          </a:xfrm>
          <a:prstGeom prst="rect">
            <a:avLst/>
          </a:prstGeom>
        </p:spPr>
        <p:txBody>
          <a:bodyPr vert="horz" wrap="square" lIns="0" tIns="12065" rIns="0" bIns="0" rtlCol="0">
            <a:spAutoFit/>
          </a:bodyPr>
          <a:lstStyle/>
          <a:p>
            <a:pPr marL="12700">
              <a:lnSpc>
                <a:spcPct val="100000"/>
              </a:lnSpc>
              <a:spcBef>
                <a:spcPts val="95"/>
              </a:spcBef>
            </a:pPr>
            <a:r>
              <a:rPr sz="2800" b="1" spc="-5">
                <a:solidFill>
                  <a:srgbClr val="2B133C"/>
                </a:solidFill>
                <a:latin typeface="Verdana"/>
                <a:cs typeface="Verdana"/>
              </a:rPr>
              <a:t>10</a:t>
            </a:r>
            <a:endParaRPr sz="2800">
              <a:latin typeface="Verdana"/>
              <a:cs typeface="Verdana"/>
            </a:endParaRPr>
          </a:p>
          <a:p>
            <a:pPr marL="12700">
              <a:lnSpc>
                <a:spcPct val="100000"/>
              </a:lnSpc>
              <a:spcBef>
                <a:spcPts val="60"/>
              </a:spcBef>
            </a:pPr>
            <a:r>
              <a:rPr sz="1400">
                <a:solidFill>
                  <a:srgbClr val="2B133C"/>
                </a:solidFill>
                <a:latin typeface="Verdana"/>
                <a:cs typeface="Verdana"/>
              </a:rPr>
              <a:t>of the </a:t>
            </a:r>
            <a:r>
              <a:rPr sz="1400" spc="-5">
                <a:solidFill>
                  <a:srgbClr val="2B133C"/>
                </a:solidFill>
                <a:latin typeface="Verdana"/>
                <a:cs typeface="Verdana"/>
              </a:rPr>
              <a:t>15</a:t>
            </a:r>
            <a:r>
              <a:rPr sz="1400" spc="-75">
                <a:solidFill>
                  <a:srgbClr val="2B133C"/>
                </a:solidFill>
                <a:latin typeface="Verdana"/>
                <a:cs typeface="Verdana"/>
              </a:rPr>
              <a:t> </a:t>
            </a:r>
            <a:r>
              <a:rPr sz="1400">
                <a:solidFill>
                  <a:srgbClr val="2B133C"/>
                </a:solidFill>
                <a:latin typeface="Verdana"/>
                <a:cs typeface="Verdana"/>
              </a:rPr>
              <a:t>largest</a:t>
            </a:r>
            <a:endParaRPr sz="1400">
              <a:latin typeface="Verdana"/>
              <a:cs typeface="Verdana"/>
            </a:endParaRPr>
          </a:p>
          <a:p>
            <a:pPr marL="12700">
              <a:lnSpc>
                <a:spcPct val="100000"/>
              </a:lnSpc>
            </a:pPr>
            <a:r>
              <a:rPr sz="1400">
                <a:solidFill>
                  <a:srgbClr val="2B133C"/>
                </a:solidFill>
                <a:latin typeface="Verdana"/>
                <a:cs typeface="Verdana"/>
              </a:rPr>
              <a:t>investment</a:t>
            </a:r>
            <a:r>
              <a:rPr sz="1400" spc="-85">
                <a:solidFill>
                  <a:srgbClr val="2B133C"/>
                </a:solidFill>
                <a:latin typeface="Verdana"/>
                <a:cs typeface="Verdana"/>
              </a:rPr>
              <a:t> </a:t>
            </a:r>
            <a:r>
              <a:rPr sz="1400" spc="-5">
                <a:solidFill>
                  <a:srgbClr val="2B133C"/>
                </a:solidFill>
                <a:latin typeface="Verdana"/>
                <a:cs typeface="Verdana"/>
              </a:rPr>
              <a:t>banks</a:t>
            </a:r>
            <a:endParaRPr sz="1400">
              <a:latin typeface="Verdana"/>
              <a:cs typeface="Verdana"/>
            </a:endParaRPr>
          </a:p>
        </p:txBody>
      </p:sp>
      <p:sp>
        <p:nvSpPr>
          <p:cNvPr id="32" name="object 32"/>
          <p:cNvSpPr/>
          <p:nvPr/>
        </p:nvSpPr>
        <p:spPr>
          <a:xfrm>
            <a:off x="8171830" y="5004194"/>
            <a:ext cx="1134745" cy="1075055"/>
          </a:xfrm>
          <a:custGeom>
            <a:avLst/>
            <a:gdLst/>
            <a:ahLst/>
            <a:cxnLst/>
            <a:rect l="l" t="t" r="r" b="b"/>
            <a:pathLst>
              <a:path w="1134745" h="1075054">
                <a:moveTo>
                  <a:pt x="589632" y="0"/>
                </a:moveTo>
                <a:lnTo>
                  <a:pt x="543413" y="671"/>
                </a:lnTo>
                <a:lnTo>
                  <a:pt x="497225" y="4938"/>
                </a:lnTo>
                <a:lnTo>
                  <a:pt x="451305" y="12837"/>
                </a:lnTo>
                <a:lnTo>
                  <a:pt x="405890" y="24403"/>
                </a:lnTo>
                <a:lnTo>
                  <a:pt x="361219" y="39672"/>
                </a:lnTo>
                <a:lnTo>
                  <a:pt x="317529" y="58682"/>
                </a:lnTo>
                <a:lnTo>
                  <a:pt x="275059" y="81467"/>
                </a:lnTo>
                <a:lnTo>
                  <a:pt x="234045" y="108063"/>
                </a:lnTo>
                <a:lnTo>
                  <a:pt x="195499" y="137719"/>
                </a:lnTo>
                <a:lnTo>
                  <a:pt x="160295" y="169861"/>
                </a:lnTo>
                <a:lnTo>
                  <a:pt x="128470" y="204260"/>
                </a:lnTo>
                <a:lnTo>
                  <a:pt x="100063" y="240684"/>
                </a:lnTo>
                <a:lnTo>
                  <a:pt x="75110" y="278903"/>
                </a:lnTo>
                <a:lnTo>
                  <a:pt x="53647" y="318684"/>
                </a:lnTo>
                <a:lnTo>
                  <a:pt x="35713" y="359798"/>
                </a:lnTo>
                <a:lnTo>
                  <a:pt x="21344" y="402013"/>
                </a:lnTo>
                <a:lnTo>
                  <a:pt x="10577" y="445098"/>
                </a:lnTo>
                <a:lnTo>
                  <a:pt x="3450" y="488821"/>
                </a:lnTo>
                <a:lnTo>
                  <a:pt x="0" y="532953"/>
                </a:lnTo>
                <a:lnTo>
                  <a:pt x="263" y="577261"/>
                </a:lnTo>
                <a:lnTo>
                  <a:pt x="4276" y="621515"/>
                </a:lnTo>
                <a:lnTo>
                  <a:pt x="12078" y="665484"/>
                </a:lnTo>
                <a:lnTo>
                  <a:pt x="23705" y="708936"/>
                </a:lnTo>
                <a:lnTo>
                  <a:pt x="39201" y="751655"/>
                </a:lnTo>
                <a:lnTo>
                  <a:pt x="58582" y="793367"/>
                </a:lnTo>
                <a:lnTo>
                  <a:pt x="81906" y="833883"/>
                </a:lnTo>
                <a:lnTo>
                  <a:pt x="109204" y="872959"/>
                </a:lnTo>
                <a:lnTo>
                  <a:pt x="139888" y="909226"/>
                </a:lnTo>
                <a:lnTo>
                  <a:pt x="172850" y="941862"/>
                </a:lnTo>
                <a:lnTo>
                  <a:pt x="207890" y="970880"/>
                </a:lnTo>
                <a:lnTo>
                  <a:pt x="244804" y="996296"/>
                </a:lnTo>
                <a:lnTo>
                  <a:pt x="283393" y="1018125"/>
                </a:lnTo>
                <a:lnTo>
                  <a:pt x="323453" y="1036382"/>
                </a:lnTo>
                <a:lnTo>
                  <a:pt x="364784" y="1051081"/>
                </a:lnTo>
                <a:lnTo>
                  <a:pt x="407183" y="1062237"/>
                </a:lnTo>
                <a:lnTo>
                  <a:pt x="450449" y="1069866"/>
                </a:lnTo>
                <a:lnTo>
                  <a:pt x="494381" y="1073981"/>
                </a:lnTo>
                <a:lnTo>
                  <a:pt x="538777" y="1074598"/>
                </a:lnTo>
                <a:lnTo>
                  <a:pt x="583435" y="1071732"/>
                </a:lnTo>
                <a:lnTo>
                  <a:pt x="628153" y="1065398"/>
                </a:lnTo>
                <a:lnTo>
                  <a:pt x="672731" y="1055609"/>
                </a:lnTo>
                <a:lnTo>
                  <a:pt x="716966" y="1042382"/>
                </a:lnTo>
                <a:lnTo>
                  <a:pt x="760656" y="1025731"/>
                </a:lnTo>
                <a:lnTo>
                  <a:pt x="803600" y="1005671"/>
                </a:lnTo>
                <a:lnTo>
                  <a:pt x="845597" y="982216"/>
                </a:lnTo>
                <a:lnTo>
                  <a:pt x="886444" y="955382"/>
                </a:lnTo>
                <a:lnTo>
                  <a:pt x="925157" y="925967"/>
                </a:lnTo>
                <a:lnTo>
                  <a:pt x="960835" y="894497"/>
                </a:lnTo>
                <a:lnTo>
                  <a:pt x="993404" y="861150"/>
                </a:lnTo>
                <a:lnTo>
                  <a:pt x="1022793" y="826107"/>
                </a:lnTo>
                <a:lnTo>
                  <a:pt x="1048926" y="789549"/>
                </a:lnTo>
                <a:lnTo>
                  <a:pt x="1071739" y="751641"/>
                </a:lnTo>
                <a:lnTo>
                  <a:pt x="1091136" y="712607"/>
                </a:lnTo>
                <a:lnTo>
                  <a:pt x="1107065" y="672584"/>
                </a:lnTo>
                <a:lnTo>
                  <a:pt x="1119446" y="631767"/>
                </a:lnTo>
                <a:lnTo>
                  <a:pt x="1128206" y="590336"/>
                </a:lnTo>
                <a:lnTo>
                  <a:pt x="1133271" y="548471"/>
                </a:lnTo>
                <a:lnTo>
                  <a:pt x="1134569" y="506352"/>
                </a:lnTo>
                <a:lnTo>
                  <a:pt x="1132025" y="464161"/>
                </a:lnTo>
                <a:lnTo>
                  <a:pt x="1125566" y="422076"/>
                </a:lnTo>
                <a:lnTo>
                  <a:pt x="1115119" y="380279"/>
                </a:lnTo>
                <a:lnTo>
                  <a:pt x="1100611" y="338949"/>
                </a:lnTo>
                <a:lnTo>
                  <a:pt x="1081969" y="298268"/>
                </a:lnTo>
                <a:lnTo>
                  <a:pt x="1059118" y="258414"/>
                </a:lnTo>
                <a:lnTo>
                  <a:pt x="1031986" y="219569"/>
                </a:lnTo>
                <a:lnTo>
                  <a:pt x="1001136" y="183077"/>
                </a:lnTo>
                <a:lnTo>
                  <a:pt x="967700" y="149782"/>
                </a:lnTo>
                <a:lnTo>
                  <a:pt x="931915" y="119721"/>
                </a:lnTo>
                <a:lnTo>
                  <a:pt x="894020" y="92931"/>
                </a:lnTo>
                <a:lnTo>
                  <a:pt x="854251" y="69447"/>
                </a:lnTo>
                <a:lnTo>
                  <a:pt x="812848" y="49305"/>
                </a:lnTo>
                <a:lnTo>
                  <a:pt x="770048" y="32542"/>
                </a:lnTo>
                <a:lnTo>
                  <a:pt x="726088" y="19194"/>
                </a:lnTo>
                <a:lnTo>
                  <a:pt x="681207" y="9297"/>
                </a:lnTo>
                <a:lnTo>
                  <a:pt x="635642" y="2887"/>
                </a:lnTo>
                <a:lnTo>
                  <a:pt x="589632" y="0"/>
                </a:lnTo>
                <a:close/>
              </a:path>
            </a:pathLst>
          </a:custGeom>
          <a:solidFill>
            <a:srgbClr val="12ABDB"/>
          </a:solidFill>
        </p:spPr>
        <p:txBody>
          <a:bodyPr wrap="square" lIns="0" tIns="0" rIns="0" bIns="0" rtlCol="0"/>
          <a:lstStyle/>
          <a:p>
            <a:endParaRPr/>
          </a:p>
        </p:txBody>
      </p:sp>
      <p:sp>
        <p:nvSpPr>
          <p:cNvPr id="33" name="object 33"/>
          <p:cNvSpPr/>
          <p:nvPr/>
        </p:nvSpPr>
        <p:spPr>
          <a:xfrm>
            <a:off x="9395459" y="5024628"/>
            <a:ext cx="0" cy="1024255"/>
          </a:xfrm>
          <a:custGeom>
            <a:avLst/>
            <a:gdLst/>
            <a:ahLst/>
            <a:cxnLst/>
            <a:rect l="l" t="t" r="r" b="b"/>
            <a:pathLst>
              <a:path h="1024254">
                <a:moveTo>
                  <a:pt x="0" y="0"/>
                </a:moveTo>
                <a:lnTo>
                  <a:pt x="0" y="1024128"/>
                </a:lnTo>
              </a:path>
            </a:pathLst>
          </a:custGeom>
          <a:ln w="27431">
            <a:solidFill>
              <a:srgbClr val="006FAC"/>
            </a:solidFill>
          </a:ln>
        </p:spPr>
        <p:txBody>
          <a:bodyPr wrap="square" lIns="0" tIns="0" rIns="0" bIns="0" rtlCol="0"/>
          <a:lstStyle/>
          <a:p>
            <a:endParaRPr/>
          </a:p>
        </p:txBody>
      </p:sp>
      <p:sp>
        <p:nvSpPr>
          <p:cNvPr id="34" name="object 34"/>
          <p:cNvSpPr/>
          <p:nvPr/>
        </p:nvSpPr>
        <p:spPr>
          <a:xfrm>
            <a:off x="584044" y="3625596"/>
            <a:ext cx="691515" cy="318770"/>
          </a:xfrm>
          <a:custGeom>
            <a:avLst/>
            <a:gdLst/>
            <a:ahLst/>
            <a:cxnLst/>
            <a:rect l="l" t="t" r="r" b="b"/>
            <a:pathLst>
              <a:path w="691515" h="318770">
                <a:moveTo>
                  <a:pt x="690922" y="301624"/>
                </a:moveTo>
                <a:lnTo>
                  <a:pt x="631155" y="301624"/>
                </a:lnTo>
                <a:lnTo>
                  <a:pt x="651075" y="301888"/>
                </a:lnTo>
                <a:lnTo>
                  <a:pt x="670210" y="305831"/>
                </a:lnTo>
                <a:lnTo>
                  <a:pt x="684597" y="311894"/>
                </a:lnTo>
                <a:lnTo>
                  <a:pt x="690273" y="318515"/>
                </a:lnTo>
                <a:lnTo>
                  <a:pt x="690666" y="309574"/>
                </a:lnTo>
                <a:lnTo>
                  <a:pt x="690922" y="301624"/>
                </a:lnTo>
                <a:close/>
              </a:path>
              <a:path w="691515" h="318770">
                <a:moveTo>
                  <a:pt x="301856" y="0"/>
                </a:moveTo>
                <a:lnTo>
                  <a:pt x="227620" y="3857"/>
                </a:lnTo>
                <a:lnTo>
                  <a:pt x="180825" y="14096"/>
                </a:lnTo>
                <a:lnTo>
                  <a:pt x="135096" y="66246"/>
                </a:lnTo>
                <a:lnTo>
                  <a:pt x="103258" y="103661"/>
                </a:lnTo>
                <a:lnTo>
                  <a:pt x="76698" y="135254"/>
                </a:lnTo>
                <a:lnTo>
                  <a:pt x="67768" y="138558"/>
                </a:lnTo>
                <a:lnTo>
                  <a:pt x="49604" y="140255"/>
                </a:lnTo>
                <a:lnTo>
                  <a:pt x="28804" y="140880"/>
                </a:lnTo>
                <a:lnTo>
                  <a:pt x="11966" y="140969"/>
                </a:lnTo>
                <a:lnTo>
                  <a:pt x="3080" y="165179"/>
                </a:lnTo>
                <a:lnTo>
                  <a:pt x="0" y="218439"/>
                </a:lnTo>
                <a:lnTo>
                  <a:pt x="86" y="271700"/>
                </a:lnTo>
                <a:lnTo>
                  <a:pt x="701" y="295909"/>
                </a:lnTo>
                <a:lnTo>
                  <a:pt x="701" y="298830"/>
                </a:lnTo>
                <a:lnTo>
                  <a:pt x="6327" y="304418"/>
                </a:lnTo>
                <a:lnTo>
                  <a:pt x="71072" y="304418"/>
                </a:lnTo>
                <a:lnTo>
                  <a:pt x="78063" y="267283"/>
                </a:lnTo>
                <a:lnTo>
                  <a:pt x="97455" y="237839"/>
                </a:lnTo>
                <a:lnTo>
                  <a:pt x="126895" y="218439"/>
                </a:lnTo>
                <a:lnTo>
                  <a:pt x="163947" y="211454"/>
                </a:lnTo>
                <a:lnTo>
                  <a:pt x="682750" y="211454"/>
                </a:lnTo>
                <a:lnTo>
                  <a:pt x="676027" y="190630"/>
                </a:lnTo>
                <a:lnTo>
                  <a:pt x="659298" y="166242"/>
                </a:lnTo>
                <a:lnTo>
                  <a:pt x="625741" y="151481"/>
                </a:lnTo>
                <a:lnTo>
                  <a:pt x="576619" y="140922"/>
                </a:lnTo>
                <a:lnTo>
                  <a:pt x="557411" y="138175"/>
                </a:lnTo>
                <a:lnTo>
                  <a:pt x="110467" y="138175"/>
                </a:lnTo>
                <a:lnTo>
                  <a:pt x="110467" y="132460"/>
                </a:lnTo>
                <a:lnTo>
                  <a:pt x="194910" y="30987"/>
                </a:lnTo>
                <a:lnTo>
                  <a:pt x="197716" y="28193"/>
                </a:lnTo>
                <a:lnTo>
                  <a:pt x="423817" y="28193"/>
                </a:lnTo>
                <a:lnTo>
                  <a:pt x="408803" y="14096"/>
                </a:lnTo>
                <a:lnTo>
                  <a:pt x="392884" y="8304"/>
                </a:lnTo>
                <a:lnTo>
                  <a:pt x="367993" y="3857"/>
                </a:lnTo>
                <a:lnTo>
                  <a:pt x="336771" y="1006"/>
                </a:lnTo>
                <a:lnTo>
                  <a:pt x="301856" y="0"/>
                </a:lnTo>
                <a:close/>
              </a:path>
              <a:path w="691515" h="318770">
                <a:moveTo>
                  <a:pt x="484800" y="211454"/>
                </a:moveTo>
                <a:lnTo>
                  <a:pt x="163947" y="211454"/>
                </a:lnTo>
                <a:lnTo>
                  <a:pt x="199831" y="218443"/>
                </a:lnTo>
                <a:lnTo>
                  <a:pt x="229382" y="237839"/>
                </a:lnTo>
                <a:lnTo>
                  <a:pt x="249434" y="267283"/>
                </a:lnTo>
                <a:lnTo>
                  <a:pt x="256822" y="304418"/>
                </a:lnTo>
                <a:lnTo>
                  <a:pt x="391912" y="304418"/>
                </a:lnTo>
                <a:lnTo>
                  <a:pt x="399302" y="267283"/>
                </a:lnTo>
                <a:lnTo>
                  <a:pt x="419358" y="237839"/>
                </a:lnTo>
                <a:lnTo>
                  <a:pt x="448934" y="218439"/>
                </a:lnTo>
                <a:lnTo>
                  <a:pt x="484800" y="211454"/>
                </a:lnTo>
                <a:close/>
              </a:path>
              <a:path w="691515" h="318770">
                <a:moveTo>
                  <a:pt x="682750" y="211454"/>
                </a:moveTo>
                <a:lnTo>
                  <a:pt x="484800" y="211454"/>
                </a:lnTo>
                <a:lnTo>
                  <a:pt x="520684" y="218443"/>
                </a:lnTo>
                <a:lnTo>
                  <a:pt x="550235" y="237839"/>
                </a:lnTo>
                <a:lnTo>
                  <a:pt x="570287" y="267283"/>
                </a:lnTo>
                <a:lnTo>
                  <a:pt x="577675" y="304418"/>
                </a:lnTo>
                <a:lnTo>
                  <a:pt x="631155" y="301624"/>
                </a:lnTo>
                <a:lnTo>
                  <a:pt x="690922" y="301624"/>
                </a:lnTo>
                <a:lnTo>
                  <a:pt x="691321" y="289274"/>
                </a:lnTo>
                <a:lnTo>
                  <a:pt x="691441" y="267283"/>
                </a:lnTo>
                <a:lnTo>
                  <a:pt x="689396" y="243645"/>
                </a:lnTo>
                <a:lnTo>
                  <a:pt x="685353" y="219519"/>
                </a:lnTo>
                <a:lnTo>
                  <a:pt x="682750" y="211454"/>
                </a:lnTo>
                <a:close/>
              </a:path>
              <a:path w="691515" h="318770">
                <a:moveTo>
                  <a:pt x="423817" y="28193"/>
                </a:moveTo>
                <a:lnTo>
                  <a:pt x="284965" y="28193"/>
                </a:lnTo>
                <a:lnTo>
                  <a:pt x="287785" y="30987"/>
                </a:lnTo>
                <a:lnTo>
                  <a:pt x="287785" y="135254"/>
                </a:lnTo>
                <a:lnTo>
                  <a:pt x="284965" y="138175"/>
                </a:lnTo>
                <a:lnTo>
                  <a:pt x="307482" y="138175"/>
                </a:lnTo>
                <a:lnTo>
                  <a:pt x="307482" y="30987"/>
                </a:lnTo>
                <a:lnTo>
                  <a:pt x="426793" y="30987"/>
                </a:lnTo>
                <a:lnTo>
                  <a:pt x="423817" y="28193"/>
                </a:lnTo>
                <a:close/>
              </a:path>
              <a:path w="691515" h="318770">
                <a:moveTo>
                  <a:pt x="426793" y="30987"/>
                </a:moveTo>
                <a:lnTo>
                  <a:pt x="400357" y="30987"/>
                </a:lnTo>
                <a:lnTo>
                  <a:pt x="476354" y="132460"/>
                </a:lnTo>
                <a:lnTo>
                  <a:pt x="479161" y="135254"/>
                </a:lnTo>
                <a:lnTo>
                  <a:pt x="476354" y="135254"/>
                </a:lnTo>
                <a:lnTo>
                  <a:pt x="476354" y="138175"/>
                </a:lnTo>
                <a:lnTo>
                  <a:pt x="557411" y="138175"/>
                </a:lnTo>
                <a:lnTo>
                  <a:pt x="532248" y="134578"/>
                </a:lnTo>
                <a:lnTo>
                  <a:pt x="512943" y="132460"/>
                </a:lnTo>
                <a:lnTo>
                  <a:pt x="498650" y="114752"/>
                </a:lnTo>
                <a:lnTo>
                  <a:pt x="466150" y="75374"/>
                </a:lnTo>
                <a:lnTo>
                  <a:pt x="431011" y="34948"/>
                </a:lnTo>
                <a:lnTo>
                  <a:pt x="426793" y="30987"/>
                </a:lnTo>
                <a:close/>
              </a:path>
            </a:pathLst>
          </a:custGeom>
          <a:solidFill>
            <a:srgbClr val="FFFFFF"/>
          </a:solidFill>
        </p:spPr>
        <p:txBody>
          <a:bodyPr wrap="square" lIns="0" tIns="0" rIns="0" bIns="0" rtlCol="0"/>
          <a:lstStyle/>
          <a:p>
            <a:endParaRPr/>
          </a:p>
        </p:txBody>
      </p:sp>
      <p:sp>
        <p:nvSpPr>
          <p:cNvPr id="35" name="object 35"/>
          <p:cNvSpPr/>
          <p:nvPr/>
        </p:nvSpPr>
        <p:spPr>
          <a:xfrm>
            <a:off x="990600" y="3852671"/>
            <a:ext cx="156972" cy="155447"/>
          </a:xfrm>
          <a:prstGeom prst="rect">
            <a:avLst/>
          </a:prstGeom>
          <a:blipFill>
            <a:blip r:embed="rId2" cstate="print"/>
            <a:stretch>
              <a:fillRect/>
            </a:stretch>
          </a:blipFill>
        </p:spPr>
        <p:txBody>
          <a:bodyPr wrap="square" lIns="0" tIns="0" rIns="0" bIns="0" rtlCol="0"/>
          <a:lstStyle/>
          <a:p>
            <a:endParaRPr/>
          </a:p>
        </p:txBody>
      </p:sp>
      <p:sp>
        <p:nvSpPr>
          <p:cNvPr id="36" name="object 36"/>
          <p:cNvSpPr/>
          <p:nvPr/>
        </p:nvSpPr>
        <p:spPr>
          <a:xfrm>
            <a:off x="669036" y="3852671"/>
            <a:ext cx="153923" cy="155447"/>
          </a:xfrm>
          <a:prstGeom prst="rect">
            <a:avLst/>
          </a:prstGeom>
          <a:blipFill>
            <a:blip r:embed="rId3" cstate="print"/>
            <a:stretch>
              <a:fillRect/>
            </a:stretch>
          </a:blipFill>
        </p:spPr>
        <p:txBody>
          <a:bodyPr wrap="square" lIns="0" tIns="0" rIns="0" bIns="0" rtlCol="0"/>
          <a:lstStyle/>
          <a:p>
            <a:endParaRPr/>
          </a:p>
        </p:txBody>
      </p:sp>
      <p:sp>
        <p:nvSpPr>
          <p:cNvPr id="37" name="object 37"/>
          <p:cNvSpPr/>
          <p:nvPr/>
        </p:nvSpPr>
        <p:spPr>
          <a:xfrm>
            <a:off x="704087" y="1937004"/>
            <a:ext cx="467995" cy="260985"/>
          </a:xfrm>
          <a:custGeom>
            <a:avLst/>
            <a:gdLst/>
            <a:ahLst/>
            <a:cxnLst/>
            <a:rect l="l" t="t" r="r" b="b"/>
            <a:pathLst>
              <a:path w="467994" h="260985">
                <a:moveTo>
                  <a:pt x="0" y="0"/>
                </a:moveTo>
                <a:lnTo>
                  <a:pt x="40906" y="207010"/>
                </a:lnTo>
                <a:lnTo>
                  <a:pt x="76862" y="253658"/>
                </a:lnTo>
                <a:lnTo>
                  <a:pt x="120167" y="260604"/>
                </a:lnTo>
                <a:lnTo>
                  <a:pt x="196423" y="257806"/>
                </a:lnTo>
                <a:lnTo>
                  <a:pt x="421843" y="242697"/>
                </a:lnTo>
                <a:lnTo>
                  <a:pt x="464273" y="214675"/>
                </a:lnTo>
                <a:lnTo>
                  <a:pt x="467868" y="196723"/>
                </a:lnTo>
                <a:lnTo>
                  <a:pt x="467868" y="66421"/>
                </a:lnTo>
                <a:lnTo>
                  <a:pt x="0" y="0"/>
                </a:lnTo>
                <a:close/>
              </a:path>
            </a:pathLst>
          </a:custGeom>
          <a:solidFill>
            <a:srgbClr val="FFFFFF"/>
          </a:solidFill>
        </p:spPr>
        <p:txBody>
          <a:bodyPr wrap="square" lIns="0" tIns="0" rIns="0" bIns="0" rtlCol="0"/>
          <a:lstStyle/>
          <a:p>
            <a:endParaRPr/>
          </a:p>
        </p:txBody>
      </p:sp>
      <p:sp>
        <p:nvSpPr>
          <p:cNvPr id="38" name="object 38"/>
          <p:cNvSpPr/>
          <p:nvPr/>
        </p:nvSpPr>
        <p:spPr>
          <a:xfrm>
            <a:off x="755904" y="2157983"/>
            <a:ext cx="403860" cy="248285"/>
          </a:xfrm>
          <a:custGeom>
            <a:avLst/>
            <a:gdLst/>
            <a:ahLst/>
            <a:cxnLst/>
            <a:rect l="l" t="t" r="r" b="b"/>
            <a:pathLst>
              <a:path w="403859" h="248285">
                <a:moveTo>
                  <a:pt x="25565" y="0"/>
                </a:moveTo>
                <a:lnTo>
                  <a:pt x="40893" y="201421"/>
                </a:lnTo>
                <a:lnTo>
                  <a:pt x="69330" y="241323"/>
                </a:lnTo>
                <a:lnTo>
                  <a:pt x="96171" y="247911"/>
                </a:lnTo>
                <a:lnTo>
                  <a:pt x="403859" y="239775"/>
                </a:lnTo>
                <a:lnTo>
                  <a:pt x="399959" y="220321"/>
                </a:lnTo>
                <a:lnTo>
                  <a:pt x="98249" y="220321"/>
                </a:lnTo>
                <a:lnTo>
                  <a:pt x="90103" y="219646"/>
                </a:lnTo>
                <a:lnTo>
                  <a:pt x="82914" y="217543"/>
                </a:lnTo>
                <a:lnTo>
                  <a:pt x="76682" y="214249"/>
                </a:lnTo>
                <a:lnTo>
                  <a:pt x="71564" y="206628"/>
                </a:lnTo>
                <a:lnTo>
                  <a:pt x="69011" y="198881"/>
                </a:lnTo>
                <a:lnTo>
                  <a:pt x="25565" y="0"/>
                </a:lnTo>
                <a:close/>
              </a:path>
              <a:path w="403859" h="248285">
                <a:moveTo>
                  <a:pt x="398741" y="214249"/>
                </a:moveTo>
                <a:lnTo>
                  <a:pt x="107353" y="219328"/>
                </a:lnTo>
                <a:lnTo>
                  <a:pt x="98249" y="220321"/>
                </a:lnTo>
                <a:lnTo>
                  <a:pt x="399959" y="220321"/>
                </a:lnTo>
                <a:lnTo>
                  <a:pt x="398741" y="214249"/>
                </a:lnTo>
                <a:close/>
              </a:path>
            </a:pathLst>
          </a:custGeom>
          <a:solidFill>
            <a:srgbClr val="FFFFFF"/>
          </a:solidFill>
        </p:spPr>
        <p:txBody>
          <a:bodyPr wrap="square" lIns="0" tIns="0" rIns="0" bIns="0" rtlCol="0"/>
          <a:lstStyle/>
          <a:p>
            <a:endParaRPr/>
          </a:p>
        </p:txBody>
      </p:sp>
      <p:sp>
        <p:nvSpPr>
          <p:cNvPr id="39" name="object 39"/>
          <p:cNvSpPr/>
          <p:nvPr/>
        </p:nvSpPr>
        <p:spPr>
          <a:xfrm>
            <a:off x="1103375" y="2346960"/>
            <a:ext cx="86868" cy="86867"/>
          </a:xfrm>
          <a:prstGeom prst="rect">
            <a:avLst/>
          </a:prstGeom>
          <a:blipFill>
            <a:blip r:embed="rId4" cstate="print"/>
            <a:stretch>
              <a:fillRect/>
            </a:stretch>
          </a:blipFill>
        </p:spPr>
        <p:txBody>
          <a:bodyPr wrap="square" lIns="0" tIns="0" rIns="0" bIns="0" rtlCol="0"/>
          <a:lstStyle/>
          <a:p>
            <a:endParaRPr/>
          </a:p>
        </p:txBody>
      </p:sp>
      <p:sp>
        <p:nvSpPr>
          <p:cNvPr id="40" name="object 40"/>
          <p:cNvSpPr/>
          <p:nvPr/>
        </p:nvSpPr>
        <p:spPr>
          <a:xfrm>
            <a:off x="768095" y="2318004"/>
            <a:ext cx="143256" cy="144780"/>
          </a:xfrm>
          <a:prstGeom prst="rect">
            <a:avLst/>
          </a:prstGeom>
          <a:blipFill>
            <a:blip r:embed="rId5" cstate="print"/>
            <a:stretch>
              <a:fillRect/>
            </a:stretch>
          </a:blipFill>
        </p:spPr>
        <p:txBody>
          <a:bodyPr wrap="square" lIns="0" tIns="0" rIns="0" bIns="0" rtlCol="0"/>
          <a:lstStyle/>
          <a:p>
            <a:endParaRPr/>
          </a:p>
        </p:txBody>
      </p:sp>
      <p:sp>
        <p:nvSpPr>
          <p:cNvPr id="41" name="object 41"/>
          <p:cNvSpPr/>
          <p:nvPr/>
        </p:nvSpPr>
        <p:spPr>
          <a:xfrm>
            <a:off x="554736" y="1917192"/>
            <a:ext cx="181610" cy="48895"/>
          </a:xfrm>
          <a:custGeom>
            <a:avLst/>
            <a:gdLst/>
            <a:ahLst/>
            <a:cxnLst/>
            <a:rect l="l" t="t" r="r" b="b"/>
            <a:pathLst>
              <a:path w="181609" h="48894">
                <a:moveTo>
                  <a:pt x="12776" y="0"/>
                </a:moveTo>
                <a:lnTo>
                  <a:pt x="7658" y="0"/>
                </a:lnTo>
                <a:lnTo>
                  <a:pt x="2552" y="2540"/>
                </a:lnTo>
                <a:lnTo>
                  <a:pt x="2552" y="7747"/>
                </a:lnTo>
                <a:lnTo>
                  <a:pt x="0" y="15367"/>
                </a:lnTo>
                <a:lnTo>
                  <a:pt x="0" y="20574"/>
                </a:lnTo>
                <a:lnTo>
                  <a:pt x="5105" y="25654"/>
                </a:lnTo>
                <a:lnTo>
                  <a:pt x="10223" y="25654"/>
                </a:lnTo>
                <a:lnTo>
                  <a:pt x="168579" y="46228"/>
                </a:lnTo>
                <a:lnTo>
                  <a:pt x="173697" y="48768"/>
                </a:lnTo>
                <a:lnTo>
                  <a:pt x="178803" y="43687"/>
                </a:lnTo>
                <a:lnTo>
                  <a:pt x="178803" y="38481"/>
                </a:lnTo>
                <a:lnTo>
                  <a:pt x="181356" y="30861"/>
                </a:lnTo>
                <a:lnTo>
                  <a:pt x="181356" y="25654"/>
                </a:lnTo>
                <a:lnTo>
                  <a:pt x="176250" y="20574"/>
                </a:lnTo>
                <a:lnTo>
                  <a:pt x="171132" y="20574"/>
                </a:lnTo>
                <a:lnTo>
                  <a:pt x="12776" y="0"/>
                </a:lnTo>
                <a:close/>
              </a:path>
            </a:pathLst>
          </a:custGeom>
          <a:solidFill>
            <a:srgbClr val="FFFFFF"/>
          </a:solidFill>
        </p:spPr>
        <p:txBody>
          <a:bodyPr wrap="square" lIns="0" tIns="0" rIns="0" bIns="0" rtlCol="0"/>
          <a:lstStyle/>
          <a:p>
            <a:endParaRPr/>
          </a:p>
        </p:txBody>
      </p:sp>
      <p:sp>
        <p:nvSpPr>
          <p:cNvPr id="42" name="object 42"/>
          <p:cNvSpPr/>
          <p:nvPr/>
        </p:nvSpPr>
        <p:spPr>
          <a:xfrm>
            <a:off x="694842" y="5357876"/>
            <a:ext cx="179641" cy="189992"/>
          </a:xfrm>
          <a:prstGeom prst="rect">
            <a:avLst/>
          </a:prstGeom>
          <a:blipFill>
            <a:blip r:embed="rId6" cstate="print"/>
            <a:stretch>
              <a:fillRect/>
            </a:stretch>
          </a:blipFill>
        </p:spPr>
        <p:txBody>
          <a:bodyPr wrap="square" lIns="0" tIns="0" rIns="0" bIns="0" rtlCol="0"/>
          <a:lstStyle/>
          <a:p>
            <a:endParaRPr/>
          </a:p>
        </p:txBody>
      </p:sp>
      <p:sp>
        <p:nvSpPr>
          <p:cNvPr id="43" name="object 43"/>
          <p:cNvSpPr/>
          <p:nvPr/>
        </p:nvSpPr>
        <p:spPr>
          <a:xfrm>
            <a:off x="618801" y="5595065"/>
            <a:ext cx="338455" cy="193675"/>
          </a:xfrm>
          <a:custGeom>
            <a:avLst/>
            <a:gdLst/>
            <a:ahLst/>
            <a:cxnLst/>
            <a:rect l="l" t="t" r="r" b="b"/>
            <a:pathLst>
              <a:path w="338455" h="193675">
                <a:moveTo>
                  <a:pt x="152707" y="0"/>
                </a:moveTo>
                <a:lnTo>
                  <a:pt x="105343" y="7016"/>
                </a:lnTo>
                <a:lnTo>
                  <a:pt x="66556" y="24362"/>
                </a:lnTo>
                <a:lnTo>
                  <a:pt x="36314" y="49548"/>
                </a:lnTo>
                <a:lnTo>
                  <a:pt x="1339" y="113495"/>
                </a:lnTo>
                <a:lnTo>
                  <a:pt x="0" y="138381"/>
                </a:lnTo>
                <a:lnTo>
                  <a:pt x="8381" y="160396"/>
                </a:lnTo>
                <a:lnTo>
                  <a:pt x="24791" y="177096"/>
                </a:lnTo>
                <a:lnTo>
                  <a:pt x="47541" y="186037"/>
                </a:lnTo>
                <a:lnTo>
                  <a:pt x="110083" y="193230"/>
                </a:lnTo>
                <a:lnTo>
                  <a:pt x="164735" y="192927"/>
                </a:lnTo>
                <a:lnTo>
                  <a:pt x="213189" y="188026"/>
                </a:lnTo>
                <a:lnTo>
                  <a:pt x="257135" y="181425"/>
                </a:lnTo>
                <a:lnTo>
                  <a:pt x="298265" y="176020"/>
                </a:lnTo>
                <a:lnTo>
                  <a:pt x="338270" y="174709"/>
                </a:lnTo>
                <a:lnTo>
                  <a:pt x="338040" y="164490"/>
                </a:lnTo>
                <a:lnTo>
                  <a:pt x="337282" y="154163"/>
                </a:lnTo>
                <a:lnTo>
                  <a:pt x="317067" y="88057"/>
                </a:lnTo>
                <a:lnTo>
                  <a:pt x="288965" y="50577"/>
                </a:lnTo>
                <a:lnTo>
                  <a:pt x="251990" y="22449"/>
                </a:lnTo>
                <a:lnTo>
                  <a:pt x="208679" y="5799"/>
                </a:lnTo>
                <a:lnTo>
                  <a:pt x="152707" y="0"/>
                </a:lnTo>
                <a:close/>
              </a:path>
            </a:pathLst>
          </a:custGeom>
          <a:solidFill>
            <a:srgbClr val="FFFFFF"/>
          </a:solidFill>
        </p:spPr>
        <p:txBody>
          <a:bodyPr wrap="square" lIns="0" tIns="0" rIns="0" bIns="0" rtlCol="0"/>
          <a:lstStyle/>
          <a:p>
            <a:endParaRPr/>
          </a:p>
        </p:txBody>
      </p:sp>
      <p:sp>
        <p:nvSpPr>
          <p:cNvPr id="44" name="object 44"/>
          <p:cNvSpPr/>
          <p:nvPr/>
        </p:nvSpPr>
        <p:spPr>
          <a:xfrm>
            <a:off x="928852" y="5369052"/>
            <a:ext cx="219113" cy="231698"/>
          </a:xfrm>
          <a:prstGeom prst="rect">
            <a:avLst/>
          </a:prstGeom>
          <a:blipFill>
            <a:blip r:embed="rId7" cstate="print"/>
            <a:stretch>
              <a:fillRect/>
            </a:stretch>
          </a:blipFill>
        </p:spPr>
        <p:txBody>
          <a:bodyPr wrap="square" lIns="0" tIns="0" rIns="0" bIns="0" rtlCol="0"/>
          <a:lstStyle/>
          <a:p>
            <a:endParaRPr/>
          </a:p>
        </p:txBody>
      </p:sp>
      <p:sp>
        <p:nvSpPr>
          <p:cNvPr id="45" name="object 45"/>
          <p:cNvSpPr/>
          <p:nvPr/>
        </p:nvSpPr>
        <p:spPr>
          <a:xfrm>
            <a:off x="829938" y="5656676"/>
            <a:ext cx="404495" cy="230504"/>
          </a:xfrm>
          <a:custGeom>
            <a:avLst/>
            <a:gdLst/>
            <a:ahLst/>
            <a:cxnLst/>
            <a:rect l="l" t="t" r="r" b="b"/>
            <a:pathLst>
              <a:path w="404494" h="230504">
                <a:moveTo>
                  <a:pt x="209571" y="0"/>
                </a:moveTo>
                <a:lnTo>
                  <a:pt x="153587" y="7587"/>
                </a:lnTo>
                <a:lnTo>
                  <a:pt x="111588" y="22108"/>
                </a:lnTo>
                <a:lnTo>
                  <a:pt x="74408" y="45825"/>
                </a:lnTo>
                <a:lnTo>
                  <a:pt x="43344" y="77388"/>
                </a:lnTo>
                <a:lnTo>
                  <a:pt x="19694" y="115444"/>
                </a:lnTo>
                <a:lnTo>
                  <a:pt x="4755" y="158640"/>
                </a:lnTo>
                <a:lnTo>
                  <a:pt x="0" y="197320"/>
                </a:lnTo>
                <a:lnTo>
                  <a:pt x="247" y="209364"/>
                </a:lnTo>
                <a:lnTo>
                  <a:pt x="40766" y="210052"/>
                </a:lnTo>
                <a:lnTo>
                  <a:pt x="81977" y="214584"/>
                </a:lnTo>
                <a:lnTo>
                  <a:pt x="125121" y="220873"/>
                </a:lnTo>
                <a:lnTo>
                  <a:pt x="171441" y="226826"/>
                </a:lnTo>
                <a:lnTo>
                  <a:pt x="222179" y="230354"/>
                </a:lnTo>
                <a:lnTo>
                  <a:pt x="278577" y="229366"/>
                </a:lnTo>
                <a:lnTo>
                  <a:pt x="341877" y="221772"/>
                </a:lnTo>
                <a:lnTo>
                  <a:pt x="372125" y="209774"/>
                </a:lnTo>
                <a:lnTo>
                  <a:pt x="393602" y="186682"/>
                </a:lnTo>
                <a:lnTo>
                  <a:pt x="403876" y="156618"/>
                </a:lnTo>
                <a:lnTo>
                  <a:pt x="400513" y="123703"/>
                </a:lnTo>
                <a:lnTo>
                  <a:pt x="364478" y="61144"/>
                </a:lnTo>
                <a:lnTo>
                  <a:pt x="336106" y="35407"/>
                </a:lnTo>
                <a:lnTo>
                  <a:pt x="300831" y="15546"/>
                </a:lnTo>
                <a:lnTo>
                  <a:pt x="258653" y="3198"/>
                </a:lnTo>
                <a:lnTo>
                  <a:pt x="209571" y="0"/>
                </a:lnTo>
                <a:close/>
              </a:path>
            </a:pathLst>
          </a:custGeom>
          <a:solidFill>
            <a:srgbClr val="FFFFFF"/>
          </a:solidFill>
        </p:spPr>
        <p:txBody>
          <a:bodyPr wrap="square" lIns="0" tIns="0" rIns="0" bIns="0" rtlCol="0"/>
          <a:lstStyle/>
          <a:p>
            <a:endParaRPr/>
          </a:p>
        </p:txBody>
      </p:sp>
      <p:sp>
        <p:nvSpPr>
          <p:cNvPr id="46" name="object 46"/>
          <p:cNvSpPr/>
          <p:nvPr/>
        </p:nvSpPr>
        <p:spPr>
          <a:xfrm>
            <a:off x="883919" y="5123688"/>
            <a:ext cx="147955" cy="259079"/>
          </a:xfrm>
          <a:custGeom>
            <a:avLst/>
            <a:gdLst/>
            <a:ahLst/>
            <a:cxnLst/>
            <a:rect l="l" t="t" r="r" b="b"/>
            <a:pathLst>
              <a:path w="147955" h="259079">
                <a:moveTo>
                  <a:pt x="20853" y="173355"/>
                </a:moveTo>
                <a:lnTo>
                  <a:pt x="13271" y="173355"/>
                </a:lnTo>
                <a:lnTo>
                  <a:pt x="11366" y="175259"/>
                </a:lnTo>
                <a:lnTo>
                  <a:pt x="11366" y="177165"/>
                </a:lnTo>
                <a:lnTo>
                  <a:pt x="3784" y="207645"/>
                </a:lnTo>
                <a:lnTo>
                  <a:pt x="3784" y="215265"/>
                </a:lnTo>
                <a:lnTo>
                  <a:pt x="7581" y="219075"/>
                </a:lnTo>
                <a:lnTo>
                  <a:pt x="18452" y="223777"/>
                </a:lnTo>
                <a:lnTo>
                  <a:pt x="30564" y="226695"/>
                </a:lnTo>
                <a:lnTo>
                  <a:pt x="43030" y="228183"/>
                </a:lnTo>
                <a:lnTo>
                  <a:pt x="54965" y="228600"/>
                </a:lnTo>
                <a:lnTo>
                  <a:pt x="54965" y="257175"/>
                </a:lnTo>
                <a:lnTo>
                  <a:pt x="58750" y="259080"/>
                </a:lnTo>
                <a:lnTo>
                  <a:pt x="92862" y="259080"/>
                </a:lnTo>
                <a:lnTo>
                  <a:pt x="94767" y="253365"/>
                </a:lnTo>
                <a:lnTo>
                  <a:pt x="94767" y="226695"/>
                </a:lnTo>
                <a:lnTo>
                  <a:pt x="116645" y="218241"/>
                </a:lnTo>
                <a:lnTo>
                  <a:pt x="133375" y="204787"/>
                </a:lnTo>
                <a:lnTo>
                  <a:pt x="144066" y="187047"/>
                </a:lnTo>
                <a:lnTo>
                  <a:pt x="144801" y="182880"/>
                </a:lnTo>
                <a:lnTo>
                  <a:pt x="66332" y="182880"/>
                </a:lnTo>
                <a:lnTo>
                  <a:pt x="52830" y="182731"/>
                </a:lnTo>
                <a:lnTo>
                  <a:pt x="40749" y="180260"/>
                </a:lnTo>
                <a:lnTo>
                  <a:pt x="30090" y="176718"/>
                </a:lnTo>
                <a:lnTo>
                  <a:pt x="20853" y="173355"/>
                </a:lnTo>
                <a:close/>
              </a:path>
              <a:path w="147955" h="259079">
                <a:moveTo>
                  <a:pt x="87185" y="0"/>
                </a:moveTo>
                <a:lnTo>
                  <a:pt x="54965" y="0"/>
                </a:lnTo>
                <a:lnTo>
                  <a:pt x="51168" y="5714"/>
                </a:lnTo>
                <a:lnTo>
                  <a:pt x="51168" y="30480"/>
                </a:lnTo>
                <a:lnTo>
                  <a:pt x="29580" y="38903"/>
                </a:lnTo>
                <a:lnTo>
                  <a:pt x="13501" y="52149"/>
                </a:lnTo>
                <a:lnTo>
                  <a:pt x="3464" y="69324"/>
                </a:lnTo>
                <a:lnTo>
                  <a:pt x="0" y="89535"/>
                </a:lnTo>
                <a:lnTo>
                  <a:pt x="7370" y="113526"/>
                </a:lnTo>
                <a:lnTo>
                  <a:pt x="22029" y="130016"/>
                </a:lnTo>
                <a:lnTo>
                  <a:pt x="41310" y="141505"/>
                </a:lnTo>
                <a:lnTo>
                  <a:pt x="62547" y="150495"/>
                </a:lnTo>
                <a:lnTo>
                  <a:pt x="76283" y="155614"/>
                </a:lnTo>
                <a:lnTo>
                  <a:pt x="84337" y="160020"/>
                </a:lnTo>
                <a:lnTo>
                  <a:pt x="88129" y="164425"/>
                </a:lnTo>
                <a:lnTo>
                  <a:pt x="89077" y="169545"/>
                </a:lnTo>
                <a:lnTo>
                  <a:pt x="87122" y="176450"/>
                </a:lnTo>
                <a:lnTo>
                  <a:pt x="81967" y="180498"/>
                </a:lnTo>
                <a:lnTo>
                  <a:pt x="74681" y="182403"/>
                </a:lnTo>
                <a:lnTo>
                  <a:pt x="66332" y="182880"/>
                </a:lnTo>
                <a:lnTo>
                  <a:pt x="144801" y="182880"/>
                </a:lnTo>
                <a:lnTo>
                  <a:pt x="133851" y="128111"/>
                </a:lnTo>
                <a:lnTo>
                  <a:pt x="92862" y="104775"/>
                </a:lnTo>
                <a:lnTo>
                  <a:pt x="76339" y="97482"/>
                </a:lnTo>
                <a:lnTo>
                  <a:pt x="65857" y="92154"/>
                </a:lnTo>
                <a:lnTo>
                  <a:pt x="60349" y="87897"/>
                </a:lnTo>
                <a:lnTo>
                  <a:pt x="58750" y="83819"/>
                </a:lnTo>
                <a:lnTo>
                  <a:pt x="58750" y="74294"/>
                </a:lnTo>
                <a:lnTo>
                  <a:pt x="72021" y="70485"/>
                </a:lnTo>
                <a:lnTo>
                  <a:pt x="127985" y="70485"/>
                </a:lnTo>
                <a:lnTo>
                  <a:pt x="134556" y="45719"/>
                </a:lnTo>
                <a:lnTo>
                  <a:pt x="134556" y="36194"/>
                </a:lnTo>
                <a:lnTo>
                  <a:pt x="130771" y="36194"/>
                </a:lnTo>
                <a:lnTo>
                  <a:pt x="120849" y="32563"/>
                </a:lnTo>
                <a:lnTo>
                  <a:pt x="111107" y="30003"/>
                </a:lnTo>
                <a:lnTo>
                  <a:pt x="101720" y="28158"/>
                </a:lnTo>
                <a:lnTo>
                  <a:pt x="92862" y="26669"/>
                </a:lnTo>
                <a:lnTo>
                  <a:pt x="92862" y="3810"/>
                </a:lnTo>
                <a:lnTo>
                  <a:pt x="87185" y="0"/>
                </a:lnTo>
                <a:close/>
              </a:path>
              <a:path w="147955" h="259079">
                <a:moveTo>
                  <a:pt x="127985" y="70485"/>
                </a:moveTo>
                <a:lnTo>
                  <a:pt x="79603" y="70485"/>
                </a:lnTo>
                <a:lnTo>
                  <a:pt x="91654" y="71407"/>
                </a:lnTo>
                <a:lnTo>
                  <a:pt x="102104" y="73580"/>
                </a:lnTo>
                <a:lnTo>
                  <a:pt x="117500" y="78105"/>
                </a:lnTo>
                <a:lnTo>
                  <a:pt x="125082" y="78105"/>
                </a:lnTo>
                <a:lnTo>
                  <a:pt x="126974" y="76200"/>
                </a:lnTo>
                <a:lnTo>
                  <a:pt x="126974" y="74294"/>
                </a:lnTo>
                <a:lnTo>
                  <a:pt x="127985" y="70485"/>
                </a:lnTo>
                <a:close/>
              </a:path>
            </a:pathLst>
          </a:custGeom>
          <a:solidFill>
            <a:srgbClr val="2B133C"/>
          </a:solidFill>
        </p:spPr>
        <p:txBody>
          <a:bodyPr wrap="square" lIns="0" tIns="0" rIns="0" bIns="0" rtlCol="0"/>
          <a:lstStyle/>
          <a:p>
            <a:endParaRPr/>
          </a:p>
        </p:txBody>
      </p:sp>
      <p:sp>
        <p:nvSpPr>
          <p:cNvPr id="47" name="object 47"/>
          <p:cNvSpPr/>
          <p:nvPr/>
        </p:nvSpPr>
        <p:spPr>
          <a:xfrm>
            <a:off x="4418076" y="5218176"/>
            <a:ext cx="661670" cy="666115"/>
          </a:xfrm>
          <a:custGeom>
            <a:avLst/>
            <a:gdLst/>
            <a:ahLst/>
            <a:cxnLst/>
            <a:rect l="l" t="t" r="r" b="b"/>
            <a:pathLst>
              <a:path w="661670" h="666114">
                <a:moveTo>
                  <a:pt x="330708" y="0"/>
                </a:moveTo>
                <a:lnTo>
                  <a:pt x="281842" y="3610"/>
                </a:lnTo>
                <a:lnTo>
                  <a:pt x="235202" y="14099"/>
                </a:lnTo>
                <a:lnTo>
                  <a:pt x="191298" y="30951"/>
                </a:lnTo>
                <a:lnTo>
                  <a:pt x="150642" y="53650"/>
                </a:lnTo>
                <a:lnTo>
                  <a:pt x="113746" y="81681"/>
                </a:lnTo>
                <a:lnTo>
                  <a:pt x="81123" y="114530"/>
                </a:lnTo>
                <a:lnTo>
                  <a:pt x="53283" y="151680"/>
                </a:lnTo>
                <a:lnTo>
                  <a:pt x="30739" y="192617"/>
                </a:lnTo>
                <a:lnTo>
                  <a:pt x="14003" y="236825"/>
                </a:lnTo>
                <a:lnTo>
                  <a:pt x="3586" y="283789"/>
                </a:lnTo>
                <a:lnTo>
                  <a:pt x="0" y="332994"/>
                </a:lnTo>
                <a:lnTo>
                  <a:pt x="3586" y="382201"/>
                </a:lnTo>
                <a:lnTo>
                  <a:pt x="14003" y="429167"/>
                </a:lnTo>
                <a:lnTo>
                  <a:pt x="30739" y="473376"/>
                </a:lnTo>
                <a:lnTo>
                  <a:pt x="53283" y="514313"/>
                </a:lnTo>
                <a:lnTo>
                  <a:pt x="81123" y="551463"/>
                </a:lnTo>
                <a:lnTo>
                  <a:pt x="113746" y="584310"/>
                </a:lnTo>
                <a:lnTo>
                  <a:pt x="150642" y="612340"/>
                </a:lnTo>
                <a:lnTo>
                  <a:pt x="191298" y="635038"/>
                </a:lnTo>
                <a:lnTo>
                  <a:pt x="235202" y="651889"/>
                </a:lnTo>
                <a:lnTo>
                  <a:pt x="281842" y="662377"/>
                </a:lnTo>
                <a:lnTo>
                  <a:pt x="330708" y="665988"/>
                </a:lnTo>
                <a:lnTo>
                  <a:pt x="379573" y="662377"/>
                </a:lnTo>
                <a:lnTo>
                  <a:pt x="426213" y="651889"/>
                </a:lnTo>
                <a:lnTo>
                  <a:pt x="470117" y="635038"/>
                </a:lnTo>
                <a:lnTo>
                  <a:pt x="510773" y="612340"/>
                </a:lnTo>
                <a:lnTo>
                  <a:pt x="547669" y="584310"/>
                </a:lnTo>
                <a:lnTo>
                  <a:pt x="580292" y="551463"/>
                </a:lnTo>
                <a:lnTo>
                  <a:pt x="608132" y="514313"/>
                </a:lnTo>
                <a:lnTo>
                  <a:pt x="630676" y="473376"/>
                </a:lnTo>
                <a:lnTo>
                  <a:pt x="647412" y="429167"/>
                </a:lnTo>
                <a:lnTo>
                  <a:pt x="657829" y="382201"/>
                </a:lnTo>
                <a:lnTo>
                  <a:pt x="661415" y="332994"/>
                </a:lnTo>
                <a:lnTo>
                  <a:pt x="657829" y="283789"/>
                </a:lnTo>
                <a:lnTo>
                  <a:pt x="647412" y="236825"/>
                </a:lnTo>
                <a:lnTo>
                  <a:pt x="630676" y="192617"/>
                </a:lnTo>
                <a:lnTo>
                  <a:pt x="608132" y="151680"/>
                </a:lnTo>
                <a:lnTo>
                  <a:pt x="580292" y="114530"/>
                </a:lnTo>
                <a:lnTo>
                  <a:pt x="547669" y="81681"/>
                </a:lnTo>
                <a:lnTo>
                  <a:pt x="510773" y="53650"/>
                </a:lnTo>
                <a:lnTo>
                  <a:pt x="470117" y="30951"/>
                </a:lnTo>
                <a:lnTo>
                  <a:pt x="426213" y="14099"/>
                </a:lnTo>
                <a:lnTo>
                  <a:pt x="379573" y="3610"/>
                </a:lnTo>
                <a:lnTo>
                  <a:pt x="330708" y="0"/>
                </a:lnTo>
                <a:close/>
              </a:path>
            </a:pathLst>
          </a:custGeom>
          <a:solidFill>
            <a:srgbClr val="FFFFFF"/>
          </a:solidFill>
        </p:spPr>
        <p:txBody>
          <a:bodyPr wrap="square" lIns="0" tIns="0" rIns="0" bIns="0" rtlCol="0"/>
          <a:lstStyle/>
          <a:p>
            <a:endParaRPr/>
          </a:p>
        </p:txBody>
      </p:sp>
      <p:sp>
        <p:nvSpPr>
          <p:cNvPr id="48" name="object 48"/>
          <p:cNvSpPr/>
          <p:nvPr/>
        </p:nvSpPr>
        <p:spPr>
          <a:xfrm>
            <a:off x="4763272" y="5145785"/>
            <a:ext cx="382270" cy="404495"/>
          </a:xfrm>
          <a:custGeom>
            <a:avLst/>
            <a:gdLst/>
            <a:ahLst/>
            <a:cxnLst/>
            <a:rect l="l" t="t" r="r" b="b"/>
            <a:pathLst>
              <a:path w="382270" h="404495">
                <a:moveTo>
                  <a:pt x="101717" y="0"/>
                </a:moveTo>
                <a:lnTo>
                  <a:pt x="96002" y="20065"/>
                </a:lnTo>
                <a:lnTo>
                  <a:pt x="1895" y="367410"/>
                </a:lnTo>
                <a:lnTo>
                  <a:pt x="0" y="394594"/>
                </a:lnTo>
                <a:lnTo>
                  <a:pt x="12547" y="404002"/>
                </a:lnTo>
                <a:lnTo>
                  <a:pt x="346954" y="315722"/>
                </a:lnTo>
                <a:lnTo>
                  <a:pt x="382260" y="283781"/>
                </a:lnTo>
                <a:lnTo>
                  <a:pt x="377029" y="266072"/>
                </a:lnTo>
                <a:lnTo>
                  <a:pt x="372608" y="258317"/>
                </a:lnTo>
                <a:lnTo>
                  <a:pt x="365529" y="244905"/>
                </a:lnTo>
                <a:lnTo>
                  <a:pt x="345890" y="211312"/>
                </a:lnTo>
                <a:lnTo>
                  <a:pt x="316083" y="167503"/>
                </a:lnTo>
                <a:lnTo>
                  <a:pt x="278501" y="123443"/>
                </a:lnTo>
                <a:lnTo>
                  <a:pt x="207587" y="60543"/>
                </a:lnTo>
                <a:lnTo>
                  <a:pt x="151628" y="22955"/>
                </a:lnTo>
                <a:lnTo>
                  <a:pt x="114909" y="4750"/>
                </a:lnTo>
                <a:lnTo>
                  <a:pt x="101717" y="0"/>
                </a:lnTo>
                <a:close/>
              </a:path>
            </a:pathLst>
          </a:custGeom>
          <a:solidFill>
            <a:srgbClr val="2B133C"/>
          </a:solidFill>
        </p:spPr>
        <p:txBody>
          <a:bodyPr wrap="square" lIns="0" tIns="0" rIns="0" bIns="0" rtlCol="0"/>
          <a:lstStyle/>
          <a:p>
            <a:endParaRPr/>
          </a:p>
        </p:txBody>
      </p:sp>
      <p:sp>
        <p:nvSpPr>
          <p:cNvPr id="49" name="object 49"/>
          <p:cNvSpPr/>
          <p:nvPr/>
        </p:nvSpPr>
        <p:spPr>
          <a:xfrm>
            <a:off x="4763272" y="5145785"/>
            <a:ext cx="382270" cy="404495"/>
          </a:xfrm>
          <a:custGeom>
            <a:avLst/>
            <a:gdLst/>
            <a:ahLst/>
            <a:cxnLst/>
            <a:rect l="l" t="t" r="r" b="b"/>
            <a:pathLst>
              <a:path w="382270" h="404495">
                <a:moveTo>
                  <a:pt x="346954" y="315722"/>
                </a:moveTo>
                <a:lnTo>
                  <a:pt x="167217" y="365502"/>
                </a:lnTo>
                <a:lnTo>
                  <a:pt x="74920" y="391064"/>
                </a:lnTo>
                <a:lnTo>
                  <a:pt x="40915" y="400482"/>
                </a:lnTo>
                <a:lnTo>
                  <a:pt x="36058" y="401827"/>
                </a:lnTo>
                <a:lnTo>
                  <a:pt x="28309" y="403719"/>
                </a:lnTo>
                <a:lnTo>
                  <a:pt x="12547" y="404002"/>
                </a:lnTo>
                <a:lnTo>
                  <a:pt x="0" y="394594"/>
                </a:lnTo>
                <a:lnTo>
                  <a:pt x="1895" y="367410"/>
                </a:lnTo>
                <a:lnTo>
                  <a:pt x="56300" y="166602"/>
                </a:lnTo>
                <a:lnTo>
                  <a:pt x="84238" y="63484"/>
                </a:lnTo>
                <a:lnTo>
                  <a:pt x="94531" y="25493"/>
                </a:lnTo>
                <a:lnTo>
                  <a:pt x="96002" y="20065"/>
                </a:lnTo>
                <a:lnTo>
                  <a:pt x="101717" y="0"/>
                </a:lnTo>
                <a:lnTo>
                  <a:pt x="114909" y="4750"/>
                </a:lnTo>
                <a:lnTo>
                  <a:pt x="151628" y="22955"/>
                </a:lnTo>
                <a:lnTo>
                  <a:pt x="207587" y="60543"/>
                </a:lnTo>
                <a:lnTo>
                  <a:pt x="278501" y="123443"/>
                </a:lnTo>
                <a:lnTo>
                  <a:pt x="316083" y="167503"/>
                </a:lnTo>
                <a:lnTo>
                  <a:pt x="345890" y="211312"/>
                </a:lnTo>
                <a:lnTo>
                  <a:pt x="365529" y="244905"/>
                </a:lnTo>
                <a:lnTo>
                  <a:pt x="372608" y="258317"/>
                </a:lnTo>
                <a:lnTo>
                  <a:pt x="377029" y="266072"/>
                </a:lnTo>
                <a:lnTo>
                  <a:pt x="382260" y="283781"/>
                </a:lnTo>
                <a:lnTo>
                  <a:pt x="376251" y="303109"/>
                </a:lnTo>
                <a:lnTo>
                  <a:pt x="346954" y="315722"/>
                </a:lnTo>
                <a:close/>
              </a:path>
            </a:pathLst>
          </a:custGeom>
          <a:ln w="35052">
            <a:solidFill>
              <a:srgbClr val="FFFFFF"/>
            </a:solidFill>
          </a:ln>
        </p:spPr>
        <p:txBody>
          <a:bodyPr wrap="square" lIns="0" tIns="0" rIns="0" bIns="0" rtlCol="0"/>
          <a:lstStyle/>
          <a:p>
            <a:endParaRPr/>
          </a:p>
        </p:txBody>
      </p:sp>
      <p:sp>
        <p:nvSpPr>
          <p:cNvPr id="50" name="object 50"/>
          <p:cNvSpPr/>
          <p:nvPr/>
        </p:nvSpPr>
        <p:spPr>
          <a:xfrm>
            <a:off x="4555235" y="5394959"/>
            <a:ext cx="182880" cy="338455"/>
          </a:xfrm>
          <a:custGeom>
            <a:avLst/>
            <a:gdLst/>
            <a:ahLst/>
            <a:cxnLst/>
            <a:rect l="l" t="t" r="r" b="b"/>
            <a:pathLst>
              <a:path w="182879" h="338454">
                <a:moveTo>
                  <a:pt x="16383" y="231114"/>
                </a:moveTo>
                <a:lnTo>
                  <a:pt x="0" y="274002"/>
                </a:lnTo>
                <a:lnTo>
                  <a:pt x="4367" y="276156"/>
                </a:lnTo>
                <a:lnTo>
                  <a:pt x="10271" y="278760"/>
                </a:lnTo>
                <a:lnTo>
                  <a:pt x="17484" y="281365"/>
                </a:lnTo>
                <a:lnTo>
                  <a:pt x="25780" y="283527"/>
                </a:lnTo>
                <a:lnTo>
                  <a:pt x="34067" y="286690"/>
                </a:lnTo>
                <a:lnTo>
                  <a:pt x="44545" y="289185"/>
                </a:lnTo>
                <a:lnTo>
                  <a:pt x="56784" y="291232"/>
                </a:lnTo>
                <a:lnTo>
                  <a:pt x="70358" y="293052"/>
                </a:lnTo>
                <a:lnTo>
                  <a:pt x="70358" y="338327"/>
                </a:lnTo>
                <a:lnTo>
                  <a:pt x="117221" y="338327"/>
                </a:lnTo>
                <a:lnTo>
                  <a:pt x="117221" y="293052"/>
                </a:lnTo>
                <a:lnTo>
                  <a:pt x="125591" y="290860"/>
                </a:lnTo>
                <a:lnTo>
                  <a:pt x="163863" y="270424"/>
                </a:lnTo>
                <a:lnTo>
                  <a:pt x="168783" y="266852"/>
                </a:lnTo>
                <a:lnTo>
                  <a:pt x="178180" y="252552"/>
                </a:lnTo>
                <a:lnTo>
                  <a:pt x="179788" y="247789"/>
                </a:lnTo>
                <a:lnTo>
                  <a:pt x="84454" y="247789"/>
                </a:lnTo>
                <a:lnTo>
                  <a:pt x="75259" y="247379"/>
                </a:lnTo>
                <a:lnTo>
                  <a:pt x="65659" y="246299"/>
                </a:lnTo>
                <a:lnTo>
                  <a:pt x="56058" y="244773"/>
                </a:lnTo>
                <a:lnTo>
                  <a:pt x="46862" y="243027"/>
                </a:lnTo>
                <a:lnTo>
                  <a:pt x="29908" y="236175"/>
                </a:lnTo>
                <a:lnTo>
                  <a:pt x="22502" y="233308"/>
                </a:lnTo>
                <a:lnTo>
                  <a:pt x="16383" y="231114"/>
                </a:lnTo>
                <a:close/>
              </a:path>
              <a:path w="182879" h="338454">
                <a:moveTo>
                  <a:pt x="117221" y="0"/>
                </a:moveTo>
                <a:lnTo>
                  <a:pt x="70358" y="0"/>
                </a:lnTo>
                <a:lnTo>
                  <a:pt x="70358" y="42925"/>
                </a:lnTo>
                <a:lnTo>
                  <a:pt x="61987" y="43735"/>
                </a:lnTo>
                <a:lnTo>
                  <a:pt x="25780" y="61975"/>
                </a:lnTo>
                <a:lnTo>
                  <a:pt x="16383" y="73913"/>
                </a:lnTo>
                <a:lnTo>
                  <a:pt x="11684" y="81025"/>
                </a:lnTo>
                <a:lnTo>
                  <a:pt x="6985" y="114426"/>
                </a:lnTo>
                <a:lnTo>
                  <a:pt x="7398" y="121538"/>
                </a:lnTo>
                <a:lnTo>
                  <a:pt x="23274" y="156983"/>
                </a:lnTo>
                <a:lnTo>
                  <a:pt x="35178" y="166750"/>
                </a:lnTo>
                <a:lnTo>
                  <a:pt x="42163" y="171576"/>
                </a:lnTo>
                <a:lnTo>
                  <a:pt x="49275" y="173989"/>
                </a:lnTo>
                <a:lnTo>
                  <a:pt x="54891" y="177157"/>
                </a:lnTo>
                <a:lnTo>
                  <a:pt x="67028" y="182633"/>
                </a:lnTo>
                <a:lnTo>
                  <a:pt x="72643" y="185800"/>
                </a:lnTo>
                <a:lnTo>
                  <a:pt x="82041" y="188213"/>
                </a:lnTo>
                <a:lnTo>
                  <a:pt x="96138" y="193039"/>
                </a:lnTo>
                <a:lnTo>
                  <a:pt x="103124" y="195376"/>
                </a:lnTo>
                <a:lnTo>
                  <a:pt x="107823" y="197751"/>
                </a:lnTo>
                <a:lnTo>
                  <a:pt x="112522" y="202514"/>
                </a:lnTo>
                <a:lnTo>
                  <a:pt x="117221" y="204901"/>
                </a:lnTo>
                <a:lnTo>
                  <a:pt x="119634" y="207289"/>
                </a:lnTo>
                <a:lnTo>
                  <a:pt x="121919" y="212051"/>
                </a:lnTo>
                <a:lnTo>
                  <a:pt x="124205" y="214426"/>
                </a:lnTo>
                <a:lnTo>
                  <a:pt x="124205" y="231114"/>
                </a:lnTo>
                <a:lnTo>
                  <a:pt x="121919" y="235877"/>
                </a:lnTo>
                <a:lnTo>
                  <a:pt x="84454" y="247789"/>
                </a:lnTo>
                <a:lnTo>
                  <a:pt x="179788" y="247789"/>
                </a:lnTo>
                <a:lnTo>
                  <a:pt x="180593" y="245402"/>
                </a:lnTo>
                <a:lnTo>
                  <a:pt x="180593" y="238264"/>
                </a:lnTo>
                <a:lnTo>
                  <a:pt x="182879" y="228726"/>
                </a:lnTo>
                <a:lnTo>
                  <a:pt x="182879" y="221576"/>
                </a:lnTo>
                <a:lnTo>
                  <a:pt x="182449" y="214097"/>
                </a:lnTo>
                <a:lnTo>
                  <a:pt x="181149" y="206398"/>
                </a:lnTo>
                <a:lnTo>
                  <a:pt x="178968" y="199154"/>
                </a:lnTo>
                <a:lnTo>
                  <a:pt x="175894" y="193039"/>
                </a:lnTo>
                <a:lnTo>
                  <a:pt x="173656" y="186328"/>
                </a:lnTo>
                <a:lnTo>
                  <a:pt x="170561" y="180498"/>
                </a:lnTo>
                <a:lnTo>
                  <a:pt x="166608" y="175573"/>
                </a:lnTo>
                <a:lnTo>
                  <a:pt x="161798" y="171576"/>
                </a:lnTo>
                <a:lnTo>
                  <a:pt x="156090" y="166582"/>
                </a:lnTo>
                <a:lnTo>
                  <a:pt x="121634" y="147700"/>
                </a:lnTo>
                <a:lnTo>
                  <a:pt x="91439" y="135762"/>
                </a:lnTo>
                <a:lnTo>
                  <a:pt x="86740" y="133476"/>
                </a:lnTo>
                <a:lnTo>
                  <a:pt x="77342" y="128650"/>
                </a:lnTo>
                <a:lnTo>
                  <a:pt x="75056" y="126237"/>
                </a:lnTo>
                <a:lnTo>
                  <a:pt x="70358" y="123951"/>
                </a:lnTo>
                <a:lnTo>
                  <a:pt x="67939" y="121533"/>
                </a:lnTo>
                <a:lnTo>
                  <a:pt x="65659" y="119125"/>
                </a:lnTo>
                <a:lnTo>
                  <a:pt x="65659" y="116712"/>
                </a:lnTo>
                <a:lnTo>
                  <a:pt x="63246" y="112013"/>
                </a:lnTo>
                <a:lnTo>
                  <a:pt x="63246" y="102488"/>
                </a:lnTo>
                <a:lnTo>
                  <a:pt x="65659" y="97662"/>
                </a:lnTo>
                <a:lnTo>
                  <a:pt x="72643" y="92963"/>
                </a:lnTo>
                <a:lnTo>
                  <a:pt x="77011" y="89796"/>
                </a:lnTo>
                <a:lnTo>
                  <a:pt x="82915" y="87534"/>
                </a:lnTo>
                <a:lnTo>
                  <a:pt x="90128" y="86177"/>
                </a:lnTo>
                <a:lnTo>
                  <a:pt x="98425" y="85724"/>
                </a:lnTo>
                <a:lnTo>
                  <a:pt x="165496" y="85724"/>
                </a:lnTo>
                <a:lnTo>
                  <a:pt x="173481" y="54736"/>
                </a:lnTo>
                <a:lnTo>
                  <a:pt x="134524" y="42005"/>
                </a:lnTo>
                <a:lnTo>
                  <a:pt x="117221" y="40512"/>
                </a:lnTo>
                <a:lnTo>
                  <a:pt x="117221" y="0"/>
                </a:lnTo>
                <a:close/>
              </a:path>
              <a:path w="182879" h="338454">
                <a:moveTo>
                  <a:pt x="165496" y="85724"/>
                </a:moveTo>
                <a:lnTo>
                  <a:pt x="98425" y="85724"/>
                </a:lnTo>
                <a:lnTo>
                  <a:pt x="107225" y="86139"/>
                </a:lnTo>
                <a:lnTo>
                  <a:pt x="115776" y="87233"/>
                </a:lnTo>
                <a:lnTo>
                  <a:pt x="123874" y="88778"/>
                </a:lnTo>
                <a:lnTo>
                  <a:pt x="131317" y="90550"/>
                </a:lnTo>
                <a:lnTo>
                  <a:pt x="139688" y="92378"/>
                </a:lnTo>
                <a:lnTo>
                  <a:pt x="147415" y="94408"/>
                </a:lnTo>
                <a:lnTo>
                  <a:pt x="154713" y="96891"/>
                </a:lnTo>
                <a:lnTo>
                  <a:pt x="161798" y="100075"/>
                </a:lnTo>
                <a:lnTo>
                  <a:pt x="165496" y="85724"/>
                </a:lnTo>
                <a:close/>
              </a:path>
            </a:pathLst>
          </a:custGeom>
          <a:solidFill>
            <a:srgbClr val="2B133C"/>
          </a:solidFill>
        </p:spPr>
        <p:txBody>
          <a:bodyPr wrap="square" lIns="0" tIns="0" rIns="0" bIns="0" rtlCol="0"/>
          <a:lstStyle/>
          <a:p>
            <a:endParaRPr/>
          </a:p>
        </p:txBody>
      </p:sp>
      <p:sp>
        <p:nvSpPr>
          <p:cNvPr id="51" name="object 51"/>
          <p:cNvSpPr/>
          <p:nvPr/>
        </p:nvSpPr>
        <p:spPr>
          <a:xfrm>
            <a:off x="4614428" y="3488090"/>
            <a:ext cx="363220" cy="660400"/>
          </a:xfrm>
          <a:custGeom>
            <a:avLst/>
            <a:gdLst/>
            <a:ahLst/>
            <a:cxnLst/>
            <a:rect l="l" t="t" r="r" b="b"/>
            <a:pathLst>
              <a:path w="363220" h="660400">
                <a:moveTo>
                  <a:pt x="276596" y="549493"/>
                </a:moveTo>
                <a:lnTo>
                  <a:pt x="87493" y="549493"/>
                </a:lnTo>
                <a:lnTo>
                  <a:pt x="82032" y="554827"/>
                </a:lnTo>
                <a:lnTo>
                  <a:pt x="82032" y="570575"/>
                </a:lnTo>
                <a:lnTo>
                  <a:pt x="87493" y="575909"/>
                </a:lnTo>
                <a:lnTo>
                  <a:pt x="276596" y="575909"/>
                </a:lnTo>
                <a:lnTo>
                  <a:pt x="281930" y="570575"/>
                </a:lnTo>
                <a:lnTo>
                  <a:pt x="281930" y="554827"/>
                </a:lnTo>
                <a:lnTo>
                  <a:pt x="276596" y="549493"/>
                </a:lnTo>
                <a:close/>
              </a:path>
              <a:path w="363220" h="660400">
                <a:moveTo>
                  <a:pt x="319776" y="412333"/>
                </a:moveTo>
                <a:lnTo>
                  <a:pt x="44313" y="412333"/>
                </a:lnTo>
                <a:lnTo>
                  <a:pt x="44313" y="454624"/>
                </a:lnTo>
                <a:lnTo>
                  <a:pt x="48277" y="485003"/>
                </a:lnTo>
                <a:lnTo>
                  <a:pt x="59838" y="511917"/>
                </a:lnTo>
                <a:lnTo>
                  <a:pt x="78495" y="533902"/>
                </a:lnTo>
                <a:lnTo>
                  <a:pt x="103749" y="549493"/>
                </a:lnTo>
                <a:lnTo>
                  <a:pt x="260340" y="549493"/>
                </a:lnTo>
                <a:lnTo>
                  <a:pt x="283289" y="533902"/>
                </a:lnTo>
                <a:lnTo>
                  <a:pt x="302202" y="511917"/>
                </a:lnTo>
                <a:lnTo>
                  <a:pt x="315043" y="485003"/>
                </a:lnTo>
                <a:lnTo>
                  <a:pt x="319776" y="454624"/>
                </a:lnTo>
                <a:lnTo>
                  <a:pt x="319776" y="412333"/>
                </a:lnTo>
                <a:close/>
              </a:path>
              <a:path w="363220" h="660400">
                <a:moveTo>
                  <a:pt x="330255" y="205614"/>
                </a:moveTo>
                <a:lnTo>
                  <a:pt x="28057" y="259425"/>
                </a:lnTo>
                <a:lnTo>
                  <a:pt x="767" y="291357"/>
                </a:lnTo>
                <a:lnTo>
                  <a:pt x="1133" y="306923"/>
                </a:lnTo>
                <a:lnTo>
                  <a:pt x="6467" y="312130"/>
                </a:lnTo>
                <a:lnTo>
                  <a:pt x="8322" y="319141"/>
                </a:lnTo>
                <a:lnTo>
                  <a:pt x="13213" y="324687"/>
                </a:lnTo>
                <a:lnTo>
                  <a:pt x="20129" y="329257"/>
                </a:lnTo>
                <a:lnTo>
                  <a:pt x="28057" y="333339"/>
                </a:lnTo>
                <a:lnTo>
                  <a:pt x="55108" y="333339"/>
                </a:lnTo>
                <a:lnTo>
                  <a:pt x="60442" y="338546"/>
                </a:lnTo>
                <a:lnTo>
                  <a:pt x="68369" y="345884"/>
                </a:lnTo>
                <a:lnTo>
                  <a:pt x="75285" y="353722"/>
                </a:lnTo>
                <a:lnTo>
                  <a:pt x="80176" y="364513"/>
                </a:lnTo>
                <a:lnTo>
                  <a:pt x="82032" y="380710"/>
                </a:lnTo>
                <a:lnTo>
                  <a:pt x="82032" y="412333"/>
                </a:lnTo>
                <a:lnTo>
                  <a:pt x="136134" y="412333"/>
                </a:lnTo>
                <a:lnTo>
                  <a:pt x="136134" y="380710"/>
                </a:lnTo>
                <a:lnTo>
                  <a:pt x="134193" y="361969"/>
                </a:lnTo>
                <a:lnTo>
                  <a:pt x="128704" y="345182"/>
                </a:lnTo>
                <a:lnTo>
                  <a:pt x="120167" y="330346"/>
                </a:lnTo>
                <a:lnTo>
                  <a:pt x="109083" y="317464"/>
                </a:lnTo>
                <a:lnTo>
                  <a:pt x="173319" y="304178"/>
                </a:lnTo>
                <a:lnTo>
                  <a:pt x="330571" y="275300"/>
                </a:lnTo>
                <a:lnTo>
                  <a:pt x="360932" y="247868"/>
                </a:lnTo>
                <a:lnTo>
                  <a:pt x="362956" y="233136"/>
                </a:lnTo>
                <a:lnTo>
                  <a:pt x="356088" y="219311"/>
                </a:lnTo>
                <a:lnTo>
                  <a:pt x="344683" y="209974"/>
                </a:lnTo>
                <a:lnTo>
                  <a:pt x="330255" y="205614"/>
                </a:lnTo>
                <a:close/>
              </a:path>
              <a:path w="363220" h="660400">
                <a:moveTo>
                  <a:pt x="292725" y="312130"/>
                </a:moveTo>
                <a:lnTo>
                  <a:pt x="248195" y="326687"/>
                </a:lnTo>
                <a:lnTo>
                  <a:pt x="228070" y="364513"/>
                </a:lnTo>
                <a:lnTo>
                  <a:pt x="227955" y="412333"/>
                </a:lnTo>
                <a:lnTo>
                  <a:pt x="276596" y="412333"/>
                </a:lnTo>
                <a:lnTo>
                  <a:pt x="276596" y="364962"/>
                </a:lnTo>
                <a:lnTo>
                  <a:pt x="281930" y="364962"/>
                </a:lnTo>
                <a:lnTo>
                  <a:pt x="281930" y="359628"/>
                </a:lnTo>
                <a:lnTo>
                  <a:pt x="292725" y="359628"/>
                </a:lnTo>
                <a:lnTo>
                  <a:pt x="300652" y="357735"/>
                </a:lnTo>
                <a:lnTo>
                  <a:pt x="307568" y="352389"/>
                </a:lnTo>
                <a:lnTo>
                  <a:pt x="312459" y="344090"/>
                </a:lnTo>
                <a:lnTo>
                  <a:pt x="314315" y="333339"/>
                </a:lnTo>
                <a:lnTo>
                  <a:pt x="312459" y="325524"/>
                </a:lnTo>
                <a:lnTo>
                  <a:pt x="307568" y="318734"/>
                </a:lnTo>
                <a:lnTo>
                  <a:pt x="300652" y="313943"/>
                </a:lnTo>
                <a:lnTo>
                  <a:pt x="292725" y="312130"/>
                </a:lnTo>
                <a:close/>
              </a:path>
              <a:path w="363220" h="660400">
                <a:moveTo>
                  <a:pt x="330255" y="100899"/>
                </a:moveTo>
                <a:lnTo>
                  <a:pt x="314315" y="101183"/>
                </a:lnTo>
                <a:lnTo>
                  <a:pt x="288381" y="106533"/>
                </a:lnTo>
                <a:lnTo>
                  <a:pt x="75088" y="150153"/>
                </a:lnTo>
                <a:lnTo>
                  <a:pt x="28057" y="159222"/>
                </a:lnTo>
                <a:lnTo>
                  <a:pt x="13973" y="165846"/>
                </a:lnTo>
                <a:lnTo>
                  <a:pt x="4450" y="176399"/>
                </a:lnTo>
                <a:lnTo>
                  <a:pt x="0" y="188904"/>
                </a:lnTo>
                <a:lnTo>
                  <a:pt x="1133" y="201386"/>
                </a:lnTo>
                <a:lnTo>
                  <a:pt x="7008" y="213044"/>
                </a:lnTo>
                <a:lnTo>
                  <a:pt x="15944" y="223214"/>
                </a:lnTo>
                <a:lnTo>
                  <a:pt x="26904" y="230407"/>
                </a:lnTo>
                <a:lnTo>
                  <a:pt x="38852" y="233136"/>
                </a:lnTo>
                <a:lnTo>
                  <a:pt x="44313" y="227802"/>
                </a:lnTo>
                <a:lnTo>
                  <a:pt x="49647" y="227802"/>
                </a:lnTo>
                <a:lnTo>
                  <a:pt x="330571" y="175097"/>
                </a:lnTo>
                <a:lnTo>
                  <a:pt x="360932" y="143164"/>
                </a:lnTo>
                <a:lnTo>
                  <a:pt x="362956" y="127599"/>
                </a:lnTo>
                <a:lnTo>
                  <a:pt x="356088" y="116095"/>
                </a:lnTo>
                <a:lnTo>
                  <a:pt x="344683" y="106533"/>
                </a:lnTo>
                <a:lnTo>
                  <a:pt x="330255" y="100899"/>
                </a:lnTo>
                <a:close/>
              </a:path>
              <a:path w="363220" h="660400">
                <a:moveTo>
                  <a:pt x="330170" y="0"/>
                </a:moveTo>
                <a:lnTo>
                  <a:pt x="314315" y="1107"/>
                </a:lnTo>
                <a:lnTo>
                  <a:pt x="148008" y="27789"/>
                </a:lnTo>
                <a:lnTo>
                  <a:pt x="114544" y="32730"/>
                </a:lnTo>
                <a:lnTo>
                  <a:pt x="100441" y="39364"/>
                </a:lnTo>
                <a:lnTo>
                  <a:pt x="90874" y="50462"/>
                </a:lnTo>
                <a:lnTo>
                  <a:pt x="86379" y="64537"/>
                </a:lnTo>
                <a:lnTo>
                  <a:pt x="87493" y="80101"/>
                </a:lnTo>
                <a:lnTo>
                  <a:pt x="93424" y="90926"/>
                </a:lnTo>
                <a:lnTo>
                  <a:pt x="102367" y="99262"/>
                </a:lnTo>
                <a:lnTo>
                  <a:pt x="113335" y="104622"/>
                </a:lnTo>
                <a:lnTo>
                  <a:pt x="125339" y="106517"/>
                </a:lnTo>
                <a:lnTo>
                  <a:pt x="130673" y="106517"/>
                </a:lnTo>
                <a:lnTo>
                  <a:pt x="330571" y="69560"/>
                </a:lnTo>
                <a:lnTo>
                  <a:pt x="358628" y="42146"/>
                </a:lnTo>
                <a:lnTo>
                  <a:pt x="357495" y="27396"/>
                </a:lnTo>
                <a:lnTo>
                  <a:pt x="353784" y="13644"/>
                </a:lnTo>
                <a:lnTo>
                  <a:pt x="344001" y="4345"/>
                </a:lnTo>
                <a:lnTo>
                  <a:pt x="330170" y="0"/>
                </a:lnTo>
                <a:close/>
              </a:path>
              <a:path w="363220" h="660400">
                <a:moveTo>
                  <a:pt x="254879" y="633821"/>
                </a:moveTo>
                <a:lnTo>
                  <a:pt x="109083" y="633821"/>
                </a:lnTo>
                <a:lnTo>
                  <a:pt x="103749" y="639155"/>
                </a:lnTo>
                <a:lnTo>
                  <a:pt x="103749" y="654903"/>
                </a:lnTo>
                <a:lnTo>
                  <a:pt x="109083" y="660237"/>
                </a:lnTo>
                <a:lnTo>
                  <a:pt x="254879" y="660237"/>
                </a:lnTo>
                <a:lnTo>
                  <a:pt x="260340" y="654903"/>
                </a:lnTo>
                <a:lnTo>
                  <a:pt x="260340" y="639155"/>
                </a:lnTo>
                <a:lnTo>
                  <a:pt x="254879" y="633821"/>
                </a:lnTo>
                <a:close/>
              </a:path>
              <a:path w="363220" h="660400">
                <a:moveTo>
                  <a:pt x="276596" y="591657"/>
                </a:moveTo>
                <a:lnTo>
                  <a:pt x="87493" y="591657"/>
                </a:lnTo>
                <a:lnTo>
                  <a:pt x="82032" y="596991"/>
                </a:lnTo>
                <a:lnTo>
                  <a:pt x="82032" y="612739"/>
                </a:lnTo>
                <a:lnTo>
                  <a:pt x="87493" y="618073"/>
                </a:lnTo>
                <a:lnTo>
                  <a:pt x="276596" y="618073"/>
                </a:lnTo>
                <a:lnTo>
                  <a:pt x="281930" y="612739"/>
                </a:lnTo>
                <a:lnTo>
                  <a:pt x="281930" y="596991"/>
                </a:lnTo>
                <a:lnTo>
                  <a:pt x="276596" y="591657"/>
                </a:lnTo>
                <a:close/>
              </a:path>
            </a:pathLst>
          </a:custGeom>
          <a:solidFill>
            <a:srgbClr val="FFFFFF"/>
          </a:solidFill>
        </p:spPr>
        <p:txBody>
          <a:bodyPr wrap="square" lIns="0" tIns="0" rIns="0" bIns="0" rtlCol="0"/>
          <a:lstStyle/>
          <a:p>
            <a:endParaRPr/>
          </a:p>
        </p:txBody>
      </p:sp>
      <p:sp>
        <p:nvSpPr>
          <p:cNvPr id="52" name="object 52"/>
          <p:cNvSpPr/>
          <p:nvPr/>
        </p:nvSpPr>
        <p:spPr>
          <a:xfrm>
            <a:off x="8406582" y="1956816"/>
            <a:ext cx="617220" cy="408940"/>
          </a:xfrm>
          <a:custGeom>
            <a:avLst/>
            <a:gdLst/>
            <a:ahLst/>
            <a:cxnLst/>
            <a:rect l="l" t="t" r="r" b="b"/>
            <a:pathLst>
              <a:path w="617220" h="408939">
                <a:moveTo>
                  <a:pt x="413538" y="0"/>
                </a:moveTo>
                <a:lnTo>
                  <a:pt x="361155" y="526"/>
                </a:lnTo>
                <a:lnTo>
                  <a:pt x="136257" y="6585"/>
                </a:lnTo>
                <a:lnTo>
                  <a:pt x="83874" y="7112"/>
                </a:lnTo>
                <a:lnTo>
                  <a:pt x="30741" y="24653"/>
                </a:lnTo>
                <a:lnTo>
                  <a:pt x="3991" y="80391"/>
                </a:lnTo>
                <a:lnTo>
                  <a:pt x="0" y="118947"/>
                </a:lnTo>
                <a:lnTo>
                  <a:pt x="708" y="168683"/>
                </a:lnTo>
                <a:lnTo>
                  <a:pt x="4567" y="222369"/>
                </a:lnTo>
                <a:lnTo>
                  <a:pt x="10030" y="272776"/>
                </a:lnTo>
                <a:lnTo>
                  <a:pt x="15548" y="312674"/>
                </a:lnTo>
                <a:lnTo>
                  <a:pt x="13054" y="347577"/>
                </a:lnTo>
                <a:lnTo>
                  <a:pt x="5785" y="372919"/>
                </a:lnTo>
                <a:lnTo>
                  <a:pt x="13209" y="390808"/>
                </a:lnTo>
                <a:lnTo>
                  <a:pt x="54791" y="403351"/>
                </a:lnTo>
                <a:lnTo>
                  <a:pt x="166766" y="408459"/>
                </a:lnTo>
                <a:lnTo>
                  <a:pt x="328413" y="405828"/>
                </a:lnTo>
                <a:lnTo>
                  <a:pt x="536883" y="397637"/>
                </a:lnTo>
                <a:lnTo>
                  <a:pt x="594303" y="376999"/>
                </a:lnTo>
                <a:lnTo>
                  <a:pt x="616766" y="324358"/>
                </a:lnTo>
                <a:lnTo>
                  <a:pt x="616768" y="72816"/>
                </a:lnTo>
                <a:lnTo>
                  <a:pt x="610115" y="45418"/>
                </a:lnTo>
                <a:lnTo>
                  <a:pt x="586816" y="22996"/>
                </a:lnTo>
                <a:lnTo>
                  <a:pt x="536883" y="7112"/>
                </a:lnTo>
                <a:lnTo>
                  <a:pt x="502939" y="2897"/>
                </a:lnTo>
                <a:lnTo>
                  <a:pt x="461312" y="658"/>
                </a:lnTo>
                <a:lnTo>
                  <a:pt x="413538" y="0"/>
                </a:lnTo>
                <a:close/>
              </a:path>
            </a:pathLst>
          </a:custGeom>
          <a:solidFill>
            <a:srgbClr val="2B133C"/>
          </a:solidFill>
        </p:spPr>
        <p:txBody>
          <a:bodyPr wrap="square" lIns="0" tIns="0" rIns="0" bIns="0" rtlCol="0"/>
          <a:lstStyle/>
          <a:p>
            <a:endParaRPr/>
          </a:p>
        </p:txBody>
      </p:sp>
      <p:sp>
        <p:nvSpPr>
          <p:cNvPr id="53" name="object 53"/>
          <p:cNvSpPr/>
          <p:nvPr/>
        </p:nvSpPr>
        <p:spPr>
          <a:xfrm>
            <a:off x="8532876" y="2078735"/>
            <a:ext cx="372110" cy="144780"/>
          </a:xfrm>
          <a:custGeom>
            <a:avLst/>
            <a:gdLst/>
            <a:ahLst/>
            <a:cxnLst/>
            <a:rect l="l" t="t" r="r" b="b"/>
            <a:pathLst>
              <a:path w="372109" h="144780">
                <a:moveTo>
                  <a:pt x="131952" y="96519"/>
                </a:moveTo>
                <a:lnTo>
                  <a:pt x="0" y="96519"/>
                </a:lnTo>
                <a:lnTo>
                  <a:pt x="8602" y="114240"/>
                </a:lnTo>
                <a:lnTo>
                  <a:pt x="23955" y="129698"/>
                </a:lnTo>
                <a:lnTo>
                  <a:pt x="43809" y="140632"/>
                </a:lnTo>
                <a:lnTo>
                  <a:pt x="65913" y="144779"/>
                </a:lnTo>
                <a:lnTo>
                  <a:pt x="88090" y="141472"/>
                </a:lnTo>
                <a:lnTo>
                  <a:pt x="107981" y="131937"/>
                </a:lnTo>
                <a:lnTo>
                  <a:pt x="123348" y="116758"/>
                </a:lnTo>
                <a:lnTo>
                  <a:pt x="131952" y="96519"/>
                </a:lnTo>
                <a:close/>
              </a:path>
              <a:path w="372109" h="144780">
                <a:moveTo>
                  <a:pt x="371855" y="96519"/>
                </a:moveTo>
                <a:lnTo>
                  <a:pt x="239902" y="96519"/>
                </a:lnTo>
                <a:lnTo>
                  <a:pt x="248507" y="116758"/>
                </a:lnTo>
                <a:lnTo>
                  <a:pt x="263874" y="131937"/>
                </a:lnTo>
                <a:lnTo>
                  <a:pt x="283765" y="141472"/>
                </a:lnTo>
                <a:lnTo>
                  <a:pt x="305943" y="144779"/>
                </a:lnTo>
                <a:lnTo>
                  <a:pt x="328046" y="141472"/>
                </a:lnTo>
                <a:lnTo>
                  <a:pt x="347900" y="131937"/>
                </a:lnTo>
                <a:lnTo>
                  <a:pt x="363253" y="116758"/>
                </a:lnTo>
                <a:lnTo>
                  <a:pt x="371855" y="96519"/>
                </a:lnTo>
                <a:close/>
              </a:path>
              <a:path w="372109" h="144780">
                <a:moveTo>
                  <a:pt x="317880" y="48260"/>
                </a:moveTo>
                <a:lnTo>
                  <a:pt x="53975" y="48260"/>
                </a:lnTo>
                <a:lnTo>
                  <a:pt x="83947" y="72389"/>
                </a:lnTo>
                <a:lnTo>
                  <a:pt x="53975" y="96519"/>
                </a:lnTo>
                <a:lnTo>
                  <a:pt x="317880" y="96519"/>
                </a:lnTo>
                <a:lnTo>
                  <a:pt x="287908" y="72389"/>
                </a:lnTo>
                <a:lnTo>
                  <a:pt x="317880" y="48260"/>
                </a:lnTo>
                <a:close/>
              </a:path>
              <a:path w="372109" h="144780">
                <a:moveTo>
                  <a:pt x="65913" y="0"/>
                </a:moveTo>
                <a:lnTo>
                  <a:pt x="43809" y="4147"/>
                </a:lnTo>
                <a:lnTo>
                  <a:pt x="23955" y="15081"/>
                </a:lnTo>
                <a:lnTo>
                  <a:pt x="8602" y="30539"/>
                </a:lnTo>
                <a:lnTo>
                  <a:pt x="0" y="48260"/>
                </a:lnTo>
                <a:lnTo>
                  <a:pt x="131952" y="48260"/>
                </a:lnTo>
                <a:lnTo>
                  <a:pt x="123348" y="27967"/>
                </a:lnTo>
                <a:lnTo>
                  <a:pt x="107981" y="12795"/>
                </a:lnTo>
                <a:lnTo>
                  <a:pt x="88090" y="3290"/>
                </a:lnTo>
                <a:lnTo>
                  <a:pt x="65913" y="0"/>
                </a:lnTo>
                <a:close/>
              </a:path>
              <a:path w="372109" h="144780">
                <a:moveTo>
                  <a:pt x="305943" y="0"/>
                </a:moveTo>
                <a:lnTo>
                  <a:pt x="283765" y="3290"/>
                </a:lnTo>
                <a:lnTo>
                  <a:pt x="263874" y="12795"/>
                </a:lnTo>
                <a:lnTo>
                  <a:pt x="248507" y="27967"/>
                </a:lnTo>
                <a:lnTo>
                  <a:pt x="239902" y="48260"/>
                </a:lnTo>
                <a:lnTo>
                  <a:pt x="371855" y="48260"/>
                </a:lnTo>
                <a:lnTo>
                  <a:pt x="363253" y="27967"/>
                </a:lnTo>
                <a:lnTo>
                  <a:pt x="347900" y="12795"/>
                </a:lnTo>
                <a:lnTo>
                  <a:pt x="328046" y="3290"/>
                </a:lnTo>
                <a:lnTo>
                  <a:pt x="305943" y="0"/>
                </a:lnTo>
                <a:close/>
              </a:path>
            </a:pathLst>
          </a:custGeom>
          <a:solidFill>
            <a:srgbClr val="FFFFFF"/>
          </a:solidFill>
        </p:spPr>
        <p:txBody>
          <a:bodyPr wrap="square" lIns="0" tIns="0" rIns="0" bIns="0" rtlCol="0"/>
          <a:lstStyle/>
          <a:p>
            <a:endParaRPr/>
          </a:p>
        </p:txBody>
      </p:sp>
      <p:sp>
        <p:nvSpPr>
          <p:cNvPr id="54" name="object 54"/>
          <p:cNvSpPr/>
          <p:nvPr/>
        </p:nvSpPr>
        <p:spPr>
          <a:xfrm>
            <a:off x="8598407" y="1879092"/>
            <a:ext cx="269875" cy="85725"/>
          </a:xfrm>
          <a:custGeom>
            <a:avLst/>
            <a:gdLst/>
            <a:ahLst/>
            <a:cxnLst/>
            <a:rect l="l" t="t" r="r" b="b"/>
            <a:pathLst>
              <a:path w="269875" h="85725">
                <a:moveTo>
                  <a:pt x="134874" y="0"/>
                </a:moveTo>
                <a:lnTo>
                  <a:pt x="82349" y="6709"/>
                </a:lnTo>
                <a:lnTo>
                  <a:pt x="39481" y="25003"/>
                </a:lnTo>
                <a:lnTo>
                  <a:pt x="10590" y="52131"/>
                </a:lnTo>
                <a:lnTo>
                  <a:pt x="0" y="85344"/>
                </a:lnTo>
                <a:lnTo>
                  <a:pt x="42672" y="85344"/>
                </a:lnTo>
                <a:lnTo>
                  <a:pt x="49916" y="68710"/>
                </a:lnTo>
                <a:lnTo>
                  <a:pt x="69675" y="55149"/>
                </a:lnTo>
                <a:lnTo>
                  <a:pt x="98982" y="46017"/>
                </a:lnTo>
                <a:lnTo>
                  <a:pt x="134874" y="42672"/>
                </a:lnTo>
                <a:lnTo>
                  <a:pt x="249083" y="42672"/>
                </a:lnTo>
                <a:lnTo>
                  <a:pt x="230266" y="25003"/>
                </a:lnTo>
                <a:lnTo>
                  <a:pt x="187398" y="6709"/>
                </a:lnTo>
                <a:lnTo>
                  <a:pt x="134874" y="0"/>
                </a:lnTo>
                <a:close/>
              </a:path>
              <a:path w="269875" h="85725">
                <a:moveTo>
                  <a:pt x="249083" y="42672"/>
                </a:moveTo>
                <a:lnTo>
                  <a:pt x="134874" y="42672"/>
                </a:lnTo>
                <a:lnTo>
                  <a:pt x="170765" y="46017"/>
                </a:lnTo>
                <a:lnTo>
                  <a:pt x="200072" y="55149"/>
                </a:lnTo>
                <a:lnTo>
                  <a:pt x="219831" y="68710"/>
                </a:lnTo>
                <a:lnTo>
                  <a:pt x="227075" y="85344"/>
                </a:lnTo>
                <a:lnTo>
                  <a:pt x="269748" y="85344"/>
                </a:lnTo>
                <a:lnTo>
                  <a:pt x="259157" y="52131"/>
                </a:lnTo>
                <a:lnTo>
                  <a:pt x="249083" y="42672"/>
                </a:lnTo>
                <a:close/>
              </a:path>
            </a:pathLst>
          </a:custGeom>
          <a:solidFill>
            <a:srgbClr val="2B133C"/>
          </a:solidFill>
        </p:spPr>
        <p:txBody>
          <a:bodyPr wrap="square" lIns="0" tIns="0" rIns="0" bIns="0" rtlCol="0"/>
          <a:lstStyle/>
          <a:p>
            <a:endParaRPr/>
          </a:p>
        </p:txBody>
      </p:sp>
      <p:sp>
        <p:nvSpPr>
          <p:cNvPr id="55" name="object 55"/>
          <p:cNvSpPr/>
          <p:nvPr/>
        </p:nvSpPr>
        <p:spPr>
          <a:xfrm>
            <a:off x="8613647" y="3720084"/>
            <a:ext cx="76835" cy="280670"/>
          </a:xfrm>
          <a:custGeom>
            <a:avLst/>
            <a:gdLst/>
            <a:ahLst/>
            <a:cxnLst/>
            <a:rect l="l" t="t" r="r" b="b"/>
            <a:pathLst>
              <a:path w="76834" h="280670">
                <a:moveTo>
                  <a:pt x="47625" y="0"/>
                </a:moveTo>
                <a:lnTo>
                  <a:pt x="42672" y="0"/>
                </a:lnTo>
                <a:lnTo>
                  <a:pt x="2540" y="23368"/>
                </a:lnTo>
                <a:lnTo>
                  <a:pt x="0" y="29210"/>
                </a:lnTo>
                <a:lnTo>
                  <a:pt x="0" y="274574"/>
                </a:lnTo>
                <a:lnTo>
                  <a:pt x="4952" y="280416"/>
                </a:lnTo>
                <a:lnTo>
                  <a:pt x="67691" y="280416"/>
                </a:lnTo>
                <a:lnTo>
                  <a:pt x="75183" y="274574"/>
                </a:lnTo>
                <a:lnTo>
                  <a:pt x="75183" y="64262"/>
                </a:lnTo>
                <a:lnTo>
                  <a:pt x="75541" y="55544"/>
                </a:lnTo>
                <a:lnTo>
                  <a:pt x="76136" y="47101"/>
                </a:lnTo>
                <a:lnTo>
                  <a:pt x="76255" y="39205"/>
                </a:lnTo>
                <a:lnTo>
                  <a:pt x="75183" y="32131"/>
                </a:lnTo>
                <a:lnTo>
                  <a:pt x="71707" y="25558"/>
                </a:lnTo>
                <a:lnTo>
                  <a:pt x="65849" y="18986"/>
                </a:lnTo>
                <a:lnTo>
                  <a:pt x="59039" y="12414"/>
                </a:lnTo>
                <a:lnTo>
                  <a:pt x="52704" y="5842"/>
                </a:lnTo>
                <a:lnTo>
                  <a:pt x="47625" y="0"/>
                </a:lnTo>
                <a:close/>
              </a:path>
            </a:pathLst>
          </a:custGeom>
          <a:solidFill>
            <a:srgbClr val="FFFFFF"/>
          </a:solidFill>
        </p:spPr>
        <p:txBody>
          <a:bodyPr wrap="square" lIns="0" tIns="0" rIns="0" bIns="0" rtlCol="0"/>
          <a:lstStyle/>
          <a:p>
            <a:endParaRPr/>
          </a:p>
        </p:txBody>
      </p:sp>
      <p:sp>
        <p:nvSpPr>
          <p:cNvPr id="56" name="object 56"/>
          <p:cNvSpPr/>
          <p:nvPr/>
        </p:nvSpPr>
        <p:spPr>
          <a:xfrm>
            <a:off x="8738616" y="3723876"/>
            <a:ext cx="74930" cy="276860"/>
          </a:xfrm>
          <a:custGeom>
            <a:avLst/>
            <a:gdLst/>
            <a:ahLst/>
            <a:cxnLst/>
            <a:rect l="l" t="t" r="r" b="b"/>
            <a:pathLst>
              <a:path w="74929" h="276860">
                <a:moveTo>
                  <a:pt x="62085" y="0"/>
                </a:moveTo>
                <a:lnTo>
                  <a:pt x="54736" y="2430"/>
                </a:lnTo>
                <a:lnTo>
                  <a:pt x="43176" y="11717"/>
                </a:lnTo>
                <a:lnTo>
                  <a:pt x="31114" y="20718"/>
                </a:lnTo>
                <a:lnTo>
                  <a:pt x="19053" y="29148"/>
                </a:lnTo>
                <a:lnTo>
                  <a:pt x="7492" y="36720"/>
                </a:lnTo>
                <a:lnTo>
                  <a:pt x="2539" y="39768"/>
                </a:lnTo>
                <a:lnTo>
                  <a:pt x="0" y="46118"/>
                </a:lnTo>
                <a:lnTo>
                  <a:pt x="0" y="270400"/>
                </a:lnTo>
                <a:lnTo>
                  <a:pt x="4952" y="276623"/>
                </a:lnTo>
                <a:lnTo>
                  <a:pt x="69723" y="276623"/>
                </a:lnTo>
                <a:lnTo>
                  <a:pt x="74675" y="270400"/>
                </a:lnTo>
                <a:lnTo>
                  <a:pt x="74675" y="14876"/>
                </a:lnTo>
                <a:lnTo>
                  <a:pt x="72971" y="6806"/>
                </a:lnTo>
                <a:lnTo>
                  <a:pt x="68468" y="1652"/>
                </a:lnTo>
                <a:lnTo>
                  <a:pt x="62085" y="0"/>
                </a:lnTo>
                <a:close/>
              </a:path>
            </a:pathLst>
          </a:custGeom>
          <a:solidFill>
            <a:srgbClr val="FFFFFF"/>
          </a:solidFill>
        </p:spPr>
        <p:txBody>
          <a:bodyPr wrap="square" lIns="0" tIns="0" rIns="0" bIns="0" rtlCol="0"/>
          <a:lstStyle/>
          <a:p>
            <a:endParaRPr/>
          </a:p>
        </p:txBody>
      </p:sp>
      <p:sp>
        <p:nvSpPr>
          <p:cNvPr id="57" name="object 57"/>
          <p:cNvSpPr/>
          <p:nvPr/>
        </p:nvSpPr>
        <p:spPr>
          <a:xfrm>
            <a:off x="8491728" y="3724973"/>
            <a:ext cx="76200" cy="275590"/>
          </a:xfrm>
          <a:custGeom>
            <a:avLst/>
            <a:gdLst/>
            <a:ahLst/>
            <a:cxnLst/>
            <a:rect l="l" t="t" r="r" b="b"/>
            <a:pathLst>
              <a:path w="76200" h="275589">
                <a:moveTo>
                  <a:pt x="64412" y="0"/>
                </a:moveTo>
                <a:lnTo>
                  <a:pt x="58420" y="2222"/>
                </a:lnTo>
                <a:lnTo>
                  <a:pt x="45481" y="10777"/>
                </a:lnTo>
                <a:lnTo>
                  <a:pt x="20558" y="29172"/>
                </a:lnTo>
                <a:lnTo>
                  <a:pt x="7620" y="37655"/>
                </a:lnTo>
                <a:lnTo>
                  <a:pt x="2540" y="41211"/>
                </a:lnTo>
                <a:lnTo>
                  <a:pt x="0" y="48323"/>
                </a:lnTo>
                <a:lnTo>
                  <a:pt x="0" y="268414"/>
                </a:lnTo>
                <a:lnTo>
                  <a:pt x="7620" y="275526"/>
                </a:lnTo>
                <a:lnTo>
                  <a:pt x="71120" y="275526"/>
                </a:lnTo>
                <a:lnTo>
                  <a:pt x="76200" y="268414"/>
                </a:lnTo>
                <a:lnTo>
                  <a:pt x="76200" y="20002"/>
                </a:lnTo>
                <a:lnTo>
                  <a:pt x="74493" y="10223"/>
                </a:lnTo>
                <a:lnTo>
                  <a:pt x="70167" y="3111"/>
                </a:lnTo>
                <a:lnTo>
                  <a:pt x="64412" y="0"/>
                </a:lnTo>
                <a:close/>
              </a:path>
            </a:pathLst>
          </a:custGeom>
          <a:solidFill>
            <a:srgbClr val="FFFFFF"/>
          </a:solidFill>
        </p:spPr>
        <p:txBody>
          <a:bodyPr wrap="square" lIns="0" tIns="0" rIns="0" bIns="0" rtlCol="0"/>
          <a:lstStyle/>
          <a:p>
            <a:endParaRPr/>
          </a:p>
        </p:txBody>
      </p:sp>
      <p:sp>
        <p:nvSpPr>
          <p:cNvPr id="58" name="object 58"/>
          <p:cNvSpPr/>
          <p:nvPr/>
        </p:nvSpPr>
        <p:spPr>
          <a:xfrm>
            <a:off x="8860535" y="3720084"/>
            <a:ext cx="76835" cy="280670"/>
          </a:xfrm>
          <a:custGeom>
            <a:avLst/>
            <a:gdLst/>
            <a:ahLst/>
            <a:cxnLst/>
            <a:rect l="l" t="t" r="r" b="b"/>
            <a:pathLst>
              <a:path w="76834" h="280670">
                <a:moveTo>
                  <a:pt x="47625" y="0"/>
                </a:moveTo>
                <a:lnTo>
                  <a:pt x="42672" y="0"/>
                </a:lnTo>
                <a:lnTo>
                  <a:pt x="2540" y="23368"/>
                </a:lnTo>
                <a:lnTo>
                  <a:pt x="0" y="29210"/>
                </a:lnTo>
                <a:lnTo>
                  <a:pt x="0" y="274574"/>
                </a:lnTo>
                <a:lnTo>
                  <a:pt x="4953" y="280416"/>
                </a:lnTo>
                <a:lnTo>
                  <a:pt x="67691" y="280416"/>
                </a:lnTo>
                <a:lnTo>
                  <a:pt x="75184" y="274574"/>
                </a:lnTo>
                <a:lnTo>
                  <a:pt x="75184" y="64262"/>
                </a:lnTo>
                <a:lnTo>
                  <a:pt x="75541" y="55544"/>
                </a:lnTo>
                <a:lnTo>
                  <a:pt x="76136" y="47101"/>
                </a:lnTo>
                <a:lnTo>
                  <a:pt x="76255" y="39205"/>
                </a:lnTo>
                <a:lnTo>
                  <a:pt x="75184" y="32131"/>
                </a:lnTo>
                <a:lnTo>
                  <a:pt x="71707" y="25558"/>
                </a:lnTo>
                <a:lnTo>
                  <a:pt x="65849" y="18986"/>
                </a:lnTo>
                <a:lnTo>
                  <a:pt x="59039" y="12414"/>
                </a:lnTo>
                <a:lnTo>
                  <a:pt x="52705" y="5842"/>
                </a:lnTo>
                <a:lnTo>
                  <a:pt x="47625" y="0"/>
                </a:lnTo>
                <a:close/>
              </a:path>
            </a:pathLst>
          </a:custGeom>
          <a:solidFill>
            <a:srgbClr val="FFFFFF"/>
          </a:solidFill>
        </p:spPr>
        <p:txBody>
          <a:bodyPr wrap="square" lIns="0" tIns="0" rIns="0" bIns="0" rtlCol="0"/>
          <a:lstStyle/>
          <a:p>
            <a:endParaRPr/>
          </a:p>
        </p:txBody>
      </p:sp>
      <p:sp>
        <p:nvSpPr>
          <p:cNvPr id="59" name="object 59"/>
          <p:cNvSpPr/>
          <p:nvPr/>
        </p:nvSpPr>
        <p:spPr>
          <a:xfrm>
            <a:off x="8444483" y="4020311"/>
            <a:ext cx="510540" cy="60960"/>
          </a:xfrm>
          <a:custGeom>
            <a:avLst/>
            <a:gdLst/>
            <a:ahLst/>
            <a:cxnLst/>
            <a:rect l="l" t="t" r="r" b="b"/>
            <a:pathLst>
              <a:path w="510540" h="60960">
                <a:moveTo>
                  <a:pt x="481838" y="0"/>
                </a:moveTo>
                <a:lnTo>
                  <a:pt x="28701" y="0"/>
                </a:lnTo>
                <a:lnTo>
                  <a:pt x="16930" y="728"/>
                </a:lnTo>
                <a:lnTo>
                  <a:pt x="7874" y="2778"/>
                </a:lnTo>
                <a:lnTo>
                  <a:pt x="2055" y="5947"/>
                </a:lnTo>
                <a:lnTo>
                  <a:pt x="0" y="10032"/>
                </a:lnTo>
                <a:lnTo>
                  <a:pt x="0" y="50037"/>
                </a:lnTo>
                <a:lnTo>
                  <a:pt x="2055" y="53320"/>
                </a:lnTo>
                <a:lnTo>
                  <a:pt x="7874" y="56578"/>
                </a:lnTo>
                <a:lnTo>
                  <a:pt x="16930" y="59074"/>
                </a:lnTo>
                <a:lnTo>
                  <a:pt x="28701" y="60070"/>
                </a:lnTo>
                <a:lnTo>
                  <a:pt x="424434" y="60070"/>
                </a:lnTo>
                <a:lnTo>
                  <a:pt x="441582" y="60356"/>
                </a:lnTo>
                <a:lnTo>
                  <a:pt x="458184" y="60832"/>
                </a:lnTo>
                <a:lnTo>
                  <a:pt x="473690" y="60928"/>
                </a:lnTo>
                <a:lnTo>
                  <a:pt x="487552" y="60070"/>
                </a:lnTo>
                <a:lnTo>
                  <a:pt x="510540" y="5968"/>
                </a:lnTo>
                <a:lnTo>
                  <a:pt x="505251" y="3375"/>
                </a:lnTo>
                <a:lnTo>
                  <a:pt x="498332" y="1508"/>
                </a:lnTo>
                <a:lnTo>
                  <a:pt x="490341" y="379"/>
                </a:lnTo>
                <a:lnTo>
                  <a:pt x="481838" y="0"/>
                </a:lnTo>
                <a:close/>
              </a:path>
            </a:pathLst>
          </a:custGeom>
          <a:solidFill>
            <a:srgbClr val="2B133C"/>
          </a:solidFill>
        </p:spPr>
        <p:txBody>
          <a:bodyPr wrap="square" lIns="0" tIns="0" rIns="0" bIns="0" rtlCol="0"/>
          <a:lstStyle/>
          <a:p>
            <a:endParaRPr/>
          </a:p>
        </p:txBody>
      </p:sp>
      <p:sp>
        <p:nvSpPr>
          <p:cNvPr id="60" name="object 60"/>
          <p:cNvSpPr/>
          <p:nvPr/>
        </p:nvSpPr>
        <p:spPr>
          <a:xfrm>
            <a:off x="8417052" y="3462654"/>
            <a:ext cx="549910" cy="184785"/>
          </a:xfrm>
          <a:custGeom>
            <a:avLst/>
            <a:gdLst/>
            <a:ahLst/>
            <a:cxnLst/>
            <a:rect l="l" t="t" r="r" b="b"/>
            <a:pathLst>
              <a:path w="549909" h="184785">
                <a:moveTo>
                  <a:pt x="280416" y="0"/>
                </a:moveTo>
                <a:lnTo>
                  <a:pt x="246567" y="14512"/>
                </a:lnTo>
                <a:lnTo>
                  <a:pt x="205892" y="39565"/>
                </a:lnTo>
                <a:lnTo>
                  <a:pt x="163052" y="69604"/>
                </a:lnTo>
                <a:lnTo>
                  <a:pt x="122712" y="99076"/>
                </a:lnTo>
                <a:lnTo>
                  <a:pt x="89534" y="122428"/>
                </a:lnTo>
                <a:lnTo>
                  <a:pt x="60025" y="142164"/>
                </a:lnTo>
                <a:lnTo>
                  <a:pt x="38433" y="157162"/>
                </a:lnTo>
                <a:lnTo>
                  <a:pt x="7793" y="178815"/>
                </a:lnTo>
                <a:lnTo>
                  <a:pt x="0" y="184277"/>
                </a:lnTo>
                <a:lnTo>
                  <a:pt x="49484" y="184185"/>
                </a:lnTo>
                <a:lnTo>
                  <a:pt x="326438" y="178778"/>
                </a:lnTo>
                <a:lnTo>
                  <a:pt x="541327" y="178778"/>
                </a:lnTo>
                <a:lnTo>
                  <a:pt x="496919" y="118887"/>
                </a:lnTo>
                <a:lnTo>
                  <a:pt x="451988" y="92046"/>
                </a:lnTo>
                <a:lnTo>
                  <a:pt x="408785" y="67639"/>
                </a:lnTo>
                <a:lnTo>
                  <a:pt x="377825" y="48641"/>
                </a:lnTo>
                <a:lnTo>
                  <a:pt x="349906" y="27789"/>
                </a:lnTo>
                <a:lnTo>
                  <a:pt x="327358" y="12033"/>
                </a:lnTo>
                <a:lnTo>
                  <a:pt x="305690" y="2420"/>
                </a:lnTo>
                <a:lnTo>
                  <a:pt x="280416" y="0"/>
                </a:lnTo>
                <a:close/>
              </a:path>
              <a:path w="549909" h="184785">
                <a:moveTo>
                  <a:pt x="541327" y="178778"/>
                </a:moveTo>
                <a:lnTo>
                  <a:pt x="326438" y="178778"/>
                </a:lnTo>
                <a:lnTo>
                  <a:pt x="374984" y="178815"/>
                </a:lnTo>
                <a:lnTo>
                  <a:pt x="425845" y="179619"/>
                </a:lnTo>
                <a:lnTo>
                  <a:pt x="479631" y="181377"/>
                </a:lnTo>
                <a:lnTo>
                  <a:pt x="536955" y="184277"/>
                </a:lnTo>
                <a:lnTo>
                  <a:pt x="541327" y="178778"/>
                </a:lnTo>
                <a:close/>
              </a:path>
            </a:pathLst>
          </a:custGeom>
          <a:solidFill>
            <a:srgbClr val="2B133C"/>
          </a:solidFill>
        </p:spPr>
        <p:txBody>
          <a:bodyPr wrap="square" lIns="0" tIns="0" rIns="0" bIns="0" rtlCol="0"/>
          <a:lstStyle/>
          <a:p>
            <a:endParaRPr/>
          </a:p>
        </p:txBody>
      </p:sp>
      <p:sp>
        <p:nvSpPr>
          <p:cNvPr id="61" name="object 61"/>
          <p:cNvSpPr/>
          <p:nvPr/>
        </p:nvSpPr>
        <p:spPr>
          <a:xfrm>
            <a:off x="8447531" y="3659123"/>
            <a:ext cx="510540" cy="60960"/>
          </a:xfrm>
          <a:custGeom>
            <a:avLst/>
            <a:gdLst/>
            <a:ahLst/>
            <a:cxnLst/>
            <a:rect l="l" t="t" r="r" b="b"/>
            <a:pathLst>
              <a:path w="510540" h="60960">
                <a:moveTo>
                  <a:pt x="481838" y="0"/>
                </a:moveTo>
                <a:lnTo>
                  <a:pt x="28701" y="0"/>
                </a:lnTo>
                <a:lnTo>
                  <a:pt x="16930" y="728"/>
                </a:lnTo>
                <a:lnTo>
                  <a:pt x="7874" y="2778"/>
                </a:lnTo>
                <a:lnTo>
                  <a:pt x="2055" y="5947"/>
                </a:lnTo>
                <a:lnTo>
                  <a:pt x="0" y="10032"/>
                </a:lnTo>
                <a:lnTo>
                  <a:pt x="0" y="50037"/>
                </a:lnTo>
                <a:lnTo>
                  <a:pt x="2055" y="53320"/>
                </a:lnTo>
                <a:lnTo>
                  <a:pt x="7874" y="56578"/>
                </a:lnTo>
                <a:lnTo>
                  <a:pt x="16930" y="59074"/>
                </a:lnTo>
                <a:lnTo>
                  <a:pt x="28701" y="60070"/>
                </a:lnTo>
                <a:lnTo>
                  <a:pt x="424434" y="60070"/>
                </a:lnTo>
                <a:lnTo>
                  <a:pt x="441582" y="60356"/>
                </a:lnTo>
                <a:lnTo>
                  <a:pt x="458184" y="60832"/>
                </a:lnTo>
                <a:lnTo>
                  <a:pt x="473690" y="60928"/>
                </a:lnTo>
                <a:lnTo>
                  <a:pt x="487552" y="60070"/>
                </a:lnTo>
                <a:lnTo>
                  <a:pt x="510540" y="5968"/>
                </a:lnTo>
                <a:lnTo>
                  <a:pt x="505251" y="3375"/>
                </a:lnTo>
                <a:lnTo>
                  <a:pt x="498332" y="1508"/>
                </a:lnTo>
                <a:lnTo>
                  <a:pt x="490341" y="379"/>
                </a:lnTo>
                <a:lnTo>
                  <a:pt x="481838" y="0"/>
                </a:lnTo>
                <a:close/>
              </a:path>
            </a:pathLst>
          </a:custGeom>
          <a:solidFill>
            <a:srgbClr val="2B133C"/>
          </a:solidFill>
        </p:spPr>
        <p:txBody>
          <a:bodyPr wrap="square" lIns="0" tIns="0" rIns="0" bIns="0" rtlCol="0"/>
          <a:lstStyle/>
          <a:p>
            <a:endParaRPr/>
          </a:p>
        </p:txBody>
      </p:sp>
      <p:sp>
        <p:nvSpPr>
          <p:cNvPr id="62" name="object 62"/>
          <p:cNvSpPr/>
          <p:nvPr/>
        </p:nvSpPr>
        <p:spPr>
          <a:xfrm>
            <a:off x="8506968" y="5239511"/>
            <a:ext cx="469900" cy="607060"/>
          </a:xfrm>
          <a:custGeom>
            <a:avLst/>
            <a:gdLst/>
            <a:ahLst/>
            <a:cxnLst/>
            <a:rect l="l" t="t" r="r" b="b"/>
            <a:pathLst>
              <a:path w="469900" h="607060">
                <a:moveTo>
                  <a:pt x="381380" y="0"/>
                </a:moveTo>
                <a:lnTo>
                  <a:pt x="0" y="0"/>
                </a:lnTo>
                <a:lnTo>
                  <a:pt x="0" y="513880"/>
                </a:lnTo>
                <a:lnTo>
                  <a:pt x="6679" y="549684"/>
                </a:lnTo>
                <a:lnTo>
                  <a:pt x="25145" y="579170"/>
                </a:lnTo>
                <a:lnTo>
                  <a:pt x="53042" y="599180"/>
                </a:lnTo>
                <a:lnTo>
                  <a:pt x="88010" y="606551"/>
                </a:lnTo>
                <a:lnTo>
                  <a:pt x="469391" y="606551"/>
                </a:lnTo>
                <a:lnTo>
                  <a:pt x="469391" y="92709"/>
                </a:lnTo>
                <a:lnTo>
                  <a:pt x="462712" y="56899"/>
                </a:lnTo>
                <a:lnTo>
                  <a:pt x="444246" y="27400"/>
                </a:lnTo>
                <a:lnTo>
                  <a:pt x="416349" y="7377"/>
                </a:lnTo>
                <a:lnTo>
                  <a:pt x="381380" y="0"/>
                </a:lnTo>
                <a:close/>
              </a:path>
            </a:pathLst>
          </a:custGeom>
          <a:solidFill>
            <a:srgbClr val="2B133C"/>
          </a:solidFill>
        </p:spPr>
        <p:txBody>
          <a:bodyPr wrap="square" lIns="0" tIns="0" rIns="0" bIns="0" rtlCol="0"/>
          <a:lstStyle/>
          <a:p>
            <a:endParaRPr/>
          </a:p>
        </p:txBody>
      </p:sp>
      <p:sp>
        <p:nvSpPr>
          <p:cNvPr id="63" name="object 63"/>
          <p:cNvSpPr/>
          <p:nvPr/>
        </p:nvSpPr>
        <p:spPr>
          <a:xfrm>
            <a:off x="8670035" y="5583935"/>
            <a:ext cx="141732" cy="219455"/>
          </a:xfrm>
          <a:prstGeom prst="rect">
            <a:avLst/>
          </a:prstGeom>
          <a:blipFill>
            <a:blip r:embed="rId8" cstate="print"/>
            <a:stretch>
              <a:fillRect/>
            </a:stretch>
          </a:blipFill>
        </p:spPr>
        <p:txBody>
          <a:bodyPr wrap="square" lIns="0" tIns="0" rIns="0" bIns="0" rtlCol="0"/>
          <a:lstStyle/>
          <a:p>
            <a:endParaRPr/>
          </a:p>
        </p:txBody>
      </p:sp>
      <p:sp>
        <p:nvSpPr>
          <p:cNvPr id="64" name="object 64"/>
          <p:cNvSpPr/>
          <p:nvPr/>
        </p:nvSpPr>
        <p:spPr>
          <a:xfrm>
            <a:off x="8589264" y="5522214"/>
            <a:ext cx="303530" cy="0"/>
          </a:xfrm>
          <a:custGeom>
            <a:avLst/>
            <a:gdLst/>
            <a:ahLst/>
            <a:cxnLst/>
            <a:rect l="l" t="t" r="r" b="b"/>
            <a:pathLst>
              <a:path w="303529">
                <a:moveTo>
                  <a:pt x="0" y="0"/>
                </a:moveTo>
                <a:lnTo>
                  <a:pt x="303275" y="0"/>
                </a:lnTo>
              </a:path>
            </a:pathLst>
          </a:custGeom>
          <a:ln w="41147">
            <a:solidFill>
              <a:srgbClr val="FFFFFF"/>
            </a:solidFill>
          </a:ln>
        </p:spPr>
        <p:txBody>
          <a:bodyPr wrap="square" lIns="0" tIns="0" rIns="0" bIns="0" rtlCol="0"/>
          <a:lstStyle/>
          <a:p>
            <a:endParaRPr/>
          </a:p>
        </p:txBody>
      </p:sp>
      <p:sp>
        <p:nvSpPr>
          <p:cNvPr id="65" name="object 65"/>
          <p:cNvSpPr/>
          <p:nvPr/>
        </p:nvSpPr>
        <p:spPr>
          <a:xfrm>
            <a:off x="8589264" y="5436870"/>
            <a:ext cx="303530" cy="0"/>
          </a:xfrm>
          <a:custGeom>
            <a:avLst/>
            <a:gdLst/>
            <a:ahLst/>
            <a:cxnLst/>
            <a:rect l="l" t="t" r="r" b="b"/>
            <a:pathLst>
              <a:path w="303529">
                <a:moveTo>
                  <a:pt x="0" y="0"/>
                </a:moveTo>
                <a:lnTo>
                  <a:pt x="303275" y="0"/>
                </a:lnTo>
              </a:path>
            </a:pathLst>
          </a:custGeom>
          <a:ln w="41147">
            <a:solidFill>
              <a:srgbClr val="FFFFFF"/>
            </a:solidFill>
          </a:ln>
        </p:spPr>
        <p:txBody>
          <a:bodyPr wrap="square" lIns="0" tIns="0" rIns="0" bIns="0" rtlCol="0"/>
          <a:lstStyle/>
          <a:p>
            <a:endParaRPr/>
          </a:p>
        </p:txBody>
      </p:sp>
      <p:sp>
        <p:nvSpPr>
          <p:cNvPr id="66" name="object 66"/>
          <p:cNvSpPr/>
          <p:nvPr/>
        </p:nvSpPr>
        <p:spPr>
          <a:xfrm>
            <a:off x="8589264" y="5348478"/>
            <a:ext cx="303530" cy="0"/>
          </a:xfrm>
          <a:custGeom>
            <a:avLst/>
            <a:gdLst/>
            <a:ahLst/>
            <a:cxnLst/>
            <a:rect l="l" t="t" r="r" b="b"/>
            <a:pathLst>
              <a:path w="303529">
                <a:moveTo>
                  <a:pt x="0" y="0"/>
                </a:moveTo>
                <a:lnTo>
                  <a:pt x="303275" y="0"/>
                </a:lnTo>
              </a:path>
            </a:pathLst>
          </a:custGeom>
          <a:ln w="41148">
            <a:solidFill>
              <a:srgbClr val="FFFFFF"/>
            </a:solidFill>
          </a:ln>
        </p:spPr>
        <p:txBody>
          <a:bodyPr wrap="square" lIns="0" tIns="0" rIns="0" bIns="0" rtlCol="0"/>
          <a:lstStyle/>
          <a:p>
            <a:endParaRPr/>
          </a:p>
        </p:txBody>
      </p:sp>
      <p:sp>
        <p:nvSpPr>
          <p:cNvPr id="67" name="object 6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8" name="object 68"/>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3</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0"/>
            <a:ext cx="10577830" cy="835660"/>
          </a:xfrm>
          <a:prstGeom prst="rect">
            <a:avLst/>
          </a:prstGeom>
        </p:spPr>
        <p:txBody>
          <a:bodyPr vert="horz" wrap="square" lIns="0" tIns="60960" rIns="0" bIns="0" rtlCol="0">
            <a:spAutoFit/>
          </a:bodyPr>
          <a:lstStyle/>
          <a:p>
            <a:pPr marL="12700" marR="5080">
              <a:lnSpc>
                <a:spcPts val="3020"/>
              </a:lnSpc>
              <a:spcBef>
                <a:spcPts val="480"/>
              </a:spcBef>
            </a:pPr>
            <a:r>
              <a:rPr sz="2800" spc="-10"/>
              <a:t>Gartner Magic </a:t>
            </a:r>
            <a:r>
              <a:rPr sz="2800" spc="-15"/>
              <a:t>Quadrant </a:t>
            </a:r>
            <a:r>
              <a:rPr sz="2800" spc="-5"/>
              <a:t>for </a:t>
            </a:r>
            <a:r>
              <a:rPr sz="2800" spc="-10"/>
              <a:t>CRM </a:t>
            </a:r>
            <a:r>
              <a:rPr sz="2800" spc="-5"/>
              <a:t>and </a:t>
            </a:r>
            <a:r>
              <a:rPr sz="2800" spc="-10"/>
              <a:t>Customer Experience  </a:t>
            </a:r>
            <a:r>
              <a:rPr sz="2800" spc="-5"/>
              <a:t>Implementation Services</a:t>
            </a:r>
            <a:r>
              <a:rPr sz="2800" spc="50"/>
              <a:t> </a:t>
            </a:r>
            <a:r>
              <a:rPr sz="2800" spc="-10"/>
              <a:t>(2020)</a:t>
            </a:r>
            <a:endParaRPr sz="2800"/>
          </a:p>
        </p:txBody>
      </p:sp>
      <p:sp>
        <p:nvSpPr>
          <p:cNvPr id="3" name="object 3"/>
          <p:cNvSpPr/>
          <p:nvPr/>
        </p:nvSpPr>
        <p:spPr>
          <a:xfrm>
            <a:off x="163829" y="1219961"/>
            <a:ext cx="5415280" cy="5242560"/>
          </a:xfrm>
          <a:custGeom>
            <a:avLst/>
            <a:gdLst/>
            <a:ahLst/>
            <a:cxnLst/>
            <a:rect l="l" t="t" r="r" b="b"/>
            <a:pathLst>
              <a:path w="5415280" h="5242560">
                <a:moveTo>
                  <a:pt x="0" y="179450"/>
                </a:moveTo>
                <a:lnTo>
                  <a:pt x="6409" y="131762"/>
                </a:lnTo>
                <a:lnTo>
                  <a:pt x="24499" y="88900"/>
                </a:lnTo>
                <a:lnTo>
                  <a:pt x="52558" y="52577"/>
                </a:lnTo>
                <a:lnTo>
                  <a:pt x="88877" y="24511"/>
                </a:lnTo>
                <a:lnTo>
                  <a:pt x="131744" y="6413"/>
                </a:lnTo>
                <a:lnTo>
                  <a:pt x="179451" y="0"/>
                </a:lnTo>
                <a:lnTo>
                  <a:pt x="5235321" y="0"/>
                </a:lnTo>
                <a:lnTo>
                  <a:pt x="5283009" y="6413"/>
                </a:lnTo>
                <a:lnTo>
                  <a:pt x="5325872" y="24511"/>
                </a:lnTo>
                <a:lnTo>
                  <a:pt x="5362194" y="52577"/>
                </a:lnTo>
                <a:lnTo>
                  <a:pt x="5390261" y="88900"/>
                </a:lnTo>
                <a:lnTo>
                  <a:pt x="5408358" y="131762"/>
                </a:lnTo>
                <a:lnTo>
                  <a:pt x="5414772" y="179450"/>
                </a:lnTo>
                <a:lnTo>
                  <a:pt x="5414772" y="5063109"/>
                </a:lnTo>
                <a:lnTo>
                  <a:pt x="5408358" y="5110815"/>
                </a:lnTo>
                <a:lnTo>
                  <a:pt x="5390261" y="5153682"/>
                </a:lnTo>
                <a:lnTo>
                  <a:pt x="5362194" y="5190001"/>
                </a:lnTo>
                <a:lnTo>
                  <a:pt x="5325872" y="5218060"/>
                </a:lnTo>
                <a:lnTo>
                  <a:pt x="5283009" y="5236150"/>
                </a:lnTo>
                <a:lnTo>
                  <a:pt x="5235321" y="5242560"/>
                </a:lnTo>
                <a:lnTo>
                  <a:pt x="179451" y="5242560"/>
                </a:lnTo>
                <a:lnTo>
                  <a:pt x="131744" y="5236150"/>
                </a:lnTo>
                <a:lnTo>
                  <a:pt x="88877" y="5218060"/>
                </a:lnTo>
                <a:lnTo>
                  <a:pt x="52558" y="5190001"/>
                </a:lnTo>
                <a:lnTo>
                  <a:pt x="24499" y="5153682"/>
                </a:lnTo>
                <a:lnTo>
                  <a:pt x="6409" y="5110815"/>
                </a:lnTo>
                <a:lnTo>
                  <a:pt x="0" y="5063109"/>
                </a:lnTo>
                <a:lnTo>
                  <a:pt x="0" y="179450"/>
                </a:lnTo>
                <a:close/>
              </a:path>
            </a:pathLst>
          </a:custGeom>
          <a:ln w="19812">
            <a:solidFill>
              <a:srgbClr val="006FAC"/>
            </a:solidFill>
          </a:ln>
        </p:spPr>
        <p:txBody>
          <a:bodyPr wrap="square" lIns="0" tIns="0" rIns="0" bIns="0" rtlCol="0"/>
          <a:lstStyle/>
          <a:p>
            <a:endParaRPr/>
          </a:p>
        </p:txBody>
      </p:sp>
      <p:sp>
        <p:nvSpPr>
          <p:cNvPr id="4" name="object 4"/>
          <p:cNvSpPr/>
          <p:nvPr/>
        </p:nvSpPr>
        <p:spPr>
          <a:xfrm>
            <a:off x="163829" y="1206246"/>
            <a:ext cx="5415280" cy="620395"/>
          </a:xfrm>
          <a:custGeom>
            <a:avLst/>
            <a:gdLst/>
            <a:ahLst/>
            <a:cxnLst/>
            <a:rect l="l" t="t" r="r" b="b"/>
            <a:pathLst>
              <a:path w="5415280" h="620394">
                <a:moveTo>
                  <a:pt x="5324983" y="0"/>
                </a:moveTo>
                <a:lnTo>
                  <a:pt x="89750" y="0"/>
                </a:lnTo>
                <a:lnTo>
                  <a:pt x="54815" y="7046"/>
                </a:lnTo>
                <a:lnTo>
                  <a:pt x="26287" y="26273"/>
                </a:lnTo>
                <a:lnTo>
                  <a:pt x="7053" y="54810"/>
                </a:lnTo>
                <a:lnTo>
                  <a:pt x="0" y="89788"/>
                </a:lnTo>
                <a:lnTo>
                  <a:pt x="0" y="620267"/>
                </a:lnTo>
                <a:lnTo>
                  <a:pt x="5414772" y="620267"/>
                </a:lnTo>
                <a:lnTo>
                  <a:pt x="5414772" y="89788"/>
                </a:lnTo>
                <a:lnTo>
                  <a:pt x="5407725" y="54810"/>
                </a:lnTo>
                <a:lnTo>
                  <a:pt x="5388498" y="26273"/>
                </a:lnTo>
                <a:lnTo>
                  <a:pt x="5359961" y="7046"/>
                </a:lnTo>
                <a:lnTo>
                  <a:pt x="5324983" y="0"/>
                </a:lnTo>
                <a:close/>
              </a:path>
            </a:pathLst>
          </a:custGeom>
          <a:solidFill>
            <a:srgbClr val="006FAC"/>
          </a:solidFill>
        </p:spPr>
        <p:txBody>
          <a:bodyPr wrap="square" lIns="0" tIns="0" rIns="0" bIns="0" rtlCol="0"/>
          <a:lstStyle/>
          <a:p>
            <a:endParaRPr/>
          </a:p>
        </p:txBody>
      </p:sp>
      <p:sp>
        <p:nvSpPr>
          <p:cNvPr id="5" name="object 5"/>
          <p:cNvSpPr/>
          <p:nvPr/>
        </p:nvSpPr>
        <p:spPr>
          <a:xfrm>
            <a:off x="163829" y="1206246"/>
            <a:ext cx="5415280" cy="620395"/>
          </a:xfrm>
          <a:custGeom>
            <a:avLst/>
            <a:gdLst/>
            <a:ahLst/>
            <a:cxnLst/>
            <a:rect l="l" t="t" r="r" b="b"/>
            <a:pathLst>
              <a:path w="5415280" h="620394">
                <a:moveTo>
                  <a:pt x="89750" y="0"/>
                </a:moveTo>
                <a:lnTo>
                  <a:pt x="5324983" y="0"/>
                </a:lnTo>
                <a:lnTo>
                  <a:pt x="5359961" y="7046"/>
                </a:lnTo>
                <a:lnTo>
                  <a:pt x="5388498" y="26273"/>
                </a:lnTo>
                <a:lnTo>
                  <a:pt x="5407725" y="54810"/>
                </a:lnTo>
                <a:lnTo>
                  <a:pt x="5414772" y="89788"/>
                </a:lnTo>
                <a:lnTo>
                  <a:pt x="5414772" y="620267"/>
                </a:lnTo>
                <a:lnTo>
                  <a:pt x="0" y="620267"/>
                </a:lnTo>
                <a:lnTo>
                  <a:pt x="0" y="89788"/>
                </a:lnTo>
                <a:lnTo>
                  <a:pt x="7053" y="54810"/>
                </a:lnTo>
                <a:lnTo>
                  <a:pt x="26287" y="26273"/>
                </a:lnTo>
                <a:lnTo>
                  <a:pt x="54815" y="7046"/>
                </a:lnTo>
                <a:lnTo>
                  <a:pt x="89750" y="0"/>
                </a:lnTo>
                <a:close/>
              </a:path>
            </a:pathLst>
          </a:custGeom>
          <a:ln w="19812">
            <a:solidFill>
              <a:srgbClr val="006FAC"/>
            </a:solidFill>
          </a:ln>
        </p:spPr>
        <p:txBody>
          <a:bodyPr wrap="square" lIns="0" tIns="0" rIns="0" bIns="0" rtlCol="0"/>
          <a:lstStyle/>
          <a:p>
            <a:endParaRPr/>
          </a:p>
        </p:txBody>
      </p:sp>
      <p:sp>
        <p:nvSpPr>
          <p:cNvPr id="6" name="object 6"/>
          <p:cNvSpPr txBox="1"/>
          <p:nvPr/>
        </p:nvSpPr>
        <p:spPr>
          <a:xfrm>
            <a:off x="177262" y="1209801"/>
            <a:ext cx="5387975" cy="560705"/>
          </a:xfrm>
          <a:prstGeom prst="rect">
            <a:avLst/>
          </a:prstGeom>
        </p:spPr>
        <p:txBody>
          <a:bodyPr vert="horz" wrap="square" lIns="0" tIns="30480" rIns="0" bIns="0" rtlCol="0">
            <a:spAutoFit/>
          </a:bodyPr>
          <a:lstStyle/>
          <a:p>
            <a:pPr marL="749935" marR="676275" algn="ctr">
              <a:lnSpc>
                <a:spcPts val="1200"/>
              </a:lnSpc>
              <a:spcBef>
                <a:spcPts val="240"/>
              </a:spcBef>
            </a:pPr>
            <a:r>
              <a:rPr sz="1100" b="1" spc="-5">
                <a:solidFill>
                  <a:srgbClr val="FFFFFF"/>
                </a:solidFill>
                <a:latin typeface="Verdana"/>
                <a:cs typeface="Verdana"/>
              </a:rPr>
              <a:t>Magic Quadrant for </a:t>
            </a:r>
            <a:r>
              <a:rPr sz="1100" b="1">
                <a:solidFill>
                  <a:srgbClr val="FFFFFF"/>
                </a:solidFill>
                <a:latin typeface="Verdana"/>
                <a:cs typeface="Verdana"/>
              </a:rPr>
              <a:t>CRM </a:t>
            </a:r>
            <a:r>
              <a:rPr sz="1100" b="1" spc="-5">
                <a:solidFill>
                  <a:srgbClr val="FFFFFF"/>
                </a:solidFill>
                <a:latin typeface="Verdana"/>
                <a:cs typeface="Verdana"/>
              </a:rPr>
              <a:t>and </a:t>
            </a:r>
            <a:r>
              <a:rPr sz="1100" b="1">
                <a:solidFill>
                  <a:srgbClr val="FFFFFF"/>
                </a:solidFill>
                <a:latin typeface="Verdana"/>
                <a:cs typeface="Verdana"/>
              </a:rPr>
              <a:t>Customer </a:t>
            </a:r>
            <a:r>
              <a:rPr sz="1100" b="1" spc="-5">
                <a:solidFill>
                  <a:srgbClr val="FFFFFF"/>
                </a:solidFill>
                <a:latin typeface="Verdana"/>
                <a:cs typeface="Verdana"/>
              </a:rPr>
              <a:t>Experience  Implementation</a:t>
            </a:r>
            <a:r>
              <a:rPr sz="1100" b="1" spc="-35">
                <a:solidFill>
                  <a:srgbClr val="FFFFFF"/>
                </a:solidFill>
                <a:latin typeface="Verdana"/>
                <a:cs typeface="Verdana"/>
              </a:rPr>
              <a:t> </a:t>
            </a:r>
            <a:r>
              <a:rPr sz="1100" b="1" spc="-5">
                <a:solidFill>
                  <a:srgbClr val="FFFFFF"/>
                </a:solidFill>
                <a:latin typeface="Verdana"/>
                <a:cs typeface="Verdana"/>
              </a:rPr>
              <a:t>Services(2020)</a:t>
            </a:r>
            <a:endParaRPr sz="1100">
              <a:latin typeface="Verdana"/>
              <a:cs typeface="Verdana"/>
            </a:endParaRPr>
          </a:p>
          <a:p>
            <a:pPr marL="109855" algn="ctr">
              <a:lnSpc>
                <a:spcPct val="100000"/>
              </a:lnSpc>
              <a:spcBef>
                <a:spcPts val="590"/>
              </a:spcBef>
            </a:pPr>
            <a:r>
              <a:rPr sz="900" spc="-5">
                <a:solidFill>
                  <a:srgbClr val="FFFFFF"/>
                </a:solidFill>
                <a:latin typeface="Verdana"/>
                <a:cs typeface="Verdana"/>
              </a:rPr>
              <a:t>Brett Sparks </a:t>
            </a:r>
            <a:r>
              <a:rPr sz="900">
                <a:solidFill>
                  <a:srgbClr val="FFFFFF"/>
                </a:solidFill>
                <a:latin typeface="Verdana"/>
                <a:cs typeface="Verdana"/>
              </a:rPr>
              <a:t>| Patrick </a:t>
            </a:r>
            <a:r>
              <a:rPr sz="900" spc="-5">
                <a:solidFill>
                  <a:srgbClr val="FFFFFF"/>
                </a:solidFill>
                <a:latin typeface="Verdana"/>
                <a:cs typeface="Verdana"/>
              </a:rPr>
              <a:t>Sullivan </a:t>
            </a:r>
            <a:r>
              <a:rPr sz="900">
                <a:solidFill>
                  <a:srgbClr val="FFFFFF"/>
                </a:solidFill>
                <a:latin typeface="Verdana"/>
                <a:cs typeface="Verdana"/>
              </a:rPr>
              <a:t>| </a:t>
            </a:r>
            <a:r>
              <a:rPr sz="900" spc="-5">
                <a:solidFill>
                  <a:srgbClr val="FFFFFF"/>
                </a:solidFill>
                <a:latin typeface="Verdana"/>
                <a:cs typeface="Verdana"/>
              </a:rPr>
              <a:t>Gilbert van </a:t>
            </a:r>
            <a:r>
              <a:rPr sz="900">
                <a:solidFill>
                  <a:srgbClr val="FFFFFF"/>
                </a:solidFill>
                <a:latin typeface="Verdana"/>
                <a:cs typeface="Verdana"/>
              </a:rPr>
              <a:t>der </a:t>
            </a:r>
            <a:r>
              <a:rPr sz="900" spc="-5">
                <a:solidFill>
                  <a:srgbClr val="FFFFFF"/>
                </a:solidFill>
                <a:latin typeface="Verdana"/>
                <a:cs typeface="Verdana"/>
              </a:rPr>
              <a:t>Heiden </a:t>
            </a:r>
            <a:r>
              <a:rPr sz="900">
                <a:solidFill>
                  <a:srgbClr val="FFFFFF"/>
                </a:solidFill>
                <a:latin typeface="Verdana"/>
                <a:cs typeface="Verdana"/>
              </a:rPr>
              <a:t>| Jim </a:t>
            </a:r>
            <a:r>
              <a:rPr sz="900" spc="-5">
                <a:solidFill>
                  <a:srgbClr val="FFFFFF"/>
                </a:solidFill>
                <a:latin typeface="Verdana"/>
                <a:cs typeface="Verdana"/>
              </a:rPr>
              <a:t>Longwood, </a:t>
            </a:r>
            <a:r>
              <a:rPr sz="900">
                <a:solidFill>
                  <a:srgbClr val="FFFFFF"/>
                </a:solidFill>
                <a:latin typeface="Verdana"/>
                <a:cs typeface="Verdana"/>
              </a:rPr>
              <a:t>07 </a:t>
            </a:r>
            <a:r>
              <a:rPr sz="900" spc="-5">
                <a:solidFill>
                  <a:srgbClr val="FFFFFF"/>
                </a:solidFill>
                <a:latin typeface="Verdana"/>
                <a:cs typeface="Verdana"/>
              </a:rPr>
              <a:t>Apr</a:t>
            </a:r>
            <a:r>
              <a:rPr sz="900" spc="35">
                <a:solidFill>
                  <a:srgbClr val="FFFFFF"/>
                </a:solidFill>
                <a:latin typeface="Verdana"/>
                <a:cs typeface="Verdana"/>
              </a:rPr>
              <a:t> </a:t>
            </a:r>
            <a:r>
              <a:rPr sz="900">
                <a:solidFill>
                  <a:srgbClr val="FFFFFF"/>
                </a:solidFill>
                <a:latin typeface="Verdana"/>
                <a:cs typeface="Verdana"/>
              </a:rPr>
              <a:t>2020</a:t>
            </a:r>
            <a:endParaRPr sz="900">
              <a:latin typeface="Verdana"/>
              <a:cs typeface="Verdana"/>
            </a:endParaRPr>
          </a:p>
        </p:txBody>
      </p:sp>
      <p:sp>
        <p:nvSpPr>
          <p:cNvPr id="7" name="object 7"/>
          <p:cNvSpPr/>
          <p:nvPr/>
        </p:nvSpPr>
        <p:spPr>
          <a:xfrm>
            <a:off x="5712714" y="1206246"/>
            <a:ext cx="6193790" cy="4270375"/>
          </a:xfrm>
          <a:custGeom>
            <a:avLst/>
            <a:gdLst/>
            <a:ahLst/>
            <a:cxnLst/>
            <a:rect l="l" t="t" r="r" b="b"/>
            <a:pathLst>
              <a:path w="6193790" h="4270375">
                <a:moveTo>
                  <a:pt x="0" y="146176"/>
                </a:moveTo>
                <a:lnTo>
                  <a:pt x="7448" y="99958"/>
                </a:lnTo>
                <a:lnTo>
                  <a:pt x="28191" y="59829"/>
                </a:lnTo>
                <a:lnTo>
                  <a:pt x="59829" y="28191"/>
                </a:lnTo>
                <a:lnTo>
                  <a:pt x="99958" y="7448"/>
                </a:lnTo>
                <a:lnTo>
                  <a:pt x="146176" y="0"/>
                </a:lnTo>
                <a:lnTo>
                  <a:pt x="6047359" y="0"/>
                </a:lnTo>
                <a:lnTo>
                  <a:pt x="6093577" y="7448"/>
                </a:lnTo>
                <a:lnTo>
                  <a:pt x="6133706" y="28191"/>
                </a:lnTo>
                <a:lnTo>
                  <a:pt x="6165344" y="59829"/>
                </a:lnTo>
                <a:lnTo>
                  <a:pt x="6186087" y="99958"/>
                </a:lnTo>
                <a:lnTo>
                  <a:pt x="6193536" y="146176"/>
                </a:lnTo>
                <a:lnTo>
                  <a:pt x="6193536" y="4124070"/>
                </a:lnTo>
                <a:lnTo>
                  <a:pt x="6186087" y="4170289"/>
                </a:lnTo>
                <a:lnTo>
                  <a:pt x="6165344" y="4210418"/>
                </a:lnTo>
                <a:lnTo>
                  <a:pt x="6133706" y="4242056"/>
                </a:lnTo>
                <a:lnTo>
                  <a:pt x="6093577" y="4262799"/>
                </a:lnTo>
                <a:lnTo>
                  <a:pt x="6047359" y="4270248"/>
                </a:lnTo>
                <a:lnTo>
                  <a:pt x="146176" y="4270248"/>
                </a:lnTo>
                <a:lnTo>
                  <a:pt x="99958" y="4262799"/>
                </a:lnTo>
                <a:lnTo>
                  <a:pt x="59829" y="4242056"/>
                </a:lnTo>
                <a:lnTo>
                  <a:pt x="28191" y="4210418"/>
                </a:lnTo>
                <a:lnTo>
                  <a:pt x="7448" y="4170289"/>
                </a:lnTo>
                <a:lnTo>
                  <a:pt x="0" y="4124070"/>
                </a:lnTo>
                <a:lnTo>
                  <a:pt x="0" y="146176"/>
                </a:lnTo>
                <a:close/>
              </a:path>
            </a:pathLst>
          </a:custGeom>
          <a:ln w="19812">
            <a:solidFill>
              <a:srgbClr val="006FAC"/>
            </a:solidFill>
          </a:ln>
        </p:spPr>
        <p:txBody>
          <a:bodyPr wrap="square" lIns="0" tIns="0" rIns="0" bIns="0" rtlCol="0"/>
          <a:lstStyle/>
          <a:p>
            <a:endParaRPr/>
          </a:p>
        </p:txBody>
      </p:sp>
      <p:sp>
        <p:nvSpPr>
          <p:cNvPr id="8" name="object 8"/>
          <p:cNvSpPr txBox="1"/>
          <p:nvPr/>
        </p:nvSpPr>
        <p:spPr>
          <a:xfrm>
            <a:off x="5834253" y="1279905"/>
            <a:ext cx="5840095" cy="513080"/>
          </a:xfrm>
          <a:prstGeom prst="rect">
            <a:avLst/>
          </a:prstGeom>
        </p:spPr>
        <p:txBody>
          <a:bodyPr vert="horz" wrap="square" lIns="0" tIns="12065" rIns="0" bIns="0" rtlCol="0">
            <a:spAutoFit/>
          </a:bodyPr>
          <a:lstStyle/>
          <a:p>
            <a:pPr marL="12700" marR="5080">
              <a:lnSpc>
                <a:spcPct val="100000"/>
              </a:lnSpc>
              <a:spcBef>
                <a:spcPts val="95"/>
              </a:spcBef>
            </a:pPr>
            <a:r>
              <a:rPr sz="1600" spc="-10">
                <a:latin typeface="Verdana"/>
                <a:cs typeface="Verdana"/>
              </a:rPr>
              <a:t>Capgemini was </a:t>
            </a:r>
            <a:r>
              <a:rPr sz="1600" spc="-5">
                <a:latin typeface="Verdana"/>
                <a:cs typeface="Verdana"/>
              </a:rPr>
              <a:t>recognized as a </a:t>
            </a:r>
            <a:r>
              <a:rPr sz="1600" b="1" spc="-10">
                <a:latin typeface="Verdana"/>
                <a:cs typeface="Verdana"/>
              </a:rPr>
              <a:t>Leader </a:t>
            </a:r>
            <a:r>
              <a:rPr sz="1600" spc="-5">
                <a:latin typeface="Verdana"/>
                <a:cs typeface="Verdana"/>
              </a:rPr>
              <a:t>for </a:t>
            </a:r>
            <a:r>
              <a:rPr sz="1600" spc="-10">
                <a:latin typeface="Verdana"/>
                <a:cs typeface="Verdana"/>
              </a:rPr>
              <a:t>its </a:t>
            </a:r>
            <a:r>
              <a:rPr sz="1600" b="1" spc="-5">
                <a:latin typeface="Verdana"/>
                <a:cs typeface="Verdana"/>
              </a:rPr>
              <a:t>ability to  </a:t>
            </a:r>
            <a:r>
              <a:rPr sz="1600" b="1" spc="-10">
                <a:latin typeface="Verdana"/>
                <a:cs typeface="Verdana"/>
              </a:rPr>
              <a:t>execute </a:t>
            </a:r>
            <a:r>
              <a:rPr sz="1600" b="1" spc="-5">
                <a:latin typeface="Verdana"/>
                <a:cs typeface="Verdana"/>
              </a:rPr>
              <a:t>and </a:t>
            </a:r>
            <a:r>
              <a:rPr sz="1600" b="1" spc="-10">
                <a:latin typeface="Verdana"/>
                <a:cs typeface="Verdana"/>
              </a:rPr>
              <a:t>completeness </a:t>
            </a:r>
            <a:r>
              <a:rPr sz="1600" b="1" spc="-5">
                <a:latin typeface="Verdana"/>
                <a:cs typeface="Verdana"/>
              </a:rPr>
              <a:t>of</a:t>
            </a:r>
            <a:r>
              <a:rPr sz="1600" b="1" spc="100">
                <a:latin typeface="Verdana"/>
                <a:cs typeface="Verdana"/>
              </a:rPr>
              <a:t> </a:t>
            </a:r>
            <a:r>
              <a:rPr sz="1600" b="1" spc="-10">
                <a:latin typeface="Verdana"/>
                <a:cs typeface="Verdana"/>
              </a:rPr>
              <a:t>vision</a:t>
            </a:r>
            <a:r>
              <a:rPr sz="1600" spc="-10">
                <a:latin typeface="Verdana"/>
                <a:cs typeface="Verdana"/>
              </a:rPr>
              <a:t>.</a:t>
            </a:r>
            <a:endParaRPr sz="1600">
              <a:latin typeface="Verdana"/>
              <a:cs typeface="Verdana"/>
            </a:endParaRPr>
          </a:p>
        </p:txBody>
      </p:sp>
      <p:sp>
        <p:nvSpPr>
          <p:cNvPr id="9" name="object 9"/>
          <p:cNvSpPr txBox="1"/>
          <p:nvPr/>
        </p:nvSpPr>
        <p:spPr>
          <a:xfrm>
            <a:off x="5834253" y="2011425"/>
            <a:ext cx="2244090" cy="269240"/>
          </a:xfrm>
          <a:prstGeom prst="rect">
            <a:avLst/>
          </a:prstGeom>
        </p:spPr>
        <p:txBody>
          <a:bodyPr vert="horz" wrap="square" lIns="0" tIns="12065" rIns="0" bIns="0" rtlCol="0">
            <a:spAutoFit/>
          </a:bodyPr>
          <a:lstStyle/>
          <a:p>
            <a:pPr marL="12700">
              <a:lnSpc>
                <a:spcPct val="100000"/>
              </a:lnSpc>
              <a:spcBef>
                <a:spcPts val="95"/>
              </a:spcBef>
            </a:pPr>
            <a:r>
              <a:rPr sz="1600" spc="-5">
                <a:latin typeface="Verdana"/>
                <a:cs typeface="Verdana"/>
              </a:rPr>
              <a:t>According to</a:t>
            </a:r>
            <a:r>
              <a:rPr sz="1600" spc="-15">
                <a:latin typeface="Verdana"/>
                <a:cs typeface="Verdana"/>
              </a:rPr>
              <a:t> </a:t>
            </a:r>
            <a:r>
              <a:rPr sz="1600" spc="-10">
                <a:latin typeface="Verdana"/>
                <a:cs typeface="Verdana"/>
              </a:rPr>
              <a:t>Gartner:</a:t>
            </a:r>
            <a:endParaRPr sz="1600">
              <a:latin typeface="Verdana"/>
              <a:cs typeface="Verdana"/>
            </a:endParaRPr>
          </a:p>
        </p:txBody>
      </p:sp>
      <p:sp>
        <p:nvSpPr>
          <p:cNvPr id="10" name="object 10"/>
          <p:cNvSpPr txBox="1"/>
          <p:nvPr/>
        </p:nvSpPr>
        <p:spPr>
          <a:xfrm>
            <a:off x="6291453" y="2499487"/>
            <a:ext cx="5448300" cy="1946910"/>
          </a:xfrm>
          <a:prstGeom prst="rect">
            <a:avLst/>
          </a:prstGeom>
        </p:spPr>
        <p:txBody>
          <a:bodyPr vert="horz" wrap="square" lIns="0" tIns="13335" rIns="0" bIns="0" rtlCol="0">
            <a:spAutoFit/>
          </a:bodyPr>
          <a:lstStyle/>
          <a:p>
            <a:pPr marL="12700" marR="5080">
              <a:lnSpc>
                <a:spcPct val="100000"/>
              </a:lnSpc>
              <a:spcBef>
                <a:spcPts val="105"/>
              </a:spcBef>
            </a:pPr>
            <a:r>
              <a:rPr sz="1400">
                <a:latin typeface="Verdana"/>
                <a:cs typeface="Verdana"/>
              </a:rPr>
              <a:t>“Leaders in this Magic </a:t>
            </a:r>
            <a:r>
              <a:rPr sz="1400" spc="-5">
                <a:latin typeface="Verdana"/>
                <a:cs typeface="Verdana"/>
              </a:rPr>
              <a:t>Quadrant </a:t>
            </a:r>
            <a:r>
              <a:rPr sz="1400">
                <a:latin typeface="Verdana"/>
                <a:cs typeface="Verdana"/>
              </a:rPr>
              <a:t>bring a wide </a:t>
            </a:r>
            <a:r>
              <a:rPr sz="1400" spc="-5">
                <a:latin typeface="Verdana"/>
                <a:cs typeface="Verdana"/>
              </a:rPr>
              <a:t>range </a:t>
            </a:r>
            <a:r>
              <a:rPr sz="1400">
                <a:latin typeface="Verdana"/>
                <a:cs typeface="Verdana"/>
              </a:rPr>
              <a:t>of  business, analytic and technical capabilities, including </a:t>
            </a:r>
            <a:r>
              <a:rPr sz="1400" spc="-5">
                <a:latin typeface="Verdana"/>
                <a:cs typeface="Verdana"/>
              </a:rPr>
              <a:t>CRM  </a:t>
            </a:r>
            <a:r>
              <a:rPr sz="1400">
                <a:latin typeface="Verdana"/>
                <a:cs typeface="Verdana"/>
              </a:rPr>
              <a:t>and other customer-facing technology expertise, </a:t>
            </a:r>
            <a:r>
              <a:rPr sz="1400" spc="-5">
                <a:latin typeface="Verdana"/>
                <a:cs typeface="Verdana"/>
              </a:rPr>
              <a:t>industry-  </a:t>
            </a:r>
            <a:r>
              <a:rPr sz="1400">
                <a:latin typeface="Verdana"/>
                <a:cs typeface="Verdana"/>
              </a:rPr>
              <a:t>specific domain expertise, and digital design capabilities, </a:t>
            </a:r>
            <a:r>
              <a:rPr sz="1400" spc="-5">
                <a:latin typeface="Verdana"/>
                <a:cs typeface="Verdana"/>
              </a:rPr>
              <a:t>CX  </a:t>
            </a:r>
            <a:r>
              <a:rPr sz="1400" spc="-20">
                <a:latin typeface="Verdana"/>
                <a:cs typeface="Verdana"/>
              </a:rPr>
              <a:t>strategy, </a:t>
            </a:r>
            <a:r>
              <a:rPr sz="1400">
                <a:latin typeface="Verdana"/>
                <a:cs typeface="Verdana"/>
              </a:rPr>
              <a:t>business consulting, customer analytics,</a:t>
            </a:r>
            <a:r>
              <a:rPr sz="1400" spc="-120">
                <a:latin typeface="Verdana"/>
                <a:cs typeface="Verdana"/>
              </a:rPr>
              <a:t> </a:t>
            </a:r>
            <a:r>
              <a:rPr sz="1400">
                <a:latin typeface="Verdana"/>
                <a:cs typeface="Verdana"/>
              </a:rPr>
              <a:t>enterprise  architecture and design. They </a:t>
            </a:r>
            <a:r>
              <a:rPr sz="1400" spc="-5">
                <a:latin typeface="Verdana"/>
                <a:cs typeface="Verdana"/>
              </a:rPr>
              <a:t>demonstrate </a:t>
            </a:r>
            <a:r>
              <a:rPr sz="1400">
                <a:latin typeface="Verdana"/>
                <a:cs typeface="Verdana"/>
              </a:rPr>
              <a:t>strong  </a:t>
            </a:r>
            <a:r>
              <a:rPr sz="1400" spc="-5">
                <a:latin typeface="Verdana"/>
                <a:cs typeface="Verdana"/>
              </a:rPr>
              <a:t>comparative </a:t>
            </a:r>
            <a:r>
              <a:rPr sz="1400">
                <a:latin typeface="Verdana"/>
                <a:cs typeface="Verdana"/>
              </a:rPr>
              <a:t>revenue and </a:t>
            </a:r>
            <a:r>
              <a:rPr sz="1400" spc="-5">
                <a:latin typeface="Verdana"/>
                <a:cs typeface="Verdana"/>
              </a:rPr>
              <a:t>growth. </a:t>
            </a:r>
            <a:r>
              <a:rPr sz="1400">
                <a:latin typeface="Verdana"/>
                <a:cs typeface="Verdana"/>
              </a:rPr>
              <a:t>Leaders can scale across  multiple geographies and are consistent in delivering</a:t>
            </a:r>
            <a:r>
              <a:rPr sz="1400" spc="-195">
                <a:latin typeface="Verdana"/>
                <a:cs typeface="Verdana"/>
              </a:rPr>
              <a:t> </a:t>
            </a:r>
            <a:r>
              <a:rPr sz="1400">
                <a:latin typeface="Verdana"/>
                <a:cs typeface="Verdana"/>
              </a:rPr>
              <a:t>high</a:t>
            </a:r>
          </a:p>
          <a:p>
            <a:pPr marL="12700">
              <a:lnSpc>
                <a:spcPct val="100000"/>
              </a:lnSpc>
            </a:pPr>
            <a:r>
              <a:rPr sz="1400">
                <a:latin typeface="Verdana"/>
                <a:cs typeface="Verdana"/>
              </a:rPr>
              <a:t>client</a:t>
            </a:r>
            <a:r>
              <a:rPr sz="1400" spc="-40">
                <a:latin typeface="Verdana"/>
                <a:cs typeface="Verdana"/>
              </a:rPr>
              <a:t> </a:t>
            </a:r>
            <a:r>
              <a:rPr sz="1400" spc="-10">
                <a:latin typeface="Verdana"/>
                <a:cs typeface="Verdana"/>
              </a:rPr>
              <a:t>satisfaction.”</a:t>
            </a:r>
            <a:endParaRPr sz="1400">
              <a:latin typeface="Verdana"/>
              <a:cs typeface="Verdana"/>
            </a:endParaRPr>
          </a:p>
        </p:txBody>
      </p:sp>
      <p:sp>
        <p:nvSpPr>
          <p:cNvPr id="11" name="object 11"/>
          <p:cNvSpPr txBox="1"/>
          <p:nvPr/>
        </p:nvSpPr>
        <p:spPr>
          <a:xfrm>
            <a:off x="5724271" y="5548680"/>
            <a:ext cx="6112510" cy="879475"/>
          </a:xfrm>
          <a:prstGeom prst="rect">
            <a:avLst/>
          </a:prstGeom>
        </p:spPr>
        <p:txBody>
          <a:bodyPr vert="horz" wrap="square" lIns="0" tIns="12700" rIns="0" bIns="0" rtlCol="0">
            <a:spAutoFit/>
          </a:bodyPr>
          <a:lstStyle/>
          <a:p>
            <a:pPr marL="12700" marR="78105">
              <a:lnSpc>
                <a:spcPct val="100000"/>
              </a:lnSpc>
              <a:spcBef>
                <a:spcPts val="100"/>
              </a:spcBef>
            </a:pPr>
            <a:r>
              <a:rPr sz="800" b="1">
                <a:latin typeface="Verdana"/>
                <a:cs typeface="Verdana"/>
              </a:rPr>
              <a:t>Disclaimer: </a:t>
            </a:r>
            <a:r>
              <a:rPr sz="800" i="1" spc="-5">
                <a:latin typeface="Verdana"/>
                <a:cs typeface="Verdana"/>
              </a:rPr>
              <a:t>Gartner </a:t>
            </a:r>
            <a:r>
              <a:rPr sz="800" i="1">
                <a:latin typeface="Verdana"/>
                <a:cs typeface="Verdana"/>
              </a:rPr>
              <a:t>does not endorse </a:t>
            </a:r>
            <a:r>
              <a:rPr sz="800" i="1" spc="-5">
                <a:latin typeface="Verdana"/>
                <a:cs typeface="Verdana"/>
              </a:rPr>
              <a:t>any </a:t>
            </a:r>
            <a:r>
              <a:rPr sz="800" i="1">
                <a:latin typeface="Verdana"/>
                <a:cs typeface="Verdana"/>
              </a:rPr>
              <a:t>vendor, product or service depicted </a:t>
            </a:r>
            <a:r>
              <a:rPr sz="800" i="1" spc="-5">
                <a:latin typeface="Verdana"/>
                <a:cs typeface="Verdana"/>
              </a:rPr>
              <a:t>in its research publications, and </a:t>
            </a:r>
            <a:r>
              <a:rPr sz="800" i="1">
                <a:latin typeface="Verdana"/>
                <a:cs typeface="Verdana"/>
              </a:rPr>
              <a:t>does  not advise technology users </a:t>
            </a:r>
            <a:r>
              <a:rPr sz="800" i="1" spc="-5">
                <a:latin typeface="Verdana"/>
                <a:cs typeface="Verdana"/>
              </a:rPr>
              <a:t>to </a:t>
            </a:r>
            <a:r>
              <a:rPr sz="800" i="1">
                <a:latin typeface="Verdana"/>
                <a:cs typeface="Verdana"/>
              </a:rPr>
              <a:t>select </a:t>
            </a:r>
            <a:r>
              <a:rPr sz="800" i="1" spc="-5">
                <a:latin typeface="Verdana"/>
                <a:cs typeface="Verdana"/>
              </a:rPr>
              <a:t>only </a:t>
            </a:r>
            <a:r>
              <a:rPr sz="800" i="1">
                <a:latin typeface="Verdana"/>
                <a:cs typeface="Verdana"/>
              </a:rPr>
              <a:t>those vendors </a:t>
            </a:r>
            <a:r>
              <a:rPr sz="800" i="1" spc="-5">
                <a:latin typeface="Verdana"/>
                <a:cs typeface="Verdana"/>
              </a:rPr>
              <a:t>with the </a:t>
            </a:r>
            <a:r>
              <a:rPr sz="800" i="1">
                <a:latin typeface="Verdana"/>
                <a:cs typeface="Verdana"/>
              </a:rPr>
              <a:t>highest </a:t>
            </a:r>
            <a:r>
              <a:rPr sz="800" i="1" spc="-5">
                <a:latin typeface="Verdana"/>
                <a:cs typeface="Verdana"/>
              </a:rPr>
              <a:t>ratings </a:t>
            </a:r>
            <a:r>
              <a:rPr sz="800" i="1">
                <a:latin typeface="Verdana"/>
                <a:cs typeface="Verdana"/>
              </a:rPr>
              <a:t>or other designation.</a:t>
            </a:r>
            <a:r>
              <a:rPr sz="800" i="1" spc="10">
                <a:latin typeface="Verdana"/>
                <a:cs typeface="Verdana"/>
              </a:rPr>
              <a:t> </a:t>
            </a:r>
            <a:r>
              <a:rPr sz="800" i="1" spc="-5">
                <a:latin typeface="Verdana"/>
                <a:cs typeface="Verdana"/>
              </a:rPr>
              <a:t>Gartner</a:t>
            </a:r>
            <a:endParaRPr sz="800">
              <a:latin typeface="Verdana"/>
              <a:cs typeface="Verdana"/>
            </a:endParaRPr>
          </a:p>
          <a:p>
            <a:pPr marL="12700" marR="5080">
              <a:lnSpc>
                <a:spcPct val="100000"/>
              </a:lnSpc>
            </a:pPr>
            <a:r>
              <a:rPr sz="800" i="1">
                <a:latin typeface="Verdana"/>
                <a:cs typeface="Verdana"/>
              </a:rPr>
              <a:t>research </a:t>
            </a:r>
            <a:r>
              <a:rPr sz="800" i="1" spc="-5">
                <a:latin typeface="Verdana"/>
                <a:cs typeface="Verdana"/>
              </a:rPr>
              <a:t>publications </a:t>
            </a:r>
            <a:r>
              <a:rPr sz="800" i="1">
                <a:latin typeface="Verdana"/>
                <a:cs typeface="Verdana"/>
              </a:rPr>
              <a:t>consist of </a:t>
            </a:r>
            <a:r>
              <a:rPr sz="800" i="1" spc="-5">
                <a:latin typeface="Verdana"/>
                <a:cs typeface="Verdana"/>
              </a:rPr>
              <a:t>the opinions </a:t>
            </a:r>
            <a:r>
              <a:rPr sz="800" i="1">
                <a:latin typeface="Verdana"/>
                <a:cs typeface="Verdana"/>
              </a:rPr>
              <a:t>of </a:t>
            </a:r>
            <a:r>
              <a:rPr sz="800" i="1" spc="-5">
                <a:latin typeface="Verdana"/>
                <a:cs typeface="Verdana"/>
              </a:rPr>
              <a:t>Gartner’s research organization and should </a:t>
            </a:r>
            <a:r>
              <a:rPr sz="800" i="1">
                <a:latin typeface="Verdana"/>
                <a:cs typeface="Verdana"/>
              </a:rPr>
              <a:t>not be construed </a:t>
            </a:r>
            <a:r>
              <a:rPr sz="800" i="1" spc="-5">
                <a:latin typeface="Verdana"/>
                <a:cs typeface="Verdana"/>
              </a:rPr>
              <a:t>as  statements </a:t>
            </a:r>
            <a:r>
              <a:rPr sz="800" i="1">
                <a:latin typeface="Verdana"/>
                <a:cs typeface="Verdana"/>
              </a:rPr>
              <a:t>of </a:t>
            </a:r>
            <a:r>
              <a:rPr sz="800" i="1" spc="-5">
                <a:latin typeface="Verdana"/>
                <a:cs typeface="Verdana"/>
              </a:rPr>
              <a:t>fact. Gartner disclaims all warranties, </a:t>
            </a:r>
            <a:r>
              <a:rPr sz="800" i="1">
                <a:latin typeface="Verdana"/>
                <a:cs typeface="Verdana"/>
              </a:rPr>
              <a:t>express or </a:t>
            </a:r>
            <a:r>
              <a:rPr sz="800" i="1" spc="-5">
                <a:latin typeface="Verdana"/>
                <a:cs typeface="Verdana"/>
              </a:rPr>
              <a:t>implied, with </a:t>
            </a:r>
            <a:r>
              <a:rPr sz="800" i="1">
                <a:latin typeface="Verdana"/>
                <a:cs typeface="Verdana"/>
              </a:rPr>
              <a:t>respect </a:t>
            </a:r>
            <a:r>
              <a:rPr sz="800" i="1" spc="-5">
                <a:latin typeface="Verdana"/>
                <a:cs typeface="Verdana"/>
              </a:rPr>
              <a:t>to this research, including any  warranties </a:t>
            </a:r>
            <a:r>
              <a:rPr sz="800" i="1">
                <a:latin typeface="Verdana"/>
                <a:cs typeface="Verdana"/>
              </a:rPr>
              <a:t>of </a:t>
            </a:r>
            <a:r>
              <a:rPr sz="800" i="1" spc="-5">
                <a:latin typeface="Verdana"/>
                <a:cs typeface="Verdana"/>
              </a:rPr>
              <a:t>merchantability </a:t>
            </a:r>
            <a:r>
              <a:rPr sz="800" i="1">
                <a:latin typeface="Verdana"/>
                <a:cs typeface="Verdana"/>
              </a:rPr>
              <a:t>or </a:t>
            </a:r>
            <a:r>
              <a:rPr sz="800" i="1" spc="-5">
                <a:latin typeface="Verdana"/>
                <a:cs typeface="Verdana"/>
              </a:rPr>
              <a:t>fitness </a:t>
            </a:r>
            <a:r>
              <a:rPr sz="800" i="1">
                <a:latin typeface="Verdana"/>
                <a:cs typeface="Verdana"/>
              </a:rPr>
              <a:t>for a </a:t>
            </a:r>
            <a:r>
              <a:rPr sz="800" i="1" spc="-5">
                <a:latin typeface="Verdana"/>
                <a:cs typeface="Verdana"/>
              </a:rPr>
              <a:t>particular </a:t>
            </a:r>
            <a:r>
              <a:rPr sz="800" i="1">
                <a:latin typeface="Verdana"/>
                <a:cs typeface="Verdana"/>
              </a:rPr>
              <a:t>purpose. </a:t>
            </a:r>
            <a:r>
              <a:rPr sz="800" i="1" spc="-5">
                <a:latin typeface="Verdana"/>
                <a:cs typeface="Verdana"/>
              </a:rPr>
              <a:t>This </a:t>
            </a:r>
            <a:r>
              <a:rPr sz="800" i="1">
                <a:latin typeface="Verdana"/>
                <a:cs typeface="Verdana"/>
              </a:rPr>
              <a:t>graphic </a:t>
            </a:r>
            <a:r>
              <a:rPr sz="800" i="1" spc="-5">
                <a:latin typeface="Verdana"/>
                <a:cs typeface="Verdana"/>
              </a:rPr>
              <a:t>was published </a:t>
            </a:r>
            <a:r>
              <a:rPr sz="800" i="1">
                <a:latin typeface="Verdana"/>
                <a:cs typeface="Verdana"/>
              </a:rPr>
              <a:t>by </a:t>
            </a:r>
            <a:r>
              <a:rPr sz="800" i="1" spc="-5">
                <a:latin typeface="Verdana"/>
                <a:cs typeface="Verdana"/>
              </a:rPr>
              <a:t>Gartner, Inc. as </a:t>
            </a:r>
            <a:r>
              <a:rPr sz="800" i="1">
                <a:latin typeface="Verdana"/>
                <a:cs typeface="Verdana"/>
              </a:rPr>
              <a:t>part of  a larger </a:t>
            </a:r>
            <a:r>
              <a:rPr sz="800" i="1" spc="-5">
                <a:latin typeface="Verdana"/>
                <a:cs typeface="Verdana"/>
              </a:rPr>
              <a:t>research document and should </a:t>
            </a:r>
            <a:r>
              <a:rPr sz="800" i="1">
                <a:latin typeface="Verdana"/>
                <a:cs typeface="Verdana"/>
              </a:rPr>
              <a:t>be evaluated </a:t>
            </a:r>
            <a:r>
              <a:rPr sz="800" i="1" spc="-5">
                <a:latin typeface="Verdana"/>
                <a:cs typeface="Verdana"/>
              </a:rPr>
              <a:t>in the </a:t>
            </a:r>
            <a:r>
              <a:rPr sz="800" i="1">
                <a:latin typeface="Verdana"/>
                <a:cs typeface="Verdana"/>
              </a:rPr>
              <a:t>context of </a:t>
            </a:r>
            <a:r>
              <a:rPr sz="800" i="1" spc="-5">
                <a:latin typeface="Verdana"/>
                <a:cs typeface="Verdana"/>
              </a:rPr>
              <a:t>the entire document. The Gartner document is  available </a:t>
            </a:r>
            <a:r>
              <a:rPr sz="800" i="1">
                <a:latin typeface="Verdana"/>
                <a:cs typeface="Verdana"/>
              </a:rPr>
              <a:t>upon request from</a:t>
            </a:r>
            <a:r>
              <a:rPr sz="800" i="1" spc="-25">
                <a:latin typeface="Verdana"/>
                <a:cs typeface="Verdana"/>
              </a:rPr>
              <a:t> </a:t>
            </a:r>
            <a:r>
              <a:rPr sz="800" i="1" spc="-5">
                <a:latin typeface="Verdana"/>
                <a:cs typeface="Verdana"/>
              </a:rPr>
              <a:t>Capgemini.</a:t>
            </a:r>
            <a:endParaRPr sz="800">
              <a:latin typeface="Verdana"/>
              <a:cs typeface="Verdana"/>
            </a:endParaRPr>
          </a:p>
        </p:txBody>
      </p:sp>
      <p:sp>
        <p:nvSpPr>
          <p:cNvPr id="12" name="object 12"/>
          <p:cNvSpPr/>
          <p:nvPr/>
        </p:nvSpPr>
        <p:spPr>
          <a:xfrm>
            <a:off x="871237" y="1954274"/>
            <a:ext cx="3933279" cy="4436301"/>
          </a:xfrm>
          <a:prstGeom prst="rect">
            <a:avLst/>
          </a:prstGeom>
          <a:blipFill>
            <a:blip r:embed="rId2" cstate="print"/>
            <a:stretch>
              <a:fillRect/>
            </a:stretch>
          </a:blipFill>
        </p:spPr>
        <p:txBody>
          <a:bodyPr wrap="square" lIns="0" tIns="0" rIns="0" bIns="0" rtlCol="0"/>
          <a:lstStyle/>
          <a:p>
            <a:endParaRPr/>
          </a:p>
        </p:txBody>
      </p:sp>
      <p:sp>
        <p:nvSpPr>
          <p:cNvPr id="13" name="object 1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4" name="object 1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4</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6515734" cy="422275"/>
          </a:xfrm>
          <a:prstGeom prst="rect">
            <a:avLst/>
          </a:prstGeom>
        </p:spPr>
        <p:txBody>
          <a:bodyPr vert="horz" wrap="square" lIns="0" tIns="12700" rIns="0" bIns="0" rtlCol="0">
            <a:spAutoFit/>
          </a:bodyPr>
          <a:lstStyle/>
          <a:p>
            <a:pPr marL="12700">
              <a:lnSpc>
                <a:spcPct val="100000"/>
              </a:lnSpc>
              <a:spcBef>
                <a:spcPts val="100"/>
              </a:spcBef>
            </a:pPr>
            <a:r>
              <a:rPr sz="2600" spc="-5"/>
              <a:t>Capgemini </a:t>
            </a:r>
            <a:r>
              <a:rPr sz="2600"/>
              <a:t>Global MuleSoft</a:t>
            </a:r>
            <a:r>
              <a:rPr sz="2600" spc="-90"/>
              <a:t> </a:t>
            </a:r>
            <a:r>
              <a:rPr sz="2600"/>
              <a:t>Capabilities</a:t>
            </a:r>
          </a:p>
        </p:txBody>
      </p:sp>
      <p:sp>
        <p:nvSpPr>
          <p:cNvPr id="3" name="object 3"/>
          <p:cNvSpPr/>
          <p:nvPr/>
        </p:nvSpPr>
        <p:spPr>
          <a:xfrm>
            <a:off x="0" y="1267967"/>
            <a:ext cx="12192000" cy="5184775"/>
          </a:xfrm>
          <a:custGeom>
            <a:avLst/>
            <a:gdLst/>
            <a:ahLst/>
            <a:cxnLst/>
            <a:rect l="l" t="t" r="r" b="b"/>
            <a:pathLst>
              <a:path w="12192000" h="5184775">
                <a:moveTo>
                  <a:pt x="0" y="5184648"/>
                </a:moveTo>
                <a:lnTo>
                  <a:pt x="12192000" y="5184648"/>
                </a:lnTo>
                <a:lnTo>
                  <a:pt x="12192000" y="0"/>
                </a:lnTo>
                <a:lnTo>
                  <a:pt x="0" y="0"/>
                </a:lnTo>
                <a:lnTo>
                  <a:pt x="0" y="5184648"/>
                </a:lnTo>
                <a:close/>
              </a:path>
            </a:pathLst>
          </a:custGeom>
          <a:solidFill>
            <a:srgbClr val="F1F1F1"/>
          </a:solidFill>
        </p:spPr>
        <p:txBody>
          <a:bodyPr wrap="square" lIns="0" tIns="0" rIns="0" bIns="0" rtlCol="0"/>
          <a:lstStyle/>
          <a:p>
            <a:endParaRPr/>
          </a:p>
        </p:txBody>
      </p:sp>
      <p:sp>
        <p:nvSpPr>
          <p:cNvPr id="4" name="object 4"/>
          <p:cNvSpPr/>
          <p:nvPr/>
        </p:nvSpPr>
        <p:spPr>
          <a:xfrm>
            <a:off x="8319516" y="1267967"/>
            <a:ext cx="3872865" cy="3051175"/>
          </a:xfrm>
          <a:custGeom>
            <a:avLst/>
            <a:gdLst/>
            <a:ahLst/>
            <a:cxnLst/>
            <a:rect l="l" t="t" r="r" b="b"/>
            <a:pathLst>
              <a:path w="3872865" h="3051175">
                <a:moveTo>
                  <a:pt x="0" y="3051047"/>
                </a:moveTo>
                <a:lnTo>
                  <a:pt x="3872483" y="3051047"/>
                </a:lnTo>
                <a:lnTo>
                  <a:pt x="3872483" y="0"/>
                </a:lnTo>
                <a:lnTo>
                  <a:pt x="0" y="0"/>
                </a:lnTo>
                <a:lnTo>
                  <a:pt x="0" y="3051047"/>
                </a:lnTo>
                <a:close/>
              </a:path>
            </a:pathLst>
          </a:custGeom>
          <a:solidFill>
            <a:srgbClr val="D9D9D9"/>
          </a:solidFill>
        </p:spPr>
        <p:txBody>
          <a:bodyPr wrap="square" lIns="0" tIns="0" rIns="0" bIns="0" rtlCol="0"/>
          <a:lstStyle/>
          <a:p>
            <a:endParaRPr/>
          </a:p>
        </p:txBody>
      </p:sp>
      <p:sp>
        <p:nvSpPr>
          <p:cNvPr id="5" name="object 5"/>
          <p:cNvSpPr/>
          <p:nvPr/>
        </p:nvSpPr>
        <p:spPr>
          <a:xfrm>
            <a:off x="8319516" y="4401311"/>
            <a:ext cx="3872865" cy="920750"/>
          </a:xfrm>
          <a:custGeom>
            <a:avLst/>
            <a:gdLst/>
            <a:ahLst/>
            <a:cxnLst/>
            <a:rect l="l" t="t" r="r" b="b"/>
            <a:pathLst>
              <a:path w="3872865" h="920750">
                <a:moveTo>
                  <a:pt x="0" y="920496"/>
                </a:moveTo>
                <a:lnTo>
                  <a:pt x="3872483" y="920496"/>
                </a:lnTo>
                <a:lnTo>
                  <a:pt x="3872483" y="0"/>
                </a:lnTo>
                <a:lnTo>
                  <a:pt x="0" y="0"/>
                </a:lnTo>
                <a:lnTo>
                  <a:pt x="0" y="920496"/>
                </a:lnTo>
                <a:close/>
              </a:path>
            </a:pathLst>
          </a:custGeom>
          <a:solidFill>
            <a:srgbClr val="850863"/>
          </a:solidFill>
        </p:spPr>
        <p:txBody>
          <a:bodyPr wrap="square" lIns="0" tIns="0" rIns="0" bIns="0" rtlCol="0"/>
          <a:lstStyle/>
          <a:p>
            <a:endParaRPr/>
          </a:p>
        </p:txBody>
      </p:sp>
      <p:sp>
        <p:nvSpPr>
          <p:cNvPr id="6" name="object 6"/>
          <p:cNvSpPr/>
          <p:nvPr/>
        </p:nvSpPr>
        <p:spPr>
          <a:xfrm>
            <a:off x="8319516" y="6007608"/>
            <a:ext cx="3872865" cy="287020"/>
          </a:xfrm>
          <a:custGeom>
            <a:avLst/>
            <a:gdLst/>
            <a:ahLst/>
            <a:cxnLst/>
            <a:rect l="l" t="t" r="r" b="b"/>
            <a:pathLst>
              <a:path w="3872865" h="287020">
                <a:moveTo>
                  <a:pt x="0" y="286511"/>
                </a:moveTo>
                <a:lnTo>
                  <a:pt x="3872483" y="286511"/>
                </a:lnTo>
                <a:lnTo>
                  <a:pt x="3872483" y="0"/>
                </a:lnTo>
                <a:lnTo>
                  <a:pt x="0" y="0"/>
                </a:lnTo>
                <a:lnTo>
                  <a:pt x="0" y="286511"/>
                </a:lnTo>
                <a:close/>
              </a:path>
            </a:pathLst>
          </a:custGeom>
          <a:solidFill>
            <a:srgbClr val="850863"/>
          </a:solidFill>
        </p:spPr>
        <p:txBody>
          <a:bodyPr wrap="square" lIns="0" tIns="0" rIns="0" bIns="0" rtlCol="0"/>
          <a:lstStyle/>
          <a:p>
            <a:endParaRPr/>
          </a:p>
        </p:txBody>
      </p:sp>
      <p:sp>
        <p:nvSpPr>
          <p:cNvPr id="7" name="object 7"/>
          <p:cNvSpPr txBox="1"/>
          <p:nvPr/>
        </p:nvSpPr>
        <p:spPr>
          <a:xfrm>
            <a:off x="405485" y="1296966"/>
            <a:ext cx="1769110" cy="3147695"/>
          </a:xfrm>
          <a:prstGeom prst="rect">
            <a:avLst/>
          </a:prstGeom>
        </p:spPr>
        <p:txBody>
          <a:bodyPr vert="horz" wrap="square" lIns="0" tIns="85725" rIns="0" bIns="0" rtlCol="0">
            <a:spAutoFit/>
          </a:bodyPr>
          <a:lstStyle/>
          <a:p>
            <a:pPr marL="184785" indent="-172720">
              <a:lnSpc>
                <a:spcPct val="100000"/>
              </a:lnSpc>
              <a:spcBef>
                <a:spcPts val="675"/>
              </a:spcBef>
              <a:buClr>
                <a:srgbClr val="006FC0"/>
              </a:buClr>
              <a:buSzPct val="110000"/>
              <a:buFont typeface="Wingdings"/>
              <a:buChar char=""/>
              <a:tabLst>
                <a:tab pos="185420" algn="l"/>
              </a:tabLst>
            </a:pPr>
            <a:r>
              <a:rPr sz="1000" spc="-5">
                <a:solidFill>
                  <a:srgbClr val="2B133C"/>
                </a:solidFill>
                <a:latin typeface="Verdana"/>
                <a:cs typeface="Verdana"/>
              </a:rPr>
              <a:t>Established </a:t>
            </a:r>
            <a:r>
              <a:rPr sz="1000">
                <a:solidFill>
                  <a:srgbClr val="2B133C"/>
                </a:solidFill>
                <a:latin typeface="Verdana"/>
                <a:cs typeface="Verdana"/>
              </a:rPr>
              <a:t>in </a:t>
            </a:r>
            <a:r>
              <a:rPr sz="1000" spc="-5">
                <a:solidFill>
                  <a:srgbClr val="2B133C"/>
                </a:solidFill>
                <a:latin typeface="Verdana"/>
                <a:cs typeface="Verdana"/>
              </a:rPr>
              <a:t>2013</a:t>
            </a:r>
            <a:endParaRPr sz="1000">
              <a:latin typeface="Verdana"/>
              <a:cs typeface="Verdana"/>
            </a:endParaRPr>
          </a:p>
          <a:p>
            <a:pPr marL="184785" marR="41275" indent="-172720">
              <a:lnSpc>
                <a:spcPts val="1500"/>
              </a:lnSpc>
              <a:spcBef>
                <a:spcPts val="700"/>
              </a:spcBef>
              <a:buClr>
                <a:srgbClr val="006FC0"/>
              </a:buClr>
              <a:buSzPct val="110000"/>
              <a:buFont typeface="Wingdings"/>
              <a:buChar char=""/>
              <a:tabLst>
                <a:tab pos="185420" algn="l"/>
              </a:tabLst>
            </a:pPr>
            <a:r>
              <a:rPr sz="1000" spc="-5">
                <a:solidFill>
                  <a:srgbClr val="2B133C"/>
                </a:solidFill>
                <a:latin typeface="Verdana"/>
                <a:cs typeface="Verdana"/>
              </a:rPr>
              <a:t>Strong </a:t>
            </a:r>
            <a:r>
              <a:rPr sz="1200" b="1" spc="-5">
                <a:solidFill>
                  <a:srgbClr val="006FAC"/>
                </a:solidFill>
                <a:latin typeface="Verdana"/>
                <a:cs typeface="Verdana"/>
              </a:rPr>
              <a:t>global  partnership </a:t>
            </a:r>
            <a:r>
              <a:rPr sz="1000" spc="-5">
                <a:solidFill>
                  <a:srgbClr val="2B133C"/>
                </a:solidFill>
                <a:latin typeface="Verdana"/>
                <a:cs typeface="Verdana"/>
              </a:rPr>
              <a:t>across  sales and delivery  </a:t>
            </a:r>
            <a:r>
              <a:rPr sz="1000">
                <a:solidFill>
                  <a:srgbClr val="2B133C"/>
                </a:solidFill>
                <a:latin typeface="Verdana"/>
                <a:cs typeface="Verdana"/>
              </a:rPr>
              <a:t>driving digital </a:t>
            </a:r>
            <a:r>
              <a:rPr sz="1000" spc="-5">
                <a:solidFill>
                  <a:srgbClr val="2B133C"/>
                </a:solidFill>
                <a:latin typeface="Verdana"/>
                <a:cs typeface="Verdana"/>
              </a:rPr>
              <a:t>and</a:t>
            </a:r>
            <a:r>
              <a:rPr sz="1000" spc="-95">
                <a:solidFill>
                  <a:srgbClr val="2B133C"/>
                </a:solidFill>
                <a:latin typeface="Verdana"/>
                <a:cs typeface="Verdana"/>
              </a:rPr>
              <a:t> </a:t>
            </a:r>
            <a:r>
              <a:rPr sz="1000" spc="-5">
                <a:solidFill>
                  <a:srgbClr val="2B133C"/>
                </a:solidFill>
                <a:latin typeface="Verdana"/>
                <a:cs typeface="Verdana"/>
              </a:rPr>
              <a:t>cloud</a:t>
            </a:r>
            <a:endParaRPr sz="1000">
              <a:latin typeface="Verdana"/>
              <a:cs typeface="Verdana"/>
            </a:endParaRPr>
          </a:p>
          <a:p>
            <a:pPr marL="184785" marR="368300">
              <a:lnSpc>
                <a:spcPts val="1500"/>
              </a:lnSpc>
              <a:spcBef>
                <a:spcPts val="5"/>
              </a:spcBef>
            </a:pPr>
            <a:r>
              <a:rPr sz="1000" spc="-5">
                <a:solidFill>
                  <a:srgbClr val="2B133C"/>
                </a:solidFill>
                <a:latin typeface="Verdana"/>
                <a:cs typeface="Verdana"/>
              </a:rPr>
              <a:t>adoption</a:t>
            </a:r>
            <a:r>
              <a:rPr sz="1000" spc="-45">
                <a:solidFill>
                  <a:srgbClr val="2B133C"/>
                </a:solidFill>
                <a:latin typeface="Verdana"/>
                <a:cs typeface="Verdana"/>
              </a:rPr>
              <a:t> </a:t>
            </a:r>
            <a:r>
              <a:rPr sz="1000" spc="-5">
                <a:solidFill>
                  <a:srgbClr val="2B133C"/>
                </a:solidFill>
                <a:latin typeface="Verdana"/>
                <a:cs typeface="Verdana"/>
              </a:rPr>
              <a:t>programs  worldwide</a:t>
            </a:r>
            <a:endParaRPr sz="1000">
              <a:latin typeface="Verdana"/>
              <a:cs typeface="Verdana"/>
            </a:endParaRPr>
          </a:p>
          <a:p>
            <a:pPr marL="184785" marR="114300" indent="-172720">
              <a:lnSpc>
                <a:spcPct val="111100"/>
              </a:lnSpc>
              <a:spcBef>
                <a:spcPts val="439"/>
              </a:spcBef>
              <a:buClr>
                <a:srgbClr val="006FC0"/>
              </a:buClr>
              <a:buSzPct val="110000"/>
              <a:buFont typeface="Wingdings"/>
              <a:buChar char=""/>
              <a:tabLst>
                <a:tab pos="185420" algn="l"/>
              </a:tabLst>
            </a:pPr>
            <a:r>
              <a:rPr sz="1000" spc="-5">
                <a:solidFill>
                  <a:srgbClr val="2B133C"/>
                </a:solidFill>
                <a:latin typeface="Verdana"/>
                <a:cs typeface="Verdana"/>
              </a:rPr>
              <a:t>MuleSoft </a:t>
            </a:r>
            <a:r>
              <a:rPr sz="1200" b="1" spc="-5">
                <a:solidFill>
                  <a:srgbClr val="006FAC"/>
                </a:solidFill>
                <a:latin typeface="Verdana"/>
                <a:cs typeface="Verdana"/>
              </a:rPr>
              <a:t>Value  Added Reseller </a:t>
            </a:r>
            <a:r>
              <a:rPr sz="1000" spc="-5">
                <a:solidFill>
                  <a:srgbClr val="2B133C"/>
                </a:solidFill>
                <a:latin typeface="Verdana"/>
                <a:cs typeface="Verdana"/>
              </a:rPr>
              <a:t>of  MuleSoft</a:t>
            </a:r>
            <a:r>
              <a:rPr sz="1000" spc="5">
                <a:solidFill>
                  <a:srgbClr val="2B133C"/>
                </a:solidFill>
                <a:latin typeface="Verdana"/>
                <a:cs typeface="Verdana"/>
              </a:rPr>
              <a:t> </a:t>
            </a:r>
            <a:r>
              <a:rPr sz="1000">
                <a:solidFill>
                  <a:srgbClr val="2B133C"/>
                </a:solidFill>
                <a:latin typeface="Verdana"/>
                <a:cs typeface="Verdana"/>
              </a:rPr>
              <a:t>Anypoint</a:t>
            </a:r>
            <a:endParaRPr sz="1000">
              <a:latin typeface="Verdana"/>
              <a:cs typeface="Verdana"/>
            </a:endParaRPr>
          </a:p>
          <a:p>
            <a:pPr marL="184785">
              <a:lnSpc>
                <a:spcPct val="100000"/>
              </a:lnSpc>
              <a:spcBef>
                <a:spcPts val="300"/>
              </a:spcBef>
            </a:pPr>
            <a:r>
              <a:rPr sz="1000" spc="-5">
                <a:solidFill>
                  <a:srgbClr val="2B133C"/>
                </a:solidFill>
                <a:latin typeface="Verdana"/>
                <a:cs typeface="Verdana"/>
              </a:rPr>
              <a:t>Platform™</a:t>
            </a:r>
            <a:endParaRPr sz="1000">
              <a:latin typeface="Verdana"/>
              <a:cs typeface="Verdana"/>
            </a:endParaRPr>
          </a:p>
          <a:p>
            <a:pPr marL="184785" marR="5080" indent="-172720">
              <a:lnSpc>
                <a:spcPct val="117100"/>
              </a:lnSpc>
              <a:spcBef>
                <a:spcPts val="695"/>
              </a:spcBef>
              <a:buClr>
                <a:srgbClr val="006FC0"/>
              </a:buClr>
              <a:buSzPct val="110000"/>
              <a:buFont typeface="Wingdings"/>
              <a:buChar char=""/>
              <a:tabLst>
                <a:tab pos="185420" algn="l"/>
              </a:tabLst>
            </a:pPr>
            <a:r>
              <a:rPr sz="1000" spc="-5">
                <a:solidFill>
                  <a:srgbClr val="2B133C"/>
                </a:solidFill>
                <a:latin typeface="Verdana"/>
                <a:cs typeface="Verdana"/>
              </a:rPr>
              <a:t>Capgemini and MuleSoft  </a:t>
            </a:r>
            <a:r>
              <a:rPr sz="1000" spc="-10">
                <a:solidFill>
                  <a:srgbClr val="2B133C"/>
                </a:solidFill>
                <a:latin typeface="Verdana"/>
                <a:cs typeface="Verdana"/>
              </a:rPr>
              <a:t>offer </a:t>
            </a:r>
            <a:r>
              <a:rPr sz="1200" b="1" spc="-5">
                <a:solidFill>
                  <a:srgbClr val="006FAC"/>
                </a:solidFill>
                <a:latin typeface="Verdana"/>
                <a:cs typeface="Verdana"/>
              </a:rPr>
              <a:t>joint solutions </a:t>
            </a:r>
            <a:r>
              <a:rPr sz="1200" b="1" spc="-5">
                <a:solidFill>
                  <a:srgbClr val="2B133C"/>
                </a:solidFill>
                <a:latin typeface="Verdana"/>
                <a:cs typeface="Verdana"/>
              </a:rPr>
              <a:t> </a:t>
            </a:r>
            <a:r>
              <a:rPr sz="1000" spc="-5">
                <a:solidFill>
                  <a:srgbClr val="2B133C"/>
                </a:solidFill>
                <a:latin typeface="Verdana"/>
                <a:cs typeface="Verdana"/>
              </a:rPr>
              <a:t>to enable our </a:t>
            </a:r>
            <a:r>
              <a:rPr sz="1000">
                <a:solidFill>
                  <a:srgbClr val="2B133C"/>
                </a:solidFill>
                <a:latin typeface="Verdana"/>
                <a:cs typeface="Verdana"/>
              </a:rPr>
              <a:t>clients </a:t>
            </a:r>
            <a:r>
              <a:rPr sz="1000" spc="-5">
                <a:solidFill>
                  <a:srgbClr val="2B133C"/>
                </a:solidFill>
                <a:latin typeface="Verdana"/>
                <a:cs typeface="Verdana"/>
              </a:rPr>
              <a:t>to  chart out their</a:t>
            </a:r>
            <a:r>
              <a:rPr sz="1000" spc="15">
                <a:solidFill>
                  <a:srgbClr val="2B133C"/>
                </a:solidFill>
                <a:latin typeface="Verdana"/>
                <a:cs typeface="Verdana"/>
              </a:rPr>
              <a:t> </a:t>
            </a:r>
            <a:r>
              <a:rPr sz="1000" spc="-5">
                <a:solidFill>
                  <a:srgbClr val="2B133C"/>
                </a:solidFill>
                <a:latin typeface="Verdana"/>
                <a:cs typeface="Verdana"/>
              </a:rPr>
              <a:t>legacy</a:t>
            </a:r>
            <a:endParaRPr sz="1000">
              <a:latin typeface="Verdana"/>
              <a:cs typeface="Verdana"/>
            </a:endParaRPr>
          </a:p>
        </p:txBody>
      </p:sp>
      <p:sp>
        <p:nvSpPr>
          <p:cNvPr id="8" name="object 8"/>
          <p:cNvSpPr txBox="1"/>
          <p:nvPr/>
        </p:nvSpPr>
        <p:spPr>
          <a:xfrm>
            <a:off x="577697" y="4418736"/>
            <a:ext cx="1635125" cy="406400"/>
          </a:xfrm>
          <a:prstGeom prst="rect">
            <a:avLst/>
          </a:prstGeom>
        </p:spPr>
        <p:txBody>
          <a:bodyPr vert="horz" wrap="square" lIns="0" tIns="12700" rIns="0" bIns="0" rtlCol="0">
            <a:spAutoFit/>
          </a:bodyPr>
          <a:lstStyle/>
          <a:p>
            <a:pPr marL="12700" marR="5080">
              <a:lnSpc>
                <a:spcPct val="125000"/>
              </a:lnSpc>
              <a:spcBef>
                <a:spcPts val="100"/>
              </a:spcBef>
            </a:pPr>
            <a:r>
              <a:rPr sz="1000" spc="-5">
                <a:solidFill>
                  <a:srgbClr val="2B133C"/>
                </a:solidFill>
                <a:latin typeface="Verdana"/>
                <a:cs typeface="Verdana"/>
              </a:rPr>
              <a:t>modernization and  transformation</a:t>
            </a:r>
            <a:r>
              <a:rPr sz="1000" spc="-20">
                <a:solidFill>
                  <a:srgbClr val="2B133C"/>
                </a:solidFill>
                <a:latin typeface="Verdana"/>
                <a:cs typeface="Verdana"/>
              </a:rPr>
              <a:t> </a:t>
            </a:r>
            <a:r>
              <a:rPr sz="1000">
                <a:solidFill>
                  <a:srgbClr val="2B133C"/>
                </a:solidFill>
                <a:latin typeface="Verdana"/>
                <a:cs typeface="Verdana"/>
              </a:rPr>
              <a:t>initiatives</a:t>
            </a:r>
            <a:endParaRPr sz="1000">
              <a:latin typeface="Verdana"/>
              <a:cs typeface="Verdana"/>
            </a:endParaRPr>
          </a:p>
        </p:txBody>
      </p:sp>
      <p:sp>
        <p:nvSpPr>
          <p:cNvPr id="9" name="object 9"/>
          <p:cNvSpPr txBox="1"/>
          <p:nvPr/>
        </p:nvSpPr>
        <p:spPr>
          <a:xfrm>
            <a:off x="2285124" y="1823982"/>
            <a:ext cx="396240" cy="2435860"/>
          </a:xfrm>
          <a:prstGeom prst="rect">
            <a:avLst/>
          </a:prstGeom>
        </p:spPr>
        <p:txBody>
          <a:bodyPr vert="vert270" wrap="square" lIns="0" tIns="13970" rIns="0" bIns="0" rtlCol="0">
            <a:spAutoFit/>
          </a:bodyPr>
          <a:lstStyle/>
          <a:p>
            <a:pPr marL="12700">
              <a:lnSpc>
                <a:spcPct val="100000"/>
              </a:lnSpc>
              <a:spcBef>
                <a:spcPts val="110"/>
              </a:spcBef>
            </a:pPr>
            <a:r>
              <a:rPr sz="2400" spc="-5">
                <a:solidFill>
                  <a:srgbClr val="006FAC"/>
                </a:solidFill>
                <a:latin typeface="Verdana"/>
                <a:cs typeface="Verdana"/>
              </a:rPr>
              <a:t>Our</a:t>
            </a:r>
            <a:r>
              <a:rPr sz="2400" spc="-55">
                <a:solidFill>
                  <a:srgbClr val="006FAC"/>
                </a:solidFill>
                <a:latin typeface="Verdana"/>
                <a:cs typeface="Verdana"/>
              </a:rPr>
              <a:t> </a:t>
            </a:r>
            <a:r>
              <a:rPr sz="2400" spc="-10">
                <a:solidFill>
                  <a:srgbClr val="006FAC"/>
                </a:solidFill>
                <a:latin typeface="Verdana"/>
                <a:cs typeface="Verdana"/>
              </a:rPr>
              <a:t>Partnership</a:t>
            </a:r>
            <a:endParaRPr sz="2400">
              <a:latin typeface="Verdana"/>
              <a:cs typeface="Verdana"/>
            </a:endParaRPr>
          </a:p>
        </p:txBody>
      </p:sp>
      <p:sp>
        <p:nvSpPr>
          <p:cNvPr id="10" name="object 10"/>
          <p:cNvSpPr/>
          <p:nvPr/>
        </p:nvSpPr>
        <p:spPr>
          <a:xfrm>
            <a:off x="2017776" y="5583935"/>
            <a:ext cx="967740" cy="914400"/>
          </a:xfrm>
          <a:custGeom>
            <a:avLst/>
            <a:gdLst/>
            <a:ahLst/>
            <a:cxnLst/>
            <a:rect l="l" t="t" r="r" b="b"/>
            <a:pathLst>
              <a:path w="967739" h="914400">
                <a:moveTo>
                  <a:pt x="483869" y="0"/>
                </a:moveTo>
                <a:lnTo>
                  <a:pt x="435991" y="3277"/>
                </a:lnTo>
                <a:lnTo>
                  <a:pt x="389131" y="10882"/>
                </a:lnTo>
                <a:lnTo>
                  <a:pt x="343575" y="22608"/>
                </a:lnTo>
                <a:lnTo>
                  <a:pt x="299608" y="38252"/>
                </a:lnTo>
                <a:lnTo>
                  <a:pt x="257517" y="57608"/>
                </a:lnTo>
                <a:lnTo>
                  <a:pt x="217586" y="80470"/>
                </a:lnTo>
                <a:lnTo>
                  <a:pt x="180102" y="106634"/>
                </a:lnTo>
                <a:lnTo>
                  <a:pt x="145351" y="135894"/>
                </a:lnTo>
                <a:lnTo>
                  <a:pt x="113618" y="168046"/>
                </a:lnTo>
                <a:lnTo>
                  <a:pt x="85189" y="202884"/>
                </a:lnTo>
                <a:lnTo>
                  <a:pt x="60349" y="240202"/>
                </a:lnTo>
                <a:lnTo>
                  <a:pt x="39385" y="279797"/>
                </a:lnTo>
                <a:lnTo>
                  <a:pt x="22583" y="321462"/>
                </a:lnTo>
                <a:lnTo>
                  <a:pt x="10227" y="364993"/>
                </a:lnTo>
                <a:lnTo>
                  <a:pt x="2604" y="410185"/>
                </a:lnTo>
                <a:lnTo>
                  <a:pt x="0" y="456831"/>
                </a:lnTo>
                <a:lnTo>
                  <a:pt x="2254" y="503705"/>
                </a:lnTo>
                <a:lnTo>
                  <a:pt x="8920" y="549521"/>
                </a:lnTo>
                <a:lnTo>
                  <a:pt x="19851" y="593982"/>
                </a:lnTo>
                <a:lnTo>
                  <a:pt x="34903" y="636792"/>
                </a:lnTo>
                <a:lnTo>
                  <a:pt x="53929" y="677654"/>
                </a:lnTo>
                <a:lnTo>
                  <a:pt x="76784" y="716271"/>
                </a:lnTo>
                <a:lnTo>
                  <a:pt x="103322" y="752346"/>
                </a:lnTo>
                <a:lnTo>
                  <a:pt x="133397" y="785582"/>
                </a:lnTo>
                <a:lnTo>
                  <a:pt x="166864" y="815682"/>
                </a:lnTo>
                <a:lnTo>
                  <a:pt x="203578" y="842350"/>
                </a:lnTo>
                <a:lnTo>
                  <a:pt x="243392" y="865288"/>
                </a:lnTo>
                <a:lnTo>
                  <a:pt x="286160" y="884201"/>
                </a:lnTo>
                <a:lnTo>
                  <a:pt x="331738" y="898790"/>
                </a:lnTo>
                <a:lnTo>
                  <a:pt x="379979" y="908759"/>
                </a:lnTo>
                <a:lnTo>
                  <a:pt x="430738" y="913811"/>
                </a:lnTo>
                <a:lnTo>
                  <a:pt x="483869" y="913650"/>
                </a:lnTo>
                <a:lnTo>
                  <a:pt x="523481" y="908542"/>
                </a:lnTo>
                <a:lnTo>
                  <a:pt x="564205" y="899578"/>
                </a:lnTo>
                <a:lnTo>
                  <a:pt x="605536" y="886915"/>
                </a:lnTo>
                <a:lnTo>
                  <a:pt x="646967" y="870710"/>
                </a:lnTo>
                <a:lnTo>
                  <a:pt x="687993" y="851118"/>
                </a:lnTo>
                <a:lnTo>
                  <a:pt x="728108" y="828297"/>
                </a:lnTo>
                <a:lnTo>
                  <a:pt x="766804" y="802402"/>
                </a:lnTo>
                <a:lnTo>
                  <a:pt x="803576" y="773590"/>
                </a:lnTo>
                <a:lnTo>
                  <a:pt x="837918" y="742017"/>
                </a:lnTo>
                <a:lnTo>
                  <a:pt x="869323" y="707839"/>
                </a:lnTo>
                <a:lnTo>
                  <a:pt x="897286" y="671213"/>
                </a:lnTo>
                <a:lnTo>
                  <a:pt x="921299" y="632295"/>
                </a:lnTo>
                <a:lnTo>
                  <a:pt x="940858" y="591242"/>
                </a:lnTo>
                <a:lnTo>
                  <a:pt x="955454" y="548209"/>
                </a:lnTo>
                <a:lnTo>
                  <a:pt x="964584" y="503354"/>
                </a:lnTo>
                <a:lnTo>
                  <a:pt x="967740" y="456831"/>
                </a:lnTo>
                <a:lnTo>
                  <a:pt x="965456" y="410108"/>
                </a:lnTo>
                <a:lnTo>
                  <a:pt x="958710" y="364707"/>
                </a:lnTo>
                <a:lnTo>
                  <a:pt x="947659" y="320865"/>
                </a:lnTo>
                <a:lnTo>
                  <a:pt x="932461" y="278816"/>
                </a:lnTo>
                <a:lnTo>
                  <a:pt x="913273" y="238798"/>
                </a:lnTo>
                <a:lnTo>
                  <a:pt x="890252" y="201045"/>
                </a:lnTo>
                <a:lnTo>
                  <a:pt x="863556" y="165794"/>
                </a:lnTo>
                <a:lnTo>
                  <a:pt x="833342" y="133280"/>
                </a:lnTo>
                <a:lnTo>
                  <a:pt x="799767" y="103738"/>
                </a:lnTo>
                <a:lnTo>
                  <a:pt x="762989" y="77406"/>
                </a:lnTo>
                <a:lnTo>
                  <a:pt x="723166" y="54518"/>
                </a:lnTo>
                <a:lnTo>
                  <a:pt x="680454" y="35311"/>
                </a:lnTo>
                <a:lnTo>
                  <a:pt x="635011" y="20019"/>
                </a:lnTo>
                <a:lnTo>
                  <a:pt x="586994" y="8880"/>
                </a:lnTo>
                <a:lnTo>
                  <a:pt x="536561" y="2128"/>
                </a:lnTo>
                <a:lnTo>
                  <a:pt x="483869" y="0"/>
                </a:lnTo>
                <a:close/>
              </a:path>
            </a:pathLst>
          </a:custGeom>
          <a:solidFill>
            <a:srgbClr val="006FAC"/>
          </a:solidFill>
        </p:spPr>
        <p:txBody>
          <a:bodyPr wrap="square" lIns="0" tIns="0" rIns="0" bIns="0" rtlCol="0"/>
          <a:lstStyle/>
          <a:p>
            <a:endParaRPr/>
          </a:p>
        </p:txBody>
      </p:sp>
      <p:sp>
        <p:nvSpPr>
          <p:cNvPr id="11" name="object 11"/>
          <p:cNvSpPr/>
          <p:nvPr/>
        </p:nvSpPr>
        <p:spPr>
          <a:xfrm>
            <a:off x="2464307" y="4375403"/>
            <a:ext cx="76200" cy="1221740"/>
          </a:xfrm>
          <a:custGeom>
            <a:avLst/>
            <a:gdLst/>
            <a:ahLst/>
            <a:cxnLst/>
            <a:rect l="l" t="t" r="r" b="b"/>
            <a:pathLst>
              <a:path w="76200" h="1221739">
                <a:moveTo>
                  <a:pt x="31750" y="74921"/>
                </a:moveTo>
                <a:lnTo>
                  <a:pt x="31750" y="1221257"/>
                </a:lnTo>
                <a:lnTo>
                  <a:pt x="44450" y="1221257"/>
                </a:lnTo>
                <a:lnTo>
                  <a:pt x="44450" y="76200"/>
                </a:lnTo>
                <a:lnTo>
                  <a:pt x="38100" y="76200"/>
                </a:lnTo>
                <a:lnTo>
                  <a:pt x="31750" y="74921"/>
                </a:lnTo>
                <a:close/>
              </a:path>
              <a:path w="76200" h="1221739">
                <a:moveTo>
                  <a:pt x="44450" y="38100"/>
                </a:moveTo>
                <a:lnTo>
                  <a:pt x="31750" y="38100"/>
                </a:lnTo>
                <a:lnTo>
                  <a:pt x="31750" y="74921"/>
                </a:lnTo>
                <a:lnTo>
                  <a:pt x="38100" y="76200"/>
                </a:lnTo>
                <a:lnTo>
                  <a:pt x="44450" y="74921"/>
                </a:lnTo>
                <a:lnTo>
                  <a:pt x="44450" y="38100"/>
                </a:lnTo>
                <a:close/>
              </a:path>
              <a:path w="76200" h="1221739">
                <a:moveTo>
                  <a:pt x="44450" y="74921"/>
                </a:moveTo>
                <a:lnTo>
                  <a:pt x="38100" y="76200"/>
                </a:lnTo>
                <a:lnTo>
                  <a:pt x="44450" y="76200"/>
                </a:lnTo>
                <a:lnTo>
                  <a:pt x="44450" y="74921"/>
                </a:lnTo>
                <a:close/>
              </a:path>
              <a:path w="76200" h="1221739">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1221739">
                <a:moveTo>
                  <a:pt x="76200" y="38100"/>
                </a:moveTo>
                <a:lnTo>
                  <a:pt x="44450" y="38100"/>
                </a:lnTo>
                <a:lnTo>
                  <a:pt x="44450" y="74921"/>
                </a:lnTo>
                <a:lnTo>
                  <a:pt x="52947" y="73211"/>
                </a:lnTo>
                <a:lnTo>
                  <a:pt x="65055" y="65055"/>
                </a:lnTo>
                <a:lnTo>
                  <a:pt x="73211" y="52947"/>
                </a:lnTo>
                <a:lnTo>
                  <a:pt x="76200" y="38100"/>
                </a:lnTo>
                <a:close/>
              </a:path>
            </a:pathLst>
          </a:custGeom>
          <a:solidFill>
            <a:srgbClr val="006FAC"/>
          </a:solidFill>
        </p:spPr>
        <p:txBody>
          <a:bodyPr wrap="square" lIns="0" tIns="0" rIns="0" bIns="0" rtlCol="0"/>
          <a:lstStyle/>
          <a:p>
            <a:endParaRPr/>
          </a:p>
        </p:txBody>
      </p:sp>
      <p:sp>
        <p:nvSpPr>
          <p:cNvPr id="12" name="object 12"/>
          <p:cNvSpPr/>
          <p:nvPr/>
        </p:nvSpPr>
        <p:spPr>
          <a:xfrm>
            <a:off x="2330195" y="5866116"/>
            <a:ext cx="462280" cy="367030"/>
          </a:xfrm>
          <a:custGeom>
            <a:avLst/>
            <a:gdLst/>
            <a:ahLst/>
            <a:cxnLst/>
            <a:rect l="l" t="t" r="r" b="b"/>
            <a:pathLst>
              <a:path w="462280" h="367029">
                <a:moveTo>
                  <a:pt x="176657" y="292932"/>
                </a:moveTo>
                <a:lnTo>
                  <a:pt x="132969" y="326352"/>
                </a:lnTo>
                <a:lnTo>
                  <a:pt x="125063" y="343942"/>
                </a:lnTo>
                <a:lnTo>
                  <a:pt x="127039" y="353066"/>
                </a:lnTo>
                <a:lnTo>
                  <a:pt x="132969" y="361531"/>
                </a:lnTo>
                <a:lnTo>
                  <a:pt x="139854" y="365489"/>
                </a:lnTo>
                <a:lnTo>
                  <a:pt x="148717" y="366808"/>
                </a:lnTo>
                <a:lnTo>
                  <a:pt x="157579" y="365489"/>
                </a:lnTo>
                <a:lnTo>
                  <a:pt x="164465" y="361531"/>
                </a:lnTo>
                <a:lnTo>
                  <a:pt x="192405" y="333388"/>
                </a:lnTo>
                <a:lnTo>
                  <a:pt x="198334" y="324923"/>
                </a:lnTo>
                <a:lnTo>
                  <a:pt x="200310" y="315799"/>
                </a:lnTo>
                <a:lnTo>
                  <a:pt x="198334" y="306674"/>
                </a:lnTo>
                <a:lnTo>
                  <a:pt x="192405" y="298209"/>
                </a:lnTo>
                <a:lnTo>
                  <a:pt x="185519" y="294252"/>
                </a:lnTo>
                <a:lnTo>
                  <a:pt x="176657" y="292932"/>
                </a:lnTo>
                <a:close/>
              </a:path>
              <a:path w="462280" h="367029">
                <a:moveTo>
                  <a:pt x="136413" y="255115"/>
                </a:moveTo>
                <a:lnTo>
                  <a:pt x="83947" y="298209"/>
                </a:lnTo>
                <a:lnTo>
                  <a:pt x="76041" y="315799"/>
                </a:lnTo>
                <a:lnTo>
                  <a:pt x="78017" y="324923"/>
                </a:lnTo>
                <a:lnTo>
                  <a:pt x="83947" y="333388"/>
                </a:lnTo>
                <a:lnTo>
                  <a:pt x="92388" y="337346"/>
                </a:lnTo>
                <a:lnTo>
                  <a:pt x="101473" y="338665"/>
                </a:lnTo>
                <a:lnTo>
                  <a:pt x="110557" y="337346"/>
                </a:lnTo>
                <a:lnTo>
                  <a:pt x="118999" y="333388"/>
                </a:lnTo>
                <a:lnTo>
                  <a:pt x="153924" y="298209"/>
                </a:lnTo>
                <a:lnTo>
                  <a:pt x="157853" y="289744"/>
                </a:lnTo>
                <a:lnTo>
                  <a:pt x="159060" y="281334"/>
                </a:lnTo>
                <a:lnTo>
                  <a:pt x="159052" y="279850"/>
                </a:lnTo>
                <a:lnTo>
                  <a:pt x="157853" y="271495"/>
                </a:lnTo>
                <a:lnTo>
                  <a:pt x="153924" y="263030"/>
                </a:lnTo>
                <a:lnTo>
                  <a:pt x="145484" y="257094"/>
                </a:lnTo>
                <a:lnTo>
                  <a:pt x="136413" y="255115"/>
                </a:lnTo>
                <a:close/>
              </a:path>
              <a:path w="462280" h="367029">
                <a:moveTo>
                  <a:pt x="92223" y="217517"/>
                </a:moveTo>
                <a:lnTo>
                  <a:pt x="83947" y="220815"/>
                </a:lnTo>
                <a:lnTo>
                  <a:pt x="34925" y="273584"/>
                </a:lnTo>
                <a:lnTo>
                  <a:pt x="30160" y="279850"/>
                </a:lnTo>
                <a:lnTo>
                  <a:pt x="30622" y="286776"/>
                </a:lnTo>
                <a:lnTo>
                  <a:pt x="35014" y="292383"/>
                </a:lnTo>
                <a:lnTo>
                  <a:pt x="42037" y="294691"/>
                </a:lnTo>
                <a:lnTo>
                  <a:pt x="58199" y="292877"/>
                </a:lnTo>
                <a:lnTo>
                  <a:pt x="101473" y="273584"/>
                </a:lnTo>
                <a:lnTo>
                  <a:pt x="116363" y="248959"/>
                </a:lnTo>
                <a:lnTo>
                  <a:pt x="114387" y="239834"/>
                </a:lnTo>
                <a:lnTo>
                  <a:pt x="108458" y="231369"/>
                </a:lnTo>
                <a:lnTo>
                  <a:pt x="106110" y="222794"/>
                </a:lnTo>
                <a:lnTo>
                  <a:pt x="100155" y="218177"/>
                </a:lnTo>
                <a:lnTo>
                  <a:pt x="92223" y="217517"/>
                </a:lnTo>
                <a:close/>
              </a:path>
              <a:path w="462280" h="367029">
                <a:moveTo>
                  <a:pt x="45466" y="191783"/>
                </a:moveTo>
                <a:lnTo>
                  <a:pt x="8302" y="230050"/>
                </a:lnTo>
                <a:lnTo>
                  <a:pt x="0" y="259512"/>
                </a:lnTo>
                <a:lnTo>
                  <a:pt x="2847" y="268582"/>
                </a:lnTo>
                <a:lnTo>
                  <a:pt x="9636" y="274024"/>
                </a:lnTo>
                <a:lnTo>
                  <a:pt x="17734" y="274848"/>
                </a:lnTo>
                <a:lnTo>
                  <a:pt x="24511" y="270066"/>
                </a:lnTo>
                <a:lnTo>
                  <a:pt x="62992" y="234887"/>
                </a:lnTo>
                <a:lnTo>
                  <a:pt x="68849" y="226422"/>
                </a:lnTo>
                <a:lnTo>
                  <a:pt x="70802" y="217297"/>
                </a:lnTo>
                <a:lnTo>
                  <a:pt x="68849" y="208173"/>
                </a:lnTo>
                <a:lnTo>
                  <a:pt x="62992" y="199708"/>
                </a:lnTo>
                <a:lnTo>
                  <a:pt x="54550" y="193764"/>
                </a:lnTo>
                <a:lnTo>
                  <a:pt x="45466" y="191783"/>
                </a:lnTo>
                <a:close/>
              </a:path>
              <a:path w="462280" h="367029">
                <a:moveTo>
                  <a:pt x="328801" y="90640"/>
                </a:moveTo>
                <a:lnTo>
                  <a:pt x="181864" y="90640"/>
                </a:lnTo>
                <a:lnTo>
                  <a:pt x="234442" y="108230"/>
                </a:lnTo>
                <a:lnTo>
                  <a:pt x="346329" y="217297"/>
                </a:lnTo>
                <a:lnTo>
                  <a:pt x="377825" y="203226"/>
                </a:lnTo>
                <a:lnTo>
                  <a:pt x="328801" y="90640"/>
                </a:lnTo>
                <a:close/>
              </a:path>
              <a:path w="462280" h="367029">
                <a:moveTo>
                  <a:pt x="353397" y="0"/>
                </a:moveTo>
                <a:lnTo>
                  <a:pt x="339344" y="6211"/>
                </a:lnTo>
                <a:lnTo>
                  <a:pt x="311404" y="20282"/>
                </a:lnTo>
                <a:lnTo>
                  <a:pt x="391795" y="213780"/>
                </a:lnTo>
                <a:lnTo>
                  <a:pt x="461772" y="196177"/>
                </a:lnTo>
                <a:lnTo>
                  <a:pt x="388366" y="20282"/>
                </a:lnTo>
                <a:lnTo>
                  <a:pt x="380170" y="8684"/>
                </a:lnTo>
                <a:lnTo>
                  <a:pt x="367760" y="1374"/>
                </a:lnTo>
                <a:lnTo>
                  <a:pt x="353397" y="0"/>
                </a:lnTo>
                <a:close/>
              </a:path>
              <a:path w="462280" h="367029">
                <a:moveTo>
                  <a:pt x="209931" y="13247"/>
                </a:moveTo>
                <a:lnTo>
                  <a:pt x="155670" y="29517"/>
                </a:lnTo>
                <a:lnTo>
                  <a:pt x="111887" y="48426"/>
                </a:lnTo>
                <a:lnTo>
                  <a:pt x="97833" y="65246"/>
                </a:lnTo>
                <a:lnTo>
                  <a:pt x="83089" y="82725"/>
                </a:lnTo>
                <a:lnTo>
                  <a:pt x="69631" y="98885"/>
                </a:lnTo>
                <a:lnTo>
                  <a:pt x="59436" y="111748"/>
                </a:lnTo>
                <a:lnTo>
                  <a:pt x="91378" y="120872"/>
                </a:lnTo>
                <a:lnTo>
                  <a:pt x="120665" y="113507"/>
                </a:lnTo>
                <a:lnTo>
                  <a:pt x="142071" y="100864"/>
                </a:lnTo>
                <a:lnTo>
                  <a:pt x="150368" y="94158"/>
                </a:lnTo>
                <a:lnTo>
                  <a:pt x="181864" y="90640"/>
                </a:lnTo>
                <a:lnTo>
                  <a:pt x="328801" y="90640"/>
                </a:lnTo>
                <a:lnTo>
                  <a:pt x="304292" y="34354"/>
                </a:lnTo>
                <a:lnTo>
                  <a:pt x="291994" y="30561"/>
                </a:lnTo>
                <a:lnTo>
                  <a:pt x="263636" y="22481"/>
                </a:lnTo>
                <a:lnTo>
                  <a:pt x="232015" y="15061"/>
                </a:lnTo>
                <a:lnTo>
                  <a:pt x="209931" y="13247"/>
                </a:lnTo>
                <a:close/>
              </a:path>
            </a:pathLst>
          </a:custGeom>
          <a:solidFill>
            <a:srgbClr val="FFFFFF"/>
          </a:solidFill>
        </p:spPr>
        <p:txBody>
          <a:bodyPr wrap="square" lIns="0" tIns="0" rIns="0" bIns="0" rtlCol="0"/>
          <a:lstStyle/>
          <a:p>
            <a:endParaRPr/>
          </a:p>
        </p:txBody>
      </p:sp>
      <p:sp>
        <p:nvSpPr>
          <p:cNvPr id="13" name="object 13"/>
          <p:cNvSpPr/>
          <p:nvPr/>
        </p:nvSpPr>
        <p:spPr>
          <a:xfrm>
            <a:off x="2216189" y="5847588"/>
            <a:ext cx="459740" cy="376555"/>
          </a:xfrm>
          <a:custGeom>
            <a:avLst/>
            <a:gdLst/>
            <a:ahLst/>
            <a:cxnLst/>
            <a:rect l="l" t="t" r="r" b="b"/>
            <a:pathLst>
              <a:path w="459739" h="376554">
                <a:moveTo>
                  <a:pt x="324064" y="334213"/>
                </a:moveTo>
                <a:lnTo>
                  <a:pt x="324064" y="341249"/>
                </a:lnTo>
                <a:lnTo>
                  <a:pt x="320635" y="351802"/>
                </a:lnTo>
                <a:lnTo>
                  <a:pt x="317079" y="355320"/>
                </a:lnTo>
                <a:lnTo>
                  <a:pt x="296124" y="376428"/>
                </a:lnTo>
                <a:lnTo>
                  <a:pt x="304748" y="376043"/>
                </a:lnTo>
                <a:lnTo>
                  <a:pt x="317968" y="373349"/>
                </a:lnTo>
                <a:lnTo>
                  <a:pt x="332521" y="366039"/>
                </a:lnTo>
                <a:lnTo>
                  <a:pt x="345146" y="351802"/>
                </a:lnTo>
                <a:lnTo>
                  <a:pt x="324064" y="334213"/>
                </a:lnTo>
                <a:close/>
              </a:path>
              <a:path w="459739" h="376554">
                <a:moveTo>
                  <a:pt x="323250" y="263855"/>
                </a:moveTo>
                <a:lnTo>
                  <a:pt x="250658" y="263855"/>
                </a:lnTo>
                <a:lnTo>
                  <a:pt x="256432" y="264514"/>
                </a:lnTo>
                <a:lnTo>
                  <a:pt x="262850" y="266493"/>
                </a:lnTo>
                <a:lnTo>
                  <a:pt x="283489" y="294691"/>
                </a:lnTo>
                <a:lnTo>
                  <a:pt x="282154" y="302552"/>
                </a:lnTo>
                <a:lnTo>
                  <a:pt x="306538" y="302552"/>
                </a:lnTo>
                <a:lnTo>
                  <a:pt x="310094" y="306070"/>
                </a:lnTo>
                <a:lnTo>
                  <a:pt x="310094" y="309587"/>
                </a:lnTo>
                <a:lnTo>
                  <a:pt x="313650" y="309587"/>
                </a:lnTo>
                <a:lnTo>
                  <a:pt x="317079" y="313105"/>
                </a:lnTo>
                <a:lnTo>
                  <a:pt x="352131" y="348284"/>
                </a:lnTo>
                <a:lnTo>
                  <a:pt x="360890" y="346415"/>
                </a:lnTo>
                <a:lnTo>
                  <a:pt x="370006" y="341249"/>
                </a:lnTo>
                <a:lnTo>
                  <a:pt x="377170" y="333443"/>
                </a:lnTo>
                <a:lnTo>
                  <a:pt x="380071" y="323659"/>
                </a:lnTo>
                <a:lnTo>
                  <a:pt x="323250" y="263855"/>
                </a:lnTo>
                <a:close/>
              </a:path>
              <a:path w="459739" h="376554">
                <a:moveTo>
                  <a:pt x="373110" y="239229"/>
                </a:moveTo>
                <a:lnTo>
                  <a:pt x="313650" y="239229"/>
                </a:lnTo>
                <a:lnTo>
                  <a:pt x="387056" y="316623"/>
                </a:lnTo>
                <a:lnTo>
                  <a:pt x="398371" y="314150"/>
                </a:lnTo>
                <a:lnTo>
                  <a:pt x="409376" y="307389"/>
                </a:lnTo>
                <a:lnTo>
                  <a:pt x="417095" y="297330"/>
                </a:lnTo>
                <a:lnTo>
                  <a:pt x="418552" y="284962"/>
                </a:lnTo>
                <a:lnTo>
                  <a:pt x="373110" y="239229"/>
                </a:lnTo>
                <a:close/>
              </a:path>
              <a:path w="459739" h="376554">
                <a:moveTo>
                  <a:pt x="410126" y="200520"/>
                </a:moveTo>
                <a:lnTo>
                  <a:pt x="348575" y="200520"/>
                </a:lnTo>
                <a:lnTo>
                  <a:pt x="352131" y="204050"/>
                </a:lnTo>
                <a:lnTo>
                  <a:pt x="429093" y="281444"/>
                </a:lnTo>
                <a:lnTo>
                  <a:pt x="442335" y="278916"/>
                </a:lnTo>
                <a:lnTo>
                  <a:pt x="453588" y="271770"/>
                </a:lnTo>
                <a:lnTo>
                  <a:pt x="459579" y="260667"/>
                </a:lnTo>
                <a:lnTo>
                  <a:pt x="457033" y="246265"/>
                </a:lnTo>
                <a:lnTo>
                  <a:pt x="410126" y="200520"/>
                </a:lnTo>
                <a:close/>
              </a:path>
              <a:path w="459739" h="376554">
                <a:moveTo>
                  <a:pt x="366119" y="232194"/>
                </a:moveTo>
                <a:lnTo>
                  <a:pt x="205065" y="232194"/>
                </a:lnTo>
                <a:lnTo>
                  <a:pt x="212359" y="232853"/>
                </a:lnTo>
                <a:lnTo>
                  <a:pt x="218654" y="234832"/>
                </a:lnTo>
                <a:lnTo>
                  <a:pt x="240117" y="267373"/>
                </a:lnTo>
                <a:lnTo>
                  <a:pt x="243546" y="267373"/>
                </a:lnTo>
                <a:lnTo>
                  <a:pt x="247102" y="263855"/>
                </a:lnTo>
                <a:lnTo>
                  <a:pt x="323250" y="263855"/>
                </a:lnTo>
                <a:lnTo>
                  <a:pt x="306538" y="246265"/>
                </a:lnTo>
                <a:lnTo>
                  <a:pt x="303109" y="246265"/>
                </a:lnTo>
                <a:lnTo>
                  <a:pt x="303109" y="242747"/>
                </a:lnTo>
                <a:lnTo>
                  <a:pt x="306538" y="239229"/>
                </a:lnTo>
                <a:lnTo>
                  <a:pt x="373110" y="239229"/>
                </a:lnTo>
                <a:lnTo>
                  <a:pt x="366119" y="232194"/>
                </a:lnTo>
                <a:close/>
              </a:path>
              <a:path w="459739" h="376554">
                <a:moveTo>
                  <a:pt x="215606" y="28143"/>
                </a:moveTo>
                <a:lnTo>
                  <a:pt x="176664" y="40455"/>
                </a:lnTo>
                <a:lnTo>
                  <a:pt x="75652" y="225158"/>
                </a:lnTo>
                <a:lnTo>
                  <a:pt x="103592" y="242747"/>
                </a:lnTo>
                <a:lnTo>
                  <a:pt x="107148" y="242747"/>
                </a:lnTo>
                <a:lnTo>
                  <a:pt x="107148" y="239229"/>
                </a:lnTo>
                <a:lnTo>
                  <a:pt x="110577" y="239229"/>
                </a:lnTo>
                <a:lnTo>
                  <a:pt x="135088" y="211086"/>
                </a:lnTo>
                <a:lnTo>
                  <a:pt x="142085" y="207562"/>
                </a:lnTo>
                <a:lnTo>
                  <a:pt x="156170" y="200520"/>
                </a:lnTo>
                <a:lnTo>
                  <a:pt x="410126" y="200520"/>
                </a:lnTo>
                <a:lnTo>
                  <a:pt x="356019" y="147751"/>
                </a:lnTo>
                <a:lnTo>
                  <a:pt x="201636" y="147751"/>
                </a:lnTo>
                <a:lnTo>
                  <a:pt x="193732" y="147092"/>
                </a:lnTo>
                <a:lnTo>
                  <a:pt x="185840" y="145113"/>
                </a:lnTo>
                <a:lnTo>
                  <a:pt x="177972" y="141815"/>
                </a:lnTo>
                <a:lnTo>
                  <a:pt x="170140" y="137198"/>
                </a:lnTo>
                <a:lnTo>
                  <a:pt x="163155" y="133680"/>
                </a:lnTo>
                <a:lnTo>
                  <a:pt x="197207" y="86628"/>
                </a:lnTo>
                <a:lnTo>
                  <a:pt x="222591" y="59804"/>
                </a:lnTo>
                <a:lnTo>
                  <a:pt x="222591" y="56286"/>
                </a:lnTo>
                <a:lnTo>
                  <a:pt x="229695" y="54527"/>
                </a:lnTo>
                <a:lnTo>
                  <a:pt x="240085" y="50130"/>
                </a:lnTo>
                <a:lnTo>
                  <a:pt x="253095" y="44413"/>
                </a:lnTo>
                <a:lnTo>
                  <a:pt x="268057" y="38696"/>
                </a:lnTo>
                <a:lnTo>
                  <a:pt x="252503" y="34079"/>
                </a:lnTo>
                <a:lnTo>
                  <a:pt x="237926" y="30781"/>
                </a:lnTo>
                <a:lnTo>
                  <a:pt x="225301" y="28802"/>
                </a:lnTo>
                <a:lnTo>
                  <a:pt x="215606" y="28143"/>
                </a:lnTo>
                <a:close/>
              </a:path>
              <a:path w="459739" h="376554">
                <a:moveTo>
                  <a:pt x="345146" y="200520"/>
                </a:moveTo>
                <a:lnTo>
                  <a:pt x="156170" y="200520"/>
                </a:lnTo>
                <a:lnTo>
                  <a:pt x="163947" y="201181"/>
                </a:lnTo>
                <a:lnTo>
                  <a:pt x="171426" y="203165"/>
                </a:lnTo>
                <a:lnTo>
                  <a:pt x="194651" y="235712"/>
                </a:lnTo>
                <a:lnTo>
                  <a:pt x="198080" y="232194"/>
                </a:lnTo>
                <a:lnTo>
                  <a:pt x="366119" y="232194"/>
                </a:lnTo>
                <a:lnTo>
                  <a:pt x="345146" y="211086"/>
                </a:lnTo>
                <a:lnTo>
                  <a:pt x="341590" y="207568"/>
                </a:lnTo>
                <a:lnTo>
                  <a:pt x="341590" y="204050"/>
                </a:lnTo>
                <a:lnTo>
                  <a:pt x="345146" y="204050"/>
                </a:lnTo>
                <a:lnTo>
                  <a:pt x="345146" y="200520"/>
                </a:lnTo>
                <a:close/>
              </a:path>
              <a:path w="459739" h="376554">
                <a:moveTo>
                  <a:pt x="79081" y="0"/>
                </a:moveTo>
                <a:lnTo>
                  <a:pt x="2119" y="182930"/>
                </a:lnTo>
                <a:lnTo>
                  <a:pt x="0" y="195905"/>
                </a:lnTo>
                <a:lnTo>
                  <a:pt x="3458" y="207568"/>
                </a:lnTo>
                <a:lnTo>
                  <a:pt x="11477" y="216581"/>
                </a:lnTo>
                <a:lnTo>
                  <a:pt x="23074" y="221640"/>
                </a:lnTo>
                <a:lnTo>
                  <a:pt x="61682" y="232194"/>
                </a:lnTo>
                <a:lnTo>
                  <a:pt x="138644" y="38696"/>
                </a:lnTo>
                <a:lnTo>
                  <a:pt x="79081" y="0"/>
                </a:lnTo>
                <a:close/>
              </a:path>
              <a:path w="459739" h="376554">
                <a:moveTo>
                  <a:pt x="296124" y="119608"/>
                </a:moveTo>
                <a:lnTo>
                  <a:pt x="268057" y="119608"/>
                </a:lnTo>
                <a:lnTo>
                  <a:pt x="259161" y="126974"/>
                </a:lnTo>
                <a:lnTo>
                  <a:pt x="244038" y="136318"/>
                </a:lnTo>
                <a:lnTo>
                  <a:pt x="224319" y="144343"/>
                </a:lnTo>
                <a:lnTo>
                  <a:pt x="201636" y="147751"/>
                </a:lnTo>
                <a:lnTo>
                  <a:pt x="356019" y="147751"/>
                </a:lnTo>
                <a:lnTo>
                  <a:pt x="341590" y="133680"/>
                </a:lnTo>
                <a:lnTo>
                  <a:pt x="296124" y="119608"/>
                </a:lnTo>
                <a:close/>
              </a:path>
            </a:pathLst>
          </a:custGeom>
          <a:solidFill>
            <a:srgbClr val="FFFFFF"/>
          </a:solidFill>
        </p:spPr>
        <p:txBody>
          <a:bodyPr wrap="square" lIns="0" tIns="0" rIns="0" bIns="0" rtlCol="0"/>
          <a:lstStyle/>
          <a:p>
            <a:endParaRPr/>
          </a:p>
        </p:txBody>
      </p:sp>
      <p:sp>
        <p:nvSpPr>
          <p:cNvPr id="14" name="object 14"/>
          <p:cNvSpPr txBox="1"/>
          <p:nvPr/>
        </p:nvSpPr>
        <p:spPr>
          <a:xfrm>
            <a:off x="2842514" y="1344929"/>
            <a:ext cx="2045335" cy="3104515"/>
          </a:xfrm>
          <a:prstGeom prst="rect">
            <a:avLst/>
          </a:prstGeom>
        </p:spPr>
        <p:txBody>
          <a:bodyPr vert="horz" wrap="square" lIns="0" tIns="12700" rIns="0" bIns="0" rtlCol="0">
            <a:spAutoFit/>
          </a:bodyPr>
          <a:lstStyle/>
          <a:p>
            <a:pPr marL="248285" marR="146050" indent="-172720">
              <a:lnSpc>
                <a:spcPts val="1500"/>
              </a:lnSpc>
              <a:spcBef>
                <a:spcPts val="100"/>
              </a:spcBef>
              <a:buFont typeface="Wingdings"/>
              <a:buChar char=""/>
              <a:tabLst>
                <a:tab pos="248920" algn="l"/>
              </a:tabLst>
            </a:pPr>
            <a:r>
              <a:rPr sz="1200" b="1" spc="-5">
                <a:solidFill>
                  <a:srgbClr val="00C37A"/>
                </a:solidFill>
                <a:latin typeface="Verdana"/>
                <a:cs typeface="Verdana"/>
              </a:rPr>
              <a:t>1,000+ certified  MuleSoft</a:t>
            </a:r>
            <a:r>
              <a:rPr sz="1200" b="1" spc="-50">
                <a:solidFill>
                  <a:srgbClr val="00C37A"/>
                </a:solidFill>
                <a:latin typeface="Verdana"/>
                <a:cs typeface="Verdana"/>
              </a:rPr>
              <a:t> </a:t>
            </a:r>
            <a:r>
              <a:rPr sz="1200" b="1" spc="-5">
                <a:solidFill>
                  <a:srgbClr val="00C37A"/>
                </a:solidFill>
                <a:latin typeface="Verdana"/>
                <a:cs typeface="Verdana"/>
              </a:rPr>
              <a:t>resources </a:t>
            </a:r>
            <a:r>
              <a:rPr sz="1200" b="1" spc="-5">
                <a:solidFill>
                  <a:srgbClr val="2B133C"/>
                </a:solidFill>
                <a:latin typeface="Verdana"/>
                <a:cs typeface="Verdana"/>
              </a:rPr>
              <a:t> </a:t>
            </a:r>
            <a:r>
              <a:rPr sz="1000" spc="-5">
                <a:solidFill>
                  <a:srgbClr val="2B133C"/>
                </a:solidFill>
                <a:latin typeface="Verdana"/>
                <a:cs typeface="Verdana"/>
              </a:rPr>
              <a:t>across Architecture and  Development</a:t>
            </a:r>
            <a:r>
              <a:rPr sz="1000" spc="25">
                <a:solidFill>
                  <a:srgbClr val="2B133C"/>
                </a:solidFill>
                <a:latin typeface="Verdana"/>
                <a:cs typeface="Verdana"/>
              </a:rPr>
              <a:t> </a:t>
            </a:r>
            <a:r>
              <a:rPr sz="1000" spc="-5">
                <a:solidFill>
                  <a:srgbClr val="2B133C"/>
                </a:solidFill>
                <a:latin typeface="Verdana"/>
                <a:cs typeface="Verdana"/>
              </a:rPr>
              <a:t>worldwide</a:t>
            </a:r>
            <a:endParaRPr sz="1000">
              <a:latin typeface="Verdana"/>
              <a:cs typeface="Verdana"/>
            </a:endParaRPr>
          </a:p>
          <a:p>
            <a:pPr marL="248285" marR="81280" indent="-172720">
              <a:lnSpc>
                <a:spcPct val="125099"/>
              </a:lnSpc>
              <a:spcBef>
                <a:spcPts val="495"/>
              </a:spcBef>
              <a:buClr>
                <a:srgbClr val="00C37A"/>
              </a:buClr>
              <a:buSzPct val="120000"/>
              <a:buFont typeface="Wingdings"/>
              <a:buChar char=""/>
              <a:tabLst>
                <a:tab pos="248920" algn="l"/>
              </a:tabLst>
            </a:pPr>
            <a:r>
              <a:rPr sz="1000" spc="-5">
                <a:solidFill>
                  <a:srgbClr val="2B133C"/>
                </a:solidFill>
                <a:latin typeface="Verdana"/>
                <a:cs typeface="Verdana"/>
              </a:rPr>
              <a:t>Global delivery </a:t>
            </a:r>
            <a:r>
              <a:rPr sz="1000">
                <a:solidFill>
                  <a:srgbClr val="2B133C"/>
                </a:solidFill>
                <a:latin typeface="Verdana"/>
                <a:cs typeface="Verdana"/>
              </a:rPr>
              <a:t>capabilities  with </a:t>
            </a:r>
            <a:r>
              <a:rPr sz="1000" spc="-5">
                <a:solidFill>
                  <a:srgbClr val="2B133C"/>
                </a:solidFill>
                <a:latin typeface="Verdana"/>
                <a:cs typeface="Verdana"/>
              </a:rPr>
              <a:t>local </a:t>
            </a:r>
            <a:r>
              <a:rPr sz="1000">
                <a:solidFill>
                  <a:srgbClr val="2B133C"/>
                </a:solidFill>
                <a:latin typeface="Verdana"/>
                <a:cs typeface="Verdana"/>
              </a:rPr>
              <a:t>insight  </a:t>
            </a:r>
            <a:r>
              <a:rPr sz="1000" spc="-5">
                <a:solidFill>
                  <a:srgbClr val="2B133C"/>
                </a:solidFill>
                <a:latin typeface="Verdana"/>
                <a:cs typeface="Verdana"/>
              </a:rPr>
              <a:t>combined</a:t>
            </a:r>
            <a:r>
              <a:rPr sz="1000" spc="15">
                <a:solidFill>
                  <a:srgbClr val="2B133C"/>
                </a:solidFill>
                <a:latin typeface="Verdana"/>
                <a:cs typeface="Verdana"/>
              </a:rPr>
              <a:t> </a:t>
            </a:r>
            <a:r>
              <a:rPr sz="1000">
                <a:solidFill>
                  <a:srgbClr val="2B133C"/>
                </a:solidFill>
                <a:latin typeface="Verdana"/>
                <a:cs typeface="Verdana"/>
              </a:rPr>
              <a:t>with</a:t>
            </a:r>
            <a:endParaRPr sz="1000">
              <a:latin typeface="Verdana"/>
              <a:cs typeface="Verdana"/>
            </a:endParaRPr>
          </a:p>
          <a:p>
            <a:pPr marL="248285" marR="223520">
              <a:lnSpc>
                <a:spcPct val="104200"/>
              </a:lnSpc>
              <a:spcBef>
                <a:spcPts val="40"/>
              </a:spcBef>
            </a:pPr>
            <a:r>
              <a:rPr sz="1200" b="1" spc="-5">
                <a:solidFill>
                  <a:srgbClr val="00C37A"/>
                </a:solidFill>
                <a:latin typeface="Verdana"/>
                <a:cs typeface="Verdana"/>
              </a:rPr>
              <a:t>Rightshore</a:t>
            </a:r>
            <a:r>
              <a:rPr sz="1200" b="1" spc="-7" baseline="24305">
                <a:solidFill>
                  <a:srgbClr val="00C37A"/>
                </a:solidFill>
                <a:latin typeface="Verdana"/>
                <a:cs typeface="Verdana"/>
              </a:rPr>
              <a:t>®  </a:t>
            </a:r>
            <a:r>
              <a:rPr sz="1200" b="1" spc="-5">
                <a:solidFill>
                  <a:srgbClr val="00C37A"/>
                </a:solidFill>
                <a:latin typeface="Verdana"/>
                <a:cs typeface="Verdana"/>
              </a:rPr>
              <a:t>Delivery Centre </a:t>
            </a:r>
            <a:r>
              <a:rPr sz="1200" b="1">
                <a:solidFill>
                  <a:srgbClr val="00C37A"/>
                </a:solidFill>
                <a:latin typeface="Verdana"/>
                <a:cs typeface="Verdana"/>
              </a:rPr>
              <a:t>&amp;  API </a:t>
            </a:r>
            <a:r>
              <a:rPr sz="1200" b="1" spc="-5">
                <a:solidFill>
                  <a:srgbClr val="00C37A"/>
                </a:solidFill>
                <a:latin typeface="Verdana"/>
                <a:cs typeface="Verdana"/>
              </a:rPr>
              <a:t>Factory</a:t>
            </a:r>
            <a:r>
              <a:rPr sz="1200" b="1" spc="-90">
                <a:solidFill>
                  <a:srgbClr val="00C37A"/>
                </a:solidFill>
                <a:latin typeface="Verdana"/>
                <a:cs typeface="Verdana"/>
              </a:rPr>
              <a:t> </a:t>
            </a:r>
            <a:r>
              <a:rPr sz="1200" b="1" spc="-5">
                <a:solidFill>
                  <a:srgbClr val="00C37A"/>
                </a:solidFill>
                <a:latin typeface="Verdana"/>
                <a:cs typeface="Verdana"/>
              </a:rPr>
              <a:t>Model</a:t>
            </a:r>
            <a:endParaRPr sz="1200">
              <a:latin typeface="Verdana"/>
              <a:cs typeface="Verdana"/>
            </a:endParaRPr>
          </a:p>
          <a:p>
            <a:pPr marL="248285" marR="156210" indent="-172720">
              <a:lnSpc>
                <a:spcPct val="125099"/>
              </a:lnSpc>
              <a:spcBef>
                <a:spcPts val="560"/>
              </a:spcBef>
              <a:buClr>
                <a:srgbClr val="00C37A"/>
              </a:buClr>
              <a:buSzPct val="120000"/>
              <a:buFont typeface="Wingdings"/>
              <a:buChar char=""/>
              <a:tabLst>
                <a:tab pos="248920" algn="l"/>
              </a:tabLst>
            </a:pPr>
            <a:r>
              <a:rPr sz="1000" spc="-5">
                <a:solidFill>
                  <a:srgbClr val="2B133C"/>
                </a:solidFill>
                <a:latin typeface="Verdana"/>
                <a:cs typeface="Verdana"/>
              </a:rPr>
              <a:t>Best Practices Standards,  Templates, Patterns &amp;  </a:t>
            </a:r>
            <a:r>
              <a:rPr sz="1000">
                <a:solidFill>
                  <a:srgbClr val="2B133C"/>
                </a:solidFill>
                <a:latin typeface="Verdana"/>
                <a:cs typeface="Verdana"/>
              </a:rPr>
              <a:t>Solution</a:t>
            </a:r>
            <a:r>
              <a:rPr sz="1000" spc="-5">
                <a:solidFill>
                  <a:srgbClr val="2B133C"/>
                </a:solidFill>
                <a:latin typeface="Verdana"/>
                <a:cs typeface="Verdana"/>
              </a:rPr>
              <a:t> Accelerators</a:t>
            </a:r>
            <a:endParaRPr sz="1000">
              <a:latin typeface="Verdana"/>
              <a:cs typeface="Verdana"/>
            </a:endParaRPr>
          </a:p>
          <a:p>
            <a:pPr marL="248285" marR="400685" indent="-172720">
              <a:lnSpc>
                <a:spcPct val="104200"/>
              </a:lnSpc>
              <a:spcBef>
                <a:spcPts val="640"/>
              </a:spcBef>
              <a:buClr>
                <a:srgbClr val="00C37A"/>
              </a:buClr>
              <a:buSzPct val="110000"/>
              <a:buFont typeface="Wingdings"/>
              <a:buChar char=""/>
              <a:tabLst>
                <a:tab pos="248920" algn="l"/>
              </a:tabLst>
            </a:pPr>
            <a:r>
              <a:rPr sz="1000" spc="-5">
                <a:solidFill>
                  <a:srgbClr val="2B133C"/>
                </a:solidFill>
                <a:latin typeface="Verdana"/>
                <a:cs typeface="Verdana"/>
              </a:rPr>
              <a:t>Expertise </a:t>
            </a:r>
            <a:r>
              <a:rPr sz="1000">
                <a:solidFill>
                  <a:srgbClr val="2B133C"/>
                </a:solidFill>
                <a:latin typeface="Verdana"/>
                <a:cs typeface="Verdana"/>
              </a:rPr>
              <a:t>in </a:t>
            </a:r>
            <a:r>
              <a:rPr sz="1200" b="1" spc="-5">
                <a:solidFill>
                  <a:srgbClr val="00C37A"/>
                </a:solidFill>
                <a:latin typeface="Verdana"/>
                <a:cs typeface="Verdana"/>
              </a:rPr>
              <a:t>C4E  Engagements</a:t>
            </a:r>
            <a:r>
              <a:rPr sz="1200" b="1" spc="-50">
                <a:solidFill>
                  <a:srgbClr val="00C37A"/>
                </a:solidFill>
                <a:latin typeface="Verdana"/>
                <a:cs typeface="Verdana"/>
              </a:rPr>
              <a:t> </a:t>
            </a:r>
            <a:r>
              <a:rPr sz="1000" spc="-10">
                <a:solidFill>
                  <a:srgbClr val="2B133C"/>
                </a:solidFill>
                <a:latin typeface="Verdana"/>
                <a:cs typeface="Verdana"/>
              </a:rPr>
              <a:t>for</a:t>
            </a:r>
            <a:endParaRPr sz="1000">
              <a:latin typeface="Verdana"/>
              <a:cs typeface="Verdana"/>
            </a:endParaRPr>
          </a:p>
        </p:txBody>
      </p:sp>
      <p:sp>
        <p:nvSpPr>
          <p:cNvPr id="15" name="object 15"/>
          <p:cNvSpPr txBox="1"/>
          <p:nvPr/>
        </p:nvSpPr>
        <p:spPr>
          <a:xfrm>
            <a:off x="3078226" y="4418736"/>
            <a:ext cx="1281430" cy="406400"/>
          </a:xfrm>
          <a:prstGeom prst="rect">
            <a:avLst/>
          </a:prstGeom>
        </p:spPr>
        <p:txBody>
          <a:bodyPr vert="horz" wrap="square" lIns="0" tIns="12700" rIns="0" bIns="0" rtlCol="0">
            <a:spAutoFit/>
          </a:bodyPr>
          <a:lstStyle/>
          <a:p>
            <a:pPr marL="12700" marR="5080">
              <a:lnSpc>
                <a:spcPct val="125000"/>
              </a:lnSpc>
              <a:spcBef>
                <a:spcPts val="100"/>
              </a:spcBef>
            </a:pPr>
            <a:r>
              <a:rPr sz="1000" spc="-5">
                <a:solidFill>
                  <a:srgbClr val="2B133C"/>
                </a:solidFill>
                <a:latin typeface="Verdana"/>
                <a:cs typeface="Verdana"/>
              </a:rPr>
              <a:t>strategic</a:t>
            </a:r>
            <a:r>
              <a:rPr sz="1000" spc="-40">
                <a:solidFill>
                  <a:srgbClr val="2B133C"/>
                </a:solidFill>
                <a:latin typeface="Verdana"/>
                <a:cs typeface="Verdana"/>
              </a:rPr>
              <a:t> </a:t>
            </a:r>
            <a:r>
              <a:rPr sz="1000" spc="-5">
                <a:solidFill>
                  <a:srgbClr val="2B133C"/>
                </a:solidFill>
                <a:latin typeface="Verdana"/>
                <a:cs typeface="Verdana"/>
              </a:rPr>
              <a:t>customers  worldwide</a:t>
            </a:r>
            <a:endParaRPr sz="1000">
              <a:latin typeface="Verdana"/>
              <a:cs typeface="Verdana"/>
            </a:endParaRPr>
          </a:p>
        </p:txBody>
      </p:sp>
      <p:sp>
        <p:nvSpPr>
          <p:cNvPr id="16" name="object 16"/>
          <p:cNvSpPr txBox="1"/>
          <p:nvPr/>
        </p:nvSpPr>
        <p:spPr>
          <a:xfrm>
            <a:off x="4928629" y="1823856"/>
            <a:ext cx="396240" cy="2846705"/>
          </a:xfrm>
          <a:prstGeom prst="rect">
            <a:avLst/>
          </a:prstGeom>
        </p:spPr>
        <p:txBody>
          <a:bodyPr vert="vert270" wrap="square" lIns="0" tIns="13970" rIns="0" bIns="0" rtlCol="0">
            <a:spAutoFit/>
          </a:bodyPr>
          <a:lstStyle/>
          <a:p>
            <a:pPr marL="12700">
              <a:lnSpc>
                <a:spcPct val="100000"/>
              </a:lnSpc>
              <a:spcBef>
                <a:spcPts val="110"/>
              </a:spcBef>
            </a:pPr>
            <a:r>
              <a:rPr sz="2400" spc="-10">
                <a:solidFill>
                  <a:srgbClr val="00C37A"/>
                </a:solidFill>
                <a:latin typeface="Verdana"/>
                <a:cs typeface="Verdana"/>
              </a:rPr>
              <a:t>Global</a:t>
            </a:r>
            <a:r>
              <a:rPr sz="2400" spc="5">
                <a:solidFill>
                  <a:srgbClr val="00C37A"/>
                </a:solidFill>
                <a:latin typeface="Verdana"/>
                <a:cs typeface="Verdana"/>
              </a:rPr>
              <a:t> </a:t>
            </a:r>
            <a:r>
              <a:rPr sz="2400" spc="-10">
                <a:solidFill>
                  <a:srgbClr val="00C37A"/>
                </a:solidFill>
                <a:latin typeface="Verdana"/>
                <a:cs typeface="Verdana"/>
              </a:rPr>
              <a:t>Capabilities</a:t>
            </a:r>
            <a:endParaRPr sz="2400">
              <a:latin typeface="Verdana"/>
              <a:cs typeface="Verdana"/>
            </a:endParaRPr>
          </a:p>
        </p:txBody>
      </p:sp>
      <p:sp>
        <p:nvSpPr>
          <p:cNvPr id="17" name="object 17"/>
          <p:cNvSpPr/>
          <p:nvPr/>
        </p:nvSpPr>
        <p:spPr>
          <a:xfrm>
            <a:off x="5106923" y="4753355"/>
            <a:ext cx="76200" cy="806450"/>
          </a:xfrm>
          <a:custGeom>
            <a:avLst/>
            <a:gdLst/>
            <a:ahLst/>
            <a:cxnLst/>
            <a:rect l="l" t="t" r="r" b="b"/>
            <a:pathLst>
              <a:path w="76200" h="806450">
                <a:moveTo>
                  <a:pt x="31750" y="74921"/>
                </a:moveTo>
                <a:lnTo>
                  <a:pt x="31750" y="806323"/>
                </a:lnTo>
                <a:lnTo>
                  <a:pt x="44450" y="806323"/>
                </a:lnTo>
                <a:lnTo>
                  <a:pt x="44450" y="76200"/>
                </a:lnTo>
                <a:lnTo>
                  <a:pt x="38100" y="76200"/>
                </a:lnTo>
                <a:lnTo>
                  <a:pt x="31750" y="74921"/>
                </a:lnTo>
                <a:close/>
              </a:path>
              <a:path w="76200" h="806450">
                <a:moveTo>
                  <a:pt x="44450" y="38100"/>
                </a:moveTo>
                <a:lnTo>
                  <a:pt x="31750" y="38100"/>
                </a:lnTo>
                <a:lnTo>
                  <a:pt x="31750" y="74921"/>
                </a:lnTo>
                <a:lnTo>
                  <a:pt x="38100" y="76200"/>
                </a:lnTo>
                <a:lnTo>
                  <a:pt x="44450" y="74921"/>
                </a:lnTo>
                <a:lnTo>
                  <a:pt x="44450" y="38100"/>
                </a:lnTo>
                <a:close/>
              </a:path>
              <a:path w="76200" h="806450">
                <a:moveTo>
                  <a:pt x="44450" y="74921"/>
                </a:moveTo>
                <a:lnTo>
                  <a:pt x="38100" y="76200"/>
                </a:lnTo>
                <a:lnTo>
                  <a:pt x="44450" y="76200"/>
                </a:lnTo>
                <a:lnTo>
                  <a:pt x="44450" y="74921"/>
                </a:lnTo>
                <a:close/>
              </a:path>
              <a:path w="76200" h="80645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806450">
                <a:moveTo>
                  <a:pt x="76200" y="38100"/>
                </a:moveTo>
                <a:lnTo>
                  <a:pt x="44450" y="38100"/>
                </a:lnTo>
                <a:lnTo>
                  <a:pt x="44450" y="74921"/>
                </a:lnTo>
                <a:lnTo>
                  <a:pt x="52947" y="73211"/>
                </a:lnTo>
                <a:lnTo>
                  <a:pt x="65055" y="65055"/>
                </a:lnTo>
                <a:lnTo>
                  <a:pt x="73211" y="52947"/>
                </a:lnTo>
                <a:lnTo>
                  <a:pt x="76200" y="38100"/>
                </a:lnTo>
                <a:close/>
              </a:path>
            </a:pathLst>
          </a:custGeom>
          <a:solidFill>
            <a:srgbClr val="00C37A"/>
          </a:solidFill>
        </p:spPr>
        <p:txBody>
          <a:bodyPr wrap="square" lIns="0" tIns="0" rIns="0" bIns="0" rtlCol="0"/>
          <a:lstStyle/>
          <a:p>
            <a:endParaRPr/>
          </a:p>
        </p:txBody>
      </p:sp>
      <p:sp>
        <p:nvSpPr>
          <p:cNvPr id="18" name="object 18"/>
          <p:cNvSpPr/>
          <p:nvPr/>
        </p:nvSpPr>
        <p:spPr>
          <a:xfrm>
            <a:off x="4661915" y="5608320"/>
            <a:ext cx="966469" cy="914400"/>
          </a:xfrm>
          <a:custGeom>
            <a:avLst/>
            <a:gdLst/>
            <a:ahLst/>
            <a:cxnLst/>
            <a:rect l="l" t="t" r="r" b="b"/>
            <a:pathLst>
              <a:path w="966470" h="914400">
                <a:moveTo>
                  <a:pt x="483108" y="0"/>
                </a:moveTo>
                <a:lnTo>
                  <a:pt x="435322" y="3277"/>
                </a:lnTo>
                <a:lnTo>
                  <a:pt x="388548" y="10882"/>
                </a:lnTo>
                <a:lnTo>
                  <a:pt x="343072" y="22608"/>
                </a:lnTo>
                <a:lnTo>
                  <a:pt x="299180" y="38252"/>
                </a:lnTo>
                <a:lnTo>
                  <a:pt x="257157" y="57608"/>
                </a:lnTo>
                <a:lnTo>
                  <a:pt x="217289" y="80470"/>
                </a:lnTo>
                <a:lnTo>
                  <a:pt x="179861" y="106634"/>
                </a:lnTo>
                <a:lnTo>
                  <a:pt x="145160" y="135894"/>
                </a:lnTo>
                <a:lnTo>
                  <a:pt x="113472" y="168046"/>
                </a:lnTo>
                <a:lnTo>
                  <a:pt x="85082" y="202884"/>
                </a:lnTo>
                <a:lnTo>
                  <a:pt x="60275" y="240202"/>
                </a:lnTo>
                <a:lnTo>
                  <a:pt x="39338" y="279797"/>
                </a:lnTo>
                <a:lnTo>
                  <a:pt x="22556" y="321462"/>
                </a:lnTo>
                <a:lnTo>
                  <a:pt x="10215" y="364993"/>
                </a:lnTo>
                <a:lnTo>
                  <a:pt x="2601" y="410185"/>
                </a:lnTo>
                <a:lnTo>
                  <a:pt x="0" y="456831"/>
                </a:lnTo>
                <a:lnTo>
                  <a:pt x="2249" y="503705"/>
                </a:lnTo>
                <a:lnTo>
                  <a:pt x="8902" y="549521"/>
                </a:lnTo>
                <a:lnTo>
                  <a:pt x="19813" y="593982"/>
                </a:lnTo>
                <a:lnTo>
                  <a:pt x="34837" y="636792"/>
                </a:lnTo>
                <a:lnTo>
                  <a:pt x="53829" y="677654"/>
                </a:lnTo>
                <a:lnTo>
                  <a:pt x="76643" y="716271"/>
                </a:lnTo>
                <a:lnTo>
                  <a:pt x="103135" y="752346"/>
                </a:lnTo>
                <a:lnTo>
                  <a:pt x="133159" y="785582"/>
                </a:lnTo>
                <a:lnTo>
                  <a:pt x="166571" y="815682"/>
                </a:lnTo>
                <a:lnTo>
                  <a:pt x="203224" y="842350"/>
                </a:lnTo>
                <a:lnTo>
                  <a:pt x="242975" y="865288"/>
                </a:lnTo>
                <a:lnTo>
                  <a:pt x="285678" y="884201"/>
                </a:lnTo>
                <a:lnTo>
                  <a:pt x="331188" y="898790"/>
                </a:lnTo>
                <a:lnTo>
                  <a:pt x="379359" y="908759"/>
                </a:lnTo>
                <a:lnTo>
                  <a:pt x="430048" y="913811"/>
                </a:lnTo>
                <a:lnTo>
                  <a:pt x="483108" y="913650"/>
                </a:lnTo>
                <a:lnTo>
                  <a:pt x="522668" y="908542"/>
                </a:lnTo>
                <a:lnTo>
                  <a:pt x="563337" y="899578"/>
                </a:lnTo>
                <a:lnTo>
                  <a:pt x="604609" y="886915"/>
                </a:lnTo>
                <a:lnTo>
                  <a:pt x="645979" y="870710"/>
                </a:lnTo>
                <a:lnTo>
                  <a:pt x="686942" y="851118"/>
                </a:lnTo>
                <a:lnTo>
                  <a:pt x="726993" y="828297"/>
                </a:lnTo>
                <a:lnTo>
                  <a:pt x="765627" y="802402"/>
                </a:lnTo>
                <a:lnTo>
                  <a:pt x="802338" y="773590"/>
                </a:lnTo>
                <a:lnTo>
                  <a:pt x="836622" y="742017"/>
                </a:lnTo>
                <a:lnTo>
                  <a:pt x="867973" y="707839"/>
                </a:lnTo>
                <a:lnTo>
                  <a:pt x="895887" y="671213"/>
                </a:lnTo>
                <a:lnTo>
                  <a:pt x="919859" y="632295"/>
                </a:lnTo>
                <a:lnTo>
                  <a:pt x="939382" y="591242"/>
                </a:lnTo>
                <a:lnTo>
                  <a:pt x="953953" y="548209"/>
                </a:lnTo>
                <a:lnTo>
                  <a:pt x="963066" y="503354"/>
                </a:lnTo>
                <a:lnTo>
                  <a:pt x="966216" y="456831"/>
                </a:lnTo>
                <a:lnTo>
                  <a:pt x="963935" y="410108"/>
                </a:lnTo>
                <a:lnTo>
                  <a:pt x="957198" y="364708"/>
                </a:lnTo>
                <a:lnTo>
                  <a:pt x="946162" y="320866"/>
                </a:lnTo>
                <a:lnTo>
                  <a:pt x="930985" y="278818"/>
                </a:lnTo>
                <a:lnTo>
                  <a:pt x="911823" y="238801"/>
                </a:lnTo>
                <a:lnTo>
                  <a:pt x="888835" y="201049"/>
                </a:lnTo>
                <a:lnTo>
                  <a:pt x="862178" y="165798"/>
                </a:lnTo>
                <a:lnTo>
                  <a:pt x="832008" y="133284"/>
                </a:lnTo>
                <a:lnTo>
                  <a:pt x="798484" y="103744"/>
                </a:lnTo>
                <a:lnTo>
                  <a:pt x="761763" y="77412"/>
                </a:lnTo>
                <a:lnTo>
                  <a:pt x="722002" y="54524"/>
                </a:lnTo>
                <a:lnTo>
                  <a:pt x="679358" y="35316"/>
                </a:lnTo>
                <a:lnTo>
                  <a:pt x="633990" y="20024"/>
                </a:lnTo>
                <a:lnTo>
                  <a:pt x="586053" y="8883"/>
                </a:lnTo>
                <a:lnTo>
                  <a:pt x="535707" y="2130"/>
                </a:lnTo>
                <a:lnTo>
                  <a:pt x="483108" y="0"/>
                </a:lnTo>
                <a:close/>
              </a:path>
            </a:pathLst>
          </a:custGeom>
          <a:solidFill>
            <a:srgbClr val="00C37A"/>
          </a:solidFill>
        </p:spPr>
        <p:txBody>
          <a:bodyPr wrap="square" lIns="0" tIns="0" rIns="0" bIns="0" rtlCol="0"/>
          <a:lstStyle/>
          <a:p>
            <a:endParaRPr/>
          </a:p>
        </p:txBody>
      </p:sp>
      <p:sp>
        <p:nvSpPr>
          <p:cNvPr id="19" name="object 19"/>
          <p:cNvSpPr/>
          <p:nvPr/>
        </p:nvSpPr>
        <p:spPr>
          <a:xfrm>
            <a:off x="5151120" y="5937503"/>
            <a:ext cx="114300" cy="121920"/>
          </a:xfrm>
          <a:custGeom>
            <a:avLst/>
            <a:gdLst/>
            <a:ahLst/>
            <a:cxnLst/>
            <a:rect l="l" t="t" r="r" b="b"/>
            <a:pathLst>
              <a:path w="114300" h="121920">
                <a:moveTo>
                  <a:pt x="88900" y="0"/>
                </a:moveTo>
                <a:lnTo>
                  <a:pt x="68758" y="7422"/>
                </a:lnTo>
                <a:lnTo>
                  <a:pt x="46831" y="11234"/>
                </a:lnTo>
                <a:lnTo>
                  <a:pt x="23713" y="12639"/>
                </a:lnTo>
                <a:lnTo>
                  <a:pt x="0" y="12839"/>
                </a:lnTo>
                <a:lnTo>
                  <a:pt x="0" y="121920"/>
                </a:lnTo>
                <a:lnTo>
                  <a:pt x="114300" y="121920"/>
                </a:lnTo>
                <a:lnTo>
                  <a:pt x="112117" y="89334"/>
                </a:lnTo>
                <a:lnTo>
                  <a:pt x="106362" y="58554"/>
                </a:lnTo>
                <a:lnTo>
                  <a:pt x="98226" y="28978"/>
                </a:lnTo>
                <a:lnTo>
                  <a:pt x="88900" y="0"/>
                </a:lnTo>
                <a:close/>
              </a:path>
            </a:pathLst>
          </a:custGeom>
          <a:solidFill>
            <a:srgbClr val="FFFFFF"/>
          </a:solidFill>
        </p:spPr>
        <p:txBody>
          <a:bodyPr wrap="square" lIns="0" tIns="0" rIns="0" bIns="0" rtlCol="0"/>
          <a:lstStyle/>
          <a:p>
            <a:endParaRPr/>
          </a:p>
        </p:txBody>
      </p:sp>
      <p:sp>
        <p:nvSpPr>
          <p:cNvPr id="20" name="object 20"/>
          <p:cNvSpPr/>
          <p:nvPr/>
        </p:nvSpPr>
        <p:spPr>
          <a:xfrm>
            <a:off x="5158740" y="5792723"/>
            <a:ext cx="177165" cy="127000"/>
          </a:xfrm>
          <a:custGeom>
            <a:avLst/>
            <a:gdLst/>
            <a:ahLst/>
            <a:cxnLst/>
            <a:rect l="l" t="t" r="r" b="b"/>
            <a:pathLst>
              <a:path w="177164" h="127000">
                <a:moveTo>
                  <a:pt x="6350" y="0"/>
                </a:moveTo>
                <a:lnTo>
                  <a:pt x="0" y="6324"/>
                </a:lnTo>
                <a:lnTo>
                  <a:pt x="27215" y="32215"/>
                </a:lnTo>
                <a:lnTo>
                  <a:pt x="52085" y="61664"/>
                </a:lnTo>
                <a:lnTo>
                  <a:pt x="74598" y="93485"/>
                </a:lnTo>
                <a:lnTo>
                  <a:pt x="94742" y="126491"/>
                </a:lnTo>
                <a:lnTo>
                  <a:pt x="113676" y="116906"/>
                </a:lnTo>
                <a:lnTo>
                  <a:pt x="132587" y="106727"/>
                </a:lnTo>
                <a:lnTo>
                  <a:pt x="151499" y="95363"/>
                </a:lnTo>
                <a:lnTo>
                  <a:pt x="170434" y="82219"/>
                </a:lnTo>
                <a:lnTo>
                  <a:pt x="176784" y="82219"/>
                </a:lnTo>
                <a:lnTo>
                  <a:pt x="140384" y="51585"/>
                </a:lnTo>
                <a:lnTo>
                  <a:pt x="98663" y="26879"/>
                </a:lnTo>
                <a:lnTo>
                  <a:pt x="53393" y="9289"/>
                </a:lnTo>
                <a:lnTo>
                  <a:pt x="6350" y="0"/>
                </a:lnTo>
                <a:close/>
              </a:path>
            </a:pathLst>
          </a:custGeom>
          <a:solidFill>
            <a:srgbClr val="FFFFFF"/>
          </a:solidFill>
        </p:spPr>
        <p:txBody>
          <a:bodyPr wrap="square" lIns="0" tIns="0" rIns="0" bIns="0" rtlCol="0"/>
          <a:lstStyle/>
          <a:p>
            <a:endParaRPr/>
          </a:p>
        </p:txBody>
      </p:sp>
      <p:sp>
        <p:nvSpPr>
          <p:cNvPr id="21" name="object 21"/>
          <p:cNvSpPr/>
          <p:nvPr/>
        </p:nvSpPr>
        <p:spPr>
          <a:xfrm>
            <a:off x="5151120" y="5817108"/>
            <a:ext cx="82550" cy="116205"/>
          </a:xfrm>
          <a:custGeom>
            <a:avLst/>
            <a:gdLst/>
            <a:ahLst/>
            <a:cxnLst/>
            <a:rect l="l" t="t" r="r" b="b"/>
            <a:pathLst>
              <a:path w="82550" h="116204">
                <a:moveTo>
                  <a:pt x="0" y="0"/>
                </a:moveTo>
                <a:lnTo>
                  <a:pt x="0" y="115823"/>
                </a:lnTo>
                <a:lnTo>
                  <a:pt x="22645" y="115622"/>
                </a:lnTo>
                <a:lnTo>
                  <a:pt x="43529" y="114215"/>
                </a:lnTo>
                <a:lnTo>
                  <a:pt x="63222" y="110396"/>
                </a:lnTo>
                <a:lnTo>
                  <a:pt x="82295" y="102958"/>
                </a:lnTo>
                <a:lnTo>
                  <a:pt x="66740" y="75107"/>
                </a:lnTo>
                <a:lnTo>
                  <a:pt x="48244" y="49064"/>
                </a:lnTo>
                <a:lnTo>
                  <a:pt x="26199" y="24229"/>
                </a:lnTo>
                <a:lnTo>
                  <a:pt x="0" y="0"/>
                </a:lnTo>
                <a:close/>
              </a:path>
            </a:pathLst>
          </a:custGeom>
          <a:solidFill>
            <a:srgbClr val="FFFFFF"/>
          </a:solidFill>
        </p:spPr>
        <p:txBody>
          <a:bodyPr wrap="square" lIns="0" tIns="0" rIns="0" bIns="0" rtlCol="0"/>
          <a:lstStyle/>
          <a:p>
            <a:endParaRPr/>
          </a:p>
        </p:txBody>
      </p:sp>
      <p:sp>
        <p:nvSpPr>
          <p:cNvPr id="22" name="object 22"/>
          <p:cNvSpPr/>
          <p:nvPr/>
        </p:nvSpPr>
        <p:spPr>
          <a:xfrm>
            <a:off x="5260847" y="6077711"/>
            <a:ext cx="158750" cy="161925"/>
          </a:xfrm>
          <a:custGeom>
            <a:avLst/>
            <a:gdLst/>
            <a:ahLst/>
            <a:cxnLst/>
            <a:rect l="l" t="t" r="r" b="b"/>
            <a:pathLst>
              <a:path w="158750" h="161925">
                <a:moveTo>
                  <a:pt x="158496" y="0"/>
                </a:moveTo>
                <a:lnTo>
                  <a:pt x="25400" y="0"/>
                </a:lnTo>
                <a:lnTo>
                  <a:pt x="24110" y="29079"/>
                </a:lnTo>
                <a:lnTo>
                  <a:pt x="19843" y="58158"/>
                </a:lnTo>
                <a:lnTo>
                  <a:pt x="12005" y="87234"/>
                </a:lnTo>
                <a:lnTo>
                  <a:pt x="0" y="116306"/>
                </a:lnTo>
                <a:lnTo>
                  <a:pt x="22701" y="123275"/>
                </a:lnTo>
                <a:lnTo>
                  <a:pt x="43592" y="133273"/>
                </a:lnTo>
                <a:lnTo>
                  <a:pt x="63293" y="144481"/>
                </a:lnTo>
                <a:lnTo>
                  <a:pt x="82423" y="155079"/>
                </a:lnTo>
                <a:lnTo>
                  <a:pt x="95123" y="161544"/>
                </a:lnTo>
                <a:lnTo>
                  <a:pt x="120151" y="125396"/>
                </a:lnTo>
                <a:lnTo>
                  <a:pt x="138668" y="85615"/>
                </a:lnTo>
                <a:lnTo>
                  <a:pt x="151255" y="43413"/>
                </a:lnTo>
                <a:lnTo>
                  <a:pt x="158496" y="0"/>
                </a:lnTo>
                <a:close/>
              </a:path>
            </a:pathLst>
          </a:custGeom>
          <a:solidFill>
            <a:srgbClr val="FFFFFF"/>
          </a:solidFill>
        </p:spPr>
        <p:txBody>
          <a:bodyPr wrap="square" lIns="0" tIns="0" rIns="0" bIns="0" rtlCol="0"/>
          <a:lstStyle/>
          <a:p>
            <a:endParaRPr/>
          </a:p>
        </p:txBody>
      </p:sp>
      <p:sp>
        <p:nvSpPr>
          <p:cNvPr id="23" name="object 23"/>
          <p:cNvSpPr/>
          <p:nvPr/>
        </p:nvSpPr>
        <p:spPr>
          <a:xfrm>
            <a:off x="4954523" y="5792723"/>
            <a:ext cx="177165" cy="127000"/>
          </a:xfrm>
          <a:custGeom>
            <a:avLst/>
            <a:gdLst/>
            <a:ahLst/>
            <a:cxnLst/>
            <a:rect l="l" t="t" r="r" b="b"/>
            <a:pathLst>
              <a:path w="177164" h="127000">
                <a:moveTo>
                  <a:pt x="170434" y="0"/>
                </a:moveTo>
                <a:lnTo>
                  <a:pt x="120711" y="9289"/>
                </a:lnTo>
                <a:lnTo>
                  <a:pt x="75739" y="26879"/>
                </a:lnTo>
                <a:lnTo>
                  <a:pt x="35506" y="51585"/>
                </a:lnTo>
                <a:lnTo>
                  <a:pt x="0" y="82219"/>
                </a:lnTo>
                <a:lnTo>
                  <a:pt x="6350" y="82219"/>
                </a:lnTo>
                <a:lnTo>
                  <a:pt x="25284" y="95363"/>
                </a:lnTo>
                <a:lnTo>
                  <a:pt x="44195" y="106727"/>
                </a:lnTo>
                <a:lnTo>
                  <a:pt x="63107" y="116906"/>
                </a:lnTo>
                <a:lnTo>
                  <a:pt x="82041" y="126491"/>
                </a:lnTo>
                <a:lnTo>
                  <a:pt x="98613" y="93485"/>
                </a:lnTo>
                <a:lnTo>
                  <a:pt x="119935" y="61664"/>
                </a:lnTo>
                <a:lnTo>
                  <a:pt x="145996" y="32215"/>
                </a:lnTo>
                <a:lnTo>
                  <a:pt x="176784" y="6324"/>
                </a:lnTo>
                <a:lnTo>
                  <a:pt x="170434" y="0"/>
                </a:lnTo>
                <a:close/>
              </a:path>
            </a:pathLst>
          </a:custGeom>
          <a:solidFill>
            <a:srgbClr val="FFFFFF"/>
          </a:solidFill>
        </p:spPr>
        <p:txBody>
          <a:bodyPr wrap="square" lIns="0" tIns="0" rIns="0" bIns="0" rtlCol="0"/>
          <a:lstStyle/>
          <a:p>
            <a:endParaRPr/>
          </a:p>
        </p:txBody>
      </p:sp>
      <p:sp>
        <p:nvSpPr>
          <p:cNvPr id="24" name="object 24"/>
          <p:cNvSpPr/>
          <p:nvPr/>
        </p:nvSpPr>
        <p:spPr>
          <a:xfrm>
            <a:off x="5056632" y="5817108"/>
            <a:ext cx="74930" cy="116205"/>
          </a:xfrm>
          <a:custGeom>
            <a:avLst/>
            <a:gdLst/>
            <a:ahLst/>
            <a:cxnLst/>
            <a:rect l="l" t="t" r="r" b="b"/>
            <a:pathLst>
              <a:path w="74929" h="116204">
                <a:moveTo>
                  <a:pt x="74675" y="0"/>
                </a:moveTo>
                <a:lnTo>
                  <a:pt x="52506" y="24229"/>
                </a:lnTo>
                <a:lnTo>
                  <a:pt x="32670" y="49064"/>
                </a:lnTo>
                <a:lnTo>
                  <a:pt x="15168" y="75107"/>
                </a:lnTo>
                <a:lnTo>
                  <a:pt x="0" y="102958"/>
                </a:lnTo>
                <a:lnTo>
                  <a:pt x="18668" y="110396"/>
                </a:lnTo>
                <a:lnTo>
                  <a:pt x="37337" y="114215"/>
                </a:lnTo>
                <a:lnTo>
                  <a:pt x="56006" y="115622"/>
                </a:lnTo>
                <a:lnTo>
                  <a:pt x="74675" y="115823"/>
                </a:lnTo>
                <a:lnTo>
                  <a:pt x="74675" y="0"/>
                </a:lnTo>
                <a:close/>
              </a:path>
            </a:pathLst>
          </a:custGeom>
          <a:solidFill>
            <a:srgbClr val="FFFFFF"/>
          </a:solidFill>
        </p:spPr>
        <p:txBody>
          <a:bodyPr wrap="square" lIns="0" tIns="0" rIns="0" bIns="0" rtlCol="0"/>
          <a:lstStyle/>
          <a:p>
            <a:endParaRPr/>
          </a:p>
        </p:txBody>
      </p:sp>
      <p:sp>
        <p:nvSpPr>
          <p:cNvPr id="25" name="object 25"/>
          <p:cNvSpPr/>
          <p:nvPr/>
        </p:nvSpPr>
        <p:spPr>
          <a:xfrm>
            <a:off x="4870703" y="6077711"/>
            <a:ext cx="154305" cy="161925"/>
          </a:xfrm>
          <a:custGeom>
            <a:avLst/>
            <a:gdLst/>
            <a:ahLst/>
            <a:cxnLst/>
            <a:rect l="l" t="t" r="r" b="b"/>
            <a:pathLst>
              <a:path w="154304" h="161925">
                <a:moveTo>
                  <a:pt x="134747" y="0"/>
                </a:moveTo>
                <a:lnTo>
                  <a:pt x="0" y="0"/>
                </a:lnTo>
                <a:lnTo>
                  <a:pt x="4609" y="43413"/>
                </a:lnTo>
                <a:lnTo>
                  <a:pt x="17637" y="85615"/>
                </a:lnTo>
                <a:lnTo>
                  <a:pt x="37879" y="125396"/>
                </a:lnTo>
                <a:lnTo>
                  <a:pt x="64135" y="161544"/>
                </a:lnTo>
                <a:lnTo>
                  <a:pt x="70485" y="155079"/>
                </a:lnTo>
                <a:lnTo>
                  <a:pt x="112252" y="133273"/>
                </a:lnTo>
                <a:lnTo>
                  <a:pt x="133689" y="123275"/>
                </a:lnTo>
                <a:lnTo>
                  <a:pt x="153924" y="116306"/>
                </a:lnTo>
                <a:lnTo>
                  <a:pt x="145516" y="87234"/>
                </a:lnTo>
                <a:lnTo>
                  <a:pt x="139525" y="58158"/>
                </a:lnTo>
                <a:lnTo>
                  <a:pt x="135939" y="29079"/>
                </a:lnTo>
                <a:lnTo>
                  <a:pt x="134747" y="0"/>
                </a:lnTo>
                <a:close/>
              </a:path>
            </a:pathLst>
          </a:custGeom>
          <a:solidFill>
            <a:srgbClr val="FFFFFF"/>
          </a:solidFill>
        </p:spPr>
        <p:txBody>
          <a:bodyPr wrap="square" lIns="0" tIns="0" rIns="0" bIns="0" rtlCol="0"/>
          <a:lstStyle/>
          <a:p>
            <a:endParaRPr/>
          </a:p>
        </p:txBody>
      </p:sp>
      <p:sp>
        <p:nvSpPr>
          <p:cNvPr id="26" name="object 26"/>
          <p:cNvSpPr/>
          <p:nvPr/>
        </p:nvSpPr>
        <p:spPr>
          <a:xfrm>
            <a:off x="4870703" y="5887211"/>
            <a:ext cx="161925" cy="172720"/>
          </a:xfrm>
          <a:custGeom>
            <a:avLst/>
            <a:gdLst/>
            <a:ahLst/>
            <a:cxnLst/>
            <a:rect l="l" t="t" r="r" b="b"/>
            <a:pathLst>
              <a:path w="161925" h="172720">
                <a:moveTo>
                  <a:pt x="71120" y="0"/>
                </a:moveTo>
                <a:lnTo>
                  <a:pt x="40933" y="35880"/>
                </a:lnTo>
                <a:lnTo>
                  <a:pt x="18605" y="76542"/>
                </a:lnTo>
                <a:lnTo>
                  <a:pt x="4754" y="121986"/>
                </a:lnTo>
                <a:lnTo>
                  <a:pt x="0" y="172211"/>
                </a:lnTo>
                <a:lnTo>
                  <a:pt x="135636" y="172211"/>
                </a:lnTo>
                <a:lnTo>
                  <a:pt x="136951" y="138823"/>
                </a:lnTo>
                <a:lnTo>
                  <a:pt x="141303" y="106037"/>
                </a:lnTo>
                <a:lnTo>
                  <a:pt x="149298" y="74447"/>
                </a:lnTo>
                <a:lnTo>
                  <a:pt x="161544" y="44653"/>
                </a:lnTo>
                <a:lnTo>
                  <a:pt x="138443" y="38668"/>
                </a:lnTo>
                <a:lnTo>
                  <a:pt x="117141" y="30295"/>
                </a:lnTo>
                <a:lnTo>
                  <a:pt x="97053" y="19532"/>
                </a:lnTo>
                <a:lnTo>
                  <a:pt x="77597" y="6375"/>
                </a:lnTo>
                <a:lnTo>
                  <a:pt x="71120" y="0"/>
                </a:lnTo>
                <a:close/>
              </a:path>
            </a:pathLst>
          </a:custGeom>
          <a:solidFill>
            <a:srgbClr val="FFFFFF"/>
          </a:solidFill>
        </p:spPr>
        <p:txBody>
          <a:bodyPr wrap="square" lIns="0" tIns="0" rIns="0" bIns="0" rtlCol="0"/>
          <a:lstStyle/>
          <a:p>
            <a:endParaRPr/>
          </a:p>
        </p:txBody>
      </p:sp>
      <p:sp>
        <p:nvSpPr>
          <p:cNvPr id="27" name="object 27"/>
          <p:cNvSpPr/>
          <p:nvPr/>
        </p:nvSpPr>
        <p:spPr>
          <a:xfrm>
            <a:off x="5024628" y="5937503"/>
            <a:ext cx="106680" cy="121920"/>
          </a:xfrm>
          <a:custGeom>
            <a:avLst/>
            <a:gdLst/>
            <a:ahLst/>
            <a:cxnLst/>
            <a:rect l="l" t="t" r="r" b="b"/>
            <a:pathLst>
              <a:path w="106679" h="121920">
                <a:moveTo>
                  <a:pt x="25146" y="0"/>
                </a:moveTo>
                <a:lnTo>
                  <a:pt x="13233" y="28978"/>
                </a:lnTo>
                <a:lnTo>
                  <a:pt x="5476" y="58554"/>
                </a:lnTo>
                <a:lnTo>
                  <a:pt x="1268" y="89334"/>
                </a:lnTo>
                <a:lnTo>
                  <a:pt x="0" y="121920"/>
                </a:lnTo>
                <a:lnTo>
                  <a:pt x="106680" y="121920"/>
                </a:lnTo>
                <a:lnTo>
                  <a:pt x="106680" y="12839"/>
                </a:lnTo>
                <a:lnTo>
                  <a:pt x="86850" y="12639"/>
                </a:lnTo>
                <a:lnTo>
                  <a:pt x="65865" y="11234"/>
                </a:lnTo>
                <a:lnTo>
                  <a:pt x="44904" y="7422"/>
                </a:lnTo>
                <a:lnTo>
                  <a:pt x="25146" y="0"/>
                </a:lnTo>
                <a:close/>
              </a:path>
            </a:pathLst>
          </a:custGeom>
          <a:solidFill>
            <a:srgbClr val="FFFFFF"/>
          </a:solidFill>
        </p:spPr>
        <p:txBody>
          <a:bodyPr wrap="square" lIns="0" tIns="0" rIns="0" bIns="0" rtlCol="0"/>
          <a:lstStyle/>
          <a:p>
            <a:endParaRPr/>
          </a:p>
        </p:txBody>
      </p:sp>
      <p:sp>
        <p:nvSpPr>
          <p:cNvPr id="28" name="object 28"/>
          <p:cNvSpPr/>
          <p:nvPr/>
        </p:nvSpPr>
        <p:spPr>
          <a:xfrm>
            <a:off x="4948428" y="6207252"/>
            <a:ext cx="178435" cy="131445"/>
          </a:xfrm>
          <a:custGeom>
            <a:avLst/>
            <a:gdLst/>
            <a:ahLst/>
            <a:cxnLst/>
            <a:rect l="l" t="t" r="r" b="b"/>
            <a:pathLst>
              <a:path w="178435" h="131445">
                <a:moveTo>
                  <a:pt x="82804" y="0"/>
                </a:moveTo>
                <a:lnTo>
                  <a:pt x="44576" y="19505"/>
                </a:lnTo>
                <a:lnTo>
                  <a:pt x="6350" y="43688"/>
                </a:lnTo>
                <a:lnTo>
                  <a:pt x="0" y="49923"/>
                </a:lnTo>
                <a:lnTo>
                  <a:pt x="36708" y="80155"/>
                </a:lnTo>
                <a:lnTo>
                  <a:pt x="78787" y="104538"/>
                </a:lnTo>
                <a:lnTo>
                  <a:pt x="124461" y="121898"/>
                </a:lnTo>
                <a:lnTo>
                  <a:pt x="171958" y="131064"/>
                </a:lnTo>
                <a:lnTo>
                  <a:pt x="178308" y="124828"/>
                </a:lnTo>
                <a:lnTo>
                  <a:pt x="150830" y="99174"/>
                </a:lnTo>
                <a:lnTo>
                  <a:pt x="125745" y="69429"/>
                </a:lnTo>
                <a:lnTo>
                  <a:pt x="103066" y="36176"/>
                </a:lnTo>
                <a:lnTo>
                  <a:pt x="82804" y="0"/>
                </a:lnTo>
                <a:close/>
              </a:path>
            </a:pathLst>
          </a:custGeom>
          <a:solidFill>
            <a:srgbClr val="FFFFFF"/>
          </a:solidFill>
        </p:spPr>
        <p:txBody>
          <a:bodyPr wrap="square" lIns="0" tIns="0" rIns="0" bIns="0" rtlCol="0"/>
          <a:lstStyle/>
          <a:p>
            <a:endParaRPr/>
          </a:p>
        </p:txBody>
      </p:sp>
      <p:sp>
        <p:nvSpPr>
          <p:cNvPr id="29" name="object 29"/>
          <p:cNvSpPr/>
          <p:nvPr/>
        </p:nvSpPr>
        <p:spPr>
          <a:xfrm>
            <a:off x="5024628" y="6077711"/>
            <a:ext cx="106680" cy="109855"/>
          </a:xfrm>
          <a:custGeom>
            <a:avLst/>
            <a:gdLst/>
            <a:ahLst/>
            <a:cxnLst/>
            <a:rect l="l" t="t" r="r" b="b"/>
            <a:pathLst>
              <a:path w="106679" h="109854">
                <a:moveTo>
                  <a:pt x="106680" y="0"/>
                </a:moveTo>
                <a:lnTo>
                  <a:pt x="0" y="0"/>
                </a:lnTo>
                <a:lnTo>
                  <a:pt x="1168" y="28035"/>
                </a:lnTo>
                <a:lnTo>
                  <a:pt x="4683" y="54864"/>
                </a:lnTo>
                <a:lnTo>
                  <a:pt x="10554" y="81692"/>
                </a:lnTo>
                <a:lnTo>
                  <a:pt x="18796" y="109728"/>
                </a:lnTo>
                <a:lnTo>
                  <a:pt x="41350" y="102167"/>
                </a:lnTo>
                <a:lnTo>
                  <a:pt x="62737" y="97629"/>
                </a:lnTo>
                <a:lnTo>
                  <a:pt x="84125" y="94299"/>
                </a:lnTo>
                <a:lnTo>
                  <a:pt x="106680" y="90360"/>
                </a:lnTo>
                <a:lnTo>
                  <a:pt x="106680" y="0"/>
                </a:lnTo>
                <a:close/>
              </a:path>
            </a:pathLst>
          </a:custGeom>
          <a:solidFill>
            <a:srgbClr val="FFFFFF"/>
          </a:solidFill>
        </p:spPr>
        <p:txBody>
          <a:bodyPr wrap="square" lIns="0" tIns="0" rIns="0" bIns="0" rtlCol="0"/>
          <a:lstStyle/>
          <a:p>
            <a:endParaRPr/>
          </a:p>
        </p:txBody>
      </p:sp>
      <p:sp>
        <p:nvSpPr>
          <p:cNvPr id="30" name="object 30"/>
          <p:cNvSpPr/>
          <p:nvPr/>
        </p:nvSpPr>
        <p:spPr>
          <a:xfrm>
            <a:off x="5158740" y="6207252"/>
            <a:ext cx="182880" cy="131445"/>
          </a:xfrm>
          <a:custGeom>
            <a:avLst/>
            <a:gdLst/>
            <a:ahLst/>
            <a:cxnLst/>
            <a:rect l="l" t="t" r="r" b="b"/>
            <a:pathLst>
              <a:path w="182879" h="131445">
                <a:moveTo>
                  <a:pt x="94614" y="0"/>
                </a:moveTo>
                <a:lnTo>
                  <a:pt x="78063" y="36176"/>
                </a:lnTo>
                <a:lnTo>
                  <a:pt x="56784" y="69429"/>
                </a:lnTo>
                <a:lnTo>
                  <a:pt x="30767" y="99174"/>
                </a:lnTo>
                <a:lnTo>
                  <a:pt x="0" y="124828"/>
                </a:lnTo>
                <a:lnTo>
                  <a:pt x="6350" y="131064"/>
                </a:lnTo>
                <a:lnTo>
                  <a:pt x="56971" y="121898"/>
                </a:lnTo>
                <a:lnTo>
                  <a:pt x="104044" y="104538"/>
                </a:lnTo>
                <a:lnTo>
                  <a:pt x="146403" y="80155"/>
                </a:lnTo>
                <a:lnTo>
                  <a:pt x="182880" y="49923"/>
                </a:lnTo>
                <a:lnTo>
                  <a:pt x="176530" y="43688"/>
                </a:lnTo>
                <a:lnTo>
                  <a:pt x="157551" y="30719"/>
                </a:lnTo>
                <a:lnTo>
                  <a:pt x="137953" y="19505"/>
                </a:lnTo>
                <a:lnTo>
                  <a:pt x="117165" y="9460"/>
                </a:lnTo>
                <a:lnTo>
                  <a:pt x="94614" y="0"/>
                </a:lnTo>
                <a:close/>
              </a:path>
            </a:pathLst>
          </a:custGeom>
          <a:solidFill>
            <a:srgbClr val="FFFFFF"/>
          </a:solidFill>
        </p:spPr>
        <p:txBody>
          <a:bodyPr wrap="square" lIns="0" tIns="0" rIns="0" bIns="0" rtlCol="0"/>
          <a:lstStyle/>
          <a:p>
            <a:endParaRPr/>
          </a:p>
        </p:txBody>
      </p:sp>
      <p:sp>
        <p:nvSpPr>
          <p:cNvPr id="31" name="object 31"/>
          <p:cNvSpPr/>
          <p:nvPr/>
        </p:nvSpPr>
        <p:spPr>
          <a:xfrm>
            <a:off x="5260847" y="5887211"/>
            <a:ext cx="158750" cy="172720"/>
          </a:xfrm>
          <a:custGeom>
            <a:avLst/>
            <a:gdLst/>
            <a:ahLst/>
            <a:cxnLst/>
            <a:rect l="l" t="t" r="r" b="b"/>
            <a:pathLst>
              <a:path w="158750" h="172720">
                <a:moveTo>
                  <a:pt x="88773" y="0"/>
                </a:moveTo>
                <a:lnTo>
                  <a:pt x="41211" y="30295"/>
                </a:lnTo>
                <a:lnTo>
                  <a:pt x="0" y="44653"/>
                </a:lnTo>
                <a:lnTo>
                  <a:pt x="9326" y="74447"/>
                </a:lnTo>
                <a:lnTo>
                  <a:pt x="17462" y="106037"/>
                </a:lnTo>
                <a:lnTo>
                  <a:pt x="23217" y="138823"/>
                </a:lnTo>
                <a:lnTo>
                  <a:pt x="25400" y="172211"/>
                </a:lnTo>
                <a:lnTo>
                  <a:pt x="158496" y="172211"/>
                </a:lnTo>
                <a:lnTo>
                  <a:pt x="150262" y="121986"/>
                </a:lnTo>
                <a:lnTo>
                  <a:pt x="135493" y="76542"/>
                </a:lnTo>
                <a:lnTo>
                  <a:pt x="114794" y="35880"/>
                </a:lnTo>
                <a:lnTo>
                  <a:pt x="88773" y="0"/>
                </a:lnTo>
                <a:close/>
              </a:path>
            </a:pathLst>
          </a:custGeom>
          <a:solidFill>
            <a:srgbClr val="FFFFFF"/>
          </a:solidFill>
        </p:spPr>
        <p:txBody>
          <a:bodyPr wrap="square" lIns="0" tIns="0" rIns="0" bIns="0" rtlCol="0"/>
          <a:lstStyle/>
          <a:p>
            <a:endParaRPr/>
          </a:p>
        </p:txBody>
      </p:sp>
      <p:sp>
        <p:nvSpPr>
          <p:cNvPr id="32" name="object 32"/>
          <p:cNvSpPr/>
          <p:nvPr/>
        </p:nvSpPr>
        <p:spPr>
          <a:xfrm>
            <a:off x="5050535" y="6187440"/>
            <a:ext cx="81280" cy="127000"/>
          </a:xfrm>
          <a:custGeom>
            <a:avLst/>
            <a:gdLst/>
            <a:ahLst/>
            <a:cxnLst/>
            <a:rect l="l" t="t" r="r" b="b"/>
            <a:pathLst>
              <a:path w="81279" h="127000">
                <a:moveTo>
                  <a:pt x="80772" y="0"/>
                </a:moveTo>
                <a:lnTo>
                  <a:pt x="61150" y="1087"/>
                </a:lnTo>
                <a:lnTo>
                  <a:pt x="40386" y="3952"/>
                </a:lnTo>
                <a:lnTo>
                  <a:pt x="19621" y="8004"/>
                </a:lnTo>
                <a:lnTo>
                  <a:pt x="0" y="12649"/>
                </a:lnTo>
                <a:lnTo>
                  <a:pt x="16121" y="44667"/>
                </a:lnTo>
                <a:lnTo>
                  <a:pt x="35718" y="74314"/>
                </a:lnTo>
                <a:lnTo>
                  <a:pt x="57650" y="101588"/>
                </a:lnTo>
                <a:lnTo>
                  <a:pt x="80772" y="126492"/>
                </a:lnTo>
                <a:lnTo>
                  <a:pt x="80772" y="0"/>
                </a:lnTo>
                <a:close/>
              </a:path>
            </a:pathLst>
          </a:custGeom>
          <a:solidFill>
            <a:srgbClr val="FFFFFF"/>
          </a:solidFill>
        </p:spPr>
        <p:txBody>
          <a:bodyPr wrap="square" lIns="0" tIns="0" rIns="0" bIns="0" rtlCol="0"/>
          <a:lstStyle/>
          <a:p>
            <a:endParaRPr/>
          </a:p>
        </p:txBody>
      </p:sp>
      <p:sp>
        <p:nvSpPr>
          <p:cNvPr id="33" name="object 33"/>
          <p:cNvSpPr/>
          <p:nvPr/>
        </p:nvSpPr>
        <p:spPr>
          <a:xfrm>
            <a:off x="5151120" y="6077711"/>
            <a:ext cx="114300" cy="109855"/>
          </a:xfrm>
          <a:custGeom>
            <a:avLst/>
            <a:gdLst/>
            <a:ahLst/>
            <a:cxnLst/>
            <a:rect l="l" t="t" r="r" b="b"/>
            <a:pathLst>
              <a:path w="114300" h="109854">
                <a:moveTo>
                  <a:pt x="114300" y="0"/>
                </a:moveTo>
                <a:lnTo>
                  <a:pt x="0" y="0"/>
                </a:lnTo>
                <a:lnTo>
                  <a:pt x="0" y="90360"/>
                </a:lnTo>
                <a:lnTo>
                  <a:pt x="23812" y="94299"/>
                </a:lnTo>
                <a:lnTo>
                  <a:pt x="47625" y="97629"/>
                </a:lnTo>
                <a:lnTo>
                  <a:pt x="71437" y="102167"/>
                </a:lnTo>
                <a:lnTo>
                  <a:pt x="95250" y="109728"/>
                </a:lnTo>
                <a:lnTo>
                  <a:pt x="103584" y="81692"/>
                </a:lnTo>
                <a:lnTo>
                  <a:pt x="109537" y="54864"/>
                </a:lnTo>
                <a:lnTo>
                  <a:pt x="113109" y="28035"/>
                </a:lnTo>
                <a:lnTo>
                  <a:pt x="114300" y="0"/>
                </a:lnTo>
                <a:close/>
              </a:path>
            </a:pathLst>
          </a:custGeom>
          <a:solidFill>
            <a:srgbClr val="FFFFFF"/>
          </a:solidFill>
        </p:spPr>
        <p:txBody>
          <a:bodyPr wrap="square" lIns="0" tIns="0" rIns="0" bIns="0" rtlCol="0"/>
          <a:lstStyle/>
          <a:p>
            <a:endParaRPr/>
          </a:p>
        </p:txBody>
      </p:sp>
      <p:sp>
        <p:nvSpPr>
          <p:cNvPr id="34" name="object 34"/>
          <p:cNvSpPr/>
          <p:nvPr/>
        </p:nvSpPr>
        <p:spPr>
          <a:xfrm>
            <a:off x="5151120" y="6187440"/>
            <a:ext cx="82550" cy="127000"/>
          </a:xfrm>
          <a:custGeom>
            <a:avLst/>
            <a:gdLst/>
            <a:ahLst/>
            <a:cxnLst/>
            <a:rect l="l" t="t" r="r" b="b"/>
            <a:pathLst>
              <a:path w="82550" h="127000">
                <a:moveTo>
                  <a:pt x="0" y="0"/>
                </a:moveTo>
                <a:lnTo>
                  <a:pt x="0" y="126492"/>
                </a:lnTo>
                <a:lnTo>
                  <a:pt x="26199" y="101588"/>
                </a:lnTo>
                <a:lnTo>
                  <a:pt x="48244" y="74314"/>
                </a:lnTo>
                <a:lnTo>
                  <a:pt x="66740" y="44667"/>
                </a:lnTo>
                <a:lnTo>
                  <a:pt x="82295" y="12649"/>
                </a:lnTo>
                <a:lnTo>
                  <a:pt x="63222" y="8004"/>
                </a:lnTo>
                <a:lnTo>
                  <a:pt x="43529" y="3952"/>
                </a:lnTo>
                <a:lnTo>
                  <a:pt x="22645" y="1087"/>
                </a:lnTo>
                <a:lnTo>
                  <a:pt x="0" y="0"/>
                </a:lnTo>
                <a:close/>
              </a:path>
            </a:pathLst>
          </a:custGeom>
          <a:solidFill>
            <a:srgbClr val="FFFFFF"/>
          </a:solidFill>
        </p:spPr>
        <p:txBody>
          <a:bodyPr wrap="square" lIns="0" tIns="0" rIns="0" bIns="0" rtlCol="0"/>
          <a:lstStyle/>
          <a:p>
            <a:endParaRPr/>
          </a:p>
        </p:txBody>
      </p:sp>
      <p:sp>
        <p:nvSpPr>
          <p:cNvPr id="35" name="object 35"/>
          <p:cNvSpPr txBox="1"/>
          <p:nvPr/>
        </p:nvSpPr>
        <p:spPr>
          <a:xfrm>
            <a:off x="5549646" y="1344929"/>
            <a:ext cx="1998345" cy="2947035"/>
          </a:xfrm>
          <a:prstGeom prst="rect">
            <a:avLst/>
          </a:prstGeom>
        </p:spPr>
        <p:txBody>
          <a:bodyPr vert="horz" wrap="square" lIns="0" tIns="5080" rIns="0" bIns="0" rtlCol="0">
            <a:spAutoFit/>
          </a:bodyPr>
          <a:lstStyle/>
          <a:p>
            <a:pPr marL="184785" marR="525780" indent="-172720">
              <a:lnSpc>
                <a:spcPct val="104200"/>
              </a:lnSpc>
              <a:spcBef>
                <a:spcPts val="40"/>
              </a:spcBef>
              <a:buFont typeface="Wingdings"/>
              <a:buChar char=""/>
              <a:tabLst>
                <a:tab pos="185420" algn="l"/>
              </a:tabLst>
            </a:pPr>
            <a:r>
              <a:rPr sz="1200" b="1">
                <a:solidFill>
                  <a:srgbClr val="FF2F4B"/>
                </a:solidFill>
                <a:latin typeface="Verdana"/>
                <a:cs typeface="Verdana"/>
              </a:rPr>
              <a:t>API </a:t>
            </a:r>
            <a:r>
              <a:rPr sz="1200" b="1" spc="-5">
                <a:solidFill>
                  <a:srgbClr val="FF2F4B"/>
                </a:solidFill>
                <a:latin typeface="Verdana"/>
                <a:cs typeface="Verdana"/>
              </a:rPr>
              <a:t>Strategy</a:t>
            </a:r>
            <a:r>
              <a:rPr sz="1200" b="1" spc="-85">
                <a:solidFill>
                  <a:srgbClr val="FF2F4B"/>
                </a:solidFill>
                <a:latin typeface="Verdana"/>
                <a:cs typeface="Verdana"/>
              </a:rPr>
              <a:t> </a:t>
            </a:r>
            <a:r>
              <a:rPr sz="1200" b="1">
                <a:solidFill>
                  <a:srgbClr val="FF2F4B"/>
                </a:solidFill>
                <a:latin typeface="Verdana"/>
                <a:cs typeface="Verdana"/>
              </a:rPr>
              <a:t>&amp;  </a:t>
            </a:r>
            <a:r>
              <a:rPr sz="1200" b="1" spc="-5">
                <a:solidFill>
                  <a:srgbClr val="FF2F4B"/>
                </a:solidFill>
                <a:latin typeface="Verdana"/>
                <a:cs typeface="Verdana"/>
              </a:rPr>
              <a:t>Assessment</a:t>
            </a:r>
            <a:endParaRPr sz="1200">
              <a:latin typeface="Verdana"/>
              <a:cs typeface="Verdana"/>
            </a:endParaRPr>
          </a:p>
          <a:p>
            <a:pPr marL="184785" marR="5080">
              <a:lnSpc>
                <a:spcPts val="1500"/>
              </a:lnSpc>
              <a:spcBef>
                <a:spcPts val="60"/>
              </a:spcBef>
            </a:pPr>
            <a:r>
              <a:rPr sz="1000" spc="-5">
                <a:solidFill>
                  <a:srgbClr val="2B133C"/>
                </a:solidFill>
                <a:latin typeface="Verdana"/>
                <a:cs typeface="Verdana"/>
              </a:rPr>
              <a:t>This offering establishes the  </a:t>
            </a:r>
            <a:r>
              <a:rPr sz="1000">
                <a:solidFill>
                  <a:srgbClr val="2B133C"/>
                </a:solidFill>
                <a:latin typeface="Verdana"/>
                <a:cs typeface="Verdana"/>
              </a:rPr>
              <a:t>right </a:t>
            </a:r>
            <a:r>
              <a:rPr sz="1000" spc="-5">
                <a:solidFill>
                  <a:srgbClr val="2B133C"/>
                </a:solidFill>
                <a:latin typeface="Verdana"/>
                <a:cs typeface="Verdana"/>
              </a:rPr>
              <a:t>API strategy and  immediate </a:t>
            </a:r>
            <a:r>
              <a:rPr sz="1000">
                <a:solidFill>
                  <a:srgbClr val="2B133C"/>
                </a:solidFill>
                <a:latin typeface="Verdana"/>
                <a:cs typeface="Verdana"/>
              </a:rPr>
              <a:t>value</a:t>
            </a:r>
            <a:r>
              <a:rPr sz="1000" spc="-15">
                <a:solidFill>
                  <a:srgbClr val="2B133C"/>
                </a:solidFill>
                <a:latin typeface="Verdana"/>
                <a:cs typeface="Verdana"/>
              </a:rPr>
              <a:t> </a:t>
            </a:r>
            <a:r>
              <a:rPr sz="1000" spc="-10">
                <a:solidFill>
                  <a:srgbClr val="2B133C"/>
                </a:solidFill>
                <a:latin typeface="Verdana"/>
                <a:cs typeface="Verdana"/>
              </a:rPr>
              <a:t>from</a:t>
            </a:r>
            <a:endParaRPr sz="1000">
              <a:latin typeface="Verdana"/>
              <a:cs typeface="Verdana"/>
            </a:endParaRPr>
          </a:p>
          <a:p>
            <a:pPr marL="184785">
              <a:lnSpc>
                <a:spcPct val="100000"/>
              </a:lnSpc>
              <a:spcBef>
                <a:spcPts val="200"/>
              </a:spcBef>
            </a:pPr>
            <a:r>
              <a:rPr sz="1000" spc="-5">
                <a:solidFill>
                  <a:srgbClr val="2B133C"/>
                </a:solidFill>
                <a:latin typeface="Verdana"/>
                <a:cs typeface="Verdana"/>
              </a:rPr>
              <a:t>MuleSoft </a:t>
            </a:r>
            <a:r>
              <a:rPr sz="1000">
                <a:solidFill>
                  <a:srgbClr val="2B133C"/>
                </a:solidFill>
                <a:latin typeface="Verdana"/>
                <a:cs typeface="Verdana"/>
              </a:rPr>
              <a:t>Anypoint</a:t>
            </a:r>
            <a:r>
              <a:rPr sz="1000" spc="-5">
                <a:solidFill>
                  <a:srgbClr val="2B133C"/>
                </a:solidFill>
                <a:latin typeface="Verdana"/>
                <a:cs typeface="Verdana"/>
              </a:rPr>
              <a:t> Platform</a:t>
            </a:r>
            <a:endParaRPr sz="1000">
              <a:latin typeface="Verdana"/>
              <a:cs typeface="Verdana"/>
            </a:endParaRPr>
          </a:p>
          <a:p>
            <a:pPr marL="184785" marR="429259" indent="-172720">
              <a:lnSpc>
                <a:spcPct val="104200"/>
              </a:lnSpc>
              <a:spcBef>
                <a:spcPts val="640"/>
              </a:spcBef>
              <a:buFont typeface="Wingdings"/>
              <a:buChar char=""/>
              <a:tabLst>
                <a:tab pos="185420" algn="l"/>
              </a:tabLst>
            </a:pPr>
            <a:r>
              <a:rPr sz="1200" b="1">
                <a:solidFill>
                  <a:srgbClr val="FF2F4B"/>
                </a:solidFill>
                <a:latin typeface="Verdana"/>
                <a:cs typeface="Verdana"/>
              </a:rPr>
              <a:t>API </a:t>
            </a:r>
            <a:r>
              <a:rPr sz="1200" b="1" spc="-5">
                <a:solidFill>
                  <a:srgbClr val="FF2F4B"/>
                </a:solidFill>
                <a:latin typeface="Verdana"/>
                <a:cs typeface="Verdana"/>
              </a:rPr>
              <a:t>Adoption</a:t>
            </a:r>
            <a:r>
              <a:rPr sz="1200" b="1" spc="-85">
                <a:solidFill>
                  <a:srgbClr val="FF2F4B"/>
                </a:solidFill>
                <a:latin typeface="Verdana"/>
                <a:cs typeface="Verdana"/>
              </a:rPr>
              <a:t> </a:t>
            </a:r>
            <a:r>
              <a:rPr sz="1200" b="1">
                <a:solidFill>
                  <a:srgbClr val="FF2F4B"/>
                </a:solidFill>
                <a:latin typeface="Verdana"/>
                <a:cs typeface="Verdana"/>
              </a:rPr>
              <a:t>At  </a:t>
            </a:r>
            <a:r>
              <a:rPr sz="1200" b="1" spc="-5">
                <a:solidFill>
                  <a:srgbClr val="FF2F4B"/>
                </a:solidFill>
                <a:latin typeface="Verdana"/>
                <a:cs typeface="Verdana"/>
              </a:rPr>
              <a:t>Scale</a:t>
            </a:r>
            <a:endParaRPr sz="1200">
              <a:latin typeface="Verdana"/>
              <a:cs typeface="Verdana"/>
            </a:endParaRPr>
          </a:p>
          <a:p>
            <a:pPr marL="184785" marR="53975">
              <a:lnSpc>
                <a:spcPts val="1500"/>
              </a:lnSpc>
              <a:spcBef>
                <a:spcPts val="60"/>
              </a:spcBef>
            </a:pPr>
            <a:r>
              <a:rPr sz="1000">
                <a:solidFill>
                  <a:srgbClr val="2B133C"/>
                </a:solidFill>
                <a:latin typeface="Verdana"/>
                <a:cs typeface="Verdana"/>
              </a:rPr>
              <a:t>Scale </a:t>
            </a:r>
            <a:r>
              <a:rPr sz="1000" spc="-5">
                <a:solidFill>
                  <a:srgbClr val="2B133C"/>
                </a:solidFill>
                <a:latin typeface="Verdana"/>
                <a:cs typeface="Verdana"/>
              </a:rPr>
              <a:t>innovation by  incrementally </a:t>
            </a:r>
            <a:r>
              <a:rPr sz="1000">
                <a:solidFill>
                  <a:srgbClr val="2B133C"/>
                </a:solidFill>
                <a:latin typeface="Verdana"/>
                <a:cs typeface="Verdana"/>
              </a:rPr>
              <a:t>building </a:t>
            </a:r>
            <a:r>
              <a:rPr sz="1000" spc="-5">
                <a:solidFill>
                  <a:srgbClr val="2B133C"/>
                </a:solidFill>
                <a:latin typeface="Verdana"/>
                <a:cs typeface="Verdana"/>
              </a:rPr>
              <a:t>an  enterprise-wide platform of  reusable assets </a:t>
            </a:r>
            <a:r>
              <a:rPr sz="1000" spc="-10">
                <a:solidFill>
                  <a:srgbClr val="2B133C"/>
                </a:solidFill>
                <a:latin typeface="Verdana"/>
                <a:cs typeface="Verdana"/>
              </a:rPr>
              <a:t>for</a:t>
            </a:r>
            <a:r>
              <a:rPr sz="1000" spc="20">
                <a:solidFill>
                  <a:srgbClr val="2B133C"/>
                </a:solidFill>
                <a:latin typeface="Verdana"/>
                <a:cs typeface="Verdana"/>
              </a:rPr>
              <a:t> </a:t>
            </a:r>
            <a:r>
              <a:rPr sz="1000" spc="-5">
                <a:solidFill>
                  <a:srgbClr val="2B133C"/>
                </a:solidFill>
                <a:latin typeface="Verdana"/>
                <a:cs typeface="Verdana"/>
              </a:rPr>
              <a:t>success</a:t>
            </a:r>
            <a:endParaRPr sz="1000">
              <a:latin typeface="Verdana"/>
              <a:cs typeface="Verdana"/>
            </a:endParaRPr>
          </a:p>
          <a:p>
            <a:pPr marL="184785" marR="158750">
              <a:lnSpc>
                <a:spcPts val="1500"/>
              </a:lnSpc>
            </a:pPr>
            <a:r>
              <a:rPr sz="1000" spc="-5">
                <a:solidFill>
                  <a:srgbClr val="2B133C"/>
                </a:solidFill>
                <a:latin typeface="Verdana"/>
                <a:cs typeface="Verdana"/>
              </a:rPr>
              <a:t>of your cloud adoption,  legacy modernisation and  </a:t>
            </a:r>
            <a:r>
              <a:rPr sz="1000">
                <a:solidFill>
                  <a:srgbClr val="2B133C"/>
                </a:solidFill>
                <a:latin typeface="Verdana"/>
                <a:cs typeface="Verdana"/>
              </a:rPr>
              <a:t>digital</a:t>
            </a:r>
            <a:r>
              <a:rPr sz="1000" spc="-35">
                <a:solidFill>
                  <a:srgbClr val="2B133C"/>
                </a:solidFill>
                <a:latin typeface="Verdana"/>
                <a:cs typeface="Verdana"/>
              </a:rPr>
              <a:t> </a:t>
            </a:r>
            <a:r>
              <a:rPr sz="1000" spc="-5">
                <a:solidFill>
                  <a:srgbClr val="2B133C"/>
                </a:solidFill>
                <a:latin typeface="Verdana"/>
                <a:cs typeface="Verdana"/>
              </a:rPr>
              <a:t>transformations</a:t>
            </a:r>
            <a:endParaRPr sz="1000">
              <a:latin typeface="Verdana"/>
              <a:cs typeface="Verdana"/>
            </a:endParaRPr>
          </a:p>
        </p:txBody>
      </p:sp>
      <p:sp>
        <p:nvSpPr>
          <p:cNvPr id="36" name="object 36"/>
          <p:cNvSpPr txBox="1"/>
          <p:nvPr/>
        </p:nvSpPr>
        <p:spPr>
          <a:xfrm>
            <a:off x="5549646" y="4355338"/>
            <a:ext cx="2009139" cy="1346835"/>
          </a:xfrm>
          <a:prstGeom prst="rect">
            <a:avLst/>
          </a:prstGeom>
        </p:spPr>
        <p:txBody>
          <a:bodyPr vert="horz" wrap="square" lIns="0" tIns="5080" rIns="0" bIns="0" rtlCol="0">
            <a:spAutoFit/>
          </a:bodyPr>
          <a:lstStyle/>
          <a:p>
            <a:pPr marL="184785" marR="803275" indent="-172720">
              <a:lnSpc>
                <a:spcPct val="104200"/>
              </a:lnSpc>
              <a:spcBef>
                <a:spcPts val="40"/>
              </a:spcBef>
              <a:buFont typeface="Wingdings"/>
              <a:buChar char=""/>
              <a:tabLst>
                <a:tab pos="185420" algn="l"/>
              </a:tabLst>
            </a:pPr>
            <a:r>
              <a:rPr sz="1200" b="1" spc="-5">
                <a:solidFill>
                  <a:srgbClr val="FF2F4B"/>
                </a:solidFill>
                <a:latin typeface="Verdana"/>
                <a:cs typeface="Verdana"/>
              </a:rPr>
              <a:t>Centre For  Enabl</a:t>
            </a:r>
            <a:r>
              <a:rPr sz="1200" b="1" spc="-10">
                <a:solidFill>
                  <a:srgbClr val="FF2F4B"/>
                </a:solidFill>
                <a:latin typeface="Verdana"/>
                <a:cs typeface="Verdana"/>
              </a:rPr>
              <a:t>e</a:t>
            </a:r>
            <a:r>
              <a:rPr sz="1200" b="1" spc="-5">
                <a:solidFill>
                  <a:srgbClr val="FF2F4B"/>
                </a:solidFill>
                <a:latin typeface="Verdana"/>
                <a:cs typeface="Verdana"/>
              </a:rPr>
              <a:t>men</a:t>
            </a:r>
            <a:r>
              <a:rPr sz="1200" b="1">
                <a:solidFill>
                  <a:srgbClr val="FF2F4B"/>
                </a:solidFill>
                <a:latin typeface="Verdana"/>
                <a:cs typeface="Verdana"/>
              </a:rPr>
              <a:t>t</a:t>
            </a:r>
            <a:endParaRPr sz="1200">
              <a:latin typeface="Verdana"/>
              <a:cs typeface="Verdana"/>
            </a:endParaRPr>
          </a:p>
          <a:p>
            <a:pPr marL="184785" algn="just">
              <a:lnSpc>
                <a:spcPct val="100000"/>
              </a:lnSpc>
              <a:spcBef>
                <a:spcPts val="259"/>
              </a:spcBef>
            </a:pPr>
            <a:r>
              <a:rPr sz="1000" spc="-5">
                <a:solidFill>
                  <a:srgbClr val="2B133C"/>
                </a:solidFill>
                <a:latin typeface="Verdana"/>
                <a:cs typeface="Verdana"/>
              </a:rPr>
              <a:t>This offering delivers</a:t>
            </a:r>
            <a:r>
              <a:rPr sz="1000" spc="10">
                <a:solidFill>
                  <a:srgbClr val="2B133C"/>
                </a:solidFill>
                <a:latin typeface="Verdana"/>
                <a:cs typeface="Verdana"/>
              </a:rPr>
              <a:t> </a:t>
            </a:r>
            <a:r>
              <a:rPr sz="1000" spc="-5">
                <a:solidFill>
                  <a:srgbClr val="2B133C"/>
                </a:solidFill>
                <a:latin typeface="Verdana"/>
                <a:cs typeface="Verdana"/>
              </a:rPr>
              <a:t>an</a:t>
            </a:r>
            <a:endParaRPr sz="1000">
              <a:latin typeface="Verdana"/>
              <a:cs typeface="Verdana"/>
            </a:endParaRPr>
          </a:p>
          <a:p>
            <a:pPr marL="184785" algn="just">
              <a:lnSpc>
                <a:spcPct val="100000"/>
              </a:lnSpc>
              <a:spcBef>
                <a:spcPts val="300"/>
              </a:spcBef>
            </a:pPr>
            <a:r>
              <a:rPr sz="1000" spc="-5">
                <a:solidFill>
                  <a:srgbClr val="2B133C"/>
                </a:solidFill>
                <a:latin typeface="Verdana"/>
                <a:cs typeface="Verdana"/>
              </a:rPr>
              <a:t>operating model to</a:t>
            </a:r>
            <a:r>
              <a:rPr sz="1000" spc="45">
                <a:solidFill>
                  <a:srgbClr val="2B133C"/>
                </a:solidFill>
                <a:latin typeface="Verdana"/>
                <a:cs typeface="Verdana"/>
              </a:rPr>
              <a:t> </a:t>
            </a:r>
            <a:r>
              <a:rPr sz="1000" spc="-5">
                <a:solidFill>
                  <a:srgbClr val="2B133C"/>
                </a:solidFill>
                <a:latin typeface="Verdana"/>
                <a:cs typeface="Verdana"/>
              </a:rPr>
              <a:t>enable</a:t>
            </a:r>
            <a:endParaRPr sz="1000">
              <a:latin typeface="Verdana"/>
              <a:cs typeface="Verdana"/>
            </a:endParaRPr>
          </a:p>
          <a:p>
            <a:pPr marL="184785" marR="5080" algn="just">
              <a:lnSpc>
                <a:spcPct val="125000"/>
              </a:lnSpc>
            </a:pPr>
            <a:r>
              <a:rPr sz="1000" spc="-5">
                <a:solidFill>
                  <a:srgbClr val="2B133C"/>
                </a:solidFill>
                <a:latin typeface="Verdana"/>
                <a:cs typeface="Verdana"/>
              </a:rPr>
              <a:t>business and </a:t>
            </a:r>
            <a:r>
              <a:rPr sz="1000" spc="-10">
                <a:solidFill>
                  <a:srgbClr val="2B133C"/>
                </a:solidFill>
                <a:latin typeface="Verdana"/>
                <a:cs typeface="Verdana"/>
              </a:rPr>
              <a:t>IT </a:t>
            </a:r>
            <a:r>
              <a:rPr sz="1000">
                <a:solidFill>
                  <a:srgbClr val="2B133C"/>
                </a:solidFill>
                <a:latin typeface="Verdana"/>
                <a:cs typeface="Verdana"/>
              </a:rPr>
              <a:t>functions </a:t>
            </a:r>
            <a:r>
              <a:rPr sz="1000" spc="-5">
                <a:solidFill>
                  <a:srgbClr val="2B133C"/>
                </a:solidFill>
                <a:latin typeface="Verdana"/>
                <a:cs typeface="Verdana"/>
              </a:rPr>
              <a:t>to  </a:t>
            </a:r>
            <a:r>
              <a:rPr sz="1000">
                <a:solidFill>
                  <a:srgbClr val="2B133C"/>
                </a:solidFill>
                <a:latin typeface="Verdana"/>
                <a:cs typeface="Verdana"/>
              </a:rPr>
              <a:t>build </a:t>
            </a:r>
            <a:r>
              <a:rPr sz="1000" spc="-5">
                <a:solidFill>
                  <a:srgbClr val="2B133C"/>
                </a:solidFill>
                <a:latin typeface="Verdana"/>
                <a:cs typeface="Verdana"/>
              </a:rPr>
              <a:t>and drive consumption  of API</a:t>
            </a:r>
            <a:r>
              <a:rPr sz="1000" spc="15">
                <a:solidFill>
                  <a:srgbClr val="2B133C"/>
                </a:solidFill>
                <a:latin typeface="Verdana"/>
                <a:cs typeface="Verdana"/>
              </a:rPr>
              <a:t> </a:t>
            </a:r>
            <a:r>
              <a:rPr sz="1000" spc="-5">
                <a:solidFill>
                  <a:srgbClr val="2B133C"/>
                </a:solidFill>
                <a:latin typeface="Verdana"/>
                <a:cs typeface="Verdana"/>
              </a:rPr>
              <a:t>assets</a:t>
            </a:r>
            <a:endParaRPr sz="1000">
              <a:latin typeface="Verdana"/>
              <a:cs typeface="Verdana"/>
            </a:endParaRPr>
          </a:p>
        </p:txBody>
      </p:sp>
      <p:sp>
        <p:nvSpPr>
          <p:cNvPr id="37" name="object 37"/>
          <p:cNvSpPr txBox="1"/>
          <p:nvPr/>
        </p:nvSpPr>
        <p:spPr>
          <a:xfrm>
            <a:off x="7567308" y="1826942"/>
            <a:ext cx="396240" cy="2082800"/>
          </a:xfrm>
          <a:prstGeom prst="rect">
            <a:avLst/>
          </a:prstGeom>
        </p:spPr>
        <p:txBody>
          <a:bodyPr vert="vert270" wrap="square" lIns="0" tIns="13970" rIns="0" bIns="0" rtlCol="0">
            <a:spAutoFit/>
          </a:bodyPr>
          <a:lstStyle/>
          <a:p>
            <a:pPr marL="12700">
              <a:lnSpc>
                <a:spcPct val="100000"/>
              </a:lnSpc>
              <a:spcBef>
                <a:spcPts val="110"/>
              </a:spcBef>
            </a:pPr>
            <a:r>
              <a:rPr sz="2400" spc="-5">
                <a:solidFill>
                  <a:srgbClr val="FF2F4B"/>
                </a:solidFill>
                <a:latin typeface="Verdana"/>
                <a:cs typeface="Verdana"/>
              </a:rPr>
              <a:t>Our</a:t>
            </a:r>
            <a:r>
              <a:rPr sz="2400" spc="-55">
                <a:solidFill>
                  <a:srgbClr val="FF2F4B"/>
                </a:solidFill>
                <a:latin typeface="Verdana"/>
                <a:cs typeface="Verdana"/>
              </a:rPr>
              <a:t> </a:t>
            </a:r>
            <a:r>
              <a:rPr sz="2400" spc="-10">
                <a:solidFill>
                  <a:srgbClr val="FF2F4B"/>
                </a:solidFill>
                <a:latin typeface="Verdana"/>
                <a:cs typeface="Verdana"/>
              </a:rPr>
              <a:t>Offerings</a:t>
            </a:r>
            <a:endParaRPr sz="2400">
              <a:latin typeface="Verdana"/>
              <a:cs typeface="Verdana"/>
            </a:endParaRPr>
          </a:p>
        </p:txBody>
      </p:sp>
      <p:sp>
        <p:nvSpPr>
          <p:cNvPr id="38" name="object 38"/>
          <p:cNvSpPr/>
          <p:nvPr/>
        </p:nvSpPr>
        <p:spPr>
          <a:xfrm>
            <a:off x="7299959" y="5620511"/>
            <a:ext cx="966469" cy="914400"/>
          </a:xfrm>
          <a:custGeom>
            <a:avLst/>
            <a:gdLst/>
            <a:ahLst/>
            <a:cxnLst/>
            <a:rect l="l" t="t" r="r" b="b"/>
            <a:pathLst>
              <a:path w="966470" h="914400">
                <a:moveTo>
                  <a:pt x="483108" y="0"/>
                </a:moveTo>
                <a:lnTo>
                  <a:pt x="435322" y="3277"/>
                </a:lnTo>
                <a:lnTo>
                  <a:pt x="388548" y="10882"/>
                </a:lnTo>
                <a:lnTo>
                  <a:pt x="343072" y="22608"/>
                </a:lnTo>
                <a:lnTo>
                  <a:pt x="299180" y="38252"/>
                </a:lnTo>
                <a:lnTo>
                  <a:pt x="257157" y="57608"/>
                </a:lnTo>
                <a:lnTo>
                  <a:pt x="217289" y="80470"/>
                </a:lnTo>
                <a:lnTo>
                  <a:pt x="179861" y="106634"/>
                </a:lnTo>
                <a:lnTo>
                  <a:pt x="145161" y="135894"/>
                </a:lnTo>
                <a:lnTo>
                  <a:pt x="113472" y="168046"/>
                </a:lnTo>
                <a:lnTo>
                  <a:pt x="85082" y="202884"/>
                </a:lnTo>
                <a:lnTo>
                  <a:pt x="60275" y="240202"/>
                </a:lnTo>
                <a:lnTo>
                  <a:pt x="39338" y="279797"/>
                </a:lnTo>
                <a:lnTo>
                  <a:pt x="22556" y="321462"/>
                </a:lnTo>
                <a:lnTo>
                  <a:pt x="10215" y="364993"/>
                </a:lnTo>
                <a:lnTo>
                  <a:pt x="2601" y="410185"/>
                </a:lnTo>
                <a:lnTo>
                  <a:pt x="0" y="456831"/>
                </a:lnTo>
                <a:lnTo>
                  <a:pt x="2249" y="503705"/>
                </a:lnTo>
                <a:lnTo>
                  <a:pt x="8902" y="549521"/>
                </a:lnTo>
                <a:lnTo>
                  <a:pt x="19813" y="593982"/>
                </a:lnTo>
                <a:lnTo>
                  <a:pt x="34837" y="636792"/>
                </a:lnTo>
                <a:lnTo>
                  <a:pt x="53829" y="677654"/>
                </a:lnTo>
                <a:lnTo>
                  <a:pt x="76643" y="716271"/>
                </a:lnTo>
                <a:lnTo>
                  <a:pt x="103135" y="752346"/>
                </a:lnTo>
                <a:lnTo>
                  <a:pt x="133159" y="785582"/>
                </a:lnTo>
                <a:lnTo>
                  <a:pt x="166571" y="815682"/>
                </a:lnTo>
                <a:lnTo>
                  <a:pt x="203224" y="842350"/>
                </a:lnTo>
                <a:lnTo>
                  <a:pt x="242975" y="865288"/>
                </a:lnTo>
                <a:lnTo>
                  <a:pt x="285678" y="884201"/>
                </a:lnTo>
                <a:lnTo>
                  <a:pt x="331188" y="898790"/>
                </a:lnTo>
                <a:lnTo>
                  <a:pt x="379359" y="908759"/>
                </a:lnTo>
                <a:lnTo>
                  <a:pt x="430048" y="913811"/>
                </a:lnTo>
                <a:lnTo>
                  <a:pt x="483108" y="913650"/>
                </a:lnTo>
                <a:lnTo>
                  <a:pt x="522668" y="908542"/>
                </a:lnTo>
                <a:lnTo>
                  <a:pt x="563337" y="899578"/>
                </a:lnTo>
                <a:lnTo>
                  <a:pt x="604609" y="886915"/>
                </a:lnTo>
                <a:lnTo>
                  <a:pt x="645979" y="870710"/>
                </a:lnTo>
                <a:lnTo>
                  <a:pt x="686942" y="851118"/>
                </a:lnTo>
                <a:lnTo>
                  <a:pt x="726993" y="828297"/>
                </a:lnTo>
                <a:lnTo>
                  <a:pt x="765627" y="802402"/>
                </a:lnTo>
                <a:lnTo>
                  <a:pt x="802338" y="773590"/>
                </a:lnTo>
                <a:lnTo>
                  <a:pt x="836622" y="742017"/>
                </a:lnTo>
                <a:lnTo>
                  <a:pt x="867973" y="707839"/>
                </a:lnTo>
                <a:lnTo>
                  <a:pt x="895887" y="671213"/>
                </a:lnTo>
                <a:lnTo>
                  <a:pt x="919859" y="632295"/>
                </a:lnTo>
                <a:lnTo>
                  <a:pt x="939382" y="591242"/>
                </a:lnTo>
                <a:lnTo>
                  <a:pt x="953953" y="548209"/>
                </a:lnTo>
                <a:lnTo>
                  <a:pt x="963066" y="503354"/>
                </a:lnTo>
                <a:lnTo>
                  <a:pt x="966216" y="456831"/>
                </a:lnTo>
                <a:lnTo>
                  <a:pt x="963935" y="410108"/>
                </a:lnTo>
                <a:lnTo>
                  <a:pt x="957198" y="364708"/>
                </a:lnTo>
                <a:lnTo>
                  <a:pt x="946162" y="320866"/>
                </a:lnTo>
                <a:lnTo>
                  <a:pt x="930985" y="278818"/>
                </a:lnTo>
                <a:lnTo>
                  <a:pt x="911823" y="238801"/>
                </a:lnTo>
                <a:lnTo>
                  <a:pt x="888835" y="201049"/>
                </a:lnTo>
                <a:lnTo>
                  <a:pt x="862178" y="165798"/>
                </a:lnTo>
                <a:lnTo>
                  <a:pt x="832008" y="133284"/>
                </a:lnTo>
                <a:lnTo>
                  <a:pt x="798484" y="103744"/>
                </a:lnTo>
                <a:lnTo>
                  <a:pt x="761763" y="77412"/>
                </a:lnTo>
                <a:lnTo>
                  <a:pt x="722002" y="54524"/>
                </a:lnTo>
                <a:lnTo>
                  <a:pt x="679358" y="35316"/>
                </a:lnTo>
                <a:lnTo>
                  <a:pt x="633990" y="20024"/>
                </a:lnTo>
                <a:lnTo>
                  <a:pt x="586053" y="8883"/>
                </a:lnTo>
                <a:lnTo>
                  <a:pt x="535707" y="2130"/>
                </a:lnTo>
                <a:lnTo>
                  <a:pt x="483108" y="0"/>
                </a:lnTo>
                <a:close/>
              </a:path>
            </a:pathLst>
          </a:custGeom>
          <a:solidFill>
            <a:srgbClr val="FF2F4B"/>
          </a:solidFill>
        </p:spPr>
        <p:txBody>
          <a:bodyPr wrap="square" lIns="0" tIns="0" rIns="0" bIns="0" rtlCol="0"/>
          <a:lstStyle/>
          <a:p>
            <a:endParaRPr/>
          </a:p>
        </p:txBody>
      </p:sp>
      <p:sp>
        <p:nvSpPr>
          <p:cNvPr id="39" name="object 39"/>
          <p:cNvSpPr/>
          <p:nvPr/>
        </p:nvSpPr>
        <p:spPr>
          <a:xfrm>
            <a:off x="7744968" y="4023359"/>
            <a:ext cx="76200" cy="1644014"/>
          </a:xfrm>
          <a:custGeom>
            <a:avLst/>
            <a:gdLst/>
            <a:ahLst/>
            <a:cxnLst/>
            <a:rect l="l" t="t" r="r" b="b"/>
            <a:pathLst>
              <a:path w="76200" h="1644014">
                <a:moveTo>
                  <a:pt x="31750" y="74921"/>
                </a:moveTo>
                <a:lnTo>
                  <a:pt x="31750" y="1643964"/>
                </a:lnTo>
                <a:lnTo>
                  <a:pt x="44450" y="1643964"/>
                </a:lnTo>
                <a:lnTo>
                  <a:pt x="44450" y="76200"/>
                </a:lnTo>
                <a:lnTo>
                  <a:pt x="38100" y="76200"/>
                </a:lnTo>
                <a:lnTo>
                  <a:pt x="31750" y="74921"/>
                </a:lnTo>
                <a:close/>
              </a:path>
              <a:path w="76200" h="1644014">
                <a:moveTo>
                  <a:pt x="44450" y="38100"/>
                </a:moveTo>
                <a:lnTo>
                  <a:pt x="31750" y="38100"/>
                </a:lnTo>
                <a:lnTo>
                  <a:pt x="31750" y="74921"/>
                </a:lnTo>
                <a:lnTo>
                  <a:pt x="38100" y="76200"/>
                </a:lnTo>
                <a:lnTo>
                  <a:pt x="44449" y="74921"/>
                </a:lnTo>
                <a:lnTo>
                  <a:pt x="44450" y="38100"/>
                </a:lnTo>
                <a:close/>
              </a:path>
              <a:path w="76200" h="1644014">
                <a:moveTo>
                  <a:pt x="44450" y="74921"/>
                </a:moveTo>
                <a:lnTo>
                  <a:pt x="38100" y="76200"/>
                </a:lnTo>
                <a:lnTo>
                  <a:pt x="44450" y="76200"/>
                </a:lnTo>
                <a:lnTo>
                  <a:pt x="44450" y="74921"/>
                </a:lnTo>
                <a:close/>
              </a:path>
              <a:path w="76200" h="1644014">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1644014">
                <a:moveTo>
                  <a:pt x="76200" y="38100"/>
                </a:moveTo>
                <a:lnTo>
                  <a:pt x="44450" y="38100"/>
                </a:lnTo>
                <a:lnTo>
                  <a:pt x="44450" y="74921"/>
                </a:lnTo>
                <a:lnTo>
                  <a:pt x="52947" y="73211"/>
                </a:lnTo>
                <a:lnTo>
                  <a:pt x="65055" y="65055"/>
                </a:lnTo>
                <a:lnTo>
                  <a:pt x="73211" y="52947"/>
                </a:lnTo>
                <a:lnTo>
                  <a:pt x="76200" y="38100"/>
                </a:lnTo>
                <a:close/>
              </a:path>
            </a:pathLst>
          </a:custGeom>
          <a:solidFill>
            <a:srgbClr val="FF2F4B"/>
          </a:solidFill>
        </p:spPr>
        <p:txBody>
          <a:bodyPr wrap="square" lIns="0" tIns="0" rIns="0" bIns="0" rtlCol="0"/>
          <a:lstStyle/>
          <a:p>
            <a:endParaRPr/>
          </a:p>
        </p:txBody>
      </p:sp>
      <p:sp>
        <p:nvSpPr>
          <p:cNvPr id="40" name="object 40"/>
          <p:cNvSpPr/>
          <p:nvPr/>
        </p:nvSpPr>
        <p:spPr>
          <a:xfrm>
            <a:off x="7514843" y="6125913"/>
            <a:ext cx="528320" cy="255270"/>
          </a:xfrm>
          <a:custGeom>
            <a:avLst/>
            <a:gdLst/>
            <a:ahLst/>
            <a:cxnLst/>
            <a:rect l="l" t="t" r="r" b="b"/>
            <a:pathLst>
              <a:path w="528320" h="255270">
                <a:moveTo>
                  <a:pt x="131897" y="0"/>
                </a:moveTo>
                <a:lnTo>
                  <a:pt x="121761" y="201"/>
                </a:lnTo>
                <a:lnTo>
                  <a:pt x="110815" y="1207"/>
                </a:lnTo>
                <a:lnTo>
                  <a:pt x="98678" y="1810"/>
                </a:lnTo>
                <a:lnTo>
                  <a:pt x="78031" y="6304"/>
                </a:lnTo>
                <a:lnTo>
                  <a:pt x="12826" y="18981"/>
                </a:lnTo>
                <a:lnTo>
                  <a:pt x="21091" y="44200"/>
                </a:lnTo>
                <a:lnTo>
                  <a:pt x="17700" y="82297"/>
                </a:lnTo>
                <a:lnTo>
                  <a:pt x="8665" y="125223"/>
                </a:lnTo>
                <a:lnTo>
                  <a:pt x="0" y="164929"/>
                </a:lnTo>
                <a:lnTo>
                  <a:pt x="0" y="182100"/>
                </a:lnTo>
                <a:lnTo>
                  <a:pt x="4317" y="186392"/>
                </a:lnTo>
                <a:lnTo>
                  <a:pt x="90170" y="186392"/>
                </a:lnTo>
                <a:lnTo>
                  <a:pt x="94360" y="190685"/>
                </a:lnTo>
                <a:lnTo>
                  <a:pt x="253237" y="250781"/>
                </a:lnTo>
                <a:lnTo>
                  <a:pt x="257555" y="255074"/>
                </a:lnTo>
                <a:lnTo>
                  <a:pt x="266064" y="255074"/>
                </a:lnTo>
                <a:lnTo>
                  <a:pt x="274700" y="250781"/>
                </a:lnTo>
                <a:lnTo>
                  <a:pt x="278891" y="250781"/>
                </a:lnTo>
                <a:lnTo>
                  <a:pt x="283209" y="246489"/>
                </a:lnTo>
                <a:lnTo>
                  <a:pt x="322027" y="219668"/>
                </a:lnTo>
                <a:lnTo>
                  <a:pt x="374231" y="181310"/>
                </a:lnTo>
                <a:lnTo>
                  <a:pt x="415250" y="150442"/>
                </a:lnTo>
                <a:lnTo>
                  <a:pt x="242490" y="150442"/>
                </a:lnTo>
                <a:lnTo>
                  <a:pt x="232832" y="148362"/>
                </a:lnTo>
                <a:lnTo>
                  <a:pt x="145923" y="104833"/>
                </a:lnTo>
                <a:lnTo>
                  <a:pt x="145923" y="91955"/>
                </a:lnTo>
                <a:lnTo>
                  <a:pt x="287216" y="91955"/>
                </a:lnTo>
                <a:lnTo>
                  <a:pt x="286448" y="85516"/>
                </a:lnTo>
                <a:lnTo>
                  <a:pt x="173749" y="15963"/>
                </a:lnTo>
                <a:lnTo>
                  <a:pt x="141604" y="1810"/>
                </a:lnTo>
                <a:lnTo>
                  <a:pt x="131897" y="0"/>
                </a:lnTo>
                <a:close/>
              </a:path>
              <a:path w="528320" h="255270">
                <a:moveTo>
                  <a:pt x="489759" y="8249"/>
                </a:moveTo>
                <a:lnTo>
                  <a:pt x="450596" y="23273"/>
                </a:lnTo>
                <a:lnTo>
                  <a:pt x="407189" y="47553"/>
                </a:lnTo>
                <a:lnTo>
                  <a:pt x="300354" y="109125"/>
                </a:lnTo>
                <a:lnTo>
                  <a:pt x="296163" y="113418"/>
                </a:lnTo>
                <a:lnTo>
                  <a:pt x="296163" y="117711"/>
                </a:lnTo>
                <a:lnTo>
                  <a:pt x="288964" y="129046"/>
                </a:lnTo>
                <a:lnTo>
                  <a:pt x="252124" y="150106"/>
                </a:lnTo>
                <a:lnTo>
                  <a:pt x="242490" y="150442"/>
                </a:lnTo>
                <a:lnTo>
                  <a:pt x="415250" y="150442"/>
                </a:lnTo>
                <a:lnTo>
                  <a:pt x="497839" y="87662"/>
                </a:lnTo>
                <a:lnTo>
                  <a:pt x="519285" y="66669"/>
                </a:lnTo>
                <a:lnTo>
                  <a:pt x="527859" y="48492"/>
                </a:lnTo>
                <a:lnTo>
                  <a:pt x="526790" y="32731"/>
                </a:lnTo>
                <a:lnTo>
                  <a:pt x="519302" y="18981"/>
                </a:lnTo>
                <a:lnTo>
                  <a:pt x="506728" y="9993"/>
                </a:lnTo>
                <a:lnTo>
                  <a:pt x="489759" y="8249"/>
                </a:lnTo>
                <a:close/>
              </a:path>
              <a:path w="528320" h="255270">
                <a:moveTo>
                  <a:pt x="253237" y="134881"/>
                </a:moveTo>
                <a:lnTo>
                  <a:pt x="236092" y="134881"/>
                </a:lnTo>
                <a:lnTo>
                  <a:pt x="244601" y="139174"/>
                </a:lnTo>
                <a:lnTo>
                  <a:pt x="253237" y="134881"/>
                </a:lnTo>
                <a:close/>
              </a:path>
              <a:path w="528320" h="255270">
                <a:moveTo>
                  <a:pt x="287216" y="91955"/>
                </a:moveTo>
                <a:lnTo>
                  <a:pt x="145923" y="91955"/>
                </a:lnTo>
                <a:lnTo>
                  <a:pt x="231775" y="134881"/>
                </a:lnTo>
                <a:lnTo>
                  <a:pt x="266064" y="134881"/>
                </a:lnTo>
                <a:lnTo>
                  <a:pt x="270382" y="130588"/>
                </a:lnTo>
                <a:lnTo>
                  <a:pt x="278891" y="122003"/>
                </a:lnTo>
                <a:lnTo>
                  <a:pt x="283209" y="117711"/>
                </a:lnTo>
                <a:lnTo>
                  <a:pt x="283209" y="113418"/>
                </a:lnTo>
                <a:lnTo>
                  <a:pt x="287527" y="109125"/>
                </a:lnTo>
                <a:lnTo>
                  <a:pt x="287446" y="96248"/>
                </a:lnTo>
                <a:lnTo>
                  <a:pt x="287393" y="93431"/>
                </a:lnTo>
                <a:lnTo>
                  <a:pt x="287216" y="91955"/>
                </a:lnTo>
                <a:close/>
              </a:path>
              <a:path w="528320" h="255270">
                <a:moveTo>
                  <a:pt x="423259" y="6103"/>
                </a:moveTo>
                <a:lnTo>
                  <a:pt x="414869" y="6237"/>
                </a:lnTo>
                <a:lnTo>
                  <a:pt x="407670" y="10396"/>
                </a:lnTo>
                <a:lnTo>
                  <a:pt x="291846" y="66199"/>
                </a:lnTo>
                <a:lnTo>
                  <a:pt x="294997" y="72705"/>
                </a:lnTo>
                <a:lnTo>
                  <a:pt x="297719" y="79614"/>
                </a:lnTo>
                <a:lnTo>
                  <a:pt x="299632" y="87327"/>
                </a:lnTo>
                <a:lnTo>
                  <a:pt x="300354" y="96248"/>
                </a:lnTo>
                <a:lnTo>
                  <a:pt x="442086" y="14688"/>
                </a:lnTo>
                <a:lnTo>
                  <a:pt x="432458" y="9188"/>
                </a:lnTo>
                <a:lnTo>
                  <a:pt x="423259" y="6103"/>
                </a:lnTo>
                <a:close/>
              </a:path>
            </a:pathLst>
          </a:custGeom>
          <a:solidFill>
            <a:srgbClr val="FDFFFF"/>
          </a:solidFill>
        </p:spPr>
        <p:txBody>
          <a:bodyPr wrap="square" lIns="0" tIns="0" rIns="0" bIns="0" rtlCol="0"/>
          <a:lstStyle/>
          <a:p>
            <a:endParaRPr/>
          </a:p>
        </p:txBody>
      </p:sp>
      <p:sp>
        <p:nvSpPr>
          <p:cNvPr id="41" name="object 41"/>
          <p:cNvSpPr/>
          <p:nvPr/>
        </p:nvSpPr>
        <p:spPr>
          <a:xfrm>
            <a:off x="7716011" y="5774435"/>
            <a:ext cx="304800" cy="356615"/>
          </a:xfrm>
          <a:prstGeom prst="rect">
            <a:avLst/>
          </a:prstGeom>
          <a:blipFill>
            <a:blip r:embed="rId2" cstate="print"/>
            <a:stretch>
              <a:fillRect/>
            </a:stretch>
          </a:blipFill>
        </p:spPr>
        <p:txBody>
          <a:bodyPr wrap="square" lIns="0" tIns="0" rIns="0" bIns="0" rtlCol="0"/>
          <a:lstStyle/>
          <a:p>
            <a:endParaRPr/>
          </a:p>
        </p:txBody>
      </p:sp>
      <p:sp>
        <p:nvSpPr>
          <p:cNvPr id="42" name="object 42"/>
          <p:cNvSpPr/>
          <p:nvPr/>
        </p:nvSpPr>
        <p:spPr>
          <a:xfrm>
            <a:off x="8319516" y="3919728"/>
            <a:ext cx="3467100" cy="1423670"/>
          </a:xfrm>
          <a:custGeom>
            <a:avLst/>
            <a:gdLst/>
            <a:ahLst/>
            <a:cxnLst/>
            <a:rect l="l" t="t" r="r" b="b"/>
            <a:pathLst>
              <a:path w="3467100" h="1423670">
                <a:moveTo>
                  <a:pt x="3401313" y="0"/>
                </a:moveTo>
                <a:lnTo>
                  <a:pt x="65785" y="0"/>
                </a:lnTo>
                <a:lnTo>
                  <a:pt x="40183" y="5171"/>
                </a:lnTo>
                <a:lnTo>
                  <a:pt x="19272" y="19272"/>
                </a:lnTo>
                <a:lnTo>
                  <a:pt x="5171" y="40183"/>
                </a:lnTo>
                <a:lnTo>
                  <a:pt x="0" y="65786"/>
                </a:lnTo>
                <a:lnTo>
                  <a:pt x="0" y="1423416"/>
                </a:lnTo>
                <a:lnTo>
                  <a:pt x="3467100" y="1423416"/>
                </a:lnTo>
                <a:lnTo>
                  <a:pt x="3467100" y="65786"/>
                </a:lnTo>
                <a:lnTo>
                  <a:pt x="3461928" y="40183"/>
                </a:lnTo>
                <a:lnTo>
                  <a:pt x="3447827" y="19272"/>
                </a:lnTo>
                <a:lnTo>
                  <a:pt x="3426916" y="5171"/>
                </a:lnTo>
                <a:lnTo>
                  <a:pt x="3401313" y="0"/>
                </a:lnTo>
                <a:close/>
              </a:path>
            </a:pathLst>
          </a:custGeom>
          <a:solidFill>
            <a:srgbClr val="FFFFFF"/>
          </a:solidFill>
        </p:spPr>
        <p:txBody>
          <a:bodyPr wrap="square" lIns="0" tIns="0" rIns="0" bIns="0" rtlCol="0"/>
          <a:lstStyle/>
          <a:p>
            <a:endParaRPr/>
          </a:p>
        </p:txBody>
      </p:sp>
      <p:sp>
        <p:nvSpPr>
          <p:cNvPr id="43" name="object 43"/>
          <p:cNvSpPr/>
          <p:nvPr/>
        </p:nvSpPr>
        <p:spPr>
          <a:xfrm>
            <a:off x="8319516" y="5321808"/>
            <a:ext cx="3872865" cy="685800"/>
          </a:xfrm>
          <a:custGeom>
            <a:avLst/>
            <a:gdLst/>
            <a:ahLst/>
            <a:cxnLst/>
            <a:rect l="l" t="t" r="r" b="b"/>
            <a:pathLst>
              <a:path w="3872865" h="685800">
                <a:moveTo>
                  <a:pt x="0" y="685799"/>
                </a:moveTo>
                <a:lnTo>
                  <a:pt x="3872483" y="685799"/>
                </a:lnTo>
                <a:lnTo>
                  <a:pt x="3872483" y="0"/>
                </a:lnTo>
                <a:lnTo>
                  <a:pt x="0" y="0"/>
                </a:lnTo>
                <a:lnTo>
                  <a:pt x="0" y="685799"/>
                </a:lnTo>
                <a:close/>
              </a:path>
            </a:pathLst>
          </a:custGeom>
          <a:solidFill>
            <a:srgbClr val="CA2980"/>
          </a:solidFill>
        </p:spPr>
        <p:txBody>
          <a:bodyPr wrap="square" lIns="0" tIns="0" rIns="0" bIns="0" rtlCol="0"/>
          <a:lstStyle/>
          <a:p>
            <a:endParaRPr/>
          </a:p>
        </p:txBody>
      </p:sp>
      <p:sp>
        <p:nvSpPr>
          <p:cNvPr id="44" name="object 44"/>
          <p:cNvSpPr txBox="1"/>
          <p:nvPr/>
        </p:nvSpPr>
        <p:spPr>
          <a:xfrm>
            <a:off x="8399780" y="5407253"/>
            <a:ext cx="881380" cy="513080"/>
          </a:xfrm>
          <a:prstGeom prst="rect">
            <a:avLst/>
          </a:prstGeom>
        </p:spPr>
        <p:txBody>
          <a:bodyPr vert="horz" wrap="square" lIns="0" tIns="12065" rIns="0" bIns="0" rtlCol="0">
            <a:spAutoFit/>
          </a:bodyPr>
          <a:lstStyle/>
          <a:p>
            <a:pPr marL="12700" marR="5080">
              <a:lnSpc>
                <a:spcPct val="100000"/>
              </a:lnSpc>
              <a:spcBef>
                <a:spcPts val="95"/>
              </a:spcBef>
            </a:pPr>
            <a:r>
              <a:rPr sz="1600" b="1" spc="-15">
                <a:solidFill>
                  <a:srgbClr val="FFFFFF"/>
                </a:solidFill>
                <a:latin typeface="Verdana"/>
                <a:cs typeface="Verdana"/>
              </a:rPr>
              <a:t>P</a:t>
            </a:r>
            <a:r>
              <a:rPr sz="1600" b="1" spc="-5">
                <a:solidFill>
                  <a:srgbClr val="FFFFFF"/>
                </a:solidFill>
                <a:latin typeface="Verdana"/>
                <a:cs typeface="Verdana"/>
              </a:rPr>
              <a:t>art</a:t>
            </a:r>
            <a:r>
              <a:rPr sz="1600" b="1" spc="-10">
                <a:solidFill>
                  <a:srgbClr val="FFFFFF"/>
                </a:solidFill>
                <a:latin typeface="Verdana"/>
                <a:cs typeface="Verdana"/>
              </a:rPr>
              <a:t>ner  A</a:t>
            </a:r>
            <a:r>
              <a:rPr sz="1600" b="1" spc="-15">
                <a:solidFill>
                  <a:srgbClr val="FFFFFF"/>
                </a:solidFill>
                <a:latin typeface="Verdana"/>
                <a:cs typeface="Verdana"/>
              </a:rPr>
              <a:t>w</a:t>
            </a:r>
            <a:r>
              <a:rPr sz="1600" b="1" spc="-5">
                <a:solidFill>
                  <a:srgbClr val="FFFFFF"/>
                </a:solidFill>
                <a:latin typeface="Verdana"/>
                <a:cs typeface="Verdana"/>
              </a:rPr>
              <a:t>ards</a:t>
            </a:r>
            <a:endParaRPr sz="1600">
              <a:latin typeface="Verdana"/>
              <a:cs typeface="Verdana"/>
            </a:endParaRPr>
          </a:p>
        </p:txBody>
      </p:sp>
      <p:sp>
        <p:nvSpPr>
          <p:cNvPr id="45" name="object 45"/>
          <p:cNvSpPr/>
          <p:nvPr/>
        </p:nvSpPr>
        <p:spPr>
          <a:xfrm>
            <a:off x="9619488" y="5583935"/>
            <a:ext cx="967740" cy="914400"/>
          </a:xfrm>
          <a:custGeom>
            <a:avLst/>
            <a:gdLst/>
            <a:ahLst/>
            <a:cxnLst/>
            <a:rect l="l" t="t" r="r" b="b"/>
            <a:pathLst>
              <a:path w="967740" h="914400">
                <a:moveTo>
                  <a:pt x="483869" y="0"/>
                </a:moveTo>
                <a:lnTo>
                  <a:pt x="435991" y="3277"/>
                </a:lnTo>
                <a:lnTo>
                  <a:pt x="389131" y="10882"/>
                </a:lnTo>
                <a:lnTo>
                  <a:pt x="343575" y="22608"/>
                </a:lnTo>
                <a:lnTo>
                  <a:pt x="299608" y="38252"/>
                </a:lnTo>
                <a:lnTo>
                  <a:pt x="257517" y="57608"/>
                </a:lnTo>
                <a:lnTo>
                  <a:pt x="217586" y="80470"/>
                </a:lnTo>
                <a:lnTo>
                  <a:pt x="180102" y="106634"/>
                </a:lnTo>
                <a:lnTo>
                  <a:pt x="145351" y="135894"/>
                </a:lnTo>
                <a:lnTo>
                  <a:pt x="113618" y="168046"/>
                </a:lnTo>
                <a:lnTo>
                  <a:pt x="85189" y="202884"/>
                </a:lnTo>
                <a:lnTo>
                  <a:pt x="60349" y="240202"/>
                </a:lnTo>
                <a:lnTo>
                  <a:pt x="39385" y="279797"/>
                </a:lnTo>
                <a:lnTo>
                  <a:pt x="22583" y="321462"/>
                </a:lnTo>
                <a:lnTo>
                  <a:pt x="10227" y="364993"/>
                </a:lnTo>
                <a:lnTo>
                  <a:pt x="2604" y="410185"/>
                </a:lnTo>
                <a:lnTo>
                  <a:pt x="0" y="456831"/>
                </a:lnTo>
                <a:lnTo>
                  <a:pt x="2254" y="503705"/>
                </a:lnTo>
                <a:lnTo>
                  <a:pt x="8920" y="549521"/>
                </a:lnTo>
                <a:lnTo>
                  <a:pt x="19851" y="593982"/>
                </a:lnTo>
                <a:lnTo>
                  <a:pt x="34903" y="636792"/>
                </a:lnTo>
                <a:lnTo>
                  <a:pt x="53929" y="677654"/>
                </a:lnTo>
                <a:lnTo>
                  <a:pt x="76784" y="716271"/>
                </a:lnTo>
                <a:lnTo>
                  <a:pt x="103322" y="752346"/>
                </a:lnTo>
                <a:lnTo>
                  <a:pt x="133397" y="785582"/>
                </a:lnTo>
                <a:lnTo>
                  <a:pt x="166864" y="815682"/>
                </a:lnTo>
                <a:lnTo>
                  <a:pt x="203578" y="842350"/>
                </a:lnTo>
                <a:lnTo>
                  <a:pt x="243392" y="865288"/>
                </a:lnTo>
                <a:lnTo>
                  <a:pt x="286160" y="884201"/>
                </a:lnTo>
                <a:lnTo>
                  <a:pt x="331738" y="898790"/>
                </a:lnTo>
                <a:lnTo>
                  <a:pt x="379979" y="908759"/>
                </a:lnTo>
                <a:lnTo>
                  <a:pt x="430738" y="913811"/>
                </a:lnTo>
                <a:lnTo>
                  <a:pt x="483869" y="913650"/>
                </a:lnTo>
                <a:lnTo>
                  <a:pt x="523481" y="908542"/>
                </a:lnTo>
                <a:lnTo>
                  <a:pt x="564205" y="899578"/>
                </a:lnTo>
                <a:lnTo>
                  <a:pt x="605536" y="886915"/>
                </a:lnTo>
                <a:lnTo>
                  <a:pt x="646967" y="870710"/>
                </a:lnTo>
                <a:lnTo>
                  <a:pt x="687993" y="851118"/>
                </a:lnTo>
                <a:lnTo>
                  <a:pt x="728108" y="828297"/>
                </a:lnTo>
                <a:lnTo>
                  <a:pt x="766804" y="802402"/>
                </a:lnTo>
                <a:lnTo>
                  <a:pt x="803576" y="773590"/>
                </a:lnTo>
                <a:lnTo>
                  <a:pt x="837918" y="742017"/>
                </a:lnTo>
                <a:lnTo>
                  <a:pt x="869323" y="707839"/>
                </a:lnTo>
                <a:lnTo>
                  <a:pt x="897286" y="671213"/>
                </a:lnTo>
                <a:lnTo>
                  <a:pt x="921299" y="632295"/>
                </a:lnTo>
                <a:lnTo>
                  <a:pt x="940858" y="591242"/>
                </a:lnTo>
                <a:lnTo>
                  <a:pt x="955454" y="548209"/>
                </a:lnTo>
                <a:lnTo>
                  <a:pt x="964584" y="503354"/>
                </a:lnTo>
                <a:lnTo>
                  <a:pt x="967739" y="456831"/>
                </a:lnTo>
                <a:lnTo>
                  <a:pt x="965455" y="410108"/>
                </a:lnTo>
                <a:lnTo>
                  <a:pt x="958705" y="364707"/>
                </a:lnTo>
                <a:lnTo>
                  <a:pt x="947649" y="320865"/>
                </a:lnTo>
                <a:lnTo>
                  <a:pt x="932443" y="278816"/>
                </a:lnTo>
                <a:lnTo>
                  <a:pt x="913247" y="238798"/>
                </a:lnTo>
                <a:lnTo>
                  <a:pt x="890219" y="201045"/>
                </a:lnTo>
                <a:lnTo>
                  <a:pt x="863515" y="165794"/>
                </a:lnTo>
                <a:lnTo>
                  <a:pt x="833294" y="133280"/>
                </a:lnTo>
                <a:lnTo>
                  <a:pt x="799714" y="103738"/>
                </a:lnTo>
                <a:lnTo>
                  <a:pt x="762933" y="77406"/>
                </a:lnTo>
                <a:lnTo>
                  <a:pt x="723109" y="54518"/>
                </a:lnTo>
                <a:lnTo>
                  <a:pt x="680400" y="35311"/>
                </a:lnTo>
                <a:lnTo>
                  <a:pt x="634963" y="20019"/>
                </a:lnTo>
                <a:lnTo>
                  <a:pt x="586958" y="8880"/>
                </a:lnTo>
                <a:lnTo>
                  <a:pt x="536540" y="2128"/>
                </a:lnTo>
                <a:lnTo>
                  <a:pt x="483869" y="0"/>
                </a:lnTo>
                <a:close/>
              </a:path>
            </a:pathLst>
          </a:custGeom>
          <a:solidFill>
            <a:srgbClr val="12ABDB"/>
          </a:solidFill>
        </p:spPr>
        <p:txBody>
          <a:bodyPr wrap="square" lIns="0" tIns="0" rIns="0" bIns="0" rtlCol="0"/>
          <a:lstStyle/>
          <a:p>
            <a:endParaRPr/>
          </a:p>
        </p:txBody>
      </p:sp>
      <p:sp>
        <p:nvSpPr>
          <p:cNvPr id="46" name="object 46"/>
          <p:cNvSpPr/>
          <p:nvPr/>
        </p:nvSpPr>
        <p:spPr>
          <a:xfrm>
            <a:off x="9840019" y="5797296"/>
            <a:ext cx="534035" cy="487680"/>
          </a:xfrm>
          <a:custGeom>
            <a:avLst/>
            <a:gdLst/>
            <a:ahLst/>
            <a:cxnLst/>
            <a:rect l="l" t="t" r="r" b="b"/>
            <a:pathLst>
              <a:path w="534034" h="487679">
                <a:moveTo>
                  <a:pt x="85284" y="21920"/>
                </a:moveTo>
                <a:lnTo>
                  <a:pt x="448" y="21920"/>
                </a:lnTo>
                <a:lnTo>
                  <a:pt x="448" y="32880"/>
                </a:lnTo>
                <a:lnTo>
                  <a:pt x="81" y="38353"/>
                </a:lnTo>
                <a:lnTo>
                  <a:pt x="5538" y="97608"/>
                </a:lnTo>
                <a:lnTo>
                  <a:pt x="18609" y="136994"/>
                </a:lnTo>
                <a:lnTo>
                  <a:pt x="42378" y="185191"/>
                </a:lnTo>
                <a:lnTo>
                  <a:pt x="76934" y="222604"/>
                </a:lnTo>
                <a:lnTo>
                  <a:pt x="121729" y="248717"/>
                </a:lnTo>
                <a:lnTo>
                  <a:pt x="176216" y="263016"/>
                </a:lnTo>
                <a:lnTo>
                  <a:pt x="188281" y="268503"/>
                </a:lnTo>
                <a:lnTo>
                  <a:pt x="202910" y="282966"/>
                </a:lnTo>
                <a:lnTo>
                  <a:pt x="218634" y="293838"/>
                </a:lnTo>
                <a:lnTo>
                  <a:pt x="234358" y="301630"/>
                </a:lnTo>
                <a:lnTo>
                  <a:pt x="248987" y="306857"/>
                </a:lnTo>
                <a:lnTo>
                  <a:pt x="251410" y="323210"/>
                </a:lnTo>
                <a:lnTo>
                  <a:pt x="250463" y="339047"/>
                </a:lnTo>
                <a:lnTo>
                  <a:pt x="247255" y="353857"/>
                </a:lnTo>
                <a:lnTo>
                  <a:pt x="242891" y="367131"/>
                </a:lnTo>
                <a:lnTo>
                  <a:pt x="231439" y="370381"/>
                </a:lnTo>
                <a:lnTo>
                  <a:pt x="223952" y="372606"/>
                </a:lnTo>
                <a:lnTo>
                  <a:pt x="219870" y="374834"/>
                </a:lnTo>
                <a:lnTo>
                  <a:pt x="218634" y="378091"/>
                </a:lnTo>
                <a:lnTo>
                  <a:pt x="212538" y="389051"/>
                </a:lnTo>
                <a:lnTo>
                  <a:pt x="206569" y="389051"/>
                </a:lnTo>
                <a:lnTo>
                  <a:pt x="194377" y="487679"/>
                </a:lnTo>
                <a:lnTo>
                  <a:pt x="273244" y="482206"/>
                </a:lnTo>
                <a:lnTo>
                  <a:pt x="351984" y="482206"/>
                </a:lnTo>
                <a:lnTo>
                  <a:pt x="339919" y="383565"/>
                </a:lnTo>
                <a:lnTo>
                  <a:pt x="333823" y="383565"/>
                </a:lnTo>
                <a:lnTo>
                  <a:pt x="327727" y="372605"/>
                </a:lnTo>
                <a:lnTo>
                  <a:pt x="321631" y="367131"/>
                </a:lnTo>
                <a:lnTo>
                  <a:pt x="309566" y="367131"/>
                </a:lnTo>
                <a:lnTo>
                  <a:pt x="301639" y="353857"/>
                </a:lnTo>
                <a:lnTo>
                  <a:pt x="295961" y="339047"/>
                </a:lnTo>
                <a:lnTo>
                  <a:pt x="292546" y="323210"/>
                </a:lnTo>
                <a:lnTo>
                  <a:pt x="291405" y="306857"/>
                </a:lnTo>
                <a:lnTo>
                  <a:pt x="308550" y="300775"/>
                </a:lnTo>
                <a:lnTo>
                  <a:pt x="323981" y="291099"/>
                </a:lnTo>
                <a:lnTo>
                  <a:pt x="338268" y="278343"/>
                </a:lnTo>
                <a:lnTo>
                  <a:pt x="347074" y="268503"/>
                </a:lnTo>
                <a:lnTo>
                  <a:pt x="224730" y="268503"/>
                </a:lnTo>
                <a:lnTo>
                  <a:pt x="198453" y="241096"/>
                </a:lnTo>
                <a:lnTo>
                  <a:pt x="170120" y="241096"/>
                </a:lnTo>
                <a:lnTo>
                  <a:pt x="127234" y="224661"/>
                </a:lnTo>
                <a:lnTo>
                  <a:pt x="90586" y="200005"/>
                </a:lnTo>
                <a:lnTo>
                  <a:pt x="61892" y="167130"/>
                </a:lnTo>
                <a:lnTo>
                  <a:pt x="42866" y="126034"/>
                </a:lnTo>
                <a:lnTo>
                  <a:pt x="26975" y="78770"/>
                </a:lnTo>
                <a:lnTo>
                  <a:pt x="24705" y="43840"/>
                </a:lnTo>
                <a:lnTo>
                  <a:pt x="113563" y="43840"/>
                </a:lnTo>
                <a:lnTo>
                  <a:pt x="85284" y="21920"/>
                </a:lnTo>
                <a:close/>
              </a:path>
              <a:path w="534034" h="487679">
                <a:moveTo>
                  <a:pt x="406594" y="32880"/>
                </a:moveTo>
                <a:lnTo>
                  <a:pt x="164024" y="32880"/>
                </a:lnTo>
                <a:lnTo>
                  <a:pt x="176081" y="143666"/>
                </a:lnTo>
                <a:lnTo>
                  <a:pt x="196663" y="216442"/>
                </a:lnTo>
                <a:lnTo>
                  <a:pt x="216102" y="256343"/>
                </a:lnTo>
                <a:lnTo>
                  <a:pt x="224730" y="268503"/>
                </a:lnTo>
                <a:lnTo>
                  <a:pt x="347074" y="268503"/>
                </a:lnTo>
                <a:lnTo>
                  <a:pt x="351984" y="263016"/>
                </a:lnTo>
                <a:lnTo>
                  <a:pt x="364176" y="257543"/>
                </a:lnTo>
                <a:lnTo>
                  <a:pt x="415085" y="242388"/>
                </a:lnTo>
                <a:lnTo>
                  <a:pt x="425474" y="235623"/>
                </a:lnTo>
                <a:lnTo>
                  <a:pt x="370145" y="235623"/>
                </a:lnTo>
                <a:lnTo>
                  <a:pt x="382645" y="204800"/>
                </a:lnTo>
                <a:lnTo>
                  <a:pt x="392894" y="169865"/>
                </a:lnTo>
                <a:lnTo>
                  <a:pt x="400881" y="130820"/>
                </a:lnTo>
                <a:lnTo>
                  <a:pt x="406594" y="87668"/>
                </a:lnTo>
                <a:lnTo>
                  <a:pt x="440467" y="49314"/>
                </a:lnTo>
                <a:lnTo>
                  <a:pt x="406594" y="49314"/>
                </a:lnTo>
                <a:lnTo>
                  <a:pt x="406594" y="32880"/>
                </a:lnTo>
                <a:close/>
              </a:path>
              <a:path w="534034" h="487679">
                <a:moveTo>
                  <a:pt x="113563" y="43840"/>
                </a:moveTo>
                <a:lnTo>
                  <a:pt x="79188" y="43840"/>
                </a:lnTo>
                <a:lnTo>
                  <a:pt x="127702" y="93154"/>
                </a:lnTo>
                <a:lnTo>
                  <a:pt x="133491" y="136305"/>
                </a:lnTo>
                <a:lnTo>
                  <a:pt x="142101" y="175345"/>
                </a:lnTo>
                <a:lnTo>
                  <a:pt x="154116" y="210276"/>
                </a:lnTo>
                <a:lnTo>
                  <a:pt x="170120" y="241096"/>
                </a:lnTo>
                <a:lnTo>
                  <a:pt x="198453" y="241096"/>
                </a:lnTo>
                <a:lnTo>
                  <a:pt x="174732" y="216356"/>
                </a:lnTo>
                <a:lnTo>
                  <a:pt x="147451" y="139041"/>
                </a:lnTo>
                <a:lnTo>
                  <a:pt x="136076" y="68919"/>
                </a:lnTo>
                <a:lnTo>
                  <a:pt x="135024" y="54800"/>
                </a:lnTo>
                <a:lnTo>
                  <a:pt x="127702" y="54800"/>
                </a:lnTo>
                <a:lnTo>
                  <a:pt x="113563" y="43840"/>
                </a:lnTo>
                <a:close/>
              </a:path>
              <a:path w="534034" h="487679">
                <a:moveTo>
                  <a:pt x="533357" y="32880"/>
                </a:moveTo>
                <a:lnTo>
                  <a:pt x="509591" y="32880"/>
                </a:lnTo>
                <a:lnTo>
                  <a:pt x="509591" y="43840"/>
                </a:lnTo>
                <a:lnTo>
                  <a:pt x="505144" y="70981"/>
                </a:lnTo>
                <a:lnTo>
                  <a:pt x="480778" y="143837"/>
                </a:lnTo>
                <a:lnTo>
                  <a:pt x="456138" y="181027"/>
                </a:lnTo>
                <a:lnTo>
                  <a:pt x="420047" y="213043"/>
                </a:lnTo>
                <a:lnTo>
                  <a:pt x="370145" y="235623"/>
                </a:lnTo>
                <a:lnTo>
                  <a:pt x="425474" y="235623"/>
                </a:lnTo>
                <a:lnTo>
                  <a:pt x="458077" y="214391"/>
                </a:lnTo>
                <a:lnTo>
                  <a:pt x="491996" y="175093"/>
                </a:lnTo>
                <a:lnTo>
                  <a:pt x="515687" y="126034"/>
                </a:lnTo>
                <a:lnTo>
                  <a:pt x="526186" y="86647"/>
                </a:lnTo>
                <a:lnTo>
                  <a:pt x="531578" y="53427"/>
                </a:lnTo>
                <a:lnTo>
                  <a:pt x="533357" y="32880"/>
                </a:lnTo>
                <a:close/>
              </a:path>
              <a:path w="534034" h="487679">
                <a:moveTo>
                  <a:pt x="267148" y="0"/>
                </a:moveTo>
                <a:lnTo>
                  <a:pt x="208617" y="3425"/>
                </a:lnTo>
                <a:lnTo>
                  <a:pt x="162564" y="10960"/>
                </a:lnTo>
                <a:lnTo>
                  <a:pt x="132417" y="18495"/>
                </a:lnTo>
                <a:lnTo>
                  <a:pt x="121606" y="21920"/>
                </a:lnTo>
                <a:lnTo>
                  <a:pt x="121729" y="30481"/>
                </a:lnTo>
                <a:lnTo>
                  <a:pt x="122368" y="38360"/>
                </a:lnTo>
                <a:lnTo>
                  <a:pt x="124178" y="46580"/>
                </a:lnTo>
                <a:lnTo>
                  <a:pt x="127702" y="54800"/>
                </a:lnTo>
                <a:lnTo>
                  <a:pt x="135024" y="54800"/>
                </a:lnTo>
                <a:lnTo>
                  <a:pt x="133798" y="38353"/>
                </a:lnTo>
                <a:lnTo>
                  <a:pt x="164024" y="32880"/>
                </a:lnTo>
                <a:lnTo>
                  <a:pt x="406594" y="32880"/>
                </a:lnTo>
                <a:lnTo>
                  <a:pt x="406594" y="16433"/>
                </a:lnTo>
                <a:lnTo>
                  <a:pt x="395878" y="13866"/>
                </a:lnTo>
                <a:lnTo>
                  <a:pt x="366399" y="8216"/>
                </a:lnTo>
                <a:lnTo>
                  <a:pt x="322155" y="2567"/>
                </a:lnTo>
                <a:lnTo>
                  <a:pt x="267148" y="0"/>
                </a:lnTo>
                <a:close/>
              </a:path>
              <a:path w="534034" h="487679">
                <a:moveTo>
                  <a:pt x="533848" y="10960"/>
                </a:moveTo>
                <a:lnTo>
                  <a:pt x="442916" y="16433"/>
                </a:lnTo>
                <a:lnTo>
                  <a:pt x="406594" y="49314"/>
                </a:lnTo>
                <a:lnTo>
                  <a:pt x="440467" y="49314"/>
                </a:lnTo>
                <a:lnTo>
                  <a:pt x="454981" y="32880"/>
                </a:lnTo>
                <a:lnTo>
                  <a:pt x="533357" y="32880"/>
                </a:lnTo>
                <a:lnTo>
                  <a:pt x="533564" y="30481"/>
                </a:lnTo>
                <a:lnTo>
                  <a:pt x="533848" y="21920"/>
                </a:lnTo>
                <a:lnTo>
                  <a:pt x="533848" y="10960"/>
                </a:lnTo>
                <a:close/>
              </a:path>
            </a:pathLst>
          </a:custGeom>
          <a:solidFill>
            <a:srgbClr val="FFFFFF"/>
          </a:solidFill>
        </p:spPr>
        <p:txBody>
          <a:bodyPr wrap="square" lIns="0" tIns="0" rIns="0" bIns="0" rtlCol="0"/>
          <a:lstStyle/>
          <a:p>
            <a:endParaRPr/>
          </a:p>
        </p:txBody>
      </p:sp>
      <p:sp>
        <p:nvSpPr>
          <p:cNvPr id="47" name="object 47"/>
          <p:cNvSpPr/>
          <p:nvPr/>
        </p:nvSpPr>
        <p:spPr>
          <a:xfrm>
            <a:off x="10959083" y="5344667"/>
            <a:ext cx="816864" cy="914400"/>
          </a:xfrm>
          <a:prstGeom prst="rect">
            <a:avLst/>
          </a:prstGeom>
          <a:blipFill>
            <a:blip r:embed="rId3" cstate="print"/>
            <a:stretch>
              <a:fillRect/>
            </a:stretch>
          </a:blipFill>
        </p:spPr>
        <p:txBody>
          <a:bodyPr wrap="square" lIns="0" tIns="0" rIns="0" bIns="0" rtlCol="0"/>
          <a:lstStyle/>
          <a:p>
            <a:endParaRPr/>
          </a:p>
        </p:txBody>
      </p:sp>
      <p:sp>
        <p:nvSpPr>
          <p:cNvPr id="48" name="object 48"/>
          <p:cNvSpPr/>
          <p:nvPr/>
        </p:nvSpPr>
        <p:spPr>
          <a:xfrm>
            <a:off x="8404859" y="3988308"/>
            <a:ext cx="284988" cy="280415"/>
          </a:xfrm>
          <a:prstGeom prst="rect">
            <a:avLst/>
          </a:prstGeom>
          <a:blipFill>
            <a:blip r:embed="rId4" cstate="print"/>
            <a:stretch>
              <a:fillRect/>
            </a:stretch>
          </a:blipFill>
        </p:spPr>
        <p:txBody>
          <a:bodyPr wrap="square" lIns="0" tIns="0" rIns="0" bIns="0" rtlCol="0"/>
          <a:lstStyle/>
          <a:p>
            <a:endParaRPr/>
          </a:p>
        </p:txBody>
      </p:sp>
      <p:sp>
        <p:nvSpPr>
          <p:cNvPr id="49" name="object 49"/>
          <p:cNvSpPr txBox="1"/>
          <p:nvPr/>
        </p:nvSpPr>
        <p:spPr>
          <a:xfrm>
            <a:off x="8756650" y="4039615"/>
            <a:ext cx="2053589" cy="177800"/>
          </a:xfrm>
          <a:prstGeom prst="rect">
            <a:avLst/>
          </a:prstGeom>
        </p:spPr>
        <p:txBody>
          <a:bodyPr vert="horz" wrap="square" lIns="0" tIns="12065" rIns="0" bIns="0" rtlCol="0">
            <a:spAutoFit/>
          </a:bodyPr>
          <a:lstStyle/>
          <a:p>
            <a:pPr marL="12700">
              <a:lnSpc>
                <a:spcPct val="100000"/>
              </a:lnSpc>
              <a:spcBef>
                <a:spcPts val="95"/>
              </a:spcBef>
            </a:pPr>
            <a:r>
              <a:rPr sz="1000" spc="-5">
                <a:solidFill>
                  <a:srgbClr val="2B133C"/>
                </a:solidFill>
                <a:latin typeface="Verdana"/>
                <a:cs typeface="Verdana"/>
              </a:rPr>
              <a:t>Global Partner of the </a:t>
            </a:r>
            <a:r>
              <a:rPr sz="1000" spc="-10">
                <a:solidFill>
                  <a:srgbClr val="2B133C"/>
                </a:solidFill>
                <a:latin typeface="Verdana"/>
                <a:cs typeface="Verdana"/>
              </a:rPr>
              <a:t>Year</a:t>
            </a:r>
            <a:r>
              <a:rPr sz="1000" spc="40">
                <a:solidFill>
                  <a:srgbClr val="2B133C"/>
                </a:solidFill>
                <a:latin typeface="Verdana"/>
                <a:cs typeface="Verdana"/>
              </a:rPr>
              <a:t> </a:t>
            </a:r>
            <a:r>
              <a:rPr sz="1000" spc="-5">
                <a:solidFill>
                  <a:srgbClr val="2B133C"/>
                </a:solidFill>
                <a:latin typeface="Verdana"/>
                <a:cs typeface="Verdana"/>
              </a:rPr>
              <a:t>2018</a:t>
            </a:r>
            <a:endParaRPr sz="1000">
              <a:latin typeface="Verdana"/>
              <a:cs typeface="Verdana"/>
            </a:endParaRPr>
          </a:p>
        </p:txBody>
      </p:sp>
      <p:sp>
        <p:nvSpPr>
          <p:cNvPr id="50" name="object 50"/>
          <p:cNvSpPr/>
          <p:nvPr/>
        </p:nvSpPr>
        <p:spPr>
          <a:xfrm>
            <a:off x="8404859" y="4329684"/>
            <a:ext cx="284988" cy="278892"/>
          </a:xfrm>
          <a:prstGeom prst="rect">
            <a:avLst/>
          </a:prstGeom>
          <a:blipFill>
            <a:blip r:embed="rId4" cstate="print"/>
            <a:stretch>
              <a:fillRect/>
            </a:stretch>
          </a:blipFill>
        </p:spPr>
        <p:txBody>
          <a:bodyPr wrap="square" lIns="0" tIns="0" rIns="0" bIns="0" rtlCol="0"/>
          <a:lstStyle/>
          <a:p>
            <a:endParaRPr/>
          </a:p>
        </p:txBody>
      </p:sp>
      <p:sp>
        <p:nvSpPr>
          <p:cNvPr id="51" name="object 51"/>
          <p:cNvSpPr txBox="1"/>
          <p:nvPr/>
        </p:nvSpPr>
        <p:spPr>
          <a:xfrm>
            <a:off x="8756650" y="4380357"/>
            <a:ext cx="2835275" cy="177800"/>
          </a:xfrm>
          <a:prstGeom prst="rect">
            <a:avLst/>
          </a:prstGeom>
        </p:spPr>
        <p:txBody>
          <a:bodyPr vert="horz" wrap="square" lIns="0" tIns="12065" rIns="0" bIns="0" rtlCol="0">
            <a:spAutoFit/>
          </a:bodyPr>
          <a:lstStyle/>
          <a:p>
            <a:pPr marL="12700">
              <a:lnSpc>
                <a:spcPct val="100000"/>
              </a:lnSpc>
              <a:spcBef>
                <a:spcPts val="95"/>
              </a:spcBef>
            </a:pPr>
            <a:r>
              <a:rPr sz="1000" spc="-10">
                <a:solidFill>
                  <a:srgbClr val="2B133C"/>
                </a:solidFill>
                <a:latin typeface="Verdana"/>
                <a:cs typeface="Verdana"/>
              </a:rPr>
              <a:t>EMEA </a:t>
            </a:r>
            <a:r>
              <a:rPr sz="1000" spc="-5">
                <a:solidFill>
                  <a:srgbClr val="2B133C"/>
                </a:solidFill>
                <a:latin typeface="Verdana"/>
                <a:cs typeface="Verdana"/>
              </a:rPr>
              <a:t>Partner of the </a:t>
            </a:r>
            <a:r>
              <a:rPr sz="1000" spc="-10">
                <a:solidFill>
                  <a:srgbClr val="2B133C"/>
                </a:solidFill>
                <a:latin typeface="Verdana"/>
                <a:cs typeface="Verdana"/>
              </a:rPr>
              <a:t>Year </a:t>
            </a:r>
            <a:r>
              <a:rPr sz="1000" spc="-5">
                <a:solidFill>
                  <a:srgbClr val="2B133C"/>
                </a:solidFill>
                <a:latin typeface="Verdana"/>
                <a:cs typeface="Verdana"/>
              </a:rPr>
              <a:t>2019, 2018,</a:t>
            </a:r>
            <a:r>
              <a:rPr sz="1000" spc="100">
                <a:solidFill>
                  <a:srgbClr val="2B133C"/>
                </a:solidFill>
                <a:latin typeface="Verdana"/>
                <a:cs typeface="Verdana"/>
              </a:rPr>
              <a:t> </a:t>
            </a:r>
            <a:r>
              <a:rPr sz="1000" spc="-5">
                <a:solidFill>
                  <a:srgbClr val="2B133C"/>
                </a:solidFill>
                <a:latin typeface="Verdana"/>
                <a:cs typeface="Verdana"/>
              </a:rPr>
              <a:t>2017</a:t>
            </a:r>
            <a:endParaRPr sz="1000">
              <a:latin typeface="Verdana"/>
              <a:cs typeface="Verdana"/>
            </a:endParaRPr>
          </a:p>
        </p:txBody>
      </p:sp>
      <p:sp>
        <p:nvSpPr>
          <p:cNvPr id="52" name="object 52"/>
          <p:cNvSpPr/>
          <p:nvPr/>
        </p:nvSpPr>
        <p:spPr>
          <a:xfrm>
            <a:off x="8404859" y="4669535"/>
            <a:ext cx="284988" cy="280415"/>
          </a:xfrm>
          <a:prstGeom prst="rect">
            <a:avLst/>
          </a:prstGeom>
          <a:blipFill>
            <a:blip r:embed="rId4" cstate="print"/>
            <a:stretch>
              <a:fillRect/>
            </a:stretch>
          </a:blipFill>
        </p:spPr>
        <p:txBody>
          <a:bodyPr wrap="square" lIns="0" tIns="0" rIns="0" bIns="0" rtlCol="0"/>
          <a:lstStyle/>
          <a:p>
            <a:endParaRPr/>
          </a:p>
        </p:txBody>
      </p:sp>
      <p:sp>
        <p:nvSpPr>
          <p:cNvPr id="53" name="object 53"/>
          <p:cNvSpPr txBox="1"/>
          <p:nvPr/>
        </p:nvSpPr>
        <p:spPr>
          <a:xfrm>
            <a:off x="8756650" y="4721097"/>
            <a:ext cx="2347595" cy="177800"/>
          </a:xfrm>
          <a:prstGeom prst="rect">
            <a:avLst/>
          </a:prstGeom>
        </p:spPr>
        <p:txBody>
          <a:bodyPr vert="horz" wrap="square" lIns="0" tIns="12065" rIns="0" bIns="0" rtlCol="0">
            <a:spAutoFit/>
          </a:bodyPr>
          <a:lstStyle/>
          <a:p>
            <a:pPr marL="12700">
              <a:lnSpc>
                <a:spcPct val="100000"/>
              </a:lnSpc>
              <a:spcBef>
                <a:spcPts val="95"/>
              </a:spcBef>
            </a:pPr>
            <a:r>
              <a:rPr sz="1000" spc="-10">
                <a:solidFill>
                  <a:srgbClr val="2B133C"/>
                </a:solidFill>
                <a:latin typeface="Verdana"/>
                <a:cs typeface="Verdana"/>
              </a:rPr>
              <a:t>Top New </a:t>
            </a:r>
            <a:r>
              <a:rPr sz="1000" spc="-5">
                <a:solidFill>
                  <a:srgbClr val="2B133C"/>
                </a:solidFill>
                <a:latin typeface="Verdana"/>
                <a:cs typeface="Verdana"/>
              </a:rPr>
              <a:t>Partner APAC 2018 &amp;</a:t>
            </a:r>
            <a:r>
              <a:rPr sz="1000" spc="45">
                <a:solidFill>
                  <a:srgbClr val="2B133C"/>
                </a:solidFill>
                <a:latin typeface="Verdana"/>
                <a:cs typeface="Verdana"/>
              </a:rPr>
              <a:t> </a:t>
            </a:r>
            <a:r>
              <a:rPr sz="1000" spc="-5">
                <a:solidFill>
                  <a:srgbClr val="2B133C"/>
                </a:solidFill>
                <a:latin typeface="Verdana"/>
                <a:cs typeface="Verdana"/>
              </a:rPr>
              <a:t>2017</a:t>
            </a:r>
            <a:endParaRPr sz="1000">
              <a:latin typeface="Verdana"/>
              <a:cs typeface="Verdana"/>
            </a:endParaRPr>
          </a:p>
        </p:txBody>
      </p:sp>
      <p:sp>
        <p:nvSpPr>
          <p:cNvPr id="54" name="object 54"/>
          <p:cNvSpPr/>
          <p:nvPr/>
        </p:nvSpPr>
        <p:spPr>
          <a:xfrm>
            <a:off x="8404859" y="5010911"/>
            <a:ext cx="289559" cy="265175"/>
          </a:xfrm>
          <a:prstGeom prst="rect">
            <a:avLst/>
          </a:prstGeom>
          <a:blipFill>
            <a:blip r:embed="rId5" cstate="print"/>
            <a:stretch>
              <a:fillRect/>
            </a:stretch>
          </a:blipFill>
        </p:spPr>
        <p:txBody>
          <a:bodyPr wrap="square" lIns="0" tIns="0" rIns="0" bIns="0" rtlCol="0"/>
          <a:lstStyle/>
          <a:p>
            <a:endParaRPr/>
          </a:p>
        </p:txBody>
      </p:sp>
      <p:sp>
        <p:nvSpPr>
          <p:cNvPr id="55" name="object 55"/>
          <p:cNvSpPr txBox="1"/>
          <p:nvPr/>
        </p:nvSpPr>
        <p:spPr>
          <a:xfrm>
            <a:off x="8761603" y="5054853"/>
            <a:ext cx="1955164" cy="177800"/>
          </a:xfrm>
          <a:prstGeom prst="rect">
            <a:avLst/>
          </a:prstGeom>
        </p:spPr>
        <p:txBody>
          <a:bodyPr vert="horz" wrap="square" lIns="0" tIns="12065" rIns="0" bIns="0" rtlCol="0">
            <a:spAutoFit/>
          </a:bodyPr>
          <a:lstStyle/>
          <a:p>
            <a:pPr marL="12700">
              <a:lnSpc>
                <a:spcPct val="100000"/>
              </a:lnSpc>
              <a:spcBef>
                <a:spcPts val="95"/>
              </a:spcBef>
            </a:pPr>
            <a:r>
              <a:rPr sz="1000" spc="-10">
                <a:solidFill>
                  <a:srgbClr val="2B133C"/>
                </a:solidFill>
                <a:latin typeface="Verdana"/>
                <a:cs typeface="Verdana"/>
              </a:rPr>
              <a:t>Top </a:t>
            </a:r>
            <a:r>
              <a:rPr sz="1000" spc="-5">
                <a:solidFill>
                  <a:srgbClr val="2B133C"/>
                </a:solidFill>
                <a:latin typeface="Verdana"/>
                <a:cs typeface="Verdana"/>
              </a:rPr>
              <a:t>Certification Partner</a:t>
            </a:r>
            <a:r>
              <a:rPr sz="1000" spc="30">
                <a:solidFill>
                  <a:srgbClr val="2B133C"/>
                </a:solidFill>
                <a:latin typeface="Verdana"/>
                <a:cs typeface="Verdana"/>
              </a:rPr>
              <a:t> </a:t>
            </a:r>
            <a:r>
              <a:rPr sz="1000" spc="-5">
                <a:solidFill>
                  <a:srgbClr val="2B133C"/>
                </a:solidFill>
                <a:latin typeface="Verdana"/>
                <a:cs typeface="Verdana"/>
              </a:rPr>
              <a:t>2017</a:t>
            </a:r>
            <a:endParaRPr sz="1000">
              <a:latin typeface="Verdana"/>
              <a:cs typeface="Verdana"/>
            </a:endParaRPr>
          </a:p>
        </p:txBody>
      </p:sp>
      <p:sp>
        <p:nvSpPr>
          <p:cNvPr id="56" name="object 56"/>
          <p:cNvSpPr/>
          <p:nvPr/>
        </p:nvSpPr>
        <p:spPr>
          <a:xfrm>
            <a:off x="10826943" y="1269491"/>
            <a:ext cx="1365250" cy="1901825"/>
          </a:xfrm>
          <a:custGeom>
            <a:avLst/>
            <a:gdLst/>
            <a:ahLst/>
            <a:cxnLst/>
            <a:rect l="l" t="t" r="r" b="b"/>
            <a:pathLst>
              <a:path w="1365250" h="1901825">
                <a:moveTo>
                  <a:pt x="1365057" y="0"/>
                </a:moveTo>
                <a:lnTo>
                  <a:pt x="190434" y="0"/>
                </a:lnTo>
                <a:lnTo>
                  <a:pt x="155219" y="41167"/>
                </a:lnTo>
                <a:lnTo>
                  <a:pt x="122267" y="86074"/>
                </a:lnTo>
                <a:lnTo>
                  <a:pt x="92314" y="133981"/>
                </a:lnTo>
                <a:lnTo>
                  <a:pt x="66101" y="184150"/>
                </a:lnTo>
                <a:lnTo>
                  <a:pt x="47143" y="229384"/>
                </a:lnTo>
                <a:lnTo>
                  <a:pt x="31579" y="274577"/>
                </a:lnTo>
                <a:lnTo>
                  <a:pt x="19274" y="319711"/>
                </a:lnTo>
                <a:lnTo>
                  <a:pt x="10097" y="364773"/>
                </a:lnTo>
                <a:lnTo>
                  <a:pt x="3914" y="409745"/>
                </a:lnTo>
                <a:lnTo>
                  <a:pt x="592" y="454612"/>
                </a:lnTo>
                <a:lnTo>
                  <a:pt x="0" y="499359"/>
                </a:lnTo>
                <a:lnTo>
                  <a:pt x="2003" y="543969"/>
                </a:lnTo>
                <a:lnTo>
                  <a:pt x="6469" y="588427"/>
                </a:lnTo>
                <a:lnTo>
                  <a:pt x="13265" y="632718"/>
                </a:lnTo>
                <a:lnTo>
                  <a:pt x="22258" y="676826"/>
                </a:lnTo>
                <a:lnTo>
                  <a:pt x="33317" y="720734"/>
                </a:lnTo>
                <a:lnTo>
                  <a:pt x="46307" y="764428"/>
                </a:lnTo>
                <a:lnTo>
                  <a:pt x="61095" y="807891"/>
                </a:lnTo>
                <a:lnTo>
                  <a:pt x="77550" y="851108"/>
                </a:lnTo>
                <a:lnTo>
                  <a:pt x="95539" y="894063"/>
                </a:lnTo>
                <a:lnTo>
                  <a:pt x="114927" y="936740"/>
                </a:lnTo>
                <a:lnTo>
                  <a:pt x="135583" y="979125"/>
                </a:lnTo>
                <a:lnTo>
                  <a:pt x="157374" y="1021200"/>
                </a:lnTo>
                <a:lnTo>
                  <a:pt x="180167" y="1062951"/>
                </a:lnTo>
                <a:lnTo>
                  <a:pt x="203829" y="1104361"/>
                </a:lnTo>
                <a:lnTo>
                  <a:pt x="228228" y="1145415"/>
                </a:lnTo>
                <a:lnTo>
                  <a:pt x="253230" y="1186098"/>
                </a:lnTo>
                <a:lnTo>
                  <a:pt x="278702" y="1226393"/>
                </a:lnTo>
                <a:lnTo>
                  <a:pt x="304513" y="1266285"/>
                </a:lnTo>
                <a:lnTo>
                  <a:pt x="330528" y="1305758"/>
                </a:lnTo>
                <a:lnTo>
                  <a:pt x="356616" y="1344797"/>
                </a:lnTo>
                <a:lnTo>
                  <a:pt x="459031" y="1496292"/>
                </a:lnTo>
                <a:lnTo>
                  <a:pt x="483487" y="1532922"/>
                </a:lnTo>
                <a:lnTo>
                  <a:pt x="507218" y="1569024"/>
                </a:lnTo>
                <a:lnTo>
                  <a:pt x="530092" y="1604581"/>
                </a:lnTo>
                <a:lnTo>
                  <a:pt x="551975" y="1639578"/>
                </a:lnTo>
                <a:lnTo>
                  <a:pt x="572735" y="1673999"/>
                </a:lnTo>
                <a:lnTo>
                  <a:pt x="592239" y="1707829"/>
                </a:lnTo>
                <a:lnTo>
                  <a:pt x="626947" y="1773651"/>
                </a:lnTo>
                <a:lnTo>
                  <a:pt x="655038" y="1836919"/>
                </a:lnTo>
                <a:lnTo>
                  <a:pt x="675447" y="1897507"/>
                </a:lnTo>
                <a:lnTo>
                  <a:pt x="726138" y="1899659"/>
                </a:lnTo>
                <a:lnTo>
                  <a:pt x="776782" y="1900936"/>
                </a:lnTo>
                <a:lnTo>
                  <a:pt x="827335" y="1901317"/>
                </a:lnTo>
                <a:lnTo>
                  <a:pt x="877754" y="1900788"/>
                </a:lnTo>
                <a:lnTo>
                  <a:pt x="927997" y="1899329"/>
                </a:lnTo>
                <a:lnTo>
                  <a:pt x="978019" y="1896923"/>
                </a:lnTo>
                <a:lnTo>
                  <a:pt x="1027777" y="1893554"/>
                </a:lnTo>
                <a:lnTo>
                  <a:pt x="1077227" y="1889202"/>
                </a:lnTo>
                <a:lnTo>
                  <a:pt x="1126328" y="1883852"/>
                </a:lnTo>
                <a:lnTo>
                  <a:pt x="1175034" y="1877485"/>
                </a:lnTo>
                <a:lnTo>
                  <a:pt x="1223304" y="1870083"/>
                </a:lnTo>
                <a:lnTo>
                  <a:pt x="1271093" y="1861630"/>
                </a:lnTo>
                <a:lnTo>
                  <a:pt x="1318358" y="1852108"/>
                </a:lnTo>
                <a:lnTo>
                  <a:pt x="1365057" y="1841500"/>
                </a:lnTo>
                <a:lnTo>
                  <a:pt x="1365057" y="0"/>
                </a:lnTo>
                <a:close/>
              </a:path>
            </a:pathLst>
          </a:custGeom>
          <a:solidFill>
            <a:srgbClr val="FFFFFF"/>
          </a:solidFill>
        </p:spPr>
        <p:txBody>
          <a:bodyPr wrap="square" lIns="0" tIns="0" rIns="0" bIns="0" rtlCol="0"/>
          <a:lstStyle/>
          <a:p>
            <a:endParaRPr/>
          </a:p>
        </p:txBody>
      </p:sp>
      <p:sp>
        <p:nvSpPr>
          <p:cNvPr id="57" name="object 57"/>
          <p:cNvSpPr/>
          <p:nvPr/>
        </p:nvSpPr>
        <p:spPr>
          <a:xfrm>
            <a:off x="8394192" y="1350263"/>
            <a:ext cx="2854452" cy="2467356"/>
          </a:xfrm>
          <a:prstGeom prst="rect">
            <a:avLst/>
          </a:prstGeom>
          <a:blipFill>
            <a:blip r:embed="rId6" cstate="print"/>
            <a:stretch>
              <a:fillRect/>
            </a:stretch>
          </a:blipFill>
        </p:spPr>
        <p:txBody>
          <a:bodyPr wrap="square" lIns="0" tIns="0" rIns="0" bIns="0" rtlCol="0"/>
          <a:lstStyle/>
          <a:p>
            <a:endParaRPr/>
          </a:p>
        </p:txBody>
      </p:sp>
      <p:sp>
        <p:nvSpPr>
          <p:cNvPr id="58" name="object 58"/>
          <p:cNvSpPr/>
          <p:nvPr/>
        </p:nvSpPr>
        <p:spPr>
          <a:xfrm>
            <a:off x="10947795" y="1481396"/>
            <a:ext cx="257175" cy="253365"/>
          </a:xfrm>
          <a:custGeom>
            <a:avLst/>
            <a:gdLst/>
            <a:ahLst/>
            <a:cxnLst/>
            <a:rect l="l" t="t" r="r" b="b"/>
            <a:pathLst>
              <a:path w="257175" h="253364">
                <a:moveTo>
                  <a:pt x="129391" y="0"/>
                </a:moveTo>
                <a:lnTo>
                  <a:pt x="79028" y="9803"/>
                </a:lnTo>
                <a:lnTo>
                  <a:pt x="37899" y="36693"/>
                </a:lnTo>
                <a:lnTo>
                  <a:pt x="10168" y="76894"/>
                </a:lnTo>
                <a:lnTo>
                  <a:pt x="0" y="126627"/>
                </a:lnTo>
                <a:lnTo>
                  <a:pt x="10168" y="175548"/>
                </a:lnTo>
                <a:lnTo>
                  <a:pt x="37899" y="215837"/>
                </a:lnTo>
                <a:lnTo>
                  <a:pt x="79028" y="243176"/>
                </a:lnTo>
                <a:lnTo>
                  <a:pt x="129391" y="253249"/>
                </a:lnTo>
                <a:lnTo>
                  <a:pt x="176288" y="243656"/>
                </a:lnTo>
                <a:lnTo>
                  <a:pt x="129391" y="243656"/>
                </a:lnTo>
                <a:lnTo>
                  <a:pt x="83283" y="234543"/>
                </a:lnTo>
                <a:lnTo>
                  <a:pt x="45865" y="209603"/>
                </a:lnTo>
                <a:lnTo>
                  <a:pt x="20760" y="172432"/>
                </a:lnTo>
                <a:lnTo>
                  <a:pt x="11587" y="126627"/>
                </a:lnTo>
                <a:lnTo>
                  <a:pt x="20760" y="81629"/>
                </a:lnTo>
                <a:lnTo>
                  <a:pt x="45865" y="44365"/>
                </a:lnTo>
                <a:lnTo>
                  <a:pt x="83283" y="18973"/>
                </a:lnTo>
                <a:lnTo>
                  <a:pt x="129391" y="9589"/>
                </a:lnTo>
                <a:lnTo>
                  <a:pt x="177562" y="9589"/>
                </a:lnTo>
                <a:lnTo>
                  <a:pt x="129391" y="0"/>
                </a:lnTo>
                <a:close/>
              </a:path>
              <a:path w="257175" h="253364">
                <a:moveTo>
                  <a:pt x="177562" y="9589"/>
                </a:moveTo>
                <a:lnTo>
                  <a:pt x="129391" y="9589"/>
                </a:lnTo>
                <a:lnTo>
                  <a:pt x="174382" y="18973"/>
                </a:lnTo>
                <a:lnTo>
                  <a:pt x="211226" y="44365"/>
                </a:lnTo>
                <a:lnTo>
                  <a:pt x="236120" y="81629"/>
                </a:lnTo>
                <a:lnTo>
                  <a:pt x="245263" y="126627"/>
                </a:lnTo>
                <a:lnTo>
                  <a:pt x="236120" y="171621"/>
                </a:lnTo>
                <a:lnTo>
                  <a:pt x="211226" y="208882"/>
                </a:lnTo>
                <a:lnTo>
                  <a:pt x="174382" y="234273"/>
                </a:lnTo>
                <a:lnTo>
                  <a:pt x="129391" y="243656"/>
                </a:lnTo>
                <a:lnTo>
                  <a:pt x="176288" y="243656"/>
                </a:lnTo>
                <a:lnTo>
                  <a:pt x="178633" y="243176"/>
                </a:lnTo>
                <a:lnTo>
                  <a:pt x="219187" y="215837"/>
                </a:lnTo>
                <a:lnTo>
                  <a:pt x="246706" y="175548"/>
                </a:lnTo>
                <a:lnTo>
                  <a:pt x="256845" y="126627"/>
                </a:lnTo>
                <a:lnTo>
                  <a:pt x="246706" y="76894"/>
                </a:lnTo>
                <a:lnTo>
                  <a:pt x="219187" y="36693"/>
                </a:lnTo>
                <a:lnTo>
                  <a:pt x="178633" y="9803"/>
                </a:lnTo>
                <a:lnTo>
                  <a:pt x="177562" y="9589"/>
                </a:lnTo>
                <a:close/>
              </a:path>
            </a:pathLst>
          </a:custGeom>
          <a:solidFill>
            <a:srgbClr val="129FDA"/>
          </a:solidFill>
        </p:spPr>
        <p:txBody>
          <a:bodyPr wrap="square" lIns="0" tIns="0" rIns="0" bIns="0" rtlCol="0"/>
          <a:lstStyle/>
          <a:p>
            <a:endParaRPr/>
          </a:p>
        </p:txBody>
      </p:sp>
      <p:sp>
        <p:nvSpPr>
          <p:cNvPr id="59" name="object 59"/>
          <p:cNvSpPr/>
          <p:nvPr/>
        </p:nvSpPr>
        <p:spPr>
          <a:xfrm>
            <a:off x="10980625" y="1525524"/>
            <a:ext cx="191185" cy="168831"/>
          </a:xfrm>
          <a:prstGeom prst="rect">
            <a:avLst/>
          </a:prstGeom>
          <a:blipFill>
            <a:blip r:embed="rId7" cstate="print"/>
            <a:stretch>
              <a:fillRect/>
            </a:stretch>
          </a:blipFill>
        </p:spPr>
        <p:txBody>
          <a:bodyPr wrap="square" lIns="0" tIns="0" rIns="0" bIns="0" rtlCol="0"/>
          <a:lstStyle/>
          <a:p>
            <a:endParaRPr/>
          </a:p>
        </p:txBody>
      </p:sp>
      <p:sp>
        <p:nvSpPr>
          <p:cNvPr id="60" name="object 60"/>
          <p:cNvSpPr/>
          <p:nvPr/>
        </p:nvSpPr>
        <p:spPr>
          <a:xfrm>
            <a:off x="11252923" y="1554299"/>
            <a:ext cx="97155" cy="107950"/>
          </a:xfrm>
          <a:custGeom>
            <a:avLst/>
            <a:gdLst/>
            <a:ahLst/>
            <a:cxnLst/>
            <a:rect l="l" t="t" r="r" b="b"/>
            <a:pathLst>
              <a:path w="97154" h="107950">
                <a:moveTo>
                  <a:pt x="17376" y="0"/>
                </a:moveTo>
                <a:lnTo>
                  <a:pt x="0" y="0"/>
                </a:lnTo>
                <a:lnTo>
                  <a:pt x="0" y="107441"/>
                </a:lnTo>
                <a:lnTo>
                  <a:pt x="17376" y="107441"/>
                </a:lnTo>
                <a:lnTo>
                  <a:pt x="17376" y="34538"/>
                </a:lnTo>
                <a:lnTo>
                  <a:pt x="33269" y="34538"/>
                </a:lnTo>
                <a:lnTo>
                  <a:pt x="17376" y="0"/>
                </a:lnTo>
                <a:close/>
              </a:path>
              <a:path w="97154" h="107950">
                <a:moveTo>
                  <a:pt x="96560" y="34538"/>
                </a:moveTo>
                <a:lnTo>
                  <a:pt x="79177" y="34538"/>
                </a:lnTo>
                <a:lnTo>
                  <a:pt x="79177" y="107441"/>
                </a:lnTo>
                <a:lnTo>
                  <a:pt x="96560" y="107441"/>
                </a:lnTo>
                <a:lnTo>
                  <a:pt x="96560" y="34538"/>
                </a:lnTo>
                <a:close/>
              </a:path>
              <a:path w="97154" h="107950">
                <a:moveTo>
                  <a:pt x="33269" y="34538"/>
                </a:moveTo>
                <a:lnTo>
                  <a:pt x="17376" y="34538"/>
                </a:lnTo>
                <a:lnTo>
                  <a:pt x="42482" y="88255"/>
                </a:lnTo>
                <a:lnTo>
                  <a:pt x="54071" y="88255"/>
                </a:lnTo>
                <a:lnTo>
                  <a:pt x="63934" y="67153"/>
                </a:lnTo>
                <a:lnTo>
                  <a:pt x="48277" y="67153"/>
                </a:lnTo>
                <a:lnTo>
                  <a:pt x="33269" y="34538"/>
                </a:lnTo>
                <a:close/>
              </a:path>
              <a:path w="97154" h="107950">
                <a:moveTo>
                  <a:pt x="96560" y="0"/>
                </a:moveTo>
                <a:lnTo>
                  <a:pt x="79177" y="0"/>
                </a:lnTo>
                <a:lnTo>
                  <a:pt x="48277" y="67153"/>
                </a:lnTo>
                <a:lnTo>
                  <a:pt x="63934" y="67153"/>
                </a:lnTo>
                <a:lnTo>
                  <a:pt x="79177" y="34538"/>
                </a:lnTo>
                <a:lnTo>
                  <a:pt x="96560" y="34538"/>
                </a:lnTo>
                <a:lnTo>
                  <a:pt x="96560" y="0"/>
                </a:lnTo>
                <a:close/>
              </a:path>
            </a:pathLst>
          </a:custGeom>
          <a:solidFill>
            <a:srgbClr val="129FDA"/>
          </a:solidFill>
        </p:spPr>
        <p:txBody>
          <a:bodyPr wrap="square" lIns="0" tIns="0" rIns="0" bIns="0" rtlCol="0"/>
          <a:lstStyle/>
          <a:p>
            <a:endParaRPr/>
          </a:p>
        </p:txBody>
      </p:sp>
      <p:sp>
        <p:nvSpPr>
          <p:cNvPr id="61" name="object 61"/>
          <p:cNvSpPr/>
          <p:nvPr/>
        </p:nvSpPr>
        <p:spPr>
          <a:xfrm>
            <a:off x="11363002" y="1584998"/>
            <a:ext cx="64135" cy="76835"/>
          </a:xfrm>
          <a:custGeom>
            <a:avLst/>
            <a:gdLst/>
            <a:ahLst/>
            <a:cxnLst/>
            <a:rect l="l" t="t" r="r" b="b"/>
            <a:pathLst>
              <a:path w="64134" h="76835">
                <a:moveTo>
                  <a:pt x="15447" y="0"/>
                </a:moveTo>
                <a:lnTo>
                  <a:pt x="0" y="0"/>
                </a:lnTo>
                <a:lnTo>
                  <a:pt x="0" y="57557"/>
                </a:lnTo>
                <a:lnTo>
                  <a:pt x="1929" y="65230"/>
                </a:lnTo>
                <a:lnTo>
                  <a:pt x="7723" y="70986"/>
                </a:lnTo>
                <a:lnTo>
                  <a:pt x="13517" y="74826"/>
                </a:lnTo>
                <a:lnTo>
                  <a:pt x="19312" y="76743"/>
                </a:lnTo>
                <a:lnTo>
                  <a:pt x="34759" y="76743"/>
                </a:lnTo>
                <a:lnTo>
                  <a:pt x="42482" y="74826"/>
                </a:lnTo>
                <a:lnTo>
                  <a:pt x="48277" y="69070"/>
                </a:lnTo>
                <a:lnTo>
                  <a:pt x="63724" y="69070"/>
                </a:lnTo>
                <a:lnTo>
                  <a:pt x="63724" y="63313"/>
                </a:lnTo>
                <a:lnTo>
                  <a:pt x="23170" y="63313"/>
                </a:lnTo>
                <a:lnTo>
                  <a:pt x="15447" y="57557"/>
                </a:lnTo>
                <a:lnTo>
                  <a:pt x="15447" y="0"/>
                </a:lnTo>
                <a:close/>
              </a:path>
              <a:path w="64134" h="76835">
                <a:moveTo>
                  <a:pt x="63724" y="69070"/>
                </a:moveTo>
                <a:lnTo>
                  <a:pt x="48277" y="69070"/>
                </a:lnTo>
                <a:lnTo>
                  <a:pt x="48277" y="76743"/>
                </a:lnTo>
                <a:lnTo>
                  <a:pt x="63724" y="76743"/>
                </a:lnTo>
                <a:lnTo>
                  <a:pt x="63724" y="69070"/>
                </a:lnTo>
                <a:close/>
              </a:path>
              <a:path w="64134" h="76835">
                <a:moveTo>
                  <a:pt x="63724" y="0"/>
                </a:moveTo>
                <a:lnTo>
                  <a:pt x="48277" y="0"/>
                </a:lnTo>
                <a:lnTo>
                  <a:pt x="48277" y="46044"/>
                </a:lnTo>
                <a:lnTo>
                  <a:pt x="46347" y="46044"/>
                </a:lnTo>
                <a:lnTo>
                  <a:pt x="46347" y="57557"/>
                </a:lnTo>
                <a:lnTo>
                  <a:pt x="40553" y="63313"/>
                </a:lnTo>
                <a:lnTo>
                  <a:pt x="63724" y="63313"/>
                </a:lnTo>
                <a:lnTo>
                  <a:pt x="63724" y="0"/>
                </a:lnTo>
                <a:close/>
              </a:path>
            </a:pathLst>
          </a:custGeom>
          <a:solidFill>
            <a:srgbClr val="129FDA"/>
          </a:solidFill>
        </p:spPr>
        <p:txBody>
          <a:bodyPr wrap="square" lIns="0" tIns="0" rIns="0" bIns="0" rtlCol="0"/>
          <a:lstStyle/>
          <a:p>
            <a:endParaRPr/>
          </a:p>
        </p:txBody>
      </p:sp>
      <p:sp>
        <p:nvSpPr>
          <p:cNvPr id="62" name="object 62"/>
          <p:cNvSpPr/>
          <p:nvPr/>
        </p:nvSpPr>
        <p:spPr>
          <a:xfrm>
            <a:off x="11440244" y="1554299"/>
            <a:ext cx="31115" cy="107950"/>
          </a:xfrm>
          <a:custGeom>
            <a:avLst/>
            <a:gdLst/>
            <a:ahLst/>
            <a:cxnLst/>
            <a:rect l="l" t="t" r="r" b="b"/>
            <a:pathLst>
              <a:path w="31115" h="107950">
                <a:moveTo>
                  <a:pt x="15453" y="0"/>
                </a:moveTo>
                <a:lnTo>
                  <a:pt x="0" y="0"/>
                </a:lnTo>
                <a:lnTo>
                  <a:pt x="0" y="86339"/>
                </a:lnTo>
                <a:lnTo>
                  <a:pt x="1146" y="94490"/>
                </a:lnTo>
                <a:lnTo>
                  <a:pt x="4828" y="101205"/>
                </a:lnTo>
                <a:lnTo>
                  <a:pt x="11408" y="105762"/>
                </a:lnTo>
                <a:lnTo>
                  <a:pt x="21247" y="107441"/>
                </a:lnTo>
                <a:lnTo>
                  <a:pt x="30900" y="107441"/>
                </a:lnTo>
                <a:lnTo>
                  <a:pt x="30900" y="94012"/>
                </a:lnTo>
                <a:lnTo>
                  <a:pt x="17382" y="94012"/>
                </a:lnTo>
                <a:lnTo>
                  <a:pt x="15453" y="90172"/>
                </a:lnTo>
                <a:lnTo>
                  <a:pt x="15453" y="0"/>
                </a:lnTo>
                <a:close/>
              </a:path>
            </a:pathLst>
          </a:custGeom>
          <a:solidFill>
            <a:srgbClr val="129FDA"/>
          </a:solidFill>
        </p:spPr>
        <p:txBody>
          <a:bodyPr wrap="square" lIns="0" tIns="0" rIns="0" bIns="0" rtlCol="0"/>
          <a:lstStyle/>
          <a:p>
            <a:endParaRPr/>
          </a:p>
        </p:txBody>
      </p:sp>
      <p:sp>
        <p:nvSpPr>
          <p:cNvPr id="63" name="object 63"/>
          <p:cNvSpPr/>
          <p:nvPr/>
        </p:nvSpPr>
        <p:spPr>
          <a:xfrm>
            <a:off x="11475010" y="1583081"/>
            <a:ext cx="66040" cy="78740"/>
          </a:xfrm>
          <a:custGeom>
            <a:avLst/>
            <a:gdLst/>
            <a:ahLst/>
            <a:cxnLst/>
            <a:rect l="l" t="t" r="r" b="b"/>
            <a:pathLst>
              <a:path w="66040" h="78739">
                <a:moveTo>
                  <a:pt x="32829" y="0"/>
                </a:moveTo>
                <a:lnTo>
                  <a:pt x="19552" y="2787"/>
                </a:lnTo>
                <a:lnTo>
                  <a:pt x="9172" y="10790"/>
                </a:lnTo>
                <a:lnTo>
                  <a:pt x="2413" y="23470"/>
                </a:lnTo>
                <a:lnTo>
                  <a:pt x="0" y="40288"/>
                </a:lnTo>
                <a:lnTo>
                  <a:pt x="2715" y="58423"/>
                </a:lnTo>
                <a:lnTo>
                  <a:pt x="10137" y="70264"/>
                </a:lnTo>
                <a:lnTo>
                  <a:pt x="21180" y="76710"/>
                </a:lnTo>
                <a:lnTo>
                  <a:pt x="34759" y="78659"/>
                </a:lnTo>
                <a:lnTo>
                  <a:pt x="43901" y="77939"/>
                </a:lnTo>
                <a:lnTo>
                  <a:pt x="51415" y="75780"/>
                </a:lnTo>
                <a:lnTo>
                  <a:pt x="57843" y="72182"/>
                </a:lnTo>
                <a:lnTo>
                  <a:pt x="63730" y="67147"/>
                </a:lnTo>
                <a:lnTo>
                  <a:pt x="61800" y="65230"/>
                </a:lnTo>
                <a:lnTo>
                  <a:pt x="34759" y="65230"/>
                </a:lnTo>
                <a:lnTo>
                  <a:pt x="26852" y="63821"/>
                </a:lnTo>
                <a:lnTo>
                  <a:pt x="20757" y="59714"/>
                </a:lnTo>
                <a:lnTo>
                  <a:pt x="16834" y="53088"/>
                </a:lnTo>
                <a:lnTo>
                  <a:pt x="15447" y="44121"/>
                </a:lnTo>
                <a:lnTo>
                  <a:pt x="65659" y="44121"/>
                </a:lnTo>
                <a:lnTo>
                  <a:pt x="65659" y="38371"/>
                </a:lnTo>
                <a:lnTo>
                  <a:pt x="64874" y="32615"/>
                </a:lnTo>
                <a:lnTo>
                  <a:pt x="15447" y="32615"/>
                </a:lnTo>
                <a:lnTo>
                  <a:pt x="15447" y="28775"/>
                </a:lnTo>
                <a:lnTo>
                  <a:pt x="17376" y="26858"/>
                </a:lnTo>
                <a:lnTo>
                  <a:pt x="17376" y="23019"/>
                </a:lnTo>
                <a:lnTo>
                  <a:pt x="21241" y="17262"/>
                </a:lnTo>
                <a:lnTo>
                  <a:pt x="27035" y="13429"/>
                </a:lnTo>
                <a:lnTo>
                  <a:pt x="58709" y="13429"/>
                </a:lnTo>
                <a:lnTo>
                  <a:pt x="57210" y="10551"/>
                </a:lnTo>
                <a:lnTo>
                  <a:pt x="46920" y="2757"/>
                </a:lnTo>
                <a:lnTo>
                  <a:pt x="32829" y="0"/>
                </a:lnTo>
                <a:close/>
              </a:path>
              <a:path w="66040" h="78739">
                <a:moveTo>
                  <a:pt x="54071" y="57557"/>
                </a:moveTo>
                <a:lnTo>
                  <a:pt x="48277" y="63307"/>
                </a:lnTo>
                <a:lnTo>
                  <a:pt x="44418" y="65230"/>
                </a:lnTo>
                <a:lnTo>
                  <a:pt x="61800" y="65230"/>
                </a:lnTo>
                <a:lnTo>
                  <a:pt x="54071" y="57557"/>
                </a:lnTo>
                <a:close/>
              </a:path>
              <a:path w="66040" h="78739">
                <a:moveTo>
                  <a:pt x="58709" y="13429"/>
                </a:moveTo>
                <a:lnTo>
                  <a:pt x="40553" y="13429"/>
                </a:lnTo>
                <a:lnTo>
                  <a:pt x="46347" y="17262"/>
                </a:lnTo>
                <a:lnTo>
                  <a:pt x="48277" y="23019"/>
                </a:lnTo>
                <a:lnTo>
                  <a:pt x="50206" y="26858"/>
                </a:lnTo>
                <a:lnTo>
                  <a:pt x="50206" y="32615"/>
                </a:lnTo>
                <a:lnTo>
                  <a:pt x="64874" y="32615"/>
                </a:lnTo>
                <a:lnTo>
                  <a:pt x="63517" y="22662"/>
                </a:lnTo>
                <a:lnTo>
                  <a:pt x="58709" y="13429"/>
                </a:lnTo>
                <a:close/>
              </a:path>
            </a:pathLst>
          </a:custGeom>
          <a:solidFill>
            <a:srgbClr val="129FDA"/>
          </a:solidFill>
        </p:spPr>
        <p:txBody>
          <a:bodyPr wrap="square" lIns="0" tIns="0" rIns="0" bIns="0" rtlCol="0"/>
          <a:lstStyle/>
          <a:p>
            <a:endParaRPr/>
          </a:p>
        </p:txBody>
      </p:sp>
      <p:sp>
        <p:nvSpPr>
          <p:cNvPr id="64" name="object 64"/>
          <p:cNvSpPr/>
          <p:nvPr/>
        </p:nvSpPr>
        <p:spPr>
          <a:xfrm>
            <a:off x="11548393" y="1552383"/>
            <a:ext cx="77470" cy="109855"/>
          </a:xfrm>
          <a:custGeom>
            <a:avLst/>
            <a:gdLst/>
            <a:ahLst/>
            <a:cxnLst/>
            <a:rect l="l" t="t" r="r" b="b"/>
            <a:pathLst>
              <a:path w="77470" h="109855">
                <a:moveTo>
                  <a:pt x="11588" y="84416"/>
                </a:moveTo>
                <a:lnTo>
                  <a:pt x="0" y="95928"/>
                </a:lnTo>
                <a:lnTo>
                  <a:pt x="8751" y="102072"/>
                </a:lnTo>
                <a:lnTo>
                  <a:pt x="17865" y="106239"/>
                </a:lnTo>
                <a:lnTo>
                  <a:pt x="27702" y="108608"/>
                </a:lnTo>
                <a:lnTo>
                  <a:pt x="38624" y="109358"/>
                </a:lnTo>
                <a:lnTo>
                  <a:pt x="54433" y="107259"/>
                </a:lnTo>
                <a:lnTo>
                  <a:pt x="66622" y="101203"/>
                </a:lnTo>
                <a:lnTo>
                  <a:pt x="72471" y="94005"/>
                </a:lnTo>
                <a:lnTo>
                  <a:pt x="38624" y="94005"/>
                </a:lnTo>
                <a:lnTo>
                  <a:pt x="31410" y="93586"/>
                </a:lnTo>
                <a:lnTo>
                  <a:pt x="24380" y="92088"/>
                </a:lnTo>
                <a:lnTo>
                  <a:pt x="17712" y="89151"/>
                </a:lnTo>
                <a:lnTo>
                  <a:pt x="11588" y="84416"/>
                </a:lnTo>
                <a:close/>
              </a:path>
              <a:path w="77470" h="109855">
                <a:moveTo>
                  <a:pt x="40553" y="0"/>
                </a:moveTo>
                <a:lnTo>
                  <a:pt x="25045" y="2398"/>
                </a:lnTo>
                <a:lnTo>
                  <a:pt x="13520" y="9112"/>
                </a:lnTo>
                <a:lnTo>
                  <a:pt x="6339" y="19425"/>
                </a:lnTo>
                <a:lnTo>
                  <a:pt x="3865" y="32615"/>
                </a:lnTo>
                <a:lnTo>
                  <a:pt x="3865" y="40288"/>
                </a:lnTo>
                <a:lnTo>
                  <a:pt x="5794" y="47961"/>
                </a:lnTo>
                <a:lnTo>
                  <a:pt x="11588" y="51800"/>
                </a:lnTo>
                <a:lnTo>
                  <a:pt x="17382" y="57557"/>
                </a:lnTo>
                <a:lnTo>
                  <a:pt x="23177" y="59474"/>
                </a:lnTo>
                <a:lnTo>
                  <a:pt x="32829" y="61390"/>
                </a:lnTo>
                <a:lnTo>
                  <a:pt x="44418" y="63313"/>
                </a:lnTo>
                <a:lnTo>
                  <a:pt x="52142" y="63313"/>
                </a:lnTo>
                <a:lnTo>
                  <a:pt x="54103" y="65230"/>
                </a:lnTo>
                <a:lnTo>
                  <a:pt x="57949" y="67147"/>
                </a:lnTo>
                <a:lnTo>
                  <a:pt x="59839" y="69070"/>
                </a:lnTo>
                <a:lnTo>
                  <a:pt x="61794" y="72903"/>
                </a:lnTo>
                <a:lnTo>
                  <a:pt x="61794" y="78659"/>
                </a:lnTo>
                <a:lnTo>
                  <a:pt x="60351" y="85106"/>
                </a:lnTo>
                <a:lnTo>
                  <a:pt x="56014" y="89931"/>
                </a:lnTo>
                <a:lnTo>
                  <a:pt x="48775" y="92957"/>
                </a:lnTo>
                <a:lnTo>
                  <a:pt x="38624" y="94005"/>
                </a:lnTo>
                <a:lnTo>
                  <a:pt x="72471" y="94005"/>
                </a:lnTo>
                <a:lnTo>
                  <a:pt x="74466" y="91550"/>
                </a:lnTo>
                <a:lnTo>
                  <a:pt x="77241" y="78659"/>
                </a:lnTo>
                <a:lnTo>
                  <a:pt x="77241" y="69070"/>
                </a:lnTo>
                <a:lnTo>
                  <a:pt x="36694" y="46044"/>
                </a:lnTo>
                <a:lnTo>
                  <a:pt x="30900" y="46044"/>
                </a:lnTo>
                <a:lnTo>
                  <a:pt x="27035" y="44127"/>
                </a:lnTo>
                <a:lnTo>
                  <a:pt x="21241" y="38371"/>
                </a:lnTo>
                <a:lnTo>
                  <a:pt x="19312" y="34531"/>
                </a:lnTo>
                <a:lnTo>
                  <a:pt x="19312" y="30698"/>
                </a:lnTo>
                <a:lnTo>
                  <a:pt x="20730" y="24251"/>
                </a:lnTo>
                <a:lnTo>
                  <a:pt x="24863" y="19423"/>
                </a:lnTo>
                <a:lnTo>
                  <a:pt x="31531" y="16395"/>
                </a:lnTo>
                <a:lnTo>
                  <a:pt x="40553" y="15346"/>
                </a:lnTo>
                <a:lnTo>
                  <a:pt x="71468" y="15346"/>
                </a:lnTo>
                <a:lnTo>
                  <a:pt x="73396" y="13429"/>
                </a:lnTo>
                <a:lnTo>
                  <a:pt x="66100" y="7285"/>
                </a:lnTo>
                <a:lnTo>
                  <a:pt x="58439" y="3118"/>
                </a:lnTo>
                <a:lnTo>
                  <a:pt x="50045" y="749"/>
                </a:lnTo>
                <a:lnTo>
                  <a:pt x="40553" y="0"/>
                </a:lnTo>
                <a:close/>
              </a:path>
              <a:path w="77470" h="109855">
                <a:moveTo>
                  <a:pt x="71468" y="15346"/>
                </a:moveTo>
                <a:lnTo>
                  <a:pt x="48277" y="15346"/>
                </a:lnTo>
                <a:lnTo>
                  <a:pt x="55994" y="17269"/>
                </a:lnTo>
                <a:lnTo>
                  <a:pt x="63750" y="23019"/>
                </a:lnTo>
                <a:lnTo>
                  <a:pt x="71468" y="15346"/>
                </a:lnTo>
                <a:close/>
              </a:path>
            </a:pathLst>
          </a:custGeom>
          <a:solidFill>
            <a:srgbClr val="129FDA"/>
          </a:solidFill>
        </p:spPr>
        <p:txBody>
          <a:bodyPr wrap="square" lIns="0" tIns="0" rIns="0" bIns="0" rtlCol="0"/>
          <a:lstStyle/>
          <a:p>
            <a:endParaRPr/>
          </a:p>
        </p:txBody>
      </p:sp>
      <p:sp>
        <p:nvSpPr>
          <p:cNvPr id="65" name="object 65"/>
          <p:cNvSpPr/>
          <p:nvPr/>
        </p:nvSpPr>
        <p:spPr>
          <a:xfrm>
            <a:off x="11635282" y="1583081"/>
            <a:ext cx="64135" cy="78740"/>
          </a:xfrm>
          <a:custGeom>
            <a:avLst/>
            <a:gdLst/>
            <a:ahLst/>
            <a:cxnLst/>
            <a:rect l="l" t="t" r="r" b="b"/>
            <a:pathLst>
              <a:path w="64134" h="78739">
                <a:moveTo>
                  <a:pt x="42495" y="0"/>
                </a:moveTo>
                <a:lnTo>
                  <a:pt x="21247" y="0"/>
                </a:lnTo>
                <a:lnTo>
                  <a:pt x="13556" y="3833"/>
                </a:lnTo>
                <a:lnTo>
                  <a:pt x="0" y="40288"/>
                </a:lnTo>
                <a:lnTo>
                  <a:pt x="396" y="48562"/>
                </a:lnTo>
                <a:lnTo>
                  <a:pt x="21247" y="78659"/>
                </a:lnTo>
                <a:lnTo>
                  <a:pt x="42495" y="78659"/>
                </a:lnTo>
                <a:lnTo>
                  <a:pt x="50251" y="74820"/>
                </a:lnTo>
                <a:lnTo>
                  <a:pt x="54097" y="69063"/>
                </a:lnTo>
                <a:lnTo>
                  <a:pt x="57076" y="65230"/>
                </a:lnTo>
                <a:lnTo>
                  <a:pt x="27048" y="65230"/>
                </a:lnTo>
                <a:lnTo>
                  <a:pt x="19357" y="61390"/>
                </a:lnTo>
                <a:lnTo>
                  <a:pt x="15447" y="55634"/>
                </a:lnTo>
                <a:lnTo>
                  <a:pt x="15447" y="23019"/>
                </a:lnTo>
                <a:lnTo>
                  <a:pt x="19357" y="19185"/>
                </a:lnTo>
                <a:lnTo>
                  <a:pt x="23203" y="15346"/>
                </a:lnTo>
                <a:lnTo>
                  <a:pt x="58548" y="15346"/>
                </a:lnTo>
                <a:lnTo>
                  <a:pt x="54097" y="9589"/>
                </a:lnTo>
                <a:lnTo>
                  <a:pt x="50251" y="3833"/>
                </a:lnTo>
                <a:lnTo>
                  <a:pt x="42495" y="0"/>
                </a:lnTo>
                <a:close/>
              </a:path>
              <a:path w="64134" h="78739">
                <a:moveTo>
                  <a:pt x="58548" y="15346"/>
                </a:moveTo>
                <a:lnTo>
                  <a:pt x="40540" y="15346"/>
                </a:lnTo>
                <a:lnTo>
                  <a:pt x="42495" y="19185"/>
                </a:lnTo>
                <a:lnTo>
                  <a:pt x="48296" y="23019"/>
                </a:lnTo>
                <a:lnTo>
                  <a:pt x="48296" y="55634"/>
                </a:lnTo>
                <a:lnTo>
                  <a:pt x="40540" y="63307"/>
                </a:lnTo>
                <a:lnTo>
                  <a:pt x="36694" y="65230"/>
                </a:lnTo>
                <a:lnTo>
                  <a:pt x="57076" y="65230"/>
                </a:lnTo>
                <a:lnTo>
                  <a:pt x="58849" y="62949"/>
                </a:lnTo>
                <a:lnTo>
                  <a:pt x="61804" y="56115"/>
                </a:lnTo>
                <a:lnTo>
                  <a:pt x="63317" y="48562"/>
                </a:lnTo>
                <a:lnTo>
                  <a:pt x="63743" y="40288"/>
                </a:lnTo>
                <a:lnTo>
                  <a:pt x="63317" y="30905"/>
                </a:lnTo>
                <a:lnTo>
                  <a:pt x="61804" y="22780"/>
                </a:lnTo>
                <a:lnTo>
                  <a:pt x="58849" y="15734"/>
                </a:lnTo>
                <a:lnTo>
                  <a:pt x="58548" y="15346"/>
                </a:lnTo>
                <a:close/>
              </a:path>
            </a:pathLst>
          </a:custGeom>
          <a:solidFill>
            <a:srgbClr val="129FDA"/>
          </a:solidFill>
        </p:spPr>
        <p:txBody>
          <a:bodyPr wrap="square" lIns="0" tIns="0" rIns="0" bIns="0" rtlCol="0"/>
          <a:lstStyle/>
          <a:p>
            <a:endParaRPr/>
          </a:p>
        </p:txBody>
      </p:sp>
      <p:sp>
        <p:nvSpPr>
          <p:cNvPr id="66" name="object 66"/>
          <p:cNvSpPr/>
          <p:nvPr/>
        </p:nvSpPr>
        <p:spPr>
          <a:xfrm>
            <a:off x="11704826" y="1552383"/>
            <a:ext cx="40640" cy="109855"/>
          </a:xfrm>
          <a:custGeom>
            <a:avLst/>
            <a:gdLst/>
            <a:ahLst/>
            <a:cxnLst/>
            <a:rect l="l" t="t" r="r" b="b"/>
            <a:pathLst>
              <a:path w="40640" h="109855">
                <a:moveTo>
                  <a:pt x="25093" y="46044"/>
                </a:moveTo>
                <a:lnTo>
                  <a:pt x="9646" y="46044"/>
                </a:lnTo>
                <a:lnTo>
                  <a:pt x="9646" y="109358"/>
                </a:lnTo>
                <a:lnTo>
                  <a:pt x="25093" y="109358"/>
                </a:lnTo>
                <a:lnTo>
                  <a:pt x="25093" y="46044"/>
                </a:lnTo>
                <a:close/>
              </a:path>
              <a:path w="40640" h="109855">
                <a:moveTo>
                  <a:pt x="40540" y="34531"/>
                </a:moveTo>
                <a:lnTo>
                  <a:pt x="0" y="34531"/>
                </a:lnTo>
                <a:lnTo>
                  <a:pt x="0" y="46044"/>
                </a:lnTo>
                <a:lnTo>
                  <a:pt x="40540" y="46044"/>
                </a:lnTo>
                <a:lnTo>
                  <a:pt x="40540" y="34531"/>
                </a:lnTo>
                <a:close/>
              </a:path>
              <a:path w="40640" h="109855">
                <a:moveTo>
                  <a:pt x="40540" y="0"/>
                </a:moveTo>
                <a:lnTo>
                  <a:pt x="30894" y="0"/>
                </a:lnTo>
                <a:lnTo>
                  <a:pt x="21057" y="1948"/>
                </a:lnTo>
                <a:lnTo>
                  <a:pt x="14477" y="6955"/>
                </a:lnTo>
                <a:lnTo>
                  <a:pt x="10794" y="13759"/>
                </a:lnTo>
                <a:lnTo>
                  <a:pt x="9646" y="21102"/>
                </a:lnTo>
                <a:lnTo>
                  <a:pt x="9646" y="34531"/>
                </a:lnTo>
                <a:lnTo>
                  <a:pt x="25093" y="34531"/>
                </a:lnTo>
                <a:lnTo>
                  <a:pt x="25093" y="17269"/>
                </a:lnTo>
                <a:lnTo>
                  <a:pt x="27048" y="13429"/>
                </a:lnTo>
                <a:lnTo>
                  <a:pt x="40540" y="13429"/>
                </a:lnTo>
                <a:lnTo>
                  <a:pt x="40540" y="0"/>
                </a:lnTo>
                <a:close/>
              </a:path>
            </a:pathLst>
          </a:custGeom>
          <a:solidFill>
            <a:srgbClr val="129FDA"/>
          </a:solidFill>
        </p:spPr>
        <p:txBody>
          <a:bodyPr wrap="square" lIns="0" tIns="0" rIns="0" bIns="0" rtlCol="0"/>
          <a:lstStyle/>
          <a:p>
            <a:endParaRPr/>
          </a:p>
        </p:txBody>
      </p:sp>
      <p:sp>
        <p:nvSpPr>
          <p:cNvPr id="67" name="object 67"/>
          <p:cNvSpPr/>
          <p:nvPr/>
        </p:nvSpPr>
        <p:spPr>
          <a:xfrm>
            <a:off x="11755012" y="1561972"/>
            <a:ext cx="38735" cy="100330"/>
          </a:xfrm>
          <a:custGeom>
            <a:avLst/>
            <a:gdLst/>
            <a:ahLst/>
            <a:cxnLst/>
            <a:rect l="l" t="t" r="r" b="b"/>
            <a:pathLst>
              <a:path w="38734" h="100330">
                <a:moveTo>
                  <a:pt x="23203" y="36454"/>
                </a:moveTo>
                <a:lnTo>
                  <a:pt x="7756" y="36454"/>
                </a:lnTo>
                <a:lnTo>
                  <a:pt x="7756" y="78666"/>
                </a:lnTo>
                <a:lnTo>
                  <a:pt x="9169" y="86009"/>
                </a:lnTo>
                <a:lnTo>
                  <a:pt x="13296" y="92813"/>
                </a:lnTo>
                <a:lnTo>
                  <a:pt x="19964" y="97820"/>
                </a:lnTo>
                <a:lnTo>
                  <a:pt x="29004" y="99768"/>
                </a:lnTo>
                <a:lnTo>
                  <a:pt x="38650" y="99768"/>
                </a:lnTo>
                <a:lnTo>
                  <a:pt x="38650" y="86339"/>
                </a:lnTo>
                <a:lnTo>
                  <a:pt x="27048" y="86339"/>
                </a:lnTo>
                <a:lnTo>
                  <a:pt x="23203" y="82499"/>
                </a:lnTo>
                <a:lnTo>
                  <a:pt x="23203" y="36454"/>
                </a:lnTo>
                <a:close/>
              </a:path>
              <a:path w="38734" h="100330">
                <a:moveTo>
                  <a:pt x="38650" y="24942"/>
                </a:moveTo>
                <a:lnTo>
                  <a:pt x="0" y="24942"/>
                </a:lnTo>
                <a:lnTo>
                  <a:pt x="0" y="36454"/>
                </a:lnTo>
                <a:lnTo>
                  <a:pt x="38650" y="36454"/>
                </a:lnTo>
                <a:lnTo>
                  <a:pt x="38650" y="24942"/>
                </a:lnTo>
                <a:close/>
              </a:path>
              <a:path w="38734" h="100330">
                <a:moveTo>
                  <a:pt x="23203" y="0"/>
                </a:moveTo>
                <a:lnTo>
                  <a:pt x="7756" y="0"/>
                </a:lnTo>
                <a:lnTo>
                  <a:pt x="7756" y="24942"/>
                </a:lnTo>
                <a:lnTo>
                  <a:pt x="23203" y="24942"/>
                </a:lnTo>
                <a:lnTo>
                  <a:pt x="23203" y="0"/>
                </a:lnTo>
                <a:close/>
              </a:path>
            </a:pathLst>
          </a:custGeom>
          <a:solidFill>
            <a:srgbClr val="129FDA"/>
          </a:solidFill>
        </p:spPr>
        <p:txBody>
          <a:bodyPr wrap="square" lIns="0" tIns="0" rIns="0" bIns="0" rtlCol="0"/>
          <a:lstStyle/>
          <a:p>
            <a:endParaRPr/>
          </a:p>
        </p:txBody>
      </p:sp>
      <p:sp>
        <p:nvSpPr>
          <p:cNvPr id="68" name="object 68"/>
          <p:cNvSpPr/>
          <p:nvPr/>
        </p:nvSpPr>
        <p:spPr>
          <a:xfrm>
            <a:off x="11797508" y="1569652"/>
            <a:ext cx="15875" cy="17780"/>
          </a:xfrm>
          <a:custGeom>
            <a:avLst/>
            <a:gdLst/>
            <a:ahLst/>
            <a:cxnLst/>
            <a:rect l="l" t="t" r="r" b="b"/>
            <a:pathLst>
              <a:path w="15875" h="17780">
                <a:moveTo>
                  <a:pt x="9646" y="15346"/>
                </a:moveTo>
                <a:lnTo>
                  <a:pt x="5800" y="15346"/>
                </a:lnTo>
                <a:lnTo>
                  <a:pt x="5800" y="17262"/>
                </a:lnTo>
                <a:lnTo>
                  <a:pt x="9646" y="17262"/>
                </a:lnTo>
                <a:lnTo>
                  <a:pt x="9646" y="15346"/>
                </a:lnTo>
                <a:close/>
              </a:path>
              <a:path w="15875" h="17780">
                <a:moveTo>
                  <a:pt x="3845" y="13429"/>
                </a:moveTo>
                <a:lnTo>
                  <a:pt x="1955" y="13429"/>
                </a:lnTo>
                <a:lnTo>
                  <a:pt x="1955" y="15346"/>
                </a:lnTo>
                <a:lnTo>
                  <a:pt x="5800" y="15346"/>
                </a:lnTo>
                <a:lnTo>
                  <a:pt x="3845" y="13429"/>
                </a:lnTo>
                <a:close/>
              </a:path>
              <a:path w="15875" h="17780">
                <a:moveTo>
                  <a:pt x="13556" y="13429"/>
                </a:moveTo>
                <a:lnTo>
                  <a:pt x="11601" y="13429"/>
                </a:lnTo>
                <a:lnTo>
                  <a:pt x="11601" y="15346"/>
                </a:lnTo>
                <a:lnTo>
                  <a:pt x="13556" y="15346"/>
                </a:lnTo>
                <a:lnTo>
                  <a:pt x="13556" y="13429"/>
                </a:lnTo>
                <a:close/>
              </a:path>
              <a:path w="15875" h="17780">
                <a:moveTo>
                  <a:pt x="1955" y="9589"/>
                </a:moveTo>
                <a:lnTo>
                  <a:pt x="0" y="9589"/>
                </a:lnTo>
                <a:lnTo>
                  <a:pt x="0" y="13429"/>
                </a:lnTo>
                <a:lnTo>
                  <a:pt x="1955" y="13429"/>
                </a:lnTo>
                <a:lnTo>
                  <a:pt x="1955" y="9589"/>
                </a:lnTo>
                <a:close/>
              </a:path>
              <a:path w="15875" h="17780">
                <a:moveTo>
                  <a:pt x="15447" y="9589"/>
                </a:moveTo>
                <a:lnTo>
                  <a:pt x="13556" y="9589"/>
                </a:lnTo>
                <a:lnTo>
                  <a:pt x="13556" y="13429"/>
                </a:lnTo>
                <a:lnTo>
                  <a:pt x="15447" y="13429"/>
                </a:lnTo>
                <a:lnTo>
                  <a:pt x="15447" y="9589"/>
                </a:lnTo>
                <a:close/>
              </a:path>
              <a:path w="15875" h="17780">
                <a:moveTo>
                  <a:pt x="1955" y="3833"/>
                </a:moveTo>
                <a:lnTo>
                  <a:pt x="0" y="3833"/>
                </a:lnTo>
                <a:lnTo>
                  <a:pt x="0" y="7673"/>
                </a:lnTo>
                <a:lnTo>
                  <a:pt x="1955" y="5749"/>
                </a:lnTo>
                <a:lnTo>
                  <a:pt x="1955" y="3833"/>
                </a:lnTo>
                <a:close/>
              </a:path>
              <a:path w="15875" h="17780">
                <a:moveTo>
                  <a:pt x="15447" y="3833"/>
                </a:moveTo>
                <a:lnTo>
                  <a:pt x="13556" y="3833"/>
                </a:lnTo>
                <a:lnTo>
                  <a:pt x="13556" y="5749"/>
                </a:lnTo>
                <a:lnTo>
                  <a:pt x="15447" y="7673"/>
                </a:lnTo>
                <a:lnTo>
                  <a:pt x="15447" y="3833"/>
                </a:lnTo>
                <a:close/>
              </a:path>
              <a:path w="15875" h="17780">
                <a:moveTo>
                  <a:pt x="3845" y="1916"/>
                </a:moveTo>
                <a:lnTo>
                  <a:pt x="1955" y="1916"/>
                </a:lnTo>
                <a:lnTo>
                  <a:pt x="1955" y="3833"/>
                </a:lnTo>
                <a:lnTo>
                  <a:pt x="3845" y="3833"/>
                </a:lnTo>
                <a:lnTo>
                  <a:pt x="3845" y="1916"/>
                </a:lnTo>
                <a:close/>
              </a:path>
              <a:path w="15875" h="17780">
                <a:moveTo>
                  <a:pt x="13556" y="1916"/>
                </a:moveTo>
                <a:lnTo>
                  <a:pt x="11601" y="1916"/>
                </a:lnTo>
                <a:lnTo>
                  <a:pt x="13556" y="3833"/>
                </a:lnTo>
                <a:lnTo>
                  <a:pt x="13556" y="1916"/>
                </a:lnTo>
                <a:close/>
              </a:path>
              <a:path w="15875" h="17780">
                <a:moveTo>
                  <a:pt x="11601" y="0"/>
                </a:moveTo>
                <a:lnTo>
                  <a:pt x="3845" y="0"/>
                </a:lnTo>
                <a:lnTo>
                  <a:pt x="3845" y="1916"/>
                </a:lnTo>
                <a:lnTo>
                  <a:pt x="11601" y="1916"/>
                </a:lnTo>
                <a:lnTo>
                  <a:pt x="11601" y="0"/>
                </a:lnTo>
                <a:close/>
              </a:path>
            </a:pathLst>
          </a:custGeom>
          <a:solidFill>
            <a:srgbClr val="129FDA"/>
          </a:solidFill>
        </p:spPr>
        <p:txBody>
          <a:bodyPr wrap="square" lIns="0" tIns="0" rIns="0" bIns="0" rtlCol="0"/>
          <a:lstStyle/>
          <a:p>
            <a:endParaRPr/>
          </a:p>
        </p:txBody>
      </p:sp>
      <p:sp>
        <p:nvSpPr>
          <p:cNvPr id="69" name="object 69"/>
          <p:cNvSpPr/>
          <p:nvPr/>
        </p:nvSpPr>
        <p:spPr>
          <a:xfrm>
            <a:off x="11801354" y="1573485"/>
            <a:ext cx="8255" cy="10160"/>
          </a:xfrm>
          <a:custGeom>
            <a:avLst/>
            <a:gdLst/>
            <a:ahLst/>
            <a:cxnLst/>
            <a:rect l="l" t="t" r="r" b="b"/>
            <a:pathLst>
              <a:path w="8254" h="10159">
                <a:moveTo>
                  <a:pt x="7756" y="0"/>
                </a:moveTo>
                <a:lnTo>
                  <a:pt x="0" y="0"/>
                </a:lnTo>
                <a:lnTo>
                  <a:pt x="0" y="9596"/>
                </a:lnTo>
                <a:lnTo>
                  <a:pt x="1955" y="9596"/>
                </a:lnTo>
                <a:lnTo>
                  <a:pt x="1955" y="5756"/>
                </a:lnTo>
                <a:lnTo>
                  <a:pt x="5800" y="5756"/>
                </a:lnTo>
                <a:lnTo>
                  <a:pt x="7756" y="3839"/>
                </a:lnTo>
                <a:lnTo>
                  <a:pt x="1955" y="3839"/>
                </a:lnTo>
                <a:lnTo>
                  <a:pt x="1955" y="1916"/>
                </a:lnTo>
                <a:lnTo>
                  <a:pt x="7756" y="1916"/>
                </a:lnTo>
                <a:lnTo>
                  <a:pt x="7756" y="0"/>
                </a:lnTo>
                <a:close/>
              </a:path>
              <a:path w="8254" h="10159">
                <a:moveTo>
                  <a:pt x="5800" y="5756"/>
                </a:moveTo>
                <a:lnTo>
                  <a:pt x="3910" y="5756"/>
                </a:lnTo>
                <a:lnTo>
                  <a:pt x="5800" y="9596"/>
                </a:lnTo>
                <a:lnTo>
                  <a:pt x="7756" y="9596"/>
                </a:lnTo>
                <a:lnTo>
                  <a:pt x="5800" y="5756"/>
                </a:lnTo>
                <a:close/>
              </a:path>
              <a:path w="8254" h="10159">
                <a:moveTo>
                  <a:pt x="7756" y="1916"/>
                </a:moveTo>
                <a:lnTo>
                  <a:pt x="5800" y="1916"/>
                </a:lnTo>
                <a:lnTo>
                  <a:pt x="5800" y="3839"/>
                </a:lnTo>
                <a:lnTo>
                  <a:pt x="7756" y="3839"/>
                </a:lnTo>
                <a:lnTo>
                  <a:pt x="7756" y="1916"/>
                </a:lnTo>
                <a:close/>
              </a:path>
            </a:pathLst>
          </a:custGeom>
          <a:solidFill>
            <a:srgbClr val="129FDA"/>
          </a:solidFill>
        </p:spPr>
        <p:txBody>
          <a:bodyPr wrap="square" lIns="0" tIns="0" rIns="0" bIns="0" rtlCol="0"/>
          <a:lstStyle/>
          <a:p>
            <a:endParaRPr/>
          </a:p>
        </p:txBody>
      </p:sp>
      <p:sp>
        <p:nvSpPr>
          <p:cNvPr id="70" name="object 70"/>
          <p:cNvSpPr txBox="1"/>
          <p:nvPr/>
        </p:nvSpPr>
        <p:spPr>
          <a:xfrm>
            <a:off x="10977753" y="1757934"/>
            <a:ext cx="848360" cy="162560"/>
          </a:xfrm>
          <a:prstGeom prst="rect">
            <a:avLst/>
          </a:prstGeom>
        </p:spPr>
        <p:txBody>
          <a:bodyPr vert="horz" wrap="square" lIns="0" tIns="12700" rIns="0" bIns="0" rtlCol="0">
            <a:spAutoFit/>
          </a:bodyPr>
          <a:lstStyle/>
          <a:p>
            <a:pPr marL="12700">
              <a:lnSpc>
                <a:spcPct val="100000"/>
              </a:lnSpc>
              <a:spcBef>
                <a:spcPts val="100"/>
              </a:spcBef>
            </a:pPr>
            <a:r>
              <a:rPr sz="900" spc="-5">
                <a:solidFill>
                  <a:srgbClr val="12ABDB"/>
                </a:solidFill>
                <a:latin typeface="Verdana"/>
                <a:cs typeface="Verdana"/>
              </a:rPr>
              <a:t>Global</a:t>
            </a:r>
            <a:r>
              <a:rPr sz="900" spc="-40">
                <a:solidFill>
                  <a:srgbClr val="12ABDB"/>
                </a:solidFill>
                <a:latin typeface="Verdana"/>
                <a:cs typeface="Verdana"/>
              </a:rPr>
              <a:t> </a:t>
            </a:r>
            <a:r>
              <a:rPr sz="900" spc="-5">
                <a:solidFill>
                  <a:srgbClr val="12ABDB"/>
                </a:solidFill>
                <a:latin typeface="Verdana"/>
                <a:cs typeface="Verdana"/>
              </a:rPr>
              <a:t>Partner</a:t>
            </a:r>
            <a:endParaRPr sz="900">
              <a:latin typeface="Verdana"/>
              <a:cs typeface="Verdana"/>
            </a:endParaRPr>
          </a:p>
        </p:txBody>
      </p:sp>
      <p:sp>
        <p:nvSpPr>
          <p:cNvPr id="71" name="object 7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2" name="object 7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5</a:t>
            </a:fld>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994904" y="1200911"/>
            <a:ext cx="3937000" cy="5331460"/>
          </a:xfrm>
          <a:custGeom>
            <a:avLst/>
            <a:gdLst/>
            <a:ahLst/>
            <a:cxnLst/>
            <a:rect l="l" t="t" r="r" b="b"/>
            <a:pathLst>
              <a:path w="3937000" h="5331459">
                <a:moveTo>
                  <a:pt x="0" y="5330952"/>
                </a:moveTo>
                <a:lnTo>
                  <a:pt x="3936492" y="5330952"/>
                </a:lnTo>
                <a:lnTo>
                  <a:pt x="3936492" y="0"/>
                </a:lnTo>
                <a:lnTo>
                  <a:pt x="0" y="0"/>
                </a:lnTo>
                <a:lnTo>
                  <a:pt x="0" y="5330952"/>
                </a:lnTo>
                <a:close/>
              </a:path>
            </a:pathLst>
          </a:custGeom>
          <a:solidFill>
            <a:srgbClr val="EBEBEB"/>
          </a:solidFill>
        </p:spPr>
        <p:txBody>
          <a:bodyPr wrap="square" lIns="0" tIns="0" rIns="0" bIns="0" rtlCol="0"/>
          <a:lstStyle/>
          <a:p>
            <a:endParaRPr/>
          </a:p>
        </p:txBody>
      </p:sp>
      <p:sp>
        <p:nvSpPr>
          <p:cNvPr id="3" name="object 3"/>
          <p:cNvSpPr/>
          <p:nvPr/>
        </p:nvSpPr>
        <p:spPr>
          <a:xfrm>
            <a:off x="4128515" y="1200911"/>
            <a:ext cx="3790315" cy="5331460"/>
          </a:xfrm>
          <a:custGeom>
            <a:avLst/>
            <a:gdLst/>
            <a:ahLst/>
            <a:cxnLst/>
            <a:rect l="l" t="t" r="r" b="b"/>
            <a:pathLst>
              <a:path w="3790315" h="5331459">
                <a:moveTo>
                  <a:pt x="0" y="5330952"/>
                </a:moveTo>
                <a:lnTo>
                  <a:pt x="3790188" y="5330952"/>
                </a:lnTo>
                <a:lnTo>
                  <a:pt x="3790188" y="0"/>
                </a:lnTo>
                <a:lnTo>
                  <a:pt x="0" y="0"/>
                </a:lnTo>
                <a:lnTo>
                  <a:pt x="0" y="5330952"/>
                </a:lnTo>
                <a:close/>
              </a:path>
            </a:pathLst>
          </a:custGeom>
          <a:solidFill>
            <a:srgbClr val="EBEBEB"/>
          </a:solidFill>
        </p:spPr>
        <p:txBody>
          <a:bodyPr wrap="square" lIns="0" tIns="0" rIns="0" bIns="0" rtlCol="0"/>
          <a:lstStyle/>
          <a:p>
            <a:endParaRPr/>
          </a:p>
        </p:txBody>
      </p:sp>
      <p:sp>
        <p:nvSpPr>
          <p:cNvPr id="4" name="object 4"/>
          <p:cNvSpPr/>
          <p:nvPr/>
        </p:nvSpPr>
        <p:spPr>
          <a:xfrm>
            <a:off x="227075" y="1200911"/>
            <a:ext cx="3825240" cy="5331460"/>
          </a:xfrm>
          <a:custGeom>
            <a:avLst/>
            <a:gdLst/>
            <a:ahLst/>
            <a:cxnLst/>
            <a:rect l="l" t="t" r="r" b="b"/>
            <a:pathLst>
              <a:path w="3825240" h="5331459">
                <a:moveTo>
                  <a:pt x="0" y="5330952"/>
                </a:moveTo>
                <a:lnTo>
                  <a:pt x="3825240" y="5330952"/>
                </a:lnTo>
                <a:lnTo>
                  <a:pt x="3825240" y="0"/>
                </a:lnTo>
                <a:lnTo>
                  <a:pt x="0" y="0"/>
                </a:lnTo>
                <a:lnTo>
                  <a:pt x="0" y="5330952"/>
                </a:lnTo>
                <a:close/>
              </a:path>
            </a:pathLst>
          </a:custGeom>
          <a:solidFill>
            <a:srgbClr val="EBEBEB"/>
          </a:solidFill>
        </p:spPr>
        <p:txBody>
          <a:bodyPr wrap="square" lIns="0" tIns="0" rIns="0" bIns="0" rtlCol="0"/>
          <a:lstStyle/>
          <a:p>
            <a:endParaRPr/>
          </a:p>
        </p:txBody>
      </p:sp>
      <p:sp>
        <p:nvSpPr>
          <p:cNvPr id="5" name="object 5"/>
          <p:cNvSpPr/>
          <p:nvPr/>
        </p:nvSpPr>
        <p:spPr>
          <a:xfrm>
            <a:off x="227075" y="1200911"/>
            <a:ext cx="11704320" cy="5331460"/>
          </a:xfrm>
          <a:custGeom>
            <a:avLst/>
            <a:gdLst/>
            <a:ahLst/>
            <a:cxnLst/>
            <a:rect l="l" t="t" r="r" b="b"/>
            <a:pathLst>
              <a:path w="11704320" h="5331459">
                <a:moveTo>
                  <a:pt x="0" y="5330952"/>
                </a:moveTo>
                <a:lnTo>
                  <a:pt x="11704320" y="5330952"/>
                </a:lnTo>
                <a:lnTo>
                  <a:pt x="11704320" y="0"/>
                </a:lnTo>
                <a:lnTo>
                  <a:pt x="0" y="0"/>
                </a:lnTo>
                <a:lnTo>
                  <a:pt x="0" y="5330952"/>
                </a:lnTo>
                <a:close/>
              </a:path>
            </a:pathLst>
          </a:custGeom>
          <a:ln w="12192">
            <a:solidFill>
              <a:srgbClr val="EBEBEB"/>
            </a:solidFill>
          </a:ln>
        </p:spPr>
        <p:txBody>
          <a:bodyPr wrap="square" lIns="0" tIns="0" rIns="0" bIns="0" rtlCol="0"/>
          <a:lstStyle/>
          <a:p>
            <a:endParaRPr/>
          </a:p>
        </p:txBody>
      </p:sp>
      <p:sp>
        <p:nvSpPr>
          <p:cNvPr id="6" name="object 6"/>
          <p:cNvSpPr txBox="1">
            <a:spLocks noGrp="1"/>
          </p:cNvSpPr>
          <p:nvPr>
            <p:ph type="title"/>
          </p:nvPr>
        </p:nvSpPr>
        <p:spPr>
          <a:xfrm>
            <a:off x="214680" y="140588"/>
            <a:ext cx="9205595" cy="779145"/>
          </a:xfrm>
          <a:prstGeom prst="rect">
            <a:avLst/>
          </a:prstGeom>
        </p:spPr>
        <p:txBody>
          <a:bodyPr vert="horz" wrap="square" lIns="0" tIns="57785" rIns="0" bIns="0" rtlCol="0">
            <a:spAutoFit/>
          </a:bodyPr>
          <a:lstStyle/>
          <a:p>
            <a:pPr marL="12700" marR="5080">
              <a:lnSpc>
                <a:spcPts val="2810"/>
              </a:lnSpc>
              <a:spcBef>
                <a:spcPts val="455"/>
              </a:spcBef>
            </a:pPr>
            <a:r>
              <a:rPr sz="2600" spc="-5"/>
              <a:t>Capgemini has </a:t>
            </a:r>
            <a:r>
              <a:rPr sz="2600"/>
              <a:t>a Rich </a:t>
            </a:r>
            <a:r>
              <a:rPr sz="2600" spc="-5"/>
              <a:t>Set </a:t>
            </a:r>
            <a:r>
              <a:rPr sz="2600"/>
              <a:t>of </a:t>
            </a:r>
            <a:r>
              <a:rPr sz="2600" spc="-5"/>
              <a:t>Accelerators. </a:t>
            </a:r>
            <a:r>
              <a:rPr sz="2600"/>
              <a:t>Some are an  </a:t>
            </a:r>
            <a:r>
              <a:rPr sz="2600" spc="-5"/>
              <a:t>Example </a:t>
            </a:r>
            <a:r>
              <a:rPr sz="2600"/>
              <a:t>of </a:t>
            </a:r>
            <a:r>
              <a:rPr sz="2600" spc="-5"/>
              <a:t>Mutual </a:t>
            </a:r>
            <a:r>
              <a:rPr sz="2600" spc="-10"/>
              <a:t>Innovation </a:t>
            </a:r>
            <a:r>
              <a:rPr sz="2600"/>
              <a:t>with</a:t>
            </a:r>
            <a:r>
              <a:rPr sz="2600" spc="-20"/>
              <a:t> </a:t>
            </a:r>
            <a:r>
              <a:rPr sz="2600"/>
              <a:t>Clients</a:t>
            </a:r>
          </a:p>
        </p:txBody>
      </p:sp>
      <p:sp>
        <p:nvSpPr>
          <p:cNvPr id="7" name="object 7"/>
          <p:cNvSpPr txBox="1"/>
          <p:nvPr/>
        </p:nvSpPr>
        <p:spPr>
          <a:xfrm>
            <a:off x="560628" y="5705135"/>
            <a:ext cx="3128645" cy="740410"/>
          </a:xfrm>
          <a:prstGeom prst="rect">
            <a:avLst/>
          </a:prstGeom>
        </p:spPr>
        <p:txBody>
          <a:bodyPr vert="horz" wrap="square" lIns="0" tIns="46990" rIns="0" bIns="0" rtlCol="0">
            <a:spAutoFit/>
          </a:bodyPr>
          <a:lstStyle/>
          <a:p>
            <a:pPr marL="12700">
              <a:lnSpc>
                <a:spcPct val="100000"/>
              </a:lnSpc>
              <a:spcBef>
                <a:spcPts val="370"/>
              </a:spcBef>
            </a:pPr>
            <a:r>
              <a:rPr sz="900" b="1" spc="-5">
                <a:latin typeface="Verdana"/>
                <a:cs typeface="Verdana"/>
              </a:rPr>
              <a:t>Unified</a:t>
            </a:r>
            <a:r>
              <a:rPr sz="900" b="1" spc="-20">
                <a:latin typeface="Verdana"/>
                <a:cs typeface="Verdana"/>
              </a:rPr>
              <a:t> </a:t>
            </a:r>
            <a:r>
              <a:rPr sz="900" b="1" spc="-5">
                <a:latin typeface="Verdana"/>
                <a:cs typeface="Verdana"/>
              </a:rPr>
              <a:t>Retail</a:t>
            </a:r>
            <a:endParaRPr sz="900">
              <a:latin typeface="Verdana"/>
              <a:cs typeface="Verdana"/>
            </a:endParaRPr>
          </a:p>
          <a:p>
            <a:pPr marL="12700" marR="5080">
              <a:lnSpc>
                <a:spcPct val="90100"/>
              </a:lnSpc>
              <a:spcBef>
                <a:spcPts val="385"/>
              </a:spcBef>
            </a:pPr>
            <a:r>
              <a:rPr sz="900" spc="-5">
                <a:latin typeface="Verdana"/>
                <a:cs typeface="Verdana"/>
              </a:rPr>
              <a:t>The </a:t>
            </a:r>
            <a:r>
              <a:rPr sz="900">
                <a:latin typeface="Verdana"/>
                <a:cs typeface="Verdana"/>
              </a:rPr>
              <a:t>accelerator </a:t>
            </a:r>
            <a:r>
              <a:rPr sz="900" spc="-5">
                <a:latin typeface="Verdana"/>
                <a:cs typeface="Verdana"/>
              </a:rPr>
              <a:t>includes key functionality for </a:t>
            </a:r>
            <a:r>
              <a:rPr sz="900">
                <a:latin typeface="Verdana"/>
                <a:cs typeface="Verdana"/>
              </a:rPr>
              <a:t>retailers  to realize </a:t>
            </a:r>
            <a:r>
              <a:rPr sz="900" spc="-5">
                <a:latin typeface="Verdana"/>
                <a:cs typeface="Verdana"/>
              </a:rPr>
              <a:t>additional value from Salesforce Commerce  Cloud, Salesforce Marketing Cloud, and Salesforce  Service</a:t>
            </a:r>
            <a:r>
              <a:rPr sz="900">
                <a:latin typeface="Verdana"/>
                <a:cs typeface="Verdana"/>
              </a:rPr>
              <a:t> </a:t>
            </a:r>
            <a:r>
              <a:rPr sz="900" spc="-5">
                <a:latin typeface="Verdana"/>
                <a:cs typeface="Verdana"/>
              </a:rPr>
              <a:t>Cloud</a:t>
            </a:r>
            <a:endParaRPr sz="900">
              <a:latin typeface="Verdana"/>
              <a:cs typeface="Verdana"/>
            </a:endParaRPr>
          </a:p>
        </p:txBody>
      </p:sp>
      <p:sp>
        <p:nvSpPr>
          <p:cNvPr id="8" name="object 8"/>
          <p:cNvSpPr txBox="1"/>
          <p:nvPr/>
        </p:nvSpPr>
        <p:spPr>
          <a:xfrm>
            <a:off x="4373626" y="5691456"/>
            <a:ext cx="3320415" cy="671830"/>
          </a:xfrm>
          <a:prstGeom prst="rect">
            <a:avLst/>
          </a:prstGeom>
        </p:spPr>
        <p:txBody>
          <a:bodyPr vert="horz" wrap="square" lIns="0" tIns="60960" rIns="0" bIns="0" rtlCol="0">
            <a:spAutoFit/>
          </a:bodyPr>
          <a:lstStyle/>
          <a:p>
            <a:pPr marL="12700">
              <a:lnSpc>
                <a:spcPct val="100000"/>
              </a:lnSpc>
              <a:spcBef>
                <a:spcPts val="480"/>
              </a:spcBef>
            </a:pPr>
            <a:r>
              <a:rPr sz="900" b="1" spc="-5">
                <a:latin typeface="Verdana"/>
                <a:cs typeface="Verdana"/>
              </a:rPr>
              <a:t>Salesforce Instance Health</a:t>
            </a:r>
            <a:r>
              <a:rPr sz="900" b="1" spc="-10">
                <a:latin typeface="Verdana"/>
                <a:cs typeface="Verdana"/>
              </a:rPr>
              <a:t> </a:t>
            </a:r>
            <a:r>
              <a:rPr sz="900" b="1" spc="-5">
                <a:latin typeface="Verdana"/>
                <a:cs typeface="Verdana"/>
              </a:rPr>
              <a:t>Check</a:t>
            </a:r>
            <a:endParaRPr sz="900">
              <a:latin typeface="Verdana"/>
              <a:cs typeface="Verdana"/>
            </a:endParaRPr>
          </a:p>
          <a:p>
            <a:pPr marL="12700" marR="5080">
              <a:lnSpc>
                <a:spcPct val="100000"/>
              </a:lnSpc>
              <a:spcBef>
                <a:spcPts val="384"/>
              </a:spcBef>
            </a:pPr>
            <a:r>
              <a:rPr sz="900" spc="-5">
                <a:latin typeface="Verdana"/>
                <a:cs typeface="Verdana"/>
              </a:rPr>
              <a:t>Structured </a:t>
            </a:r>
            <a:r>
              <a:rPr sz="900">
                <a:latin typeface="Verdana"/>
                <a:cs typeface="Verdana"/>
              </a:rPr>
              <a:t>set of </a:t>
            </a:r>
            <a:r>
              <a:rPr sz="900" spc="-5">
                <a:latin typeface="Verdana"/>
                <a:cs typeface="Verdana"/>
              </a:rPr>
              <a:t>activities, questionnaires, and </a:t>
            </a:r>
            <a:r>
              <a:rPr sz="900">
                <a:latin typeface="Verdana"/>
                <a:cs typeface="Verdana"/>
              </a:rPr>
              <a:t>feedback  templates to </a:t>
            </a:r>
            <a:r>
              <a:rPr sz="900" spc="-5">
                <a:latin typeface="Verdana"/>
                <a:cs typeface="Verdana"/>
              </a:rPr>
              <a:t>assess the health </a:t>
            </a:r>
            <a:r>
              <a:rPr sz="900">
                <a:latin typeface="Verdana"/>
                <a:cs typeface="Verdana"/>
              </a:rPr>
              <a:t>of a </a:t>
            </a:r>
            <a:r>
              <a:rPr sz="900" spc="-5">
                <a:latin typeface="Verdana"/>
                <a:cs typeface="Verdana"/>
              </a:rPr>
              <a:t>particular Salesforce  implementation. </a:t>
            </a:r>
            <a:r>
              <a:rPr sz="900">
                <a:latin typeface="Verdana"/>
                <a:cs typeface="Verdana"/>
              </a:rPr>
              <a:t>Used </a:t>
            </a:r>
            <a:r>
              <a:rPr sz="900" spc="-5">
                <a:latin typeface="Verdana"/>
                <a:cs typeface="Verdana"/>
              </a:rPr>
              <a:t>with </a:t>
            </a:r>
            <a:r>
              <a:rPr sz="900">
                <a:latin typeface="Verdana"/>
                <a:cs typeface="Verdana"/>
              </a:rPr>
              <a:t>several </a:t>
            </a:r>
            <a:r>
              <a:rPr sz="900" spc="-5">
                <a:latin typeface="Verdana"/>
                <a:cs typeface="Verdana"/>
              </a:rPr>
              <a:t>clients </a:t>
            </a:r>
            <a:r>
              <a:rPr sz="900">
                <a:latin typeface="Verdana"/>
                <a:cs typeface="Verdana"/>
              </a:rPr>
              <a:t>so </a:t>
            </a:r>
            <a:r>
              <a:rPr sz="900" spc="-5">
                <a:latin typeface="Verdana"/>
                <a:cs typeface="Verdana"/>
              </a:rPr>
              <a:t>far</a:t>
            </a:r>
            <a:endParaRPr sz="900">
              <a:latin typeface="Verdana"/>
              <a:cs typeface="Verdana"/>
            </a:endParaRPr>
          </a:p>
        </p:txBody>
      </p:sp>
      <p:sp>
        <p:nvSpPr>
          <p:cNvPr id="9" name="object 9"/>
          <p:cNvSpPr/>
          <p:nvPr/>
        </p:nvSpPr>
        <p:spPr>
          <a:xfrm>
            <a:off x="4517135" y="4067555"/>
            <a:ext cx="2976880" cy="1577340"/>
          </a:xfrm>
          <a:custGeom>
            <a:avLst/>
            <a:gdLst/>
            <a:ahLst/>
            <a:cxnLst/>
            <a:rect l="l" t="t" r="r" b="b"/>
            <a:pathLst>
              <a:path w="2976879" h="1577339">
                <a:moveTo>
                  <a:pt x="0" y="1577340"/>
                </a:moveTo>
                <a:lnTo>
                  <a:pt x="2976371" y="1577340"/>
                </a:lnTo>
                <a:lnTo>
                  <a:pt x="2976371" y="0"/>
                </a:lnTo>
                <a:lnTo>
                  <a:pt x="0" y="0"/>
                </a:lnTo>
                <a:lnTo>
                  <a:pt x="0" y="1577340"/>
                </a:lnTo>
                <a:close/>
              </a:path>
            </a:pathLst>
          </a:custGeom>
          <a:solidFill>
            <a:srgbClr val="FFFFFF"/>
          </a:solidFill>
        </p:spPr>
        <p:txBody>
          <a:bodyPr wrap="square" lIns="0" tIns="0" rIns="0" bIns="0" rtlCol="0"/>
          <a:lstStyle/>
          <a:p>
            <a:endParaRPr/>
          </a:p>
        </p:txBody>
      </p:sp>
      <p:sp>
        <p:nvSpPr>
          <p:cNvPr id="10" name="object 10"/>
          <p:cNvSpPr/>
          <p:nvPr/>
        </p:nvSpPr>
        <p:spPr>
          <a:xfrm>
            <a:off x="4517135" y="4067555"/>
            <a:ext cx="2976880" cy="1577340"/>
          </a:xfrm>
          <a:custGeom>
            <a:avLst/>
            <a:gdLst/>
            <a:ahLst/>
            <a:cxnLst/>
            <a:rect l="l" t="t" r="r" b="b"/>
            <a:pathLst>
              <a:path w="2976879" h="1577339">
                <a:moveTo>
                  <a:pt x="0" y="1577340"/>
                </a:moveTo>
                <a:lnTo>
                  <a:pt x="2976371" y="1577340"/>
                </a:lnTo>
                <a:lnTo>
                  <a:pt x="2976371" y="0"/>
                </a:lnTo>
                <a:lnTo>
                  <a:pt x="0" y="0"/>
                </a:lnTo>
                <a:lnTo>
                  <a:pt x="0" y="1577340"/>
                </a:lnTo>
                <a:close/>
              </a:path>
            </a:pathLst>
          </a:custGeom>
          <a:ln w="12192">
            <a:solidFill>
              <a:srgbClr val="FFFFFF"/>
            </a:solidFill>
          </a:ln>
        </p:spPr>
        <p:txBody>
          <a:bodyPr wrap="square" lIns="0" tIns="0" rIns="0" bIns="0" rtlCol="0"/>
          <a:lstStyle/>
          <a:p>
            <a:endParaRPr/>
          </a:p>
        </p:txBody>
      </p:sp>
      <p:sp>
        <p:nvSpPr>
          <p:cNvPr id="11" name="object 11"/>
          <p:cNvSpPr/>
          <p:nvPr/>
        </p:nvSpPr>
        <p:spPr>
          <a:xfrm>
            <a:off x="5995045" y="4657928"/>
            <a:ext cx="474345" cy="117475"/>
          </a:xfrm>
          <a:custGeom>
            <a:avLst/>
            <a:gdLst/>
            <a:ahLst/>
            <a:cxnLst/>
            <a:rect l="l" t="t" r="r" b="b"/>
            <a:pathLst>
              <a:path w="474345" h="117475">
                <a:moveTo>
                  <a:pt x="0" y="0"/>
                </a:moveTo>
                <a:lnTo>
                  <a:pt x="474176" y="0"/>
                </a:lnTo>
                <a:lnTo>
                  <a:pt x="474176" y="117068"/>
                </a:lnTo>
                <a:lnTo>
                  <a:pt x="0" y="117068"/>
                </a:lnTo>
                <a:lnTo>
                  <a:pt x="0" y="0"/>
                </a:lnTo>
                <a:close/>
              </a:path>
            </a:pathLst>
          </a:custGeom>
          <a:solidFill>
            <a:srgbClr val="6C63CC"/>
          </a:solidFill>
        </p:spPr>
        <p:txBody>
          <a:bodyPr wrap="square" lIns="0" tIns="0" rIns="0" bIns="0" rtlCol="0"/>
          <a:lstStyle/>
          <a:p>
            <a:endParaRPr/>
          </a:p>
        </p:txBody>
      </p:sp>
      <p:sp>
        <p:nvSpPr>
          <p:cNvPr id="12" name="object 12"/>
          <p:cNvSpPr/>
          <p:nvPr/>
        </p:nvSpPr>
        <p:spPr>
          <a:xfrm>
            <a:off x="5992376" y="4429253"/>
            <a:ext cx="476884" cy="117475"/>
          </a:xfrm>
          <a:custGeom>
            <a:avLst/>
            <a:gdLst/>
            <a:ahLst/>
            <a:cxnLst/>
            <a:rect l="l" t="t" r="r" b="b"/>
            <a:pathLst>
              <a:path w="476885" h="117475">
                <a:moveTo>
                  <a:pt x="0" y="0"/>
                </a:moveTo>
                <a:lnTo>
                  <a:pt x="476845" y="0"/>
                </a:lnTo>
                <a:lnTo>
                  <a:pt x="476845" y="117062"/>
                </a:lnTo>
                <a:lnTo>
                  <a:pt x="0" y="117062"/>
                </a:lnTo>
                <a:lnTo>
                  <a:pt x="0" y="0"/>
                </a:lnTo>
                <a:close/>
              </a:path>
            </a:pathLst>
          </a:custGeom>
          <a:solidFill>
            <a:srgbClr val="6C63CC"/>
          </a:solidFill>
        </p:spPr>
        <p:txBody>
          <a:bodyPr wrap="square" lIns="0" tIns="0" rIns="0" bIns="0" rtlCol="0"/>
          <a:lstStyle/>
          <a:p>
            <a:endParaRPr/>
          </a:p>
        </p:txBody>
      </p:sp>
      <p:sp>
        <p:nvSpPr>
          <p:cNvPr id="13" name="object 13"/>
          <p:cNvSpPr/>
          <p:nvPr/>
        </p:nvSpPr>
        <p:spPr>
          <a:xfrm>
            <a:off x="5992376" y="4189650"/>
            <a:ext cx="476884" cy="117475"/>
          </a:xfrm>
          <a:custGeom>
            <a:avLst/>
            <a:gdLst/>
            <a:ahLst/>
            <a:cxnLst/>
            <a:rect l="l" t="t" r="r" b="b"/>
            <a:pathLst>
              <a:path w="476885" h="117475">
                <a:moveTo>
                  <a:pt x="0" y="0"/>
                </a:moveTo>
                <a:lnTo>
                  <a:pt x="476845" y="0"/>
                </a:lnTo>
                <a:lnTo>
                  <a:pt x="476845" y="117062"/>
                </a:lnTo>
                <a:lnTo>
                  <a:pt x="0" y="117062"/>
                </a:lnTo>
                <a:lnTo>
                  <a:pt x="0" y="0"/>
                </a:lnTo>
                <a:close/>
              </a:path>
            </a:pathLst>
          </a:custGeom>
          <a:solidFill>
            <a:srgbClr val="6C63CC"/>
          </a:solidFill>
        </p:spPr>
        <p:txBody>
          <a:bodyPr wrap="square" lIns="0" tIns="0" rIns="0" bIns="0" rtlCol="0"/>
          <a:lstStyle/>
          <a:p>
            <a:endParaRPr/>
          </a:p>
        </p:txBody>
      </p:sp>
      <p:sp>
        <p:nvSpPr>
          <p:cNvPr id="14" name="object 14"/>
          <p:cNvSpPr txBox="1"/>
          <p:nvPr/>
        </p:nvSpPr>
        <p:spPr>
          <a:xfrm>
            <a:off x="6102322" y="4355241"/>
            <a:ext cx="194310" cy="66040"/>
          </a:xfrm>
          <a:prstGeom prst="rect">
            <a:avLst/>
          </a:prstGeom>
        </p:spPr>
        <p:txBody>
          <a:bodyPr vert="horz" wrap="square" lIns="0" tIns="13970" rIns="0" bIns="0" rtlCol="0">
            <a:spAutoFit/>
          </a:bodyPr>
          <a:lstStyle/>
          <a:p>
            <a:pPr marL="12700">
              <a:lnSpc>
                <a:spcPct val="100000"/>
              </a:lnSpc>
              <a:spcBef>
                <a:spcPts val="110"/>
              </a:spcBef>
            </a:pPr>
            <a:r>
              <a:rPr sz="250" spc="-5">
                <a:solidFill>
                  <a:srgbClr val="9A5DC9"/>
                </a:solidFill>
                <a:latin typeface="Arial"/>
                <a:cs typeface="Arial"/>
              </a:rPr>
              <a:t>architecture</a:t>
            </a:r>
            <a:endParaRPr sz="250">
              <a:latin typeface="Arial"/>
              <a:cs typeface="Arial"/>
            </a:endParaRPr>
          </a:p>
        </p:txBody>
      </p:sp>
      <p:sp>
        <p:nvSpPr>
          <p:cNvPr id="15" name="object 15"/>
          <p:cNvSpPr/>
          <p:nvPr/>
        </p:nvSpPr>
        <p:spPr>
          <a:xfrm>
            <a:off x="6036884" y="4227272"/>
            <a:ext cx="45720" cy="47625"/>
          </a:xfrm>
          <a:custGeom>
            <a:avLst/>
            <a:gdLst/>
            <a:ahLst/>
            <a:cxnLst/>
            <a:rect l="l" t="t" r="r" b="b"/>
            <a:pathLst>
              <a:path w="45720" h="47625">
                <a:moveTo>
                  <a:pt x="0" y="0"/>
                </a:moveTo>
                <a:lnTo>
                  <a:pt x="45642" y="0"/>
                </a:lnTo>
                <a:lnTo>
                  <a:pt x="45642" y="47214"/>
                </a:lnTo>
                <a:lnTo>
                  <a:pt x="0" y="47214"/>
                </a:lnTo>
                <a:lnTo>
                  <a:pt x="0" y="0"/>
                </a:lnTo>
                <a:close/>
              </a:path>
            </a:pathLst>
          </a:custGeom>
          <a:solidFill>
            <a:srgbClr val="FFFFFF"/>
          </a:solidFill>
        </p:spPr>
        <p:txBody>
          <a:bodyPr wrap="square" lIns="0" tIns="0" rIns="0" bIns="0" rtlCol="0"/>
          <a:lstStyle/>
          <a:p>
            <a:endParaRPr/>
          </a:p>
        </p:txBody>
      </p:sp>
      <p:sp>
        <p:nvSpPr>
          <p:cNvPr id="16" name="object 16"/>
          <p:cNvSpPr/>
          <p:nvPr/>
        </p:nvSpPr>
        <p:spPr>
          <a:xfrm>
            <a:off x="6036884" y="4227272"/>
            <a:ext cx="45720" cy="47625"/>
          </a:xfrm>
          <a:custGeom>
            <a:avLst/>
            <a:gdLst/>
            <a:ahLst/>
            <a:cxnLst/>
            <a:rect l="l" t="t" r="r" b="b"/>
            <a:pathLst>
              <a:path w="45720" h="47625">
                <a:moveTo>
                  <a:pt x="0" y="0"/>
                </a:moveTo>
                <a:lnTo>
                  <a:pt x="45642" y="0"/>
                </a:lnTo>
                <a:lnTo>
                  <a:pt x="45642" y="47214"/>
                </a:lnTo>
                <a:lnTo>
                  <a:pt x="0" y="47214"/>
                </a:lnTo>
                <a:lnTo>
                  <a:pt x="0" y="0"/>
                </a:lnTo>
                <a:close/>
              </a:path>
            </a:pathLst>
          </a:custGeom>
          <a:ln w="3175">
            <a:solidFill>
              <a:srgbClr val="006FAC"/>
            </a:solidFill>
          </a:ln>
        </p:spPr>
        <p:txBody>
          <a:bodyPr wrap="square" lIns="0" tIns="0" rIns="0" bIns="0" rtlCol="0"/>
          <a:lstStyle/>
          <a:p>
            <a:endParaRPr/>
          </a:p>
        </p:txBody>
      </p:sp>
      <p:sp>
        <p:nvSpPr>
          <p:cNvPr id="17" name="object 17"/>
          <p:cNvSpPr/>
          <p:nvPr/>
        </p:nvSpPr>
        <p:spPr>
          <a:xfrm>
            <a:off x="6036884" y="4812615"/>
            <a:ext cx="45720" cy="50800"/>
          </a:xfrm>
          <a:custGeom>
            <a:avLst/>
            <a:gdLst/>
            <a:ahLst/>
            <a:cxnLst/>
            <a:rect l="l" t="t" r="r" b="b"/>
            <a:pathLst>
              <a:path w="45720" h="50800">
                <a:moveTo>
                  <a:pt x="0" y="0"/>
                </a:moveTo>
                <a:lnTo>
                  <a:pt x="45642" y="0"/>
                </a:lnTo>
                <a:lnTo>
                  <a:pt x="45642" y="50183"/>
                </a:lnTo>
                <a:lnTo>
                  <a:pt x="0" y="50183"/>
                </a:lnTo>
                <a:lnTo>
                  <a:pt x="0" y="0"/>
                </a:lnTo>
                <a:close/>
              </a:path>
            </a:pathLst>
          </a:custGeom>
          <a:solidFill>
            <a:srgbClr val="6C63CC"/>
          </a:solidFill>
        </p:spPr>
        <p:txBody>
          <a:bodyPr wrap="square" lIns="0" tIns="0" rIns="0" bIns="0" rtlCol="0"/>
          <a:lstStyle/>
          <a:p>
            <a:endParaRPr/>
          </a:p>
        </p:txBody>
      </p:sp>
      <p:sp>
        <p:nvSpPr>
          <p:cNvPr id="18" name="object 18"/>
          <p:cNvSpPr/>
          <p:nvPr/>
        </p:nvSpPr>
        <p:spPr>
          <a:xfrm>
            <a:off x="6036884" y="4812615"/>
            <a:ext cx="45720" cy="50800"/>
          </a:xfrm>
          <a:custGeom>
            <a:avLst/>
            <a:gdLst/>
            <a:ahLst/>
            <a:cxnLst/>
            <a:rect l="l" t="t" r="r" b="b"/>
            <a:pathLst>
              <a:path w="45720" h="50800">
                <a:moveTo>
                  <a:pt x="0" y="0"/>
                </a:moveTo>
                <a:lnTo>
                  <a:pt x="45642" y="0"/>
                </a:lnTo>
                <a:lnTo>
                  <a:pt x="45642" y="50183"/>
                </a:lnTo>
                <a:lnTo>
                  <a:pt x="0" y="50183"/>
                </a:lnTo>
                <a:lnTo>
                  <a:pt x="0" y="0"/>
                </a:lnTo>
                <a:close/>
              </a:path>
            </a:pathLst>
          </a:custGeom>
          <a:ln w="3175">
            <a:solidFill>
              <a:srgbClr val="006FAC"/>
            </a:solidFill>
          </a:ln>
        </p:spPr>
        <p:txBody>
          <a:bodyPr wrap="square" lIns="0" tIns="0" rIns="0" bIns="0" rtlCol="0"/>
          <a:lstStyle/>
          <a:p>
            <a:endParaRPr/>
          </a:p>
        </p:txBody>
      </p:sp>
      <p:sp>
        <p:nvSpPr>
          <p:cNvPr id="19" name="object 19"/>
          <p:cNvSpPr txBox="1"/>
          <p:nvPr/>
        </p:nvSpPr>
        <p:spPr>
          <a:xfrm>
            <a:off x="6036861" y="4216018"/>
            <a:ext cx="310515" cy="66040"/>
          </a:xfrm>
          <a:prstGeom prst="rect">
            <a:avLst/>
          </a:prstGeom>
        </p:spPr>
        <p:txBody>
          <a:bodyPr vert="horz" wrap="square" lIns="0" tIns="13970" rIns="0" bIns="0" rtlCol="0">
            <a:spAutoFit/>
          </a:bodyPr>
          <a:lstStyle/>
          <a:p>
            <a:pPr marL="12700">
              <a:lnSpc>
                <a:spcPct val="100000"/>
              </a:lnSpc>
              <a:spcBef>
                <a:spcPts val="110"/>
              </a:spcBef>
            </a:pPr>
            <a:r>
              <a:rPr sz="250" b="1">
                <a:solidFill>
                  <a:srgbClr val="9A5DC9"/>
                </a:solidFill>
                <a:latin typeface="Arial"/>
                <a:cs typeface="Arial"/>
              </a:rPr>
              <a:t>1</a:t>
            </a:r>
            <a:r>
              <a:rPr sz="250" b="1" spc="10">
                <a:solidFill>
                  <a:srgbClr val="9A5DC9"/>
                </a:solidFill>
                <a:latin typeface="Arial"/>
                <a:cs typeface="Arial"/>
              </a:rPr>
              <a:t> </a:t>
            </a:r>
            <a:r>
              <a:rPr sz="250" spc="-5">
                <a:solidFill>
                  <a:srgbClr val="FFFFFF"/>
                </a:solidFill>
                <a:latin typeface="Arial"/>
                <a:cs typeface="Arial"/>
              </a:rPr>
              <a:t>Documentation</a:t>
            </a:r>
            <a:endParaRPr sz="250">
              <a:latin typeface="Arial"/>
              <a:cs typeface="Arial"/>
            </a:endParaRPr>
          </a:p>
        </p:txBody>
      </p:sp>
      <p:sp>
        <p:nvSpPr>
          <p:cNvPr id="20" name="object 20"/>
          <p:cNvSpPr txBox="1"/>
          <p:nvPr/>
        </p:nvSpPr>
        <p:spPr>
          <a:xfrm>
            <a:off x="6104792" y="4592286"/>
            <a:ext cx="167005" cy="66040"/>
          </a:xfrm>
          <a:prstGeom prst="rect">
            <a:avLst/>
          </a:prstGeom>
        </p:spPr>
        <p:txBody>
          <a:bodyPr vert="horz" wrap="square" lIns="0" tIns="13970" rIns="0" bIns="0" rtlCol="0">
            <a:spAutoFit/>
          </a:bodyPr>
          <a:lstStyle/>
          <a:p>
            <a:pPr marL="12700">
              <a:lnSpc>
                <a:spcPct val="100000"/>
              </a:lnSpc>
              <a:spcBef>
                <a:spcPts val="110"/>
              </a:spcBef>
            </a:pPr>
            <a:r>
              <a:rPr sz="250" spc="-5">
                <a:solidFill>
                  <a:srgbClr val="9A5DC9"/>
                </a:solidFill>
                <a:latin typeface="Arial"/>
                <a:cs typeface="Arial"/>
              </a:rPr>
              <a:t>Execution</a:t>
            </a:r>
            <a:endParaRPr sz="250">
              <a:latin typeface="Arial"/>
              <a:cs typeface="Arial"/>
            </a:endParaRPr>
          </a:p>
        </p:txBody>
      </p:sp>
      <p:sp>
        <p:nvSpPr>
          <p:cNvPr id="21" name="object 21"/>
          <p:cNvSpPr/>
          <p:nvPr/>
        </p:nvSpPr>
        <p:spPr>
          <a:xfrm>
            <a:off x="5993644" y="4896208"/>
            <a:ext cx="994410" cy="111760"/>
          </a:xfrm>
          <a:custGeom>
            <a:avLst/>
            <a:gdLst/>
            <a:ahLst/>
            <a:cxnLst/>
            <a:rect l="l" t="t" r="r" b="b"/>
            <a:pathLst>
              <a:path w="994409" h="111760">
                <a:moveTo>
                  <a:pt x="0" y="0"/>
                </a:moveTo>
                <a:lnTo>
                  <a:pt x="993985" y="0"/>
                </a:lnTo>
                <a:lnTo>
                  <a:pt x="993985" y="111477"/>
                </a:lnTo>
                <a:lnTo>
                  <a:pt x="0" y="111477"/>
                </a:lnTo>
                <a:lnTo>
                  <a:pt x="0" y="0"/>
                </a:lnTo>
                <a:close/>
              </a:path>
            </a:pathLst>
          </a:custGeom>
          <a:solidFill>
            <a:srgbClr val="94E616"/>
          </a:solidFill>
        </p:spPr>
        <p:txBody>
          <a:bodyPr wrap="square" lIns="0" tIns="0" rIns="0" bIns="0" rtlCol="0"/>
          <a:lstStyle/>
          <a:p>
            <a:endParaRPr/>
          </a:p>
        </p:txBody>
      </p:sp>
      <p:sp>
        <p:nvSpPr>
          <p:cNvPr id="22" name="object 22"/>
          <p:cNvSpPr/>
          <p:nvPr/>
        </p:nvSpPr>
        <p:spPr>
          <a:xfrm>
            <a:off x="5993644" y="4896208"/>
            <a:ext cx="994410" cy="111760"/>
          </a:xfrm>
          <a:custGeom>
            <a:avLst/>
            <a:gdLst/>
            <a:ahLst/>
            <a:cxnLst/>
            <a:rect l="l" t="t" r="r" b="b"/>
            <a:pathLst>
              <a:path w="994409" h="111760">
                <a:moveTo>
                  <a:pt x="0" y="0"/>
                </a:moveTo>
                <a:lnTo>
                  <a:pt x="994173" y="0"/>
                </a:lnTo>
                <a:lnTo>
                  <a:pt x="994173" y="111477"/>
                </a:lnTo>
                <a:lnTo>
                  <a:pt x="0" y="111477"/>
                </a:lnTo>
                <a:lnTo>
                  <a:pt x="0" y="0"/>
                </a:lnTo>
                <a:close/>
              </a:path>
            </a:pathLst>
          </a:custGeom>
          <a:ln w="3175">
            <a:solidFill>
              <a:srgbClr val="94E616"/>
            </a:solidFill>
          </a:ln>
        </p:spPr>
        <p:txBody>
          <a:bodyPr wrap="square" lIns="0" tIns="0" rIns="0" bIns="0" rtlCol="0"/>
          <a:lstStyle/>
          <a:p>
            <a:endParaRPr/>
          </a:p>
        </p:txBody>
      </p:sp>
      <p:sp>
        <p:nvSpPr>
          <p:cNvPr id="23" name="object 23"/>
          <p:cNvSpPr txBox="1"/>
          <p:nvPr/>
        </p:nvSpPr>
        <p:spPr>
          <a:xfrm>
            <a:off x="6036861" y="4804058"/>
            <a:ext cx="274320" cy="66040"/>
          </a:xfrm>
          <a:prstGeom prst="rect">
            <a:avLst/>
          </a:prstGeom>
        </p:spPr>
        <p:txBody>
          <a:bodyPr vert="horz" wrap="square" lIns="0" tIns="13970" rIns="0" bIns="0" rtlCol="0">
            <a:spAutoFit/>
          </a:bodyPr>
          <a:lstStyle/>
          <a:p>
            <a:pPr marL="12700">
              <a:lnSpc>
                <a:spcPct val="100000"/>
              </a:lnSpc>
              <a:spcBef>
                <a:spcPts val="110"/>
              </a:spcBef>
            </a:pPr>
            <a:r>
              <a:rPr sz="250" b="1">
                <a:solidFill>
                  <a:srgbClr val="FFFFFF"/>
                </a:solidFill>
                <a:latin typeface="Arial"/>
                <a:cs typeface="Arial"/>
              </a:rPr>
              <a:t>6 </a:t>
            </a:r>
            <a:r>
              <a:rPr sz="250">
                <a:solidFill>
                  <a:srgbClr val="9A5DC9"/>
                </a:solidFill>
                <a:latin typeface="Arial"/>
                <a:cs typeface="Arial"/>
              </a:rPr>
              <a:t>Org</a:t>
            </a:r>
            <a:r>
              <a:rPr sz="250" spc="-50">
                <a:solidFill>
                  <a:srgbClr val="9A5DC9"/>
                </a:solidFill>
                <a:latin typeface="Arial"/>
                <a:cs typeface="Arial"/>
              </a:rPr>
              <a:t> </a:t>
            </a:r>
            <a:r>
              <a:rPr sz="250">
                <a:solidFill>
                  <a:srgbClr val="9A5DC9"/>
                </a:solidFill>
                <a:latin typeface="Arial"/>
                <a:cs typeface="Arial"/>
              </a:rPr>
              <a:t>Strategy</a:t>
            </a:r>
            <a:endParaRPr sz="250">
              <a:latin typeface="Arial"/>
              <a:cs typeface="Arial"/>
            </a:endParaRPr>
          </a:p>
        </p:txBody>
      </p:sp>
      <p:sp>
        <p:nvSpPr>
          <p:cNvPr id="24" name="object 24"/>
          <p:cNvSpPr/>
          <p:nvPr/>
        </p:nvSpPr>
        <p:spPr>
          <a:xfrm>
            <a:off x="6728990" y="4193794"/>
            <a:ext cx="635" cy="11430"/>
          </a:xfrm>
          <a:custGeom>
            <a:avLst/>
            <a:gdLst/>
            <a:ahLst/>
            <a:cxnLst/>
            <a:rect l="l" t="t" r="r" b="b"/>
            <a:pathLst>
              <a:path w="634" h="11429">
                <a:moveTo>
                  <a:pt x="0" y="0"/>
                </a:moveTo>
                <a:lnTo>
                  <a:pt x="0" y="0"/>
                </a:lnTo>
                <a:lnTo>
                  <a:pt x="188" y="11122"/>
                </a:lnTo>
              </a:path>
            </a:pathLst>
          </a:custGeom>
          <a:ln w="3175">
            <a:solidFill>
              <a:srgbClr val="006FAC"/>
            </a:solidFill>
          </a:ln>
        </p:spPr>
        <p:txBody>
          <a:bodyPr wrap="square" lIns="0" tIns="0" rIns="0" bIns="0" rtlCol="0"/>
          <a:lstStyle/>
          <a:p>
            <a:endParaRPr/>
          </a:p>
        </p:txBody>
      </p:sp>
      <p:sp>
        <p:nvSpPr>
          <p:cNvPr id="25" name="object 25"/>
          <p:cNvSpPr/>
          <p:nvPr/>
        </p:nvSpPr>
        <p:spPr>
          <a:xfrm>
            <a:off x="6729178" y="4213257"/>
            <a:ext cx="635" cy="11430"/>
          </a:xfrm>
          <a:custGeom>
            <a:avLst/>
            <a:gdLst/>
            <a:ahLst/>
            <a:cxnLst/>
            <a:rect l="l" t="t" r="r" b="b"/>
            <a:pathLst>
              <a:path w="634" h="11429">
                <a:moveTo>
                  <a:pt x="0" y="0"/>
                </a:moveTo>
                <a:lnTo>
                  <a:pt x="0" y="0"/>
                </a:lnTo>
                <a:lnTo>
                  <a:pt x="215" y="11038"/>
                </a:lnTo>
              </a:path>
            </a:pathLst>
          </a:custGeom>
          <a:ln w="3175">
            <a:solidFill>
              <a:srgbClr val="006FAC"/>
            </a:solidFill>
          </a:ln>
        </p:spPr>
        <p:txBody>
          <a:bodyPr wrap="square" lIns="0" tIns="0" rIns="0" bIns="0" rtlCol="0"/>
          <a:lstStyle/>
          <a:p>
            <a:endParaRPr/>
          </a:p>
        </p:txBody>
      </p:sp>
      <p:sp>
        <p:nvSpPr>
          <p:cNvPr id="26" name="object 26"/>
          <p:cNvSpPr/>
          <p:nvPr/>
        </p:nvSpPr>
        <p:spPr>
          <a:xfrm>
            <a:off x="6729393" y="4232722"/>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27" name="object 27"/>
          <p:cNvSpPr/>
          <p:nvPr/>
        </p:nvSpPr>
        <p:spPr>
          <a:xfrm>
            <a:off x="6729393" y="4252130"/>
            <a:ext cx="635" cy="11430"/>
          </a:xfrm>
          <a:custGeom>
            <a:avLst/>
            <a:gdLst/>
            <a:ahLst/>
            <a:cxnLst/>
            <a:rect l="l" t="t" r="r" b="b"/>
            <a:pathLst>
              <a:path w="634" h="11429">
                <a:moveTo>
                  <a:pt x="0" y="0"/>
                </a:moveTo>
                <a:lnTo>
                  <a:pt x="0" y="0"/>
                </a:lnTo>
                <a:lnTo>
                  <a:pt x="188" y="11316"/>
                </a:lnTo>
              </a:path>
            </a:pathLst>
          </a:custGeom>
          <a:ln w="3175">
            <a:solidFill>
              <a:srgbClr val="006FAC"/>
            </a:solidFill>
          </a:ln>
        </p:spPr>
        <p:txBody>
          <a:bodyPr wrap="square" lIns="0" tIns="0" rIns="0" bIns="0" rtlCol="0"/>
          <a:lstStyle/>
          <a:p>
            <a:endParaRPr/>
          </a:p>
        </p:txBody>
      </p:sp>
      <p:sp>
        <p:nvSpPr>
          <p:cNvPr id="28" name="object 28"/>
          <p:cNvSpPr/>
          <p:nvPr/>
        </p:nvSpPr>
        <p:spPr>
          <a:xfrm>
            <a:off x="6729581" y="4271789"/>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29" name="object 29"/>
          <p:cNvSpPr/>
          <p:nvPr/>
        </p:nvSpPr>
        <p:spPr>
          <a:xfrm>
            <a:off x="6729796" y="4291253"/>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30" name="object 30"/>
          <p:cNvSpPr/>
          <p:nvPr/>
        </p:nvSpPr>
        <p:spPr>
          <a:xfrm>
            <a:off x="6729796" y="4310662"/>
            <a:ext cx="635" cy="11430"/>
          </a:xfrm>
          <a:custGeom>
            <a:avLst/>
            <a:gdLst/>
            <a:ahLst/>
            <a:cxnLst/>
            <a:rect l="l" t="t" r="r" b="b"/>
            <a:pathLst>
              <a:path w="634" h="11429">
                <a:moveTo>
                  <a:pt x="0" y="0"/>
                </a:moveTo>
                <a:lnTo>
                  <a:pt x="0" y="0"/>
                </a:lnTo>
                <a:lnTo>
                  <a:pt x="188" y="11316"/>
                </a:lnTo>
              </a:path>
            </a:pathLst>
          </a:custGeom>
          <a:ln w="3175">
            <a:solidFill>
              <a:srgbClr val="006FAC"/>
            </a:solidFill>
          </a:ln>
        </p:spPr>
        <p:txBody>
          <a:bodyPr wrap="square" lIns="0" tIns="0" rIns="0" bIns="0" rtlCol="0"/>
          <a:lstStyle/>
          <a:p>
            <a:endParaRPr/>
          </a:p>
        </p:txBody>
      </p:sp>
      <p:sp>
        <p:nvSpPr>
          <p:cNvPr id="31" name="object 31"/>
          <p:cNvSpPr/>
          <p:nvPr/>
        </p:nvSpPr>
        <p:spPr>
          <a:xfrm>
            <a:off x="6729984" y="4330320"/>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32" name="object 32"/>
          <p:cNvSpPr/>
          <p:nvPr/>
        </p:nvSpPr>
        <p:spPr>
          <a:xfrm>
            <a:off x="6730200" y="4349784"/>
            <a:ext cx="0" cy="11430"/>
          </a:xfrm>
          <a:custGeom>
            <a:avLst/>
            <a:gdLst/>
            <a:ahLst/>
            <a:cxnLst/>
            <a:rect l="l" t="t" r="r" b="b"/>
            <a:pathLst>
              <a:path h="11429">
                <a:moveTo>
                  <a:pt x="-1301" y="5533"/>
                </a:moveTo>
                <a:lnTo>
                  <a:pt x="1301" y="5533"/>
                </a:lnTo>
              </a:path>
            </a:pathLst>
          </a:custGeom>
          <a:ln w="11066">
            <a:solidFill>
              <a:srgbClr val="006FAC"/>
            </a:solidFill>
          </a:ln>
        </p:spPr>
        <p:txBody>
          <a:bodyPr wrap="square" lIns="0" tIns="0" rIns="0" bIns="0" rtlCol="0"/>
          <a:lstStyle/>
          <a:p>
            <a:endParaRPr/>
          </a:p>
        </p:txBody>
      </p:sp>
      <p:sp>
        <p:nvSpPr>
          <p:cNvPr id="33" name="object 33"/>
          <p:cNvSpPr/>
          <p:nvPr/>
        </p:nvSpPr>
        <p:spPr>
          <a:xfrm>
            <a:off x="6730200" y="4369193"/>
            <a:ext cx="635" cy="11430"/>
          </a:xfrm>
          <a:custGeom>
            <a:avLst/>
            <a:gdLst/>
            <a:ahLst/>
            <a:cxnLst/>
            <a:rect l="l" t="t" r="r" b="b"/>
            <a:pathLst>
              <a:path w="634" h="11429">
                <a:moveTo>
                  <a:pt x="0" y="0"/>
                </a:moveTo>
                <a:lnTo>
                  <a:pt x="0" y="0"/>
                </a:lnTo>
                <a:lnTo>
                  <a:pt x="188" y="11316"/>
                </a:lnTo>
              </a:path>
            </a:pathLst>
          </a:custGeom>
          <a:ln w="3175">
            <a:solidFill>
              <a:srgbClr val="006FAC"/>
            </a:solidFill>
          </a:ln>
        </p:spPr>
        <p:txBody>
          <a:bodyPr wrap="square" lIns="0" tIns="0" rIns="0" bIns="0" rtlCol="0"/>
          <a:lstStyle/>
          <a:p>
            <a:endParaRPr/>
          </a:p>
        </p:txBody>
      </p:sp>
      <p:sp>
        <p:nvSpPr>
          <p:cNvPr id="34" name="object 34"/>
          <p:cNvSpPr/>
          <p:nvPr/>
        </p:nvSpPr>
        <p:spPr>
          <a:xfrm>
            <a:off x="6730388" y="4388851"/>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35" name="object 35"/>
          <p:cNvSpPr/>
          <p:nvPr/>
        </p:nvSpPr>
        <p:spPr>
          <a:xfrm>
            <a:off x="6730603" y="4408315"/>
            <a:ext cx="0" cy="11430"/>
          </a:xfrm>
          <a:custGeom>
            <a:avLst/>
            <a:gdLst/>
            <a:ahLst/>
            <a:cxnLst/>
            <a:rect l="l" t="t" r="r" b="b"/>
            <a:pathLst>
              <a:path h="11429">
                <a:moveTo>
                  <a:pt x="-1301" y="5533"/>
                </a:moveTo>
                <a:lnTo>
                  <a:pt x="1301" y="5533"/>
                </a:lnTo>
              </a:path>
            </a:pathLst>
          </a:custGeom>
          <a:ln w="11066">
            <a:solidFill>
              <a:srgbClr val="006FAC"/>
            </a:solidFill>
          </a:ln>
        </p:spPr>
        <p:txBody>
          <a:bodyPr wrap="square" lIns="0" tIns="0" rIns="0" bIns="0" rtlCol="0"/>
          <a:lstStyle/>
          <a:p>
            <a:endParaRPr/>
          </a:p>
        </p:txBody>
      </p:sp>
      <p:sp>
        <p:nvSpPr>
          <p:cNvPr id="36" name="object 36"/>
          <p:cNvSpPr/>
          <p:nvPr/>
        </p:nvSpPr>
        <p:spPr>
          <a:xfrm>
            <a:off x="6730603" y="4427724"/>
            <a:ext cx="635" cy="11430"/>
          </a:xfrm>
          <a:custGeom>
            <a:avLst/>
            <a:gdLst/>
            <a:ahLst/>
            <a:cxnLst/>
            <a:rect l="l" t="t" r="r" b="b"/>
            <a:pathLst>
              <a:path w="634" h="11429">
                <a:moveTo>
                  <a:pt x="0" y="0"/>
                </a:moveTo>
                <a:lnTo>
                  <a:pt x="0" y="0"/>
                </a:lnTo>
                <a:lnTo>
                  <a:pt x="241" y="11316"/>
                </a:lnTo>
              </a:path>
            </a:pathLst>
          </a:custGeom>
          <a:ln w="3175">
            <a:solidFill>
              <a:srgbClr val="006FAC"/>
            </a:solidFill>
          </a:ln>
        </p:spPr>
        <p:txBody>
          <a:bodyPr wrap="square" lIns="0" tIns="0" rIns="0" bIns="0" rtlCol="0"/>
          <a:lstStyle/>
          <a:p>
            <a:endParaRPr/>
          </a:p>
        </p:txBody>
      </p:sp>
      <p:sp>
        <p:nvSpPr>
          <p:cNvPr id="37" name="object 37"/>
          <p:cNvSpPr/>
          <p:nvPr/>
        </p:nvSpPr>
        <p:spPr>
          <a:xfrm>
            <a:off x="6730844" y="4447383"/>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38" name="object 38"/>
          <p:cNvSpPr/>
          <p:nvPr/>
        </p:nvSpPr>
        <p:spPr>
          <a:xfrm>
            <a:off x="6730844" y="4466875"/>
            <a:ext cx="635" cy="11430"/>
          </a:xfrm>
          <a:custGeom>
            <a:avLst/>
            <a:gdLst/>
            <a:ahLst/>
            <a:cxnLst/>
            <a:rect l="l" t="t" r="r" b="b"/>
            <a:pathLst>
              <a:path w="634" h="11429">
                <a:moveTo>
                  <a:pt x="0" y="0"/>
                </a:moveTo>
                <a:lnTo>
                  <a:pt x="0" y="0"/>
                </a:lnTo>
                <a:lnTo>
                  <a:pt x="215" y="11038"/>
                </a:lnTo>
              </a:path>
            </a:pathLst>
          </a:custGeom>
          <a:ln w="3175">
            <a:solidFill>
              <a:srgbClr val="006FAC"/>
            </a:solidFill>
          </a:ln>
        </p:spPr>
        <p:txBody>
          <a:bodyPr wrap="square" lIns="0" tIns="0" rIns="0" bIns="0" rtlCol="0"/>
          <a:lstStyle/>
          <a:p>
            <a:endParaRPr/>
          </a:p>
        </p:txBody>
      </p:sp>
      <p:sp>
        <p:nvSpPr>
          <p:cNvPr id="39" name="object 39"/>
          <p:cNvSpPr/>
          <p:nvPr/>
        </p:nvSpPr>
        <p:spPr>
          <a:xfrm>
            <a:off x="6731060" y="4486255"/>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40" name="object 40"/>
          <p:cNvSpPr/>
          <p:nvPr/>
        </p:nvSpPr>
        <p:spPr>
          <a:xfrm>
            <a:off x="6731248" y="4505942"/>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41" name="object 41"/>
          <p:cNvSpPr/>
          <p:nvPr/>
        </p:nvSpPr>
        <p:spPr>
          <a:xfrm>
            <a:off x="6731248" y="4525406"/>
            <a:ext cx="635" cy="11430"/>
          </a:xfrm>
          <a:custGeom>
            <a:avLst/>
            <a:gdLst/>
            <a:ahLst/>
            <a:cxnLst/>
            <a:rect l="l" t="t" r="r" b="b"/>
            <a:pathLst>
              <a:path w="634" h="11429">
                <a:moveTo>
                  <a:pt x="0" y="0"/>
                </a:moveTo>
                <a:lnTo>
                  <a:pt x="0" y="0"/>
                </a:lnTo>
                <a:lnTo>
                  <a:pt x="215" y="11038"/>
                </a:lnTo>
              </a:path>
            </a:pathLst>
          </a:custGeom>
          <a:ln w="3175">
            <a:solidFill>
              <a:srgbClr val="006FAC"/>
            </a:solidFill>
          </a:ln>
        </p:spPr>
        <p:txBody>
          <a:bodyPr wrap="square" lIns="0" tIns="0" rIns="0" bIns="0" rtlCol="0"/>
          <a:lstStyle/>
          <a:p>
            <a:endParaRPr/>
          </a:p>
        </p:txBody>
      </p:sp>
      <p:sp>
        <p:nvSpPr>
          <p:cNvPr id="42" name="object 42"/>
          <p:cNvSpPr/>
          <p:nvPr/>
        </p:nvSpPr>
        <p:spPr>
          <a:xfrm>
            <a:off x="6731463" y="4544786"/>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43" name="object 43"/>
          <p:cNvSpPr/>
          <p:nvPr/>
        </p:nvSpPr>
        <p:spPr>
          <a:xfrm>
            <a:off x="6731651" y="4564473"/>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44" name="object 44"/>
          <p:cNvSpPr/>
          <p:nvPr/>
        </p:nvSpPr>
        <p:spPr>
          <a:xfrm>
            <a:off x="6731651" y="4583937"/>
            <a:ext cx="635" cy="11430"/>
          </a:xfrm>
          <a:custGeom>
            <a:avLst/>
            <a:gdLst/>
            <a:ahLst/>
            <a:cxnLst/>
            <a:rect l="l" t="t" r="r" b="b"/>
            <a:pathLst>
              <a:path w="634" h="11429">
                <a:moveTo>
                  <a:pt x="0" y="0"/>
                </a:moveTo>
                <a:lnTo>
                  <a:pt x="0" y="0"/>
                </a:lnTo>
                <a:lnTo>
                  <a:pt x="215" y="11038"/>
                </a:lnTo>
              </a:path>
            </a:pathLst>
          </a:custGeom>
          <a:ln w="3175">
            <a:solidFill>
              <a:srgbClr val="006FAC"/>
            </a:solidFill>
          </a:ln>
        </p:spPr>
        <p:txBody>
          <a:bodyPr wrap="square" lIns="0" tIns="0" rIns="0" bIns="0" rtlCol="0"/>
          <a:lstStyle/>
          <a:p>
            <a:endParaRPr/>
          </a:p>
        </p:txBody>
      </p:sp>
      <p:sp>
        <p:nvSpPr>
          <p:cNvPr id="45" name="object 45"/>
          <p:cNvSpPr/>
          <p:nvPr/>
        </p:nvSpPr>
        <p:spPr>
          <a:xfrm>
            <a:off x="6731866" y="4603318"/>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46" name="object 46"/>
          <p:cNvSpPr/>
          <p:nvPr/>
        </p:nvSpPr>
        <p:spPr>
          <a:xfrm>
            <a:off x="6732054" y="4623004"/>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47" name="object 47"/>
          <p:cNvSpPr/>
          <p:nvPr/>
        </p:nvSpPr>
        <p:spPr>
          <a:xfrm>
            <a:off x="6732054" y="4642468"/>
            <a:ext cx="635" cy="11430"/>
          </a:xfrm>
          <a:custGeom>
            <a:avLst/>
            <a:gdLst/>
            <a:ahLst/>
            <a:cxnLst/>
            <a:rect l="l" t="t" r="r" b="b"/>
            <a:pathLst>
              <a:path w="634" h="11429">
                <a:moveTo>
                  <a:pt x="0" y="0"/>
                </a:moveTo>
                <a:lnTo>
                  <a:pt x="0" y="0"/>
                </a:lnTo>
                <a:lnTo>
                  <a:pt x="215" y="11038"/>
                </a:lnTo>
              </a:path>
            </a:pathLst>
          </a:custGeom>
          <a:ln w="3175">
            <a:solidFill>
              <a:srgbClr val="006FAC"/>
            </a:solidFill>
          </a:ln>
        </p:spPr>
        <p:txBody>
          <a:bodyPr wrap="square" lIns="0" tIns="0" rIns="0" bIns="0" rtlCol="0"/>
          <a:lstStyle/>
          <a:p>
            <a:endParaRPr/>
          </a:p>
        </p:txBody>
      </p:sp>
      <p:sp>
        <p:nvSpPr>
          <p:cNvPr id="48" name="object 48"/>
          <p:cNvSpPr/>
          <p:nvPr/>
        </p:nvSpPr>
        <p:spPr>
          <a:xfrm>
            <a:off x="6732269" y="4661849"/>
            <a:ext cx="0" cy="11430"/>
          </a:xfrm>
          <a:custGeom>
            <a:avLst/>
            <a:gdLst/>
            <a:ahLst/>
            <a:cxnLst/>
            <a:rect l="l" t="t" r="r" b="b"/>
            <a:pathLst>
              <a:path h="11429">
                <a:moveTo>
                  <a:pt x="-1301" y="5672"/>
                </a:moveTo>
                <a:lnTo>
                  <a:pt x="1301" y="5672"/>
                </a:lnTo>
              </a:path>
            </a:pathLst>
          </a:custGeom>
          <a:ln w="11344">
            <a:solidFill>
              <a:srgbClr val="006FAC"/>
            </a:solidFill>
          </a:ln>
        </p:spPr>
        <p:txBody>
          <a:bodyPr wrap="square" lIns="0" tIns="0" rIns="0" bIns="0" rtlCol="0"/>
          <a:lstStyle/>
          <a:p>
            <a:endParaRPr/>
          </a:p>
        </p:txBody>
      </p:sp>
      <p:sp>
        <p:nvSpPr>
          <p:cNvPr id="49" name="object 49"/>
          <p:cNvSpPr/>
          <p:nvPr/>
        </p:nvSpPr>
        <p:spPr>
          <a:xfrm>
            <a:off x="6732269" y="4681535"/>
            <a:ext cx="635" cy="11430"/>
          </a:xfrm>
          <a:custGeom>
            <a:avLst/>
            <a:gdLst/>
            <a:ahLst/>
            <a:cxnLst/>
            <a:rect l="l" t="t" r="r" b="b"/>
            <a:pathLst>
              <a:path w="634" h="11429">
                <a:moveTo>
                  <a:pt x="0" y="0"/>
                </a:moveTo>
                <a:lnTo>
                  <a:pt x="0" y="0"/>
                </a:lnTo>
                <a:lnTo>
                  <a:pt x="188" y="11122"/>
                </a:lnTo>
              </a:path>
            </a:pathLst>
          </a:custGeom>
          <a:ln w="3175">
            <a:solidFill>
              <a:srgbClr val="006FAC"/>
            </a:solidFill>
          </a:ln>
        </p:spPr>
        <p:txBody>
          <a:bodyPr wrap="square" lIns="0" tIns="0" rIns="0" bIns="0" rtlCol="0"/>
          <a:lstStyle/>
          <a:p>
            <a:endParaRPr/>
          </a:p>
        </p:txBody>
      </p:sp>
      <p:sp>
        <p:nvSpPr>
          <p:cNvPr id="50" name="object 50"/>
          <p:cNvSpPr/>
          <p:nvPr/>
        </p:nvSpPr>
        <p:spPr>
          <a:xfrm>
            <a:off x="6732458" y="4701000"/>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51" name="object 51"/>
          <p:cNvSpPr/>
          <p:nvPr/>
        </p:nvSpPr>
        <p:spPr>
          <a:xfrm>
            <a:off x="6732646" y="4720408"/>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52" name="object 52"/>
          <p:cNvSpPr/>
          <p:nvPr/>
        </p:nvSpPr>
        <p:spPr>
          <a:xfrm>
            <a:off x="6732646" y="4740069"/>
            <a:ext cx="635" cy="11430"/>
          </a:xfrm>
          <a:custGeom>
            <a:avLst/>
            <a:gdLst/>
            <a:ahLst/>
            <a:cxnLst/>
            <a:rect l="l" t="t" r="r" b="b"/>
            <a:pathLst>
              <a:path w="634" h="11429">
                <a:moveTo>
                  <a:pt x="0" y="0"/>
                </a:moveTo>
                <a:lnTo>
                  <a:pt x="0" y="0"/>
                </a:lnTo>
                <a:lnTo>
                  <a:pt x="215" y="11113"/>
                </a:lnTo>
              </a:path>
            </a:pathLst>
          </a:custGeom>
          <a:ln w="3175">
            <a:solidFill>
              <a:srgbClr val="006FAC"/>
            </a:solidFill>
          </a:ln>
        </p:spPr>
        <p:txBody>
          <a:bodyPr wrap="square" lIns="0" tIns="0" rIns="0" bIns="0" rtlCol="0"/>
          <a:lstStyle/>
          <a:p>
            <a:endParaRPr/>
          </a:p>
        </p:txBody>
      </p:sp>
      <p:sp>
        <p:nvSpPr>
          <p:cNvPr id="53" name="object 53"/>
          <p:cNvSpPr/>
          <p:nvPr/>
        </p:nvSpPr>
        <p:spPr>
          <a:xfrm>
            <a:off x="6732861" y="4759534"/>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54" name="object 54"/>
          <p:cNvSpPr/>
          <p:nvPr/>
        </p:nvSpPr>
        <p:spPr>
          <a:xfrm>
            <a:off x="6733049" y="4778931"/>
            <a:ext cx="0" cy="11430"/>
          </a:xfrm>
          <a:custGeom>
            <a:avLst/>
            <a:gdLst/>
            <a:ahLst/>
            <a:cxnLst/>
            <a:rect l="l" t="t" r="r" b="b"/>
            <a:pathLst>
              <a:path h="11429">
                <a:moveTo>
                  <a:pt x="-1301" y="5659"/>
                </a:moveTo>
                <a:lnTo>
                  <a:pt x="1301" y="5659"/>
                </a:lnTo>
              </a:path>
            </a:pathLst>
          </a:custGeom>
          <a:ln w="11319">
            <a:solidFill>
              <a:srgbClr val="006FAC"/>
            </a:solidFill>
          </a:ln>
        </p:spPr>
        <p:txBody>
          <a:bodyPr wrap="square" lIns="0" tIns="0" rIns="0" bIns="0" rtlCol="0"/>
          <a:lstStyle/>
          <a:p>
            <a:endParaRPr/>
          </a:p>
        </p:txBody>
      </p:sp>
      <p:sp>
        <p:nvSpPr>
          <p:cNvPr id="55" name="object 55"/>
          <p:cNvSpPr/>
          <p:nvPr/>
        </p:nvSpPr>
        <p:spPr>
          <a:xfrm>
            <a:off x="6733049" y="4798603"/>
            <a:ext cx="635" cy="11430"/>
          </a:xfrm>
          <a:custGeom>
            <a:avLst/>
            <a:gdLst/>
            <a:ahLst/>
            <a:cxnLst/>
            <a:rect l="l" t="t" r="r" b="b"/>
            <a:pathLst>
              <a:path w="634" h="11429">
                <a:moveTo>
                  <a:pt x="0" y="0"/>
                </a:moveTo>
                <a:lnTo>
                  <a:pt x="0" y="0"/>
                </a:lnTo>
                <a:lnTo>
                  <a:pt x="215" y="11113"/>
                </a:lnTo>
              </a:path>
            </a:pathLst>
          </a:custGeom>
          <a:ln w="3175">
            <a:solidFill>
              <a:srgbClr val="006FAC"/>
            </a:solidFill>
          </a:ln>
        </p:spPr>
        <p:txBody>
          <a:bodyPr wrap="square" lIns="0" tIns="0" rIns="0" bIns="0" rtlCol="0"/>
          <a:lstStyle/>
          <a:p>
            <a:endParaRPr/>
          </a:p>
        </p:txBody>
      </p:sp>
      <p:sp>
        <p:nvSpPr>
          <p:cNvPr id="56" name="object 56"/>
          <p:cNvSpPr/>
          <p:nvPr/>
        </p:nvSpPr>
        <p:spPr>
          <a:xfrm>
            <a:off x="6733264" y="4818068"/>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57" name="object 57"/>
          <p:cNvSpPr/>
          <p:nvPr/>
        </p:nvSpPr>
        <p:spPr>
          <a:xfrm>
            <a:off x="6733452" y="4837465"/>
            <a:ext cx="0" cy="11430"/>
          </a:xfrm>
          <a:custGeom>
            <a:avLst/>
            <a:gdLst/>
            <a:ahLst/>
            <a:cxnLst/>
            <a:rect l="l" t="t" r="r" b="b"/>
            <a:pathLst>
              <a:path h="11429">
                <a:moveTo>
                  <a:pt x="-1301" y="5659"/>
                </a:moveTo>
                <a:lnTo>
                  <a:pt x="1301" y="5659"/>
                </a:lnTo>
              </a:path>
            </a:pathLst>
          </a:custGeom>
          <a:ln w="11319">
            <a:solidFill>
              <a:srgbClr val="006FAC"/>
            </a:solidFill>
          </a:ln>
        </p:spPr>
        <p:txBody>
          <a:bodyPr wrap="square" lIns="0" tIns="0" rIns="0" bIns="0" rtlCol="0"/>
          <a:lstStyle/>
          <a:p>
            <a:endParaRPr/>
          </a:p>
        </p:txBody>
      </p:sp>
      <p:sp>
        <p:nvSpPr>
          <p:cNvPr id="58" name="object 58"/>
          <p:cNvSpPr/>
          <p:nvPr/>
        </p:nvSpPr>
        <p:spPr>
          <a:xfrm>
            <a:off x="6733452" y="4857138"/>
            <a:ext cx="635" cy="11430"/>
          </a:xfrm>
          <a:custGeom>
            <a:avLst/>
            <a:gdLst/>
            <a:ahLst/>
            <a:cxnLst/>
            <a:rect l="l" t="t" r="r" b="b"/>
            <a:pathLst>
              <a:path w="634" h="11429">
                <a:moveTo>
                  <a:pt x="0" y="0"/>
                </a:moveTo>
                <a:lnTo>
                  <a:pt x="0" y="0"/>
                </a:lnTo>
                <a:lnTo>
                  <a:pt x="215" y="11113"/>
                </a:lnTo>
              </a:path>
            </a:pathLst>
          </a:custGeom>
          <a:ln w="3175">
            <a:solidFill>
              <a:srgbClr val="006FAC"/>
            </a:solidFill>
          </a:ln>
        </p:spPr>
        <p:txBody>
          <a:bodyPr wrap="square" lIns="0" tIns="0" rIns="0" bIns="0" rtlCol="0"/>
          <a:lstStyle/>
          <a:p>
            <a:endParaRPr/>
          </a:p>
        </p:txBody>
      </p:sp>
      <p:sp>
        <p:nvSpPr>
          <p:cNvPr id="59" name="object 59"/>
          <p:cNvSpPr/>
          <p:nvPr/>
        </p:nvSpPr>
        <p:spPr>
          <a:xfrm>
            <a:off x="6733667" y="4876605"/>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60" name="object 60"/>
          <p:cNvSpPr/>
          <p:nvPr/>
        </p:nvSpPr>
        <p:spPr>
          <a:xfrm>
            <a:off x="6733667" y="4895999"/>
            <a:ext cx="635" cy="11430"/>
          </a:xfrm>
          <a:custGeom>
            <a:avLst/>
            <a:gdLst/>
            <a:ahLst/>
            <a:cxnLst/>
            <a:rect l="l" t="t" r="r" b="b"/>
            <a:pathLst>
              <a:path w="634" h="11429">
                <a:moveTo>
                  <a:pt x="0" y="0"/>
                </a:moveTo>
                <a:lnTo>
                  <a:pt x="0" y="0"/>
                </a:lnTo>
                <a:lnTo>
                  <a:pt x="188" y="11322"/>
                </a:lnTo>
              </a:path>
            </a:pathLst>
          </a:custGeom>
          <a:ln w="3175">
            <a:solidFill>
              <a:srgbClr val="006FAC"/>
            </a:solidFill>
          </a:ln>
        </p:spPr>
        <p:txBody>
          <a:bodyPr wrap="square" lIns="0" tIns="0" rIns="0" bIns="0" rtlCol="0"/>
          <a:lstStyle/>
          <a:p>
            <a:endParaRPr/>
          </a:p>
        </p:txBody>
      </p:sp>
      <p:sp>
        <p:nvSpPr>
          <p:cNvPr id="61" name="object 61"/>
          <p:cNvSpPr/>
          <p:nvPr/>
        </p:nvSpPr>
        <p:spPr>
          <a:xfrm>
            <a:off x="6733855" y="4915672"/>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62" name="object 62"/>
          <p:cNvSpPr/>
          <p:nvPr/>
        </p:nvSpPr>
        <p:spPr>
          <a:xfrm>
            <a:off x="6734070" y="4935139"/>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63" name="object 63"/>
          <p:cNvSpPr/>
          <p:nvPr/>
        </p:nvSpPr>
        <p:spPr>
          <a:xfrm>
            <a:off x="6734070" y="4954533"/>
            <a:ext cx="635" cy="11430"/>
          </a:xfrm>
          <a:custGeom>
            <a:avLst/>
            <a:gdLst/>
            <a:ahLst/>
            <a:cxnLst/>
            <a:rect l="l" t="t" r="r" b="b"/>
            <a:pathLst>
              <a:path w="634" h="11429">
                <a:moveTo>
                  <a:pt x="0" y="0"/>
                </a:moveTo>
                <a:lnTo>
                  <a:pt x="0" y="0"/>
                </a:lnTo>
                <a:lnTo>
                  <a:pt x="188" y="11322"/>
                </a:lnTo>
              </a:path>
            </a:pathLst>
          </a:custGeom>
          <a:ln w="3175">
            <a:solidFill>
              <a:srgbClr val="006FAC"/>
            </a:solidFill>
          </a:ln>
        </p:spPr>
        <p:txBody>
          <a:bodyPr wrap="square" lIns="0" tIns="0" rIns="0" bIns="0" rtlCol="0"/>
          <a:lstStyle/>
          <a:p>
            <a:endParaRPr/>
          </a:p>
        </p:txBody>
      </p:sp>
      <p:sp>
        <p:nvSpPr>
          <p:cNvPr id="64" name="object 64"/>
          <p:cNvSpPr/>
          <p:nvPr/>
        </p:nvSpPr>
        <p:spPr>
          <a:xfrm>
            <a:off x="6734258" y="4974206"/>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65" name="object 65"/>
          <p:cNvSpPr/>
          <p:nvPr/>
        </p:nvSpPr>
        <p:spPr>
          <a:xfrm>
            <a:off x="6734474" y="4993672"/>
            <a:ext cx="0" cy="8255"/>
          </a:xfrm>
          <a:custGeom>
            <a:avLst/>
            <a:gdLst/>
            <a:ahLst/>
            <a:cxnLst/>
            <a:rect l="l" t="t" r="r" b="b"/>
            <a:pathLst>
              <a:path h="8254">
                <a:moveTo>
                  <a:pt x="0" y="0"/>
                </a:moveTo>
                <a:lnTo>
                  <a:pt x="0" y="8068"/>
                </a:lnTo>
              </a:path>
            </a:pathLst>
          </a:custGeom>
          <a:ln w="3175">
            <a:solidFill>
              <a:srgbClr val="006FAC"/>
            </a:solidFill>
          </a:ln>
        </p:spPr>
        <p:txBody>
          <a:bodyPr wrap="square" lIns="0" tIns="0" rIns="0" bIns="0" rtlCol="0"/>
          <a:lstStyle/>
          <a:p>
            <a:endParaRPr/>
          </a:p>
        </p:txBody>
      </p:sp>
      <p:sp>
        <p:nvSpPr>
          <p:cNvPr id="66" name="object 66"/>
          <p:cNvSpPr/>
          <p:nvPr/>
        </p:nvSpPr>
        <p:spPr>
          <a:xfrm>
            <a:off x="6861105" y="4199244"/>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67" name="object 67"/>
          <p:cNvSpPr/>
          <p:nvPr/>
        </p:nvSpPr>
        <p:spPr>
          <a:xfrm>
            <a:off x="6860917" y="4218707"/>
            <a:ext cx="635" cy="11430"/>
          </a:xfrm>
          <a:custGeom>
            <a:avLst/>
            <a:gdLst/>
            <a:ahLst/>
            <a:cxnLst/>
            <a:rect l="l" t="t" r="r" b="b"/>
            <a:pathLst>
              <a:path w="634" h="11429">
                <a:moveTo>
                  <a:pt x="188" y="0"/>
                </a:moveTo>
                <a:lnTo>
                  <a:pt x="188" y="0"/>
                </a:lnTo>
                <a:lnTo>
                  <a:pt x="0" y="11261"/>
                </a:lnTo>
              </a:path>
            </a:pathLst>
          </a:custGeom>
          <a:ln w="3175">
            <a:solidFill>
              <a:srgbClr val="006FAC"/>
            </a:solidFill>
          </a:ln>
        </p:spPr>
        <p:txBody>
          <a:bodyPr wrap="square" lIns="0" tIns="0" rIns="0" bIns="0" rtlCol="0"/>
          <a:lstStyle/>
          <a:p>
            <a:endParaRPr/>
          </a:p>
        </p:txBody>
      </p:sp>
      <p:sp>
        <p:nvSpPr>
          <p:cNvPr id="68" name="object 68"/>
          <p:cNvSpPr/>
          <p:nvPr/>
        </p:nvSpPr>
        <p:spPr>
          <a:xfrm>
            <a:off x="6860917" y="4238311"/>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69" name="object 69"/>
          <p:cNvSpPr/>
          <p:nvPr/>
        </p:nvSpPr>
        <p:spPr>
          <a:xfrm>
            <a:off x="6860917" y="4257775"/>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70" name="object 70"/>
          <p:cNvSpPr/>
          <p:nvPr/>
        </p:nvSpPr>
        <p:spPr>
          <a:xfrm>
            <a:off x="6860702" y="4277239"/>
            <a:ext cx="635" cy="11430"/>
          </a:xfrm>
          <a:custGeom>
            <a:avLst/>
            <a:gdLst/>
            <a:ahLst/>
            <a:cxnLst/>
            <a:rect l="l" t="t" r="r" b="b"/>
            <a:pathLst>
              <a:path w="634" h="11429">
                <a:moveTo>
                  <a:pt x="215" y="0"/>
                </a:moveTo>
                <a:lnTo>
                  <a:pt x="215" y="0"/>
                </a:lnTo>
                <a:lnTo>
                  <a:pt x="0" y="11261"/>
                </a:lnTo>
              </a:path>
            </a:pathLst>
          </a:custGeom>
          <a:ln w="3175">
            <a:solidFill>
              <a:srgbClr val="006FAC"/>
            </a:solidFill>
          </a:ln>
        </p:spPr>
        <p:txBody>
          <a:bodyPr wrap="square" lIns="0" tIns="0" rIns="0" bIns="0" rtlCol="0"/>
          <a:lstStyle/>
          <a:p>
            <a:endParaRPr/>
          </a:p>
        </p:txBody>
      </p:sp>
      <p:sp>
        <p:nvSpPr>
          <p:cNvPr id="71" name="object 71"/>
          <p:cNvSpPr/>
          <p:nvPr/>
        </p:nvSpPr>
        <p:spPr>
          <a:xfrm>
            <a:off x="6860702" y="4296842"/>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72" name="object 72"/>
          <p:cNvSpPr/>
          <p:nvPr/>
        </p:nvSpPr>
        <p:spPr>
          <a:xfrm>
            <a:off x="6860702" y="4316306"/>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73" name="object 73"/>
          <p:cNvSpPr/>
          <p:nvPr/>
        </p:nvSpPr>
        <p:spPr>
          <a:xfrm>
            <a:off x="6860513" y="4335770"/>
            <a:ext cx="635" cy="11430"/>
          </a:xfrm>
          <a:custGeom>
            <a:avLst/>
            <a:gdLst/>
            <a:ahLst/>
            <a:cxnLst/>
            <a:rect l="l" t="t" r="r" b="b"/>
            <a:pathLst>
              <a:path w="634" h="11429">
                <a:moveTo>
                  <a:pt x="188" y="0"/>
                </a:moveTo>
                <a:lnTo>
                  <a:pt x="188" y="0"/>
                </a:lnTo>
                <a:lnTo>
                  <a:pt x="0" y="11261"/>
                </a:lnTo>
              </a:path>
            </a:pathLst>
          </a:custGeom>
          <a:ln w="3175">
            <a:solidFill>
              <a:srgbClr val="006FAC"/>
            </a:solidFill>
          </a:ln>
        </p:spPr>
        <p:txBody>
          <a:bodyPr wrap="square" lIns="0" tIns="0" rIns="0" bIns="0" rtlCol="0"/>
          <a:lstStyle/>
          <a:p>
            <a:endParaRPr/>
          </a:p>
        </p:txBody>
      </p:sp>
      <p:sp>
        <p:nvSpPr>
          <p:cNvPr id="74" name="object 74"/>
          <p:cNvSpPr/>
          <p:nvPr/>
        </p:nvSpPr>
        <p:spPr>
          <a:xfrm>
            <a:off x="6860513" y="4355373"/>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75" name="object 75"/>
          <p:cNvSpPr/>
          <p:nvPr/>
        </p:nvSpPr>
        <p:spPr>
          <a:xfrm>
            <a:off x="6860513" y="4374837"/>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76" name="object 76"/>
          <p:cNvSpPr/>
          <p:nvPr/>
        </p:nvSpPr>
        <p:spPr>
          <a:xfrm>
            <a:off x="6860299" y="4394301"/>
            <a:ext cx="635" cy="11430"/>
          </a:xfrm>
          <a:custGeom>
            <a:avLst/>
            <a:gdLst/>
            <a:ahLst/>
            <a:cxnLst/>
            <a:rect l="l" t="t" r="r" b="b"/>
            <a:pathLst>
              <a:path w="634" h="11429">
                <a:moveTo>
                  <a:pt x="215" y="0"/>
                </a:moveTo>
                <a:lnTo>
                  <a:pt x="215" y="0"/>
                </a:lnTo>
                <a:lnTo>
                  <a:pt x="0" y="11261"/>
                </a:lnTo>
              </a:path>
            </a:pathLst>
          </a:custGeom>
          <a:ln w="3175">
            <a:solidFill>
              <a:srgbClr val="006FAC"/>
            </a:solidFill>
          </a:ln>
        </p:spPr>
        <p:txBody>
          <a:bodyPr wrap="square" lIns="0" tIns="0" rIns="0" bIns="0" rtlCol="0"/>
          <a:lstStyle/>
          <a:p>
            <a:endParaRPr/>
          </a:p>
        </p:txBody>
      </p:sp>
      <p:sp>
        <p:nvSpPr>
          <p:cNvPr id="77" name="object 77"/>
          <p:cNvSpPr/>
          <p:nvPr/>
        </p:nvSpPr>
        <p:spPr>
          <a:xfrm>
            <a:off x="6860299" y="4413932"/>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78" name="object 78"/>
          <p:cNvSpPr/>
          <p:nvPr/>
        </p:nvSpPr>
        <p:spPr>
          <a:xfrm>
            <a:off x="6860299" y="4433396"/>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79" name="object 79"/>
          <p:cNvSpPr/>
          <p:nvPr/>
        </p:nvSpPr>
        <p:spPr>
          <a:xfrm>
            <a:off x="6860299" y="4452860"/>
            <a:ext cx="0" cy="11430"/>
          </a:xfrm>
          <a:custGeom>
            <a:avLst/>
            <a:gdLst/>
            <a:ahLst/>
            <a:cxnLst/>
            <a:rect l="l" t="t" r="r" b="b"/>
            <a:pathLst>
              <a:path h="11429">
                <a:moveTo>
                  <a:pt x="-1301" y="5616"/>
                </a:moveTo>
                <a:lnTo>
                  <a:pt x="1301" y="5616"/>
                </a:lnTo>
              </a:path>
            </a:pathLst>
          </a:custGeom>
          <a:ln w="11233">
            <a:solidFill>
              <a:srgbClr val="006FAC"/>
            </a:solidFill>
          </a:ln>
        </p:spPr>
        <p:txBody>
          <a:bodyPr wrap="square" lIns="0" tIns="0" rIns="0" bIns="0" rtlCol="0"/>
          <a:lstStyle/>
          <a:p>
            <a:endParaRPr/>
          </a:p>
        </p:txBody>
      </p:sp>
      <p:sp>
        <p:nvSpPr>
          <p:cNvPr id="80" name="object 80"/>
          <p:cNvSpPr/>
          <p:nvPr/>
        </p:nvSpPr>
        <p:spPr>
          <a:xfrm>
            <a:off x="6860110" y="4472464"/>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81" name="object 81"/>
          <p:cNvSpPr/>
          <p:nvPr/>
        </p:nvSpPr>
        <p:spPr>
          <a:xfrm>
            <a:off x="6860110" y="4491928"/>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82" name="object 82"/>
          <p:cNvSpPr/>
          <p:nvPr/>
        </p:nvSpPr>
        <p:spPr>
          <a:xfrm>
            <a:off x="6860110" y="4511392"/>
            <a:ext cx="0" cy="11430"/>
          </a:xfrm>
          <a:custGeom>
            <a:avLst/>
            <a:gdLst/>
            <a:ahLst/>
            <a:cxnLst/>
            <a:rect l="l" t="t" r="r" b="b"/>
            <a:pathLst>
              <a:path h="11429">
                <a:moveTo>
                  <a:pt x="-1301" y="5616"/>
                </a:moveTo>
                <a:lnTo>
                  <a:pt x="1301" y="5616"/>
                </a:lnTo>
              </a:path>
            </a:pathLst>
          </a:custGeom>
          <a:ln w="11233">
            <a:solidFill>
              <a:srgbClr val="006FAC"/>
            </a:solidFill>
          </a:ln>
        </p:spPr>
        <p:txBody>
          <a:bodyPr wrap="square" lIns="0" tIns="0" rIns="0" bIns="0" rtlCol="0"/>
          <a:lstStyle/>
          <a:p>
            <a:endParaRPr/>
          </a:p>
        </p:txBody>
      </p:sp>
      <p:sp>
        <p:nvSpPr>
          <p:cNvPr id="83" name="object 83"/>
          <p:cNvSpPr/>
          <p:nvPr/>
        </p:nvSpPr>
        <p:spPr>
          <a:xfrm>
            <a:off x="6859922" y="4530995"/>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84" name="object 84"/>
          <p:cNvSpPr/>
          <p:nvPr/>
        </p:nvSpPr>
        <p:spPr>
          <a:xfrm>
            <a:off x="6859922" y="4550459"/>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85" name="object 85"/>
          <p:cNvSpPr/>
          <p:nvPr/>
        </p:nvSpPr>
        <p:spPr>
          <a:xfrm>
            <a:off x="6859922" y="4569923"/>
            <a:ext cx="0" cy="11430"/>
          </a:xfrm>
          <a:custGeom>
            <a:avLst/>
            <a:gdLst/>
            <a:ahLst/>
            <a:cxnLst/>
            <a:rect l="l" t="t" r="r" b="b"/>
            <a:pathLst>
              <a:path h="11429">
                <a:moveTo>
                  <a:pt x="-1301" y="5616"/>
                </a:moveTo>
                <a:lnTo>
                  <a:pt x="1301" y="5616"/>
                </a:lnTo>
              </a:path>
            </a:pathLst>
          </a:custGeom>
          <a:ln w="11233">
            <a:solidFill>
              <a:srgbClr val="006FAC"/>
            </a:solidFill>
          </a:ln>
        </p:spPr>
        <p:txBody>
          <a:bodyPr wrap="square" lIns="0" tIns="0" rIns="0" bIns="0" rtlCol="0"/>
          <a:lstStyle/>
          <a:p>
            <a:endParaRPr/>
          </a:p>
        </p:txBody>
      </p:sp>
      <p:sp>
        <p:nvSpPr>
          <p:cNvPr id="86" name="object 86"/>
          <p:cNvSpPr/>
          <p:nvPr/>
        </p:nvSpPr>
        <p:spPr>
          <a:xfrm>
            <a:off x="6859707" y="4589526"/>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87" name="object 87"/>
          <p:cNvSpPr/>
          <p:nvPr/>
        </p:nvSpPr>
        <p:spPr>
          <a:xfrm>
            <a:off x="6859707" y="4608990"/>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88" name="object 88"/>
          <p:cNvSpPr/>
          <p:nvPr/>
        </p:nvSpPr>
        <p:spPr>
          <a:xfrm>
            <a:off x="6859707" y="4628454"/>
            <a:ext cx="0" cy="11430"/>
          </a:xfrm>
          <a:custGeom>
            <a:avLst/>
            <a:gdLst/>
            <a:ahLst/>
            <a:cxnLst/>
            <a:rect l="l" t="t" r="r" b="b"/>
            <a:pathLst>
              <a:path h="11429">
                <a:moveTo>
                  <a:pt x="-1301" y="5630"/>
                </a:moveTo>
                <a:lnTo>
                  <a:pt x="1301" y="5630"/>
                </a:lnTo>
              </a:path>
            </a:pathLst>
          </a:custGeom>
          <a:ln w="11261">
            <a:solidFill>
              <a:srgbClr val="006FAC"/>
            </a:solidFill>
          </a:ln>
        </p:spPr>
        <p:txBody>
          <a:bodyPr wrap="square" lIns="0" tIns="0" rIns="0" bIns="0" rtlCol="0"/>
          <a:lstStyle/>
          <a:p>
            <a:endParaRPr/>
          </a:p>
        </p:txBody>
      </p:sp>
      <p:sp>
        <p:nvSpPr>
          <p:cNvPr id="89" name="object 89"/>
          <p:cNvSpPr/>
          <p:nvPr/>
        </p:nvSpPr>
        <p:spPr>
          <a:xfrm>
            <a:off x="6859519" y="4648057"/>
            <a:ext cx="635" cy="11430"/>
          </a:xfrm>
          <a:custGeom>
            <a:avLst/>
            <a:gdLst/>
            <a:ahLst/>
            <a:cxnLst/>
            <a:rect l="l" t="t" r="r" b="b"/>
            <a:pathLst>
              <a:path w="634" h="11429">
                <a:moveTo>
                  <a:pt x="188" y="0"/>
                </a:moveTo>
                <a:lnTo>
                  <a:pt x="188" y="0"/>
                </a:lnTo>
                <a:lnTo>
                  <a:pt x="0" y="11122"/>
                </a:lnTo>
              </a:path>
            </a:pathLst>
          </a:custGeom>
          <a:ln w="3175">
            <a:solidFill>
              <a:srgbClr val="006FAC"/>
            </a:solidFill>
          </a:ln>
        </p:spPr>
        <p:txBody>
          <a:bodyPr wrap="square" lIns="0" tIns="0" rIns="0" bIns="0" rtlCol="0"/>
          <a:lstStyle/>
          <a:p>
            <a:endParaRPr/>
          </a:p>
        </p:txBody>
      </p:sp>
      <p:sp>
        <p:nvSpPr>
          <p:cNvPr id="90" name="object 90"/>
          <p:cNvSpPr/>
          <p:nvPr/>
        </p:nvSpPr>
        <p:spPr>
          <a:xfrm>
            <a:off x="6859519" y="4667522"/>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91" name="object 91"/>
          <p:cNvSpPr/>
          <p:nvPr/>
        </p:nvSpPr>
        <p:spPr>
          <a:xfrm>
            <a:off x="6859519" y="4686986"/>
            <a:ext cx="0" cy="11430"/>
          </a:xfrm>
          <a:custGeom>
            <a:avLst/>
            <a:gdLst/>
            <a:ahLst/>
            <a:cxnLst/>
            <a:rect l="l" t="t" r="r" b="b"/>
            <a:pathLst>
              <a:path h="11429">
                <a:moveTo>
                  <a:pt x="-1301" y="5630"/>
                </a:moveTo>
                <a:lnTo>
                  <a:pt x="1301" y="5630"/>
                </a:lnTo>
              </a:path>
            </a:pathLst>
          </a:custGeom>
          <a:ln w="11261">
            <a:solidFill>
              <a:srgbClr val="006FAC"/>
            </a:solidFill>
          </a:ln>
        </p:spPr>
        <p:txBody>
          <a:bodyPr wrap="square" lIns="0" tIns="0" rIns="0" bIns="0" rtlCol="0"/>
          <a:lstStyle/>
          <a:p>
            <a:endParaRPr/>
          </a:p>
        </p:txBody>
      </p:sp>
      <p:sp>
        <p:nvSpPr>
          <p:cNvPr id="92" name="object 92"/>
          <p:cNvSpPr/>
          <p:nvPr/>
        </p:nvSpPr>
        <p:spPr>
          <a:xfrm>
            <a:off x="6859304" y="4706672"/>
            <a:ext cx="635" cy="11430"/>
          </a:xfrm>
          <a:custGeom>
            <a:avLst/>
            <a:gdLst/>
            <a:ahLst/>
            <a:cxnLst/>
            <a:rect l="l" t="t" r="r" b="b"/>
            <a:pathLst>
              <a:path w="634" h="11429">
                <a:moveTo>
                  <a:pt x="215" y="0"/>
                </a:moveTo>
                <a:lnTo>
                  <a:pt x="215" y="0"/>
                </a:lnTo>
                <a:lnTo>
                  <a:pt x="0" y="11038"/>
                </a:lnTo>
              </a:path>
            </a:pathLst>
          </a:custGeom>
          <a:ln w="3175">
            <a:solidFill>
              <a:srgbClr val="006FAC"/>
            </a:solidFill>
          </a:ln>
        </p:spPr>
        <p:txBody>
          <a:bodyPr wrap="square" lIns="0" tIns="0" rIns="0" bIns="0" rtlCol="0"/>
          <a:lstStyle/>
          <a:p>
            <a:endParaRPr/>
          </a:p>
        </p:txBody>
      </p:sp>
      <p:sp>
        <p:nvSpPr>
          <p:cNvPr id="93" name="object 93"/>
          <p:cNvSpPr/>
          <p:nvPr/>
        </p:nvSpPr>
        <p:spPr>
          <a:xfrm>
            <a:off x="6859304" y="4726052"/>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94" name="object 94"/>
          <p:cNvSpPr/>
          <p:nvPr/>
        </p:nvSpPr>
        <p:spPr>
          <a:xfrm>
            <a:off x="6859304" y="4745522"/>
            <a:ext cx="0" cy="11430"/>
          </a:xfrm>
          <a:custGeom>
            <a:avLst/>
            <a:gdLst/>
            <a:ahLst/>
            <a:cxnLst/>
            <a:rect l="l" t="t" r="r" b="b"/>
            <a:pathLst>
              <a:path h="11429">
                <a:moveTo>
                  <a:pt x="-1301" y="5625"/>
                </a:moveTo>
                <a:lnTo>
                  <a:pt x="1301" y="5625"/>
                </a:lnTo>
              </a:path>
            </a:pathLst>
          </a:custGeom>
          <a:ln w="11250">
            <a:solidFill>
              <a:srgbClr val="006FAC"/>
            </a:solidFill>
          </a:ln>
        </p:spPr>
        <p:txBody>
          <a:bodyPr wrap="square" lIns="0" tIns="0" rIns="0" bIns="0" rtlCol="0"/>
          <a:lstStyle/>
          <a:p>
            <a:endParaRPr/>
          </a:p>
        </p:txBody>
      </p:sp>
      <p:sp>
        <p:nvSpPr>
          <p:cNvPr id="95" name="object 95"/>
          <p:cNvSpPr/>
          <p:nvPr/>
        </p:nvSpPr>
        <p:spPr>
          <a:xfrm>
            <a:off x="6859116" y="4765195"/>
            <a:ext cx="635" cy="11430"/>
          </a:xfrm>
          <a:custGeom>
            <a:avLst/>
            <a:gdLst/>
            <a:ahLst/>
            <a:cxnLst/>
            <a:rect l="l" t="t" r="r" b="b"/>
            <a:pathLst>
              <a:path w="634" h="11429">
                <a:moveTo>
                  <a:pt x="188" y="0"/>
                </a:moveTo>
                <a:lnTo>
                  <a:pt x="188" y="0"/>
                </a:lnTo>
                <a:lnTo>
                  <a:pt x="0" y="11044"/>
                </a:lnTo>
              </a:path>
            </a:pathLst>
          </a:custGeom>
          <a:ln w="3175">
            <a:solidFill>
              <a:srgbClr val="006FAC"/>
            </a:solidFill>
          </a:ln>
        </p:spPr>
        <p:txBody>
          <a:bodyPr wrap="square" lIns="0" tIns="0" rIns="0" bIns="0" rtlCol="0"/>
          <a:lstStyle/>
          <a:p>
            <a:endParaRPr/>
          </a:p>
        </p:txBody>
      </p:sp>
      <p:sp>
        <p:nvSpPr>
          <p:cNvPr id="96" name="object 96"/>
          <p:cNvSpPr/>
          <p:nvPr/>
        </p:nvSpPr>
        <p:spPr>
          <a:xfrm>
            <a:off x="6859116" y="4784592"/>
            <a:ext cx="0" cy="11430"/>
          </a:xfrm>
          <a:custGeom>
            <a:avLst/>
            <a:gdLst/>
            <a:ahLst/>
            <a:cxnLst/>
            <a:rect l="l" t="t" r="r" b="b"/>
            <a:pathLst>
              <a:path h="11429">
                <a:moveTo>
                  <a:pt x="-1301" y="5555"/>
                </a:moveTo>
                <a:lnTo>
                  <a:pt x="1301" y="5555"/>
                </a:lnTo>
              </a:path>
            </a:pathLst>
          </a:custGeom>
          <a:ln w="11111">
            <a:solidFill>
              <a:srgbClr val="006FAC"/>
            </a:solidFill>
          </a:ln>
        </p:spPr>
        <p:txBody>
          <a:bodyPr wrap="square" lIns="0" tIns="0" rIns="0" bIns="0" rtlCol="0"/>
          <a:lstStyle/>
          <a:p>
            <a:endParaRPr/>
          </a:p>
        </p:txBody>
      </p:sp>
      <p:sp>
        <p:nvSpPr>
          <p:cNvPr id="97" name="object 97"/>
          <p:cNvSpPr/>
          <p:nvPr/>
        </p:nvSpPr>
        <p:spPr>
          <a:xfrm>
            <a:off x="6859116" y="4804056"/>
            <a:ext cx="0" cy="11430"/>
          </a:xfrm>
          <a:custGeom>
            <a:avLst/>
            <a:gdLst/>
            <a:ahLst/>
            <a:cxnLst/>
            <a:rect l="l" t="t" r="r" b="b"/>
            <a:pathLst>
              <a:path h="11429">
                <a:moveTo>
                  <a:pt x="-1301" y="5625"/>
                </a:moveTo>
                <a:lnTo>
                  <a:pt x="1301" y="5625"/>
                </a:lnTo>
              </a:path>
            </a:pathLst>
          </a:custGeom>
          <a:ln w="11250">
            <a:solidFill>
              <a:srgbClr val="006FAC"/>
            </a:solidFill>
          </a:ln>
        </p:spPr>
        <p:txBody>
          <a:bodyPr wrap="square" lIns="0" tIns="0" rIns="0" bIns="0" rtlCol="0"/>
          <a:lstStyle/>
          <a:p>
            <a:endParaRPr/>
          </a:p>
        </p:txBody>
      </p:sp>
      <p:sp>
        <p:nvSpPr>
          <p:cNvPr id="98" name="object 98"/>
          <p:cNvSpPr/>
          <p:nvPr/>
        </p:nvSpPr>
        <p:spPr>
          <a:xfrm>
            <a:off x="6858901" y="4823729"/>
            <a:ext cx="635" cy="11430"/>
          </a:xfrm>
          <a:custGeom>
            <a:avLst/>
            <a:gdLst/>
            <a:ahLst/>
            <a:cxnLst/>
            <a:rect l="l" t="t" r="r" b="b"/>
            <a:pathLst>
              <a:path w="634" h="11429">
                <a:moveTo>
                  <a:pt x="215" y="0"/>
                </a:moveTo>
                <a:lnTo>
                  <a:pt x="215" y="0"/>
                </a:lnTo>
                <a:lnTo>
                  <a:pt x="0" y="11044"/>
                </a:lnTo>
              </a:path>
            </a:pathLst>
          </a:custGeom>
          <a:ln w="3175">
            <a:solidFill>
              <a:srgbClr val="006FAC"/>
            </a:solidFill>
          </a:ln>
        </p:spPr>
        <p:txBody>
          <a:bodyPr wrap="square" lIns="0" tIns="0" rIns="0" bIns="0" rtlCol="0"/>
          <a:lstStyle/>
          <a:p>
            <a:endParaRPr/>
          </a:p>
        </p:txBody>
      </p:sp>
      <p:sp>
        <p:nvSpPr>
          <p:cNvPr id="99" name="object 99"/>
          <p:cNvSpPr/>
          <p:nvPr/>
        </p:nvSpPr>
        <p:spPr>
          <a:xfrm>
            <a:off x="6858901" y="4843126"/>
            <a:ext cx="0" cy="11430"/>
          </a:xfrm>
          <a:custGeom>
            <a:avLst/>
            <a:gdLst/>
            <a:ahLst/>
            <a:cxnLst/>
            <a:rect l="l" t="t" r="r" b="b"/>
            <a:pathLst>
              <a:path h="11429">
                <a:moveTo>
                  <a:pt x="-1301" y="5555"/>
                </a:moveTo>
                <a:lnTo>
                  <a:pt x="1301" y="5555"/>
                </a:lnTo>
              </a:path>
            </a:pathLst>
          </a:custGeom>
          <a:ln w="11111">
            <a:solidFill>
              <a:srgbClr val="006FAC"/>
            </a:solidFill>
          </a:ln>
        </p:spPr>
        <p:txBody>
          <a:bodyPr wrap="square" lIns="0" tIns="0" rIns="0" bIns="0" rtlCol="0"/>
          <a:lstStyle/>
          <a:p>
            <a:endParaRPr/>
          </a:p>
        </p:txBody>
      </p:sp>
      <p:sp>
        <p:nvSpPr>
          <p:cNvPr id="100" name="object 100"/>
          <p:cNvSpPr/>
          <p:nvPr/>
        </p:nvSpPr>
        <p:spPr>
          <a:xfrm>
            <a:off x="6858901" y="4862590"/>
            <a:ext cx="0" cy="11430"/>
          </a:xfrm>
          <a:custGeom>
            <a:avLst/>
            <a:gdLst/>
            <a:ahLst/>
            <a:cxnLst/>
            <a:rect l="l" t="t" r="r" b="b"/>
            <a:pathLst>
              <a:path h="11429">
                <a:moveTo>
                  <a:pt x="-1301" y="5626"/>
                </a:moveTo>
                <a:lnTo>
                  <a:pt x="1301" y="5626"/>
                </a:lnTo>
              </a:path>
            </a:pathLst>
          </a:custGeom>
          <a:ln w="11253">
            <a:solidFill>
              <a:srgbClr val="006FAC"/>
            </a:solidFill>
          </a:ln>
        </p:spPr>
        <p:txBody>
          <a:bodyPr wrap="square" lIns="0" tIns="0" rIns="0" bIns="0" rtlCol="0"/>
          <a:lstStyle/>
          <a:p>
            <a:endParaRPr/>
          </a:p>
        </p:txBody>
      </p:sp>
      <p:sp>
        <p:nvSpPr>
          <p:cNvPr id="101" name="object 101"/>
          <p:cNvSpPr/>
          <p:nvPr/>
        </p:nvSpPr>
        <p:spPr>
          <a:xfrm>
            <a:off x="6858901" y="4882263"/>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02" name="object 102"/>
          <p:cNvSpPr/>
          <p:nvPr/>
        </p:nvSpPr>
        <p:spPr>
          <a:xfrm>
            <a:off x="6858713" y="4901660"/>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103" name="object 103"/>
          <p:cNvSpPr/>
          <p:nvPr/>
        </p:nvSpPr>
        <p:spPr>
          <a:xfrm>
            <a:off x="6858713" y="4921124"/>
            <a:ext cx="0" cy="11430"/>
          </a:xfrm>
          <a:custGeom>
            <a:avLst/>
            <a:gdLst/>
            <a:ahLst/>
            <a:cxnLst/>
            <a:rect l="l" t="t" r="r" b="b"/>
            <a:pathLst>
              <a:path h="11429">
                <a:moveTo>
                  <a:pt x="-1301" y="5626"/>
                </a:moveTo>
                <a:lnTo>
                  <a:pt x="1301" y="5626"/>
                </a:lnTo>
              </a:path>
            </a:pathLst>
          </a:custGeom>
          <a:ln w="11253">
            <a:solidFill>
              <a:srgbClr val="006FAC"/>
            </a:solidFill>
          </a:ln>
        </p:spPr>
        <p:txBody>
          <a:bodyPr wrap="square" lIns="0" tIns="0" rIns="0" bIns="0" rtlCol="0"/>
          <a:lstStyle/>
          <a:p>
            <a:endParaRPr/>
          </a:p>
        </p:txBody>
      </p:sp>
      <p:sp>
        <p:nvSpPr>
          <p:cNvPr id="104" name="object 104"/>
          <p:cNvSpPr/>
          <p:nvPr/>
        </p:nvSpPr>
        <p:spPr>
          <a:xfrm>
            <a:off x="6858713" y="4940797"/>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05" name="object 105"/>
          <p:cNvSpPr/>
          <p:nvPr/>
        </p:nvSpPr>
        <p:spPr>
          <a:xfrm>
            <a:off x="6858498" y="4960194"/>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106" name="object 106"/>
          <p:cNvSpPr/>
          <p:nvPr/>
        </p:nvSpPr>
        <p:spPr>
          <a:xfrm>
            <a:off x="6858498" y="4979661"/>
            <a:ext cx="0" cy="11430"/>
          </a:xfrm>
          <a:custGeom>
            <a:avLst/>
            <a:gdLst/>
            <a:ahLst/>
            <a:cxnLst/>
            <a:rect l="l" t="t" r="r" b="b"/>
            <a:pathLst>
              <a:path h="11429">
                <a:moveTo>
                  <a:pt x="-1301" y="5625"/>
                </a:moveTo>
                <a:lnTo>
                  <a:pt x="1301" y="5625"/>
                </a:lnTo>
              </a:path>
            </a:pathLst>
          </a:custGeom>
          <a:ln w="11250">
            <a:solidFill>
              <a:srgbClr val="006FAC"/>
            </a:solidFill>
          </a:ln>
        </p:spPr>
        <p:txBody>
          <a:bodyPr wrap="square" lIns="0" tIns="0" rIns="0" bIns="0" rtlCol="0"/>
          <a:lstStyle/>
          <a:p>
            <a:endParaRPr/>
          </a:p>
        </p:txBody>
      </p:sp>
      <p:sp>
        <p:nvSpPr>
          <p:cNvPr id="107" name="object 107"/>
          <p:cNvSpPr/>
          <p:nvPr/>
        </p:nvSpPr>
        <p:spPr>
          <a:xfrm>
            <a:off x="6857196" y="5000537"/>
            <a:ext cx="3175" cy="0"/>
          </a:xfrm>
          <a:custGeom>
            <a:avLst/>
            <a:gdLst/>
            <a:ahLst/>
            <a:cxnLst/>
            <a:rect l="l" t="t" r="r" b="b"/>
            <a:pathLst>
              <a:path w="3175">
                <a:moveTo>
                  <a:pt x="0" y="0"/>
                </a:moveTo>
                <a:lnTo>
                  <a:pt x="2602" y="0"/>
                </a:lnTo>
              </a:path>
            </a:pathLst>
          </a:custGeom>
          <a:ln w="3175">
            <a:solidFill>
              <a:srgbClr val="006FAC"/>
            </a:solidFill>
          </a:ln>
        </p:spPr>
        <p:txBody>
          <a:bodyPr wrap="square" lIns="0" tIns="0" rIns="0" bIns="0" rtlCol="0"/>
          <a:lstStyle/>
          <a:p>
            <a:endParaRPr/>
          </a:p>
        </p:txBody>
      </p:sp>
      <p:sp>
        <p:nvSpPr>
          <p:cNvPr id="108" name="object 108"/>
          <p:cNvSpPr/>
          <p:nvPr/>
        </p:nvSpPr>
        <p:spPr>
          <a:xfrm>
            <a:off x="6597063" y="4196546"/>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09" name="object 109"/>
          <p:cNvSpPr/>
          <p:nvPr/>
        </p:nvSpPr>
        <p:spPr>
          <a:xfrm>
            <a:off x="6597063" y="4215955"/>
            <a:ext cx="635" cy="11430"/>
          </a:xfrm>
          <a:custGeom>
            <a:avLst/>
            <a:gdLst/>
            <a:ahLst/>
            <a:cxnLst/>
            <a:rect l="l" t="t" r="r" b="b"/>
            <a:pathLst>
              <a:path w="634" h="11429">
                <a:moveTo>
                  <a:pt x="0" y="0"/>
                </a:moveTo>
                <a:lnTo>
                  <a:pt x="0" y="0"/>
                </a:lnTo>
                <a:lnTo>
                  <a:pt x="215" y="11122"/>
                </a:lnTo>
              </a:path>
            </a:pathLst>
          </a:custGeom>
          <a:ln w="3175">
            <a:solidFill>
              <a:srgbClr val="006FAC"/>
            </a:solidFill>
          </a:ln>
        </p:spPr>
        <p:txBody>
          <a:bodyPr wrap="square" lIns="0" tIns="0" rIns="0" bIns="0" rtlCol="0"/>
          <a:lstStyle/>
          <a:p>
            <a:endParaRPr/>
          </a:p>
        </p:txBody>
      </p:sp>
      <p:sp>
        <p:nvSpPr>
          <p:cNvPr id="110" name="object 110"/>
          <p:cNvSpPr/>
          <p:nvPr/>
        </p:nvSpPr>
        <p:spPr>
          <a:xfrm>
            <a:off x="6597278" y="4235419"/>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11" name="object 111"/>
          <p:cNvSpPr/>
          <p:nvPr/>
        </p:nvSpPr>
        <p:spPr>
          <a:xfrm>
            <a:off x="6597278" y="4255078"/>
            <a:ext cx="0" cy="11430"/>
          </a:xfrm>
          <a:custGeom>
            <a:avLst/>
            <a:gdLst/>
            <a:ahLst/>
            <a:cxnLst/>
            <a:rect l="l" t="t" r="r" b="b"/>
            <a:pathLst>
              <a:path h="11429">
                <a:moveTo>
                  <a:pt x="-1301" y="5533"/>
                </a:moveTo>
                <a:lnTo>
                  <a:pt x="1301" y="5533"/>
                </a:lnTo>
              </a:path>
            </a:pathLst>
          </a:custGeom>
          <a:ln w="11066">
            <a:solidFill>
              <a:srgbClr val="006FAC"/>
            </a:solidFill>
          </a:ln>
        </p:spPr>
        <p:txBody>
          <a:bodyPr wrap="square" lIns="0" tIns="0" rIns="0" bIns="0" rtlCol="0"/>
          <a:lstStyle/>
          <a:p>
            <a:endParaRPr/>
          </a:p>
        </p:txBody>
      </p:sp>
      <p:sp>
        <p:nvSpPr>
          <p:cNvPr id="112" name="object 112"/>
          <p:cNvSpPr/>
          <p:nvPr/>
        </p:nvSpPr>
        <p:spPr>
          <a:xfrm>
            <a:off x="6597278" y="4274486"/>
            <a:ext cx="635" cy="11430"/>
          </a:xfrm>
          <a:custGeom>
            <a:avLst/>
            <a:gdLst/>
            <a:ahLst/>
            <a:cxnLst/>
            <a:rect l="l" t="t" r="r" b="b"/>
            <a:pathLst>
              <a:path w="634" h="11429">
                <a:moveTo>
                  <a:pt x="0" y="0"/>
                </a:moveTo>
                <a:lnTo>
                  <a:pt x="0" y="0"/>
                </a:lnTo>
                <a:lnTo>
                  <a:pt x="188" y="11122"/>
                </a:lnTo>
              </a:path>
            </a:pathLst>
          </a:custGeom>
          <a:ln w="3175">
            <a:solidFill>
              <a:srgbClr val="006FAC"/>
            </a:solidFill>
          </a:ln>
        </p:spPr>
        <p:txBody>
          <a:bodyPr wrap="square" lIns="0" tIns="0" rIns="0" bIns="0" rtlCol="0"/>
          <a:lstStyle/>
          <a:p>
            <a:endParaRPr/>
          </a:p>
        </p:txBody>
      </p:sp>
      <p:sp>
        <p:nvSpPr>
          <p:cNvPr id="113" name="object 113"/>
          <p:cNvSpPr/>
          <p:nvPr/>
        </p:nvSpPr>
        <p:spPr>
          <a:xfrm>
            <a:off x="6597466" y="4293950"/>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14" name="object 114"/>
          <p:cNvSpPr/>
          <p:nvPr/>
        </p:nvSpPr>
        <p:spPr>
          <a:xfrm>
            <a:off x="6597466" y="4313637"/>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15" name="object 115"/>
          <p:cNvSpPr/>
          <p:nvPr/>
        </p:nvSpPr>
        <p:spPr>
          <a:xfrm>
            <a:off x="6597466" y="4333017"/>
            <a:ext cx="635" cy="11430"/>
          </a:xfrm>
          <a:custGeom>
            <a:avLst/>
            <a:gdLst/>
            <a:ahLst/>
            <a:cxnLst/>
            <a:rect l="l" t="t" r="r" b="b"/>
            <a:pathLst>
              <a:path w="634" h="11429">
                <a:moveTo>
                  <a:pt x="0" y="0"/>
                </a:moveTo>
                <a:lnTo>
                  <a:pt x="0" y="0"/>
                </a:lnTo>
                <a:lnTo>
                  <a:pt x="188" y="11122"/>
                </a:lnTo>
              </a:path>
            </a:pathLst>
          </a:custGeom>
          <a:ln w="3175">
            <a:solidFill>
              <a:srgbClr val="006FAC"/>
            </a:solidFill>
          </a:ln>
        </p:spPr>
        <p:txBody>
          <a:bodyPr wrap="square" lIns="0" tIns="0" rIns="0" bIns="0" rtlCol="0"/>
          <a:lstStyle/>
          <a:p>
            <a:endParaRPr/>
          </a:p>
        </p:txBody>
      </p:sp>
      <p:sp>
        <p:nvSpPr>
          <p:cNvPr id="116" name="object 116"/>
          <p:cNvSpPr/>
          <p:nvPr/>
        </p:nvSpPr>
        <p:spPr>
          <a:xfrm>
            <a:off x="6597654" y="4352482"/>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17" name="object 117"/>
          <p:cNvSpPr/>
          <p:nvPr/>
        </p:nvSpPr>
        <p:spPr>
          <a:xfrm>
            <a:off x="6597654" y="4372168"/>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18" name="object 118"/>
          <p:cNvSpPr/>
          <p:nvPr/>
        </p:nvSpPr>
        <p:spPr>
          <a:xfrm>
            <a:off x="6597654" y="4391548"/>
            <a:ext cx="635" cy="11430"/>
          </a:xfrm>
          <a:custGeom>
            <a:avLst/>
            <a:gdLst/>
            <a:ahLst/>
            <a:cxnLst/>
            <a:rect l="l" t="t" r="r" b="b"/>
            <a:pathLst>
              <a:path w="634" h="11429">
                <a:moveTo>
                  <a:pt x="0" y="0"/>
                </a:moveTo>
                <a:lnTo>
                  <a:pt x="0" y="0"/>
                </a:lnTo>
                <a:lnTo>
                  <a:pt x="215" y="11122"/>
                </a:lnTo>
              </a:path>
            </a:pathLst>
          </a:custGeom>
          <a:ln w="3175">
            <a:solidFill>
              <a:srgbClr val="006FAC"/>
            </a:solidFill>
          </a:ln>
        </p:spPr>
        <p:txBody>
          <a:bodyPr wrap="square" lIns="0" tIns="0" rIns="0" bIns="0" rtlCol="0"/>
          <a:lstStyle/>
          <a:p>
            <a:endParaRPr/>
          </a:p>
        </p:txBody>
      </p:sp>
      <p:sp>
        <p:nvSpPr>
          <p:cNvPr id="119" name="object 119"/>
          <p:cNvSpPr/>
          <p:nvPr/>
        </p:nvSpPr>
        <p:spPr>
          <a:xfrm>
            <a:off x="6597870" y="4411013"/>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20" name="object 120"/>
          <p:cNvSpPr/>
          <p:nvPr/>
        </p:nvSpPr>
        <p:spPr>
          <a:xfrm>
            <a:off x="6597870" y="4430699"/>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21" name="object 121"/>
          <p:cNvSpPr/>
          <p:nvPr/>
        </p:nvSpPr>
        <p:spPr>
          <a:xfrm>
            <a:off x="6597870" y="4450080"/>
            <a:ext cx="635" cy="11430"/>
          </a:xfrm>
          <a:custGeom>
            <a:avLst/>
            <a:gdLst/>
            <a:ahLst/>
            <a:cxnLst/>
            <a:rect l="l" t="t" r="r" b="b"/>
            <a:pathLst>
              <a:path w="634" h="11429">
                <a:moveTo>
                  <a:pt x="0" y="0"/>
                </a:moveTo>
                <a:lnTo>
                  <a:pt x="0" y="0"/>
                </a:lnTo>
                <a:lnTo>
                  <a:pt x="188" y="11122"/>
                </a:lnTo>
              </a:path>
            </a:pathLst>
          </a:custGeom>
          <a:ln w="3175">
            <a:solidFill>
              <a:srgbClr val="006FAC"/>
            </a:solidFill>
          </a:ln>
        </p:spPr>
        <p:txBody>
          <a:bodyPr wrap="square" lIns="0" tIns="0" rIns="0" bIns="0" rtlCol="0"/>
          <a:lstStyle/>
          <a:p>
            <a:endParaRPr/>
          </a:p>
        </p:txBody>
      </p:sp>
      <p:sp>
        <p:nvSpPr>
          <p:cNvPr id="122" name="object 122"/>
          <p:cNvSpPr/>
          <p:nvPr/>
        </p:nvSpPr>
        <p:spPr>
          <a:xfrm>
            <a:off x="6598057" y="4469544"/>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23" name="object 123"/>
          <p:cNvSpPr/>
          <p:nvPr/>
        </p:nvSpPr>
        <p:spPr>
          <a:xfrm>
            <a:off x="6598057" y="4489231"/>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24" name="object 124"/>
          <p:cNvSpPr/>
          <p:nvPr/>
        </p:nvSpPr>
        <p:spPr>
          <a:xfrm>
            <a:off x="6598057" y="4508611"/>
            <a:ext cx="0" cy="11430"/>
          </a:xfrm>
          <a:custGeom>
            <a:avLst/>
            <a:gdLst/>
            <a:ahLst/>
            <a:cxnLst/>
            <a:rect l="l" t="t" r="r" b="b"/>
            <a:pathLst>
              <a:path h="11429">
                <a:moveTo>
                  <a:pt x="-1301" y="5561"/>
                </a:moveTo>
                <a:lnTo>
                  <a:pt x="1301" y="5561"/>
                </a:lnTo>
              </a:path>
            </a:pathLst>
          </a:custGeom>
          <a:ln w="11122">
            <a:solidFill>
              <a:srgbClr val="006FAC"/>
            </a:solidFill>
          </a:ln>
        </p:spPr>
        <p:txBody>
          <a:bodyPr wrap="square" lIns="0" tIns="0" rIns="0" bIns="0" rtlCol="0"/>
          <a:lstStyle/>
          <a:p>
            <a:endParaRPr/>
          </a:p>
        </p:txBody>
      </p:sp>
      <p:sp>
        <p:nvSpPr>
          <p:cNvPr id="125" name="object 125"/>
          <p:cNvSpPr/>
          <p:nvPr/>
        </p:nvSpPr>
        <p:spPr>
          <a:xfrm>
            <a:off x="6598273" y="4528075"/>
            <a:ext cx="0" cy="11430"/>
          </a:xfrm>
          <a:custGeom>
            <a:avLst/>
            <a:gdLst/>
            <a:ahLst/>
            <a:cxnLst/>
            <a:rect l="l" t="t" r="r" b="b"/>
            <a:pathLst>
              <a:path h="11429">
                <a:moveTo>
                  <a:pt x="-1301" y="5672"/>
                </a:moveTo>
                <a:lnTo>
                  <a:pt x="1301" y="5672"/>
                </a:lnTo>
              </a:path>
            </a:pathLst>
          </a:custGeom>
          <a:ln w="11344">
            <a:solidFill>
              <a:srgbClr val="006FAC"/>
            </a:solidFill>
          </a:ln>
        </p:spPr>
        <p:txBody>
          <a:bodyPr wrap="square" lIns="0" tIns="0" rIns="0" bIns="0" rtlCol="0"/>
          <a:lstStyle/>
          <a:p>
            <a:endParaRPr/>
          </a:p>
        </p:txBody>
      </p:sp>
      <p:sp>
        <p:nvSpPr>
          <p:cNvPr id="126" name="object 126"/>
          <p:cNvSpPr/>
          <p:nvPr/>
        </p:nvSpPr>
        <p:spPr>
          <a:xfrm>
            <a:off x="6598273" y="4547762"/>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27" name="object 127"/>
          <p:cNvSpPr/>
          <p:nvPr/>
        </p:nvSpPr>
        <p:spPr>
          <a:xfrm>
            <a:off x="6598273" y="4567170"/>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128" name="object 128"/>
          <p:cNvSpPr/>
          <p:nvPr/>
        </p:nvSpPr>
        <p:spPr>
          <a:xfrm>
            <a:off x="6598460" y="4586634"/>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29" name="object 129"/>
          <p:cNvSpPr/>
          <p:nvPr/>
        </p:nvSpPr>
        <p:spPr>
          <a:xfrm>
            <a:off x="6598460" y="4606293"/>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30" name="object 130"/>
          <p:cNvSpPr/>
          <p:nvPr/>
        </p:nvSpPr>
        <p:spPr>
          <a:xfrm>
            <a:off x="6598460" y="4625701"/>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131" name="object 131"/>
          <p:cNvSpPr/>
          <p:nvPr/>
        </p:nvSpPr>
        <p:spPr>
          <a:xfrm>
            <a:off x="6598676" y="4645166"/>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32" name="object 132"/>
          <p:cNvSpPr/>
          <p:nvPr/>
        </p:nvSpPr>
        <p:spPr>
          <a:xfrm>
            <a:off x="6598676" y="4664824"/>
            <a:ext cx="0" cy="11430"/>
          </a:xfrm>
          <a:custGeom>
            <a:avLst/>
            <a:gdLst/>
            <a:ahLst/>
            <a:cxnLst/>
            <a:rect l="l" t="t" r="r" b="b"/>
            <a:pathLst>
              <a:path h="11429">
                <a:moveTo>
                  <a:pt x="-1301" y="5519"/>
                </a:moveTo>
                <a:lnTo>
                  <a:pt x="1301" y="5519"/>
                </a:lnTo>
              </a:path>
            </a:pathLst>
          </a:custGeom>
          <a:ln w="11038">
            <a:solidFill>
              <a:srgbClr val="006FAC"/>
            </a:solidFill>
          </a:ln>
        </p:spPr>
        <p:txBody>
          <a:bodyPr wrap="square" lIns="0" tIns="0" rIns="0" bIns="0" rtlCol="0"/>
          <a:lstStyle/>
          <a:p>
            <a:endParaRPr/>
          </a:p>
        </p:txBody>
      </p:sp>
      <p:sp>
        <p:nvSpPr>
          <p:cNvPr id="133" name="object 133"/>
          <p:cNvSpPr/>
          <p:nvPr/>
        </p:nvSpPr>
        <p:spPr>
          <a:xfrm>
            <a:off x="6598676" y="4684233"/>
            <a:ext cx="0" cy="11430"/>
          </a:xfrm>
          <a:custGeom>
            <a:avLst/>
            <a:gdLst/>
            <a:ahLst/>
            <a:cxnLst/>
            <a:rect l="l" t="t" r="r" b="b"/>
            <a:pathLst>
              <a:path h="11429">
                <a:moveTo>
                  <a:pt x="-1301" y="5547"/>
                </a:moveTo>
                <a:lnTo>
                  <a:pt x="1301" y="5547"/>
                </a:lnTo>
              </a:path>
            </a:pathLst>
          </a:custGeom>
          <a:ln w="11094">
            <a:solidFill>
              <a:srgbClr val="006FAC"/>
            </a:solidFill>
          </a:ln>
        </p:spPr>
        <p:txBody>
          <a:bodyPr wrap="square" lIns="0" tIns="0" rIns="0" bIns="0" rtlCol="0"/>
          <a:lstStyle/>
          <a:p>
            <a:endParaRPr/>
          </a:p>
        </p:txBody>
      </p:sp>
      <p:sp>
        <p:nvSpPr>
          <p:cNvPr id="134" name="object 134"/>
          <p:cNvSpPr/>
          <p:nvPr/>
        </p:nvSpPr>
        <p:spPr>
          <a:xfrm>
            <a:off x="6598864" y="4703697"/>
            <a:ext cx="0" cy="11430"/>
          </a:xfrm>
          <a:custGeom>
            <a:avLst/>
            <a:gdLst/>
            <a:ahLst/>
            <a:cxnLst/>
            <a:rect l="l" t="t" r="r" b="b"/>
            <a:pathLst>
              <a:path h="11429">
                <a:moveTo>
                  <a:pt x="-1301" y="5658"/>
                </a:moveTo>
                <a:lnTo>
                  <a:pt x="1301" y="5658"/>
                </a:lnTo>
              </a:path>
            </a:pathLst>
          </a:custGeom>
          <a:ln w="11316">
            <a:solidFill>
              <a:srgbClr val="006FAC"/>
            </a:solidFill>
          </a:ln>
        </p:spPr>
        <p:txBody>
          <a:bodyPr wrap="square" lIns="0" tIns="0" rIns="0" bIns="0" rtlCol="0"/>
          <a:lstStyle/>
          <a:p>
            <a:endParaRPr/>
          </a:p>
        </p:txBody>
      </p:sp>
      <p:sp>
        <p:nvSpPr>
          <p:cNvPr id="135" name="object 135"/>
          <p:cNvSpPr/>
          <p:nvPr/>
        </p:nvSpPr>
        <p:spPr>
          <a:xfrm>
            <a:off x="6598864" y="4723355"/>
            <a:ext cx="0" cy="11430"/>
          </a:xfrm>
          <a:custGeom>
            <a:avLst/>
            <a:gdLst/>
            <a:ahLst/>
            <a:cxnLst/>
            <a:rect l="l" t="t" r="r" b="b"/>
            <a:pathLst>
              <a:path h="11429">
                <a:moveTo>
                  <a:pt x="-1301" y="5533"/>
                </a:moveTo>
                <a:lnTo>
                  <a:pt x="1301" y="5533"/>
                </a:lnTo>
              </a:path>
            </a:pathLst>
          </a:custGeom>
          <a:ln w="11066">
            <a:solidFill>
              <a:srgbClr val="006FAC"/>
            </a:solidFill>
          </a:ln>
        </p:spPr>
        <p:txBody>
          <a:bodyPr wrap="square" lIns="0" tIns="0" rIns="0" bIns="0" rtlCol="0"/>
          <a:lstStyle/>
          <a:p>
            <a:endParaRPr/>
          </a:p>
        </p:txBody>
      </p:sp>
      <p:sp>
        <p:nvSpPr>
          <p:cNvPr id="136" name="object 136"/>
          <p:cNvSpPr/>
          <p:nvPr/>
        </p:nvSpPr>
        <p:spPr>
          <a:xfrm>
            <a:off x="6598864" y="4742761"/>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137" name="object 137"/>
          <p:cNvSpPr/>
          <p:nvPr/>
        </p:nvSpPr>
        <p:spPr>
          <a:xfrm>
            <a:off x="6598864" y="4762225"/>
            <a:ext cx="635" cy="11430"/>
          </a:xfrm>
          <a:custGeom>
            <a:avLst/>
            <a:gdLst/>
            <a:ahLst/>
            <a:cxnLst/>
            <a:rect l="l" t="t" r="r" b="b"/>
            <a:pathLst>
              <a:path w="634" h="11429">
                <a:moveTo>
                  <a:pt x="0" y="0"/>
                </a:moveTo>
                <a:lnTo>
                  <a:pt x="0" y="0"/>
                </a:lnTo>
                <a:lnTo>
                  <a:pt x="215" y="11322"/>
                </a:lnTo>
              </a:path>
            </a:pathLst>
          </a:custGeom>
          <a:ln w="3175">
            <a:solidFill>
              <a:srgbClr val="006FAC"/>
            </a:solidFill>
          </a:ln>
        </p:spPr>
        <p:txBody>
          <a:bodyPr wrap="square" lIns="0" tIns="0" rIns="0" bIns="0" rtlCol="0"/>
          <a:lstStyle/>
          <a:p>
            <a:endParaRPr/>
          </a:p>
        </p:txBody>
      </p:sp>
      <p:sp>
        <p:nvSpPr>
          <p:cNvPr id="138" name="object 138"/>
          <p:cNvSpPr/>
          <p:nvPr/>
        </p:nvSpPr>
        <p:spPr>
          <a:xfrm>
            <a:off x="6599079" y="4781898"/>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39" name="object 139"/>
          <p:cNvSpPr/>
          <p:nvPr/>
        </p:nvSpPr>
        <p:spPr>
          <a:xfrm>
            <a:off x="6599079" y="4801295"/>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140" name="object 140"/>
          <p:cNvSpPr/>
          <p:nvPr/>
        </p:nvSpPr>
        <p:spPr>
          <a:xfrm>
            <a:off x="6599079" y="4820762"/>
            <a:ext cx="635" cy="11430"/>
          </a:xfrm>
          <a:custGeom>
            <a:avLst/>
            <a:gdLst/>
            <a:ahLst/>
            <a:cxnLst/>
            <a:rect l="l" t="t" r="r" b="b"/>
            <a:pathLst>
              <a:path w="634" h="11429">
                <a:moveTo>
                  <a:pt x="0" y="0"/>
                </a:moveTo>
                <a:lnTo>
                  <a:pt x="0" y="0"/>
                </a:lnTo>
                <a:lnTo>
                  <a:pt x="268" y="11319"/>
                </a:lnTo>
              </a:path>
            </a:pathLst>
          </a:custGeom>
          <a:ln w="3175">
            <a:solidFill>
              <a:srgbClr val="006FAC"/>
            </a:solidFill>
          </a:ln>
        </p:spPr>
        <p:txBody>
          <a:bodyPr wrap="square" lIns="0" tIns="0" rIns="0" bIns="0" rtlCol="0"/>
          <a:lstStyle/>
          <a:p>
            <a:endParaRPr/>
          </a:p>
        </p:txBody>
      </p:sp>
      <p:sp>
        <p:nvSpPr>
          <p:cNvPr id="141" name="object 141"/>
          <p:cNvSpPr/>
          <p:nvPr/>
        </p:nvSpPr>
        <p:spPr>
          <a:xfrm>
            <a:off x="6599348" y="4840435"/>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42" name="object 142"/>
          <p:cNvSpPr/>
          <p:nvPr/>
        </p:nvSpPr>
        <p:spPr>
          <a:xfrm>
            <a:off x="6599348" y="4859829"/>
            <a:ext cx="0" cy="11430"/>
          </a:xfrm>
          <a:custGeom>
            <a:avLst/>
            <a:gdLst/>
            <a:ahLst/>
            <a:cxnLst/>
            <a:rect l="l" t="t" r="r" b="b"/>
            <a:pathLst>
              <a:path h="11429">
                <a:moveTo>
                  <a:pt x="-1301" y="5556"/>
                </a:moveTo>
                <a:lnTo>
                  <a:pt x="1301" y="5556"/>
                </a:lnTo>
              </a:path>
            </a:pathLst>
          </a:custGeom>
          <a:ln w="11113">
            <a:solidFill>
              <a:srgbClr val="006FAC"/>
            </a:solidFill>
          </a:ln>
        </p:spPr>
        <p:txBody>
          <a:bodyPr wrap="square" lIns="0" tIns="0" rIns="0" bIns="0" rtlCol="0"/>
          <a:lstStyle/>
          <a:p>
            <a:endParaRPr/>
          </a:p>
        </p:txBody>
      </p:sp>
      <p:sp>
        <p:nvSpPr>
          <p:cNvPr id="143" name="object 143"/>
          <p:cNvSpPr/>
          <p:nvPr/>
        </p:nvSpPr>
        <p:spPr>
          <a:xfrm>
            <a:off x="6599348" y="4879296"/>
            <a:ext cx="635" cy="11430"/>
          </a:xfrm>
          <a:custGeom>
            <a:avLst/>
            <a:gdLst/>
            <a:ahLst/>
            <a:cxnLst/>
            <a:rect l="l" t="t" r="r" b="b"/>
            <a:pathLst>
              <a:path w="634" h="11429">
                <a:moveTo>
                  <a:pt x="0" y="0"/>
                </a:moveTo>
                <a:lnTo>
                  <a:pt x="0" y="0"/>
                </a:lnTo>
                <a:lnTo>
                  <a:pt x="188" y="11319"/>
                </a:lnTo>
              </a:path>
            </a:pathLst>
          </a:custGeom>
          <a:ln w="3175">
            <a:solidFill>
              <a:srgbClr val="006FAC"/>
            </a:solidFill>
          </a:ln>
        </p:spPr>
        <p:txBody>
          <a:bodyPr wrap="square" lIns="0" tIns="0" rIns="0" bIns="0" rtlCol="0"/>
          <a:lstStyle/>
          <a:p>
            <a:endParaRPr/>
          </a:p>
        </p:txBody>
      </p:sp>
      <p:sp>
        <p:nvSpPr>
          <p:cNvPr id="144" name="object 144"/>
          <p:cNvSpPr/>
          <p:nvPr/>
        </p:nvSpPr>
        <p:spPr>
          <a:xfrm>
            <a:off x="6599536" y="4898969"/>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45" name="object 145"/>
          <p:cNvSpPr/>
          <p:nvPr/>
        </p:nvSpPr>
        <p:spPr>
          <a:xfrm>
            <a:off x="6599536" y="4918433"/>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46" name="object 146"/>
          <p:cNvSpPr/>
          <p:nvPr/>
        </p:nvSpPr>
        <p:spPr>
          <a:xfrm>
            <a:off x="6599536" y="4937830"/>
            <a:ext cx="635" cy="11430"/>
          </a:xfrm>
          <a:custGeom>
            <a:avLst/>
            <a:gdLst/>
            <a:ahLst/>
            <a:cxnLst/>
            <a:rect l="l" t="t" r="r" b="b"/>
            <a:pathLst>
              <a:path w="634" h="11429">
                <a:moveTo>
                  <a:pt x="0" y="0"/>
                </a:moveTo>
                <a:lnTo>
                  <a:pt x="0" y="0"/>
                </a:lnTo>
                <a:lnTo>
                  <a:pt x="188" y="11319"/>
                </a:lnTo>
              </a:path>
            </a:pathLst>
          </a:custGeom>
          <a:ln w="3175">
            <a:solidFill>
              <a:srgbClr val="006FAC"/>
            </a:solidFill>
          </a:ln>
        </p:spPr>
        <p:txBody>
          <a:bodyPr wrap="square" lIns="0" tIns="0" rIns="0" bIns="0" rtlCol="0"/>
          <a:lstStyle/>
          <a:p>
            <a:endParaRPr/>
          </a:p>
        </p:txBody>
      </p:sp>
      <p:sp>
        <p:nvSpPr>
          <p:cNvPr id="147" name="object 147"/>
          <p:cNvSpPr/>
          <p:nvPr/>
        </p:nvSpPr>
        <p:spPr>
          <a:xfrm>
            <a:off x="6599724" y="4957503"/>
            <a:ext cx="0" cy="11430"/>
          </a:xfrm>
          <a:custGeom>
            <a:avLst/>
            <a:gdLst/>
            <a:ahLst/>
            <a:cxnLst/>
            <a:rect l="l" t="t" r="r" b="b"/>
            <a:pathLst>
              <a:path h="11429">
                <a:moveTo>
                  <a:pt x="-1301" y="5522"/>
                </a:moveTo>
                <a:lnTo>
                  <a:pt x="1301" y="5522"/>
                </a:lnTo>
              </a:path>
            </a:pathLst>
          </a:custGeom>
          <a:ln w="11044">
            <a:solidFill>
              <a:srgbClr val="006FAC"/>
            </a:solidFill>
          </a:ln>
        </p:spPr>
        <p:txBody>
          <a:bodyPr wrap="square" lIns="0" tIns="0" rIns="0" bIns="0" rtlCol="0"/>
          <a:lstStyle/>
          <a:p>
            <a:endParaRPr/>
          </a:p>
        </p:txBody>
      </p:sp>
      <p:sp>
        <p:nvSpPr>
          <p:cNvPr id="148" name="object 148"/>
          <p:cNvSpPr/>
          <p:nvPr/>
        </p:nvSpPr>
        <p:spPr>
          <a:xfrm>
            <a:off x="6599724" y="4976967"/>
            <a:ext cx="0" cy="11430"/>
          </a:xfrm>
          <a:custGeom>
            <a:avLst/>
            <a:gdLst/>
            <a:ahLst/>
            <a:cxnLst/>
            <a:rect l="l" t="t" r="r" b="b"/>
            <a:pathLst>
              <a:path h="11429">
                <a:moveTo>
                  <a:pt x="-1301" y="5522"/>
                </a:moveTo>
                <a:lnTo>
                  <a:pt x="1301" y="5522"/>
                </a:lnTo>
              </a:path>
            </a:pathLst>
          </a:custGeom>
          <a:ln w="11045">
            <a:solidFill>
              <a:srgbClr val="006FAC"/>
            </a:solidFill>
          </a:ln>
        </p:spPr>
        <p:txBody>
          <a:bodyPr wrap="square" lIns="0" tIns="0" rIns="0" bIns="0" rtlCol="0"/>
          <a:lstStyle/>
          <a:p>
            <a:endParaRPr/>
          </a:p>
        </p:txBody>
      </p:sp>
      <p:sp>
        <p:nvSpPr>
          <p:cNvPr id="149" name="object 149"/>
          <p:cNvSpPr/>
          <p:nvPr/>
        </p:nvSpPr>
        <p:spPr>
          <a:xfrm>
            <a:off x="6599724" y="4996365"/>
            <a:ext cx="0" cy="5715"/>
          </a:xfrm>
          <a:custGeom>
            <a:avLst/>
            <a:gdLst/>
            <a:ahLst/>
            <a:cxnLst/>
            <a:rect l="l" t="t" r="r" b="b"/>
            <a:pathLst>
              <a:path h="5714">
                <a:moveTo>
                  <a:pt x="0" y="0"/>
                </a:moveTo>
                <a:lnTo>
                  <a:pt x="0" y="5376"/>
                </a:lnTo>
              </a:path>
            </a:pathLst>
          </a:custGeom>
          <a:ln w="3175">
            <a:solidFill>
              <a:srgbClr val="006FAC"/>
            </a:solidFill>
          </a:ln>
        </p:spPr>
        <p:txBody>
          <a:bodyPr wrap="square" lIns="0" tIns="0" rIns="0" bIns="0" rtlCol="0"/>
          <a:lstStyle/>
          <a:p>
            <a:endParaRPr/>
          </a:p>
        </p:txBody>
      </p:sp>
      <p:sp>
        <p:nvSpPr>
          <p:cNvPr id="150" name="object 150"/>
          <p:cNvSpPr/>
          <p:nvPr/>
        </p:nvSpPr>
        <p:spPr>
          <a:xfrm>
            <a:off x="6777508" y="4469766"/>
            <a:ext cx="29845" cy="31115"/>
          </a:xfrm>
          <a:custGeom>
            <a:avLst/>
            <a:gdLst/>
            <a:ahLst/>
            <a:cxnLst/>
            <a:rect l="l" t="t" r="r" b="b"/>
            <a:pathLst>
              <a:path w="29845" h="31114">
                <a:moveTo>
                  <a:pt x="23009" y="0"/>
                </a:moveTo>
                <a:lnTo>
                  <a:pt x="6666" y="0"/>
                </a:lnTo>
                <a:lnTo>
                  <a:pt x="0" y="6701"/>
                </a:lnTo>
                <a:lnTo>
                  <a:pt x="0" y="23607"/>
                </a:lnTo>
                <a:lnTo>
                  <a:pt x="6666" y="30502"/>
                </a:lnTo>
                <a:lnTo>
                  <a:pt x="23009" y="30502"/>
                </a:lnTo>
                <a:lnTo>
                  <a:pt x="29675" y="23607"/>
                </a:lnTo>
                <a:lnTo>
                  <a:pt x="29675" y="6701"/>
                </a:lnTo>
                <a:lnTo>
                  <a:pt x="23009" y="0"/>
                </a:lnTo>
                <a:close/>
              </a:path>
            </a:pathLst>
          </a:custGeom>
          <a:solidFill>
            <a:srgbClr val="00C37A"/>
          </a:solidFill>
        </p:spPr>
        <p:txBody>
          <a:bodyPr wrap="square" lIns="0" tIns="0" rIns="0" bIns="0" rtlCol="0"/>
          <a:lstStyle/>
          <a:p>
            <a:endParaRPr/>
          </a:p>
        </p:txBody>
      </p:sp>
      <p:sp>
        <p:nvSpPr>
          <p:cNvPr id="151" name="object 151"/>
          <p:cNvSpPr/>
          <p:nvPr/>
        </p:nvSpPr>
        <p:spPr>
          <a:xfrm>
            <a:off x="6777508" y="4469766"/>
            <a:ext cx="29845" cy="31115"/>
          </a:xfrm>
          <a:custGeom>
            <a:avLst/>
            <a:gdLst/>
            <a:ahLst/>
            <a:cxnLst/>
            <a:rect l="l" t="t" r="r" b="b"/>
            <a:pathLst>
              <a:path w="29845" h="31114">
                <a:moveTo>
                  <a:pt x="0" y="15237"/>
                </a:moveTo>
                <a:lnTo>
                  <a:pt x="0" y="6701"/>
                </a:lnTo>
                <a:lnTo>
                  <a:pt x="6666" y="0"/>
                </a:lnTo>
                <a:lnTo>
                  <a:pt x="14945" y="0"/>
                </a:lnTo>
                <a:lnTo>
                  <a:pt x="23009" y="0"/>
                </a:lnTo>
                <a:lnTo>
                  <a:pt x="29675" y="6701"/>
                </a:lnTo>
                <a:lnTo>
                  <a:pt x="29675" y="15237"/>
                </a:lnTo>
                <a:lnTo>
                  <a:pt x="29675" y="23607"/>
                </a:lnTo>
                <a:lnTo>
                  <a:pt x="23009" y="30502"/>
                </a:lnTo>
                <a:lnTo>
                  <a:pt x="14945" y="30502"/>
                </a:lnTo>
                <a:lnTo>
                  <a:pt x="6666" y="30502"/>
                </a:lnTo>
                <a:lnTo>
                  <a:pt x="0" y="23607"/>
                </a:lnTo>
                <a:lnTo>
                  <a:pt x="0" y="15237"/>
                </a:lnTo>
                <a:close/>
              </a:path>
            </a:pathLst>
          </a:custGeom>
          <a:ln w="3175">
            <a:solidFill>
              <a:srgbClr val="00C37A"/>
            </a:solidFill>
          </a:ln>
        </p:spPr>
        <p:txBody>
          <a:bodyPr wrap="square" lIns="0" tIns="0" rIns="0" bIns="0" rtlCol="0"/>
          <a:lstStyle/>
          <a:p>
            <a:endParaRPr/>
          </a:p>
        </p:txBody>
      </p:sp>
      <p:sp>
        <p:nvSpPr>
          <p:cNvPr id="152" name="object 152"/>
          <p:cNvSpPr/>
          <p:nvPr/>
        </p:nvSpPr>
        <p:spPr>
          <a:xfrm>
            <a:off x="6663134" y="4267590"/>
            <a:ext cx="1270" cy="83820"/>
          </a:xfrm>
          <a:custGeom>
            <a:avLst/>
            <a:gdLst/>
            <a:ahLst/>
            <a:cxnLst/>
            <a:rect l="l" t="t" r="r" b="b"/>
            <a:pathLst>
              <a:path w="1270" h="83820">
                <a:moveTo>
                  <a:pt x="806" y="0"/>
                </a:moveTo>
                <a:lnTo>
                  <a:pt x="806" y="0"/>
                </a:lnTo>
                <a:lnTo>
                  <a:pt x="0" y="83639"/>
                </a:lnTo>
              </a:path>
            </a:pathLst>
          </a:custGeom>
          <a:ln w="5271">
            <a:solidFill>
              <a:srgbClr val="94E616"/>
            </a:solidFill>
          </a:ln>
        </p:spPr>
        <p:txBody>
          <a:bodyPr wrap="square" lIns="0" tIns="0" rIns="0" bIns="0" rtlCol="0"/>
          <a:lstStyle/>
          <a:p>
            <a:endParaRPr/>
          </a:p>
        </p:txBody>
      </p:sp>
      <p:sp>
        <p:nvSpPr>
          <p:cNvPr id="153" name="object 153"/>
          <p:cNvSpPr/>
          <p:nvPr/>
        </p:nvSpPr>
        <p:spPr>
          <a:xfrm>
            <a:off x="6673859" y="4493374"/>
            <a:ext cx="106045" cy="101600"/>
          </a:xfrm>
          <a:custGeom>
            <a:avLst/>
            <a:gdLst/>
            <a:ahLst/>
            <a:cxnLst/>
            <a:rect l="l" t="t" r="r" b="b"/>
            <a:pathLst>
              <a:path w="106045" h="101600">
                <a:moveTo>
                  <a:pt x="106041" y="0"/>
                </a:moveTo>
                <a:lnTo>
                  <a:pt x="106041" y="0"/>
                </a:lnTo>
                <a:lnTo>
                  <a:pt x="0" y="100990"/>
                </a:lnTo>
              </a:path>
            </a:pathLst>
          </a:custGeom>
          <a:ln w="5366">
            <a:solidFill>
              <a:srgbClr val="94E616"/>
            </a:solidFill>
          </a:ln>
        </p:spPr>
        <p:txBody>
          <a:bodyPr wrap="square" lIns="0" tIns="0" rIns="0" bIns="0" rtlCol="0"/>
          <a:lstStyle/>
          <a:p>
            <a:endParaRPr/>
          </a:p>
        </p:txBody>
      </p:sp>
      <p:sp>
        <p:nvSpPr>
          <p:cNvPr id="154" name="object 154"/>
          <p:cNvSpPr/>
          <p:nvPr/>
        </p:nvSpPr>
        <p:spPr>
          <a:xfrm>
            <a:off x="6673859" y="4618778"/>
            <a:ext cx="106045" cy="69215"/>
          </a:xfrm>
          <a:custGeom>
            <a:avLst/>
            <a:gdLst/>
            <a:ahLst/>
            <a:cxnLst/>
            <a:rect l="l" t="t" r="r" b="b"/>
            <a:pathLst>
              <a:path w="106045" h="69214">
                <a:moveTo>
                  <a:pt x="105638" y="68624"/>
                </a:moveTo>
                <a:lnTo>
                  <a:pt x="105638" y="68624"/>
                </a:lnTo>
                <a:lnTo>
                  <a:pt x="0" y="0"/>
                </a:lnTo>
              </a:path>
            </a:pathLst>
          </a:custGeom>
          <a:ln w="5399">
            <a:solidFill>
              <a:srgbClr val="94E616"/>
            </a:solidFill>
          </a:ln>
        </p:spPr>
        <p:txBody>
          <a:bodyPr wrap="square" lIns="0" tIns="0" rIns="0" bIns="0" rtlCol="0"/>
          <a:lstStyle/>
          <a:p>
            <a:endParaRPr/>
          </a:p>
        </p:txBody>
      </p:sp>
      <p:sp>
        <p:nvSpPr>
          <p:cNvPr id="155" name="object 155"/>
          <p:cNvSpPr/>
          <p:nvPr/>
        </p:nvSpPr>
        <p:spPr>
          <a:xfrm>
            <a:off x="5993644" y="4193794"/>
            <a:ext cx="994410" cy="814069"/>
          </a:xfrm>
          <a:custGeom>
            <a:avLst/>
            <a:gdLst/>
            <a:ahLst/>
            <a:cxnLst/>
            <a:rect l="l" t="t" r="r" b="b"/>
            <a:pathLst>
              <a:path w="994409" h="814070">
                <a:moveTo>
                  <a:pt x="0" y="0"/>
                </a:moveTo>
                <a:lnTo>
                  <a:pt x="994173" y="0"/>
                </a:lnTo>
                <a:lnTo>
                  <a:pt x="994173" y="813891"/>
                </a:lnTo>
                <a:lnTo>
                  <a:pt x="0" y="813891"/>
                </a:lnTo>
                <a:lnTo>
                  <a:pt x="0" y="0"/>
                </a:lnTo>
                <a:close/>
              </a:path>
            </a:pathLst>
          </a:custGeom>
          <a:ln w="3175">
            <a:solidFill>
              <a:srgbClr val="9040D0"/>
            </a:solidFill>
          </a:ln>
        </p:spPr>
        <p:txBody>
          <a:bodyPr wrap="square" lIns="0" tIns="0" rIns="0" bIns="0" rtlCol="0"/>
          <a:lstStyle/>
          <a:p>
            <a:endParaRPr/>
          </a:p>
        </p:txBody>
      </p:sp>
      <p:sp>
        <p:nvSpPr>
          <p:cNvPr id="156" name="object 156"/>
          <p:cNvSpPr/>
          <p:nvPr/>
        </p:nvSpPr>
        <p:spPr>
          <a:xfrm>
            <a:off x="6470405" y="4176985"/>
            <a:ext cx="127000" cy="0"/>
          </a:xfrm>
          <a:custGeom>
            <a:avLst/>
            <a:gdLst/>
            <a:ahLst/>
            <a:cxnLst/>
            <a:rect l="l" t="t" r="r" b="b"/>
            <a:pathLst>
              <a:path w="127000">
                <a:moveTo>
                  <a:pt x="0" y="0"/>
                </a:moveTo>
                <a:lnTo>
                  <a:pt x="126658" y="0"/>
                </a:lnTo>
              </a:path>
            </a:pathLst>
          </a:custGeom>
          <a:ln w="27833">
            <a:solidFill>
              <a:srgbClr val="FF5C58"/>
            </a:solidFill>
          </a:ln>
        </p:spPr>
        <p:txBody>
          <a:bodyPr wrap="square" lIns="0" tIns="0" rIns="0" bIns="0" rtlCol="0"/>
          <a:lstStyle/>
          <a:p>
            <a:endParaRPr/>
          </a:p>
        </p:txBody>
      </p:sp>
      <p:sp>
        <p:nvSpPr>
          <p:cNvPr id="157" name="object 157"/>
          <p:cNvSpPr/>
          <p:nvPr/>
        </p:nvSpPr>
        <p:spPr>
          <a:xfrm>
            <a:off x="6470405" y="4163068"/>
            <a:ext cx="127000" cy="27940"/>
          </a:xfrm>
          <a:custGeom>
            <a:avLst/>
            <a:gdLst/>
            <a:ahLst/>
            <a:cxnLst/>
            <a:rect l="l" t="t" r="r" b="b"/>
            <a:pathLst>
              <a:path w="127000" h="27939">
                <a:moveTo>
                  <a:pt x="0" y="0"/>
                </a:moveTo>
                <a:lnTo>
                  <a:pt x="126658" y="0"/>
                </a:lnTo>
                <a:lnTo>
                  <a:pt x="126658" y="27833"/>
                </a:lnTo>
                <a:lnTo>
                  <a:pt x="0" y="27833"/>
                </a:lnTo>
                <a:lnTo>
                  <a:pt x="0" y="0"/>
                </a:lnTo>
                <a:close/>
              </a:path>
            </a:pathLst>
          </a:custGeom>
          <a:ln w="3175">
            <a:solidFill>
              <a:srgbClr val="FF0000"/>
            </a:solidFill>
          </a:ln>
        </p:spPr>
        <p:txBody>
          <a:bodyPr wrap="square" lIns="0" tIns="0" rIns="0" bIns="0" rtlCol="0"/>
          <a:lstStyle/>
          <a:p>
            <a:endParaRPr/>
          </a:p>
        </p:txBody>
      </p:sp>
      <p:sp>
        <p:nvSpPr>
          <p:cNvPr id="158" name="object 158"/>
          <p:cNvSpPr/>
          <p:nvPr/>
        </p:nvSpPr>
        <p:spPr>
          <a:xfrm>
            <a:off x="6602546" y="4176985"/>
            <a:ext cx="124460" cy="0"/>
          </a:xfrm>
          <a:custGeom>
            <a:avLst/>
            <a:gdLst/>
            <a:ahLst/>
            <a:cxnLst/>
            <a:rect l="l" t="t" r="r" b="b"/>
            <a:pathLst>
              <a:path w="124459">
                <a:moveTo>
                  <a:pt x="0" y="0"/>
                </a:moveTo>
                <a:lnTo>
                  <a:pt x="123836" y="0"/>
                </a:lnTo>
              </a:path>
            </a:pathLst>
          </a:custGeom>
          <a:ln w="27833">
            <a:solidFill>
              <a:srgbClr val="FFC000"/>
            </a:solidFill>
          </a:ln>
        </p:spPr>
        <p:txBody>
          <a:bodyPr wrap="square" lIns="0" tIns="0" rIns="0" bIns="0" rtlCol="0"/>
          <a:lstStyle/>
          <a:p>
            <a:endParaRPr/>
          </a:p>
        </p:txBody>
      </p:sp>
      <p:sp>
        <p:nvSpPr>
          <p:cNvPr id="159" name="object 159"/>
          <p:cNvSpPr/>
          <p:nvPr/>
        </p:nvSpPr>
        <p:spPr>
          <a:xfrm>
            <a:off x="6602546" y="4163068"/>
            <a:ext cx="124460" cy="27940"/>
          </a:xfrm>
          <a:custGeom>
            <a:avLst/>
            <a:gdLst/>
            <a:ahLst/>
            <a:cxnLst/>
            <a:rect l="l" t="t" r="r" b="b"/>
            <a:pathLst>
              <a:path w="124459" h="27939">
                <a:moveTo>
                  <a:pt x="0" y="0"/>
                </a:moveTo>
                <a:lnTo>
                  <a:pt x="123836" y="0"/>
                </a:lnTo>
                <a:lnTo>
                  <a:pt x="123836" y="27833"/>
                </a:lnTo>
                <a:lnTo>
                  <a:pt x="0" y="27833"/>
                </a:lnTo>
                <a:lnTo>
                  <a:pt x="0" y="0"/>
                </a:lnTo>
                <a:close/>
              </a:path>
            </a:pathLst>
          </a:custGeom>
          <a:ln w="3175">
            <a:solidFill>
              <a:srgbClr val="FFC000"/>
            </a:solidFill>
          </a:ln>
        </p:spPr>
        <p:txBody>
          <a:bodyPr wrap="square" lIns="0" tIns="0" rIns="0" bIns="0" rtlCol="0"/>
          <a:lstStyle/>
          <a:p>
            <a:endParaRPr/>
          </a:p>
        </p:txBody>
      </p:sp>
      <p:sp>
        <p:nvSpPr>
          <p:cNvPr id="160" name="object 160"/>
          <p:cNvSpPr/>
          <p:nvPr/>
        </p:nvSpPr>
        <p:spPr>
          <a:xfrm>
            <a:off x="6731866" y="4176985"/>
            <a:ext cx="124460" cy="0"/>
          </a:xfrm>
          <a:custGeom>
            <a:avLst/>
            <a:gdLst/>
            <a:ahLst/>
            <a:cxnLst/>
            <a:rect l="l" t="t" r="r" b="b"/>
            <a:pathLst>
              <a:path w="124459">
                <a:moveTo>
                  <a:pt x="0" y="0"/>
                </a:moveTo>
                <a:lnTo>
                  <a:pt x="123836" y="0"/>
                </a:lnTo>
              </a:path>
            </a:pathLst>
          </a:custGeom>
          <a:ln w="27833">
            <a:solidFill>
              <a:srgbClr val="FFFF00"/>
            </a:solidFill>
          </a:ln>
        </p:spPr>
        <p:txBody>
          <a:bodyPr wrap="square" lIns="0" tIns="0" rIns="0" bIns="0" rtlCol="0"/>
          <a:lstStyle/>
          <a:p>
            <a:endParaRPr/>
          </a:p>
        </p:txBody>
      </p:sp>
      <p:sp>
        <p:nvSpPr>
          <p:cNvPr id="161" name="object 161"/>
          <p:cNvSpPr/>
          <p:nvPr/>
        </p:nvSpPr>
        <p:spPr>
          <a:xfrm>
            <a:off x="6731866" y="4163068"/>
            <a:ext cx="124460" cy="27940"/>
          </a:xfrm>
          <a:custGeom>
            <a:avLst/>
            <a:gdLst/>
            <a:ahLst/>
            <a:cxnLst/>
            <a:rect l="l" t="t" r="r" b="b"/>
            <a:pathLst>
              <a:path w="124459" h="27939">
                <a:moveTo>
                  <a:pt x="0" y="0"/>
                </a:moveTo>
                <a:lnTo>
                  <a:pt x="123836" y="0"/>
                </a:lnTo>
                <a:lnTo>
                  <a:pt x="123836" y="27833"/>
                </a:lnTo>
                <a:lnTo>
                  <a:pt x="0" y="27833"/>
                </a:lnTo>
                <a:lnTo>
                  <a:pt x="0" y="0"/>
                </a:lnTo>
                <a:close/>
              </a:path>
            </a:pathLst>
          </a:custGeom>
          <a:ln w="3175">
            <a:solidFill>
              <a:srgbClr val="FFFF00"/>
            </a:solidFill>
          </a:ln>
        </p:spPr>
        <p:txBody>
          <a:bodyPr wrap="square" lIns="0" tIns="0" rIns="0" bIns="0" rtlCol="0"/>
          <a:lstStyle/>
          <a:p>
            <a:endParaRPr/>
          </a:p>
        </p:txBody>
      </p:sp>
      <p:sp>
        <p:nvSpPr>
          <p:cNvPr id="162" name="object 162"/>
          <p:cNvSpPr/>
          <p:nvPr/>
        </p:nvSpPr>
        <p:spPr>
          <a:xfrm>
            <a:off x="6861105" y="4175636"/>
            <a:ext cx="127000" cy="0"/>
          </a:xfrm>
          <a:custGeom>
            <a:avLst/>
            <a:gdLst/>
            <a:ahLst/>
            <a:cxnLst/>
            <a:rect l="l" t="t" r="r" b="b"/>
            <a:pathLst>
              <a:path w="127000">
                <a:moveTo>
                  <a:pt x="0" y="0"/>
                </a:moveTo>
                <a:lnTo>
                  <a:pt x="126524" y="0"/>
                </a:lnTo>
              </a:path>
            </a:pathLst>
          </a:custGeom>
          <a:ln w="30530">
            <a:solidFill>
              <a:srgbClr val="94E616"/>
            </a:solidFill>
          </a:ln>
        </p:spPr>
        <p:txBody>
          <a:bodyPr wrap="square" lIns="0" tIns="0" rIns="0" bIns="0" rtlCol="0"/>
          <a:lstStyle/>
          <a:p>
            <a:endParaRPr/>
          </a:p>
        </p:txBody>
      </p:sp>
      <p:sp>
        <p:nvSpPr>
          <p:cNvPr id="163" name="object 163"/>
          <p:cNvSpPr/>
          <p:nvPr/>
        </p:nvSpPr>
        <p:spPr>
          <a:xfrm>
            <a:off x="6861105" y="4160371"/>
            <a:ext cx="127000" cy="31115"/>
          </a:xfrm>
          <a:custGeom>
            <a:avLst/>
            <a:gdLst/>
            <a:ahLst/>
            <a:cxnLst/>
            <a:rect l="l" t="t" r="r" b="b"/>
            <a:pathLst>
              <a:path w="127000" h="31114">
                <a:moveTo>
                  <a:pt x="0" y="0"/>
                </a:moveTo>
                <a:lnTo>
                  <a:pt x="126524" y="0"/>
                </a:lnTo>
                <a:lnTo>
                  <a:pt x="126524" y="30530"/>
                </a:lnTo>
                <a:lnTo>
                  <a:pt x="0" y="30530"/>
                </a:lnTo>
                <a:lnTo>
                  <a:pt x="0" y="0"/>
                </a:lnTo>
                <a:close/>
              </a:path>
            </a:pathLst>
          </a:custGeom>
          <a:ln w="3175">
            <a:solidFill>
              <a:srgbClr val="94E616"/>
            </a:solidFill>
          </a:ln>
        </p:spPr>
        <p:txBody>
          <a:bodyPr wrap="square" lIns="0" tIns="0" rIns="0" bIns="0" rtlCol="0"/>
          <a:lstStyle/>
          <a:p>
            <a:endParaRPr/>
          </a:p>
        </p:txBody>
      </p:sp>
      <p:sp>
        <p:nvSpPr>
          <p:cNvPr id="164" name="object 164"/>
          <p:cNvSpPr txBox="1"/>
          <p:nvPr/>
        </p:nvSpPr>
        <p:spPr>
          <a:xfrm>
            <a:off x="6117492" y="4475224"/>
            <a:ext cx="200660" cy="66040"/>
          </a:xfrm>
          <a:prstGeom prst="rect">
            <a:avLst/>
          </a:prstGeom>
        </p:spPr>
        <p:txBody>
          <a:bodyPr vert="horz" wrap="square" lIns="0" tIns="13970" rIns="0" bIns="0" rtlCol="0">
            <a:spAutoFit/>
          </a:bodyPr>
          <a:lstStyle/>
          <a:p>
            <a:pPr>
              <a:lnSpc>
                <a:spcPct val="100000"/>
              </a:lnSpc>
              <a:spcBef>
                <a:spcPts val="110"/>
              </a:spcBef>
            </a:pPr>
            <a:r>
              <a:rPr sz="250" spc="-5">
                <a:solidFill>
                  <a:srgbClr val="FFFFFF"/>
                </a:solidFill>
                <a:latin typeface="Arial"/>
                <a:cs typeface="Arial"/>
              </a:rPr>
              <a:t>Management</a:t>
            </a:r>
            <a:endParaRPr sz="250">
              <a:latin typeface="Arial"/>
              <a:cs typeface="Arial"/>
            </a:endParaRPr>
          </a:p>
        </p:txBody>
      </p:sp>
      <p:sp>
        <p:nvSpPr>
          <p:cNvPr id="165" name="object 165"/>
          <p:cNvSpPr txBox="1"/>
          <p:nvPr/>
        </p:nvSpPr>
        <p:spPr>
          <a:xfrm>
            <a:off x="5984147" y="4135127"/>
            <a:ext cx="195580" cy="55880"/>
          </a:xfrm>
          <a:prstGeom prst="rect">
            <a:avLst/>
          </a:prstGeom>
        </p:spPr>
        <p:txBody>
          <a:bodyPr vert="horz" wrap="square" lIns="0" tIns="12065" rIns="0" bIns="0" rtlCol="0">
            <a:spAutoFit/>
          </a:bodyPr>
          <a:lstStyle/>
          <a:p>
            <a:pPr marL="12700">
              <a:lnSpc>
                <a:spcPct val="100000"/>
              </a:lnSpc>
              <a:spcBef>
                <a:spcPts val="95"/>
              </a:spcBef>
            </a:pPr>
            <a:r>
              <a:rPr sz="200" spc="-10">
                <a:solidFill>
                  <a:srgbClr val="271237"/>
                </a:solidFill>
                <a:latin typeface="Arial"/>
                <a:cs typeface="Arial"/>
              </a:rPr>
              <a:t>ILLUSTRATIVE</a:t>
            </a:r>
            <a:endParaRPr sz="200">
              <a:latin typeface="Arial"/>
              <a:cs typeface="Arial"/>
            </a:endParaRPr>
          </a:p>
        </p:txBody>
      </p:sp>
      <p:sp>
        <p:nvSpPr>
          <p:cNvPr id="166" name="object 166"/>
          <p:cNvSpPr/>
          <p:nvPr/>
        </p:nvSpPr>
        <p:spPr>
          <a:xfrm>
            <a:off x="5996847" y="4176888"/>
            <a:ext cx="170180" cy="0"/>
          </a:xfrm>
          <a:custGeom>
            <a:avLst/>
            <a:gdLst/>
            <a:ahLst/>
            <a:cxnLst/>
            <a:rect l="l" t="t" r="r" b="b"/>
            <a:pathLst>
              <a:path w="170179">
                <a:moveTo>
                  <a:pt x="0" y="0"/>
                </a:moveTo>
                <a:lnTo>
                  <a:pt x="169690" y="0"/>
                </a:lnTo>
              </a:path>
            </a:pathLst>
          </a:custGeom>
          <a:ln w="3175">
            <a:solidFill>
              <a:srgbClr val="271237"/>
            </a:solidFill>
          </a:ln>
        </p:spPr>
        <p:txBody>
          <a:bodyPr wrap="square" lIns="0" tIns="0" rIns="0" bIns="0" rtlCol="0"/>
          <a:lstStyle/>
          <a:p>
            <a:endParaRPr/>
          </a:p>
        </p:txBody>
      </p:sp>
      <p:sp>
        <p:nvSpPr>
          <p:cNvPr id="167" name="object 167"/>
          <p:cNvSpPr/>
          <p:nvPr/>
        </p:nvSpPr>
        <p:spPr>
          <a:xfrm>
            <a:off x="6673859" y="4379064"/>
            <a:ext cx="106045" cy="93345"/>
          </a:xfrm>
          <a:custGeom>
            <a:avLst/>
            <a:gdLst/>
            <a:ahLst/>
            <a:cxnLst/>
            <a:rect l="l" t="t" r="r" b="b"/>
            <a:pathLst>
              <a:path w="106045" h="93345">
                <a:moveTo>
                  <a:pt x="0" y="0"/>
                </a:moveTo>
                <a:lnTo>
                  <a:pt x="0" y="0"/>
                </a:lnTo>
                <a:lnTo>
                  <a:pt x="105450" y="92760"/>
                </a:lnTo>
              </a:path>
            </a:pathLst>
          </a:custGeom>
          <a:ln w="5373">
            <a:solidFill>
              <a:srgbClr val="94E616"/>
            </a:solidFill>
          </a:ln>
        </p:spPr>
        <p:txBody>
          <a:bodyPr wrap="square" lIns="0" tIns="0" rIns="0" bIns="0" rtlCol="0"/>
          <a:lstStyle/>
          <a:p>
            <a:endParaRPr/>
          </a:p>
        </p:txBody>
      </p:sp>
      <p:sp>
        <p:nvSpPr>
          <p:cNvPr id="168" name="object 168"/>
          <p:cNvSpPr/>
          <p:nvPr/>
        </p:nvSpPr>
        <p:spPr>
          <a:xfrm>
            <a:off x="6906828" y="4812615"/>
            <a:ext cx="29845" cy="33655"/>
          </a:xfrm>
          <a:custGeom>
            <a:avLst/>
            <a:gdLst/>
            <a:ahLst/>
            <a:cxnLst/>
            <a:rect l="l" t="t" r="r" b="b"/>
            <a:pathLst>
              <a:path w="29845" h="33654">
                <a:moveTo>
                  <a:pt x="23009" y="0"/>
                </a:moveTo>
                <a:lnTo>
                  <a:pt x="6585" y="0"/>
                </a:lnTo>
                <a:lnTo>
                  <a:pt x="0" y="7318"/>
                </a:lnTo>
                <a:lnTo>
                  <a:pt x="0" y="25953"/>
                </a:lnTo>
                <a:lnTo>
                  <a:pt x="6585" y="33478"/>
                </a:lnTo>
                <a:lnTo>
                  <a:pt x="23009" y="33478"/>
                </a:lnTo>
                <a:lnTo>
                  <a:pt x="29675" y="25953"/>
                </a:lnTo>
                <a:lnTo>
                  <a:pt x="29675" y="7318"/>
                </a:lnTo>
                <a:lnTo>
                  <a:pt x="23009" y="0"/>
                </a:lnTo>
                <a:close/>
              </a:path>
            </a:pathLst>
          </a:custGeom>
          <a:solidFill>
            <a:srgbClr val="00C37A"/>
          </a:solidFill>
        </p:spPr>
        <p:txBody>
          <a:bodyPr wrap="square" lIns="0" tIns="0" rIns="0" bIns="0" rtlCol="0"/>
          <a:lstStyle/>
          <a:p>
            <a:endParaRPr/>
          </a:p>
        </p:txBody>
      </p:sp>
      <p:sp>
        <p:nvSpPr>
          <p:cNvPr id="169" name="object 169"/>
          <p:cNvSpPr/>
          <p:nvPr/>
        </p:nvSpPr>
        <p:spPr>
          <a:xfrm>
            <a:off x="6906828" y="4812615"/>
            <a:ext cx="29845" cy="33655"/>
          </a:xfrm>
          <a:custGeom>
            <a:avLst/>
            <a:gdLst/>
            <a:ahLst/>
            <a:cxnLst/>
            <a:rect l="l" t="t" r="r" b="b"/>
            <a:pathLst>
              <a:path w="29845" h="33654">
                <a:moveTo>
                  <a:pt x="0" y="16705"/>
                </a:moveTo>
                <a:lnTo>
                  <a:pt x="0" y="7318"/>
                </a:lnTo>
                <a:lnTo>
                  <a:pt x="6585" y="0"/>
                </a:lnTo>
                <a:lnTo>
                  <a:pt x="14945" y="0"/>
                </a:lnTo>
                <a:lnTo>
                  <a:pt x="23009" y="0"/>
                </a:lnTo>
                <a:lnTo>
                  <a:pt x="29675" y="7318"/>
                </a:lnTo>
                <a:lnTo>
                  <a:pt x="29675" y="16705"/>
                </a:lnTo>
                <a:lnTo>
                  <a:pt x="29675" y="25953"/>
                </a:lnTo>
                <a:lnTo>
                  <a:pt x="23009" y="33478"/>
                </a:lnTo>
                <a:lnTo>
                  <a:pt x="14945" y="33478"/>
                </a:lnTo>
                <a:lnTo>
                  <a:pt x="6585" y="33478"/>
                </a:lnTo>
                <a:lnTo>
                  <a:pt x="0" y="25953"/>
                </a:lnTo>
                <a:lnTo>
                  <a:pt x="0" y="16705"/>
                </a:lnTo>
                <a:close/>
              </a:path>
            </a:pathLst>
          </a:custGeom>
          <a:ln w="3175">
            <a:solidFill>
              <a:srgbClr val="00C37A"/>
            </a:solidFill>
          </a:ln>
        </p:spPr>
        <p:txBody>
          <a:bodyPr wrap="square" lIns="0" tIns="0" rIns="0" bIns="0" rtlCol="0"/>
          <a:lstStyle/>
          <a:p>
            <a:endParaRPr/>
          </a:p>
        </p:txBody>
      </p:sp>
      <p:sp>
        <p:nvSpPr>
          <p:cNvPr id="170" name="object 170"/>
          <p:cNvSpPr/>
          <p:nvPr/>
        </p:nvSpPr>
        <p:spPr>
          <a:xfrm>
            <a:off x="6800518" y="4708118"/>
            <a:ext cx="109855" cy="108585"/>
          </a:xfrm>
          <a:custGeom>
            <a:avLst/>
            <a:gdLst/>
            <a:ahLst/>
            <a:cxnLst/>
            <a:rect l="l" t="t" r="r" b="b"/>
            <a:pathLst>
              <a:path w="109854" h="108585">
                <a:moveTo>
                  <a:pt x="109294" y="108295"/>
                </a:moveTo>
                <a:lnTo>
                  <a:pt x="109294" y="108295"/>
                </a:lnTo>
                <a:lnTo>
                  <a:pt x="0" y="0"/>
                </a:lnTo>
              </a:path>
            </a:pathLst>
          </a:custGeom>
          <a:ln w="5363">
            <a:solidFill>
              <a:srgbClr val="94E616"/>
            </a:solidFill>
          </a:ln>
        </p:spPr>
        <p:txBody>
          <a:bodyPr wrap="square" lIns="0" tIns="0" rIns="0" bIns="0" rtlCol="0"/>
          <a:lstStyle/>
          <a:p>
            <a:endParaRPr/>
          </a:p>
        </p:txBody>
      </p:sp>
      <p:sp>
        <p:nvSpPr>
          <p:cNvPr id="171" name="object 171"/>
          <p:cNvSpPr/>
          <p:nvPr/>
        </p:nvSpPr>
        <p:spPr>
          <a:xfrm>
            <a:off x="6036884" y="4461397"/>
            <a:ext cx="48895" cy="47625"/>
          </a:xfrm>
          <a:custGeom>
            <a:avLst/>
            <a:gdLst/>
            <a:ahLst/>
            <a:cxnLst/>
            <a:rect l="l" t="t" r="r" b="b"/>
            <a:pathLst>
              <a:path w="48895" h="47625">
                <a:moveTo>
                  <a:pt x="0" y="0"/>
                </a:moveTo>
                <a:lnTo>
                  <a:pt x="48443" y="0"/>
                </a:lnTo>
                <a:lnTo>
                  <a:pt x="48443" y="47214"/>
                </a:lnTo>
                <a:lnTo>
                  <a:pt x="0" y="47214"/>
                </a:lnTo>
                <a:lnTo>
                  <a:pt x="0" y="0"/>
                </a:lnTo>
                <a:close/>
              </a:path>
            </a:pathLst>
          </a:custGeom>
          <a:solidFill>
            <a:srgbClr val="FFFFFF"/>
          </a:solidFill>
        </p:spPr>
        <p:txBody>
          <a:bodyPr wrap="square" lIns="0" tIns="0" rIns="0" bIns="0" rtlCol="0"/>
          <a:lstStyle/>
          <a:p>
            <a:endParaRPr/>
          </a:p>
        </p:txBody>
      </p:sp>
      <p:sp>
        <p:nvSpPr>
          <p:cNvPr id="172" name="object 172"/>
          <p:cNvSpPr/>
          <p:nvPr/>
        </p:nvSpPr>
        <p:spPr>
          <a:xfrm>
            <a:off x="6036884" y="4461397"/>
            <a:ext cx="48895" cy="47625"/>
          </a:xfrm>
          <a:custGeom>
            <a:avLst/>
            <a:gdLst/>
            <a:ahLst/>
            <a:cxnLst/>
            <a:rect l="l" t="t" r="r" b="b"/>
            <a:pathLst>
              <a:path w="48895" h="47625">
                <a:moveTo>
                  <a:pt x="0" y="0"/>
                </a:moveTo>
                <a:lnTo>
                  <a:pt x="48443" y="0"/>
                </a:lnTo>
                <a:lnTo>
                  <a:pt x="48443" y="47214"/>
                </a:lnTo>
                <a:lnTo>
                  <a:pt x="0" y="47214"/>
                </a:lnTo>
                <a:lnTo>
                  <a:pt x="0" y="0"/>
                </a:lnTo>
                <a:close/>
              </a:path>
            </a:pathLst>
          </a:custGeom>
          <a:ln w="3175">
            <a:solidFill>
              <a:srgbClr val="006FAC"/>
            </a:solidFill>
          </a:ln>
        </p:spPr>
        <p:txBody>
          <a:bodyPr wrap="square" lIns="0" tIns="0" rIns="0" bIns="0" rtlCol="0"/>
          <a:lstStyle/>
          <a:p>
            <a:endParaRPr/>
          </a:p>
        </p:txBody>
      </p:sp>
      <p:sp>
        <p:nvSpPr>
          <p:cNvPr id="173" name="object 173"/>
          <p:cNvSpPr txBox="1"/>
          <p:nvPr/>
        </p:nvSpPr>
        <p:spPr>
          <a:xfrm>
            <a:off x="6049762" y="4436156"/>
            <a:ext cx="391160" cy="66040"/>
          </a:xfrm>
          <a:prstGeom prst="rect">
            <a:avLst/>
          </a:prstGeom>
        </p:spPr>
        <p:txBody>
          <a:bodyPr vert="horz" wrap="square" lIns="0" tIns="13970" rIns="0" bIns="0" rtlCol="0">
            <a:spAutoFit/>
          </a:bodyPr>
          <a:lstStyle/>
          <a:p>
            <a:pPr>
              <a:lnSpc>
                <a:spcPct val="100000"/>
              </a:lnSpc>
              <a:spcBef>
                <a:spcPts val="110"/>
              </a:spcBef>
            </a:pPr>
            <a:r>
              <a:rPr sz="375" b="1" baseline="-33333">
                <a:solidFill>
                  <a:srgbClr val="9A5DC9"/>
                </a:solidFill>
                <a:latin typeface="Arial"/>
                <a:cs typeface="Arial"/>
              </a:rPr>
              <a:t>3 </a:t>
            </a:r>
            <a:r>
              <a:rPr sz="250" spc="-5">
                <a:solidFill>
                  <a:srgbClr val="FFFFFF"/>
                </a:solidFill>
                <a:latin typeface="Arial"/>
                <a:cs typeface="Arial"/>
              </a:rPr>
              <a:t>Process</a:t>
            </a:r>
            <a:r>
              <a:rPr sz="250" spc="-45">
                <a:solidFill>
                  <a:srgbClr val="FFFFFF"/>
                </a:solidFill>
                <a:latin typeface="Arial"/>
                <a:cs typeface="Arial"/>
              </a:rPr>
              <a:t> </a:t>
            </a:r>
            <a:r>
              <a:rPr sz="250" spc="-5">
                <a:solidFill>
                  <a:srgbClr val="FFFFFF"/>
                </a:solidFill>
                <a:latin typeface="Arial"/>
                <a:cs typeface="Arial"/>
              </a:rPr>
              <a:t>Performance</a:t>
            </a:r>
            <a:endParaRPr sz="250">
              <a:latin typeface="Arial"/>
              <a:cs typeface="Arial"/>
            </a:endParaRPr>
          </a:p>
        </p:txBody>
      </p:sp>
      <p:sp>
        <p:nvSpPr>
          <p:cNvPr id="174" name="object 174"/>
          <p:cNvSpPr/>
          <p:nvPr/>
        </p:nvSpPr>
        <p:spPr>
          <a:xfrm>
            <a:off x="6039486" y="4341359"/>
            <a:ext cx="46355" cy="50800"/>
          </a:xfrm>
          <a:custGeom>
            <a:avLst/>
            <a:gdLst/>
            <a:ahLst/>
            <a:cxnLst/>
            <a:rect l="l" t="t" r="r" b="b"/>
            <a:pathLst>
              <a:path w="46354" h="50800">
                <a:moveTo>
                  <a:pt x="0" y="0"/>
                </a:moveTo>
                <a:lnTo>
                  <a:pt x="45841" y="0"/>
                </a:lnTo>
                <a:lnTo>
                  <a:pt x="45841" y="50189"/>
                </a:lnTo>
                <a:lnTo>
                  <a:pt x="0" y="50189"/>
                </a:lnTo>
                <a:lnTo>
                  <a:pt x="0" y="0"/>
                </a:lnTo>
                <a:close/>
              </a:path>
            </a:pathLst>
          </a:custGeom>
          <a:solidFill>
            <a:srgbClr val="6C63CC"/>
          </a:solidFill>
        </p:spPr>
        <p:txBody>
          <a:bodyPr wrap="square" lIns="0" tIns="0" rIns="0" bIns="0" rtlCol="0"/>
          <a:lstStyle/>
          <a:p>
            <a:endParaRPr/>
          </a:p>
        </p:txBody>
      </p:sp>
      <p:sp>
        <p:nvSpPr>
          <p:cNvPr id="175" name="object 175"/>
          <p:cNvSpPr/>
          <p:nvPr/>
        </p:nvSpPr>
        <p:spPr>
          <a:xfrm>
            <a:off x="6039486" y="4341359"/>
            <a:ext cx="46355" cy="50800"/>
          </a:xfrm>
          <a:custGeom>
            <a:avLst/>
            <a:gdLst/>
            <a:ahLst/>
            <a:cxnLst/>
            <a:rect l="l" t="t" r="r" b="b"/>
            <a:pathLst>
              <a:path w="46354" h="50800">
                <a:moveTo>
                  <a:pt x="0" y="0"/>
                </a:moveTo>
                <a:lnTo>
                  <a:pt x="45841" y="0"/>
                </a:lnTo>
                <a:lnTo>
                  <a:pt x="45841" y="50189"/>
                </a:lnTo>
                <a:lnTo>
                  <a:pt x="0" y="50189"/>
                </a:lnTo>
                <a:lnTo>
                  <a:pt x="0" y="0"/>
                </a:lnTo>
                <a:close/>
              </a:path>
            </a:pathLst>
          </a:custGeom>
          <a:ln w="3175">
            <a:solidFill>
              <a:srgbClr val="006FAC"/>
            </a:solidFill>
          </a:ln>
        </p:spPr>
        <p:txBody>
          <a:bodyPr wrap="square" lIns="0" tIns="0" rIns="0" bIns="0" rtlCol="0"/>
          <a:lstStyle/>
          <a:p>
            <a:endParaRPr/>
          </a:p>
        </p:txBody>
      </p:sp>
      <p:sp>
        <p:nvSpPr>
          <p:cNvPr id="176" name="object 176"/>
          <p:cNvSpPr txBox="1"/>
          <p:nvPr/>
        </p:nvSpPr>
        <p:spPr>
          <a:xfrm>
            <a:off x="6039732" y="4316313"/>
            <a:ext cx="273050" cy="66040"/>
          </a:xfrm>
          <a:prstGeom prst="rect">
            <a:avLst/>
          </a:prstGeom>
        </p:spPr>
        <p:txBody>
          <a:bodyPr vert="horz" wrap="square" lIns="0" tIns="13970" rIns="0" bIns="0" rtlCol="0">
            <a:spAutoFit/>
          </a:bodyPr>
          <a:lstStyle/>
          <a:p>
            <a:pPr marL="12700">
              <a:lnSpc>
                <a:spcPct val="100000"/>
              </a:lnSpc>
              <a:spcBef>
                <a:spcPts val="110"/>
              </a:spcBef>
            </a:pPr>
            <a:r>
              <a:rPr sz="375" b="1" baseline="-33333">
                <a:solidFill>
                  <a:srgbClr val="FFFFFF"/>
                </a:solidFill>
                <a:latin typeface="Arial"/>
                <a:cs typeface="Arial"/>
              </a:rPr>
              <a:t>2 </a:t>
            </a:r>
            <a:r>
              <a:rPr sz="250" spc="-5">
                <a:solidFill>
                  <a:srgbClr val="9A5DC9"/>
                </a:solidFill>
                <a:latin typeface="Arial"/>
                <a:cs typeface="Arial"/>
              </a:rPr>
              <a:t>Agility </a:t>
            </a:r>
            <a:r>
              <a:rPr sz="250">
                <a:solidFill>
                  <a:srgbClr val="9A5DC9"/>
                </a:solidFill>
                <a:latin typeface="Arial"/>
                <a:cs typeface="Arial"/>
              </a:rPr>
              <a:t>/</a:t>
            </a:r>
            <a:r>
              <a:rPr sz="250" spc="-50">
                <a:solidFill>
                  <a:srgbClr val="9A5DC9"/>
                </a:solidFill>
                <a:latin typeface="Arial"/>
                <a:cs typeface="Arial"/>
              </a:rPr>
              <a:t> </a:t>
            </a:r>
            <a:r>
              <a:rPr sz="250">
                <a:solidFill>
                  <a:srgbClr val="9A5DC9"/>
                </a:solidFill>
                <a:latin typeface="Arial"/>
                <a:cs typeface="Arial"/>
              </a:rPr>
              <a:t>Lean</a:t>
            </a:r>
            <a:endParaRPr sz="250">
              <a:latin typeface="Arial"/>
              <a:cs typeface="Arial"/>
            </a:endParaRPr>
          </a:p>
        </p:txBody>
      </p:sp>
      <p:sp>
        <p:nvSpPr>
          <p:cNvPr id="177" name="object 177"/>
          <p:cNvSpPr/>
          <p:nvPr/>
        </p:nvSpPr>
        <p:spPr>
          <a:xfrm>
            <a:off x="6036884" y="4695550"/>
            <a:ext cx="48895" cy="47625"/>
          </a:xfrm>
          <a:custGeom>
            <a:avLst/>
            <a:gdLst/>
            <a:ahLst/>
            <a:cxnLst/>
            <a:rect l="l" t="t" r="r" b="b"/>
            <a:pathLst>
              <a:path w="48895" h="47625">
                <a:moveTo>
                  <a:pt x="0" y="0"/>
                </a:moveTo>
                <a:lnTo>
                  <a:pt x="48443" y="0"/>
                </a:lnTo>
                <a:lnTo>
                  <a:pt x="48443" y="47211"/>
                </a:lnTo>
                <a:lnTo>
                  <a:pt x="0" y="47211"/>
                </a:lnTo>
                <a:lnTo>
                  <a:pt x="0" y="0"/>
                </a:lnTo>
                <a:close/>
              </a:path>
            </a:pathLst>
          </a:custGeom>
          <a:solidFill>
            <a:srgbClr val="FFFFFF"/>
          </a:solidFill>
        </p:spPr>
        <p:txBody>
          <a:bodyPr wrap="square" lIns="0" tIns="0" rIns="0" bIns="0" rtlCol="0"/>
          <a:lstStyle/>
          <a:p>
            <a:endParaRPr/>
          </a:p>
        </p:txBody>
      </p:sp>
      <p:sp>
        <p:nvSpPr>
          <p:cNvPr id="178" name="object 178"/>
          <p:cNvSpPr/>
          <p:nvPr/>
        </p:nvSpPr>
        <p:spPr>
          <a:xfrm>
            <a:off x="6036884" y="4695550"/>
            <a:ext cx="48895" cy="47625"/>
          </a:xfrm>
          <a:custGeom>
            <a:avLst/>
            <a:gdLst/>
            <a:ahLst/>
            <a:cxnLst/>
            <a:rect l="l" t="t" r="r" b="b"/>
            <a:pathLst>
              <a:path w="48895" h="47625">
                <a:moveTo>
                  <a:pt x="0" y="0"/>
                </a:moveTo>
                <a:lnTo>
                  <a:pt x="48443" y="0"/>
                </a:lnTo>
                <a:lnTo>
                  <a:pt x="48443" y="47211"/>
                </a:lnTo>
                <a:lnTo>
                  <a:pt x="0" y="47211"/>
                </a:lnTo>
                <a:lnTo>
                  <a:pt x="0" y="0"/>
                </a:lnTo>
                <a:close/>
              </a:path>
            </a:pathLst>
          </a:custGeom>
          <a:ln w="3175">
            <a:solidFill>
              <a:srgbClr val="006FAC"/>
            </a:solidFill>
          </a:ln>
        </p:spPr>
        <p:txBody>
          <a:bodyPr wrap="square" lIns="0" tIns="0" rIns="0" bIns="0" rtlCol="0"/>
          <a:lstStyle/>
          <a:p>
            <a:endParaRPr/>
          </a:p>
        </p:txBody>
      </p:sp>
      <p:sp>
        <p:nvSpPr>
          <p:cNvPr id="179" name="object 179"/>
          <p:cNvSpPr txBox="1"/>
          <p:nvPr/>
        </p:nvSpPr>
        <p:spPr>
          <a:xfrm>
            <a:off x="5995045" y="4686993"/>
            <a:ext cx="474345" cy="66040"/>
          </a:xfrm>
          <a:prstGeom prst="rect">
            <a:avLst/>
          </a:prstGeom>
        </p:spPr>
        <p:txBody>
          <a:bodyPr vert="horz" wrap="square" lIns="0" tIns="13970" rIns="0" bIns="0" rtlCol="0">
            <a:spAutoFit/>
          </a:bodyPr>
          <a:lstStyle/>
          <a:p>
            <a:pPr marL="55880">
              <a:lnSpc>
                <a:spcPct val="100000"/>
              </a:lnSpc>
              <a:spcBef>
                <a:spcPts val="110"/>
              </a:spcBef>
            </a:pPr>
            <a:r>
              <a:rPr sz="250" b="1">
                <a:solidFill>
                  <a:srgbClr val="9A5DC9"/>
                </a:solidFill>
                <a:latin typeface="Arial"/>
                <a:cs typeface="Arial"/>
              </a:rPr>
              <a:t>5 </a:t>
            </a:r>
            <a:r>
              <a:rPr sz="250" spc="-5">
                <a:solidFill>
                  <a:srgbClr val="FFFFFF"/>
                </a:solidFill>
                <a:latin typeface="Arial"/>
                <a:cs typeface="Arial"/>
              </a:rPr>
              <a:t>Reporting</a:t>
            </a:r>
            <a:r>
              <a:rPr sz="250" spc="15">
                <a:solidFill>
                  <a:srgbClr val="FFFFFF"/>
                </a:solidFill>
                <a:latin typeface="Arial"/>
                <a:cs typeface="Arial"/>
              </a:rPr>
              <a:t> </a:t>
            </a:r>
            <a:r>
              <a:rPr sz="250" spc="-5">
                <a:solidFill>
                  <a:srgbClr val="FFFFFF"/>
                </a:solidFill>
                <a:latin typeface="Arial"/>
                <a:cs typeface="Arial"/>
              </a:rPr>
              <a:t>Strategy</a:t>
            </a:r>
            <a:endParaRPr sz="250">
              <a:latin typeface="Arial"/>
              <a:cs typeface="Arial"/>
            </a:endParaRPr>
          </a:p>
        </p:txBody>
      </p:sp>
      <p:sp>
        <p:nvSpPr>
          <p:cNvPr id="180" name="object 180"/>
          <p:cNvSpPr/>
          <p:nvPr/>
        </p:nvSpPr>
        <p:spPr>
          <a:xfrm>
            <a:off x="6039486" y="4581157"/>
            <a:ext cx="46355" cy="50800"/>
          </a:xfrm>
          <a:custGeom>
            <a:avLst/>
            <a:gdLst/>
            <a:ahLst/>
            <a:cxnLst/>
            <a:rect l="l" t="t" r="r" b="b"/>
            <a:pathLst>
              <a:path w="46354" h="50800">
                <a:moveTo>
                  <a:pt x="0" y="0"/>
                </a:moveTo>
                <a:lnTo>
                  <a:pt x="45841" y="0"/>
                </a:lnTo>
                <a:lnTo>
                  <a:pt x="45841" y="50189"/>
                </a:lnTo>
                <a:lnTo>
                  <a:pt x="0" y="50189"/>
                </a:lnTo>
                <a:lnTo>
                  <a:pt x="0" y="0"/>
                </a:lnTo>
                <a:close/>
              </a:path>
            </a:pathLst>
          </a:custGeom>
          <a:solidFill>
            <a:srgbClr val="6C63CC"/>
          </a:solidFill>
        </p:spPr>
        <p:txBody>
          <a:bodyPr wrap="square" lIns="0" tIns="0" rIns="0" bIns="0" rtlCol="0"/>
          <a:lstStyle/>
          <a:p>
            <a:endParaRPr/>
          </a:p>
        </p:txBody>
      </p:sp>
      <p:sp>
        <p:nvSpPr>
          <p:cNvPr id="181" name="object 181"/>
          <p:cNvSpPr/>
          <p:nvPr/>
        </p:nvSpPr>
        <p:spPr>
          <a:xfrm>
            <a:off x="6039486" y="4581157"/>
            <a:ext cx="46355" cy="50800"/>
          </a:xfrm>
          <a:custGeom>
            <a:avLst/>
            <a:gdLst/>
            <a:ahLst/>
            <a:cxnLst/>
            <a:rect l="l" t="t" r="r" b="b"/>
            <a:pathLst>
              <a:path w="46354" h="50800">
                <a:moveTo>
                  <a:pt x="0" y="0"/>
                </a:moveTo>
                <a:lnTo>
                  <a:pt x="45841" y="0"/>
                </a:lnTo>
                <a:lnTo>
                  <a:pt x="45841" y="50189"/>
                </a:lnTo>
                <a:lnTo>
                  <a:pt x="0" y="50189"/>
                </a:lnTo>
                <a:lnTo>
                  <a:pt x="0" y="0"/>
                </a:lnTo>
                <a:close/>
              </a:path>
            </a:pathLst>
          </a:custGeom>
          <a:ln w="3175">
            <a:solidFill>
              <a:srgbClr val="006FAC"/>
            </a:solidFill>
          </a:ln>
        </p:spPr>
        <p:txBody>
          <a:bodyPr wrap="square" lIns="0" tIns="0" rIns="0" bIns="0" rtlCol="0"/>
          <a:lstStyle/>
          <a:p>
            <a:endParaRPr/>
          </a:p>
        </p:txBody>
      </p:sp>
      <p:sp>
        <p:nvSpPr>
          <p:cNvPr id="182" name="object 182"/>
          <p:cNvSpPr txBox="1"/>
          <p:nvPr/>
        </p:nvSpPr>
        <p:spPr>
          <a:xfrm>
            <a:off x="6039530" y="4553219"/>
            <a:ext cx="340360" cy="66040"/>
          </a:xfrm>
          <a:prstGeom prst="rect">
            <a:avLst/>
          </a:prstGeom>
        </p:spPr>
        <p:txBody>
          <a:bodyPr vert="horz" wrap="square" lIns="0" tIns="13970" rIns="0" bIns="0" rtlCol="0">
            <a:spAutoFit/>
          </a:bodyPr>
          <a:lstStyle/>
          <a:p>
            <a:pPr marL="12700">
              <a:lnSpc>
                <a:spcPct val="100000"/>
              </a:lnSpc>
              <a:spcBef>
                <a:spcPts val="110"/>
              </a:spcBef>
            </a:pPr>
            <a:r>
              <a:rPr sz="375" b="1" baseline="-33333">
                <a:solidFill>
                  <a:srgbClr val="FFFFFF"/>
                </a:solidFill>
                <a:latin typeface="Arial"/>
                <a:cs typeface="Arial"/>
              </a:rPr>
              <a:t>4 </a:t>
            </a:r>
            <a:r>
              <a:rPr sz="250">
                <a:solidFill>
                  <a:srgbClr val="9A5DC9"/>
                </a:solidFill>
                <a:latin typeface="Arial"/>
                <a:cs typeface="Arial"/>
              </a:rPr>
              <a:t>IAM Strategy</a:t>
            </a:r>
            <a:r>
              <a:rPr sz="250" spc="-45">
                <a:solidFill>
                  <a:srgbClr val="9A5DC9"/>
                </a:solidFill>
                <a:latin typeface="Arial"/>
                <a:cs typeface="Arial"/>
              </a:rPr>
              <a:t> </a:t>
            </a:r>
            <a:r>
              <a:rPr sz="250" spc="-5">
                <a:solidFill>
                  <a:srgbClr val="9A5DC9"/>
                </a:solidFill>
                <a:latin typeface="Arial"/>
                <a:cs typeface="Arial"/>
              </a:rPr>
              <a:t>and</a:t>
            </a:r>
            <a:endParaRPr sz="250">
              <a:latin typeface="Arial"/>
              <a:cs typeface="Arial"/>
            </a:endParaRPr>
          </a:p>
        </p:txBody>
      </p:sp>
      <p:sp>
        <p:nvSpPr>
          <p:cNvPr id="183" name="object 183"/>
          <p:cNvSpPr/>
          <p:nvPr/>
        </p:nvSpPr>
        <p:spPr>
          <a:xfrm>
            <a:off x="6648188" y="4352704"/>
            <a:ext cx="32384" cy="33655"/>
          </a:xfrm>
          <a:custGeom>
            <a:avLst/>
            <a:gdLst/>
            <a:ahLst/>
            <a:cxnLst/>
            <a:rect l="l" t="t" r="r" b="b"/>
            <a:pathLst>
              <a:path w="32384" h="33654">
                <a:moveTo>
                  <a:pt x="25294" y="0"/>
                </a:moveTo>
                <a:lnTo>
                  <a:pt x="7257" y="0"/>
                </a:lnTo>
                <a:lnTo>
                  <a:pt x="0" y="7312"/>
                </a:lnTo>
                <a:lnTo>
                  <a:pt x="0" y="25942"/>
                </a:lnTo>
                <a:lnTo>
                  <a:pt x="7257" y="33478"/>
                </a:lnTo>
                <a:lnTo>
                  <a:pt x="25294" y="33478"/>
                </a:lnTo>
                <a:lnTo>
                  <a:pt x="32363" y="25942"/>
                </a:lnTo>
                <a:lnTo>
                  <a:pt x="32363" y="7312"/>
                </a:lnTo>
                <a:lnTo>
                  <a:pt x="25294" y="0"/>
                </a:lnTo>
                <a:close/>
              </a:path>
            </a:pathLst>
          </a:custGeom>
          <a:solidFill>
            <a:srgbClr val="00C37A"/>
          </a:solidFill>
        </p:spPr>
        <p:txBody>
          <a:bodyPr wrap="square" lIns="0" tIns="0" rIns="0" bIns="0" rtlCol="0"/>
          <a:lstStyle/>
          <a:p>
            <a:endParaRPr/>
          </a:p>
        </p:txBody>
      </p:sp>
      <p:sp>
        <p:nvSpPr>
          <p:cNvPr id="184" name="object 184"/>
          <p:cNvSpPr/>
          <p:nvPr/>
        </p:nvSpPr>
        <p:spPr>
          <a:xfrm>
            <a:off x="6648188" y="4352704"/>
            <a:ext cx="32384" cy="33655"/>
          </a:xfrm>
          <a:custGeom>
            <a:avLst/>
            <a:gdLst/>
            <a:ahLst/>
            <a:cxnLst/>
            <a:rect l="l" t="t" r="r" b="b"/>
            <a:pathLst>
              <a:path w="32384" h="33654">
                <a:moveTo>
                  <a:pt x="0" y="16683"/>
                </a:moveTo>
                <a:lnTo>
                  <a:pt x="0" y="7312"/>
                </a:lnTo>
                <a:lnTo>
                  <a:pt x="7257" y="0"/>
                </a:lnTo>
                <a:lnTo>
                  <a:pt x="16127" y="0"/>
                </a:lnTo>
                <a:lnTo>
                  <a:pt x="25294" y="0"/>
                </a:lnTo>
                <a:lnTo>
                  <a:pt x="32363" y="7312"/>
                </a:lnTo>
                <a:lnTo>
                  <a:pt x="32363" y="16683"/>
                </a:lnTo>
                <a:lnTo>
                  <a:pt x="32363" y="25942"/>
                </a:lnTo>
                <a:lnTo>
                  <a:pt x="25294" y="33478"/>
                </a:lnTo>
                <a:lnTo>
                  <a:pt x="16127" y="33478"/>
                </a:lnTo>
                <a:lnTo>
                  <a:pt x="7257" y="33478"/>
                </a:lnTo>
                <a:lnTo>
                  <a:pt x="0" y="25942"/>
                </a:lnTo>
                <a:lnTo>
                  <a:pt x="0" y="16683"/>
                </a:lnTo>
                <a:close/>
              </a:path>
            </a:pathLst>
          </a:custGeom>
          <a:ln w="3175">
            <a:solidFill>
              <a:srgbClr val="00C37A"/>
            </a:solidFill>
          </a:ln>
        </p:spPr>
        <p:txBody>
          <a:bodyPr wrap="square" lIns="0" tIns="0" rIns="0" bIns="0" rtlCol="0"/>
          <a:lstStyle/>
          <a:p>
            <a:endParaRPr/>
          </a:p>
        </p:txBody>
      </p:sp>
      <p:sp>
        <p:nvSpPr>
          <p:cNvPr id="185" name="object 185"/>
          <p:cNvSpPr/>
          <p:nvPr/>
        </p:nvSpPr>
        <p:spPr>
          <a:xfrm>
            <a:off x="6648188" y="4592279"/>
            <a:ext cx="29845" cy="31115"/>
          </a:xfrm>
          <a:custGeom>
            <a:avLst/>
            <a:gdLst/>
            <a:ahLst/>
            <a:cxnLst/>
            <a:rect l="l" t="t" r="r" b="b"/>
            <a:pathLst>
              <a:path w="29845" h="31114">
                <a:moveTo>
                  <a:pt x="23009" y="0"/>
                </a:moveTo>
                <a:lnTo>
                  <a:pt x="6666" y="0"/>
                </a:lnTo>
                <a:lnTo>
                  <a:pt x="0" y="6895"/>
                </a:lnTo>
                <a:lnTo>
                  <a:pt x="0" y="23829"/>
                </a:lnTo>
                <a:lnTo>
                  <a:pt x="6666" y="30725"/>
                </a:lnTo>
                <a:lnTo>
                  <a:pt x="23009" y="30725"/>
                </a:lnTo>
                <a:lnTo>
                  <a:pt x="29675" y="23829"/>
                </a:lnTo>
                <a:lnTo>
                  <a:pt x="29675" y="6895"/>
                </a:lnTo>
                <a:lnTo>
                  <a:pt x="23009" y="0"/>
                </a:lnTo>
                <a:close/>
              </a:path>
            </a:pathLst>
          </a:custGeom>
          <a:solidFill>
            <a:srgbClr val="00C37A"/>
          </a:solidFill>
        </p:spPr>
        <p:txBody>
          <a:bodyPr wrap="square" lIns="0" tIns="0" rIns="0" bIns="0" rtlCol="0"/>
          <a:lstStyle/>
          <a:p>
            <a:endParaRPr/>
          </a:p>
        </p:txBody>
      </p:sp>
      <p:sp>
        <p:nvSpPr>
          <p:cNvPr id="186" name="object 186"/>
          <p:cNvSpPr/>
          <p:nvPr/>
        </p:nvSpPr>
        <p:spPr>
          <a:xfrm>
            <a:off x="6648188" y="4592279"/>
            <a:ext cx="29845" cy="31115"/>
          </a:xfrm>
          <a:custGeom>
            <a:avLst/>
            <a:gdLst/>
            <a:ahLst/>
            <a:cxnLst/>
            <a:rect l="l" t="t" r="r" b="b"/>
            <a:pathLst>
              <a:path w="29845" h="31114">
                <a:moveTo>
                  <a:pt x="0" y="15460"/>
                </a:moveTo>
                <a:lnTo>
                  <a:pt x="0" y="6895"/>
                </a:lnTo>
                <a:lnTo>
                  <a:pt x="6666" y="0"/>
                </a:lnTo>
                <a:lnTo>
                  <a:pt x="14945" y="0"/>
                </a:lnTo>
                <a:lnTo>
                  <a:pt x="23009" y="0"/>
                </a:lnTo>
                <a:lnTo>
                  <a:pt x="29675" y="6895"/>
                </a:lnTo>
                <a:lnTo>
                  <a:pt x="29675" y="15460"/>
                </a:lnTo>
                <a:lnTo>
                  <a:pt x="29675" y="23829"/>
                </a:lnTo>
                <a:lnTo>
                  <a:pt x="23009" y="30725"/>
                </a:lnTo>
                <a:lnTo>
                  <a:pt x="14945" y="30725"/>
                </a:lnTo>
                <a:lnTo>
                  <a:pt x="6666" y="30725"/>
                </a:lnTo>
                <a:lnTo>
                  <a:pt x="0" y="23829"/>
                </a:lnTo>
                <a:lnTo>
                  <a:pt x="0" y="15460"/>
                </a:lnTo>
                <a:close/>
              </a:path>
            </a:pathLst>
          </a:custGeom>
          <a:ln w="3175">
            <a:solidFill>
              <a:srgbClr val="00C37A"/>
            </a:solidFill>
          </a:ln>
        </p:spPr>
        <p:txBody>
          <a:bodyPr wrap="square" lIns="0" tIns="0" rIns="0" bIns="0" rtlCol="0"/>
          <a:lstStyle/>
          <a:p>
            <a:endParaRPr/>
          </a:p>
        </p:txBody>
      </p:sp>
      <p:sp>
        <p:nvSpPr>
          <p:cNvPr id="187" name="object 187"/>
          <p:cNvSpPr/>
          <p:nvPr/>
        </p:nvSpPr>
        <p:spPr>
          <a:xfrm>
            <a:off x="6651038" y="4238311"/>
            <a:ext cx="29845" cy="31115"/>
          </a:xfrm>
          <a:custGeom>
            <a:avLst/>
            <a:gdLst/>
            <a:ahLst/>
            <a:cxnLst/>
            <a:rect l="l" t="t" r="r" b="b"/>
            <a:pathLst>
              <a:path w="29845" h="31114">
                <a:moveTo>
                  <a:pt x="23036" y="0"/>
                </a:moveTo>
                <a:lnTo>
                  <a:pt x="6612" y="0"/>
                </a:lnTo>
                <a:lnTo>
                  <a:pt x="0" y="6895"/>
                </a:lnTo>
                <a:lnTo>
                  <a:pt x="0" y="23885"/>
                </a:lnTo>
                <a:lnTo>
                  <a:pt x="6612" y="30781"/>
                </a:lnTo>
                <a:lnTo>
                  <a:pt x="23036" y="30781"/>
                </a:lnTo>
                <a:lnTo>
                  <a:pt x="29514" y="23885"/>
                </a:lnTo>
                <a:lnTo>
                  <a:pt x="29514" y="6895"/>
                </a:lnTo>
                <a:lnTo>
                  <a:pt x="23036" y="0"/>
                </a:lnTo>
                <a:close/>
              </a:path>
            </a:pathLst>
          </a:custGeom>
          <a:solidFill>
            <a:srgbClr val="00C37A"/>
          </a:solidFill>
        </p:spPr>
        <p:txBody>
          <a:bodyPr wrap="square" lIns="0" tIns="0" rIns="0" bIns="0" rtlCol="0"/>
          <a:lstStyle/>
          <a:p>
            <a:endParaRPr/>
          </a:p>
        </p:txBody>
      </p:sp>
      <p:sp>
        <p:nvSpPr>
          <p:cNvPr id="188" name="object 188"/>
          <p:cNvSpPr/>
          <p:nvPr/>
        </p:nvSpPr>
        <p:spPr>
          <a:xfrm>
            <a:off x="6651038" y="4238311"/>
            <a:ext cx="29845" cy="31115"/>
          </a:xfrm>
          <a:custGeom>
            <a:avLst/>
            <a:gdLst/>
            <a:ahLst/>
            <a:cxnLst/>
            <a:rect l="l" t="t" r="r" b="b"/>
            <a:pathLst>
              <a:path w="29845" h="31114">
                <a:moveTo>
                  <a:pt x="0" y="15265"/>
                </a:moveTo>
                <a:lnTo>
                  <a:pt x="0" y="6895"/>
                </a:lnTo>
                <a:lnTo>
                  <a:pt x="6612" y="0"/>
                </a:lnTo>
                <a:lnTo>
                  <a:pt x="14757" y="0"/>
                </a:lnTo>
                <a:lnTo>
                  <a:pt x="23036" y="0"/>
                </a:lnTo>
                <a:lnTo>
                  <a:pt x="29514" y="6895"/>
                </a:lnTo>
                <a:lnTo>
                  <a:pt x="29514" y="15265"/>
                </a:lnTo>
                <a:lnTo>
                  <a:pt x="29514" y="23885"/>
                </a:lnTo>
                <a:lnTo>
                  <a:pt x="23036" y="30781"/>
                </a:lnTo>
                <a:lnTo>
                  <a:pt x="14757" y="30781"/>
                </a:lnTo>
                <a:lnTo>
                  <a:pt x="6612" y="30781"/>
                </a:lnTo>
                <a:lnTo>
                  <a:pt x="0" y="23885"/>
                </a:lnTo>
                <a:lnTo>
                  <a:pt x="0" y="15265"/>
                </a:lnTo>
                <a:close/>
              </a:path>
            </a:pathLst>
          </a:custGeom>
          <a:ln w="3175">
            <a:solidFill>
              <a:srgbClr val="00C37A"/>
            </a:solidFill>
          </a:ln>
        </p:spPr>
        <p:txBody>
          <a:bodyPr wrap="square" lIns="0" tIns="0" rIns="0" bIns="0" rtlCol="0"/>
          <a:lstStyle/>
          <a:p>
            <a:endParaRPr/>
          </a:p>
        </p:txBody>
      </p:sp>
      <p:sp>
        <p:nvSpPr>
          <p:cNvPr id="189" name="object 189"/>
          <p:cNvSpPr/>
          <p:nvPr/>
        </p:nvSpPr>
        <p:spPr>
          <a:xfrm>
            <a:off x="6774901" y="4681535"/>
            <a:ext cx="32384" cy="33655"/>
          </a:xfrm>
          <a:custGeom>
            <a:avLst/>
            <a:gdLst/>
            <a:ahLst/>
            <a:cxnLst/>
            <a:rect l="l" t="t" r="r" b="b"/>
            <a:pathLst>
              <a:path w="32384" h="33654">
                <a:moveTo>
                  <a:pt x="25025" y="0"/>
                </a:moveTo>
                <a:lnTo>
                  <a:pt x="7257" y="0"/>
                </a:lnTo>
                <a:lnTo>
                  <a:pt x="0" y="7535"/>
                </a:lnTo>
                <a:lnTo>
                  <a:pt x="0" y="25942"/>
                </a:lnTo>
                <a:lnTo>
                  <a:pt x="7257" y="33478"/>
                </a:lnTo>
                <a:lnTo>
                  <a:pt x="25025" y="33478"/>
                </a:lnTo>
                <a:lnTo>
                  <a:pt x="32282" y="25942"/>
                </a:lnTo>
                <a:lnTo>
                  <a:pt x="32282" y="7535"/>
                </a:lnTo>
                <a:lnTo>
                  <a:pt x="25025" y="0"/>
                </a:lnTo>
                <a:close/>
              </a:path>
            </a:pathLst>
          </a:custGeom>
          <a:solidFill>
            <a:srgbClr val="00C37A"/>
          </a:solidFill>
        </p:spPr>
        <p:txBody>
          <a:bodyPr wrap="square" lIns="0" tIns="0" rIns="0" bIns="0" rtlCol="0"/>
          <a:lstStyle/>
          <a:p>
            <a:endParaRPr/>
          </a:p>
        </p:txBody>
      </p:sp>
      <p:sp>
        <p:nvSpPr>
          <p:cNvPr id="190" name="object 190"/>
          <p:cNvSpPr/>
          <p:nvPr/>
        </p:nvSpPr>
        <p:spPr>
          <a:xfrm>
            <a:off x="6774901" y="4681535"/>
            <a:ext cx="32384" cy="33655"/>
          </a:xfrm>
          <a:custGeom>
            <a:avLst/>
            <a:gdLst/>
            <a:ahLst/>
            <a:cxnLst/>
            <a:rect l="l" t="t" r="r" b="b"/>
            <a:pathLst>
              <a:path w="32384" h="33654">
                <a:moveTo>
                  <a:pt x="0" y="16711"/>
                </a:moveTo>
                <a:lnTo>
                  <a:pt x="0" y="7535"/>
                </a:lnTo>
                <a:lnTo>
                  <a:pt x="7257" y="0"/>
                </a:lnTo>
                <a:lnTo>
                  <a:pt x="16154" y="0"/>
                </a:lnTo>
                <a:lnTo>
                  <a:pt x="25025" y="0"/>
                </a:lnTo>
                <a:lnTo>
                  <a:pt x="32282" y="7535"/>
                </a:lnTo>
                <a:lnTo>
                  <a:pt x="32282" y="16711"/>
                </a:lnTo>
                <a:lnTo>
                  <a:pt x="32282" y="25942"/>
                </a:lnTo>
                <a:lnTo>
                  <a:pt x="25025" y="33478"/>
                </a:lnTo>
                <a:lnTo>
                  <a:pt x="16154" y="33478"/>
                </a:lnTo>
                <a:lnTo>
                  <a:pt x="7257" y="33478"/>
                </a:lnTo>
                <a:lnTo>
                  <a:pt x="0" y="25942"/>
                </a:lnTo>
                <a:lnTo>
                  <a:pt x="0" y="16711"/>
                </a:lnTo>
                <a:close/>
              </a:path>
            </a:pathLst>
          </a:custGeom>
          <a:ln w="3175">
            <a:solidFill>
              <a:srgbClr val="00C37A"/>
            </a:solidFill>
          </a:ln>
        </p:spPr>
        <p:txBody>
          <a:bodyPr wrap="square" lIns="0" tIns="0" rIns="0" bIns="0" rtlCol="0"/>
          <a:lstStyle/>
          <a:p>
            <a:endParaRPr/>
          </a:p>
        </p:txBody>
      </p:sp>
      <p:sp>
        <p:nvSpPr>
          <p:cNvPr id="191" name="object 191"/>
          <p:cNvSpPr/>
          <p:nvPr/>
        </p:nvSpPr>
        <p:spPr>
          <a:xfrm>
            <a:off x="6032815" y="4919884"/>
            <a:ext cx="61789" cy="61225"/>
          </a:xfrm>
          <a:prstGeom prst="rect">
            <a:avLst/>
          </a:prstGeom>
          <a:blipFill>
            <a:blip r:embed="rId2" cstate="print"/>
            <a:stretch>
              <a:fillRect/>
            </a:stretch>
          </a:blipFill>
        </p:spPr>
        <p:txBody>
          <a:bodyPr wrap="square" lIns="0" tIns="0" rIns="0" bIns="0" rtlCol="0"/>
          <a:lstStyle/>
          <a:p>
            <a:endParaRPr/>
          </a:p>
        </p:txBody>
      </p:sp>
      <p:sp>
        <p:nvSpPr>
          <p:cNvPr id="192" name="object 192"/>
          <p:cNvSpPr/>
          <p:nvPr/>
        </p:nvSpPr>
        <p:spPr>
          <a:xfrm>
            <a:off x="6653645" y="4935139"/>
            <a:ext cx="29845" cy="33655"/>
          </a:xfrm>
          <a:custGeom>
            <a:avLst/>
            <a:gdLst/>
            <a:ahLst/>
            <a:cxnLst/>
            <a:rect l="l" t="t" r="r" b="b"/>
            <a:pathLst>
              <a:path w="29845" h="33654">
                <a:moveTo>
                  <a:pt x="23036" y="0"/>
                </a:moveTo>
                <a:lnTo>
                  <a:pt x="6693" y="0"/>
                </a:lnTo>
                <a:lnTo>
                  <a:pt x="0" y="7524"/>
                </a:lnTo>
                <a:lnTo>
                  <a:pt x="0" y="25884"/>
                </a:lnTo>
                <a:lnTo>
                  <a:pt x="6693" y="33408"/>
                </a:lnTo>
                <a:lnTo>
                  <a:pt x="23036" y="33408"/>
                </a:lnTo>
                <a:lnTo>
                  <a:pt x="29702" y="25884"/>
                </a:lnTo>
                <a:lnTo>
                  <a:pt x="29702" y="7524"/>
                </a:lnTo>
                <a:lnTo>
                  <a:pt x="23036" y="0"/>
                </a:lnTo>
                <a:close/>
              </a:path>
            </a:pathLst>
          </a:custGeom>
          <a:solidFill>
            <a:srgbClr val="086FAC"/>
          </a:solidFill>
        </p:spPr>
        <p:txBody>
          <a:bodyPr wrap="square" lIns="0" tIns="0" rIns="0" bIns="0" rtlCol="0"/>
          <a:lstStyle/>
          <a:p>
            <a:endParaRPr/>
          </a:p>
        </p:txBody>
      </p:sp>
      <p:sp>
        <p:nvSpPr>
          <p:cNvPr id="193" name="object 193"/>
          <p:cNvSpPr/>
          <p:nvPr/>
        </p:nvSpPr>
        <p:spPr>
          <a:xfrm>
            <a:off x="6653645" y="4935139"/>
            <a:ext cx="29845" cy="33655"/>
          </a:xfrm>
          <a:custGeom>
            <a:avLst/>
            <a:gdLst/>
            <a:ahLst/>
            <a:cxnLst/>
            <a:rect l="l" t="t" r="r" b="b"/>
            <a:pathLst>
              <a:path w="29845" h="33654">
                <a:moveTo>
                  <a:pt x="0" y="16702"/>
                </a:moveTo>
                <a:lnTo>
                  <a:pt x="0" y="7524"/>
                </a:lnTo>
                <a:lnTo>
                  <a:pt x="6693" y="0"/>
                </a:lnTo>
                <a:lnTo>
                  <a:pt x="14757" y="0"/>
                </a:lnTo>
                <a:lnTo>
                  <a:pt x="23036" y="0"/>
                </a:lnTo>
                <a:lnTo>
                  <a:pt x="29702" y="7524"/>
                </a:lnTo>
                <a:lnTo>
                  <a:pt x="29702" y="16702"/>
                </a:lnTo>
                <a:lnTo>
                  <a:pt x="29702" y="25884"/>
                </a:lnTo>
                <a:lnTo>
                  <a:pt x="23036" y="33408"/>
                </a:lnTo>
                <a:lnTo>
                  <a:pt x="14757" y="33408"/>
                </a:lnTo>
                <a:lnTo>
                  <a:pt x="6693" y="33408"/>
                </a:lnTo>
                <a:lnTo>
                  <a:pt x="0" y="25884"/>
                </a:lnTo>
                <a:lnTo>
                  <a:pt x="0" y="16702"/>
                </a:lnTo>
                <a:close/>
              </a:path>
            </a:pathLst>
          </a:custGeom>
          <a:ln w="3175">
            <a:solidFill>
              <a:srgbClr val="086FAC"/>
            </a:solidFill>
          </a:ln>
        </p:spPr>
        <p:txBody>
          <a:bodyPr wrap="square" lIns="0" tIns="0" rIns="0" bIns="0" rtlCol="0"/>
          <a:lstStyle/>
          <a:p>
            <a:endParaRPr/>
          </a:p>
        </p:txBody>
      </p:sp>
      <p:sp>
        <p:nvSpPr>
          <p:cNvPr id="194" name="object 194"/>
          <p:cNvSpPr/>
          <p:nvPr/>
        </p:nvSpPr>
        <p:spPr>
          <a:xfrm>
            <a:off x="4679008" y="4958230"/>
            <a:ext cx="607695" cy="145415"/>
          </a:xfrm>
          <a:custGeom>
            <a:avLst/>
            <a:gdLst/>
            <a:ahLst/>
            <a:cxnLst/>
            <a:rect l="l" t="t" r="r" b="b"/>
            <a:pathLst>
              <a:path w="607695" h="145414">
                <a:moveTo>
                  <a:pt x="0" y="0"/>
                </a:moveTo>
                <a:lnTo>
                  <a:pt x="607324" y="0"/>
                </a:lnTo>
                <a:lnTo>
                  <a:pt x="607324" y="145054"/>
                </a:lnTo>
                <a:lnTo>
                  <a:pt x="0" y="145054"/>
                </a:lnTo>
                <a:lnTo>
                  <a:pt x="0" y="0"/>
                </a:lnTo>
                <a:close/>
              </a:path>
            </a:pathLst>
          </a:custGeom>
          <a:solidFill>
            <a:srgbClr val="006FAC"/>
          </a:solidFill>
        </p:spPr>
        <p:txBody>
          <a:bodyPr wrap="square" lIns="0" tIns="0" rIns="0" bIns="0" rtlCol="0"/>
          <a:lstStyle/>
          <a:p>
            <a:endParaRPr/>
          </a:p>
        </p:txBody>
      </p:sp>
      <p:sp>
        <p:nvSpPr>
          <p:cNvPr id="195" name="object 195"/>
          <p:cNvSpPr/>
          <p:nvPr/>
        </p:nvSpPr>
        <p:spPr>
          <a:xfrm>
            <a:off x="4675590" y="4675220"/>
            <a:ext cx="610870" cy="145415"/>
          </a:xfrm>
          <a:custGeom>
            <a:avLst/>
            <a:gdLst/>
            <a:ahLst/>
            <a:cxnLst/>
            <a:rect l="l" t="t" r="r" b="b"/>
            <a:pathLst>
              <a:path w="610870" h="145414">
                <a:moveTo>
                  <a:pt x="0" y="0"/>
                </a:moveTo>
                <a:lnTo>
                  <a:pt x="610742" y="0"/>
                </a:lnTo>
                <a:lnTo>
                  <a:pt x="610742" y="144985"/>
                </a:lnTo>
                <a:lnTo>
                  <a:pt x="0" y="144985"/>
                </a:lnTo>
                <a:lnTo>
                  <a:pt x="0" y="0"/>
                </a:lnTo>
                <a:close/>
              </a:path>
            </a:pathLst>
          </a:custGeom>
          <a:solidFill>
            <a:srgbClr val="006FAC"/>
          </a:solidFill>
        </p:spPr>
        <p:txBody>
          <a:bodyPr wrap="square" lIns="0" tIns="0" rIns="0" bIns="0" rtlCol="0"/>
          <a:lstStyle/>
          <a:p>
            <a:endParaRPr/>
          </a:p>
        </p:txBody>
      </p:sp>
      <p:sp>
        <p:nvSpPr>
          <p:cNvPr id="196" name="object 196"/>
          <p:cNvSpPr/>
          <p:nvPr/>
        </p:nvSpPr>
        <p:spPr>
          <a:xfrm>
            <a:off x="4675590" y="4378152"/>
            <a:ext cx="610870" cy="145415"/>
          </a:xfrm>
          <a:custGeom>
            <a:avLst/>
            <a:gdLst/>
            <a:ahLst/>
            <a:cxnLst/>
            <a:rect l="l" t="t" r="r" b="b"/>
            <a:pathLst>
              <a:path w="610870" h="145414">
                <a:moveTo>
                  <a:pt x="0" y="0"/>
                </a:moveTo>
                <a:lnTo>
                  <a:pt x="610742" y="0"/>
                </a:lnTo>
                <a:lnTo>
                  <a:pt x="610742" y="144985"/>
                </a:lnTo>
                <a:lnTo>
                  <a:pt x="0" y="144985"/>
                </a:lnTo>
                <a:lnTo>
                  <a:pt x="0" y="0"/>
                </a:lnTo>
                <a:close/>
              </a:path>
            </a:pathLst>
          </a:custGeom>
          <a:solidFill>
            <a:srgbClr val="006FAC"/>
          </a:solidFill>
        </p:spPr>
        <p:txBody>
          <a:bodyPr wrap="square" lIns="0" tIns="0" rIns="0" bIns="0" rtlCol="0"/>
          <a:lstStyle/>
          <a:p>
            <a:endParaRPr/>
          </a:p>
        </p:txBody>
      </p:sp>
      <p:sp>
        <p:nvSpPr>
          <p:cNvPr id="197" name="object 197"/>
          <p:cNvSpPr/>
          <p:nvPr/>
        </p:nvSpPr>
        <p:spPr>
          <a:xfrm>
            <a:off x="4732596" y="4424769"/>
            <a:ext cx="59055" cy="59055"/>
          </a:xfrm>
          <a:custGeom>
            <a:avLst/>
            <a:gdLst/>
            <a:ahLst/>
            <a:cxnLst/>
            <a:rect l="l" t="t" r="r" b="b"/>
            <a:pathLst>
              <a:path w="59054" h="59054">
                <a:moveTo>
                  <a:pt x="0" y="0"/>
                </a:moveTo>
                <a:lnTo>
                  <a:pt x="58458" y="0"/>
                </a:lnTo>
                <a:lnTo>
                  <a:pt x="58458" y="58779"/>
                </a:lnTo>
                <a:lnTo>
                  <a:pt x="0" y="58779"/>
                </a:lnTo>
                <a:lnTo>
                  <a:pt x="0" y="0"/>
                </a:lnTo>
                <a:close/>
              </a:path>
            </a:pathLst>
          </a:custGeom>
          <a:solidFill>
            <a:srgbClr val="FFFFFF"/>
          </a:solidFill>
        </p:spPr>
        <p:txBody>
          <a:bodyPr wrap="square" lIns="0" tIns="0" rIns="0" bIns="0" rtlCol="0"/>
          <a:lstStyle/>
          <a:p>
            <a:endParaRPr/>
          </a:p>
        </p:txBody>
      </p:sp>
      <p:sp>
        <p:nvSpPr>
          <p:cNvPr id="198" name="object 198"/>
          <p:cNvSpPr/>
          <p:nvPr/>
        </p:nvSpPr>
        <p:spPr>
          <a:xfrm>
            <a:off x="4732596" y="4424769"/>
            <a:ext cx="59055" cy="59055"/>
          </a:xfrm>
          <a:custGeom>
            <a:avLst/>
            <a:gdLst/>
            <a:ahLst/>
            <a:cxnLst/>
            <a:rect l="l" t="t" r="r" b="b"/>
            <a:pathLst>
              <a:path w="59054" h="59054">
                <a:moveTo>
                  <a:pt x="0" y="0"/>
                </a:moveTo>
                <a:lnTo>
                  <a:pt x="58458" y="0"/>
                </a:lnTo>
                <a:lnTo>
                  <a:pt x="58458" y="58779"/>
                </a:lnTo>
                <a:lnTo>
                  <a:pt x="0" y="58779"/>
                </a:lnTo>
                <a:lnTo>
                  <a:pt x="0" y="0"/>
                </a:lnTo>
                <a:close/>
              </a:path>
            </a:pathLst>
          </a:custGeom>
          <a:ln w="3334">
            <a:solidFill>
              <a:srgbClr val="006FAC"/>
            </a:solidFill>
          </a:ln>
        </p:spPr>
        <p:txBody>
          <a:bodyPr wrap="square" lIns="0" tIns="0" rIns="0" bIns="0" rtlCol="0"/>
          <a:lstStyle/>
          <a:p>
            <a:endParaRPr/>
          </a:p>
        </p:txBody>
      </p:sp>
      <p:sp>
        <p:nvSpPr>
          <p:cNvPr id="199" name="object 199"/>
          <p:cNvSpPr txBox="1"/>
          <p:nvPr/>
        </p:nvSpPr>
        <p:spPr>
          <a:xfrm>
            <a:off x="4823138" y="4966323"/>
            <a:ext cx="255270" cy="75565"/>
          </a:xfrm>
          <a:prstGeom prst="rect">
            <a:avLst/>
          </a:prstGeom>
        </p:spPr>
        <p:txBody>
          <a:bodyPr vert="horz" wrap="square" lIns="0" tIns="15875" rIns="0" bIns="0" rtlCol="0">
            <a:spAutoFit/>
          </a:bodyPr>
          <a:lstStyle/>
          <a:p>
            <a:pPr marL="12700">
              <a:lnSpc>
                <a:spcPct val="100000"/>
              </a:lnSpc>
              <a:spcBef>
                <a:spcPts val="125"/>
              </a:spcBef>
            </a:pPr>
            <a:r>
              <a:rPr sz="300" spc="5">
                <a:solidFill>
                  <a:srgbClr val="FFFFFF"/>
                </a:solidFill>
                <a:latin typeface="Arial"/>
                <a:cs typeface="Arial"/>
              </a:rPr>
              <a:t>Security</a:t>
            </a:r>
            <a:r>
              <a:rPr sz="300" spc="-20">
                <a:solidFill>
                  <a:srgbClr val="FFFFFF"/>
                </a:solidFill>
                <a:latin typeface="Arial"/>
                <a:cs typeface="Arial"/>
              </a:rPr>
              <a:t> </a:t>
            </a:r>
            <a:r>
              <a:rPr sz="300" spc="10">
                <a:solidFill>
                  <a:srgbClr val="FFFFFF"/>
                </a:solidFill>
                <a:latin typeface="Arial"/>
                <a:cs typeface="Arial"/>
              </a:rPr>
              <a:t>and</a:t>
            </a:r>
            <a:endParaRPr sz="300">
              <a:latin typeface="Arial"/>
              <a:cs typeface="Arial"/>
            </a:endParaRPr>
          </a:p>
        </p:txBody>
      </p:sp>
      <p:sp>
        <p:nvSpPr>
          <p:cNvPr id="200" name="object 200"/>
          <p:cNvSpPr/>
          <p:nvPr/>
        </p:nvSpPr>
        <p:spPr>
          <a:xfrm>
            <a:off x="4732596" y="5153243"/>
            <a:ext cx="59055" cy="62230"/>
          </a:xfrm>
          <a:custGeom>
            <a:avLst/>
            <a:gdLst/>
            <a:ahLst/>
            <a:cxnLst/>
            <a:rect l="l" t="t" r="r" b="b"/>
            <a:pathLst>
              <a:path w="59054" h="62229">
                <a:moveTo>
                  <a:pt x="0" y="0"/>
                </a:moveTo>
                <a:lnTo>
                  <a:pt x="58458" y="0"/>
                </a:lnTo>
                <a:lnTo>
                  <a:pt x="58458" y="62190"/>
                </a:lnTo>
                <a:lnTo>
                  <a:pt x="0" y="62190"/>
                </a:lnTo>
                <a:lnTo>
                  <a:pt x="0" y="0"/>
                </a:lnTo>
                <a:close/>
              </a:path>
            </a:pathLst>
          </a:custGeom>
          <a:solidFill>
            <a:srgbClr val="006FAC"/>
          </a:solidFill>
        </p:spPr>
        <p:txBody>
          <a:bodyPr wrap="square" lIns="0" tIns="0" rIns="0" bIns="0" rtlCol="0"/>
          <a:lstStyle/>
          <a:p>
            <a:endParaRPr/>
          </a:p>
        </p:txBody>
      </p:sp>
      <p:sp>
        <p:nvSpPr>
          <p:cNvPr id="201" name="object 201"/>
          <p:cNvSpPr/>
          <p:nvPr/>
        </p:nvSpPr>
        <p:spPr>
          <a:xfrm>
            <a:off x="4732596" y="5153243"/>
            <a:ext cx="59055" cy="62230"/>
          </a:xfrm>
          <a:custGeom>
            <a:avLst/>
            <a:gdLst/>
            <a:ahLst/>
            <a:cxnLst/>
            <a:rect l="l" t="t" r="r" b="b"/>
            <a:pathLst>
              <a:path w="59054" h="62229">
                <a:moveTo>
                  <a:pt x="0" y="0"/>
                </a:moveTo>
                <a:lnTo>
                  <a:pt x="58458" y="0"/>
                </a:lnTo>
                <a:lnTo>
                  <a:pt x="58458" y="62190"/>
                </a:lnTo>
                <a:lnTo>
                  <a:pt x="0" y="62190"/>
                </a:lnTo>
                <a:lnTo>
                  <a:pt x="0" y="0"/>
                </a:lnTo>
                <a:close/>
              </a:path>
            </a:pathLst>
          </a:custGeom>
          <a:ln w="3334">
            <a:solidFill>
              <a:srgbClr val="006FAC"/>
            </a:solidFill>
          </a:ln>
        </p:spPr>
        <p:txBody>
          <a:bodyPr wrap="square" lIns="0" tIns="0" rIns="0" bIns="0" rtlCol="0"/>
          <a:lstStyle/>
          <a:p>
            <a:endParaRPr/>
          </a:p>
        </p:txBody>
      </p:sp>
      <p:sp>
        <p:nvSpPr>
          <p:cNvPr id="202" name="object 202"/>
          <p:cNvSpPr txBox="1"/>
          <p:nvPr/>
        </p:nvSpPr>
        <p:spPr>
          <a:xfrm>
            <a:off x="4810148" y="5405017"/>
            <a:ext cx="174625" cy="75565"/>
          </a:xfrm>
          <a:prstGeom prst="rect">
            <a:avLst/>
          </a:prstGeom>
        </p:spPr>
        <p:txBody>
          <a:bodyPr vert="horz" wrap="square" lIns="0" tIns="15875" rIns="0" bIns="0" rtlCol="0">
            <a:spAutoFit/>
          </a:bodyPr>
          <a:lstStyle/>
          <a:p>
            <a:pPr marL="12700">
              <a:lnSpc>
                <a:spcPct val="100000"/>
              </a:lnSpc>
              <a:spcBef>
                <a:spcPts val="125"/>
              </a:spcBef>
            </a:pPr>
            <a:r>
              <a:rPr sz="300" spc="5">
                <a:solidFill>
                  <a:srgbClr val="006FAC"/>
                </a:solidFill>
                <a:latin typeface="Arial"/>
                <a:cs typeface="Arial"/>
              </a:rPr>
              <a:t>Delivery</a:t>
            </a:r>
            <a:endParaRPr sz="300">
              <a:latin typeface="Arial"/>
              <a:cs typeface="Arial"/>
            </a:endParaRPr>
          </a:p>
        </p:txBody>
      </p:sp>
      <p:sp>
        <p:nvSpPr>
          <p:cNvPr id="203" name="object 203"/>
          <p:cNvSpPr/>
          <p:nvPr/>
        </p:nvSpPr>
        <p:spPr>
          <a:xfrm>
            <a:off x="4735928" y="5260507"/>
            <a:ext cx="62230" cy="59055"/>
          </a:xfrm>
          <a:custGeom>
            <a:avLst/>
            <a:gdLst/>
            <a:ahLst/>
            <a:cxnLst/>
            <a:rect l="l" t="t" r="r" b="b"/>
            <a:pathLst>
              <a:path w="62229" h="59054">
                <a:moveTo>
                  <a:pt x="0" y="0"/>
                </a:moveTo>
                <a:lnTo>
                  <a:pt x="62131" y="0"/>
                </a:lnTo>
                <a:lnTo>
                  <a:pt x="62131" y="58503"/>
                </a:lnTo>
                <a:lnTo>
                  <a:pt x="0" y="58503"/>
                </a:lnTo>
                <a:lnTo>
                  <a:pt x="0" y="0"/>
                </a:lnTo>
                <a:close/>
              </a:path>
            </a:pathLst>
          </a:custGeom>
          <a:ln w="3334">
            <a:solidFill>
              <a:srgbClr val="006FAC"/>
            </a:solidFill>
          </a:ln>
        </p:spPr>
        <p:txBody>
          <a:bodyPr wrap="square" lIns="0" tIns="0" rIns="0" bIns="0" rtlCol="0"/>
          <a:lstStyle/>
          <a:p>
            <a:endParaRPr/>
          </a:p>
        </p:txBody>
      </p:sp>
      <p:sp>
        <p:nvSpPr>
          <p:cNvPr id="204" name="object 204"/>
          <p:cNvSpPr txBox="1"/>
          <p:nvPr/>
        </p:nvSpPr>
        <p:spPr>
          <a:xfrm>
            <a:off x="4753276" y="5266314"/>
            <a:ext cx="23495" cy="46355"/>
          </a:xfrm>
          <a:prstGeom prst="rect">
            <a:avLst/>
          </a:prstGeom>
        </p:spPr>
        <p:txBody>
          <a:bodyPr vert="horz" wrap="square" lIns="0" tIns="0" rIns="0" bIns="0" rtlCol="0">
            <a:spAutoFit/>
          </a:bodyPr>
          <a:lstStyle/>
          <a:p>
            <a:pPr>
              <a:lnSpc>
                <a:spcPts val="355"/>
              </a:lnSpc>
            </a:pPr>
            <a:r>
              <a:rPr sz="300" b="1" spc="10">
                <a:solidFill>
                  <a:srgbClr val="FFFFFF"/>
                </a:solidFill>
                <a:latin typeface="Arial"/>
                <a:cs typeface="Arial"/>
              </a:rPr>
              <a:t>6</a:t>
            </a:r>
            <a:endParaRPr sz="300">
              <a:latin typeface="Arial"/>
              <a:cs typeface="Arial"/>
            </a:endParaRPr>
          </a:p>
        </p:txBody>
      </p:sp>
      <p:sp>
        <p:nvSpPr>
          <p:cNvPr id="205" name="object 205"/>
          <p:cNvSpPr txBox="1"/>
          <p:nvPr/>
        </p:nvSpPr>
        <p:spPr>
          <a:xfrm>
            <a:off x="4736132" y="4413878"/>
            <a:ext cx="374015" cy="75565"/>
          </a:xfrm>
          <a:prstGeom prst="rect">
            <a:avLst/>
          </a:prstGeom>
        </p:spPr>
        <p:txBody>
          <a:bodyPr vert="horz" wrap="square" lIns="0" tIns="15875" rIns="0" bIns="0" rtlCol="0">
            <a:spAutoFit/>
          </a:bodyPr>
          <a:lstStyle/>
          <a:p>
            <a:pPr marL="12700">
              <a:lnSpc>
                <a:spcPct val="100000"/>
              </a:lnSpc>
              <a:spcBef>
                <a:spcPts val="125"/>
              </a:spcBef>
            </a:pPr>
            <a:r>
              <a:rPr sz="300" b="1" spc="10">
                <a:solidFill>
                  <a:srgbClr val="006FC0"/>
                </a:solidFill>
                <a:latin typeface="Arial"/>
                <a:cs typeface="Arial"/>
              </a:rPr>
              <a:t>1 </a:t>
            </a:r>
            <a:r>
              <a:rPr sz="300" spc="10">
                <a:solidFill>
                  <a:srgbClr val="FFFFFF"/>
                </a:solidFill>
                <a:latin typeface="Arial"/>
                <a:cs typeface="Arial"/>
              </a:rPr>
              <a:t>User</a:t>
            </a:r>
            <a:r>
              <a:rPr sz="300" spc="-5">
                <a:solidFill>
                  <a:srgbClr val="FFFFFF"/>
                </a:solidFill>
                <a:latin typeface="Arial"/>
                <a:cs typeface="Arial"/>
              </a:rPr>
              <a:t> </a:t>
            </a:r>
            <a:r>
              <a:rPr sz="300" spc="5">
                <a:solidFill>
                  <a:srgbClr val="FFFFFF"/>
                </a:solidFill>
                <a:latin typeface="Arial"/>
                <a:cs typeface="Arial"/>
              </a:rPr>
              <a:t>Adoption</a:t>
            </a:r>
            <a:endParaRPr sz="300">
              <a:latin typeface="Arial"/>
              <a:cs typeface="Arial"/>
            </a:endParaRPr>
          </a:p>
        </p:txBody>
      </p:sp>
      <p:sp>
        <p:nvSpPr>
          <p:cNvPr id="206" name="object 206"/>
          <p:cNvSpPr/>
          <p:nvPr/>
        </p:nvSpPr>
        <p:spPr>
          <a:xfrm>
            <a:off x="4732596" y="5439954"/>
            <a:ext cx="59055" cy="59055"/>
          </a:xfrm>
          <a:custGeom>
            <a:avLst/>
            <a:gdLst/>
            <a:ahLst/>
            <a:cxnLst/>
            <a:rect l="l" t="t" r="r" b="b"/>
            <a:pathLst>
              <a:path w="59054" h="59054">
                <a:moveTo>
                  <a:pt x="0" y="0"/>
                </a:moveTo>
                <a:lnTo>
                  <a:pt x="58458" y="0"/>
                </a:lnTo>
                <a:lnTo>
                  <a:pt x="58458" y="58845"/>
                </a:lnTo>
                <a:lnTo>
                  <a:pt x="0" y="58845"/>
                </a:lnTo>
                <a:lnTo>
                  <a:pt x="0" y="0"/>
                </a:lnTo>
                <a:close/>
              </a:path>
            </a:pathLst>
          </a:custGeom>
          <a:solidFill>
            <a:srgbClr val="006FAC"/>
          </a:solidFill>
        </p:spPr>
        <p:txBody>
          <a:bodyPr wrap="square" lIns="0" tIns="0" rIns="0" bIns="0" rtlCol="0"/>
          <a:lstStyle/>
          <a:p>
            <a:endParaRPr/>
          </a:p>
        </p:txBody>
      </p:sp>
      <p:sp>
        <p:nvSpPr>
          <p:cNvPr id="207" name="object 207"/>
          <p:cNvSpPr/>
          <p:nvPr/>
        </p:nvSpPr>
        <p:spPr>
          <a:xfrm>
            <a:off x="4732596" y="5439954"/>
            <a:ext cx="59055" cy="59055"/>
          </a:xfrm>
          <a:custGeom>
            <a:avLst/>
            <a:gdLst/>
            <a:ahLst/>
            <a:cxnLst/>
            <a:rect l="l" t="t" r="r" b="b"/>
            <a:pathLst>
              <a:path w="59054" h="59054">
                <a:moveTo>
                  <a:pt x="0" y="0"/>
                </a:moveTo>
                <a:lnTo>
                  <a:pt x="58458" y="0"/>
                </a:lnTo>
                <a:lnTo>
                  <a:pt x="58458" y="58845"/>
                </a:lnTo>
                <a:lnTo>
                  <a:pt x="0" y="58845"/>
                </a:lnTo>
                <a:lnTo>
                  <a:pt x="0" y="0"/>
                </a:lnTo>
                <a:close/>
              </a:path>
            </a:pathLst>
          </a:custGeom>
          <a:ln w="3334">
            <a:solidFill>
              <a:srgbClr val="006FAC"/>
            </a:solidFill>
          </a:ln>
        </p:spPr>
        <p:txBody>
          <a:bodyPr wrap="square" lIns="0" tIns="0" rIns="0" bIns="0" rtlCol="0"/>
          <a:lstStyle/>
          <a:p>
            <a:endParaRPr/>
          </a:p>
        </p:txBody>
      </p:sp>
      <p:sp>
        <p:nvSpPr>
          <p:cNvPr id="208" name="object 208"/>
          <p:cNvSpPr txBox="1"/>
          <p:nvPr/>
        </p:nvSpPr>
        <p:spPr>
          <a:xfrm>
            <a:off x="4735877" y="5453257"/>
            <a:ext cx="335915" cy="75565"/>
          </a:xfrm>
          <a:prstGeom prst="rect">
            <a:avLst/>
          </a:prstGeom>
        </p:spPr>
        <p:txBody>
          <a:bodyPr vert="horz" wrap="square" lIns="0" tIns="15875" rIns="0" bIns="0" rtlCol="0">
            <a:spAutoFit/>
          </a:bodyPr>
          <a:lstStyle/>
          <a:p>
            <a:pPr marL="12700">
              <a:lnSpc>
                <a:spcPct val="100000"/>
              </a:lnSpc>
              <a:spcBef>
                <a:spcPts val="125"/>
              </a:spcBef>
            </a:pPr>
            <a:r>
              <a:rPr sz="450" b="1" spc="15" baseline="37037">
                <a:solidFill>
                  <a:srgbClr val="FFFFFF"/>
                </a:solidFill>
                <a:latin typeface="Arial"/>
                <a:cs typeface="Arial"/>
              </a:rPr>
              <a:t>8</a:t>
            </a:r>
            <a:r>
              <a:rPr sz="450" b="1" spc="89" baseline="37037">
                <a:solidFill>
                  <a:srgbClr val="FFFFFF"/>
                </a:solidFill>
                <a:latin typeface="Arial"/>
                <a:cs typeface="Arial"/>
              </a:rPr>
              <a:t> </a:t>
            </a:r>
            <a:r>
              <a:rPr sz="300" spc="10">
                <a:solidFill>
                  <a:srgbClr val="006FAC"/>
                </a:solidFill>
                <a:latin typeface="Arial"/>
                <a:cs typeface="Arial"/>
              </a:rPr>
              <a:t>methodology</a:t>
            </a:r>
            <a:endParaRPr sz="300">
              <a:latin typeface="Arial"/>
              <a:cs typeface="Arial"/>
            </a:endParaRPr>
          </a:p>
        </p:txBody>
      </p:sp>
      <p:sp>
        <p:nvSpPr>
          <p:cNvPr id="209" name="object 209"/>
          <p:cNvSpPr txBox="1"/>
          <p:nvPr/>
        </p:nvSpPr>
        <p:spPr>
          <a:xfrm>
            <a:off x="4736132" y="5121749"/>
            <a:ext cx="262890" cy="75565"/>
          </a:xfrm>
          <a:prstGeom prst="rect">
            <a:avLst/>
          </a:prstGeom>
        </p:spPr>
        <p:txBody>
          <a:bodyPr vert="horz" wrap="square" lIns="0" tIns="15875" rIns="0" bIns="0" rtlCol="0">
            <a:spAutoFit/>
          </a:bodyPr>
          <a:lstStyle/>
          <a:p>
            <a:pPr marL="12700">
              <a:lnSpc>
                <a:spcPct val="100000"/>
              </a:lnSpc>
              <a:spcBef>
                <a:spcPts val="125"/>
              </a:spcBef>
            </a:pPr>
            <a:r>
              <a:rPr sz="450" b="1" spc="15" baseline="-37037">
                <a:solidFill>
                  <a:srgbClr val="FFFFFF"/>
                </a:solidFill>
                <a:latin typeface="Arial"/>
                <a:cs typeface="Arial"/>
              </a:rPr>
              <a:t>6</a:t>
            </a:r>
            <a:r>
              <a:rPr sz="450" b="1" spc="82" baseline="-37037">
                <a:solidFill>
                  <a:srgbClr val="FFFFFF"/>
                </a:solidFill>
                <a:latin typeface="Arial"/>
                <a:cs typeface="Arial"/>
              </a:rPr>
              <a:t> </a:t>
            </a:r>
            <a:r>
              <a:rPr sz="300" spc="5">
                <a:solidFill>
                  <a:srgbClr val="006FAC"/>
                </a:solidFill>
                <a:latin typeface="Arial"/>
                <a:cs typeface="Arial"/>
              </a:rPr>
              <a:t>Platform</a:t>
            </a:r>
            <a:endParaRPr sz="300">
              <a:latin typeface="Arial"/>
              <a:cs typeface="Arial"/>
            </a:endParaRPr>
          </a:p>
        </p:txBody>
      </p:sp>
      <p:sp>
        <p:nvSpPr>
          <p:cNvPr id="210" name="object 210"/>
          <p:cNvSpPr txBox="1"/>
          <p:nvPr/>
        </p:nvSpPr>
        <p:spPr>
          <a:xfrm>
            <a:off x="4819461" y="5170147"/>
            <a:ext cx="307975" cy="75565"/>
          </a:xfrm>
          <a:prstGeom prst="rect">
            <a:avLst/>
          </a:prstGeom>
        </p:spPr>
        <p:txBody>
          <a:bodyPr vert="horz" wrap="square" lIns="0" tIns="15875" rIns="0" bIns="0" rtlCol="0">
            <a:spAutoFit/>
          </a:bodyPr>
          <a:lstStyle/>
          <a:p>
            <a:pPr marL="12700">
              <a:lnSpc>
                <a:spcPct val="100000"/>
              </a:lnSpc>
              <a:spcBef>
                <a:spcPts val="125"/>
              </a:spcBef>
            </a:pPr>
            <a:r>
              <a:rPr sz="300" spc="5">
                <a:solidFill>
                  <a:srgbClr val="006FAC"/>
                </a:solidFill>
                <a:latin typeface="Arial"/>
                <a:cs typeface="Arial"/>
              </a:rPr>
              <a:t>Customizations</a:t>
            </a:r>
            <a:endParaRPr sz="300">
              <a:latin typeface="Arial"/>
              <a:cs typeface="Arial"/>
            </a:endParaRPr>
          </a:p>
        </p:txBody>
      </p:sp>
      <p:sp>
        <p:nvSpPr>
          <p:cNvPr id="211" name="object 211"/>
          <p:cNvSpPr/>
          <p:nvPr/>
        </p:nvSpPr>
        <p:spPr>
          <a:xfrm>
            <a:off x="5619043" y="4383285"/>
            <a:ext cx="635" cy="13970"/>
          </a:xfrm>
          <a:custGeom>
            <a:avLst/>
            <a:gdLst/>
            <a:ahLst/>
            <a:cxnLst/>
            <a:rect l="l" t="t" r="r" b="b"/>
            <a:pathLst>
              <a:path w="635" h="13970">
                <a:moveTo>
                  <a:pt x="0" y="0"/>
                </a:moveTo>
                <a:lnTo>
                  <a:pt x="0" y="0"/>
                </a:lnTo>
                <a:lnTo>
                  <a:pt x="240" y="13781"/>
                </a:lnTo>
              </a:path>
            </a:pathLst>
          </a:custGeom>
          <a:ln w="3333">
            <a:solidFill>
              <a:srgbClr val="006FAC"/>
            </a:solidFill>
          </a:ln>
        </p:spPr>
        <p:txBody>
          <a:bodyPr wrap="square" lIns="0" tIns="0" rIns="0" bIns="0" rtlCol="0"/>
          <a:lstStyle/>
          <a:p>
            <a:endParaRPr/>
          </a:p>
        </p:txBody>
      </p:sp>
      <p:sp>
        <p:nvSpPr>
          <p:cNvPr id="212" name="object 212"/>
          <p:cNvSpPr/>
          <p:nvPr/>
        </p:nvSpPr>
        <p:spPr>
          <a:xfrm>
            <a:off x="5619284" y="4407404"/>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13" name="object 213"/>
          <p:cNvSpPr/>
          <p:nvPr/>
        </p:nvSpPr>
        <p:spPr>
          <a:xfrm>
            <a:off x="5619284" y="4431453"/>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14" name="object 214"/>
          <p:cNvSpPr/>
          <p:nvPr/>
        </p:nvSpPr>
        <p:spPr>
          <a:xfrm>
            <a:off x="5619284" y="4455812"/>
            <a:ext cx="635" cy="13970"/>
          </a:xfrm>
          <a:custGeom>
            <a:avLst/>
            <a:gdLst/>
            <a:ahLst/>
            <a:cxnLst/>
            <a:rect l="l" t="t" r="r" b="b"/>
            <a:pathLst>
              <a:path w="635" h="13970">
                <a:moveTo>
                  <a:pt x="0" y="0"/>
                </a:moveTo>
                <a:lnTo>
                  <a:pt x="0" y="0"/>
                </a:lnTo>
                <a:lnTo>
                  <a:pt x="275" y="13712"/>
                </a:lnTo>
              </a:path>
            </a:pathLst>
          </a:custGeom>
          <a:ln w="3333">
            <a:solidFill>
              <a:srgbClr val="006FAC"/>
            </a:solidFill>
          </a:ln>
        </p:spPr>
        <p:txBody>
          <a:bodyPr wrap="square" lIns="0" tIns="0" rIns="0" bIns="0" rtlCol="0"/>
          <a:lstStyle/>
          <a:p>
            <a:endParaRPr/>
          </a:p>
        </p:txBody>
      </p:sp>
      <p:sp>
        <p:nvSpPr>
          <p:cNvPr id="215" name="object 215"/>
          <p:cNvSpPr/>
          <p:nvPr/>
        </p:nvSpPr>
        <p:spPr>
          <a:xfrm>
            <a:off x="5619560" y="4479931"/>
            <a:ext cx="0" cy="13970"/>
          </a:xfrm>
          <a:custGeom>
            <a:avLst/>
            <a:gdLst/>
            <a:ahLst/>
            <a:cxnLst/>
            <a:rect l="l" t="t" r="r" b="b"/>
            <a:pathLst>
              <a:path h="13970">
                <a:moveTo>
                  <a:pt x="-1666" y="6856"/>
                </a:moveTo>
                <a:lnTo>
                  <a:pt x="1666" y="6856"/>
                </a:lnTo>
              </a:path>
            </a:pathLst>
          </a:custGeom>
          <a:ln w="13712">
            <a:solidFill>
              <a:srgbClr val="006FAC"/>
            </a:solidFill>
          </a:ln>
        </p:spPr>
        <p:txBody>
          <a:bodyPr wrap="square" lIns="0" tIns="0" rIns="0" bIns="0" rtlCol="0"/>
          <a:lstStyle/>
          <a:p>
            <a:endParaRPr/>
          </a:p>
        </p:txBody>
      </p:sp>
      <p:sp>
        <p:nvSpPr>
          <p:cNvPr id="216" name="object 216"/>
          <p:cNvSpPr/>
          <p:nvPr/>
        </p:nvSpPr>
        <p:spPr>
          <a:xfrm>
            <a:off x="5619560" y="4503980"/>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17" name="object 217"/>
          <p:cNvSpPr/>
          <p:nvPr/>
        </p:nvSpPr>
        <p:spPr>
          <a:xfrm>
            <a:off x="5619560" y="4528339"/>
            <a:ext cx="0" cy="13970"/>
          </a:xfrm>
          <a:custGeom>
            <a:avLst/>
            <a:gdLst/>
            <a:ahLst/>
            <a:cxnLst/>
            <a:rect l="l" t="t" r="r" b="b"/>
            <a:pathLst>
              <a:path h="13970">
                <a:moveTo>
                  <a:pt x="-1666" y="6856"/>
                </a:moveTo>
                <a:lnTo>
                  <a:pt x="1666" y="6856"/>
                </a:lnTo>
              </a:path>
            </a:pathLst>
          </a:custGeom>
          <a:ln w="13712">
            <a:solidFill>
              <a:srgbClr val="006FAC"/>
            </a:solidFill>
          </a:ln>
        </p:spPr>
        <p:txBody>
          <a:bodyPr wrap="square" lIns="0" tIns="0" rIns="0" bIns="0" rtlCol="0"/>
          <a:lstStyle/>
          <a:p>
            <a:endParaRPr/>
          </a:p>
        </p:txBody>
      </p:sp>
      <p:sp>
        <p:nvSpPr>
          <p:cNvPr id="218" name="object 218"/>
          <p:cNvSpPr/>
          <p:nvPr/>
        </p:nvSpPr>
        <p:spPr>
          <a:xfrm>
            <a:off x="5619560" y="4552389"/>
            <a:ext cx="635" cy="13970"/>
          </a:xfrm>
          <a:custGeom>
            <a:avLst/>
            <a:gdLst/>
            <a:ahLst/>
            <a:cxnLst/>
            <a:rect l="l" t="t" r="r" b="b"/>
            <a:pathLst>
              <a:path w="635" h="13970">
                <a:moveTo>
                  <a:pt x="0" y="0"/>
                </a:moveTo>
                <a:lnTo>
                  <a:pt x="0" y="0"/>
                </a:lnTo>
                <a:lnTo>
                  <a:pt x="240" y="13781"/>
                </a:lnTo>
              </a:path>
            </a:pathLst>
          </a:custGeom>
          <a:ln w="3333">
            <a:solidFill>
              <a:srgbClr val="006FAC"/>
            </a:solidFill>
          </a:ln>
        </p:spPr>
        <p:txBody>
          <a:bodyPr wrap="square" lIns="0" tIns="0" rIns="0" bIns="0" rtlCol="0"/>
          <a:lstStyle/>
          <a:p>
            <a:endParaRPr/>
          </a:p>
        </p:txBody>
      </p:sp>
      <p:sp>
        <p:nvSpPr>
          <p:cNvPr id="219" name="object 219"/>
          <p:cNvSpPr/>
          <p:nvPr/>
        </p:nvSpPr>
        <p:spPr>
          <a:xfrm>
            <a:off x="5619801" y="4576507"/>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20" name="object 220"/>
          <p:cNvSpPr/>
          <p:nvPr/>
        </p:nvSpPr>
        <p:spPr>
          <a:xfrm>
            <a:off x="5619801" y="4600901"/>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21" name="object 221"/>
          <p:cNvSpPr/>
          <p:nvPr/>
        </p:nvSpPr>
        <p:spPr>
          <a:xfrm>
            <a:off x="5619801" y="4624916"/>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22" name="object 222"/>
          <p:cNvSpPr/>
          <p:nvPr/>
        </p:nvSpPr>
        <p:spPr>
          <a:xfrm>
            <a:off x="5620076" y="4649034"/>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223" name="object 223"/>
          <p:cNvSpPr/>
          <p:nvPr/>
        </p:nvSpPr>
        <p:spPr>
          <a:xfrm>
            <a:off x="5620076" y="4673325"/>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24" name="object 224"/>
          <p:cNvSpPr/>
          <p:nvPr/>
        </p:nvSpPr>
        <p:spPr>
          <a:xfrm>
            <a:off x="5620076" y="4697443"/>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25" name="object 225"/>
          <p:cNvSpPr/>
          <p:nvPr/>
        </p:nvSpPr>
        <p:spPr>
          <a:xfrm>
            <a:off x="5620076" y="4721561"/>
            <a:ext cx="635" cy="13970"/>
          </a:xfrm>
          <a:custGeom>
            <a:avLst/>
            <a:gdLst/>
            <a:ahLst/>
            <a:cxnLst/>
            <a:rect l="l" t="t" r="r" b="b"/>
            <a:pathLst>
              <a:path w="635" h="13970">
                <a:moveTo>
                  <a:pt x="0" y="0"/>
                </a:moveTo>
                <a:lnTo>
                  <a:pt x="0" y="0"/>
                </a:lnTo>
                <a:lnTo>
                  <a:pt x="240" y="13954"/>
                </a:lnTo>
              </a:path>
            </a:pathLst>
          </a:custGeom>
          <a:ln w="3333">
            <a:solidFill>
              <a:srgbClr val="006FAC"/>
            </a:solidFill>
          </a:ln>
        </p:spPr>
        <p:txBody>
          <a:bodyPr wrap="square" lIns="0" tIns="0" rIns="0" bIns="0" rtlCol="0"/>
          <a:lstStyle/>
          <a:p>
            <a:endParaRPr/>
          </a:p>
        </p:txBody>
      </p:sp>
      <p:sp>
        <p:nvSpPr>
          <p:cNvPr id="226" name="object 226"/>
          <p:cNvSpPr/>
          <p:nvPr/>
        </p:nvSpPr>
        <p:spPr>
          <a:xfrm>
            <a:off x="5620317" y="4745852"/>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27" name="object 227"/>
          <p:cNvSpPr/>
          <p:nvPr/>
        </p:nvSpPr>
        <p:spPr>
          <a:xfrm>
            <a:off x="5620317" y="4769970"/>
            <a:ext cx="0" cy="13970"/>
          </a:xfrm>
          <a:custGeom>
            <a:avLst/>
            <a:gdLst/>
            <a:ahLst/>
            <a:cxnLst/>
            <a:rect l="l" t="t" r="r" b="b"/>
            <a:pathLst>
              <a:path h="13970">
                <a:moveTo>
                  <a:pt x="-1666" y="6856"/>
                </a:moveTo>
                <a:lnTo>
                  <a:pt x="1666" y="6856"/>
                </a:lnTo>
              </a:path>
            </a:pathLst>
          </a:custGeom>
          <a:ln w="13712">
            <a:solidFill>
              <a:srgbClr val="006FAC"/>
            </a:solidFill>
          </a:ln>
        </p:spPr>
        <p:txBody>
          <a:bodyPr wrap="square" lIns="0" tIns="0" rIns="0" bIns="0" rtlCol="0"/>
          <a:lstStyle/>
          <a:p>
            <a:endParaRPr/>
          </a:p>
        </p:txBody>
      </p:sp>
      <p:sp>
        <p:nvSpPr>
          <p:cNvPr id="228" name="object 228"/>
          <p:cNvSpPr/>
          <p:nvPr/>
        </p:nvSpPr>
        <p:spPr>
          <a:xfrm>
            <a:off x="5620317" y="4794088"/>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229" name="object 229"/>
          <p:cNvSpPr/>
          <p:nvPr/>
        </p:nvSpPr>
        <p:spPr>
          <a:xfrm>
            <a:off x="5620592" y="4818379"/>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30" name="object 230"/>
          <p:cNvSpPr/>
          <p:nvPr/>
        </p:nvSpPr>
        <p:spPr>
          <a:xfrm>
            <a:off x="5620592" y="4842531"/>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31" name="object 231"/>
          <p:cNvSpPr/>
          <p:nvPr/>
        </p:nvSpPr>
        <p:spPr>
          <a:xfrm>
            <a:off x="5620592" y="4866546"/>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32" name="object 232"/>
          <p:cNvSpPr/>
          <p:nvPr/>
        </p:nvSpPr>
        <p:spPr>
          <a:xfrm>
            <a:off x="5620592" y="4890940"/>
            <a:ext cx="635" cy="13970"/>
          </a:xfrm>
          <a:custGeom>
            <a:avLst/>
            <a:gdLst/>
            <a:ahLst/>
            <a:cxnLst/>
            <a:rect l="l" t="t" r="r" b="b"/>
            <a:pathLst>
              <a:path w="635" h="13970">
                <a:moveTo>
                  <a:pt x="0" y="0"/>
                </a:moveTo>
                <a:lnTo>
                  <a:pt x="0" y="0"/>
                </a:lnTo>
                <a:lnTo>
                  <a:pt x="240" y="13678"/>
                </a:lnTo>
              </a:path>
            </a:pathLst>
          </a:custGeom>
          <a:ln w="3333">
            <a:solidFill>
              <a:srgbClr val="006FAC"/>
            </a:solidFill>
          </a:ln>
        </p:spPr>
        <p:txBody>
          <a:bodyPr wrap="square" lIns="0" tIns="0" rIns="0" bIns="0" rtlCol="0"/>
          <a:lstStyle/>
          <a:p>
            <a:endParaRPr/>
          </a:p>
        </p:txBody>
      </p:sp>
      <p:sp>
        <p:nvSpPr>
          <p:cNvPr id="233" name="object 233"/>
          <p:cNvSpPr/>
          <p:nvPr/>
        </p:nvSpPr>
        <p:spPr>
          <a:xfrm>
            <a:off x="5620834" y="4915058"/>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34" name="object 234"/>
          <p:cNvSpPr/>
          <p:nvPr/>
        </p:nvSpPr>
        <p:spPr>
          <a:xfrm>
            <a:off x="5620834" y="4939073"/>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35" name="object 235"/>
          <p:cNvSpPr/>
          <p:nvPr/>
        </p:nvSpPr>
        <p:spPr>
          <a:xfrm>
            <a:off x="5620834" y="4963467"/>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36" name="object 236"/>
          <p:cNvSpPr/>
          <p:nvPr/>
        </p:nvSpPr>
        <p:spPr>
          <a:xfrm>
            <a:off x="5621109" y="4987482"/>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37" name="object 237"/>
          <p:cNvSpPr/>
          <p:nvPr/>
        </p:nvSpPr>
        <p:spPr>
          <a:xfrm>
            <a:off x="5621109" y="5011600"/>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38" name="object 238"/>
          <p:cNvSpPr/>
          <p:nvPr/>
        </p:nvSpPr>
        <p:spPr>
          <a:xfrm>
            <a:off x="5621109" y="5035994"/>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39" name="object 239"/>
          <p:cNvSpPr/>
          <p:nvPr/>
        </p:nvSpPr>
        <p:spPr>
          <a:xfrm>
            <a:off x="5621109" y="5060009"/>
            <a:ext cx="635" cy="13970"/>
          </a:xfrm>
          <a:custGeom>
            <a:avLst/>
            <a:gdLst/>
            <a:ahLst/>
            <a:cxnLst/>
            <a:rect l="l" t="t" r="r" b="b"/>
            <a:pathLst>
              <a:path w="635" h="13970">
                <a:moveTo>
                  <a:pt x="0" y="0"/>
                </a:moveTo>
                <a:lnTo>
                  <a:pt x="0" y="0"/>
                </a:lnTo>
                <a:lnTo>
                  <a:pt x="309" y="13781"/>
                </a:lnTo>
              </a:path>
            </a:pathLst>
          </a:custGeom>
          <a:ln w="3333">
            <a:solidFill>
              <a:srgbClr val="006FAC"/>
            </a:solidFill>
          </a:ln>
        </p:spPr>
        <p:txBody>
          <a:bodyPr wrap="square" lIns="0" tIns="0" rIns="0" bIns="0" rtlCol="0"/>
          <a:lstStyle/>
          <a:p>
            <a:endParaRPr/>
          </a:p>
        </p:txBody>
      </p:sp>
      <p:sp>
        <p:nvSpPr>
          <p:cNvPr id="240" name="object 240"/>
          <p:cNvSpPr/>
          <p:nvPr/>
        </p:nvSpPr>
        <p:spPr>
          <a:xfrm>
            <a:off x="5621419" y="5084127"/>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241" name="object 241"/>
          <p:cNvSpPr/>
          <p:nvPr/>
        </p:nvSpPr>
        <p:spPr>
          <a:xfrm>
            <a:off x="5621419" y="5108521"/>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42" name="object 242"/>
          <p:cNvSpPr/>
          <p:nvPr/>
        </p:nvSpPr>
        <p:spPr>
          <a:xfrm>
            <a:off x="5621419" y="5132536"/>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43" name="object 243"/>
          <p:cNvSpPr/>
          <p:nvPr/>
        </p:nvSpPr>
        <p:spPr>
          <a:xfrm>
            <a:off x="5621419" y="5156689"/>
            <a:ext cx="635" cy="13970"/>
          </a:xfrm>
          <a:custGeom>
            <a:avLst/>
            <a:gdLst/>
            <a:ahLst/>
            <a:cxnLst/>
            <a:rect l="l" t="t" r="r" b="b"/>
            <a:pathLst>
              <a:path w="635" h="13970">
                <a:moveTo>
                  <a:pt x="0" y="0"/>
                </a:moveTo>
                <a:lnTo>
                  <a:pt x="0" y="0"/>
                </a:lnTo>
                <a:lnTo>
                  <a:pt x="275" y="13919"/>
                </a:lnTo>
              </a:path>
            </a:pathLst>
          </a:custGeom>
          <a:ln w="3333">
            <a:solidFill>
              <a:srgbClr val="006FAC"/>
            </a:solidFill>
          </a:ln>
        </p:spPr>
        <p:txBody>
          <a:bodyPr wrap="square" lIns="0" tIns="0" rIns="0" bIns="0" rtlCol="0"/>
          <a:lstStyle/>
          <a:p>
            <a:endParaRPr/>
          </a:p>
        </p:txBody>
      </p:sp>
      <p:sp>
        <p:nvSpPr>
          <p:cNvPr id="244" name="object 244"/>
          <p:cNvSpPr/>
          <p:nvPr/>
        </p:nvSpPr>
        <p:spPr>
          <a:xfrm>
            <a:off x="5621694" y="5180979"/>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245" name="object 245"/>
          <p:cNvSpPr/>
          <p:nvPr/>
        </p:nvSpPr>
        <p:spPr>
          <a:xfrm>
            <a:off x="5621694" y="5205084"/>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46" name="object 246"/>
          <p:cNvSpPr/>
          <p:nvPr/>
        </p:nvSpPr>
        <p:spPr>
          <a:xfrm>
            <a:off x="5621694" y="5229206"/>
            <a:ext cx="0" cy="13970"/>
          </a:xfrm>
          <a:custGeom>
            <a:avLst/>
            <a:gdLst/>
            <a:ahLst/>
            <a:cxnLst/>
            <a:rect l="l" t="t" r="r" b="b"/>
            <a:pathLst>
              <a:path h="13970">
                <a:moveTo>
                  <a:pt x="-1666" y="6970"/>
                </a:moveTo>
                <a:lnTo>
                  <a:pt x="1666" y="6970"/>
                </a:lnTo>
              </a:path>
            </a:pathLst>
          </a:custGeom>
          <a:ln w="13940">
            <a:solidFill>
              <a:srgbClr val="006FAC"/>
            </a:solidFill>
          </a:ln>
        </p:spPr>
        <p:txBody>
          <a:bodyPr wrap="square" lIns="0" tIns="0" rIns="0" bIns="0" rtlCol="0"/>
          <a:lstStyle/>
          <a:p>
            <a:endParaRPr/>
          </a:p>
        </p:txBody>
      </p:sp>
      <p:sp>
        <p:nvSpPr>
          <p:cNvPr id="247" name="object 247"/>
          <p:cNvSpPr/>
          <p:nvPr/>
        </p:nvSpPr>
        <p:spPr>
          <a:xfrm>
            <a:off x="5621935" y="5253496"/>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248" name="object 248"/>
          <p:cNvSpPr/>
          <p:nvPr/>
        </p:nvSpPr>
        <p:spPr>
          <a:xfrm>
            <a:off x="5621935" y="5277614"/>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49" name="object 249"/>
          <p:cNvSpPr/>
          <p:nvPr/>
        </p:nvSpPr>
        <p:spPr>
          <a:xfrm>
            <a:off x="5621935" y="5301650"/>
            <a:ext cx="0" cy="14604"/>
          </a:xfrm>
          <a:custGeom>
            <a:avLst/>
            <a:gdLst/>
            <a:ahLst/>
            <a:cxnLst/>
            <a:rect l="l" t="t" r="r" b="b"/>
            <a:pathLst>
              <a:path h="14604">
                <a:moveTo>
                  <a:pt x="-1666" y="7013"/>
                </a:moveTo>
                <a:lnTo>
                  <a:pt x="1666" y="7013"/>
                </a:lnTo>
              </a:path>
            </a:pathLst>
          </a:custGeom>
          <a:ln w="14026">
            <a:solidFill>
              <a:srgbClr val="006FAC"/>
            </a:solidFill>
          </a:ln>
        </p:spPr>
        <p:txBody>
          <a:bodyPr wrap="square" lIns="0" tIns="0" rIns="0" bIns="0" rtlCol="0"/>
          <a:lstStyle/>
          <a:p>
            <a:endParaRPr/>
          </a:p>
        </p:txBody>
      </p:sp>
      <p:sp>
        <p:nvSpPr>
          <p:cNvPr id="250" name="object 250"/>
          <p:cNvSpPr/>
          <p:nvPr/>
        </p:nvSpPr>
        <p:spPr>
          <a:xfrm>
            <a:off x="5621935" y="5326026"/>
            <a:ext cx="635" cy="13970"/>
          </a:xfrm>
          <a:custGeom>
            <a:avLst/>
            <a:gdLst/>
            <a:ahLst/>
            <a:cxnLst/>
            <a:rect l="l" t="t" r="r" b="b"/>
            <a:pathLst>
              <a:path w="635" h="13970">
                <a:moveTo>
                  <a:pt x="0" y="0"/>
                </a:moveTo>
                <a:lnTo>
                  <a:pt x="0" y="0"/>
                </a:lnTo>
                <a:lnTo>
                  <a:pt x="275" y="13771"/>
                </a:lnTo>
              </a:path>
            </a:pathLst>
          </a:custGeom>
          <a:ln w="3333">
            <a:solidFill>
              <a:srgbClr val="006FAC"/>
            </a:solidFill>
          </a:ln>
        </p:spPr>
        <p:txBody>
          <a:bodyPr wrap="square" lIns="0" tIns="0" rIns="0" bIns="0" rtlCol="0"/>
          <a:lstStyle/>
          <a:p>
            <a:endParaRPr/>
          </a:p>
        </p:txBody>
      </p:sp>
      <p:sp>
        <p:nvSpPr>
          <p:cNvPr id="251" name="object 251"/>
          <p:cNvSpPr/>
          <p:nvPr/>
        </p:nvSpPr>
        <p:spPr>
          <a:xfrm>
            <a:off x="5622211" y="5350145"/>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52" name="object 252"/>
          <p:cNvSpPr/>
          <p:nvPr/>
        </p:nvSpPr>
        <p:spPr>
          <a:xfrm>
            <a:off x="5622211" y="5374180"/>
            <a:ext cx="0" cy="14604"/>
          </a:xfrm>
          <a:custGeom>
            <a:avLst/>
            <a:gdLst/>
            <a:ahLst/>
            <a:cxnLst/>
            <a:rect l="l" t="t" r="r" b="b"/>
            <a:pathLst>
              <a:path h="14604">
                <a:moveTo>
                  <a:pt x="-1666" y="7013"/>
                </a:moveTo>
                <a:lnTo>
                  <a:pt x="1666" y="7013"/>
                </a:lnTo>
              </a:path>
            </a:pathLst>
          </a:custGeom>
          <a:ln w="14026">
            <a:solidFill>
              <a:srgbClr val="006FAC"/>
            </a:solidFill>
          </a:ln>
        </p:spPr>
        <p:txBody>
          <a:bodyPr wrap="square" lIns="0" tIns="0" rIns="0" bIns="0" rtlCol="0"/>
          <a:lstStyle/>
          <a:p>
            <a:endParaRPr/>
          </a:p>
        </p:txBody>
      </p:sp>
      <p:sp>
        <p:nvSpPr>
          <p:cNvPr id="253" name="object 253"/>
          <p:cNvSpPr/>
          <p:nvPr/>
        </p:nvSpPr>
        <p:spPr>
          <a:xfrm>
            <a:off x="5622211" y="5398557"/>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54" name="object 254"/>
          <p:cNvSpPr/>
          <p:nvPr/>
        </p:nvSpPr>
        <p:spPr>
          <a:xfrm>
            <a:off x="5622452" y="5422679"/>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55" name="object 255"/>
          <p:cNvSpPr/>
          <p:nvPr/>
        </p:nvSpPr>
        <p:spPr>
          <a:xfrm>
            <a:off x="5622452" y="5446711"/>
            <a:ext cx="0" cy="14604"/>
          </a:xfrm>
          <a:custGeom>
            <a:avLst/>
            <a:gdLst/>
            <a:ahLst/>
            <a:cxnLst/>
            <a:rect l="l" t="t" r="r" b="b"/>
            <a:pathLst>
              <a:path h="14604">
                <a:moveTo>
                  <a:pt x="-1666" y="7014"/>
                </a:moveTo>
                <a:lnTo>
                  <a:pt x="1666" y="7014"/>
                </a:lnTo>
              </a:path>
            </a:pathLst>
          </a:custGeom>
          <a:ln w="14029">
            <a:solidFill>
              <a:srgbClr val="006FAC"/>
            </a:solidFill>
          </a:ln>
        </p:spPr>
        <p:txBody>
          <a:bodyPr wrap="square" lIns="0" tIns="0" rIns="0" bIns="0" rtlCol="0"/>
          <a:lstStyle/>
          <a:p>
            <a:endParaRPr/>
          </a:p>
        </p:txBody>
      </p:sp>
      <p:sp>
        <p:nvSpPr>
          <p:cNvPr id="256" name="object 256"/>
          <p:cNvSpPr/>
          <p:nvPr/>
        </p:nvSpPr>
        <p:spPr>
          <a:xfrm>
            <a:off x="5622452" y="5471087"/>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57" name="object 257"/>
          <p:cNvSpPr/>
          <p:nvPr/>
        </p:nvSpPr>
        <p:spPr>
          <a:xfrm>
            <a:off x="5622452" y="5495123"/>
            <a:ext cx="635" cy="13970"/>
          </a:xfrm>
          <a:custGeom>
            <a:avLst/>
            <a:gdLst/>
            <a:ahLst/>
            <a:cxnLst/>
            <a:rect l="l" t="t" r="r" b="b"/>
            <a:pathLst>
              <a:path w="635" h="13970">
                <a:moveTo>
                  <a:pt x="0" y="0"/>
                </a:moveTo>
                <a:lnTo>
                  <a:pt x="0" y="0"/>
                </a:lnTo>
                <a:lnTo>
                  <a:pt x="275" y="13770"/>
                </a:lnTo>
              </a:path>
            </a:pathLst>
          </a:custGeom>
          <a:ln w="3333">
            <a:solidFill>
              <a:srgbClr val="006FAC"/>
            </a:solidFill>
          </a:ln>
        </p:spPr>
        <p:txBody>
          <a:bodyPr wrap="square" lIns="0" tIns="0" rIns="0" bIns="0" rtlCol="0"/>
          <a:lstStyle/>
          <a:p>
            <a:endParaRPr/>
          </a:p>
        </p:txBody>
      </p:sp>
      <p:sp>
        <p:nvSpPr>
          <p:cNvPr id="258" name="object 258"/>
          <p:cNvSpPr/>
          <p:nvPr/>
        </p:nvSpPr>
        <p:spPr>
          <a:xfrm>
            <a:off x="5622727" y="5519243"/>
            <a:ext cx="0" cy="13970"/>
          </a:xfrm>
          <a:custGeom>
            <a:avLst/>
            <a:gdLst/>
            <a:ahLst/>
            <a:cxnLst/>
            <a:rect l="l" t="t" r="r" b="b"/>
            <a:pathLst>
              <a:path h="13970">
                <a:moveTo>
                  <a:pt x="-1666" y="6970"/>
                </a:moveTo>
                <a:lnTo>
                  <a:pt x="1666" y="6970"/>
                </a:lnTo>
              </a:path>
            </a:pathLst>
          </a:custGeom>
          <a:ln w="13941">
            <a:solidFill>
              <a:srgbClr val="006FAC"/>
            </a:solidFill>
          </a:ln>
        </p:spPr>
        <p:txBody>
          <a:bodyPr wrap="square" lIns="0" tIns="0" rIns="0" bIns="0" rtlCol="0"/>
          <a:lstStyle/>
          <a:p>
            <a:endParaRPr/>
          </a:p>
        </p:txBody>
      </p:sp>
      <p:sp>
        <p:nvSpPr>
          <p:cNvPr id="259" name="object 259"/>
          <p:cNvSpPr/>
          <p:nvPr/>
        </p:nvSpPr>
        <p:spPr>
          <a:xfrm>
            <a:off x="5784675" y="4390314"/>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60" name="object 260"/>
          <p:cNvSpPr/>
          <p:nvPr/>
        </p:nvSpPr>
        <p:spPr>
          <a:xfrm>
            <a:off x="5784675" y="4414329"/>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61" name="object 261"/>
          <p:cNvSpPr/>
          <p:nvPr/>
        </p:nvSpPr>
        <p:spPr>
          <a:xfrm>
            <a:off x="5784675" y="4438447"/>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62" name="object 262"/>
          <p:cNvSpPr/>
          <p:nvPr/>
        </p:nvSpPr>
        <p:spPr>
          <a:xfrm>
            <a:off x="5784400" y="4462565"/>
            <a:ext cx="635" cy="13970"/>
          </a:xfrm>
          <a:custGeom>
            <a:avLst/>
            <a:gdLst/>
            <a:ahLst/>
            <a:cxnLst/>
            <a:rect l="l" t="t" r="r" b="b"/>
            <a:pathLst>
              <a:path w="635" h="13970">
                <a:moveTo>
                  <a:pt x="275" y="0"/>
                </a:moveTo>
                <a:lnTo>
                  <a:pt x="275" y="0"/>
                </a:lnTo>
                <a:lnTo>
                  <a:pt x="0" y="13954"/>
                </a:lnTo>
              </a:path>
            </a:pathLst>
          </a:custGeom>
          <a:ln w="3333">
            <a:solidFill>
              <a:srgbClr val="006FAC"/>
            </a:solidFill>
          </a:ln>
        </p:spPr>
        <p:txBody>
          <a:bodyPr wrap="square" lIns="0" tIns="0" rIns="0" bIns="0" rtlCol="0"/>
          <a:lstStyle/>
          <a:p>
            <a:endParaRPr/>
          </a:p>
        </p:txBody>
      </p:sp>
      <p:sp>
        <p:nvSpPr>
          <p:cNvPr id="263" name="object 263"/>
          <p:cNvSpPr/>
          <p:nvPr/>
        </p:nvSpPr>
        <p:spPr>
          <a:xfrm>
            <a:off x="5784400" y="4486856"/>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264" name="object 264"/>
          <p:cNvSpPr/>
          <p:nvPr/>
        </p:nvSpPr>
        <p:spPr>
          <a:xfrm>
            <a:off x="5784400" y="4511009"/>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65" name="object 265"/>
          <p:cNvSpPr/>
          <p:nvPr/>
        </p:nvSpPr>
        <p:spPr>
          <a:xfrm>
            <a:off x="5784400" y="4535127"/>
            <a:ext cx="0" cy="13970"/>
          </a:xfrm>
          <a:custGeom>
            <a:avLst/>
            <a:gdLst/>
            <a:ahLst/>
            <a:cxnLst/>
            <a:rect l="l" t="t" r="r" b="b"/>
            <a:pathLst>
              <a:path h="13970">
                <a:moveTo>
                  <a:pt x="-1666" y="6959"/>
                </a:moveTo>
                <a:lnTo>
                  <a:pt x="1666" y="6959"/>
                </a:lnTo>
              </a:path>
            </a:pathLst>
          </a:custGeom>
          <a:ln w="13919">
            <a:solidFill>
              <a:srgbClr val="006FAC"/>
            </a:solidFill>
          </a:ln>
        </p:spPr>
        <p:txBody>
          <a:bodyPr wrap="square" lIns="0" tIns="0" rIns="0" bIns="0" rtlCol="0"/>
          <a:lstStyle/>
          <a:p>
            <a:endParaRPr/>
          </a:p>
        </p:txBody>
      </p:sp>
      <p:sp>
        <p:nvSpPr>
          <p:cNvPr id="266" name="object 266"/>
          <p:cNvSpPr/>
          <p:nvPr/>
        </p:nvSpPr>
        <p:spPr>
          <a:xfrm>
            <a:off x="5784159" y="4559417"/>
            <a:ext cx="635" cy="13970"/>
          </a:xfrm>
          <a:custGeom>
            <a:avLst/>
            <a:gdLst/>
            <a:ahLst/>
            <a:cxnLst/>
            <a:rect l="l" t="t" r="r" b="b"/>
            <a:pathLst>
              <a:path w="635" h="13970">
                <a:moveTo>
                  <a:pt x="240" y="0"/>
                </a:moveTo>
                <a:lnTo>
                  <a:pt x="240" y="0"/>
                </a:lnTo>
                <a:lnTo>
                  <a:pt x="0" y="13747"/>
                </a:lnTo>
              </a:path>
            </a:pathLst>
          </a:custGeom>
          <a:ln w="3333">
            <a:solidFill>
              <a:srgbClr val="006FAC"/>
            </a:solidFill>
          </a:ln>
        </p:spPr>
        <p:txBody>
          <a:bodyPr wrap="square" lIns="0" tIns="0" rIns="0" bIns="0" rtlCol="0"/>
          <a:lstStyle/>
          <a:p>
            <a:endParaRPr/>
          </a:p>
        </p:txBody>
      </p:sp>
      <p:sp>
        <p:nvSpPr>
          <p:cNvPr id="267" name="object 267"/>
          <p:cNvSpPr/>
          <p:nvPr/>
        </p:nvSpPr>
        <p:spPr>
          <a:xfrm>
            <a:off x="5784159" y="4583536"/>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68" name="object 268"/>
          <p:cNvSpPr/>
          <p:nvPr/>
        </p:nvSpPr>
        <p:spPr>
          <a:xfrm>
            <a:off x="5784159" y="4607551"/>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69" name="object 269"/>
          <p:cNvSpPr/>
          <p:nvPr/>
        </p:nvSpPr>
        <p:spPr>
          <a:xfrm>
            <a:off x="5784159" y="4631945"/>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70" name="object 270"/>
          <p:cNvSpPr/>
          <p:nvPr/>
        </p:nvSpPr>
        <p:spPr>
          <a:xfrm>
            <a:off x="5783918" y="4656063"/>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71" name="object 271"/>
          <p:cNvSpPr/>
          <p:nvPr/>
        </p:nvSpPr>
        <p:spPr>
          <a:xfrm>
            <a:off x="5783918" y="4680078"/>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72" name="object 272"/>
          <p:cNvSpPr/>
          <p:nvPr/>
        </p:nvSpPr>
        <p:spPr>
          <a:xfrm>
            <a:off x="5783918" y="4704472"/>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73" name="object 273"/>
          <p:cNvSpPr/>
          <p:nvPr/>
        </p:nvSpPr>
        <p:spPr>
          <a:xfrm>
            <a:off x="5783643" y="4728486"/>
            <a:ext cx="635" cy="13970"/>
          </a:xfrm>
          <a:custGeom>
            <a:avLst/>
            <a:gdLst/>
            <a:ahLst/>
            <a:cxnLst/>
            <a:rect l="l" t="t" r="r" b="b"/>
            <a:pathLst>
              <a:path w="635" h="13970">
                <a:moveTo>
                  <a:pt x="275" y="0"/>
                </a:moveTo>
                <a:lnTo>
                  <a:pt x="275" y="0"/>
                </a:lnTo>
                <a:lnTo>
                  <a:pt x="0" y="13781"/>
                </a:lnTo>
              </a:path>
            </a:pathLst>
          </a:custGeom>
          <a:ln w="3333">
            <a:solidFill>
              <a:srgbClr val="006FAC"/>
            </a:solidFill>
          </a:ln>
        </p:spPr>
        <p:txBody>
          <a:bodyPr wrap="square" lIns="0" tIns="0" rIns="0" bIns="0" rtlCol="0"/>
          <a:lstStyle/>
          <a:p>
            <a:endParaRPr/>
          </a:p>
        </p:txBody>
      </p:sp>
      <p:sp>
        <p:nvSpPr>
          <p:cNvPr id="274" name="object 274"/>
          <p:cNvSpPr/>
          <p:nvPr/>
        </p:nvSpPr>
        <p:spPr>
          <a:xfrm>
            <a:off x="5783643" y="4752605"/>
            <a:ext cx="0" cy="14604"/>
          </a:xfrm>
          <a:custGeom>
            <a:avLst/>
            <a:gdLst/>
            <a:ahLst/>
            <a:cxnLst/>
            <a:rect l="l" t="t" r="r" b="b"/>
            <a:pathLst>
              <a:path h="14604">
                <a:moveTo>
                  <a:pt x="-1666" y="7028"/>
                </a:moveTo>
                <a:lnTo>
                  <a:pt x="1666" y="7028"/>
                </a:lnTo>
              </a:path>
            </a:pathLst>
          </a:custGeom>
          <a:ln w="14057">
            <a:solidFill>
              <a:srgbClr val="006FAC"/>
            </a:solidFill>
          </a:ln>
        </p:spPr>
        <p:txBody>
          <a:bodyPr wrap="square" lIns="0" tIns="0" rIns="0" bIns="0" rtlCol="0"/>
          <a:lstStyle/>
          <a:p>
            <a:endParaRPr/>
          </a:p>
        </p:txBody>
      </p:sp>
      <p:sp>
        <p:nvSpPr>
          <p:cNvPr id="275" name="object 275"/>
          <p:cNvSpPr/>
          <p:nvPr/>
        </p:nvSpPr>
        <p:spPr>
          <a:xfrm>
            <a:off x="5783643" y="4776999"/>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76" name="object 276"/>
          <p:cNvSpPr/>
          <p:nvPr/>
        </p:nvSpPr>
        <p:spPr>
          <a:xfrm>
            <a:off x="5783643" y="4801048"/>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277" name="object 277"/>
          <p:cNvSpPr/>
          <p:nvPr/>
        </p:nvSpPr>
        <p:spPr>
          <a:xfrm>
            <a:off x="5783402" y="4825166"/>
            <a:ext cx="0" cy="13970"/>
          </a:xfrm>
          <a:custGeom>
            <a:avLst/>
            <a:gdLst/>
            <a:ahLst/>
            <a:cxnLst/>
            <a:rect l="l" t="t" r="r" b="b"/>
            <a:pathLst>
              <a:path h="13970">
                <a:moveTo>
                  <a:pt x="-1666" y="6959"/>
                </a:moveTo>
                <a:lnTo>
                  <a:pt x="1666" y="6959"/>
                </a:lnTo>
              </a:path>
            </a:pathLst>
          </a:custGeom>
          <a:ln w="13919">
            <a:solidFill>
              <a:srgbClr val="006FAC"/>
            </a:solidFill>
          </a:ln>
        </p:spPr>
        <p:txBody>
          <a:bodyPr wrap="square" lIns="0" tIns="0" rIns="0" bIns="0" rtlCol="0"/>
          <a:lstStyle/>
          <a:p>
            <a:endParaRPr/>
          </a:p>
        </p:txBody>
      </p:sp>
      <p:sp>
        <p:nvSpPr>
          <p:cNvPr id="278" name="object 278"/>
          <p:cNvSpPr/>
          <p:nvPr/>
        </p:nvSpPr>
        <p:spPr>
          <a:xfrm>
            <a:off x="5783402" y="4849526"/>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79" name="object 279"/>
          <p:cNvSpPr/>
          <p:nvPr/>
        </p:nvSpPr>
        <p:spPr>
          <a:xfrm>
            <a:off x="5783402" y="4873575"/>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280" name="object 280"/>
          <p:cNvSpPr/>
          <p:nvPr/>
        </p:nvSpPr>
        <p:spPr>
          <a:xfrm>
            <a:off x="5783126" y="4897693"/>
            <a:ext cx="635" cy="13970"/>
          </a:xfrm>
          <a:custGeom>
            <a:avLst/>
            <a:gdLst/>
            <a:ahLst/>
            <a:cxnLst/>
            <a:rect l="l" t="t" r="r" b="b"/>
            <a:pathLst>
              <a:path w="635" h="13970">
                <a:moveTo>
                  <a:pt x="275" y="0"/>
                </a:moveTo>
                <a:lnTo>
                  <a:pt x="275" y="0"/>
                </a:lnTo>
                <a:lnTo>
                  <a:pt x="0" y="13919"/>
                </a:lnTo>
              </a:path>
            </a:pathLst>
          </a:custGeom>
          <a:ln w="3333">
            <a:solidFill>
              <a:srgbClr val="006FAC"/>
            </a:solidFill>
          </a:ln>
        </p:spPr>
        <p:txBody>
          <a:bodyPr wrap="square" lIns="0" tIns="0" rIns="0" bIns="0" rtlCol="0"/>
          <a:lstStyle/>
          <a:p>
            <a:endParaRPr/>
          </a:p>
        </p:txBody>
      </p:sp>
      <p:sp>
        <p:nvSpPr>
          <p:cNvPr id="281" name="object 281"/>
          <p:cNvSpPr/>
          <p:nvPr/>
        </p:nvSpPr>
        <p:spPr>
          <a:xfrm>
            <a:off x="5783126" y="4921984"/>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282" name="object 282"/>
          <p:cNvSpPr/>
          <p:nvPr/>
        </p:nvSpPr>
        <p:spPr>
          <a:xfrm>
            <a:off x="5783126" y="4946102"/>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83" name="object 283"/>
          <p:cNvSpPr/>
          <p:nvPr/>
        </p:nvSpPr>
        <p:spPr>
          <a:xfrm>
            <a:off x="5783126" y="4970220"/>
            <a:ext cx="0" cy="13970"/>
          </a:xfrm>
          <a:custGeom>
            <a:avLst/>
            <a:gdLst/>
            <a:ahLst/>
            <a:cxnLst/>
            <a:rect l="l" t="t" r="r" b="b"/>
            <a:pathLst>
              <a:path h="13970">
                <a:moveTo>
                  <a:pt x="-1666" y="6959"/>
                </a:moveTo>
                <a:lnTo>
                  <a:pt x="1666" y="6959"/>
                </a:lnTo>
              </a:path>
            </a:pathLst>
          </a:custGeom>
          <a:ln w="13919">
            <a:solidFill>
              <a:srgbClr val="006FAC"/>
            </a:solidFill>
          </a:ln>
        </p:spPr>
        <p:txBody>
          <a:bodyPr wrap="square" lIns="0" tIns="0" rIns="0" bIns="0" rtlCol="0"/>
          <a:lstStyle/>
          <a:p>
            <a:endParaRPr/>
          </a:p>
        </p:txBody>
      </p:sp>
      <p:sp>
        <p:nvSpPr>
          <p:cNvPr id="284" name="object 284"/>
          <p:cNvSpPr/>
          <p:nvPr/>
        </p:nvSpPr>
        <p:spPr>
          <a:xfrm>
            <a:off x="5782885" y="4994511"/>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285" name="object 285"/>
          <p:cNvSpPr/>
          <p:nvPr/>
        </p:nvSpPr>
        <p:spPr>
          <a:xfrm>
            <a:off x="5782885" y="5018629"/>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86" name="object 286"/>
          <p:cNvSpPr/>
          <p:nvPr/>
        </p:nvSpPr>
        <p:spPr>
          <a:xfrm>
            <a:off x="5782885" y="5042644"/>
            <a:ext cx="0" cy="14604"/>
          </a:xfrm>
          <a:custGeom>
            <a:avLst/>
            <a:gdLst/>
            <a:ahLst/>
            <a:cxnLst/>
            <a:rect l="l" t="t" r="r" b="b"/>
            <a:pathLst>
              <a:path h="14604">
                <a:moveTo>
                  <a:pt x="-1666" y="7028"/>
                </a:moveTo>
                <a:lnTo>
                  <a:pt x="1666" y="7028"/>
                </a:lnTo>
              </a:path>
            </a:pathLst>
          </a:custGeom>
          <a:ln w="14057">
            <a:solidFill>
              <a:srgbClr val="006FAC"/>
            </a:solidFill>
          </a:ln>
        </p:spPr>
        <p:txBody>
          <a:bodyPr wrap="square" lIns="0" tIns="0" rIns="0" bIns="0" rtlCol="0"/>
          <a:lstStyle/>
          <a:p>
            <a:endParaRPr/>
          </a:p>
        </p:txBody>
      </p:sp>
      <p:sp>
        <p:nvSpPr>
          <p:cNvPr id="287" name="object 287"/>
          <p:cNvSpPr/>
          <p:nvPr/>
        </p:nvSpPr>
        <p:spPr>
          <a:xfrm>
            <a:off x="5782610" y="5067038"/>
            <a:ext cx="635" cy="13970"/>
          </a:xfrm>
          <a:custGeom>
            <a:avLst/>
            <a:gdLst/>
            <a:ahLst/>
            <a:cxnLst/>
            <a:rect l="l" t="t" r="r" b="b"/>
            <a:pathLst>
              <a:path w="635" h="13970">
                <a:moveTo>
                  <a:pt x="275" y="0"/>
                </a:moveTo>
                <a:lnTo>
                  <a:pt x="275" y="0"/>
                </a:lnTo>
                <a:lnTo>
                  <a:pt x="0" y="13781"/>
                </a:lnTo>
              </a:path>
            </a:pathLst>
          </a:custGeom>
          <a:ln w="3333">
            <a:solidFill>
              <a:srgbClr val="006FAC"/>
            </a:solidFill>
          </a:ln>
        </p:spPr>
        <p:txBody>
          <a:bodyPr wrap="square" lIns="0" tIns="0" rIns="0" bIns="0" rtlCol="0"/>
          <a:lstStyle/>
          <a:p>
            <a:endParaRPr/>
          </a:p>
        </p:txBody>
      </p:sp>
      <p:sp>
        <p:nvSpPr>
          <p:cNvPr id="288" name="object 288"/>
          <p:cNvSpPr/>
          <p:nvPr/>
        </p:nvSpPr>
        <p:spPr>
          <a:xfrm>
            <a:off x="5782610" y="5091156"/>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89" name="object 289"/>
          <p:cNvSpPr/>
          <p:nvPr/>
        </p:nvSpPr>
        <p:spPr>
          <a:xfrm>
            <a:off x="5782610" y="5115205"/>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290" name="object 290"/>
          <p:cNvSpPr/>
          <p:nvPr/>
        </p:nvSpPr>
        <p:spPr>
          <a:xfrm>
            <a:off x="5782610" y="5139565"/>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291" name="object 291"/>
          <p:cNvSpPr/>
          <p:nvPr/>
        </p:nvSpPr>
        <p:spPr>
          <a:xfrm>
            <a:off x="5782369" y="5163683"/>
            <a:ext cx="635" cy="13970"/>
          </a:xfrm>
          <a:custGeom>
            <a:avLst/>
            <a:gdLst/>
            <a:ahLst/>
            <a:cxnLst/>
            <a:rect l="l" t="t" r="r" b="b"/>
            <a:pathLst>
              <a:path w="635" h="13970">
                <a:moveTo>
                  <a:pt x="240" y="0"/>
                </a:moveTo>
                <a:lnTo>
                  <a:pt x="240" y="0"/>
                </a:lnTo>
                <a:lnTo>
                  <a:pt x="0" y="13678"/>
                </a:lnTo>
              </a:path>
            </a:pathLst>
          </a:custGeom>
          <a:ln w="3333">
            <a:solidFill>
              <a:srgbClr val="006FAC"/>
            </a:solidFill>
          </a:ln>
        </p:spPr>
        <p:txBody>
          <a:bodyPr wrap="square" lIns="0" tIns="0" rIns="0" bIns="0" rtlCol="0"/>
          <a:lstStyle/>
          <a:p>
            <a:endParaRPr/>
          </a:p>
        </p:txBody>
      </p:sp>
      <p:sp>
        <p:nvSpPr>
          <p:cNvPr id="292" name="object 292"/>
          <p:cNvSpPr/>
          <p:nvPr/>
        </p:nvSpPr>
        <p:spPr>
          <a:xfrm>
            <a:off x="5782369" y="5187732"/>
            <a:ext cx="0" cy="14604"/>
          </a:xfrm>
          <a:custGeom>
            <a:avLst/>
            <a:gdLst/>
            <a:ahLst/>
            <a:cxnLst/>
            <a:rect l="l" t="t" r="r" b="b"/>
            <a:pathLst>
              <a:path h="14604">
                <a:moveTo>
                  <a:pt x="-1666" y="7008"/>
                </a:moveTo>
                <a:lnTo>
                  <a:pt x="1666" y="7008"/>
                </a:lnTo>
              </a:path>
            </a:pathLst>
          </a:custGeom>
          <a:ln w="14016">
            <a:solidFill>
              <a:srgbClr val="006FAC"/>
            </a:solidFill>
          </a:ln>
        </p:spPr>
        <p:txBody>
          <a:bodyPr wrap="square" lIns="0" tIns="0" rIns="0" bIns="0" rtlCol="0"/>
          <a:lstStyle/>
          <a:p>
            <a:endParaRPr/>
          </a:p>
        </p:txBody>
      </p:sp>
      <p:sp>
        <p:nvSpPr>
          <p:cNvPr id="293" name="object 293"/>
          <p:cNvSpPr/>
          <p:nvPr/>
        </p:nvSpPr>
        <p:spPr>
          <a:xfrm>
            <a:off x="5782369" y="5212099"/>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94" name="object 294"/>
          <p:cNvSpPr/>
          <p:nvPr/>
        </p:nvSpPr>
        <p:spPr>
          <a:xfrm>
            <a:off x="5782369" y="5236131"/>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295" name="object 295"/>
          <p:cNvSpPr/>
          <p:nvPr/>
        </p:nvSpPr>
        <p:spPr>
          <a:xfrm>
            <a:off x="5782093" y="5260252"/>
            <a:ext cx="0" cy="13970"/>
          </a:xfrm>
          <a:custGeom>
            <a:avLst/>
            <a:gdLst/>
            <a:ahLst/>
            <a:cxnLst/>
            <a:rect l="l" t="t" r="r" b="b"/>
            <a:pathLst>
              <a:path h="13970">
                <a:moveTo>
                  <a:pt x="-1666" y="6970"/>
                </a:moveTo>
                <a:lnTo>
                  <a:pt x="1666" y="6970"/>
                </a:lnTo>
              </a:path>
            </a:pathLst>
          </a:custGeom>
          <a:ln w="13940">
            <a:solidFill>
              <a:srgbClr val="006FAC"/>
            </a:solidFill>
          </a:ln>
        </p:spPr>
        <p:txBody>
          <a:bodyPr wrap="square" lIns="0" tIns="0" rIns="0" bIns="0" rtlCol="0"/>
          <a:lstStyle/>
          <a:p>
            <a:endParaRPr/>
          </a:p>
        </p:txBody>
      </p:sp>
      <p:sp>
        <p:nvSpPr>
          <p:cNvPr id="296" name="object 296"/>
          <p:cNvSpPr/>
          <p:nvPr/>
        </p:nvSpPr>
        <p:spPr>
          <a:xfrm>
            <a:off x="5782093" y="5284629"/>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297" name="object 297"/>
          <p:cNvSpPr/>
          <p:nvPr/>
        </p:nvSpPr>
        <p:spPr>
          <a:xfrm>
            <a:off x="5782093" y="5308665"/>
            <a:ext cx="0" cy="13970"/>
          </a:xfrm>
          <a:custGeom>
            <a:avLst/>
            <a:gdLst/>
            <a:ahLst/>
            <a:cxnLst/>
            <a:rect l="l" t="t" r="r" b="b"/>
            <a:pathLst>
              <a:path h="13970">
                <a:moveTo>
                  <a:pt x="-1666" y="6884"/>
                </a:moveTo>
                <a:lnTo>
                  <a:pt x="1666" y="6884"/>
                </a:lnTo>
              </a:path>
            </a:pathLst>
          </a:custGeom>
          <a:ln w="13768">
            <a:solidFill>
              <a:srgbClr val="006FAC"/>
            </a:solidFill>
          </a:ln>
        </p:spPr>
        <p:txBody>
          <a:bodyPr wrap="square" lIns="0" tIns="0" rIns="0" bIns="0" rtlCol="0"/>
          <a:lstStyle/>
          <a:p>
            <a:endParaRPr/>
          </a:p>
        </p:txBody>
      </p:sp>
      <p:sp>
        <p:nvSpPr>
          <p:cNvPr id="298" name="object 298"/>
          <p:cNvSpPr/>
          <p:nvPr/>
        </p:nvSpPr>
        <p:spPr>
          <a:xfrm>
            <a:off x="5781852" y="5332783"/>
            <a:ext cx="635" cy="13970"/>
          </a:xfrm>
          <a:custGeom>
            <a:avLst/>
            <a:gdLst/>
            <a:ahLst/>
            <a:cxnLst/>
            <a:rect l="l" t="t" r="r" b="b"/>
            <a:pathLst>
              <a:path w="635" h="13970">
                <a:moveTo>
                  <a:pt x="240" y="0"/>
                </a:moveTo>
                <a:lnTo>
                  <a:pt x="240" y="0"/>
                </a:lnTo>
                <a:lnTo>
                  <a:pt x="0" y="13940"/>
                </a:lnTo>
              </a:path>
            </a:pathLst>
          </a:custGeom>
          <a:ln w="3333">
            <a:solidFill>
              <a:srgbClr val="006FAC"/>
            </a:solidFill>
          </a:ln>
        </p:spPr>
        <p:txBody>
          <a:bodyPr wrap="square" lIns="0" tIns="0" rIns="0" bIns="0" rtlCol="0"/>
          <a:lstStyle/>
          <a:p>
            <a:endParaRPr/>
          </a:p>
        </p:txBody>
      </p:sp>
      <p:sp>
        <p:nvSpPr>
          <p:cNvPr id="299" name="object 299"/>
          <p:cNvSpPr/>
          <p:nvPr/>
        </p:nvSpPr>
        <p:spPr>
          <a:xfrm>
            <a:off x="5781852" y="5357074"/>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300" name="object 300"/>
          <p:cNvSpPr/>
          <p:nvPr/>
        </p:nvSpPr>
        <p:spPr>
          <a:xfrm>
            <a:off x="5781852" y="5381195"/>
            <a:ext cx="0" cy="13970"/>
          </a:xfrm>
          <a:custGeom>
            <a:avLst/>
            <a:gdLst/>
            <a:ahLst/>
            <a:cxnLst/>
            <a:rect l="l" t="t" r="r" b="b"/>
            <a:pathLst>
              <a:path h="13970">
                <a:moveTo>
                  <a:pt x="-1666" y="6884"/>
                </a:moveTo>
                <a:lnTo>
                  <a:pt x="1666" y="6884"/>
                </a:lnTo>
              </a:path>
            </a:pathLst>
          </a:custGeom>
          <a:ln w="13768">
            <a:solidFill>
              <a:srgbClr val="006FAC"/>
            </a:solidFill>
          </a:ln>
        </p:spPr>
        <p:txBody>
          <a:bodyPr wrap="square" lIns="0" tIns="0" rIns="0" bIns="0" rtlCol="0"/>
          <a:lstStyle/>
          <a:p>
            <a:endParaRPr/>
          </a:p>
        </p:txBody>
      </p:sp>
      <p:sp>
        <p:nvSpPr>
          <p:cNvPr id="301" name="object 301"/>
          <p:cNvSpPr/>
          <p:nvPr/>
        </p:nvSpPr>
        <p:spPr>
          <a:xfrm>
            <a:off x="5781852" y="5405313"/>
            <a:ext cx="0" cy="13970"/>
          </a:xfrm>
          <a:custGeom>
            <a:avLst/>
            <a:gdLst/>
            <a:ahLst/>
            <a:cxnLst/>
            <a:rect l="l" t="t" r="r" b="b"/>
            <a:pathLst>
              <a:path h="13970">
                <a:moveTo>
                  <a:pt x="-1666" y="6971"/>
                </a:moveTo>
                <a:lnTo>
                  <a:pt x="1666" y="6971"/>
                </a:lnTo>
              </a:path>
            </a:pathLst>
          </a:custGeom>
          <a:ln w="13943">
            <a:solidFill>
              <a:srgbClr val="006FAC"/>
            </a:solidFill>
          </a:ln>
        </p:spPr>
        <p:txBody>
          <a:bodyPr wrap="square" lIns="0" tIns="0" rIns="0" bIns="0" rtlCol="0"/>
          <a:lstStyle/>
          <a:p>
            <a:endParaRPr/>
          </a:p>
        </p:txBody>
      </p:sp>
      <p:sp>
        <p:nvSpPr>
          <p:cNvPr id="302" name="object 302"/>
          <p:cNvSpPr/>
          <p:nvPr/>
        </p:nvSpPr>
        <p:spPr>
          <a:xfrm>
            <a:off x="5781611" y="5429604"/>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303" name="object 303"/>
          <p:cNvSpPr/>
          <p:nvPr/>
        </p:nvSpPr>
        <p:spPr>
          <a:xfrm>
            <a:off x="5781611" y="5453726"/>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304" name="object 304"/>
          <p:cNvSpPr/>
          <p:nvPr/>
        </p:nvSpPr>
        <p:spPr>
          <a:xfrm>
            <a:off x="5781611" y="5477761"/>
            <a:ext cx="0" cy="14604"/>
          </a:xfrm>
          <a:custGeom>
            <a:avLst/>
            <a:gdLst/>
            <a:ahLst/>
            <a:cxnLst/>
            <a:rect l="l" t="t" r="r" b="b"/>
            <a:pathLst>
              <a:path h="14604">
                <a:moveTo>
                  <a:pt x="-1666" y="7013"/>
                </a:moveTo>
                <a:lnTo>
                  <a:pt x="1666" y="7013"/>
                </a:lnTo>
              </a:path>
            </a:pathLst>
          </a:custGeom>
          <a:ln w="14026">
            <a:solidFill>
              <a:srgbClr val="006FAC"/>
            </a:solidFill>
          </a:ln>
        </p:spPr>
        <p:txBody>
          <a:bodyPr wrap="square" lIns="0" tIns="0" rIns="0" bIns="0" rtlCol="0"/>
          <a:lstStyle/>
          <a:p>
            <a:endParaRPr/>
          </a:p>
        </p:txBody>
      </p:sp>
      <p:sp>
        <p:nvSpPr>
          <p:cNvPr id="305" name="object 305"/>
          <p:cNvSpPr/>
          <p:nvPr/>
        </p:nvSpPr>
        <p:spPr>
          <a:xfrm>
            <a:off x="5781336" y="5502138"/>
            <a:ext cx="635" cy="13970"/>
          </a:xfrm>
          <a:custGeom>
            <a:avLst/>
            <a:gdLst/>
            <a:ahLst/>
            <a:cxnLst/>
            <a:rect l="l" t="t" r="r" b="b"/>
            <a:pathLst>
              <a:path w="635" h="13970">
                <a:moveTo>
                  <a:pt x="275" y="0"/>
                </a:moveTo>
                <a:lnTo>
                  <a:pt x="275" y="0"/>
                </a:lnTo>
                <a:lnTo>
                  <a:pt x="0" y="13769"/>
                </a:lnTo>
              </a:path>
            </a:pathLst>
          </a:custGeom>
          <a:ln w="3333">
            <a:solidFill>
              <a:srgbClr val="006FAC"/>
            </a:solidFill>
          </a:ln>
        </p:spPr>
        <p:txBody>
          <a:bodyPr wrap="square" lIns="0" tIns="0" rIns="0" bIns="0" rtlCol="0"/>
          <a:lstStyle/>
          <a:p>
            <a:endParaRPr/>
          </a:p>
        </p:txBody>
      </p:sp>
      <p:sp>
        <p:nvSpPr>
          <p:cNvPr id="306" name="object 306"/>
          <p:cNvSpPr/>
          <p:nvPr/>
        </p:nvSpPr>
        <p:spPr>
          <a:xfrm>
            <a:off x="5781336" y="5526256"/>
            <a:ext cx="0" cy="13970"/>
          </a:xfrm>
          <a:custGeom>
            <a:avLst/>
            <a:gdLst/>
            <a:ahLst/>
            <a:cxnLst/>
            <a:rect l="l" t="t" r="r" b="b"/>
            <a:pathLst>
              <a:path h="13970">
                <a:moveTo>
                  <a:pt x="-1666" y="6842"/>
                </a:moveTo>
                <a:lnTo>
                  <a:pt x="1666" y="6842"/>
                </a:lnTo>
              </a:path>
            </a:pathLst>
          </a:custGeom>
          <a:ln w="13684">
            <a:solidFill>
              <a:srgbClr val="006FAC"/>
            </a:solidFill>
          </a:ln>
        </p:spPr>
        <p:txBody>
          <a:bodyPr wrap="square" lIns="0" tIns="0" rIns="0" bIns="0" rtlCol="0"/>
          <a:lstStyle/>
          <a:p>
            <a:endParaRPr/>
          </a:p>
        </p:txBody>
      </p:sp>
      <p:sp>
        <p:nvSpPr>
          <p:cNvPr id="307" name="object 307"/>
          <p:cNvSpPr/>
          <p:nvPr/>
        </p:nvSpPr>
        <p:spPr>
          <a:xfrm>
            <a:off x="5450071" y="4386627"/>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308" name="object 308"/>
          <p:cNvSpPr/>
          <p:nvPr/>
        </p:nvSpPr>
        <p:spPr>
          <a:xfrm>
            <a:off x="5450071" y="4410746"/>
            <a:ext cx="635" cy="14604"/>
          </a:xfrm>
          <a:custGeom>
            <a:avLst/>
            <a:gdLst/>
            <a:ahLst/>
            <a:cxnLst/>
            <a:rect l="l" t="t" r="r" b="b"/>
            <a:pathLst>
              <a:path w="635" h="14604">
                <a:moveTo>
                  <a:pt x="0" y="0"/>
                </a:moveTo>
                <a:lnTo>
                  <a:pt x="0" y="0"/>
                </a:lnTo>
                <a:lnTo>
                  <a:pt x="275" y="14023"/>
                </a:lnTo>
              </a:path>
            </a:pathLst>
          </a:custGeom>
          <a:ln w="3333">
            <a:solidFill>
              <a:srgbClr val="006FAC"/>
            </a:solidFill>
          </a:ln>
        </p:spPr>
        <p:txBody>
          <a:bodyPr wrap="square" lIns="0" tIns="0" rIns="0" bIns="0" rtlCol="0"/>
          <a:lstStyle/>
          <a:p>
            <a:endParaRPr/>
          </a:p>
        </p:txBody>
      </p:sp>
      <p:sp>
        <p:nvSpPr>
          <p:cNvPr id="309" name="object 309"/>
          <p:cNvSpPr/>
          <p:nvPr/>
        </p:nvSpPr>
        <p:spPr>
          <a:xfrm>
            <a:off x="5450347" y="4435140"/>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10" name="object 310"/>
          <p:cNvSpPr/>
          <p:nvPr/>
        </p:nvSpPr>
        <p:spPr>
          <a:xfrm>
            <a:off x="5450347" y="4459154"/>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311" name="object 311"/>
          <p:cNvSpPr/>
          <p:nvPr/>
        </p:nvSpPr>
        <p:spPr>
          <a:xfrm>
            <a:off x="5450347" y="4483273"/>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312" name="object 312"/>
          <p:cNvSpPr/>
          <p:nvPr/>
        </p:nvSpPr>
        <p:spPr>
          <a:xfrm>
            <a:off x="5450588" y="4507667"/>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13" name="object 313"/>
          <p:cNvSpPr/>
          <p:nvPr/>
        </p:nvSpPr>
        <p:spPr>
          <a:xfrm>
            <a:off x="5450588" y="4531681"/>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314" name="object 314"/>
          <p:cNvSpPr/>
          <p:nvPr/>
        </p:nvSpPr>
        <p:spPr>
          <a:xfrm>
            <a:off x="5450588" y="4555800"/>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315" name="object 315"/>
          <p:cNvSpPr/>
          <p:nvPr/>
        </p:nvSpPr>
        <p:spPr>
          <a:xfrm>
            <a:off x="5450588" y="4580090"/>
            <a:ext cx="635" cy="13970"/>
          </a:xfrm>
          <a:custGeom>
            <a:avLst/>
            <a:gdLst/>
            <a:ahLst/>
            <a:cxnLst/>
            <a:rect l="l" t="t" r="r" b="b"/>
            <a:pathLst>
              <a:path w="635" h="13970">
                <a:moveTo>
                  <a:pt x="0" y="0"/>
                </a:moveTo>
                <a:lnTo>
                  <a:pt x="0" y="0"/>
                </a:lnTo>
                <a:lnTo>
                  <a:pt x="240" y="13781"/>
                </a:lnTo>
              </a:path>
            </a:pathLst>
          </a:custGeom>
          <a:ln w="3333">
            <a:solidFill>
              <a:srgbClr val="006FAC"/>
            </a:solidFill>
          </a:ln>
        </p:spPr>
        <p:txBody>
          <a:bodyPr wrap="square" lIns="0" tIns="0" rIns="0" bIns="0" rtlCol="0"/>
          <a:lstStyle/>
          <a:p>
            <a:endParaRPr/>
          </a:p>
        </p:txBody>
      </p:sp>
      <p:sp>
        <p:nvSpPr>
          <p:cNvPr id="316" name="object 316"/>
          <p:cNvSpPr/>
          <p:nvPr/>
        </p:nvSpPr>
        <p:spPr>
          <a:xfrm>
            <a:off x="5450829" y="4604208"/>
            <a:ext cx="0" cy="13970"/>
          </a:xfrm>
          <a:custGeom>
            <a:avLst/>
            <a:gdLst/>
            <a:ahLst/>
            <a:cxnLst/>
            <a:rect l="l" t="t" r="r" b="b"/>
            <a:pathLst>
              <a:path h="13970">
                <a:moveTo>
                  <a:pt x="-1666" y="6856"/>
                </a:moveTo>
                <a:lnTo>
                  <a:pt x="1666" y="6856"/>
                </a:lnTo>
              </a:path>
            </a:pathLst>
          </a:custGeom>
          <a:ln w="13712">
            <a:solidFill>
              <a:srgbClr val="006FAC"/>
            </a:solidFill>
          </a:ln>
        </p:spPr>
        <p:txBody>
          <a:bodyPr wrap="square" lIns="0" tIns="0" rIns="0" bIns="0" rtlCol="0"/>
          <a:lstStyle/>
          <a:p>
            <a:endParaRPr/>
          </a:p>
        </p:txBody>
      </p:sp>
      <p:sp>
        <p:nvSpPr>
          <p:cNvPr id="317" name="object 317"/>
          <p:cNvSpPr/>
          <p:nvPr/>
        </p:nvSpPr>
        <p:spPr>
          <a:xfrm>
            <a:off x="5450829" y="4628327"/>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318" name="object 318"/>
          <p:cNvSpPr/>
          <p:nvPr/>
        </p:nvSpPr>
        <p:spPr>
          <a:xfrm>
            <a:off x="5450829" y="4652617"/>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319" name="object 319"/>
          <p:cNvSpPr/>
          <p:nvPr/>
        </p:nvSpPr>
        <p:spPr>
          <a:xfrm>
            <a:off x="5451104" y="4676770"/>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20" name="object 320"/>
          <p:cNvSpPr/>
          <p:nvPr/>
        </p:nvSpPr>
        <p:spPr>
          <a:xfrm>
            <a:off x="5451104" y="4700785"/>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321" name="object 321"/>
          <p:cNvSpPr/>
          <p:nvPr/>
        </p:nvSpPr>
        <p:spPr>
          <a:xfrm>
            <a:off x="5451104" y="4725179"/>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322" name="object 322"/>
          <p:cNvSpPr/>
          <p:nvPr/>
        </p:nvSpPr>
        <p:spPr>
          <a:xfrm>
            <a:off x="5451104" y="4749297"/>
            <a:ext cx="635" cy="13970"/>
          </a:xfrm>
          <a:custGeom>
            <a:avLst/>
            <a:gdLst/>
            <a:ahLst/>
            <a:cxnLst/>
            <a:rect l="l" t="t" r="r" b="b"/>
            <a:pathLst>
              <a:path w="635" h="13970">
                <a:moveTo>
                  <a:pt x="0" y="0"/>
                </a:moveTo>
                <a:lnTo>
                  <a:pt x="0" y="0"/>
                </a:lnTo>
                <a:lnTo>
                  <a:pt x="240" y="13678"/>
                </a:lnTo>
              </a:path>
            </a:pathLst>
          </a:custGeom>
          <a:ln w="3333">
            <a:solidFill>
              <a:srgbClr val="006FAC"/>
            </a:solidFill>
          </a:ln>
        </p:spPr>
        <p:txBody>
          <a:bodyPr wrap="square" lIns="0" tIns="0" rIns="0" bIns="0" rtlCol="0"/>
          <a:lstStyle/>
          <a:p>
            <a:endParaRPr/>
          </a:p>
        </p:txBody>
      </p:sp>
      <p:sp>
        <p:nvSpPr>
          <p:cNvPr id="323" name="object 323"/>
          <p:cNvSpPr/>
          <p:nvPr/>
        </p:nvSpPr>
        <p:spPr>
          <a:xfrm>
            <a:off x="5451345" y="4773312"/>
            <a:ext cx="0" cy="14604"/>
          </a:xfrm>
          <a:custGeom>
            <a:avLst/>
            <a:gdLst/>
            <a:ahLst/>
            <a:cxnLst/>
            <a:rect l="l" t="t" r="r" b="b"/>
            <a:pathLst>
              <a:path h="14604">
                <a:moveTo>
                  <a:pt x="-1666" y="7011"/>
                </a:moveTo>
                <a:lnTo>
                  <a:pt x="1666" y="7011"/>
                </a:lnTo>
              </a:path>
            </a:pathLst>
          </a:custGeom>
          <a:ln w="14023">
            <a:solidFill>
              <a:srgbClr val="006FAC"/>
            </a:solidFill>
          </a:ln>
        </p:spPr>
        <p:txBody>
          <a:bodyPr wrap="square" lIns="0" tIns="0" rIns="0" bIns="0" rtlCol="0"/>
          <a:lstStyle/>
          <a:p>
            <a:endParaRPr/>
          </a:p>
        </p:txBody>
      </p:sp>
      <p:sp>
        <p:nvSpPr>
          <p:cNvPr id="324" name="object 324"/>
          <p:cNvSpPr/>
          <p:nvPr/>
        </p:nvSpPr>
        <p:spPr>
          <a:xfrm>
            <a:off x="5451345" y="4797706"/>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25" name="object 325"/>
          <p:cNvSpPr/>
          <p:nvPr/>
        </p:nvSpPr>
        <p:spPr>
          <a:xfrm>
            <a:off x="5451345" y="4821824"/>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26" name="object 326"/>
          <p:cNvSpPr/>
          <p:nvPr/>
        </p:nvSpPr>
        <p:spPr>
          <a:xfrm>
            <a:off x="5451345" y="4845839"/>
            <a:ext cx="635" cy="14604"/>
          </a:xfrm>
          <a:custGeom>
            <a:avLst/>
            <a:gdLst/>
            <a:ahLst/>
            <a:cxnLst/>
            <a:rect l="l" t="t" r="r" b="b"/>
            <a:pathLst>
              <a:path w="635" h="14604">
                <a:moveTo>
                  <a:pt x="0" y="0"/>
                </a:moveTo>
                <a:lnTo>
                  <a:pt x="0" y="0"/>
                </a:lnTo>
                <a:lnTo>
                  <a:pt x="275" y="14023"/>
                </a:lnTo>
              </a:path>
            </a:pathLst>
          </a:custGeom>
          <a:ln w="3333">
            <a:solidFill>
              <a:srgbClr val="006FAC"/>
            </a:solidFill>
          </a:ln>
        </p:spPr>
        <p:txBody>
          <a:bodyPr wrap="square" lIns="0" tIns="0" rIns="0" bIns="0" rtlCol="0"/>
          <a:lstStyle/>
          <a:p>
            <a:endParaRPr/>
          </a:p>
        </p:txBody>
      </p:sp>
      <p:sp>
        <p:nvSpPr>
          <p:cNvPr id="327" name="object 327"/>
          <p:cNvSpPr/>
          <p:nvPr/>
        </p:nvSpPr>
        <p:spPr>
          <a:xfrm>
            <a:off x="5451621" y="4870233"/>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28" name="object 328"/>
          <p:cNvSpPr/>
          <p:nvPr/>
        </p:nvSpPr>
        <p:spPr>
          <a:xfrm>
            <a:off x="5451621" y="4894248"/>
            <a:ext cx="0" cy="13970"/>
          </a:xfrm>
          <a:custGeom>
            <a:avLst/>
            <a:gdLst/>
            <a:ahLst/>
            <a:cxnLst/>
            <a:rect l="l" t="t" r="r" b="b"/>
            <a:pathLst>
              <a:path h="13970">
                <a:moveTo>
                  <a:pt x="-1666" y="6890"/>
                </a:moveTo>
                <a:lnTo>
                  <a:pt x="1666" y="6890"/>
                </a:lnTo>
              </a:path>
            </a:pathLst>
          </a:custGeom>
          <a:ln w="13781">
            <a:solidFill>
              <a:srgbClr val="006FAC"/>
            </a:solidFill>
          </a:ln>
        </p:spPr>
        <p:txBody>
          <a:bodyPr wrap="square" lIns="0" tIns="0" rIns="0" bIns="0" rtlCol="0"/>
          <a:lstStyle/>
          <a:p>
            <a:endParaRPr/>
          </a:p>
        </p:txBody>
      </p:sp>
      <p:sp>
        <p:nvSpPr>
          <p:cNvPr id="329" name="object 329"/>
          <p:cNvSpPr/>
          <p:nvPr/>
        </p:nvSpPr>
        <p:spPr>
          <a:xfrm>
            <a:off x="5451621" y="4918366"/>
            <a:ext cx="0" cy="13970"/>
          </a:xfrm>
          <a:custGeom>
            <a:avLst/>
            <a:gdLst/>
            <a:ahLst/>
            <a:cxnLst/>
            <a:rect l="l" t="t" r="r" b="b"/>
            <a:pathLst>
              <a:path h="13970">
                <a:moveTo>
                  <a:pt x="-1666" y="6977"/>
                </a:moveTo>
                <a:lnTo>
                  <a:pt x="1666" y="6977"/>
                </a:lnTo>
              </a:path>
            </a:pathLst>
          </a:custGeom>
          <a:ln w="13954">
            <a:solidFill>
              <a:srgbClr val="006FAC"/>
            </a:solidFill>
          </a:ln>
        </p:spPr>
        <p:txBody>
          <a:bodyPr wrap="square" lIns="0" tIns="0" rIns="0" bIns="0" rtlCol="0"/>
          <a:lstStyle/>
          <a:p>
            <a:endParaRPr/>
          </a:p>
        </p:txBody>
      </p:sp>
      <p:sp>
        <p:nvSpPr>
          <p:cNvPr id="330" name="object 330"/>
          <p:cNvSpPr/>
          <p:nvPr/>
        </p:nvSpPr>
        <p:spPr>
          <a:xfrm>
            <a:off x="5451862" y="4942760"/>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31" name="object 331"/>
          <p:cNvSpPr/>
          <p:nvPr/>
        </p:nvSpPr>
        <p:spPr>
          <a:xfrm>
            <a:off x="5451862" y="4966809"/>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332" name="object 332"/>
          <p:cNvSpPr/>
          <p:nvPr/>
        </p:nvSpPr>
        <p:spPr>
          <a:xfrm>
            <a:off x="5451862" y="4990927"/>
            <a:ext cx="0" cy="13970"/>
          </a:xfrm>
          <a:custGeom>
            <a:avLst/>
            <a:gdLst/>
            <a:ahLst/>
            <a:cxnLst/>
            <a:rect l="l" t="t" r="r" b="b"/>
            <a:pathLst>
              <a:path h="13970">
                <a:moveTo>
                  <a:pt x="-1666" y="6959"/>
                </a:moveTo>
                <a:lnTo>
                  <a:pt x="1666" y="6959"/>
                </a:lnTo>
              </a:path>
            </a:pathLst>
          </a:custGeom>
          <a:ln w="13919">
            <a:solidFill>
              <a:srgbClr val="006FAC"/>
            </a:solidFill>
          </a:ln>
        </p:spPr>
        <p:txBody>
          <a:bodyPr wrap="square" lIns="0" tIns="0" rIns="0" bIns="0" rtlCol="0"/>
          <a:lstStyle/>
          <a:p>
            <a:endParaRPr/>
          </a:p>
        </p:txBody>
      </p:sp>
      <p:sp>
        <p:nvSpPr>
          <p:cNvPr id="333" name="object 333"/>
          <p:cNvSpPr/>
          <p:nvPr/>
        </p:nvSpPr>
        <p:spPr>
          <a:xfrm>
            <a:off x="5451862" y="5015218"/>
            <a:ext cx="635" cy="13970"/>
          </a:xfrm>
          <a:custGeom>
            <a:avLst/>
            <a:gdLst/>
            <a:ahLst/>
            <a:cxnLst/>
            <a:rect l="l" t="t" r="r" b="b"/>
            <a:pathLst>
              <a:path w="635" h="13970">
                <a:moveTo>
                  <a:pt x="0" y="0"/>
                </a:moveTo>
                <a:lnTo>
                  <a:pt x="0" y="0"/>
                </a:lnTo>
                <a:lnTo>
                  <a:pt x="275" y="13747"/>
                </a:lnTo>
              </a:path>
            </a:pathLst>
          </a:custGeom>
          <a:ln w="3333">
            <a:solidFill>
              <a:srgbClr val="006FAC"/>
            </a:solidFill>
          </a:ln>
        </p:spPr>
        <p:txBody>
          <a:bodyPr wrap="square" lIns="0" tIns="0" rIns="0" bIns="0" rtlCol="0"/>
          <a:lstStyle/>
          <a:p>
            <a:endParaRPr/>
          </a:p>
        </p:txBody>
      </p:sp>
      <p:sp>
        <p:nvSpPr>
          <p:cNvPr id="334" name="object 334"/>
          <p:cNvSpPr/>
          <p:nvPr/>
        </p:nvSpPr>
        <p:spPr>
          <a:xfrm>
            <a:off x="5452137" y="5039336"/>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335" name="object 335"/>
          <p:cNvSpPr/>
          <p:nvPr/>
        </p:nvSpPr>
        <p:spPr>
          <a:xfrm>
            <a:off x="5452137" y="5063454"/>
            <a:ext cx="0" cy="13970"/>
          </a:xfrm>
          <a:custGeom>
            <a:avLst/>
            <a:gdLst/>
            <a:ahLst/>
            <a:cxnLst/>
            <a:rect l="l" t="t" r="r" b="b"/>
            <a:pathLst>
              <a:path h="13970">
                <a:moveTo>
                  <a:pt x="-1666" y="6959"/>
                </a:moveTo>
                <a:lnTo>
                  <a:pt x="1666" y="6959"/>
                </a:lnTo>
              </a:path>
            </a:pathLst>
          </a:custGeom>
          <a:ln w="13919">
            <a:solidFill>
              <a:srgbClr val="006FAC"/>
            </a:solidFill>
          </a:ln>
        </p:spPr>
        <p:txBody>
          <a:bodyPr wrap="square" lIns="0" tIns="0" rIns="0" bIns="0" rtlCol="0"/>
          <a:lstStyle/>
          <a:p>
            <a:endParaRPr/>
          </a:p>
        </p:txBody>
      </p:sp>
      <p:sp>
        <p:nvSpPr>
          <p:cNvPr id="336" name="object 336"/>
          <p:cNvSpPr/>
          <p:nvPr/>
        </p:nvSpPr>
        <p:spPr>
          <a:xfrm>
            <a:off x="5452137" y="5087745"/>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337" name="object 337"/>
          <p:cNvSpPr/>
          <p:nvPr/>
        </p:nvSpPr>
        <p:spPr>
          <a:xfrm>
            <a:off x="5452378" y="5111863"/>
            <a:ext cx="0" cy="13970"/>
          </a:xfrm>
          <a:custGeom>
            <a:avLst/>
            <a:gdLst/>
            <a:ahLst/>
            <a:cxnLst/>
            <a:rect l="l" t="t" r="r" b="b"/>
            <a:pathLst>
              <a:path h="13970">
                <a:moveTo>
                  <a:pt x="-1666" y="6839"/>
                </a:moveTo>
                <a:lnTo>
                  <a:pt x="1666" y="6839"/>
                </a:lnTo>
              </a:path>
            </a:pathLst>
          </a:custGeom>
          <a:ln w="13678">
            <a:solidFill>
              <a:srgbClr val="006FAC"/>
            </a:solidFill>
          </a:ln>
        </p:spPr>
        <p:txBody>
          <a:bodyPr wrap="square" lIns="0" tIns="0" rIns="0" bIns="0" rtlCol="0"/>
          <a:lstStyle/>
          <a:p>
            <a:endParaRPr/>
          </a:p>
        </p:txBody>
      </p:sp>
      <p:sp>
        <p:nvSpPr>
          <p:cNvPr id="338" name="object 338"/>
          <p:cNvSpPr/>
          <p:nvPr/>
        </p:nvSpPr>
        <p:spPr>
          <a:xfrm>
            <a:off x="5452378" y="5135981"/>
            <a:ext cx="0" cy="13970"/>
          </a:xfrm>
          <a:custGeom>
            <a:avLst/>
            <a:gdLst/>
            <a:ahLst/>
            <a:cxnLst/>
            <a:rect l="l" t="t" r="r" b="b"/>
            <a:pathLst>
              <a:path h="13970">
                <a:moveTo>
                  <a:pt x="-1666" y="6959"/>
                </a:moveTo>
                <a:lnTo>
                  <a:pt x="1666" y="6959"/>
                </a:lnTo>
              </a:path>
            </a:pathLst>
          </a:custGeom>
          <a:ln w="13919">
            <a:solidFill>
              <a:srgbClr val="006FAC"/>
            </a:solidFill>
          </a:ln>
        </p:spPr>
        <p:txBody>
          <a:bodyPr wrap="square" lIns="0" tIns="0" rIns="0" bIns="0" rtlCol="0"/>
          <a:lstStyle/>
          <a:p>
            <a:endParaRPr/>
          </a:p>
        </p:txBody>
      </p:sp>
      <p:sp>
        <p:nvSpPr>
          <p:cNvPr id="339" name="object 339"/>
          <p:cNvSpPr/>
          <p:nvPr/>
        </p:nvSpPr>
        <p:spPr>
          <a:xfrm>
            <a:off x="5452378" y="5160272"/>
            <a:ext cx="0" cy="13970"/>
          </a:xfrm>
          <a:custGeom>
            <a:avLst/>
            <a:gdLst/>
            <a:ahLst/>
            <a:cxnLst/>
            <a:rect l="l" t="t" r="r" b="b"/>
            <a:pathLst>
              <a:path h="13970">
                <a:moveTo>
                  <a:pt x="-1666" y="6873"/>
                </a:moveTo>
                <a:lnTo>
                  <a:pt x="1666" y="6873"/>
                </a:lnTo>
              </a:path>
            </a:pathLst>
          </a:custGeom>
          <a:ln w="13747">
            <a:solidFill>
              <a:srgbClr val="006FAC"/>
            </a:solidFill>
          </a:ln>
        </p:spPr>
        <p:txBody>
          <a:bodyPr wrap="square" lIns="0" tIns="0" rIns="0" bIns="0" rtlCol="0"/>
          <a:lstStyle/>
          <a:p>
            <a:endParaRPr/>
          </a:p>
        </p:txBody>
      </p:sp>
      <p:sp>
        <p:nvSpPr>
          <p:cNvPr id="340" name="object 340"/>
          <p:cNvSpPr/>
          <p:nvPr/>
        </p:nvSpPr>
        <p:spPr>
          <a:xfrm>
            <a:off x="5452378" y="5184390"/>
            <a:ext cx="635" cy="13970"/>
          </a:xfrm>
          <a:custGeom>
            <a:avLst/>
            <a:gdLst/>
            <a:ahLst/>
            <a:cxnLst/>
            <a:rect l="l" t="t" r="r" b="b"/>
            <a:pathLst>
              <a:path w="635" h="13970">
                <a:moveTo>
                  <a:pt x="0" y="0"/>
                </a:moveTo>
                <a:lnTo>
                  <a:pt x="0" y="0"/>
                </a:lnTo>
                <a:lnTo>
                  <a:pt x="275" y="13678"/>
                </a:lnTo>
              </a:path>
            </a:pathLst>
          </a:custGeom>
          <a:ln w="3333">
            <a:solidFill>
              <a:srgbClr val="006FAC"/>
            </a:solidFill>
          </a:ln>
        </p:spPr>
        <p:txBody>
          <a:bodyPr wrap="square" lIns="0" tIns="0" rIns="0" bIns="0" rtlCol="0"/>
          <a:lstStyle/>
          <a:p>
            <a:endParaRPr/>
          </a:p>
        </p:txBody>
      </p:sp>
      <p:sp>
        <p:nvSpPr>
          <p:cNvPr id="341" name="object 341"/>
          <p:cNvSpPr/>
          <p:nvPr/>
        </p:nvSpPr>
        <p:spPr>
          <a:xfrm>
            <a:off x="5452653" y="5208419"/>
            <a:ext cx="0" cy="14604"/>
          </a:xfrm>
          <a:custGeom>
            <a:avLst/>
            <a:gdLst/>
            <a:ahLst/>
            <a:cxnLst/>
            <a:rect l="l" t="t" r="r" b="b"/>
            <a:pathLst>
              <a:path h="14604">
                <a:moveTo>
                  <a:pt x="-1666" y="7014"/>
                </a:moveTo>
                <a:lnTo>
                  <a:pt x="1666" y="7014"/>
                </a:lnTo>
              </a:path>
            </a:pathLst>
          </a:custGeom>
          <a:ln w="14029">
            <a:solidFill>
              <a:srgbClr val="006FAC"/>
            </a:solidFill>
          </a:ln>
        </p:spPr>
        <p:txBody>
          <a:bodyPr wrap="square" lIns="0" tIns="0" rIns="0" bIns="0" rtlCol="0"/>
          <a:lstStyle/>
          <a:p>
            <a:endParaRPr/>
          </a:p>
        </p:txBody>
      </p:sp>
      <p:sp>
        <p:nvSpPr>
          <p:cNvPr id="342" name="object 342"/>
          <p:cNvSpPr/>
          <p:nvPr/>
        </p:nvSpPr>
        <p:spPr>
          <a:xfrm>
            <a:off x="5452653" y="5232796"/>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343" name="object 343"/>
          <p:cNvSpPr/>
          <p:nvPr/>
        </p:nvSpPr>
        <p:spPr>
          <a:xfrm>
            <a:off x="5452653" y="5256917"/>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344" name="object 344"/>
          <p:cNvSpPr/>
          <p:nvPr/>
        </p:nvSpPr>
        <p:spPr>
          <a:xfrm>
            <a:off x="5452653" y="5280949"/>
            <a:ext cx="635" cy="14604"/>
          </a:xfrm>
          <a:custGeom>
            <a:avLst/>
            <a:gdLst/>
            <a:ahLst/>
            <a:cxnLst/>
            <a:rect l="l" t="t" r="r" b="b"/>
            <a:pathLst>
              <a:path w="635" h="14604">
                <a:moveTo>
                  <a:pt x="0" y="0"/>
                </a:moveTo>
                <a:lnTo>
                  <a:pt x="0" y="0"/>
                </a:lnTo>
                <a:lnTo>
                  <a:pt x="344" y="14029"/>
                </a:lnTo>
              </a:path>
            </a:pathLst>
          </a:custGeom>
          <a:ln w="3333">
            <a:solidFill>
              <a:srgbClr val="006FAC"/>
            </a:solidFill>
          </a:ln>
        </p:spPr>
        <p:txBody>
          <a:bodyPr wrap="square" lIns="0" tIns="0" rIns="0" bIns="0" rtlCol="0"/>
          <a:lstStyle/>
          <a:p>
            <a:endParaRPr/>
          </a:p>
        </p:txBody>
      </p:sp>
      <p:sp>
        <p:nvSpPr>
          <p:cNvPr id="345" name="object 345"/>
          <p:cNvSpPr/>
          <p:nvPr/>
        </p:nvSpPr>
        <p:spPr>
          <a:xfrm>
            <a:off x="5452998" y="5305326"/>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346" name="object 346"/>
          <p:cNvSpPr/>
          <p:nvPr/>
        </p:nvSpPr>
        <p:spPr>
          <a:xfrm>
            <a:off x="5452998" y="5329362"/>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347" name="object 347"/>
          <p:cNvSpPr/>
          <p:nvPr/>
        </p:nvSpPr>
        <p:spPr>
          <a:xfrm>
            <a:off x="5452998" y="5353483"/>
            <a:ext cx="0" cy="14604"/>
          </a:xfrm>
          <a:custGeom>
            <a:avLst/>
            <a:gdLst/>
            <a:ahLst/>
            <a:cxnLst/>
            <a:rect l="l" t="t" r="r" b="b"/>
            <a:pathLst>
              <a:path h="14604">
                <a:moveTo>
                  <a:pt x="-1666" y="7013"/>
                </a:moveTo>
                <a:lnTo>
                  <a:pt x="1666" y="7013"/>
                </a:lnTo>
              </a:path>
            </a:pathLst>
          </a:custGeom>
          <a:ln w="14026">
            <a:solidFill>
              <a:srgbClr val="006FAC"/>
            </a:solidFill>
          </a:ln>
        </p:spPr>
        <p:txBody>
          <a:bodyPr wrap="square" lIns="0" tIns="0" rIns="0" bIns="0" rtlCol="0"/>
          <a:lstStyle/>
          <a:p>
            <a:endParaRPr/>
          </a:p>
        </p:txBody>
      </p:sp>
      <p:sp>
        <p:nvSpPr>
          <p:cNvPr id="348" name="object 348"/>
          <p:cNvSpPr/>
          <p:nvPr/>
        </p:nvSpPr>
        <p:spPr>
          <a:xfrm>
            <a:off x="5453239" y="5377860"/>
            <a:ext cx="0" cy="13970"/>
          </a:xfrm>
          <a:custGeom>
            <a:avLst/>
            <a:gdLst/>
            <a:ahLst/>
            <a:cxnLst/>
            <a:rect l="l" t="t" r="r" b="b"/>
            <a:pathLst>
              <a:path h="13970">
                <a:moveTo>
                  <a:pt x="-1666" y="6842"/>
                </a:moveTo>
                <a:lnTo>
                  <a:pt x="1666" y="6842"/>
                </a:lnTo>
              </a:path>
            </a:pathLst>
          </a:custGeom>
          <a:ln w="13685">
            <a:solidFill>
              <a:srgbClr val="006FAC"/>
            </a:solidFill>
          </a:ln>
        </p:spPr>
        <p:txBody>
          <a:bodyPr wrap="square" lIns="0" tIns="0" rIns="0" bIns="0" rtlCol="0"/>
          <a:lstStyle/>
          <a:p>
            <a:endParaRPr/>
          </a:p>
        </p:txBody>
      </p:sp>
      <p:sp>
        <p:nvSpPr>
          <p:cNvPr id="349" name="object 349"/>
          <p:cNvSpPr/>
          <p:nvPr/>
        </p:nvSpPr>
        <p:spPr>
          <a:xfrm>
            <a:off x="5453239" y="5401892"/>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350" name="object 350"/>
          <p:cNvSpPr/>
          <p:nvPr/>
        </p:nvSpPr>
        <p:spPr>
          <a:xfrm>
            <a:off x="5453239" y="5426014"/>
            <a:ext cx="0" cy="13970"/>
          </a:xfrm>
          <a:custGeom>
            <a:avLst/>
            <a:gdLst/>
            <a:ahLst/>
            <a:cxnLst/>
            <a:rect l="l" t="t" r="r" b="b"/>
            <a:pathLst>
              <a:path h="13970">
                <a:moveTo>
                  <a:pt x="-1666" y="6970"/>
                </a:moveTo>
                <a:lnTo>
                  <a:pt x="1666" y="6970"/>
                </a:lnTo>
              </a:path>
            </a:pathLst>
          </a:custGeom>
          <a:ln w="13940">
            <a:solidFill>
              <a:srgbClr val="006FAC"/>
            </a:solidFill>
          </a:ln>
        </p:spPr>
        <p:txBody>
          <a:bodyPr wrap="square" lIns="0" tIns="0" rIns="0" bIns="0" rtlCol="0"/>
          <a:lstStyle/>
          <a:p>
            <a:endParaRPr/>
          </a:p>
        </p:txBody>
      </p:sp>
      <p:sp>
        <p:nvSpPr>
          <p:cNvPr id="351" name="object 351"/>
          <p:cNvSpPr/>
          <p:nvPr/>
        </p:nvSpPr>
        <p:spPr>
          <a:xfrm>
            <a:off x="5453239" y="5450390"/>
            <a:ext cx="635" cy="13970"/>
          </a:xfrm>
          <a:custGeom>
            <a:avLst/>
            <a:gdLst/>
            <a:ahLst/>
            <a:cxnLst/>
            <a:rect l="l" t="t" r="r" b="b"/>
            <a:pathLst>
              <a:path w="635" h="13970">
                <a:moveTo>
                  <a:pt x="0" y="0"/>
                </a:moveTo>
                <a:lnTo>
                  <a:pt x="0" y="0"/>
                </a:lnTo>
                <a:lnTo>
                  <a:pt x="240" y="13685"/>
                </a:lnTo>
              </a:path>
            </a:pathLst>
          </a:custGeom>
          <a:ln w="3333">
            <a:solidFill>
              <a:srgbClr val="006FAC"/>
            </a:solidFill>
          </a:ln>
        </p:spPr>
        <p:txBody>
          <a:bodyPr wrap="square" lIns="0" tIns="0" rIns="0" bIns="0" rtlCol="0"/>
          <a:lstStyle/>
          <a:p>
            <a:endParaRPr/>
          </a:p>
        </p:txBody>
      </p:sp>
      <p:sp>
        <p:nvSpPr>
          <p:cNvPr id="352" name="object 352"/>
          <p:cNvSpPr/>
          <p:nvPr/>
        </p:nvSpPr>
        <p:spPr>
          <a:xfrm>
            <a:off x="5453480" y="5474423"/>
            <a:ext cx="0" cy="13970"/>
          </a:xfrm>
          <a:custGeom>
            <a:avLst/>
            <a:gdLst/>
            <a:ahLst/>
            <a:cxnLst/>
            <a:rect l="l" t="t" r="r" b="b"/>
            <a:pathLst>
              <a:path h="13970">
                <a:moveTo>
                  <a:pt x="-1666" y="6885"/>
                </a:moveTo>
                <a:lnTo>
                  <a:pt x="1666" y="6885"/>
                </a:lnTo>
              </a:path>
            </a:pathLst>
          </a:custGeom>
          <a:ln w="13771">
            <a:solidFill>
              <a:srgbClr val="006FAC"/>
            </a:solidFill>
          </a:ln>
        </p:spPr>
        <p:txBody>
          <a:bodyPr wrap="square" lIns="0" tIns="0" rIns="0" bIns="0" rtlCol="0"/>
          <a:lstStyle/>
          <a:p>
            <a:endParaRPr/>
          </a:p>
        </p:txBody>
      </p:sp>
      <p:sp>
        <p:nvSpPr>
          <p:cNvPr id="353" name="object 353"/>
          <p:cNvSpPr/>
          <p:nvPr/>
        </p:nvSpPr>
        <p:spPr>
          <a:xfrm>
            <a:off x="5453480" y="5498544"/>
            <a:ext cx="0" cy="13970"/>
          </a:xfrm>
          <a:custGeom>
            <a:avLst/>
            <a:gdLst/>
            <a:ahLst/>
            <a:cxnLst/>
            <a:rect l="l" t="t" r="r" b="b"/>
            <a:pathLst>
              <a:path h="13970">
                <a:moveTo>
                  <a:pt x="-1666" y="6970"/>
                </a:moveTo>
                <a:lnTo>
                  <a:pt x="1666" y="6970"/>
                </a:lnTo>
              </a:path>
            </a:pathLst>
          </a:custGeom>
          <a:ln w="13941">
            <a:solidFill>
              <a:srgbClr val="006FAC"/>
            </a:solidFill>
          </a:ln>
        </p:spPr>
        <p:txBody>
          <a:bodyPr wrap="square" lIns="0" tIns="0" rIns="0" bIns="0" rtlCol="0"/>
          <a:lstStyle/>
          <a:p>
            <a:endParaRPr/>
          </a:p>
        </p:txBody>
      </p:sp>
      <p:sp>
        <p:nvSpPr>
          <p:cNvPr id="354" name="object 354"/>
          <p:cNvSpPr/>
          <p:nvPr/>
        </p:nvSpPr>
        <p:spPr>
          <a:xfrm>
            <a:off x="5453480" y="5522835"/>
            <a:ext cx="0" cy="13970"/>
          </a:xfrm>
          <a:custGeom>
            <a:avLst/>
            <a:gdLst/>
            <a:ahLst/>
            <a:cxnLst/>
            <a:rect l="l" t="t" r="r" b="b"/>
            <a:pathLst>
              <a:path h="13970">
                <a:moveTo>
                  <a:pt x="-1666" y="6885"/>
                </a:moveTo>
                <a:lnTo>
                  <a:pt x="1666" y="6885"/>
                </a:lnTo>
              </a:path>
            </a:pathLst>
          </a:custGeom>
          <a:ln w="13770">
            <a:solidFill>
              <a:srgbClr val="006FAC"/>
            </a:solidFill>
          </a:ln>
        </p:spPr>
        <p:txBody>
          <a:bodyPr wrap="square" lIns="0" tIns="0" rIns="0" bIns="0" rtlCol="0"/>
          <a:lstStyle/>
          <a:p>
            <a:endParaRPr/>
          </a:p>
        </p:txBody>
      </p:sp>
      <p:sp>
        <p:nvSpPr>
          <p:cNvPr id="355" name="object 355"/>
          <p:cNvSpPr/>
          <p:nvPr/>
        </p:nvSpPr>
        <p:spPr>
          <a:xfrm>
            <a:off x="5681185" y="4725179"/>
            <a:ext cx="38100" cy="38100"/>
          </a:xfrm>
          <a:custGeom>
            <a:avLst/>
            <a:gdLst/>
            <a:ahLst/>
            <a:cxnLst/>
            <a:rect l="l" t="t" r="r" b="b"/>
            <a:pathLst>
              <a:path w="38100" h="38100">
                <a:moveTo>
                  <a:pt x="19141" y="0"/>
                </a:moveTo>
                <a:lnTo>
                  <a:pt x="11677" y="1496"/>
                </a:lnTo>
                <a:lnTo>
                  <a:pt x="5594" y="5564"/>
                </a:lnTo>
                <a:lnTo>
                  <a:pt x="1499" y="11570"/>
                </a:lnTo>
                <a:lnTo>
                  <a:pt x="0" y="18881"/>
                </a:lnTo>
                <a:lnTo>
                  <a:pt x="1499" y="26351"/>
                </a:lnTo>
                <a:lnTo>
                  <a:pt x="5594" y="32439"/>
                </a:lnTo>
                <a:lnTo>
                  <a:pt x="11677" y="36536"/>
                </a:lnTo>
                <a:lnTo>
                  <a:pt x="19141" y="38037"/>
                </a:lnTo>
                <a:lnTo>
                  <a:pt x="26447" y="36536"/>
                </a:lnTo>
                <a:lnTo>
                  <a:pt x="32448" y="32439"/>
                </a:lnTo>
                <a:lnTo>
                  <a:pt x="36512" y="26351"/>
                </a:lnTo>
                <a:lnTo>
                  <a:pt x="38008" y="18881"/>
                </a:lnTo>
                <a:lnTo>
                  <a:pt x="36512" y="11570"/>
                </a:lnTo>
                <a:lnTo>
                  <a:pt x="32448" y="5564"/>
                </a:lnTo>
                <a:lnTo>
                  <a:pt x="26447" y="1496"/>
                </a:lnTo>
                <a:lnTo>
                  <a:pt x="19141" y="0"/>
                </a:lnTo>
                <a:close/>
              </a:path>
            </a:pathLst>
          </a:custGeom>
          <a:solidFill>
            <a:srgbClr val="00C37A"/>
          </a:solidFill>
        </p:spPr>
        <p:txBody>
          <a:bodyPr wrap="square" lIns="0" tIns="0" rIns="0" bIns="0" rtlCol="0"/>
          <a:lstStyle/>
          <a:p>
            <a:endParaRPr/>
          </a:p>
        </p:txBody>
      </p:sp>
      <p:sp>
        <p:nvSpPr>
          <p:cNvPr id="356" name="object 356"/>
          <p:cNvSpPr/>
          <p:nvPr/>
        </p:nvSpPr>
        <p:spPr>
          <a:xfrm>
            <a:off x="5681185" y="4725179"/>
            <a:ext cx="38100" cy="38100"/>
          </a:xfrm>
          <a:custGeom>
            <a:avLst/>
            <a:gdLst/>
            <a:ahLst/>
            <a:cxnLst/>
            <a:rect l="l" t="t" r="r" b="b"/>
            <a:pathLst>
              <a:path w="38100" h="38100">
                <a:moveTo>
                  <a:pt x="0" y="18881"/>
                </a:moveTo>
                <a:lnTo>
                  <a:pt x="1499" y="11570"/>
                </a:lnTo>
                <a:lnTo>
                  <a:pt x="5594" y="5564"/>
                </a:lnTo>
                <a:lnTo>
                  <a:pt x="11677" y="1496"/>
                </a:lnTo>
                <a:lnTo>
                  <a:pt x="19141" y="0"/>
                </a:lnTo>
                <a:lnTo>
                  <a:pt x="26447" y="1496"/>
                </a:lnTo>
                <a:lnTo>
                  <a:pt x="32448" y="5564"/>
                </a:lnTo>
                <a:lnTo>
                  <a:pt x="36512" y="11570"/>
                </a:lnTo>
                <a:lnTo>
                  <a:pt x="38008" y="18881"/>
                </a:lnTo>
                <a:lnTo>
                  <a:pt x="36512" y="26351"/>
                </a:lnTo>
                <a:lnTo>
                  <a:pt x="32448" y="32439"/>
                </a:lnTo>
                <a:lnTo>
                  <a:pt x="26447" y="36536"/>
                </a:lnTo>
                <a:lnTo>
                  <a:pt x="19141" y="38037"/>
                </a:lnTo>
                <a:lnTo>
                  <a:pt x="11677" y="36536"/>
                </a:lnTo>
                <a:lnTo>
                  <a:pt x="5594" y="32439"/>
                </a:lnTo>
                <a:lnTo>
                  <a:pt x="1499" y="26351"/>
                </a:lnTo>
                <a:lnTo>
                  <a:pt x="0" y="18881"/>
                </a:lnTo>
                <a:close/>
              </a:path>
            </a:pathLst>
          </a:custGeom>
          <a:ln w="3334">
            <a:solidFill>
              <a:srgbClr val="00C37A"/>
            </a:solidFill>
          </a:ln>
        </p:spPr>
        <p:txBody>
          <a:bodyPr wrap="square" lIns="0" tIns="0" rIns="0" bIns="0" rtlCol="0"/>
          <a:lstStyle/>
          <a:p>
            <a:endParaRPr/>
          </a:p>
        </p:txBody>
      </p:sp>
      <p:sp>
        <p:nvSpPr>
          <p:cNvPr id="357" name="object 357"/>
          <p:cNvSpPr/>
          <p:nvPr/>
        </p:nvSpPr>
        <p:spPr>
          <a:xfrm>
            <a:off x="5534695" y="4474728"/>
            <a:ext cx="1270" cy="104139"/>
          </a:xfrm>
          <a:custGeom>
            <a:avLst/>
            <a:gdLst/>
            <a:ahLst/>
            <a:cxnLst/>
            <a:rect l="l" t="t" r="r" b="b"/>
            <a:pathLst>
              <a:path w="1270" h="104139">
                <a:moveTo>
                  <a:pt x="1032" y="0"/>
                </a:moveTo>
                <a:lnTo>
                  <a:pt x="1032" y="0"/>
                </a:lnTo>
                <a:lnTo>
                  <a:pt x="0" y="103846"/>
                </a:lnTo>
              </a:path>
            </a:pathLst>
          </a:custGeom>
          <a:ln w="6751">
            <a:solidFill>
              <a:srgbClr val="94E616"/>
            </a:solidFill>
          </a:ln>
        </p:spPr>
        <p:txBody>
          <a:bodyPr wrap="square" lIns="0" tIns="0" rIns="0" bIns="0" rtlCol="0"/>
          <a:lstStyle/>
          <a:p>
            <a:endParaRPr/>
          </a:p>
        </p:txBody>
      </p:sp>
      <p:sp>
        <p:nvSpPr>
          <p:cNvPr id="358" name="object 358"/>
          <p:cNvSpPr/>
          <p:nvPr/>
        </p:nvSpPr>
        <p:spPr>
          <a:xfrm>
            <a:off x="5548432" y="4754431"/>
            <a:ext cx="135890" cy="125730"/>
          </a:xfrm>
          <a:custGeom>
            <a:avLst/>
            <a:gdLst/>
            <a:ahLst/>
            <a:cxnLst/>
            <a:rect l="l" t="t" r="r" b="b"/>
            <a:pathLst>
              <a:path w="135889" h="125729">
                <a:moveTo>
                  <a:pt x="135817" y="0"/>
                </a:moveTo>
                <a:lnTo>
                  <a:pt x="135817" y="0"/>
                </a:lnTo>
                <a:lnTo>
                  <a:pt x="0" y="125104"/>
                </a:lnTo>
              </a:path>
            </a:pathLst>
          </a:custGeom>
          <a:ln w="6754">
            <a:solidFill>
              <a:srgbClr val="94E616"/>
            </a:solidFill>
          </a:ln>
        </p:spPr>
        <p:txBody>
          <a:bodyPr wrap="square" lIns="0" tIns="0" rIns="0" bIns="0" rtlCol="0"/>
          <a:lstStyle/>
          <a:p>
            <a:endParaRPr/>
          </a:p>
        </p:txBody>
      </p:sp>
      <p:sp>
        <p:nvSpPr>
          <p:cNvPr id="359" name="object 359"/>
          <p:cNvSpPr/>
          <p:nvPr/>
        </p:nvSpPr>
        <p:spPr>
          <a:xfrm>
            <a:off x="5534695" y="4913163"/>
            <a:ext cx="0" cy="98425"/>
          </a:xfrm>
          <a:custGeom>
            <a:avLst/>
            <a:gdLst/>
            <a:ahLst/>
            <a:cxnLst/>
            <a:rect l="l" t="t" r="r" b="b"/>
            <a:pathLst>
              <a:path h="98425">
                <a:moveTo>
                  <a:pt x="0" y="97920"/>
                </a:moveTo>
                <a:lnTo>
                  <a:pt x="0" y="97920"/>
                </a:lnTo>
                <a:lnTo>
                  <a:pt x="0" y="0"/>
                </a:lnTo>
              </a:path>
            </a:pathLst>
          </a:custGeom>
          <a:ln w="6751">
            <a:solidFill>
              <a:srgbClr val="94E616"/>
            </a:solidFill>
          </a:ln>
        </p:spPr>
        <p:txBody>
          <a:bodyPr wrap="square" lIns="0" tIns="0" rIns="0" bIns="0" rtlCol="0"/>
          <a:lstStyle/>
          <a:p>
            <a:endParaRPr/>
          </a:p>
        </p:txBody>
      </p:sp>
      <p:sp>
        <p:nvSpPr>
          <p:cNvPr id="360" name="object 360"/>
          <p:cNvSpPr/>
          <p:nvPr/>
        </p:nvSpPr>
        <p:spPr>
          <a:xfrm>
            <a:off x="5545023" y="5179153"/>
            <a:ext cx="134620" cy="128270"/>
          </a:xfrm>
          <a:custGeom>
            <a:avLst/>
            <a:gdLst/>
            <a:ahLst/>
            <a:cxnLst/>
            <a:rect l="l" t="t" r="r" b="b"/>
            <a:pathLst>
              <a:path w="134620" h="128270">
                <a:moveTo>
                  <a:pt x="0" y="127713"/>
                </a:moveTo>
                <a:lnTo>
                  <a:pt x="0" y="127713"/>
                </a:lnTo>
                <a:lnTo>
                  <a:pt x="134096" y="0"/>
                </a:lnTo>
              </a:path>
            </a:pathLst>
          </a:custGeom>
          <a:ln w="6754">
            <a:solidFill>
              <a:srgbClr val="94E616"/>
            </a:solidFill>
          </a:ln>
        </p:spPr>
        <p:txBody>
          <a:bodyPr wrap="square" lIns="0" tIns="0" rIns="0" bIns="0" rtlCol="0"/>
          <a:lstStyle/>
          <a:p>
            <a:endParaRPr/>
          </a:p>
        </p:txBody>
      </p:sp>
      <p:sp>
        <p:nvSpPr>
          <p:cNvPr id="361" name="object 361"/>
          <p:cNvSpPr/>
          <p:nvPr/>
        </p:nvSpPr>
        <p:spPr>
          <a:xfrm>
            <a:off x="4677214" y="4383285"/>
            <a:ext cx="1273810" cy="1156970"/>
          </a:xfrm>
          <a:custGeom>
            <a:avLst/>
            <a:gdLst/>
            <a:ahLst/>
            <a:cxnLst/>
            <a:rect l="l" t="t" r="r" b="b"/>
            <a:pathLst>
              <a:path w="1273810" h="1156970">
                <a:moveTo>
                  <a:pt x="0" y="0"/>
                </a:moveTo>
                <a:lnTo>
                  <a:pt x="1273334" y="0"/>
                </a:lnTo>
                <a:lnTo>
                  <a:pt x="1273334" y="1156912"/>
                </a:lnTo>
                <a:lnTo>
                  <a:pt x="0" y="1156912"/>
                </a:lnTo>
                <a:lnTo>
                  <a:pt x="0" y="0"/>
                </a:lnTo>
                <a:close/>
              </a:path>
            </a:pathLst>
          </a:custGeom>
          <a:ln w="3334">
            <a:solidFill>
              <a:srgbClr val="006FAC"/>
            </a:solidFill>
          </a:ln>
        </p:spPr>
        <p:txBody>
          <a:bodyPr wrap="square" lIns="0" tIns="0" rIns="0" bIns="0" rtlCol="0"/>
          <a:lstStyle/>
          <a:p>
            <a:endParaRPr/>
          </a:p>
        </p:txBody>
      </p:sp>
      <p:sp>
        <p:nvSpPr>
          <p:cNvPr id="362" name="object 362"/>
          <p:cNvSpPr/>
          <p:nvPr/>
        </p:nvSpPr>
        <p:spPr>
          <a:xfrm>
            <a:off x="5287848" y="4362595"/>
            <a:ext cx="162560" cy="0"/>
          </a:xfrm>
          <a:custGeom>
            <a:avLst/>
            <a:gdLst/>
            <a:ahLst/>
            <a:cxnLst/>
            <a:rect l="l" t="t" r="r" b="b"/>
            <a:pathLst>
              <a:path w="162560">
                <a:moveTo>
                  <a:pt x="0" y="0"/>
                </a:moveTo>
                <a:lnTo>
                  <a:pt x="162223" y="0"/>
                </a:lnTo>
              </a:path>
            </a:pathLst>
          </a:custGeom>
          <a:ln w="34695">
            <a:solidFill>
              <a:srgbClr val="FF5C58"/>
            </a:solidFill>
          </a:ln>
        </p:spPr>
        <p:txBody>
          <a:bodyPr wrap="square" lIns="0" tIns="0" rIns="0" bIns="0" rtlCol="0"/>
          <a:lstStyle/>
          <a:p>
            <a:endParaRPr/>
          </a:p>
        </p:txBody>
      </p:sp>
      <p:sp>
        <p:nvSpPr>
          <p:cNvPr id="363" name="object 363"/>
          <p:cNvSpPr/>
          <p:nvPr/>
        </p:nvSpPr>
        <p:spPr>
          <a:xfrm>
            <a:off x="5287848" y="4345247"/>
            <a:ext cx="162560" cy="34925"/>
          </a:xfrm>
          <a:custGeom>
            <a:avLst/>
            <a:gdLst/>
            <a:ahLst/>
            <a:cxnLst/>
            <a:rect l="l" t="t" r="r" b="b"/>
            <a:pathLst>
              <a:path w="162560" h="34925">
                <a:moveTo>
                  <a:pt x="0" y="0"/>
                </a:moveTo>
                <a:lnTo>
                  <a:pt x="162223" y="0"/>
                </a:lnTo>
                <a:lnTo>
                  <a:pt x="162223" y="34695"/>
                </a:lnTo>
                <a:lnTo>
                  <a:pt x="0" y="34695"/>
                </a:lnTo>
                <a:lnTo>
                  <a:pt x="0" y="0"/>
                </a:lnTo>
                <a:close/>
              </a:path>
            </a:pathLst>
          </a:custGeom>
          <a:ln w="3335">
            <a:solidFill>
              <a:srgbClr val="FF0000"/>
            </a:solidFill>
          </a:ln>
        </p:spPr>
        <p:txBody>
          <a:bodyPr wrap="square" lIns="0" tIns="0" rIns="0" bIns="0" rtlCol="0"/>
          <a:lstStyle/>
          <a:p>
            <a:endParaRPr/>
          </a:p>
        </p:txBody>
      </p:sp>
      <p:sp>
        <p:nvSpPr>
          <p:cNvPr id="364" name="object 364"/>
          <p:cNvSpPr/>
          <p:nvPr/>
        </p:nvSpPr>
        <p:spPr>
          <a:xfrm>
            <a:off x="5457095" y="4362595"/>
            <a:ext cx="158750" cy="0"/>
          </a:xfrm>
          <a:custGeom>
            <a:avLst/>
            <a:gdLst/>
            <a:ahLst/>
            <a:cxnLst/>
            <a:rect l="l" t="t" r="r" b="b"/>
            <a:pathLst>
              <a:path w="158750">
                <a:moveTo>
                  <a:pt x="0" y="0"/>
                </a:moveTo>
                <a:lnTo>
                  <a:pt x="158608" y="0"/>
                </a:lnTo>
              </a:path>
            </a:pathLst>
          </a:custGeom>
          <a:ln w="34695">
            <a:solidFill>
              <a:srgbClr val="FFC000"/>
            </a:solidFill>
          </a:ln>
        </p:spPr>
        <p:txBody>
          <a:bodyPr wrap="square" lIns="0" tIns="0" rIns="0" bIns="0" rtlCol="0"/>
          <a:lstStyle/>
          <a:p>
            <a:endParaRPr/>
          </a:p>
        </p:txBody>
      </p:sp>
      <p:sp>
        <p:nvSpPr>
          <p:cNvPr id="365" name="object 365"/>
          <p:cNvSpPr/>
          <p:nvPr/>
        </p:nvSpPr>
        <p:spPr>
          <a:xfrm>
            <a:off x="5457095" y="4345247"/>
            <a:ext cx="158750" cy="34925"/>
          </a:xfrm>
          <a:custGeom>
            <a:avLst/>
            <a:gdLst/>
            <a:ahLst/>
            <a:cxnLst/>
            <a:rect l="l" t="t" r="r" b="b"/>
            <a:pathLst>
              <a:path w="158750" h="34925">
                <a:moveTo>
                  <a:pt x="0" y="0"/>
                </a:moveTo>
                <a:lnTo>
                  <a:pt x="158608" y="0"/>
                </a:lnTo>
                <a:lnTo>
                  <a:pt x="158608" y="34695"/>
                </a:lnTo>
                <a:lnTo>
                  <a:pt x="0" y="34695"/>
                </a:lnTo>
                <a:lnTo>
                  <a:pt x="0" y="0"/>
                </a:lnTo>
                <a:close/>
              </a:path>
            </a:pathLst>
          </a:custGeom>
          <a:ln w="3335">
            <a:solidFill>
              <a:srgbClr val="FFC000"/>
            </a:solidFill>
          </a:ln>
        </p:spPr>
        <p:txBody>
          <a:bodyPr wrap="square" lIns="0" tIns="0" rIns="0" bIns="0" rtlCol="0"/>
          <a:lstStyle/>
          <a:p>
            <a:endParaRPr/>
          </a:p>
        </p:txBody>
      </p:sp>
      <p:sp>
        <p:nvSpPr>
          <p:cNvPr id="366" name="object 366"/>
          <p:cNvSpPr/>
          <p:nvPr/>
        </p:nvSpPr>
        <p:spPr>
          <a:xfrm>
            <a:off x="5622727" y="4362595"/>
            <a:ext cx="158750" cy="0"/>
          </a:xfrm>
          <a:custGeom>
            <a:avLst/>
            <a:gdLst/>
            <a:ahLst/>
            <a:cxnLst/>
            <a:rect l="l" t="t" r="r" b="b"/>
            <a:pathLst>
              <a:path w="158750">
                <a:moveTo>
                  <a:pt x="0" y="0"/>
                </a:moveTo>
                <a:lnTo>
                  <a:pt x="158608" y="0"/>
                </a:lnTo>
              </a:path>
            </a:pathLst>
          </a:custGeom>
          <a:ln w="34695">
            <a:solidFill>
              <a:srgbClr val="FFFF00"/>
            </a:solidFill>
          </a:ln>
        </p:spPr>
        <p:txBody>
          <a:bodyPr wrap="square" lIns="0" tIns="0" rIns="0" bIns="0" rtlCol="0"/>
          <a:lstStyle/>
          <a:p>
            <a:endParaRPr/>
          </a:p>
        </p:txBody>
      </p:sp>
      <p:sp>
        <p:nvSpPr>
          <p:cNvPr id="367" name="object 367"/>
          <p:cNvSpPr/>
          <p:nvPr/>
        </p:nvSpPr>
        <p:spPr>
          <a:xfrm>
            <a:off x="5622727" y="4345247"/>
            <a:ext cx="158750" cy="34925"/>
          </a:xfrm>
          <a:custGeom>
            <a:avLst/>
            <a:gdLst/>
            <a:ahLst/>
            <a:cxnLst/>
            <a:rect l="l" t="t" r="r" b="b"/>
            <a:pathLst>
              <a:path w="158750" h="34925">
                <a:moveTo>
                  <a:pt x="0" y="0"/>
                </a:moveTo>
                <a:lnTo>
                  <a:pt x="158608" y="0"/>
                </a:lnTo>
                <a:lnTo>
                  <a:pt x="158608" y="34695"/>
                </a:lnTo>
                <a:lnTo>
                  <a:pt x="0" y="34695"/>
                </a:lnTo>
                <a:lnTo>
                  <a:pt x="0" y="0"/>
                </a:lnTo>
                <a:close/>
              </a:path>
            </a:pathLst>
          </a:custGeom>
          <a:ln w="3335">
            <a:solidFill>
              <a:srgbClr val="FFFF00"/>
            </a:solidFill>
          </a:ln>
        </p:spPr>
        <p:txBody>
          <a:bodyPr wrap="square" lIns="0" tIns="0" rIns="0" bIns="0" rtlCol="0"/>
          <a:lstStyle/>
          <a:p>
            <a:endParaRPr/>
          </a:p>
        </p:txBody>
      </p:sp>
      <p:sp>
        <p:nvSpPr>
          <p:cNvPr id="368" name="object 368"/>
          <p:cNvSpPr/>
          <p:nvPr/>
        </p:nvSpPr>
        <p:spPr>
          <a:xfrm>
            <a:off x="5788256" y="4360924"/>
            <a:ext cx="162560" cy="0"/>
          </a:xfrm>
          <a:custGeom>
            <a:avLst/>
            <a:gdLst/>
            <a:ahLst/>
            <a:cxnLst/>
            <a:rect l="l" t="t" r="r" b="b"/>
            <a:pathLst>
              <a:path w="162560">
                <a:moveTo>
                  <a:pt x="0" y="0"/>
                </a:moveTo>
                <a:lnTo>
                  <a:pt x="162051" y="0"/>
                </a:lnTo>
              </a:path>
            </a:pathLst>
          </a:custGeom>
          <a:ln w="38037">
            <a:solidFill>
              <a:srgbClr val="94E616"/>
            </a:solidFill>
          </a:ln>
        </p:spPr>
        <p:txBody>
          <a:bodyPr wrap="square" lIns="0" tIns="0" rIns="0" bIns="0" rtlCol="0"/>
          <a:lstStyle/>
          <a:p>
            <a:endParaRPr/>
          </a:p>
        </p:txBody>
      </p:sp>
      <p:sp>
        <p:nvSpPr>
          <p:cNvPr id="369" name="object 369"/>
          <p:cNvSpPr/>
          <p:nvPr/>
        </p:nvSpPr>
        <p:spPr>
          <a:xfrm>
            <a:off x="5788256" y="4341905"/>
            <a:ext cx="162560" cy="38100"/>
          </a:xfrm>
          <a:custGeom>
            <a:avLst/>
            <a:gdLst/>
            <a:ahLst/>
            <a:cxnLst/>
            <a:rect l="l" t="t" r="r" b="b"/>
            <a:pathLst>
              <a:path w="162560" h="38100">
                <a:moveTo>
                  <a:pt x="0" y="0"/>
                </a:moveTo>
                <a:lnTo>
                  <a:pt x="162051" y="0"/>
                </a:lnTo>
                <a:lnTo>
                  <a:pt x="162051" y="38037"/>
                </a:lnTo>
                <a:lnTo>
                  <a:pt x="0" y="38037"/>
                </a:lnTo>
                <a:lnTo>
                  <a:pt x="0" y="0"/>
                </a:lnTo>
                <a:close/>
              </a:path>
            </a:pathLst>
          </a:custGeom>
          <a:ln w="3335">
            <a:solidFill>
              <a:srgbClr val="94E616"/>
            </a:solidFill>
          </a:ln>
        </p:spPr>
        <p:txBody>
          <a:bodyPr wrap="square" lIns="0" tIns="0" rIns="0" bIns="0" rtlCol="0"/>
          <a:lstStyle/>
          <a:p>
            <a:endParaRPr/>
          </a:p>
        </p:txBody>
      </p:sp>
      <p:sp>
        <p:nvSpPr>
          <p:cNvPr id="370" name="object 370"/>
          <p:cNvSpPr txBox="1"/>
          <p:nvPr/>
        </p:nvSpPr>
        <p:spPr>
          <a:xfrm>
            <a:off x="4835838" y="4728035"/>
            <a:ext cx="247015" cy="75565"/>
          </a:xfrm>
          <a:prstGeom prst="rect">
            <a:avLst/>
          </a:prstGeom>
        </p:spPr>
        <p:txBody>
          <a:bodyPr vert="horz" wrap="square" lIns="0" tIns="15875" rIns="0" bIns="0" rtlCol="0">
            <a:spAutoFit/>
          </a:bodyPr>
          <a:lstStyle/>
          <a:p>
            <a:pPr>
              <a:lnSpc>
                <a:spcPct val="100000"/>
              </a:lnSpc>
              <a:spcBef>
                <a:spcPts val="125"/>
              </a:spcBef>
            </a:pPr>
            <a:r>
              <a:rPr sz="300" spc="10">
                <a:solidFill>
                  <a:srgbClr val="FFFFFF"/>
                </a:solidFill>
                <a:latin typeface="Arial"/>
                <a:cs typeface="Arial"/>
              </a:rPr>
              <a:t>and</a:t>
            </a:r>
            <a:r>
              <a:rPr sz="300" spc="-35">
                <a:solidFill>
                  <a:srgbClr val="FFFFFF"/>
                </a:solidFill>
                <a:latin typeface="Arial"/>
                <a:cs typeface="Arial"/>
              </a:rPr>
              <a:t> </a:t>
            </a:r>
            <a:r>
              <a:rPr sz="300" spc="10">
                <a:solidFill>
                  <a:srgbClr val="FFFFFF"/>
                </a:solidFill>
                <a:latin typeface="Arial"/>
                <a:cs typeface="Arial"/>
              </a:rPr>
              <a:t>Strategy</a:t>
            </a:r>
            <a:endParaRPr sz="300">
              <a:latin typeface="Arial"/>
              <a:cs typeface="Arial"/>
            </a:endParaRPr>
          </a:p>
        </p:txBody>
      </p:sp>
      <p:sp>
        <p:nvSpPr>
          <p:cNvPr id="371" name="object 371"/>
          <p:cNvSpPr txBox="1"/>
          <p:nvPr/>
        </p:nvSpPr>
        <p:spPr>
          <a:xfrm>
            <a:off x="4668616" y="4313627"/>
            <a:ext cx="243204" cy="62865"/>
          </a:xfrm>
          <a:prstGeom prst="rect">
            <a:avLst/>
          </a:prstGeom>
        </p:spPr>
        <p:txBody>
          <a:bodyPr vert="horz" wrap="square" lIns="0" tIns="12065" rIns="0" bIns="0" rtlCol="0">
            <a:spAutoFit/>
          </a:bodyPr>
          <a:lstStyle/>
          <a:p>
            <a:pPr marL="12700">
              <a:lnSpc>
                <a:spcPct val="100000"/>
              </a:lnSpc>
              <a:spcBef>
                <a:spcPts val="95"/>
              </a:spcBef>
            </a:pPr>
            <a:r>
              <a:rPr sz="250" spc="-10">
                <a:solidFill>
                  <a:srgbClr val="271237"/>
                </a:solidFill>
                <a:latin typeface="Arial"/>
                <a:cs typeface="Arial"/>
              </a:rPr>
              <a:t>ILLUSTRATIVE</a:t>
            </a:r>
            <a:endParaRPr sz="250">
              <a:latin typeface="Arial"/>
              <a:cs typeface="Arial"/>
            </a:endParaRPr>
          </a:p>
        </p:txBody>
      </p:sp>
      <p:sp>
        <p:nvSpPr>
          <p:cNvPr id="372" name="object 372"/>
          <p:cNvSpPr/>
          <p:nvPr/>
        </p:nvSpPr>
        <p:spPr>
          <a:xfrm>
            <a:off x="4681316" y="4362458"/>
            <a:ext cx="217804" cy="0"/>
          </a:xfrm>
          <a:custGeom>
            <a:avLst/>
            <a:gdLst/>
            <a:ahLst/>
            <a:cxnLst/>
            <a:rect l="l" t="t" r="r" b="b"/>
            <a:pathLst>
              <a:path w="217804">
                <a:moveTo>
                  <a:pt x="0" y="0"/>
                </a:moveTo>
                <a:lnTo>
                  <a:pt x="217338" y="0"/>
                </a:lnTo>
              </a:path>
            </a:pathLst>
          </a:custGeom>
          <a:ln w="3342">
            <a:solidFill>
              <a:srgbClr val="271237"/>
            </a:solidFill>
          </a:ln>
        </p:spPr>
        <p:txBody>
          <a:bodyPr wrap="square" lIns="0" tIns="0" rIns="0" bIns="0" rtlCol="0"/>
          <a:lstStyle/>
          <a:p>
            <a:endParaRPr/>
          </a:p>
        </p:txBody>
      </p:sp>
      <p:sp>
        <p:nvSpPr>
          <p:cNvPr id="373" name="object 373"/>
          <p:cNvSpPr/>
          <p:nvPr/>
        </p:nvSpPr>
        <p:spPr>
          <a:xfrm>
            <a:off x="5548432" y="4613029"/>
            <a:ext cx="135255" cy="114935"/>
          </a:xfrm>
          <a:custGeom>
            <a:avLst/>
            <a:gdLst/>
            <a:ahLst/>
            <a:cxnLst/>
            <a:rect l="l" t="t" r="r" b="b"/>
            <a:pathLst>
              <a:path w="135254" h="114935">
                <a:moveTo>
                  <a:pt x="0" y="0"/>
                </a:moveTo>
                <a:lnTo>
                  <a:pt x="0" y="0"/>
                </a:lnTo>
                <a:lnTo>
                  <a:pt x="135060" y="114699"/>
                </a:lnTo>
              </a:path>
            </a:pathLst>
          </a:custGeom>
          <a:ln w="6754">
            <a:solidFill>
              <a:srgbClr val="94E616"/>
            </a:solidFill>
          </a:ln>
        </p:spPr>
        <p:txBody>
          <a:bodyPr wrap="square" lIns="0" tIns="0" rIns="0" bIns="0" rtlCol="0"/>
          <a:lstStyle/>
          <a:p>
            <a:endParaRPr/>
          </a:p>
        </p:txBody>
      </p:sp>
      <p:sp>
        <p:nvSpPr>
          <p:cNvPr id="374" name="object 374"/>
          <p:cNvSpPr/>
          <p:nvPr/>
        </p:nvSpPr>
        <p:spPr>
          <a:xfrm>
            <a:off x="5545054" y="5041162"/>
            <a:ext cx="168817" cy="148479"/>
          </a:xfrm>
          <a:prstGeom prst="rect">
            <a:avLst/>
          </a:prstGeom>
          <a:blipFill>
            <a:blip r:embed="rId3" cstate="print"/>
            <a:stretch>
              <a:fillRect/>
            </a:stretch>
          </a:blipFill>
        </p:spPr>
        <p:txBody>
          <a:bodyPr wrap="square" lIns="0" tIns="0" rIns="0" bIns="0" rtlCol="0"/>
          <a:lstStyle/>
          <a:p>
            <a:endParaRPr/>
          </a:p>
        </p:txBody>
      </p:sp>
      <p:sp>
        <p:nvSpPr>
          <p:cNvPr id="375" name="object 375"/>
          <p:cNvSpPr/>
          <p:nvPr/>
        </p:nvSpPr>
        <p:spPr>
          <a:xfrm>
            <a:off x="5857146" y="5446969"/>
            <a:ext cx="41910" cy="41910"/>
          </a:xfrm>
          <a:custGeom>
            <a:avLst/>
            <a:gdLst/>
            <a:ahLst/>
            <a:cxnLst/>
            <a:rect l="l" t="t" r="r" b="b"/>
            <a:pathLst>
              <a:path w="41910" h="41910">
                <a:moveTo>
                  <a:pt x="20691" y="0"/>
                </a:moveTo>
                <a:lnTo>
                  <a:pt x="12665" y="1598"/>
                </a:lnTo>
                <a:lnTo>
                  <a:pt x="6085" y="5986"/>
                </a:lnTo>
                <a:lnTo>
                  <a:pt x="1635" y="12555"/>
                </a:lnTo>
                <a:lnTo>
                  <a:pt x="0" y="20696"/>
                </a:lnTo>
                <a:lnTo>
                  <a:pt x="1635" y="28780"/>
                </a:lnTo>
                <a:lnTo>
                  <a:pt x="6085" y="35388"/>
                </a:lnTo>
                <a:lnTo>
                  <a:pt x="12665" y="39847"/>
                </a:lnTo>
                <a:lnTo>
                  <a:pt x="20691" y="41483"/>
                </a:lnTo>
                <a:lnTo>
                  <a:pt x="28818" y="39847"/>
                </a:lnTo>
                <a:lnTo>
                  <a:pt x="35387" y="35388"/>
                </a:lnTo>
                <a:lnTo>
                  <a:pt x="39780" y="28780"/>
                </a:lnTo>
                <a:lnTo>
                  <a:pt x="41382" y="20696"/>
                </a:lnTo>
                <a:lnTo>
                  <a:pt x="39780" y="12555"/>
                </a:lnTo>
                <a:lnTo>
                  <a:pt x="35387" y="5986"/>
                </a:lnTo>
                <a:lnTo>
                  <a:pt x="28818" y="1598"/>
                </a:lnTo>
                <a:lnTo>
                  <a:pt x="20691" y="0"/>
                </a:lnTo>
                <a:close/>
              </a:path>
            </a:pathLst>
          </a:custGeom>
          <a:solidFill>
            <a:srgbClr val="00C37A"/>
          </a:solidFill>
        </p:spPr>
        <p:txBody>
          <a:bodyPr wrap="square" lIns="0" tIns="0" rIns="0" bIns="0" rtlCol="0"/>
          <a:lstStyle/>
          <a:p>
            <a:endParaRPr/>
          </a:p>
        </p:txBody>
      </p:sp>
      <p:sp>
        <p:nvSpPr>
          <p:cNvPr id="376" name="object 376"/>
          <p:cNvSpPr/>
          <p:nvPr/>
        </p:nvSpPr>
        <p:spPr>
          <a:xfrm>
            <a:off x="5857146" y="5446969"/>
            <a:ext cx="41910" cy="41910"/>
          </a:xfrm>
          <a:custGeom>
            <a:avLst/>
            <a:gdLst/>
            <a:ahLst/>
            <a:cxnLst/>
            <a:rect l="l" t="t" r="r" b="b"/>
            <a:pathLst>
              <a:path w="41910" h="41910">
                <a:moveTo>
                  <a:pt x="0" y="20696"/>
                </a:moveTo>
                <a:lnTo>
                  <a:pt x="1635" y="12555"/>
                </a:lnTo>
                <a:lnTo>
                  <a:pt x="6085" y="5986"/>
                </a:lnTo>
                <a:lnTo>
                  <a:pt x="12665" y="1598"/>
                </a:lnTo>
                <a:lnTo>
                  <a:pt x="20691" y="0"/>
                </a:lnTo>
                <a:lnTo>
                  <a:pt x="28818" y="1598"/>
                </a:lnTo>
                <a:lnTo>
                  <a:pt x="35387" y="5986"/>
                </a:lnTo>
                <a:lnTo>
                  <a:pt x="39780" y="12555"/>
                </a:lnTo>
                <a:lnTo>
                  <a:pt x="41382" y="20696"/>
                </a:lnTo>
                <a:lnTo>
                  <a:pt x="39780" y="28780"/>
                </a:lnTo>
                <a:lnTo>
                  <a:pt x="35387" y="35388"/>
                </a:lnTo>
                <a:lnTo>
                  <a:pt x="28818" y="39847"/>
                </a:lnTo>
                <a:lnTo>
                  <a:pt x="20691" y="41483"/>
                </a:lnTo>
                <a:lnTo>
                  <a:pt x="12665" y="39847"/>
                </a:lnTo>
                <a:lnTo>
                  <a:pt x="6085" y="35388"/>
                </a:lnTo>
                <a:lnTo>
                  <a:pt x="1635" y="28780"/>
                </a:lnTo>
                <a:lnTo>
                  <a:pt x="0" y="20696"/>
                </a:lnTo>
                <a:close/>
              </a:path>
            </a:pathLst>
          </a:custGeom>
          <a:ln w="3334">
            <a:solidFill>
              <a:srgbClr val="00C37A"/>
            </a:solidFill>
          </a:ln>
        </p:spPr>
        <p:txBody>
          <a:bodyPr wrap="square" lIns="0" tIns="0" rIns="0" bIns="0" rtlCol="0"/>
          <a:lstStyle/>
          <a:p>
            <a:endParaRPr/>
          </a:p>
        </p:txBody>
      </p:sp>
      <p:sp>
        <p:nvSpPr>
          <p:cNvPr id="377" name="object 377"/>
          <p:cNvSpPr/>
          <p:nvPr/>
        </p:nvSpPr>
        <p:spPr>
          <a:xfrm>
            <a:off x="5545023" y="5334578"/>
            <a:ext cx="317500" cy="118110"/>
          </a:xfrm>
          <a:custGeom>
            <a:avLst/>
            <a:gdLst/>
            <a:ahLst/>
            <a:cxnLst/>
            <a:rect l="l" t="t" r="r" b="b"/>
            <a:pathLst>
              <a:path w="317500" h="118110">
                <a:moveTo>
                  <a:pt x="317493" y="117607"/>
                </a:moveTo>
                <a:lnTo>
                  <a:pt x="317493" y="117607"/>
                </a:lnTo>
                <a:lnTo>
                  <a:pt x="0" y="0"/>
                </a:lnTo>
              </a:path>
            </a:pathLst>
          </a:custGeom>
          <a:ln w="6756">
            <a:solidFill>
              <a:srgbClr val="94E616"/>
            </a:solidFill>
          </a:ln>
        </p:spPr>
        <p:txBody>
          <a:bodyPr wrap="square" lIns="0" tIns="0" rIns="0" bIns="0" rtlCol="0"/>
          <a:lstStyle/>
          <a:p>
            <a:endParaRPr/>
          </a:p>
        </p:txBody>
      </p:sp>
      <p:sp>
        <p:nvSpPr>
          <p:cNvPr id="378" name="object 378"/>
          <p:cNvSpPr/>
          <p:nvPr/>
        </p:nvSpPr>
        <p:spPr>
          <a:xfrm>
            <a:off x="4732596" y="4714808"/>
            <a:ext cx="62230" cy="59055"/>
          </a:xfrm>
          <a:custGeom>
            <a:avLst/>
            <a:gdLst/>
            <a:ahLst/>
            <a:cxnLst/>
            <a:rect l="l" t="t" r="r" b="b"/>
            <a:pathLst>
              <a:path w="62229" h="59054">
                <a:moveTo>
                  <a:pt x="0" y="0"/>
                </a:moveTo>
                <a:lnTo>
                  <a:pt x="62045" y="0"/>
                </a:lnTo>
                <a:lnTo>
                  <a:pt x="62045" y="58779"/>
                </a:lnTo>
                <a:lnTo>
                  <a:pt x="0" y="58779"/>
                </a:lnTo>
                <a:lnTo>
                  <a:pt x="0" y="0"/>
                </a:lnTo>
                <a:close/>
              </a:path>
            </a:pathLst>
          </a:custGeom>
          <a:solidFill>
            <a:srgbClr val="FFFFFF"/>
          </a:solidFill>
        </p:spPr>
        <p:txBody>
          <a:bodyPr wrap="square" lIns="0" tIns="0" rIns="0" bIns="0" rtlCol="0"/>
          <a:lstStyle/>
          <a:p>
            <a:endParaRPr/>
          </a:p>
        </p:txBody>
      </p:sp>
      <p:sp>
        <p:nvSpPr>
          <p:cNvPr id="379" name="object 379"/>
          <p:cNvSpPr/>
          <p:nvPr/>
        </p:nvSpPr>
        <p:spPr>
          <a:xfrm>
            <a:off x="4732596" y="4714808"/>
            <a:ext cx="62230" cy="59055"/>
          </a:xfrm>
          <a:custGeom>
            <a:avLst/>
            <a:gdLst/>
            <a:ahLst/>
            <a:cxnLst/>
            <a:rect l="l" t="t" r="r" b="b"/>
            <a:pathLst>
              <a:path w="62229" h="59054">
                <a:moveTo>
                  <a:pt x="0" y="0"/>
                </a:moveTo>
                <a:lnTo>
                  <a:pt x="62045" y="0"/>
                </a:lnTo>
                <a:lnTo>
                  <a:pt x="62045" y="58779"/>
                </a:lnTo>
                <a:lnTo>
                  <a:pt x="0" y="58779"/>
                </a:lnTo>
                <a:lnTo>
                  <a:pt x="0" y="0"/>
                </a:lnTo>
                <a:close/>
              </a:path>
            </a:pathLst>
          </a:custGeom>
          <a:ln w="3334">
            <a:solidFill>
              <a:srgbClr val="006FAC"/>
            </a:solidFill>
          </a:ln>
        </p:spPr>
        <p:txBody>
          <a:bodyPr wrap="square" lIns="0" tIns="0" rIns="0" bIns="0" rtlCol="0"/>
          <a:lstStyle/>
          <a:p>
            <a:endParaRPr/>
          </a:p>
        </p:txBody>
      </p:sp>
      <p:sp>
        <p:nvSpPr>
          <p:cNvPr id="380" name="object 380"/>
          <p:cNvSpPr txBox="1"/>
          <p:nvPr/>
        </p:nvSpPr>
        <p:spPr>
          <a:xfrm>
            <a:off x="4749090" y="4679868"/>
            <a:ext cx="438784" cy="75565"/>
          </a:xfrm>
          <a:prstGeom prst="rect">
            <a:avLst/>
          </a:prstGeom>
        </p:spPr>
        <p:txBody>
          <a:bodyPr vert="horz" wrap="square" lIns="0" tIns="15875" rIns="0" bIns="0" rtlCol="0">
            <a:spAutoFit/>
          </a:bodyPr>
          <a:lstStyle/>
          <a:p>
            <a:pPr>
              <a:lnSpc>
                <a:spcPct val="100000"/>
              </a:lnSpc>
              <a:spcBef>
                <a:spcPts val="125"/>
              </a:spcBef>
            </a:pPr>
            <a:r>
              <a:rPr sz="450" b="1" spc="15" baseline="-37037">
                <a:solidFill>
                  <a:srgbClr val="006FC0"/>
                </a:solidFill>
                <a:latin typeface="Arial"/>
                <a:cs typeface="Arial"/>
              </a:rPr>
              <a:t>3 </a:t>
            </a:r>
            <a:r>
              <a:rPr sz="300" spc="10">
                <a:solidFill>
                  <a:srgbClr val="FFFFFF"/>
                </a:solidFill>
                <a:latin typeface="Arial"/>
                <a:cs typeface="Arial"/>
              </a:rPr>
              <a:t>Data</a:t>
            </a:r>
            <a:r>
              <a:rPr sz="300" spc="-25">
                <a:solidFill>
                  <a:srgbClr val="FFFFFF"/>
                </a:solidFill>
                <a:latin typeface="Arial"/>
                <a:cs typeface="Arial"/>
              </a:rPr>
              <a:t> </a:t>
            </a:r>
            <a:r>
              <a:rPr sz="300" spc="10">
                <a:solidFill>
                  <a:srgbClr val="FFFFFF"/>
                </a:solidFill>
                <a:latin typeface="Arial"/>
                <a:cs typeface="Arial"/>
              </a:rPr>
              <a:t>Management</a:t>
            </a:r>
            <a:endParaRPr sz="300">
              <a:latin typeface="Arial"/>
              <a:cs typeface="Arial"/>
            </a:endParaRPr>
          </a:p>
        </p:txBody>
      </p:sp>
      <p:sp>
        <p:nvSpPr>
          <p:cNvPr id="381" name="object 381"/>
          <p:cNvSpPr/>
          <p:nvPr/>
        </p:nvSpPr>
        <p:spPr>
          <a:xfrm>
            <a:off x="4735928" y="4566412"/>
            <a:ext cx="59055" cy="62230"/>
          </a:xfrm>
          <a:custGeom>
            <a:avLst/>
            <a:gdLst/>
            <a:ahLst/>
            <a:cxnLst/>
            <a:rect l="l" t="t" r="r" b="b"/>
            <a:pathLst>
              <a:path w="59054" h="62229">
                <a:moveTo>
                  <a:pt x="0" y="0"/>
                </a:moveTo>
                <a:lnTo>
                  <a:pt x="58713" y="0"/>
                </a:lnTo>
                <a:lnTo>
                  <a:pt x="58713" y="62190"/>
                </a:lnTo>
                <a:lnTo>
                  <a:pt x="0" y="62190"/>
                </a:lnTo>
                <a:lnTo>
                  <a:pt x="0" y="0"/>
                </a:lnTo>
                <a:close/>
              </a:path>
            </a:pathLst>
          </a:custGeom>
          <a:solidFill>
            <a:srgbClr val="086FAC"/>
          </a:solidFill>
        </p:spPr>
        <p:txBody>
          <a:bodyPr wrap="square" lIns="0" tIns="0" rIns="0" bIns="0" rtlCol="0"/>
          <a:lstStyle/>
          <a:p>
            <a:endParaRPr/>
          </a:p>
        </p:txBody>
      </p:sp>
      <p:sp>
        <p:nvSpPr>
          <p:cNvPr id="382" name="object 382"/>
          <p:cNvSpPr/>
          <p:nvPr/>
        </p:nvSpPr>
        <p:spPr>
          <a:xfrm>
            <a:off x="4735928" y="4566412"/>
            <a:ext cx="59055" cy="62230"/>
          </a:xfrm>
          <a:custGeom>
            <a:avLst/>
            <a:gdLst/>
            <a:ahLst/>
            <a:cxnLst/>
            <a:rect l="l" t="t" r="r" b="b"/>
            <a:pathLst>
              <a:path w="59054" h="62229">
                <a:moveTo>
                  <a:pt x="0" y="0"/>
                </a:moveTo>
                <a:lnTo>
                  <a:pt x="58713" y="0"/>
                </a:lnTo>
                <a:lnTo>
                  <a:pt x="58713" y="62190"/>
                </a:lnTo>
                <a:lnTo>
                  <a:pt x="0" y="62190"/>
                </a:lnTo>
                <a:lnTo>
                  <a:pt x="0" y="0"/>
                </a:lnTo>
                <a:close/>
              </a:path>
            </a:pathLst>
          </a:custGeom>
          <a:ln w="3334">
            <a:solidFill>
              <a:srgbClr val="006FAC"/>
            </a:solidFill>
          </a:ln>
        </p:spPr>
        <p:txBody>
          <a:bodyPr wrap="square" lIns="0" tIns="0" rIns="0" bIns="0" rtlCol="0"/>
          <a:lstStyle/>
          <a:p>
            <a:endParaRPr/>
          </a:p>
        </p:txBody>
      </p:sp>
      <p:sp>
        <p:nvSpPr>
          <p:cNvPr id="383" name="object 383"/>
          <p:cNvSpPr txBox="1"/>
          <p:nvPr/>
        </p:nvSpPr>
        <p:spPr>
          <a:xfrm>
            <a:off x="4714409" y="4558932"/>
            <a:ext cx="377190" cy="75565"/>
          </a:xfrm>
          <a:prstGeom prst="rect">
            <a:avLst/>
          </a:prstGeom>
        </p:spPr>
        <p:txBody>
          <a:bodyPr vert="horz" wrap="square" lIns="0" tIns="15875" rIns="0" bIns="0" rtlCol="0">
            <a:spAutoFit/>
          </a:bodyPr>
          <a:lstStyle/>
          <a:p>
            <a:pPr marL="38100">
              <a:lnSpc>
                <a:spcPct val="100000"/>
              </a:lnSpc>
              <a:spcBef>
                <a:spcPts val="125"/>
              </a:spcBef>
            </a:pPr>
            <a:r>
              <a:rPr sz="300" b="1" spc="10">
                <a:solidFill>
                  <a:srgbClr val="FFFFFF"/>
                </a:solidFill>
                <a:latin typeface="Arial"/>
                <a:cs typeface="Arial"/>
              </a:rPr>
              <a:t>2</a:t>
            </a:r>
            <a:r>
              <a:rPr sz="300" b="1" spc="55">
                <a:solidFill>
                  <a:srgbClr val="FFFFFF"/>
                </a:solidFill>
                <a:latin typeface="Arial"/>
                <a:cs typeface="Arial"/>
              </a:rPr>
              <a:t> </a:t>
            </a:r>
            <a:r>
              <a:rPr sz="450" spc="7" baseline="9259">
                <a:solidFill>
                  <a:srgbClr val="006FAC"/>
                </a:solidFill>
                <a:latin typeface="Arial"/>
                <a:cs typeface="Arial"/>
              </a:rPr>
              <a:t>Architecture</a:t>
            </a:r>
            <a:endParaRPr sz="450" baseline="9259">
              <a:latin typeface="Arial"/>
              <a:cs typeface="Arial"/>
            </a:endParaRPr>
          </a:p>
        </p:txBody>
      </p:sp>
      <p:sp>
        <p:nvSpPr>
          <p:cNvPr id="384" name="object 384"/>
          <p:cNvSpPr/>
          <p:nvPr/>
        </p:nvSpPr>
        <p:spPr>
          <a:xfrm>
            <a:off x="4732596" y="5004847"/>
            <a:ext cx="62230" cy="59055"/>
          </a:xfrm>
          <a:custGeom>
            <a:avLst/>
            <a:gdLst/>
            <a:ahLst/>
            <a:cxnLst/>
            <a:rect l="l" t="t" r="r" b="b"/>
            <a:pathLst>
              <a:path w="62229" h="59054">
                <a:moveTo>
                  <a:pt x="0" y="0"/>
                </a:moveTo>
                <a:lnTo>
                  <a:pt x="62045" y="0"/>
                </a:lnTo>
                <a:lnTo>
                  <a:pt x="62045" y="58848"/>
                </a:lnTo>
                <a:lnTo>
                  <a:pt x="0" y="58848"/>
                </a:lnTo>
                <a:lnTo>
                  <a:pt x="0" y="0"/>
                </a:lnTo>
                <a:close/>
              </a:path>
            </a:pathLst>
          </a:custGeom>
          <a:solidFill>
            <a:srgbClr val="FFFFFF"/>
          </a:solidFill>
        </p:spPr>
        <p:txBody>
          <a:bodyPr wrap="square" lIns="0" tIns="0" rIns="0" bIns="0" rtlCol="0"/>
          <a:lstStyle/>
          <a:p>
            <a:endParaRPr/>
          </a:p>
        </p:txBody>
      </p:sp>
      <p:sp>
        <p:nvSpPr>
          <p:cNvPr id="385" name="object 385"/>
          <p:cNvSpPr/>
          <p:nvPr/>
        </p:nvSpPr>
        <p:spPr>
          <a:xfrm>
            <a:off x="4732596" y="5004847"/>
            <a:ext cx="62230" cy="59055"/>
          </a:xfrm>
          <a:custGeom>
            <a:avLst/>
            <a:gdLst/>
            <a:ahLst/>
            <a:cxnLst/>
            <a:rect l="l" t="t" r="r" b="b"/>
            <a:pathLst>
              <a:path w="62229" h="59054">
                <a:moveTo>
                  <a:pt x="0" y="0"/>
                </a:moveTo>
                <a:lnTo>
                  <a:pt x="62045" y="0"/>
                </a:lnTo>
                <a:lnTo>
                  <a:pt x="62045" y="58848"/>
                </a:lnTo>
                <a:lnTo>
                  <a:pt x="0" y="58848"/>
                </a:lnTo>
                <a:lnTo>
                  <a:pt x="0" y="0"/>
                </a:lnTo>
                <a:close/>
              </a:path>
            </a:pathLst>
          </a:custGeom>
          <a:ln w="3334">
            <a:solidFill>
              <a:srgbClr val="006FAC"/>
            </a:solidFill>
          </a:ln>
        </p:spPr>
        <p:txBody>
          <a:bodyPr wrap="square" lIns="0" tIns="0" rIns="0" bIns="0" rtlCol="0"/>
          <a:lstStyle/>
          <a:p>
            <a:endParaRPr/>
          </a:p>
        </p:txBody>
      </p:sp>
      <p:sp>
        <p:nvSpPr>
          <p:cNvPr id="386" name="object 386"/>
          <p:cNvSpPr txBox="1"/>
          <p:nvPr/>
        </p:nvSpPr>
        <p:spPr>
          <a:xfrm>
            <a:off x="4738270" y="5014732"/>
            <a:ext cx="318770" cy="75565"/>
          </a:xfrm>
          <a:prstGeom prst="rect">
            <a:avLst/>
          </a:prstGeom>
        </p:spPr>
        <p:txBody>
          <a:bodyPr vert="horz" wrap="square" lIns="0" tIns="15875" rIns="0" bIns="0" rtlCol="0">
            <a:spAutoFit/>
          </a:bodyPr>
          <a:lstStyle/>
          <a:p>
            <a:pPr marL="12700">
              <a:lnSpc>
                <a:spcPct val="100000"/>
              </a:lnSpc>
              <a:spcBef>
                <a:spcPts val="125"/>
              </a:spcBef>
            </a:pPr>
            <a:r>
              <a:rPr sz="450" b="1" spc="15" baseline="27777">
                <a:solidFill>
                  <a:srgbClr val="006FC0"/>
                </a:solidFill>
                <a:latin typeface="Arial"/>
                <a:cs typeface="Arial"/>
              </a:rPr>
              <a:t>5</a:t>
            </a:r>
            <a:r>
              <a:rPr sz="450" b="1" spc="67" baseline="27777">
                <a:solidFill>
                  <a:srgbClr val="006FC0"/>
                </a:solidFill>
                <a:latin typeface="Arial"/>
                <a:cs typeface="Arial"/>
              </a:rPr>
              <a:t> </a:t>
            </a:r>
            <a:r>
              <a:rPr sz="300" spc="10">
                <a:solidFill>
                  <a:srgbClr val="FFFFFF"/>
                </a:solidFill>
                <a:latin typeface="Arial"/>
                <a:cs typeface="Arial"/>
              </a:rPr>
              <a:t>compliance</a:t>
            </a:r>
            <a:endParaRPr sz="300">
              <a:latin typeface="Arial"/>
              <a:cs typeface="Arial"/>
            </a:endParaRPr>
          </a:p>
        </p:txBody>
      </p:sp>
      <p:sp>
        <p:nvSpPr>
          <p:cNvPr id="387" name="object 387"/>
          <p:cNvSpPr/>
          <p:nvPr/>
        </p:nvSpPr>
        <p:spPr>
          <a:xfrm>
            <a:off x="4735928" y="5274193"/>
            <a:ext cx="62230" cy="59055"/>
          </a:xfrm>
          <a:custGeom>
            <a:avLst/>
            <a:gdLst/>
            <a:ahLst/>
            <a:cxnLst/>
            <a:rect l="l" t="t" r="r" b="b"/>
            <a:pathLst>
              <a:path w="62229" h="59054">
                <a:moveTo>
                  <a:pt x="0" y="0"/>
                </a:moveTo>
                <a:lnTo>
                  <a:pt x="62131" y="0"/>
                </a:lnTo>
                <a:lnTo>
                  <a:pt x="62131" y="58848"/>
                </a:lnTo>
                <a:lnTo>
                  <a:pt x="0" y="58848"/>
                </a:lnTo>
                <a:lnTo>
                  <a:pt x="0" y="0"/>
                </a:lnTo>
                <a:close/>
              </a:path>
            </a:pathLst>
          </a:custGeom>
          <a:ln w="3334">
            <a:solidFill>
              <a:srgbClr val="006FAC"/>
            </a:solidFill>
          </a:ln>
        </p:spPr>
        <p:txBody>
          <a:bodyPr wrap="square" lIns="0" tIns="0" rIns="0" bIns="0" rtlCol="0"/>
          <a:lstStyle/>
          <a:p>
            <a:endParaRPr/>
          </a:p>
        </p:txBody>
      </p:sp>
      <p:sp>
        <p:nvSpPr>
          <p:cNvPr id="388" name="object 388"/>
          <p:cNvSpPr txBox="1"/>
          <p:nvPr/>
        </p:nvSpPr>
        <p:spPr>
          <a:xfrm>
            <a:off x="4753790" y="5279995"/>
            <a:ext cx="23495" cy="46355"/>
          </a:xfrm>
          <a:prstGeom prst="rect">
            <a:avLst/>
          </a:prstGeom>
        </p:spPr>
        <p:txBody>
          <a:bodyPr vert="horz" wrap="square" lIns="0" tIns="0" rIns="0" bIns="0" rtlCol="0">
            <a:spAutoFit/>
          </a:bodyPr>
          <a:lstStyle/>
          <a:p>
            <a:pPr>
              <a:lnSpc>
                <a:spcPts val="355"/>
              </a:lnSpc>
            </a:pPr>
            <a:r>
              <a:rPr sz="300" b="1" spc="10">
                <a:solidFill>
                  <a:srgbClr val="006FC0"/>
                </a:solidFill>
                <a:latin typeface="Arial"/>
                <a:cs typeface="Arial"/>
              </a:rPr>
              <a:t>3</a:t>
            </a:r>
            <a:endParaRPr sz="300">
              <a:latin typeface="Arial"/>
              <a:cs typeface="Arial"/>
            </a:endParaRPr>
          </a:p>
        </p:txBody>
      </p:sp>
      <p:sp>
        <p:nvSpPr>
          <p:cNvPr id="389" name="object 389"/>
          <p:cNvSpPr/>
          <p:nvPr/>
        </p:nvSpPr>
        <p:spPr>
          <a:xfrm>
            <a:off x="4735928" y="4863204"/>
            <a:ext cx="59055" cy="62230"/>
          </a:xfrm>
          <a:custGeom>
            <a:avLst/>
            <a:gdLst/>
            <a:ahLst/>
            <a:cxnLst/>
            <a:rect l="l" t="t" r="r" b="b"/>
            <a:pathLst>
              <a:path w="59054" h="62229">
                <a:moveTo>
                  <a:pt x="0" y="0"/>
                </a:moveTo>
                <a:lnTo>
                  <a:pt x="58713" y="0"/>
                </a:lnTo>
                <a:lnTo>
                  <a:pt x="58713" y="62190"/>
                </a:lnTo>
                <a:lnTo>
                  <a:pt x="0" y="62190"/>
                </a:lnTo>
                <a:lnTo>
                  <a:pt x="0" y="0"/>
                </a:lnTo>
                <a:close/>
              </a:path>
            </a:pathLst>
          </a:custGeom>
          <a:solidFill>
            <a:srgbClr val="086FAC"/>
          </a:solidFill>
        </p:spPr>
        <p:txBody>
          <a:bodyPr wrap="square" lIns="0" tIns="0" rIns="0" bIns="0" rtlCol="0"/>
          <a:lstStyle/>
          <a:p>
            <a:endParaRPr/>
          </a:p>
        </p:txBody>
      </p:sp>
      <p:sp>
        <p:nvSpPr>
          <p:cNvPr id="390" name="object 390"/>
          <p:cNvSpPr/>
          <p:nvPr/>
        </p:nvSpPr>
        <p:spPr>
          <a:xfrm>
            <a:off x="4735928" y="4863204"/>
            <a:ext cx="59055" cy="62230"/>
          </a:xfrm>
          <a:custGeom>
            <a:avLst/>
            <a:gdLst/>
            <a:ahLst/>
            <a:cxnLst/>
            <a:rect l="l" t="t" r="r" b="b"/>
            <a:pathLst>
              <a:path w="59054" h="62229">
                <a:moveTo>
                  <a:pt x="0" y="0"/>
                </a:moveTo>
                <a:lnTo>
                  <a:pt x="58713" y="0"/>
                </a:lnTo>
                <a:lnTo>
                  <a:pt x="58713" y="62190"/>
                </a:lnTo>
                <a:lnTo>
                  <a:pt x="0" y="62190"/>
                </a:lnTo>
                <a:lnTo>
                  <a:pt x="0" y="0"/>
                </a:lnTo>
                <a:close/>
              </a:path>
            </a:pathLst>
          </a:custGeom>
          <a:ln w="3334">
            <a:solidFill>
              <a:srgbClr val="006FAC"/>
            </a:solidFill>
          </a:ln>
        </p:spPr>
        <p:txBody>
          <a:bodyPr wrap="square" lIns="0" tIns="0" rIns="0" bIns="0" rtlCol="0"/>
          <a:lstStyle/>
          <a:p>
            <a:endParaRPr/>
          </a:p>
        </p:txBody>
      </p:sp>
      <p:sp>
        <p:nvSpPr>
          <p:cNvPr id="391" name="object 391"/>
          <p:cNvSpPr txBox="1"/>
          <p:nvPr/>
        </p:nvSpPr>
        <p:spPr>
          <a:xfrm>
            <a:off x="4739551" y="4859307"/>
            <a:ext cx="264160" cy="75565"/>
          </a:xfrm>
          <a:prstGeom prst="rect">
            <a:avLst/>
          </a:prstGeom>
        </p:spPr>
        <p:txBody>
          <a:bodyPr vert="horz" wrap="square" lIns="0" tIns="15875" rIns="0" bIns="0" rtlCol="0">
            <a:spAutoFit/>
          </a:bodyPr>
          <a:lstStyle/>
          <a:p>
            <a:pPr marL="12700">
              <a:lnSpc>
                <a:spcPct val="100000"/>
              </a:lnSpc>
              <a:spcBef>
                <a:spcPts val="125"/>
              </a:spcBef>
            </a:pPr>
            <a:r>
              <a:rPr sz="450" b="1" spc="15" baseline="9259">
                <a:solidFill>
                  <a:srgbClr val="FFFFFF"/>
                </a:solidFill>
                <a:latin typeface="Arial"/>
                <a:cs typeface="Arial"/>
              </a:rPr>
              <a:t>4</a:t>
            </a:r>
            <a:r>
              <a:rPr sz="450" b="1" spc="67" baseline="9259">
                <a:solidFill>
                  <a:srgbClr val="FFFFFF"/>
                </a:solidFill>
                <a:latin typeface="Arial"/>
                <a:cs typeface="Arial"/>
              </a:rPr>
              <a:t> </a:t>
            </a:r>
            <a:r>
              <a:rPr sz="300" spc="5">
                <a:solidFill>
                  <a:srgbClr val="006FAC"/>
                </a:solidFill>
                <a:latin typeface="Arial"/>
                <a:cs typeface="Arial"/>
              </a:rPr>
              <a:t>Usability</a:t>
            </a:r>
            <a:endParaRPr sz="300">
              <a:latin typeface="Arial"/>
              <a:cs typeface="Arial"/>
            </a:endParaRPr>
          </a:p>
        </p:txBody>
      </p:sp>
      <p:sp>
        <p:nvSpPr>
          <p:cNvPr id="392" name="object 392"/>
          <p:cNvSpPr/>
          <p:nvPr/>
        </p:nvSpPr>
        <p:spPr>
          <a:xfrm>
            <a:off x="4679008" y="5251698"/>
            <a:ext cx="607695" cy="145415"/>
          </a:xfrm>
          <a:custGeom>
            <a:avLst/>
            <a:gdLst/>
            <a:ahLst/>
            <a:cxnLst/>
            <a:rect l="l" t="t" r="r" b="b"/>
            <a:pathLst>
              <a:path w="607695" h="145414">
                <a:moveTo>
                  <a:pt x="0" y="0"/>
                </a:moveTo>
                <a:lnTo>
                  <a:pt x="607324" y="0"/>
                </a:lnTo>
                <a:lnTo>
                  <a:pt x="607324" y="145064"/>
                </a:lnTo>
                <a:lnTo>
                  <a:pt x="0" y="145064"/>
                </a:lnTo>
                <a:lnTo>
                  <a:pt x="0" y="0"/>
                </a:lnTo>
                <a:close/>
              </a:path>
            </a:pathLst>
          </a:custGeom>
          <a:solidFill>
            <a:srgbClr val="006FAC"/>
          </a:solidFill>
        </p:spPr>
        <p:txBody>
          <a:bodyPr wrap="square" lIns="0" tIns="0" rIns="0" bIns="0" rtlCol="0"/>
          <a:lstStyle/>
          <a:p>
            <a:endParaRPr/>
          </a:p>
        </p:txBody>
      </p:sp>
      <p:sp>
        <p:nvSpPr>
          <p:cNvPr id="393" name="object 393"/>
          <p:cNvSpPr/>
          <p:nvPr/>
        </p:nvSpPr>
        <p:spPr>
          <a:xfrm>
            <a:off x="4732596" y="5294979"/>
            <a:ext cx="59055" cy="59055"/>
          </a:xfrm>
          <a:custGeom>
            <a:avLst/>
            <a:gdLst/>
            <a:ahLst/>
            <a:cxnLst/>
            <a:rect l="l" t="t" r="r" b="b"/>
            <a:pathLst>
              <a:path w="59054" h="59054">
                <a:moveTo>
                  <a:pt x="0" y="0"/>
                </a:moveTo>
                <a:lnTo>
                  <a:pt x="58458" y="0"/>
                </a:lnTo>
                <a:lnTo>
                  <a:pt x="58458" y="58758"/>
                </a:lnTo>
                <a:lnTo>
                  <a:pt x="0" y="58758"/>
                </a:lnTo>
                <a:lnTo>
                  <a:pt x="0" y="0"/>
                </a:lnTo>
                <a:close/>
              </a:path>
            </a:pathLst>
          </a:custGeom>
          <a:solidFill>
            <a:srgbClr val="FFFFFF"/>
          </a:solidFill>
        </p:spPr>
        <p:txBody>
          <a:bodyPr wrap="square" lIns="0" tIns="0" rIns="0" bIns="0" rtlCol="0"/>
          <a:lstStyle/>
          <a:p>
            <a:endParaRPr/>
          </a:p>
        </p:txBody>
      </p:sp>
      <p:sp>
        <p:nvSpPr>
          <p:cNvPr id="394" name="object 394"/>
          <p:cNvSpPr/>
          <p:nvPr/>
        </p:nvSpPr>
        <p:spPr>
          <a:xfrm>
            <a:off x="4732596" y="5294979"/>
            <a:ext cx="59055" cy="59055"/>
          </a:xfrm>
          <a:custGeom>
            <a:avLst/>
            <a:gdLst/>
            <a:ahLst/>
            <a:cxnLst/>
            <a:rect l="l" t="t" r="r" b="b"/>
            <a:pathLst>
              <a:path w="59054" h="59054">
                <a:moveTo>
                  <a:pt x="0" y="0"/>
                </a:moveTo>
                <a:lnTo>
                  <a:pt x="58458" y="0"/>
                </a:lnTo>
                <a:lnTo>
                  <a:pt x="58458" y="58758"/>
                </a:lnTo>
                <a:lnTo>
                  <a:pt x="0" y="58758"/>
                </a:lnTo>
                <a:lnTo>
                  <a:pt x="0" y="0"/>
                </a:lnTo>
                <a:close/>
              </a:path>
            </a:pathLst>
          </a:custGeom>
          <a:ln w="3334">
            <a:solidFill>
              <a:srgbClr val="006FAC"/>
            </a:solidFill>
          </a:ln>
        </p:spPr>
        <p:txBody>
          <a:bodyPr wrap="square" lIns="0" tIns="0" rIns="0" bIns="0" rtlCol="0"/>
          <a:lstStyle/>
          <a:p>
            <a:endParaRPr/>
          </a:p>
        </p:txBody>
      </p:sp>
      <p:sp>
        <p:nvSpPr>
          <p:cNvPr id="395" name="object 395"/>
          <p:cNvSpPr txBox="1"/>
          <p:nvPr/>
        </p:nvSpPr>
        <p:spPr>
          <a:xfrm>
            <a:off x="4735877" y="5287496"/>
            <a:ext cx="328295" cy="75565"/>
          </a:xfrm>
          <a:prstGeom prst="rect">
            <a:avLst/>
          </a:prstGeom>
        </p:spPr>
        <p:txBody>
          <a:bodyPr vert="horz" wrap="square" lIns="0" tIns="15875" rIns="0" bIns="0" rtlCol="0">
            <a:spAutoFit/>
          </a:bodyPr>
          <a:lstStyle/>
          <a:p>
            <a:pPr marL="12700">
              <a:lnSpc>
                <a:spcPct val="100000"/>
              </a:lnSpc>
              <a:spcBef>
                <a:spcPts val="125"/>
              </a:spcBef>
            </a:pPr>
            <a:r>
              <a:rPr sz="300" b="1" spc="10">
                <a:solidFill>
                  <a:srgbClr val="006FC0"/>
                </a:solidFill>
                <a:latin typeface="Arial"/>
                <a:cs typeface="Arial"/>
              </a:rPr>
              <a:t>7</a:t>
            </a:r>
            <a:r>
              <a:rPr sz="300" b="1" spc="90">
                <a:solidFill>
                  <a:srgbClr val="006FC0"/>
                </a:solidFill>
                <a:latin typeface="Arial"/>
                <a:cs typeface="Arial"/>
              </a:rPr>
              <a:t> </a:t>
            </a:r>
            <a:r>
              <a:rPr sz="300" spc="10">
                <a:solidFill>
                  <a:srgbClr val="FFFFFF"/>
                </a:solidFill>
                <a:latin typeface="Arial"/>
                <a:cs typeface="Arial"/>
              </a:rPr>
              <a:t>Governance</a:t>
            </a:r>
            <a:endParaRPr sz="300">
              <a:latin typeface="Arial"/>
              <a:cs typeface="Arial"/>
            </a:endParaRPr>
          </a:p>
        </p:txBody>
      </p:sp>
      <p:sp>
        <p:nvSpPr>
          <p:cNvPr id="396" name="object 396"/>
          <p:cNvSpPr/>
          <p:nvPr/>
        </p:nvSpPr>
        <p:spPr>
          <a:xfrm>
            <a:off x="5515553" y="4580090"/>
            <a:ext cx="41910" cy="41910"/>
          </a:xfrm>
          <a:custGeom>
            <a:avLst/>
            <a:gdLst/>
            <a:ahLst/>
            <a:cxnLst/>
            <a:rect l="l" t="t" r="r" b="b"/>
            <a:pathLst>
              <a:path w="41910" h="41910">
                <a:moveTo>
                  <a:pt x="20656" y="0"/>
                </a:moveTo>
                <a:lnTo>
                  <a:pt x="12636" y="1638"/>
                </a:lnTo>
                <a:lnTo>
                  <a:pt x="6067" y="6102"/>
                </a:lnTo>
                <a:lnTo>
                  <a:pt x="1629" y="12718"/>
                </a:lnTo>
                <a:lnTo>
                  <a:pt x="0" y="20810"/>
                </a:lnTo>
                <a:lnTo>
                  <a:pt x="1629" y="28837"/>
                </a:lnTo>
                <a:lnTo>
                  <a:pt x="6067" y="35410"/>
                </a:lnTo>
                <a:lnTo>
                  <a:pt x="12636" y="39852"/>
                </a:lnTo>
                <a:lnTo>
                  <a:pt x="20656" y="41483"/>
                </a:lnTo>
                <a:lnTo>
                  <a:pt x="28858" y="39852"/>
                </a:lnTo>
                <a:lnTo>
                  <a:pt x="35456" y="35410"/>
                </a:lnTo>
                <a:lnTo>
                  <a:pt x="39852" y="28837"/>
                </a:lnTo>
                <a:lnTo>
                  <a:pt x="41451" y="20810"/>
                </a:lnTo>
                <a:lnTo>
                  <a:pt x="39852" y="12718"/>
                </a:lnTo>
                <a:lnTo>
                  <a:pt x="35456" y="6102"/>
                </a:lnTo>
                <a:lnTo>
                  <a:pt x="28858" y="1638"/>
                </a:lnTo>
                <a:lnTo>
                  <a:pt x="20656" y="0"/>
                </a:lnTo>
                <a:close/>
              </a:path>
            </a:pathLst>
          </a:custGeom>
          <a:solidFill>
            <a:srgbClr val="00C37A"/>
          </a:solidFill>
        </p:spPr>
        <p:txBody>
          <a:bodyPr wrap="square" lIns="0" tIns="0" rIns="0" bIns="0" rtlCol="0"/>
          <a:lstStyle/>
          <a:p>
            <a:endParaRPr/>
          </a:p>
        </p:txBody>
      </p:sp>
      <p:sp>
        <p:nvSpPr>
          <p:cNvPr id="397" name="object 397"/>
          <p:cNvSpPr/>
          <p:nvPr/>
        </p:nvSpPr>
        <p:spPr>
          <a:xfrm>
            <a:off x="5515553" y="4580090"/>
            <a:ext cx="41910" cy="41910"/>
          </a:xfrm>
          <a:custGeom>
            <a:avLst/>
            <a:gdLst/>
            <a:ahLst/>
            <a:cxnLst/>
            <a:rect l="l" t="t" r="r" b="b"/>
            <a:pathLst>
              <a:path w="41910" h="41910">
                <a:moveTo>
                  <a:pt x="0" y="20810"/>
                </a:moveTo>
                <a:lnTo>
                  <a:pt x="1629" y="12718"/>
                </a:lnTo>
                <a:lnTo>
                  <a:pt x="6067" y="6102"/>
                </a:lnTo>
                <a:lnTo>
                  <a:pt x="12636" y="1638"/>
                </a:lnTo>
                <a:lnTo>
                  <a:pt x="20656" y="0"/>
                </a:lnTo>
                <a:lnTo>
                  <a:pt x="28858" y="1638"/>
                </a:lnTo>
                <a:lnTo>
                  <a:pt x="35456" y="6102"/>
                </a:lnTo>
                <a:lnTo>
                  <a:pt x="39852" y="12718"/>
                </a:lnTo>
                <a:lnTo>
                  <a:pt x="41451" y="20810"/>
                </a:lnTo>
                <a:lnTo>
                  <a:pt x="39852" y="28837"/>
                </a:lnTo>
                <a:lnTo>
                  <a:pt x="35456" y="35410"/>
                </a:lnTo>
                <a:lnTo>
                  <a:pt x="28858" y="39852"/>
                </a:lnTo>
                <a:lnTo>
                  <a:pt x="20656" y="41483"/>
                </a:lnTo>
                <a:lnTo>
                  <a:pt x="12636" y="39852"/>
                </a:lnTo>
                <a:lnTo>
                  <a:pt x="6067" y="35410"/>
                </a:lnTo>
                <a:lnTo>
                  <a:pt x="1629" y="28837"/>
                </a:lnTo>
                <a:lnTo>
                  <a:pt x="0" y="20810"/>
                </a:lnTo>
                <a:close/>
              </a:path>
            </a:pathLst>
          </a:custGeom>
          <a:ln w="3334">
            <a:solidFill>
              <a:srgbClr val="00C37A"/>
            </a:solidFill>
          </a:ln>
        </p:spPr>
        <p:txBody>
          <a:bodyPr wrap="square" lIns="0" tIns="0" rIns="0" bIns="0" rtlCol="0"/>
          <a:lstStyle/>
          <a:p>
            <a:endParaRPr/>
          </a:p>
        </p:txBody>
      </p:sp>
      <p:sp>
        <p:nvSpPr>
          <p:cNvPr id="398" name="object 398"/>
          <p:cNvSpPr/>
          <p:nvPr/>
        </p:nvSpPr>
        <p:spPr>
          <a:xfrm>
            <a:off x="5515553" y="4877227"/>
            <a:ext cx="38100" cy="38100"/>
          </a:xfrm>
          <a:custGeom>
            <a:avLst/>
            <a:gdLst/>
            <a:ahLst/>
            <a:cxnLst/>
            <a:rect l="l" t="t" r="r" b="b"/>
            <a:pathLst>
              <a:path w="38100" h="38100">
                <a:moveTo>
                  <a:pt x="19141" y="0"/>
                </a:moveTo>
                <a:lnTo>
                  <a:pt x="11677" y="1453"/>
                </a:lnTo>
                <a:lnTo>
                  <a:pt x="5594" y="5452"/>
                </a:lnTo>
                <a:lnTo>
                  <a:pt x="1499" y="11454"/>
                </a:lnTo>
                <a:lnTo>
                  <a:pt x="0" y="18915"/>
                </a:lnTo>
                <a:lnTo>
                  <a:pt x="1499" y="26231"/>
                </a:lnTo>
                <a:lnTo>
                  <a:pt x="5594" y="32249"/>
                </a:lnTo>
                <a:lnTo>
                  <a:pt x="11677" y="36329"/>
                </a:lnTo>
                <a:lnTo>
                  <a:pt x="19141" y="37831"/>
                </a:lnTo>
                <a:lnTo>
                  <a:pt x="26447" y="36329"/>
                </a:lnTo>
                <a:lnTo>
                  <a:pt x="32448" y="32249"/>
                </a:lnTo>
                <a:lnTo>
                  <a:pt x="36512" y="26231"/>
                </a:lnTo>
                <a:lnTo>
                  <a:pt x="38008" y="18915"/>
                </a:lnTo>
                <a:lnTo>
                  <a:pt x="36512" y="11454"/>
                </a:lnTo>
                <a:lnTo>
                  <a:pt x="32448" y="5452"/>
                </a:lnTo>
                <a:lnTo>
                  <a:pt x="26447" y="1453"/>
                </a:lnTo>
                <a:lnTo>
                  <a:pt x="19141" y="0"/>
                </a:lnTo>
                <a:close/>
              </a:path>
            </a:pathLst>
          </a:custGeom>
          <a:solidFill>
            <a:srgbClr val="00C37A"/>
          </a:solidFill>
        </p:spPr>
        <p:txBody>
          <a:bodyPr wrap="square" lIns="0" tIns="0" rIns="0" bIns="0" rtlCol="0"/>
          <a:lstStyle/>
          <a:p>
            <a:endParaRPr/>
          </a:p>
        </p:txBody>
      </p:sp>
      <p:sp>
        <p:nvSpPr>
          <p:cNvPr id="399" name="object 399"/>
          <p:cNvSpPr/>
          <p:nvPr/>
        </p:nvSpPr>
        <p:spPr>
          <a:xfrm>
            <a:off x="5515553" y="4877227"/>
            <a:ext cx="38100" cy="38100"/>
          </a:xfrm>
          <a:custGeom>
            <a:avLst/>
            <a:gdLst/>
            <a:ahLst/>
            <a:cxnLst/>
            <a:rect l="l" t="t" r="r" b="b"/>
            <a:pathLst>
              <a:path w="38100" h="38100">
                <a:moveTo>
                  <a:pt x="0" y="18915"/>
                </a:moveTo>
                <a:lnTo>
                  <a:pt x="1499" y="11454"/>
                </a:lnTo>
                <a:lnTo>
                  <a:pt x="5594" y="5452"/>
                </a:lnTo>
                <a:lnTo>
                  <a:pt x="11677" y="1453"/>
                </a:lnTo>
                <a:lnTo>
                  <a:pt x="19141" y="0"/>
                </a:lnTo>
                <a:lnTo>
                  <a:pt x="26447" y="1453"/>
                </a:lnTo>
                <a:lnTo>
                  <a:pt x="32448" y="5452"/>
                </a:lnTo>
                <a:lnTo>
                  <a:pt x="36512" y="11454"/>
                </a:lnTo>
                <a:lnTo>
                  <a:pt x="38008" y="18915"/>
                </a:lnTo>
                <a:lnTo>
                  <a:pt x="36512" y="26231"/>
                </a:lnTo>
                <a:lnTo>
                  <a:pt x="32448" y="32249"/>
                </a:lnTo>
                <a:lnTo>
                  <a:pt x="26447" y="36329"/>
                </a:lnTo>
                <a:lnTo>
                  <a:pt x="19141" y="37831"/>
                </a:lnTo>
                <a:lnTo>
                  <a:pt x="11677" y="36329"/>
                </a:lnTo>
                <a:lnTo>
                  <a:pt x="5594" y="32249"/>
                </a:lnTo>
                <a:lnTo>
                  <a:pt x="1499" y="26231"/>
                </a:lnTo>
                <a:lnTo>
                  <a:pt x="0" y="18915"/>
                </a:lnTo>
                <a:close/>
              </a:path>
            </a:pathLst>
          </a:custGeom>
          <a:ln w="3334">
            <a:solidFill>
              <a:srgbClr val="00C37A"/>
            </a:solidFill>
          </a:ln>
        </p:spPr>
        <p:txBody>
          <a:bodyPr wrap="square" lIns="0" tIns="0" rIns="0" bIns="0" rtlCol="0"/>
          <a:lstStyle/>
          <a:p>
            <a:endParaRPr/>
          </a:p>
        </p:txBody>
      </p:sp>
      <p:sp>
        <p:nvSpPr>
          <p:cNvPr id="400" name="object 400"/>
          <p:cNvSpPr/>
          <p:nvPr/>
        </p:nvSpPr>
        <p:spPr>
          <a:xfrm>
            <a:off x="5519203" y="4438447"/>
            <a:ext cx="38100" cy="38100"/>
          </a:xfrm>
          <a:custGeom>
            <a:avLst/>
            <a:gdLst/>
            <a:ahLst/>
            <a:cxnLst/>
            <a:rect l="l" t="t" r="r" b="b"/>
            <a:pathLst>
              <a:path w="38100" h="38100">
                <a:moveTo>
                  <a:pt x="18900" y="0"/>
                </a:moveTo>
                <a:lnTo>
                  <a:pt x="11546" y="1505"/>
                </a:lnTo>
                <a:lnTo>
                  <a:pt x="5538" y="5611"/>
                </a:lnTo>
                <a:lnTo>
                  <a:pt x="1486" y="11701"/>
                </a:lnTo>
                <a:lnTo>
                  <a:pt x="0" y="19156"/>
                </a:lnTo>
                <a:lnTo>
                  <a:pt x="1486" y="26487"/>
                </a:lnTo>
                <a:lnTo>
                  <a:pt x="5538" y="32503"/>
                </a:lnTo>
                <a:lnTo>
                  <a:pt x="11546" y="36575"/>
                </a:lnTo>
                <a:lnTo>
                  <a:pt x="18900" y="38072"/>
                </a:lnTo>
                <a:lnTo>
                  <a:pt x="26327" y="36575"/>
                </a:lnTo>
                <a:lnTo>
                  <a:pt x="32327" y="32503"/>
                </a:lnTo>
                <a:lnTo>
                  <a:pt x="36339" y="26487"/>
                </a:lnTo>
                <a:lnTo>
                  <a:pt x="37801" y="19156"/>
                </a:lnTo>
                <a:lnTo>
                  <a:pt x="36339" y="11701"/>
                </a:lnTo>
                <a:lnTo>
                  <a:pt x="32327" y="5611"/>
                </a:lnTo>
                <a:lnTo>
                  <a:pt x="26327" y="1505"/>
                </a:lnTo>
                <a:lnTo>
                  <a:pt x="18900" y="0"/>
                </a:lnTo>
                <a:close/>
              </a:path>
            </a:pathLst>
          </a:custGeom>
          <a:solidFill>
            <a:srgbClr val="00C37A"/>
          </a:solidFill>
        </p:spPr>
        <p:txBody>
          <a:bodyPr wrap="square" lIns="0" tIns="0" rIns="0" bIns="0" rtlCol="0"/>
          <a:lstStyle/>
          <a:p>
            <a:endParaRPr/>
          </a:p>
        </p:txBody>
      </p:sp>
      <p:sp>
        <p:nvSpPr>
          <p:cNvPr id="401" name="object 401"/>
          <p:cNvSpPr/>
          <p:nvPr/>
        </p:nvSpPr>
        <p:spPr>
          <a:xfrm>
            <a:off x="5519203" y="4438447"/>
            <a:ext cx="38100" cy="38100"/>
          </a:xfrm>
          <a:custGeom>
            <a:avLst/>
            <a:gdLst/>
            <a:ahLst/>
            <a:cxnLst/>
            <a:rect l="l" t="t" r="r" b="b"/>
            <a:pathLst>
              <a:path w="38100" h="38100">
                <a:moveTo>
                  <a:pt x="0" y="19156"/>
                </a:moveTo>
                <a:lnTo>
                  <a:pt x="1486" y="11701"/>
                </a:lnTo>
                <a:lnTo>
                  <a:pt x="5538" y="5611"/>
                </a:lnTo>
                <a:lnTo>
                  <a:pt x="11546" y="1505"/>
                </a:lnTo>
                <a:lnTo>
                  <a:pt x="18900" y="0"/>
                </a:lnTo>
                <a:lnTo>
                  <a:pt x="26327" y="1505"/>
                </a:lnTo>
                <a:lnTo>
                  <a:pt x="32327" y="5611"/>
                </a:lnTo>
                <a:lnTo>
                  <a:pt x="36339" y="11701"/>
                </a:lnTo>
                <a:lnTo>
                  <a:pt x="37801" y="19156"/>
                </a:lnTo>
                <a:lnTo>
                  <a:pt x="36339" y="26487"/>
                </a:lnTo>
                <a:lnTo>
                  <a:pt x="32327" y="32503"/>
                </a:lnTo>
                <a:lnTo>
                  <a:pt x="26327" y="36575"/>
                </a:lnTo>
                <a:lnTo>
                  <a:pt x="18900" y="38072"/>
                </a:lnTo>
                <a:lnTo>
                  <a:pt x="11546" y="36575"/>
                </a:lnTo>
                <a:lnTo>
                  <a:pt x="5538" y="32503"/>
                </a:lnTo>
                <a:lnTo>
                  <a:pt x="1486" y="26487"/>
                </a:lnTo>
                <a:lnTo>
                  <a:pt x="0" y="19156"/>
                </a:lnTo>
                <a:close/>
              </a:path>
            </a:pathLst>
          </a:custGeom>
          <a:ln w="3334">
            <a:solidFill>
              <a:srgbClr val="00C37A"/>
            </a:solidFill>
          </a:ln>
        </p:spPr>
        <p:txBody>
          <a:bodyPr wrap="square" lIns="0" tIns="0" rIns="0" bIns="0" rtlCol="0"/>
          <a:lstStyle/>
          <a:p>
            <a:endParaRPr/>
          </a:p>
        </p:txBody>
      </p:sp>
      <p:sp>
        <p:nvSpPr>
          <p:cNvPr id="402" name="object 402"/>
          <p:cNvSpPr/>
          <p:nvPr/>
        </p:nvSpPr>
        <p:spPr>
          <a:xfrm>
            <a:off x="5515553" y="5011876"/>
            <a:ext cx="38100" cy="41910"/>
          </a:xfrm>
          <a:custGeom>
            <a:avLst/>
            <a:gdLst/>
            <a:ahLst/>
            <a:cxnLst/>
            <a:rect l="l" t="t" r="r" b="b"/>
            <a:pathLst>
              <a:path w="38100" h="41910">
                <a:moveTo>
                  <a:pt x="19141" y="0"/>
                </a:moveTo>
                <a:lnTo>
                  <a:pt x="11677" y="1597"/>
                </a:lnTo>
                <a:lnTo>
                  <a:pt x="5594" y="5986"/>
                </a:lnTo>
                <a:lnTo>
                  <a:pt x="1499" y="12558"/>
                </a:lnTo>
                <a:lnTo>
                  <a:pt x="0" y="20707"/>
                </a:lnTo>
                <a:lnTo>
                  <a:pt x="1499" y="28779"/>
                </a:lnTo>
                <a:lnTo>
                  <a:pt x="5594" y="35384"/>
                </a:lnTo>
                <a:lnTo>
                  <a:pt x="11677" y="39845"/>
                </a:lnTo>
                <a:lnTo>
                  <a:pt x="19141" y="41483"/>
                </a:lnTo>
                <a:lnTo>
                  <a:pt x="26447" y="39845"/>
                </a:lnTo>
                <a:lnTo>
                  <a:pt x="32448" y="35384"/>
                </a:lnTo>
                <a:lnTo>
                  <a:pt x="36512" y="28779"/>
                </a:lnTo>
                <a:lnTo>
                  <a:pt x="38008" y="20707"/>
                </a:lnTo>
                <a:lnTo>
                  <a:pt x="36512" y="12558"/>
                </a:lnTo>
                <a:lnTo>
                  <a:pt x="32448" y="5986"/>
                </a:lnTo>
                <a:lnTo>
                  <a:pt x="26447" y="1597"/>
                </a:lnTo>
                <a:lnTo>
                  <a:pt x="19141" y="0"/>
                </a:lnTo>
                <a:close/>
              </a:path>
            </a:pathLst>
          </a:custGeom>
          <a:solidFill>
            <a:srgbClr val="00C37A"/>
          </a:solidFill>
        </p:spPr>
        <p:txBody>
          <a:bodyPr wrap="square" lIns="0" tIns="0" rIns="0" bIns="0" rtlCol="0"/>
          <a:lstStyle/>
          <a:p>
            <a:endParaRPr/>
          </a:p>
        </p:txBody>
      </p:sp>
      <p:sp>
        <p:nvSpPr>
          <p:cNvPr id="403" name="object 403"/>
          <p:cNvSpPr/>
          <p:nvPr/>
        </p:nvSpPr>
        <p:spPr>
          <a:xfrm>
            <a:off x="5515553" y="5011876"/>
            <a:ext cx="38100" cy="41910"/>
          </a:xfrm>
          <a:custGeom>
            <a:avLst/>
            <a:gdLst/>
            <a:ahLst/>
            <a:cxnLst/>
            <a:rect l="l" t="t" r="r" b="b"/>
            <a:pathLst>
              <a:path w="38100" h="41910">
                <a:moveTo>
                  <a:pt x="0" y="20707"/>
                </a:moveTo>
                <a:lnTo>
                  <a:pt x="1499" y="12558"/>
                </a:lnTo>
                <a:lnTo>
                  <a:pt x="5594" y="5986"/>
                </a:lnTo>
                <a:lnTo>
                  <a:pt x="11677" y="1597"/>
                </a:lnTo>
                <a:lnTo>
                  <a:pt x="19141" y="0"/>
                </a:lnTo>
                <a:lnTo>
                  <a:pt x="26447" y="1597"/>
                </a:lnTo>
                <a:lnTo>
                  <a:pt x="32448" y="5986"/>
                </a:lnTo>
                <a:lnTo>
                  <a:pt x="36512" y="12558"/>
                </a:lnTo>
                <a:lnTo>
                  <a:pt x="38008" y="20707"/>
                </a:lnTo>
                <a:lnTo>
                  <a:pt x="36512" y="28779"/>
                </a:lnTo>
                <a:lnTo>
                  <a:pt x="32448" y="35384"/>
                </a:lnTo>
                <a:lnTo>
                  <a:pt x="26447" y="39845"/>
                </a:lnTo>
                <a:lnTo>
                  <a:pt x="19141" y="41483"/>
                </a:lnTo>
                <a:lnTo>
                  <a:pt x="11677" y="39845"/>
                </a:lnTo>
                <a:lnTo>
                  <a:pt x="5594" y="35384"/>
                </a:lnTo>
                <a:lnTo>
                  <a:pt x="1499" y="28779"/>
                </a:lnTo>
                <a:lnTo>
                  <a:pt x="0" y="20707"/>
                </a:lnTo>
                <a:close/>
              </a:path>
            </a:pathLst>
          </a:custGeom>
          <a:ln w="3334">
            <a:solidFill>
              <a:srgbClr val="00C37A"/>
            </a:solidFill>
          </a:ln>
        </p:spPr>
        <p:txBody>
          <a:bodyPr wrap="square" lIns="0" tIns="0" rIns="0" bIns="0" rtlCol="0"/>
          <a:lstStyle/>
          <a:p>
            <a:endParaRPr/>
          </a:p>
        </p:txBody>
      </p:sp>
      <p:sp>
        <p:nvSpPr>
          <p:cNvPr id="404" name="object 404"/>
          <p:cNvSpPr/>
          <p:nvPr/>
        </p:nvSpPr>
        <p:spPr>
          <a:xfrm>
            <a:off x="5512213" y="5301905"/>
            <a:ext cx="38100" cy="41910"/>
          </a:xfrm>
          <a:custGeom>
            <a:avLst/>
            <a:gdLst/>
            <a:ahLst/>
            <a:cxnLst/>
            <a:rect l="l" t="t" r="r" b="b"/>
            <a:pathLst>
              <a:path w="38100" h="41910">
                <a:moveTo>
                  <a:pt x="18900" y="0"/>
                </a:moveTo>
                <a:lnTo>
                  <a:pt x="11575" y="1600"/>
                </a:lnTo>
                <a:lnTo>
                  <a:pt x="5564" y="5998"/>
                </a:lnTo>
                <a:lnTo>
                  <a:pt x="1495" y="12595"/>
                </a:lnTo>
                <a:lnTo>
                  <a:pt x="0" y="20786"/>
                </a:lnTo>
                <a:lnTo>
                  <a:pt x="1495" y="28818"/>
                </a:lnTo>
                <a:lnTo>
                  <a:pt x="5564" y="35399"/>
                </a:lnTo>
                <a:lnTo>
                  <a:pt x="11575" y="39848"/>
                </a:lnTo>
                <a:lnTo>
                  <a:pt x="18900" y="41483"/>
                </a:lnTo>
                <a:lnTo>
                  <a:pt x="26350" y="39848"/>
                </a:lnTo>
                <a:lnTo>
                  <a:pt x="32435" y="35399"/>
                </a:lnTo>
                <a:lnTo>
                  <a:pt x="36538" y="28818"/>
                </a:lnTo>
                <a:lnTo>
                  <a:pt x="38042" y="20786"/>
                </a:lnTo>
                <a:lnTo>
                  <a:pt x="36538" y="12595"/>
                </a:lnTo>
                <a:lnTo>
                  <a:pt x="32435" y="5998"/>
                </a:lnTo>
                <a:lnTo>
                  <a:pt x="26350" y="1600"/>
                </a:lnTo>
                <a:lnTo>
                  <a:pt x="18900" y="0"/>
                </a:lnTo>
                <a:close/>
              </a:path>
            </a:pathLst>
          </a:custGeom>
          <a:solidFill>
            <a:srgbClr val="00C37A"/>
          </a:solidFill>
        </p:spPr>
        <p:txBody>
          <a:bodyPr wrap="square" lIns="0" tIns="0" rIns="0" bIns="0" rtlCol="0"/>
          <a:lstStyle/>
          <a:p>
            <a:endParaRPr/>
          </a:p>
        </p:txBody>
      </p:sp>
      <p:sp>
        <p:nvSpPr>
          <p:cNvPr id="405" name="object 405"/>
          <p:cNvSpPr/>
          <p:nvPr/>
        </p:nvSpPr>
        <p:spPr>
          <a:xfrm>
            <a:off x="5512214" y="5301905"/>
            <a:ext cx="38100" cy="41910"/>
          </a:xfrm>
          <a:custGeom>
            <a:avLst/>
            <a:gdLst/>
            <a:ahLst/>
            <a:cxnLst/>
            <a:rect l="l" t="t" r="r" b="b"/>
            <a:pathLst>
              <a:path w="38100" h="41910">
                <a:moveTo>
                  <a:pt x="0" y="20786"/>
                </a:moveTo>
                <a:lnTo>
                  <a:pt x="1495" y="12595"/>
                </a:lnTo>
                <a:lnTo>
                  <a:pt x="5564" y="5998"/>
                </a:lnTo>
                <a:lnTo>
                  <a:pt x="11575" y="1600"/>
                </a:lnTo>
                <a:lnTo>
                  <a:pt x="18900" y="0"/>
                </a:lnTo>
                <a:lnTo>
                  <a:pt x="26350" y="1600"/>
                </a:lnTo>
                <a:lnTo>
                  <a:pt x="32435" y="5998"/>
                </a:lnTo>
                <a:lnTo>
                  <a:pt x="36538" y="12595"/>
                </a:lnTo>
                <a:lnTo>
                  <a:pt x="38042" y="20786"/>
                </a:lnTo>
                <a:lnTo>
                  <a:pt x="36538" y="28818"/>
                </a:lnTo>
                <a:lnTo>
                  <a:pt x="32435" y="35399"/>
                </a:lnTo>
                <a:lnTo>
                  <a:pt x="26350" y="39848"/>
                </a:lnTo>
                <a:lnTo>
                  <a:pt x="18900" y="41483"/>
                </a:lnTo>
                <a:lnTo>
                  <a:pt x="11575" y="39848"/>
                </a:lnTo>
                <a:lnTo>
                  <a:pt x="5564" y="35399"/>
                </a:lnTo>
                <a:lnTo>
                  <a:pt x="1495" y="28818"/>
                </a:lnTo>
                <a:lnTo>
                  <a:pt x="0" y="20786"/>
                </a:lnTo>
                <a:close/>
              </a:path>
            </a:pathLst>
          </a:custGeom>
          <a:ln w="3334">
            <a:solidFill>
              <a:srgbClr val="00C37A"/>
            </a:solidFill>
          </a:ln>
        </p:spPr>
        <p:txBody>
          <a:bodyPr wrap="square" lIns="0" tIns="0" rIns="0" bIns="0" rtlCol="0"/>
          <a:lstStyle/>
          <a:p>
            <a:endParaRPr/>
          </a:p>
        </p:txBody>
      </p:sp>
      <p:sp>
        <p:nvSpPr>
          <p:cNvPr id="406" name="object 406"/>
          <p:cNvSpPr/>
          <p:nvPr/>
        </p:nvSpPr>
        <p:spPr>
          <a:xfrm>
            <a:off x="5900653" y="5313505"/>
            <a:ext cx="161925" cy="318770"/>
          </a:xfrm>
          <a:custGeom>
            <a:avLst/>
            <a:gdLst/>
            <a:ahLst/>
            <a:cxnLst/>
            <a:rect l="l" t="t" r="r" b="b"/>
            <a:pathLst>
              <a:path w="161925" h="318770">
                <a:moveTo>
                  <a:pt x="0" y="0"/>
                </a:moveTo>
                <a:lnTo>
                  <a:pt x="161542" y="0"/>
                </a:lnTo>
                <a:lnTo>
                  <a:pt x="161542" y="318720"/>
                </a:lnTo>
                <a:lnTo>
                  <a:pt x="0" y="318720"/>
                </a:lnTo>
                <a:lnTo>
                  <a:pt x="0" y="0"/>
                </a:lnTo>
                <a:close/>
              </a:path>
            </a:pathLst>
          </a:custGeom>
          <a:solidFill>
            <a:srgbClr val="006FAC"/>
          </a:solidFill>
        </p:spPr>
        <p:txBody>
          <a:bodyPr wrap="square" lIns="0" tIns="0" rIns="0" bIns="0" rtlCol="0"/>
          <a:lstStyle/>
          <a:p>
            <a:endParaRPr/>
          </a:p>
        </p:txBody>
      </p:sp>
      <p:sp>
        <p:nvSpPr>
          <p:cNvPr id="407" name="object 407"/>
          <p:cNvSpPr/>
          <p:nvPr/>
        </p:nvSpPr>
        <p:spPr>
          <a:xfrm>
            <a:off x="5900653" y="5313505"/>
            <a:ext cx="161925" cy="318770"/>
          </a:xfrm>
          <a:custGeom>
            <a:avLst/>
            <a:gdLst/>
            <a:ahLst/>
            <a:cxnLst/>
            <a:rect l="l" t="t" r="r" b="b"/>
            <a:pathLst>
              <a:path w="161925" h="318770">
                <a:moveTo>
                  <a:pt x="0" y="0"/>
                </a:moveTo>
                <a:lnTo>
                  <a:pt x="161542" y="0"/>
                </a:lnTo>
                <a:lnTo>
                  <a:pt x="161542" y="318720"/>
                </a:lnTo>
                <a:lnTo>
                  <a:pt x="0" y="318720"/>
                </a:lnTo>
                <a:lnTo>
                  <a:pt x="0" y="0"/>
                </a:lnTo>
                <a:close/>
              </a:path>
            </a:pathLst>
          </a:custGeom>
          <a:ln w="3175">
            <a:solidFill>
              <a:srgbClr val="006FAC"/>
            </a:solidFill>
          </a:ln>
        </p:spPr>
        <p:txBody>
          <a:bodyPr wrap="square" lIns="0" tIns="0" rIns="0" bIns="0" rtlCol="0"/>
          <a:lstStyle/>
          <a:p>
            <a:endParaRPr/>
          </a:p>
        </p:txBody>
      </p:sp>
      <p:sp>
        <p:nvSpPr>
          <p:cNvPr id="408" name="object 408"/>
          <p:cNvSpPr/>
          <p:nvPr/>
        </p:nvSpPr>
        <p:spPr>
          <a:xfrm>
            <a:off x="6068019" y="5001741"/>
            <a:ext cx="1167765" cy="111125"/>
          </a:xfrm>
          <a:custGeom>
            <a:avLst/>
            <a:gdLst/>
            <a:ahLst/>
            <a:cxnLst/>
            <a:rect l="l" t="t" r="r" b="b"/>
            <a:pathLst>
              <a:path w="1167765" h="111125">
                <a:moveTo>
                  <a:pt x="0" y="0"/>
                </a:moveTo>
                <a:lnTo>
                  <a:pt x="1167185" y="0"/>
                </a:lnTo>
                <a:lnTo>
                  <a:pt x="1167185" y="110957"/>
                </a:lnTo>
                <a:lnTo>
                  <a:pt x="0" y="110957"/>
                </a:lnTo>
                <a:lnTo>
                  <a:pt x="0" y="0"/>
                </a:lnTo>
                <a:close/>
              </a:path>
            </a:pathLst>
          </a:custGeom>
          <a:solidFill>
            <a:srgbClr val="DFDFDF"/>
          </a:solidFill>
        </p:spPr>
        <p:txBody>
          <a:bodyPr wrap="square" lIns="0" tIns="0" rIns="0" bIns="0" rtlCol="0"/>
          <a:lstStyle/>
          <a:p>
            <a:endParaRPr/>
          </a:p>
        </p:txBody>
      </p:sp>
      <p:sp>
        <p:nvSpPr>
          <p:cNvPr id="409" name="object 409"/>
          <p:cNvSpPr/>
          <p:nvPr/>
        </p:nvSpPr>
        <p:spPr>
          <a:xfrm>
            <a:off x="5900653" y="5005327"/>
            <a:ext cx="161925" cy="287020"/>
          </a:xfrm>
          <a:custGeom>
            <a:avLst/>
            <a:gdLst/>
            <a:ahLst/>
            <a:cxnLst/>
            <a:rect l="l" t="t" r="r" b="b"/>
            <a:pathLst>
              <a:path w="161925" h="287020">
                <a:moveTo>
                  <a:pt x="0" y="0"/>
                </a:moveTo>
                <a:lnTo>
                  <a:pt x="161542" y="0"/>
                </a:lnTo>
                <a:lnTo>
                  <a:pt x="161542" y="287016"/>
                </a:lnTo>
                <a:lnTo>
                  <a:pt x="0" y="287016"/>
                </a:lnTo>
                <a:lnTo>
                  <a:pt x="0" y="0"/>
                </a:lnTo>
                <a:close/>
              </a:path>
            </a:pathLst>
          </a:custGeom>
          <a:solidFill>
            <a:srgbClr val="006FAC"/>
          </a:solidFill>
        </p:spPr>
        <p:txBody>
          <a:bodyPr wrap="square" lIns="0" tIns="0" rIns="0" bIns="0" rtlCol="0"/>
          <a:lstStyle/>
          <a:p>
            <a:endParaRPr/>
          </a:p>
        </p:txBody>
      </p:sp>
      <p:sp>
        <p:nvSpPr>
          <p:cNvPr id="410" name="object 410"/>
          <p:cNvSpPr/>
          <p:nvPr/>
        </p:nvSpPr>
        <p:spPr>
          <a:xfrm>
            <a:off x="5900653" y="5005327"/>
            <a:ext cx="161925" cy="287020"/>
          </a:xfrm>
          <a:custGeom>
            <a:avLst/>
            <a:gdLst/>
            <a:ahLst/>
            <a:cxnLst/>
            <a:rect l="l" t="t" r="r" b="b"/>
            <a:pathLst>
              <a:path w="161925" h="287020">
                <a:moveTo>
                  <a:pt x="0" y="0"/>
                </a:moveTo>
                <a:lnTo>
                  <a:pt x="161542" y="0"/>
                </a:lnTo>
                <a:lnTo>
                  <a:pt x="161542" y="287016"/>
                </a:lnTo>
                <a:lnTo>
                  <a:pt x="0" y="287016"/>
                </a:lnTo>
                <a:lnTo>
                  <a:pt x="0" y="0"/>
                </a:lnTo>
                <a:close/>
              </a:path>
            </a:pathLst>
          </a:custGeom>
          <a:ln w="3175">
            <a:solidFill>
              <a:srgbClr val="006FAC"/>
            </a:solidFill>
          </a:ln>
        </p:spPr>
        <p:txBody>
          <a:bodyPr wrap="square" lIns="0" tIns="0" rIns="0" bIns="0" rtlCol="0"/>
          <a:lstStyle/>
          <a:p>
            <a:endParaRPr/>
          </a:p>
        </p:txBody>
      </p:sp>
      <p:sp>
        <p:nvSpPr>
          <p:cNvPr id="411" name="object 411"/>
          <p:cNvSpPr/>
          <p:nvPr/>
        </p:nvSpPr>
        <p:spPr>
          <a:xfrm>
            <a:off x="5938951" y="5156691"/>
            <a:ext cx="83544" cy="100394"/>
          </a:xfrm>
          <a:prstGeom prst="rect">
            <a:avLst/>
          </a:prstGeom>
          <a:blipFill>
            <a:blip r:embed="rId4" cstate="print"/>
            <a:stretch>
              <a:fillRect/>
            </a:stretch>
          </a:blipFill>
        </p:spPr>
        <p:txBody>
          <a:bodyPr wrap="square" lIns="0" tIns="0" rIns="0" bIns="0" rtlCol="0"/>
          <a:lstStyle/>
          <a:p>
            <a:endParaRPr/>
          </a:p>
        </p:txBody>
      </p:sp>
      <p:sp>
        <p:nvSpPr>
          <p:cNvPr id="412" name="object 412"/>
          <p:cNvSpPr txBox="1"/>
          <p:nvPr/>
        </p:nvSpPr>
        <p:spPr>
          <a:xfrm>
            <a:off x="5925716" y="5064873"/>
            <a:ext cx="108585" cy="50800"/>
          </a:xfrm>
          <a:prstGeom prst="rect">
            <a:avLst/>
          </a:prstGeom>
        </p:spPr>
        <p:txBody>
          <a:bodyPr vert="horz" wrap="square" lIns="0" tIns="14604" rIns="0" bIns="0" rtlCol="0">
            <a:spAutoFit/>
          </a:bodyPr>
          <a:lstStyle/>
          <a:p>
            <a:pPr marL="12700">
              <a:lnSpc>
                <a:spcPct val="100000"/>
              </a:lnSpc>
              <a:spcBef>
                <a:spcPts val="114"/>
              </a:spcBef>
            </a:pPr>
            <a:r>
              <a:rPr sz="150" b="1">
                <a:solidFill>
                  <a:srgbClr val="FFFFFF"/>
                </a:solidFill>
                <a:latin typeface="Arial"/>
                <a:cs typeface="Arial"/>
              </a:rPr>
              <a:t>Platform</a:t>
            </a:r>
            <a:endParaRPr sz="150">
              <a:latin typeface="Arial"/>
              <a:cs typeface="Arial"/>
            </a:endParaRPr>
          </a:p>
        </p:txBody>
      </p:sp>
      <p:sp>
        <p:nvSpPr>
          <p:cNvPr id="413" name="object 413"/>
          <p:cNvSpPr txBox="1"/>
          <p:nvPr/>
        </p:nvSpPr>
        <p:spPr>
          <a:xfrm>
            <a:off x="5907327" y="5089444"/>
            <a:ext cx="1338580" cy="50800"/>
          </a:xfrm>
          <a:prstGeom prst="rect">
            <a:avLst/>
          </a:prstGeom>
        </p:spPr>
        <p:txBody>
          <a:bodyPr vert="horz" wrap="square" lIns="0" tIns="14604" rIns="0" bIns="0" rtlCol="0">
            <a:spAutoFit/>
          </a:bodyPr>
          <a:lstStyle/>
          <a:p>
            <a:pPr marL="12700">
              <a:lnSpc>
                <a:spcPct val="100000"/>
              </a:lnSpc>
              <a:spcBef>
                <a:spcPts val="114"/>
              </a:spcBef>
              <a:tabLst>
                <a:tab pos="1325245" algn="l"/>
              </a:tabLst>
            </a:pPr>
            <a:r>
              <a:rPr sz="150" b="1">
                <a:solidFill>
                  <a:srgbClr val="FFFFFF"/>
                </a:solidFill>
                <a:latin typeface="Arial"/>
                <a:cs typeface="Arial"/>
              </a:rPr>
              <a:t>Architecture     </a:t>
            </a:r>
            <a:r>
              <a:rPr sz="150" b="1" spc="-15">
                <a:solidFill>
                  <a:srgbClr val="FFFFFF"/>
                </a:solidFill>
                <a:latin typeface="Arial"/>
                <a:cs typeface="Arial"/>
              </a:rPr>
              <a:t> </a:t>
            </a:r>
            <a:r>
              <a:rPr sz="150" b="1" u="sng" spc="-5">
                <a:solidFill>
                  <a:srgbClr val="FFFFFF"/>
                </a:solidFill>
                <a:uFill>
                  <a:solidFill>
                    <a:srgbClr val="006FAC"/>
                  </a:solidFill>
                </a:uFill>
                <a:latin typeface="Arial"/>
                <a:cs typeface="Arial"/>
              </a:rPr>
              <a:t> </a:t>
            </a:r>
            <a:r>
              <a:rPr sz="150" b="1" u="sng">
                <a:solidFill>
                  <a:srgbClr val="FFFFFF"/>
                </a:solidFill>
                <a:uFill>
                  <a:solidFill>
                    <a:srgbClr val="006FAC"/>
                  </a:solidFill>
                </a:uFill>
                <a:latin typeface="Arial"/>
                <a:cs typeface="Arial"/>
              </a:rPr>
              <a:t>	</a:t>
            </a:r>
            <a:endParaRPr sz="150">
              <a:latin typeface="Arial"/>
              <a:cs typeface="Arial"/>
            </a:endParaRPr>
          </a:p>
        </p:txBody>
      </p:sp>
      <p:sp>
        <p:nvSpPr>
          <p:cNvPr id="414" name="object 414"/>
          <p:cNvSpPr txBox="1"/>
          <p:nvPr/>
        </p:nvSpPr>
        <p:spPr>
          <a:xfrm>
            <a:off x="6081064" y="5017330"/>
            <a:ext cx="841375" cy="77470"/>
          </a:xfrm>
          <a:prstGeom prst="rect">
            <a:avLst/>
          </a:prstGeom>
        </p:spPr>
        <p:txBody>
          <a:bodyPr vert="horz" wrap="square" lIns="0" tIns="14604" rIns="0" bIns="0" rtlCol="0">
            <a:spAutoFit/>
          </a:bodyPr>
          <a:lstStyle/>
          <a:p>
            <a:pPr algn="ctr">
              <a:lnSpc>
                <a:spcPct val="100000"/>
              </a:lnSpc>
              <a:spcBef>
                <a:spcPts val="114"/>
              </a:spcBef>
            </a:pPr>
            <a:r>
              <a:rPr sz="150" spc="-10">
                <a:latin typeface="Verdana"/>
                <a:cs typeface="Verdana"/>
              </a:rPr>
              <a:t>affecting development of technical </a:t>
            </a:r>
            <a:r>
              <a:rPr sz="150" spc="-15">
                <a:latin typeface="Verdana"/>
                <a:cs typeface="Verdana"/>
              </a:rPr>
              <a:t>roadmap </a:t>
            </a:r>
            <a:r>
              <a:rPr sz="150" b="1">
                <a:solidFill>
                  <a:srgbClr val="00ACEE"/>
                </a:solidFill>
                <a:latin typeface="Arial"/>
                <a:cs typeface="Arial"/>
              </a:rPr>
              <a:t>middlew are solution </a:t>
            </a:r>
            <a:r>
              <a:rPr sz="150" spc="-10">
                <a:latin typeface="Verdana"/>
                <a:cs typeface="Verdana"/>
              </a:rPr>
              <a:t>and</a:t>
            </a:r>
            <a:r>
              <a:rPr sz="150" spc="30">
                <a:latin typeface="Verdana"/>
                <a:cs typeface="Verdana"/>
              </a:rPr>
              <a:t> </a:t>
            </a:r>
            <a:r>
              <a:rPr sz="150" spc="-10">
                <a:latin typeface="Verdana"/>
                <a:cs typeface="Verdana"/>
              </a:rPr>
              <a:t>integration</a:t>
            </a:r>
            <a:endParaRPr sz="150">
              <a:latin typeface="Verdana"/>
              <a:cs typeface="Verdana"/>
            </a:endParaRPr>
          </a:p>
          <a:p>
            <a:pPr marL="201295" algn="ctr">
              <a:lnSpc>
                <a:spcPct val="100000"/>
              </a:lnSpc>
              <a:spcBef>
                <a:spcPts val="30"/>
              </a:spcBef>
            </a:pPr>
            <a:r>
              <a:rPr sz="150" spc="-10">
                <a:latin typeface="Verdana"/>
                <a:cs typeface="Verdana"/>
              </a:rPr>
              <a:t>strategy</a:t>
            </a:r>
            <a:endParaRPr sz="150">
              <a:latin typeface="Verdana"/>
              <a:cs typeface="Verdana"/>
            </a:endParaRPr>
          </a:p>
        </p:txBody>
      </p:sp>
      <p:sp>
        <p:nvSpPr>
          <p:cNvPr id="415" name="object 415"/>
          <p:cNvSpPr txBox="1"/>
          <p:nvPr/>
        </p:nvSpPr>
        <p:spPr>
          <a:xfrm>
            <a:off x="6065118" y="4915465"/>
            <a:ext cx="1168400" cy="91440"/>
          </a:xfrm>
          <a:prstGeom prst="rect">
            <a:avLst/>
          </a:prstGeom>
        </p:spPr>
        <p:txBody>
          <a:bodyPr vert="horz" wrap="square" lIns="0" tIns="13970" rIns="0" bIns="0" rtlCol="0">
            <a:spAutoFit/>
          </a:bodyPr>
          <a:lstStyle/>
          <a:p>
            <a:pPr marL="48895">
              <a:lnSpc>
                <a:spcPct val="100000"/>
              </a:lnSpc>
              <a:spcBef>
                <a:spcPts val="110"/>
              </a:spcBef>
            </a:pPr>
            <a:r>
              <a:rPr sz="250" b="1" spc="-5">
                <a:solidFill>
                  <a:srgbClr val="006FAC"/>
                </a:solidFill>
                <a:latin typeface="Arial"/>
                <a:cs typeface="Arial"/>
              </a:rPr>
              <a:t>Architecture Overall:</a:t>
            </a:r>
            <a:r>
              <a:rPr sz="250" b="1">
                <a:solidFill>
                  <a:srgbClr val="006FAC"/>
                </a:solidFill>
                <a:latin typeface="Arial"/>
                <a:cs typeface="Arial"/>
              </a:rPr>
              <a:t> 1.8</a:t>
            </a:r>
            <a:endParaRPr sz="250">
              <a:latin typeface="Arial"/>
              <a:cs typeface="Arial"/>
            </a:endParaRPr>
          </a:p>
          <a:p>
            <a:pPr marL="12700">
              <a:lnSpc>
                <a:spcPct val="100000"/>
              </a:lnSpc>
              <a:spcBef>
                <a:spcPts val="20"/>
              </a:spcBef>
              <a:tabLst>
                <a:tab pos="484505" algn="l"/>
                <a:tab pos="930275" algn="l"/>
              </a:tabLst>
            </a:pPr>
            <a:r>
              <a:rPr sz="150" b="1">
                <a:solidFill>
                  <a:srgbClr val="006FAC"/>
                </a:solidFill>
                <a:latin typeface="Arial"/>
                <a:cs typeface="Arial"/>
              </a:rPr>
              <a:t>Findings	</a:t>
            </a:r>
            <a:r>
              <a:rPr sz="150" b="1" spc="-5">
                <a:solidFill>
                  <a:srgbClr val="006FAC"/>
                </a:solidFill>
                <a:latin typeface="Arial"/>
                <a:cs typeface="Arial"/>
              </a:rPr>
              <a:t>Recom</a:t>
            </a:r>
            <a:r>
              <a:rPr sz="150" b="1" spc="-15">
                <a:solidFill>
                  <a:srgbClr val="006FAC"/>
                </a:solidFill>
                <a:latin typeface="Arial"/>
                <a:cs typeface="Arial"/>
              </a:rPr>
              <a:t> </a:t>
            </a:r>
            <a:r>
              <a:rPr sz="150" b="1" spc="-10">
                <a:solidFill>
                  <a:srgbClr val="006FAC"/>
                </a:solidFill>
                <a:latin typeface="Arial"/>
                <a:cs typeface="Arial"/>
              </a:rPr>
              <a:t>m </a:t>
            </a:r>
            <a:r>
              <a:rPr sz="150" b="1">
                <a:solidFill>
                  <a:srgbClr val="006FAC"/>
                </a:solidFill>
                <a:latin typeface="Arial"/>
                <a:cs typeface="Arial"/>
              </a:rPr>
              <a:t>endations	</a:t>
            </a:r>
            <a:r>
              <a:rPr sz="150" b="1" spc="10">
                <a:solidFill>
                  <a:srgbClr val="006FAC"/>
                </a:solidFill>
                <a:latin typeface="Arial"/>
                <a:cs typeface="Arial"/>
              </a:rPr>
              <a:t>Im </a:t>
            </a:r>
            <a:r>
              <a:rPr sz="150" b="1">
                <a:solidFill>
                  <a:srgbClr val="006FAC"/>
                </a:solidFill>
                <a:latin typeface="Arial"/>
                <a:cs typeface="Arial"/>
              </a:rPr>
              <a:t>portance</a:t>
            </a:r>
            <a:r>
              <a:rPr sz="150" b="1" spc="10">
                <a:solidFill>
                  <a:srgbClr val="006FAC"/>
                </a:solidFill>
                <a:latin typeface="Arial"/>
                <a:cs typeface="Arial"/>
              </a:rPr>
              <a:t> </a:t>
            </a:r>
            <a:r>
              <a:rPr sz="150" b="1">
                <a:solidFill>
                  <a:srgbClr val="006FAC"/>
                </a:solidFill>
                <a:latin typeface="Arial"/>
                <a:cs typeface="Arial"/>
              </a:rPr>
              <a:t>Urgency</a:t>
            </a:r>
            <a:endParaRPr sz="150">
              <a:latin typeface="Arial"/>
              <a:cs typeface="Arial"/>
            </a:endParaRPr>
          </a:p>
        </p:txBody>
      </p:sp>
      <p:sp>
        <p:nvSpPr>
          <p:cNvPr id="416" name="object 416"/>
          <p:cNvSpPr txBox="1"/>
          <p:nvPr/>
        </p:nvSpPr>
        <p:spPr>
          <a:xfrm>
            <a:off x="6059074" y="4987356"/>
            <a:ext cx="1155700" cy="57150"/>
          </a:xfrm>
          <a:prstGeom prst="rect">
            <a:avLst/>
          </a:prstGeom>
        </p:spPr>
        <p:txBody>
          <a:bodyPr vert="horz" wrap="square" lIns="0" tIns="13335" rIns="0" bIns="0" rtlCol="0">
            <a:spAutoFit/>
          </a:bodyPr>
          <a:lstStyle/>
          <a:p>
            <a:pPr marL="34290" indent="-22225">
              <a:lnSpc>
                <a:spcPct val="100000"/>
              </a:lnSpc>
              <a:spcBef>
                <a:spcPts val="105"/>
              </a:spcBef>
              <a:buClr>
                <a:srgbClr val="2B133C"/>
              </a:buClr>
              <a:buSzPct val="133333"/>
              <a:buFont typeface="Arial"/>
              <a:buChar char="▪"/>
              <a:tabLst>
                <a:tab pos="34925" algn="l"/>
                <a:tab pos="974090" algn="l"/>
              </a:tabLst>
            </a:pPr>
            <a:r>
              <a:rPr sz="150" b="1">
                <a:solidFill>
                  <a:srgbClr val="00ACEE"/>
                </a:solidFill>
                <a:latin typeface="Arial"/>
                <a:cs typeface="Arial"/>
              </a:rPr>
              <a:t>Missing  </a:t>
            </a:r>
            <a:r>
              <a:rPr sz="150" b="1" spc="5">
                <a:solidFill>
                  <a:srgbClr val="00ACEE"/>
                </a:solidFill>
                <a:latin typeface="Arial"/>
                <a:cs typeface="Arial"/>
              </a:rPr>
              <a:t>integration  strategy </a:t>
            </a:r>
            <a:r>
              <a:rPr sz="150" spc="-10">
                <a:latin typeface="Verdana"/>
                <a:cs typeface="Verdana"/>
              </a:rPr>
              <a:t>for Salesforce         </a:t>
            </a:r>
            <a:r>
              <a:rPr sz="200" spc="-10">
                <a:solidFill>
                  <a:srgbClr val="2B133C"/>
                </a:solidFill>
                <a:latin typeface="Arial"/>
                <a:cs typeface="Arial"/>
              </a:rPr>
              <a:t>▪   </a:t>
            </a:r>
            <a:r>
              <a:rPr sz="150" spc="-10">
                <a:latin typeface="Verdana"/>
                <a:cs typeface="Verdana"/>
              </a:rPr>
              <a:t>Complete the </a:t>
            </a:r>
            <a:r>
              <a:rPr sz="150" b="1">
                <a:solidFill>
                  <a:srgbClr val="00ACEE"/>
                </a:solidFill>
                <a:latin typeface="Arial"/>
                <a:cs typeface="Arial"/>
              </a:rPr>
              <a:t>selection</a:t>
            </a:r>
            <a:r>
              <a:rPr sz="150" b="1" spc="-20">
                <a:solidFill>
                  <a:srgbClr val="00ACEE"/>
                </a:solidFill>
                <a:latin typeface="Arial"/>
                <a:cs typeface="Arial"/>
              </a:rPr>
              <a:t> </a:t>
            </a:r>
            <a:r>
              <a:rPr sz="150" b="1" spc="-5">
                <a:solidFill>
                  <a:srgbClr val="00ACEE"/>
                </a:solidFill>
                <a:latin typeface="Arial"/>
                <a:cs typeface="Arial"/>
              </a:rPr>
              <a:t>of</a:t>
            </a:r>
            <a:r>
              <a:rPr sz="150" b="1" spc="20">
                <a:solidFill>
                  <a:srgbClr val="00ACEE"/>
                </a:solidFill>
                <a:latin typeface="Arial"/>
                <a:cs typeface="Arial"/>
              </a:rPr>
              <a:t> </a:t>
            </a:r>
            <a:r>
              <a:rPr sz="150" b="1" spc="-5">
                <a:solidFill>
                  <a:srgbClr val="00ACEE"/>
                </a:solidFill>
                <a:latin typeface="Arial"/>
                <a:cs typeface="Arial"/>
              </a:rPr>
              <a:t>cloud	</a:t>
            </a:r>
            <a:r>
              <a:rPr sz="150" spc="-10">
                <a:solidFill>
                  <a:srgbClr val="FF0000"/>
                </a:solidFill>
                <a:latin typeface="Verdana"/>
                <a:cs typeface="Verdana"/>
              </a:rPr>
              <a:t>High</a:t>
            </a:r>
            <a:r>
              <a:rPr sz="150" spc="15">
                <a:solidFill>
                  <a:srgbClr val="FF0000"/>
                </a:solidFill>
                <a:latin typeface="Verdana"/>
                <a:cs typeface="Verdana"/>
              </a:rPr>
              <a:t> </a:t>
            </a:r>
            <a:r>
              <a:rPr sz="150" spc="-10">
                <a:solidFill>
                  <a:srgbClr val="FF0000"/>
                </a:solidFill>
                <a:latin typeface="Verdana"/>
                <a:cs typeface="Verdana"/>
              </a:rPr>
              <a:t>High</a:t>
            </a:r>
            <a:endParaRPr sz="150">
              <a:latin typeface="Verdana"/>
              <a:cs typeface="Verdana"/>
            </a:endParaRPr>
          </a:p>
        </p:txBody>
      </p:sp>
      <p:sp>
        <p:nvSpPr>
          <p:cNvPr id="417" name="object 417"/>
          <p:cNvSpPr txBox="1"/>
          <p:nvPr/>
        </p:nvSpPr>
        <p:spPr>
          <a:xfrm>
            <a:off x="6059074" y="5103586"/>
            <a:ext cx="1152525" cy="81280"/>
          </a:xfrm>
          <a:prstGeom prst="rect">
            <a:avLst/>
          </a:prstGeom>
        </p:spPr>
        <p:txBody>
          <a:bodyPr vert="horz" wrap="square" lIns="0" tIns="13335" rIns="0" bIns="0" rtlCol="0">
            <a:spAutoFit/>
          </a:bodyPr>
          <a:lstStyle/>
          <a:p>
            <a:pPr marL="34290" indent="-22225">
              <a:lnSpc>
                <a:spcPct val="100000"/>
              </a:lnSpc>
              <a:spcBef>
                <a:spcPts val="105"/>
              </a:spcBef>
              <a:buClr>
                <a:srgbClr val="2B133C"/>
              </a:buClr>
              <a:buSzPct val="133333"/>
              <a:buFont typeface="Arial"/>
              <a:buChar char="▪"/>
              <a:tabLst>
                <a:tab pos="34925" algn="l"/>
                <a:tab pos="975994" algn="l"/>
              </a:tabLst>
            </a:pPr>
            <a:r>
              <a:rPr sz="150" b="1" spc="-5">
                <a:solidFill>
                  <a:srgbClr val="00ACEE"/>
                </a:solidFill>
                <a:latin typeface="Arial"/>
                <a:cs typeface="Arial"/>
              </a:rPr>
              <a:t>SAP  </a:t>
            </a:r>
            <a:r>
              <a:rPr sz="150" b="1">
                <a:solidFill>
                  <a:srgbClr val="00ACEE"/>
                </a:solidFill>
                <a:latin typeface="Arial"/>
                <a:cs typeface="Arial"/>
              </a:rPr>
              <a:t>integration  </a:t>
            </a:r>
            <a:r>
              <a:rPr sz="150" spc="-10">
                <a:latin typeface="Verdana"/>
                <a:cs typeface="Verdana"/>
              </a:rPr>
              <a:t>using batch APEX </a:t>
            </a:r>
            <a:r>
              <a:rPr sz="150" b="1">
                <a:solidFill>
                  <a:srgbClr val="00ACEE"/>
                </a:solidFill>
                <a:latin typeface="Arial"/>
                <a:cs typeface="Arial"/>
              </a:rPr>
              <a:t>not  an              </a:t>
            </a:r>
            <a:r>
              <a:rPr sz="200" spc="-10">
                <a:solidFill>
                  <a:srgbClr val="2B133C"/>
                </a:solidFill>
                <a:latin typeface="Arial"/>
                <a:cs typeface="Arial"/>
              </a:rPr>
              <a:t>▪   </a:t>
            </a:r>
            <a:r>
              <a:rPr sz="150" spc="-10">
                <a:latin typeface="Verdana"/>
                <a:cs typeface="Verdana"/>
              </a:rPr>
              <a:t>Individual </a:t>
            </a:r>
            <a:r>
              <a:rPr sz="150" b="1">
                <a:solidFill>
                  <a:srgbClr val="00ACEE"/>
                </a:solidFill>
                <a:latin typeface="Arial"/>
                <a:cs typeface="Arial"/>
              </a:rPr>
              <a:t>action</a:t>
            </a:r>
            <a:r>
              <a:rPr sz="150" b="1" spc="40">
                <a:solidFill>
                  <a:srgbClr val="00ACEE"/>
                </a:solidFill>
                <a:latin typeface="Arial"/>
                <a:cs typeface="Arial"/>
              </a:rPr>
              <a:t> </a:t>
            </a:r>
            <a:r>
              <a:rPr sz="150" b="1">
                <a:solidFill>
                  <a:srgbClr val="00ACEE"/>
                </a:solidFill>
                <a:latin typeface="Arial"/>
                <a:cs typeface="Arial"/>
              </a:rPr>
              <a:t>plan</a:t>
            </a:r>
            <a:r>
              <a:rPr sz="150" b="1" spc="-5">
                <a:solidFill>
                  <a:srgbClr val="00ACEE"/>
                </a:solidFill>
                <a:latin typeface="Arial"/>
                <a:cs typeface="Arial"/>
              </a:rPr>
              <a:t> </a:t>
            </a:r>
            <a:r>
              <a:rPr sz="150" b="1">
                <a:solidFill>
                  <a:srgbClr val="00ACEE"/>
                </a:solidFill>
                <a:latin typeface="Arial"/>
                <a:cs typeface="Arial"/>
              </a:rPr>
              <a:t>for</a:t>
            </a:r>
            <a:r>
              <a:rPr sz="150" b="1" spc="25">
                <a:solidFill>
                  <a:srgbClr val="00ACEE"/>
                </a:solidFill>
                <a:latin typeface="Arial"/>
                <a:cs typeface="Arial"/>
              </a:rPr>
              <a:t> </a:t>
            </a:r>
            <a:r>
              <a:rPr sz="150" b="1">
                <a:solidFill>
                  <a:srgbClr val="00ACEE"/>
                </a:solidFill>
                <a:latin typeface="Arial"/>
                <a:cs typeface="Arial"/>
              </a:rPr>
              <a:t>existing	</a:t>
            </a:r>
            <a:r>
              <a:rPr sz="150" spc="-10">
                <a:solidFill>
                  <a:srgbClr val="F17E00"/>
                </a:solidFill>
                <a:latin typeface="Verdana"/>
                <a:cs typeface="Verdana"/>
              </a:rPr>
              <a:t>Med </a:t>
            </a:r>
            <a:r>
              <a:rPr sz="150" spc="-10">
                <a:solidFill>
                  <a:srgbClr val="808080"/>
                </a:solidFill>
                <a:latin typeface="Verdana"/>
                <a:cs typeface="Verdana"/>
              </a:rPr>
              <a:t>Low</a:t>
            </a:r>
            <a:endParaRPr sz="150">
              <a:latin typeface="Verdana"/>
              <a:cs typeface="Verdana"/>
            </a:endParaRPr>
          </a:p>
          <a:p>
            <a:pPr marL="34290">
              <a:lnSpc>
                <a:spcPct val="100000"/>
              </a:lnSpc>
              <a:spcBef>
                <a:spcPts val="5"/>
              </a:spcBef>
              <a:tabLst>
                <a:tab pos="506730" algn="l"/>
              </a:tabLst>
            </a:pPr>
            <a:r>
              <a:rPr sz="150" b="1">
                <a:solidFill>
                  <a:srgbClr val="00ACEE"/>
                </a:solidFill>
                <a:latin typeface="Arial"/>
                <a:cs typeface="Arial"/>
              </a:rPr>
              <a:t>endorsed</a:t>
            </a:r>
            <a:r>
              <a:rPr sz="150" b="1" spc="20">
                <a:solidFill>
                  <a:srgbClr val="00ACEE"/>
                </a:solidFill>
                <a:latin typeface="Arial"/>
                <a:cs typeface="Arial"/>
              </a:rPr>
              <a:t> </a:t>
            </a:r>
            <a:r>
              <a:rPr sz="150" b="1">
                <a:solidFill>
                  <a:srgbClr val="00ACEE"/>
                </a:solidFill>
                <a:latin typeface="Arial"/>
                <a:cs typeface="Arial"/>
              </a:rPr>
              <a:t>approach	</a:t>
            </a:r>
            <a:r>
              <a:rPr sz="150" b="1" spc="5">
                <a:solidFill>
                  <a:srgbClr val="00ACEE"/>
                </a:solidFill>
                <a:latin typeface="Arial"/>
                <a:cs typeface="Arial"/>
              </a:rPr>
              <a:t>integration</a:t>
            </a:r>
            <a:r>
              <a:rPr sz="150" b="1" spc="15">
                <a:solidFill>
                  <a:srgbClr val="00ACEE"/>
                </a:solidFill>
                <a:latin typeface="Arial"/>
                <a:cs typeface="Arial"/>
              </a:rPr>
              <a:t> </a:t>
            </a:r>
            <a:r>
              <a:rPr sz="150" b="1" spc="5">
                <a:solidFill>
                  <a:srgbClr val="00ACEE"/>
                </a:solidFill>
                <a:latin typeface="Arial"/>
                <a:cs typeface="Arial"/>
              </a:rPr>
              <a:t>patterns</a:t>
            </a:r>
            <a:endParaRPr sz="150">
              <a:latin typeface="Arial"/>
              <a:cs typeface="Arial"/>
            </a:endParaRPr>
          </a:p>
        </p:txBody>
      </p:sp>
      <p:sp>
        <p:nvSpPr>
          <p:cNvPr id="418" name="object 418"/>
          <p:cNvSpPr txBox="1"/>
          <p:nvPr/>
        </p:nvSpPr>
        <p:spPr>
          <a:xfrm>
            <a:off x="6059074" y="5184559"/>
            <a:ext cx="1153795" cy="107314"/>
          </a:xfrm>
          <a:prstGeom prst="rect">
            <a:avLst/>
          </a:prstGeom>
        </p:spPr>
        <p:txBody>
          <a:bodyPr vert="horz" wrap="square" lIns="0" tIns="13335" rIns="0" bIns="0" rtlCol="0">
            <a:spAutoFit/>
          </a:bodyPr>
          <a:lstStyle/>
          <a:p>
            <a:pPr marL="34290" marR="5080" indent="-22225">
              <a:lnSpc>
                <a:spcPct val="100000"/>
              </a:lnSpc>
              <a:spcBef>
                <a:spcPts val="105"/>
              </a:spcBef>
              <a:buClr>
                <a:srgbClr val="2B133C"/>
              </a:buClr>
              <a:buSzPct val="133333"/>
              <a:buFont typeface="Arial"/>
              <a:buChar char="▪"/>
              <a:tabLst>
                <a:tab pos="34925" algn="l"/>
              </a:tabLst>
            </a:pPr>
            <a:r>
              <a:rPr sz="150" b="1" spc="-10">
                <a:solidFill>
                  <a:srgbClr val="00ACEE"/>
                </a:solidFill>
                <a:latin typeface="Arial"/>
                <a:cs typeface="Arial"/>
              </a:rPr>
              <a:t>BU </a:t>
            </a:r>
            <a:r>
              <a:rPr sz="150" b="1">
                <a:solidFill>
                  <a:srgbClr val="00ACEE"/>
                </a:solidFill>
                <a:latin typeface="Arial"/>
                <a:cs typeface="Arial"/>
              </a:rPr>
              <a:t>unable to </a:t>
            </a:r>
            <a:r>
              <a:rPr sz="150" b="1" spc="5">
                <a:solidFill>
                  <a:srgbClr val="00ACEE"/>
                </a:solidFill>
                <a:latin typeface="Arial"/>
                <a:cs typeface="Arial"/>
              </a:rPr>
              <a:t>report </a:t>
            </a:r>
            <a:r>
              <a:rPr sz="150" b="1" spc="-5">
                <a:solidFill>
                  <a:srgbClr val="00ACEE"/>
                </a:solidFill>
                <a:latin typeface="Arial"/>
                <a:cs typeface="Arial"/>
              </a:rPr>
              <a:t>in </a:t>
            </a:r>
            <a:r>
              <a:rPr sz="150" b="1">
                <a:solidFill>
                  <a:srgbClr val="00ACEE"/>
                </a:solidFill>
                <a:latin typeface="Arial"/>
                <a:cs typeface="Arial"/>
              </a:rPr>
              <a:t>real- </a:t>
            </a:r>
            <a:r>
              <a:rPr sz="150" b="1" spc="-5">
                <a:solidFill>
                  <a:srgbClr val="00ACEE"/>
                </a:solidFill>
                <a:latin typeface="Arial"/>
                <a:cs typeface="Arial"/>
              </a:rPr>
              <a:t>t im </a:t>
            </a:r>
            <a:r>
              <a:rPr sz="150" b="1" spc="-10">
                <a:solidFill>
                  <a:srgbClr val="00ACEE"/>
                </a:solidFill>
                <a:latin typeface="Arial"/>
                <a:cs typeface="Arial"/>
              </a:rPr>
              <a:t>e </a:t>
            </a:r>
            <a:r>
              <a:rPr sz="150" spc="-5">
                <a:latin typeface="Verdana"/>
                <a:cs typeface="Verdana"/>
              </a:rPr>
              <a:t>, </a:t>
            </a:r>
            <a:r>
              <a:rPr sz="150" spc="-10">
                <a:latin typeface="Verdana"/>
                <a:cs typeface="Verdana"/>
              </a:rPr>
              <a:t>only </a:t>
            </a:r>
            <a:r>
              <a:rPr sz="200" spc="-10">
                <a:solidFill>
                  <a:srgbClr val="2B133C"/>
                </a:solidFill>
                <a:latin typeface="Arial"/>
                <a:cs typeface="Arial"/>
              </a:rPr>
              <a:t>▪ </a:t>
            </a:r>
            <a:r>
              <a:rPr sz="150" b="1">
                <a:solidFill>
                  <a:srgbClr val="00ACEE"/>
                </a:solidFill>
                <a:latin typeface="Arial"/>
                <a:cs typeface="Arial"/>
              </a:rPr>
              <a:t>Prioritise integration delivery </a:t>
            </a:r>
            <a:r>
              <a:rPr sz="150" spc="-10">
                <a:latin typeface="Verdana"/>
                <a:cs typeface="Verdana"/>
              </a:rPr>
              <a:t>using the </a:t>
            </a:r>
            <a:r>
              <a:rPr sz="150" spc="-10">
                <a:solidFill>
                  <a:srgbClr val="F17E00"/>
                </a:solidFill>
                <a:latin typeface="Verdana"/>
                <a:cs typeface="Verdana"/>
              </a:rPr>
              <a:t>Med Med </a:t>
            </a:r>
            <a:r>
              <a:rPr sz="150" spc="-10">
                <a:latin typeface="Verdana"/>
                <a:cs typeface="Verdana"/>
              </a:rPr>
              <a:t> monthly with heavy manual intervention (2 FTE reviewed patterns and interfaces</a:t>
            </a:r>
            <a:endParaRPr sz="150">
              <a:latin typeface="Verdana"/>
              <a:cs typeface="Verdana"/>
            </a:endParaRPr>
          </a:p>
          <a:p>
            <a:pPr marL="34290">
              <a:lnSpc>
                <a:spcPct val="100000"/>
              </a:lnSpc>
              <a:spcBef>
                <a:spcPts val="35"/>
              </a:spcBef>
            </a:pPr>
            <a:r>
              <a:rPr sz="150" spc="-10">
                <a:latin typeface="Verdana"/>
                <a:cs typeface="Verdana"/>
              </a:rPr>
              <a:t>day/month)</a:t>
            </a:r>
            <a:endParaRPr sz="150">
              <a:latin typeface="Verdana"/>
              <a:cs typeface="Verdana"/>
            </a:endParaRPr>
          </a:p>
        </p:txBody>
      </p:sp>
      <p:sp>
        <p:nvSpPr>
          <p:cNvPr id="419" name="object 419"/>
          <p:cNvSpPr/>
          <p:nvPr/>
        </p:nvSpPr>
        <p:spPr>
          <a:xfrm>
            <a:off x="6071011" y="5197257"/>
            <a:ext cx="1157605" cy="0"/>
          </a:xfrm>
          <a:custGeom>
            <a:avLst/>
            <a:gdLst/>
            <a:ahLst/>
            <a:cxnLst/>
            <a:rect l="l" t="t" r="r" b="b"/>
            <a:pathLst>
              <a:path w="1157604">
                <a:moveTo>
                  <a:pt x="0" y="0"/>
                </a:moveTo>
                <a:lnTo>
                  <a:pt x="1157356" y="0"/>
                </a:lnTo>
              </a:path>
            </a:pathLst>
          </a:custGeom>
          <a:ln w="3446">
            <a:solidFill>
              <a:srgbClr val="006FAC"/>
            </a:solidFill>
          </a:ln>
        </p:spPr>
        <p:txBody>
          <a:bodyPr wrap="square" lIns="0" tIns="0" rIns="0" bIns="0" rtlCol="0"/>
          <a:lstStyle/>
          <a:p>
            <a:endParaRPr/>
          </a:p>
        </p:txBody>
      </p:sp>
      <p:sp>
        <p:nvSpPr>
          <p:cNvPr id="420" name="object 420"/>
          <p:cNvSpPr/>
          <p:nvPr/>
        </p:nvSpPr>
        <p:spPr>
          <a:xfrm>
            <a:off x="6065144" y="5306474"/>
            <a:ext cx="1167765" cy="113030"/>
          </a:xfrm>
          <a:custGeom>
            <a:avLst/>
            <a:gdLst/>
            <a:ahLst/>
            <a:cxnLst/>
            <a:rect l="l" t="t" r="r" b="b"/>
            <a:pathLst>
              <a:path w="1167765" h="113029">
                <a:moveTo>
                  <a:pt x="0" y="0"/>
                </a:moveTo>
                <a:lnTo>
                  <a:pt x="1167185" y="0"/>
                </a:lnTo>
                <a:lnTo>
                  <a:pt x="1167185" y="112697"/>
                </a:lnTo>
                <a:lnTo>
                  <a:pt x="0" y="112697"/>
                </a:lnTo>
                <a:lnTo>
                  <a:pt x="0" y="0"/>
                </a:lnTo>
                <a:close/>
              </a:path>
            </a:pathLst>
          </a:custGeom>
          <a:solidFill>
            <a:srgbClr val="DFDFDF"/>
          </a:solidFill>
        </p:spPr>
        <p:txBody>
          <a:bodyPr wrap="square" lIns="0" tIns="0" rIns="0" bIns="0" rtlCol="0"/>
          <a:lstStyle/>
          <a:p>
            <a:endParaRPr/>
          </a:p>
        </p:txBody>
      </p:sp>
      <p:sp>
        <p:nvSpPr>
          <p:cNvPr id="421" name="object 421"/>
          <p:cNvSpPr/>
          <p:nvPr/>
        </p:nvSpPr>
        <p:spPr>
          <a:xfrm>
            <a:off x="5897011" y="5303856"/>
            <a:ext cx="1329690" cy="0"/>
          </a:xfrm>
          <a:custGeom>
            <a:avLst/>
            <a:gdLst/>
            <a:ahLst/>
            <a:cxnLst/>
            <a:rect l="l" t="t" r="r" b="b"/>
            <a:pathLst>
              <a:path w="1329690">
                <a:moveTo>
                  <a:pt x="0" y="0"/>
                </a:moveTo>
                <a:lnTo>
                  <a:pt x="0" y="0"/>
                </a:lnTo>
                <a:lnTo>
                  <a:pt x="1329376" y="0"/>
                </a:lnTo>
              </a:path>
            </a:pathLst>
          </a:custGeom>
          <a:ln w="3175">
            <a:solidFill>
              <a:srgbClr val="006FAC"/>
            </a:solidFill>
          </a:ln>
        </p:spPr>
        <p:txBody>
          <a:bodyPr wrap="square" lIns="0" tIns="0" rIns="0" bIns="0" rtlCol="0"/>
          <a:lstStyle/>
          <a:p>
            <a:endParaRPr/>
          </a:p>
        </p:txBody>
      </p:sp>
      <p:sp>
        <p:nvSpPr>
          <p:cNvPr id="422" name="object 422"/>
          <p:cNvSpPr txBox="1"/>
          <p:nvPr/>
        </p:nvSpPr>
        <p:spPr>
          <a:xfrm>
            <a:off x="7148731" y="5533266"/>
            <a:ext cx="60325" cy="50800"/>
          </a:xfrm>
          <a:prstGeom prst="rect">
            <a:avLst/>
          </a:prstGeom>
        </p:spPr>
        <p:txBody>
          <a:bodyPr vert="horz" wrap="square" lIns="0" tIns="14604" rIns="0" bIns="0" rtlCol="0">
            <a:spAutoFit/>
          </a:bodyPr>
          <a:lstStyle/>
          <a:p>
            <a:pPr marL="12700">
              <a:lnSpc>
                <a:spcPct val="100000"/>
              </a:lnSpc>
              <a:spcBef>
                <a:spcPts val="114"/>
              </a:spcBef>
            </a:pPr>
            <a:r>
              <a:rPr sz="150" spc="-15">
                <a:solidFill>
                  <a:srgbClr val="808080"/>
                </a:solidFill>
                <a:latin typeface="Verdana"/>
                <a:cs typeface="Verdana"/>
              </a:rPr>
              <a:t>Lo</a:t>
            </a:r>
            <a:r>
              <a:rPr sz="150" spc="-10">
                <a:solidFill>
                  <a:srgbClr val="808080"/>
                </a:solidFill>
                <a:latin typeface="Verdana"/>
                <a:cs typeface="Verdana"/>
              </a:rPr>
              <a:t>w</a:t>
            </a:r>
            <a:endParaRPr sz="150">
              <a:latin typeface="Verdana"/>
              <a:cs typeface="Verdana"/>
            </a:endParaRPr>
          </a:p>
        </p:txBody>
      </p:sp>
      <p:sp>
        <p:nvSpPr>
          <p:cNvPr id="423" name="object 423"/>
          <p:cNvSpPr txBox="1"/>
          <p:nvPr/>
        </p:nvSpPr>
        <p:spPr>
          <a:xfrm>
            <a:off x="5872349" y="5411747"/>
            <a:ext cx="1061720" cy="57150"/>
          </a:xfrm>
          <a:prstGeom prst="rect">
            <a:avLst/>
          </a:prstGeom>
        </p:spPr>
        <p:txBody>
          <a:bodyPr vert="horz" wrap="square" lIns="0" tIns="13335" rIns="0" bIns="0" rtlCol="0">
            <a:spAutoFit/>
          </a:bodyPr>
          <a:lstStyle/>
          <a:p>
            <a:pPr marL="38100">
              <a:lnSpc>
                <a:spcPct val="100000"/>
              </a:lnSpc>
              <a:spcBef>
                <a:spcPts val="105"/>
              </a:spcBef>
            </a:pPr>
            <a:r>
              <a:rPr sz="225" b="1" spc="-15" baseline="18518">
                <a:solidFill>
                  <a:srgbClr val="FFFFFF"/>
                </a:solidFill>
                <a:latin typeface="Arial"/>
                <a:cs typeface="Arial"/>
              </a:rPr>
              <a:t>Cu </a:t>
            </a:r>
            <a:r>
              <a:rPr sz="225" b="1" baseline="18518">
                <a:solidFill>
                  <a:srgbClr val="FFFFFF"/>
                </a:solidFill>
                <a:latin typeface="Arial"/>
                <a:cs typeface="Arial"/>
              </a:rPr>
              <a:t>stom ization </a:t>
            </a:r>
            <a:r>
              <a:rPr sz="200" spc="-10">
                <a:solidFill>
                  <a:srgbClr val="2B133C"/>
                </a:solidFill>
                <a:latin typeface="Arial"/>
                <a:cs typeface="Arial"/>
              </a:rPr>
              <a:t>▪ </a:t>
            </a:r>
            <a:r>
              <a:rPr sz="150" b="1">
                <a:solidFill>
                  <a:srgbClr val="00ACEE"/>
                </a:solidFill>
                <a:latin typeface="Arial"/>
                <a:cs typeface="Arial"/>
              </a:rPr>
              <a:t>Technical debt </a:t>
            </a:r>
            <a:r>
              <a:rPr sz="150" spc="-10">
                <a:latin typeface="Verdana"/>
                <a:cs typeface="Verdana"/>
              </a:rPr>
              <a:t>of poorly implemented SAP </a:t>
            </a:r>
            <a:r>
              <a:rPr sz="200" spc="-10">
                <a:solidFill>
                  <a:srgbClr val="2B133C"/>
                </a:solidFill>
                <a:latin typeface="Arial"/>
                <a:cs typeface="Arial"/>
              </a:rPr>
              <a:t>▪ </a:t>
            </a:r>
            <a:r>
              <a:rPr sz="150" b="1">
                <a:solidFill>
                  <a:srgbClr val="00ACEE"/>
                </a:solidFill>
                <a:latin typeface="Arial"/>
                <a:cs typeface="Arial"/>
              </a:rPr>
              <a:t>Deprecate </a:t>
            </a:r>
            <a:r>
              <a:rPr sz="150" spc="-10">
                <a:latin typeface="Verdana"/>
                <a:cs typeface="Verdana"/>
              </a:rPr>
              <a:t>existing functionality</a:t>
            </a:r>
            <a:r>
              <a:rPr sz="150" spc="-5">
                <a:latin typeface="Verdana"/>
                <a:cs typeface="Verdana"/>
              </a:rPr>
              <a:t> </a:t>
            </a:r>
            <a:r>
              <a:rPr sz="150" b="1">
                <a:solidFill>
                  <a:srgbClr val="00ACEE"/>
                </a:solidFill>
                <a:latin typeface="Arial"/>
                <a:cs typeface="Arial"/>
              </a:rPr>
              <a:t>and</a:t>
            </a:r>
            <a:endParaRPr sz="150">
              <a:latin typeface="Arial"/>
              <a:cs typeface="Arial"/>
            </a:endParaRPr>
          </a:p>
        </p:txBody>
      </p:sp>
      <p:sp>
        <p:nvSpPr>
          <p:cNvPr id="424" name="object 424"/>
          <p:cNvSpPr txBox="1"/>
          <p:nvPr/>
        </p:nvSpPr>
        <p:spPr>
          <a:xfrm>
            <a:off x="6078453" y="5441728"/>
            <a:ext cx="801370" cy="50800"/>
          </a:xfrm>
          <a:prstGeom prst="rect">
            <a:avLst/>
          </a:prstGeom>
        </p:spPr>
        <p:txBody>
          <a:bodyPr vert="horz" wrap="square" lIns="0" tIns="14604" rIns="0" bIns="0" rtlCol="0">
            <a:spAutoFit/>
          </a:bodyPr>
          <a:lstStyle/>
          <a:p>
            <a:pPr marL="12700">
              <a:lnSpc>
                <a:spcPct val="100000"/>
              </a:lnSpc>
              <a:spcBef>
                <a:spcPts val="114"/>
              </a:spcBef>
            </a:pPr>
            <a:r>
              <a:rPr sz="150" spc="-10">
                <a:latin typeface="Verdana"/>
                <a:cs typeface="Verdana"/>
              </a:rPr>
              <a:t>integration using Salesforce (APEX) code </a:t>
            </a:r>
            <a:r>
              <a:rPr sz="150" b="1">
                <a:solidFill>
                  <a:srgbClr val="00ACEE"/>
                </a:solidFill>
                <a:latin typeface="Arial"/>
                <a:cs typeface="Arial"/>
              </a:rPr>
              <a:t>replace </a:t>
            </a:r>
            <a:r>
              <a:rPr sz="150" spc="-10">
                <a:latin typeface="Verdana"/>
                <a:cs typeface="Verdana"/>
              </a:rPr>
              <a:t>with selected</a:t>
            </a:r>
            <a:r>
              <a:rPr sz="150" spc="-30">
                <a:latin typeface="Verdana"/>
                <a:cs typeface="Verdana"/>
              </a:rPr>
              <a:t> </a:t>
            </a:r>
            <a:r>
              <a:rPr sz="150" spc="-10">
                <a:latin typeface="Verdana"/>
                <a:cs typeface="Verdana"/>
              </a:rPr>
              <a:t>middleware</a:t>
            </a:r>
            <a:endParaRPr sz="150">
              <a:latin typeface="Verdana"/>
              <a:cs typeface="Verdana"/>
            </a:endParaRPr>
          </a:p>
        </p:txBody>
      </p:sp>
      <p:sp>
        <p:nvSpPr>
          <p:cNvPr id="425" name="object 425"/>
          <p:cNvSpPr txBox="1"/>
          <p:nvPr/>
        </p:nvSpPr>
        <p:spPr>
          <a:xfrm>
            <a:off x="6056419" y="5527986"/>
            <a:ext cx="909319" cy="107314"/>
          </a:xfrm>
          <a:prstGeom prst="rect">
            <a:avLst/>
          </a:prstGeom>
        </p:spPr>
        <p:txBody>
          <a:bodyPr vert="horz" wrap="square" lIns="0" tIns="13335" rIns="0" bIns="0" rtlCol="0">
            <a:spAutoFit/>
          </a:bodyPr>
          <a:lstStyle/>
          <a:p>
            <a:pPr marL="34290" indent="-22225">
              <a:lnSpc>
                <a:spcPct val="100000"/>
              </a:lnSpc>
              <a:spcBef>
                <a:spcPts val="105"/>
              </a:spcBef>
              <a:buClr>
                <a:srgbClr val="2B133C"/>
              </a:buClr>
              <a:buSzPct val="133333"/>
              <a:buFont typeface="Arial"/>
              <a:buChar char="▪"/>
              <a:tabLst>
                <a:tab pos="34925" algn="l"/>
              </a:tabLst>
            </a:pPr>
            <a:r>
              <a:rPr sz="150" spc="-10">
                <a:latin typeface="Verdana"/>
                <a:cs typeface="Verdana"/>
              </a:rPr>
              <a:t>Salesforce </a:t>
            </a:r>
            <a:r>
              <a:rPr sz="150" b="1">
                <a:solidFill>
                  <a:srgbClr val="00ACEE"/>
                </a:solidFill>
                <a:latin typeface="Arial"/>
                <a:cs typeface="Arial"/>
              </a:rPr>
              <a:t>technical best  practice  not                  </a:t>
            </a:r>
            <a:r>
              <a:rPr sz="200" spc="-10">
                <a:solidFill>
                  <a:srgbClr val="2B133C"/>
                </a:solidFill>
                <a:latin typeface="Arial"/>
                <a:cs typeface="Arial"/>
              </a:rPr>
              <a:t>▪  </a:t>
            </a:r>
            <a:r>
              <a:rPr sz="150" b="1">
                <a:solidFill>
                  <a:srgbClr val="00ACEE"/>
                </a:solidFill>
                <a:latin typeface="Arial"/>
                <a:cs typeface="Arial"/>
              </a:rPr>
              <a:t>Refactor  </a:t>
            </a:r>
            <a:r>
              <a:rPr sz="150" spc="-10">
                <a:latin typeface="Verdana"/>
                <a:cs typeface="Verdana"/>
              </a:rPr>
              <a:t>Visualforce to display in</a:t>
            </a:r>
            <a:r>
              <a:rPr sz="150" spc="-5">
                <a:latin typeface="Verdana"/>
                <a:cs typeface="Verdana"/>
              </a:rPr>
              <a:t> </a:t>
            </a:r>
            <a:r>
              <a:rPr sz="150" spc="-10">
                <a:latin typeface="Verdana"/>
                <a:cs typeface="Verdana"/>
              </a:rPr>
              <a:t>new</a:t>
            </a:r>
            <a:endParaRPr sz="150">
              <a:latin typeface="Verdana"/>
              <a:cs typeface="Verdana"/>
            </a:endParaRPr>
          </a:p>
          <a:p>
            <a:pPr marL="34290">
              <a:lnSpc>
                <a:spcPct val="100000"/>
              </a:lnSpc>
              <a:spcBef>
                <a:spcPts val="5"/>
              </a:spcBef>
              <a:tabLst>
                <a:tab pos="506730" algn="l"/>
              </a:tabLst>
            </a:pPr>
            <a:r>
              <a:rPr sz="150" b="1">
                <a:solidFill>
                  <a:srgbClr val="00ACEE"/>
                </a:solidFill>
                <a:latin typeface="Arial"/>
                <a:cs typeface="Arial"/>
              </a:rPr>
              <a:t>follow ed  </a:t>
            </a:r>
            <a:r>
              <a:rPr sz="150" spc="-10">
                <a:latin typeface="Verdana"/>
                <a:cs typeface="Verdana"/>
              </a:rPr>
              <a:t>for Lightning</a:t>
            </a:r>
            <a:r>
              <a:rPr sz="150" spc="-5">
                <a:latin typeface="Verdana"/>
                <a:cs typeface="Verdana"/>
              </a:rPr>
              <a:t> </a:t>
            </a:r>
            <a:r>
              <a:rPr sz="150" spc="-10">
                <a:latin typeface="Verdana"/>
                <a:cs typeface="Verdana"/>
              </a:rPr>
              <a:t>vs</a:t>
            </a:r>
            <a:r>
              <a:rPr sz="150" spc="5">
                <a:latin typeface="Verdana"/>
                <a:cs typeface="Verdana"/>
              </a:rPr>
              <a:t> </a:t>
            </a:r>
            <a:r>
              <a:rPr sz="150" spc="-10">
                <a:latin typeface="Verdana"/>
                <a:cs typeface="Verdana"/>
              </a:rPr>
              <a:t>Visualforce	format and work on Mobile devices.</a:t>
            </a:r>
            <a:r>
              <a:rPr sz="150" spc="-5">
                <a:latin typeface="Verdana"/>
                <a:cs typeface="Verdana"/>
              </a:rPr>
              <a:t> </a:t>
            </a:r>
            <a:r>
              <a:rPr sz="150" spc="-10">
                <a:latin typeface="Verdana"/>
                <a:cs typeface="Verdana"/>
              </a:rPr>
              <a:t>Enforce</a:t>
            </a:r>
            <a:endParaRPr sz="150">
              <a:latin typeface="Verdana"/>
              <a:cs typeface="Verdana"/>
            </a:endParaRPr>
          </a:p>
          <a:p>
            <a:pPr marL="506730">
              <a:lnSpc>
                <a:spcPct val="100000"/>
              </a:lnSpc>
              <a:spcBef>
                <a:spcPts val="30"/>
              </a:spcBef>
            </a:pPr>
            <a:r>
              <a:rPr sz="150" spc="-10">
                <a:latin typeface="Verdana"/>
                <a:cs typeface="Verdana"/>
              </a:rPr>
              <a:t>best practice moving</a:t>
            </a:r>
            <a:r>
              <a:rPr sz="150" spc="-5">
                <a:latin typeface="Verdana"/>
                <a:cs typeface="Verdana"/>
              </a:rPr>
              <a:t> </a:t>
            </a:r>
            <a:r>
              <a:rPr sz="150" spc="-10">
                <a:latin typeface="Verdana"/>
                <a:cs typeface="Verdana"/>
              </a:rPr>
              <a:t>forward</a:t>
            </a:r>
            <a:endParaRPr sz="150">
              <a:latin typeface="Verdana"/>
              <a:cs typeface="Verdana"/>
            </a:endParaRPr>
          </a:p>
        </p:txBody>
      </p:sp>
      <p:sp>
        <p:nvSpPr>
          <p:cNvPr id="426" name="object 426"/>
          <p:cNvSpPr txBox="1"/>
          <p:nvPr/>
        </p:nvSpPr>
        <p:spPr>
          <a:xfrm>
            <a:off x="6056419" y="5295516"/>
            <a:ext cx="1155700" cy="107314"/>
          </a:xfrm>
          <a:prstGeom prst="rect">
            <a:avLst/>
          </a:prstGeom>
        </p:spPr>
        <p:txBody>
          <a:bodyPr vert="horz" wrap="square" lIns="0" tIns="13335" rIns="0" bIns="0" rtlCol="0">
            <a:spAutoFit/>
          </a:bodyPr>
          <a:lstStyle/>
          <a:p>
            <a:pPr marL="34290" marR="5080" indent="-22225">
              <a:lnSpc>
                <a:spcPct val="100000"/>
              </a:lnSpc>
              <a:spcBef>
                <a:spcPts val="105"/>
              </a:spcBef>
              <a:buClr>
                <a:srgbClr val="2B133C"/>
              </a:buClr>
              <a:buSzPct val="133333"/>
              <a:buFont typeface="Arial"/>
              <a:buChar char="▪"/>
              <a:tabLst>
                <a:tab pos="34925" algn="l"/>
                <a:tab pos="506730" algn="l"/>
              </a:tabLst>
            </a:pPr>
            <a:r>
              <a:rPr sz="150" b="1">
                <a:solidFill>
                  <a:srgbClr val="00ACEE"/>
                </a:solidFill>
                <a:latin typeface="Arial"/>
                <a:cs typeface="Arial"/>
              </a:rPr>
              <a:t>Sales </a:t>
            </a:r>
            <a:r>
              <a:rPr sz="150" b="1" spc="-10">
                <a:solidFill>
                  <a:srgbClr val="00ACEE"/>
                </a:solidFill>
                <a:latin typeface="Arial"/>
                <a:cs typeface="Arial"/>
              </a:rPr>
              <a:t>CRM </a:t>
            </a:r>
            <a:r>
              <a:rPr sz="150" b="1">
                <a:solidFill>
                  <a:srgbClr val="00ACEE"/>
                </a:solidFill>
                <a:latin typeface="Arial"/>
                <a:cs typeface="Arial"/>
              </a:rPr>
              <a:t>vision </a:t>
            </a:r>
            <a:r>
              <a:rPr sz="150" b="1" spc="-10">
                <a:solidFill>
                  <a:srgbClr val="00ACEE"/>
                </a:solidFill>
                <a:latin typeface="Arial"/>
                <a:cs typeface="Arial"/>
              </a:rPr>
              <a:t>m </a:t>
            </a:r>
            <a:r>
              <a:rPr sz="150" b="1" spc="-5">
                <a:solidFill>
                  <a:srgbClr val="00ACEE"/>
                </a:solidFill>
                <a:latin typeface="Arial"/>
                <a:cs typeface="Arial"/>
              </a:rPr>
              <a:t>issing </a:t>
            </a:r>
            <a:r>
              <a:rPr sz="150" b="1">
                <a:solidFill>
                  <a:srgbClr val="00ACEE"/>
                </a:solidFill>
                <a:latin typeface="Arial"/>
                <a:cs typeface="Arial"/>
              </a:rPr>
              <a:t>tangible design </a:t>
            </a:r>
            <a:r>
              <a:rPr sz="200" spc="-10">
                <a:solidFill>
                  <a:srgbClr val="2B133C"/>
                </a:solidFill>
                <a:latin typeface="Arial"/>
                <a:cs typeface="Arial"/>
              </a:rPr>
              <a:t>▪ </a:t>
            </a:r>
            <a:r>
              <a:rPr sz="150" spc="-10">
                <a:latin typeface="Verdana"/>
                <a:cs typeface="Verdana"/>
              </a:rPr>
              <a:t>Design and agree </a:t>
            </a:r>
            <a:r>
              <a:rPr sz="150" b="1">
                <a:solidFill>
                  <a:srgbClr val="00ACEE"/>
                </a:solidFill>
                <a:latin typeface="Arial"/>
                <a:cs typeface="Arial"/>
              </a:rPr>
              <a:t>conceptual architecture </a:t>
            </a:r>
            <a:r>
              <a:rPr sz="150" spc="-10">
                <a:solidFill>
                  <a:srgbClr val="FF0000"/>
                </a:solidFill>
                <a:latin typeface="Verdana"/>
                <a:cs typeface="Verdana"/>
              </a:rPr>
              <a:t>High High </a:t>
            </a:r>
            <a:r>
              <a:rPr sz="150" spc="-10">
                <a:latin typeface="Verdana"/>
                <a:cs typeface="Verdana"/>
              </a:rPr>
              <a:t> input, roadmap and</a:t>
            </a:r>
            <a:r>
              <a:rPr sz="150" spc="30">
                <a:latin typeface="Verdana"/>
                <a:cs typeface="Verdana"/>
              </a:rPr>
              <a:t> </a:t>
            </a:r>
            <a:r>
              <a:rPr sz="150" spc="-10">
                <a:latin typeface="Verdana"/>
                <a:cs typeface="Verdana"/>
              </a:rPr>
              <a:t>product</a:t>
            </a:r>
            <a:r>
              <a:rPr sz="150" spc="5">
                <a:latin typeface="Verdana"/>
                <a:cs typeface="Verdana"/>
              </a:rPr>
              <a:t> </a:t>
            </a:r>
            <a:r>
              <a:rPr sz="150" spc="-10">
                <a:latin typeface="Verdana"/>
                <a:cs typeface="Verdana"/>
              </a:rPr>
              <a:t>backlog	</a:t>
            </a:r>
            <a:r>
              <a:rPr sz="150" b="1">
                <a:solidFill>
                  <a:srgbClr val="00ACEE"/>
                </a:solidFill>
                <a:latin typeface="Arial"/>
                <a:cs typeface="Arial"/>
              </a:rPr>
              <a:t>for Salesforce roadm ap </a:t>
            </a:r>
            <a:r>
              <a:rPr sz="150" spc="-10">
                <a:latin typeface="Verdana"/>
                <a:cs typeface="Verdana"/>
              </a:rPr>
              <a:t>based on</a:t>
            </a:r>
            <a:r>
              <a:rPr sz="150" spc="-15">
                <a:latin typeface="Verdana"/>
                <a:cs typeface="Verdana"/>
              </a:rPr>
              <a:t> </a:t>
            </a:r>
            <a:r>
              <a:rPr sz="150" spc="-10">
                <a:latin typeface="Verdana"/>
                <a:cs typeface="Verdana"/>
              </a:rPr>
              <a:t>design</a:t>
            </a:r>
            <a:endParaRPr sz="150">
              <a:latin typeface="Verdana"/>
              <a:cs typeface="Verdana"/>
            </a:endParaRPr>
          </a:p>
          <a:p>
            <a:pPr marR="47625" algn="ctr">
              <a:lnSpc>
                <a:spcPct val="100000"/>
              </a:lnSpc>
              <a:spcBef>
                <a:spcPts val="35"/>
              </a:spcBef>
            </a:pPr>
            <a:r>
              <a:rPr sz="150" spc="-10">
                <a:latin typeface="Verdana"/>
                <a:cs typeface="Verdana"/>
              </a:rPr>
              <a:t>use cases</a:t>
            </a:r>
            <a:endParaRPr sz="150">
              <a:latin typeface="Verdana"/>
              <a:cs typeface="Verdana"/>
            </a:endParaRPr>
          </a:p>
        </p:txBody>
      </p:sp>
      <p:sp>
        <p:nvSpPr>
          <p:cNvPr id="427" name="object 427"/>
          <p:cNvSpPr txBox="1"/>
          <p:nvPr/>
        </p:nvSpPr>
        <p:spPr>
          <a:xfrm>
            <a:off x="7020211" y="5417027"/>
            <a:ext cx="189230" cy="50800"/>
          </a:xfrm>
          <a:prstGeom prst="rect">
            <a:avLst/>
          </a:prstGeom>
        </p:spPr>
        <p:txBody>
          <a:bodyPr vert="horz" wrap="square" lIns="0" tIns="14604" rIns="0" bIns="0" rtlCol="0">
            <a:spAutoFit/>
          </a:bodyPr>
          <a:lstStyle/>
          <a:p>
            <a:pPr marL="12700">
              <a:lnSpc>
                <a:spcPct val="100000"/>
              </a:lnSpc>
              <a:spcBef>
                <a:spcPts val="114"/>
              </a:spcBef>
            </a:pPr>
            <a:r>
              <a:rPr sz="150" spc="-10">
                <a:solidFill>
                  <a:srgbClr val="F17E00"/>
                </a:solidFill>
                <a:latin typeface="Verdana"/>
                <a:cs typeface="Verdana"/>
              </a:rPr>
              <a:t>Med</a:t>
            </a:r>
            <a:r>
              <a:rPr sz="150" spc="-5">
                <a:solidFill>
                  <a:srgbClr val="F17E00"/>
                </a:solidFill>
                <a:latin typeface="Verdana"/>
                <a:cs typeface="Verdana"/>
              </a:rPr>
              <a:t> </a:t>
            </a:r>
            <a:r>
              <a:rPr sz="150" spc="-15">
                <a:solidFill>
                  <a:srgbClr val="808080"/>
                </a:solidFill>
                <a:latin typeface="Verdana"/>
                <a:cs typeface="Verdana"/>
              </a:rPr>
              <a:t>Low</a:t>
            </a:r>
            <a:endParaRPr sz="150">
              <a:latin typeface="Verdana"/>
              <a:cs typeface="Verdana"/>
            </a:endParaRPr>
          </a:p>
        </p:txBody>
      </p:sp>
      <p:sp>
        <p:nvSpPr>
          <p:cNvPr id="428" name="object 428"/>
          <p:cNvSpPr txBox="1"/>
          <p:nvPr/>
        </p:nvSpPr>
        <p:spPr>
          <a:xfrm>
            <a:off x="7020973" y="5533266"/>
            <a:ext cx="60325" cy="50800"/>
          </a:xfrm>
          <a:prstGeom prst="rect">
            <a:avLst/>
          </a:prstGeom>
        </p:spPr>
        <p:txBody>
          <a:bodyPr vert="horz" wrap="square" lIns="0" tIns="14604" rIns="0" bIns="0" rtlCol="0">
            <a:spAutoFit/>
          </a:bodyPr>
          <a:lstStyle/>
          <a:p>
            <a:pPr marL="12700">
              <a:lnSpc>
                <a:spcPct val="100000"/>
              </a:lnSpc>
              <a:spcBef>
                <a:spcPts val="114"/>
              </a:spcBef>
            </a:pPr>
            <a:r>
              <a:rPr sz="150" spc="-15">
                <a:solidFill>
                  <a:srgbClr val="808080"/>
                </a:solidFill>
                <a:latin typeface="Verdana"/>
                <a:cs typeface="Verdana"/>
              </a:rPr>
              <a:t>L</a:t>
            </a:r>
            <a:r>
              <a:rPr sz="150" spc="-10">
                <a:solidFill>
                  <a:srgbClr val="808080"/>
                </a:solidFill>
                <a:latin typeface="Verdana"/>
                <a:cs typeface="Verdana"/>
              </a:rPr>
              <a:t>ow</a:t>
            </a:r>
            <a:endParaRPr sz="150">
              <a:latin typeface="Verdana"/>
              <a:cs typeface="Verdana"/>
            </a:endParaRPr>
          </a:p>
        </p:txBody>
      </p:sp>
      <p:sp>
        <p:nvSpPr>
          <p:cNvPr id="429" name="object 429"/>
          <p:cNvSpPr/>
          <p:nvPr/>
        </p:nvSpPr>
        <p:spPr>
          <a:xfrm>
            <a:off x="6068019" y="5538942"/>
            <a:ext cx="1157605" cy="0"/>
          </a:xfrm>
          <a:custGeom>
            <a:avLst/>
            <a:gdLst/>
            <a:ahLst/>
            <a:cxnLst/>
            <a:rect l="l" t="t" r="r" b="b"/>
            <a:pathLst>
              <a:path w="1157604">
                <a:moveTo>
                  <a:pt x="0" y="0"/>
                </a:moveTo>
                <a:lnTo>
                  <a:pt x="1157356" y="0"/>
                </a:lnTo>
              </a:path>
            </a:pathLst>
          </a:custGeom>
          <a:ln w="3446">
            <a:solidFill>
              <a:srgbClr val="006FAC"/>
            </a:solidFill>
          </a:ln>
        </p:spPr>
        <p:txBody>
          <a:bodyPr wrap="square" lIns="0" tIns="0" rIns="0" bIns="0" rtlCol="0"/>
          <a:lstStyle/>
          <a:p>
            <a:endParaRPr/>
          </a:p>
        </p:txBody>
      </p:sp>
      <p:sp>
        <p:nvSpPr>
          <p:cNvPr id="430" name="object 430"/>
          <p:cNvSpPr/>
          <p:nvPr/>
        </p:nvSpPr>
        <p:spPr>
          <a:xfrm>
            <a:off x="6068019" y="5422705"/>
            <a:ext cx="1157605" cy="0"/>
          </a:xfrm>
          <a:custGeom>
            <a:avLst/>
            <a:gdLst/>
            <a:ahLst/>
            <a:cxnLst/>
            <a:rect l="l" t="t" r="r" b="b"/>
            <a:pathLst>
              <a:path w="1157604">
                <a:moveTo>
                  <a:pt x="0" y="0"/>
                </a:moveTo>
                <a:lnTo>
                  <a:pt x="1157356" y="0"/>
                </a:lnTo>
              </a:path>
            </a:pathLst>
          </a:custGeom>
          <a:ln w="3446">
            <a:solidFill>
              <a:srgbClr val="006FAC"/>
            </a:solidFill>
          </a:ln>
        </p:spPr>
        <p:txBody>
          <a:bodyPr wrap="square" lIns="0" tIns="0" rIns="0" bIns="0" rtlCol="0"/>
          <a:lstStyle/>
          <a:p>
            <a:endParaRPr/>
          </a:p>
        </p:txBody>
      </p:sp>
      <p:sp>
        <p:nvSpPr>
          <p:cNvPr id="431" name="object 431"/>
          <p:cNvSpPr/>
          <p:nvPr/>
        </p:nvSpPr>
        <p:spPr>
          <a:xfrm>
            <a:off x="5952145" y="5482569"/>
            <a:ext cx="29845" cy="38735"/>
          </a:xfrm>
          <a:custGeom>
            <a:avLst/>
            <a:gdLst/>
            <a:ahLst/>
            <a:cxnLst/>
            <a:rect l="l" t="t" r="r" b="b"/>
            <a:pathLst>
              <a:path w="29845" h="38735">
                <a:moveTo>
                  <a:pt x="20502" y="32898"/>
                </a:moveTo>
                <a:lnTo>
                  <a:pt x="8740" y="32898"/>
                </a:lnTo>
                <a:lnTo>
                  <a:pt x="9614" y="33552"/>
                </a:lnTo>
                <a:lnTo>
                  <a:pt x="11361" y="34338"/>
                </a:lnTo>
                <a:lnTo>
                  <a:pt x="11580" y="37087"/>
                </a:lnTo>
                <a:lnTo>
                  <a:pt x="12709" y="38702"/>
                </a:lnTo>
                <a:lnTo>
                  <a:pt x="16461" y="38702"/>
                </a:lnTo>
                <a:lnTo>
                  <a:pt x="16788" y="38570"/>
                </a:lnTo>
                <a:lnTo>
                  <a:pt x="17006" y="38308"/>
                </a:lnTo>
                <a:lnTo>
                  <a:pt x="17443" y="37523"/>
                </a:lnTo>
                <a:lnTo>
                  <a:pt x="17443" y="37087"/>
                </a:lnTo>
                <a:lnTo>
                  <a:pt x="17771" y="34470"/>
                </a:lnTo>
                <a:lnTo>
                  <a:pt x="18755" y="34076"/>
                </a:lnTo>
                <a:lnTo>
                  <a:pt x="19629" y="33552"/>
                </a:lnTo>
                <a:lnTo>
                  <a:pt x="20502" y="32898"/>
                </a:lnTo>
                <a:close/>
              </a:path>
              <a:path w="29845" h="38735">
                <a:moveTo>
                  <a:pt x="6519" y="3708"/>
                </a:moveTo>
                <a:lnTo>
                  <a:pt x="6190" y="3708"/>
                </a:lnTo>
                <a:lnTo>
                  <a:pt x="5535" y="3970"/>
                </a:lnTo>
                <a:lnTo>
                  <a:pt x="5316" y="4232"/>
                </a:lnTo>
                <a:lnTo>
                  <a:pt x="3132" y="7113"/>
                </a:lnTo>
                <a:lnTo>
                  <a:pt x="2913" y="7504"/>
                </a:lnTo>
                <a:lnTo>
                  <a:pt x="2805" y="9250"/>
                </a:lnTo>
                <a:lnTo>
                  <a:pt x="3023" y="9512"/>
                </a:lnTo>
                <a:lnTo>
                  <a:pt x="4225" y="11607"/>
                </a:lnTo>
                <a:lnTo>
                  <a:pt x="3350" y="14006"/>
                </a:lnTo>
                <a:lnTo>
                  <a:pt x="3132" y="15315"/>
                </a:lnTo>
                <a:lnTo>
                  <a:pt x="1129" y="15577"/>
                </a:lnTo>
                <a:lnTo>
                  <a:pt x="474" y="15839"/>
                </a:lnTo>
                <a:lnTo>
                  <a:pt x="255" y="16101"/>
                </a:lnTo>
                <a:lnTo>
                  <a:pt x="109" y="16623"/>
                </a:lnTo>
                <a:lnTo>
                  <a:pt x="0" y="21773"/>
                </a:lnTo>
                <a:lnTo>
                  <a:pt x="255" y="22688"/>
                </a:lnTo>
                <a:lnTo>
                  <a:pt x="474" y="22994"/>
                </a:lnTo>
                <a:lnTo>
                  <a:pt x="801" y="23256"/>
                </a:lnTo>
                <a:lnTo>
                  <a:pt x="1129" y="23256"/>
                </a:lnTo>
                <a:lnTo>
                  <a:pt x="3240" y="23648"/>
                </a:lnTo>
                <a:lnTo>
                  <a:pt x="3404" y="24434"/>
                </a:lnTo>
                <a:lnTo>
                  <a:pt x="3507" y="24826"/>
                </a:lnTo>
                <a:lnTo>
                  <a:pt x="3978" y="26135"/>
                </a:lnTo>
                <a:lnTo>
                  <a:pt x="4225" y="26921"/>
                </a:lnTo>
                <a:lnTo>
                  <a:pt x="2805" y="29582"/>
                </a:lnTo>
                <a:lnTo>
                  <a:pt x="2731" y="30499"/>
                </a:lnTo>
                <a:lnTo>
                  <a:pt x="2913" y="31153"/>
                </a:lnTo>
                <a:lnTo>
                  <a:pt x="3132" y="31545"/>
                </a:lnTo>
                <a:lnTo>
                  <a:pt x="5535" y="34732"/>
                </a:lnTo>
                <a:lnTo>
                  <a:pt x="5753" y="34862"/>
                </a:lnTo>
                <a:lnTo>
                  <a:pt x="6082" y="34992"/>
                </a:lnTo>
                <a:lnTo>
                  <a:pt x="6300" y="34992"/>
                </a:lnTo>
                <a:lnTo>
                  <a:pt x="6627" y="34862"/>
                </a:lnTo>
                <a:lnTo>
                  <a:pt x="7101" y="34600"/>
                </a:lnTo>
                <a:lnTo>
                  <a:pt x="8740" y="32898"/>
                </a:lnTo>
                <a:lnTo>
                  <a:pt x="25174" y="32898"/>
                </a:lnTo>
                <a:lnTo>
                  <a:pt x="26257" y="31545"/>
                </a:lnTo>
                <a:lnTo>
                  <a:pt x="26365" y="31153"/>
                </a:lnTo>
                <a:lnTo>
                  <a:pt x="26475" y="30891"/>
                </a:lnTo>
                <a:lnTo>
                  <a:pt x="26475" y="29452"/>
                </a:lnTo>
                <a:lnTo>
                  <a:pt x="26257" y="29190"/>
                </a:lnTo>
                <a:lnTo>
                  <a:pt x="25019" y="27051"/>
                </a:lnTo>
                <a:lnTo>
                  <a:pt x="25358" y="26135"/>
                </a:lnTo>
                <a:lnTo>
                  <a:pt x="14675" y="26135"/>
                </a:lnTo>
                <a:lnTo>
                  <a:pt x="13365" y="25873"/>
                </a:lnTo>
                <a:lnTo>
                  <a:pt x="12272" y="25349"/>
                </a:lnTo>
                <a:lnTo>
                  <a:pt x="11690" y="24826"/>
                </a:lnTo>
                <a:lnTo>
                  <a:pt x="11143" y="24434"/>
                </a:lnTo>
                <a:lnTo>
                  <a:pt x="10707" y="23780"/>
                </a:lnTo>
                <a:lnTo>
                  <a:pt x="10051" y="22427"/>
                </a:lnTo>
                <a:lnTo>
                  <a:pt x="9614" y="20855"/>
                </a:lnTo>
                <a:lnTo>
                  <a:pt x="9650" y="17279"/>
                </a:lnTo>
                <a:lnTo>
                  <a:pt x="14021" y="12261"/>
                </a:lnTo>
                <a:lnTo>
                  <a:pt x="25419" y="12261"/>
                </a:lnTo>
                <a:lnTo>
                  <a:pt x="25127" y="11475"/>
                </a:lnTo>
                <a:lnTo>
                  <a:pt x="26475" y="9120"/>
                </a:lnTo>
                <a:lnTo>
                  <a:pt x="26365" y="7504"/>
                </a:lnTo>
                <a:lnTo>
                  <a:pt x="26147" y="7113"/>
                </a:lnTo>
                <a:lnTo>
                  <a:pt x="25028" y="5671"/>
                </a:lnTo>
                <a:lnTo>
                  <a:pt x="8521" y="5671"/>
                </a:lnTo>
                <a:lnTo>
                  <a:pt x="6846" y="3840"/>
                </a:lnTo>
                <a:lnTo>
                  <a:pt x="6519" y="3708"/>
                </a:lnTo>
                <a:close/>
              </a:path>
              <a:path w="29845" h="38735">
                <a:moveTo>
                  <a:pt x="25174" y="32898"/>
                </a:moveTo>
                <a:lnTo>
                  <a:pt x="20502" y="32898"/>
                </a:lnTo>
                <a:lnTo>
                  <a:pt x="22177" y="34600"/>
                </a:lnTo>
                <a:lnTo>
                  <a:pt x="22506" y="34862"/>
                </a:lnTo>
                <a:lnTo>
                  <a:pt x="22724" y="34992"/>
                </a:lnTo>
                <a:lnTo>
                  <a:pt x="23052" y="34992"/>
                </a:lnTo>
                <a:lnTo>
                  <a:pt x="23707" y="34732"/>
                </a:lnTo>
                <a:lnTo>
                  <a:pt x="25174" y="32898"/>
                </a:lnTo>
                <a:close/>
              </a:path>
              <a:path w="29845" h="38735">
                <a:moveTo>
                  <a:pt x="25419" y="12261"/>
                </a:moveTo>
                <a:lnTo>
                  <a:pt x="15331" y="12261"/>
                </a:lnTo>
                <a:lnTo>
                  <a:pt x="15987" y="12522"/>
                </a:lnTo>
                <a:lnTo>
                  <a:pt x="16569" y="12784"/>
                </a:lnTo>
                <a:lnTo>
                  <a:pt x="17225" y="13046"/>
                </a:lnTo>
                <a:lnTo>
                  <a:pt x="18208" y="14006"/>
                </a:lnTo>
                <a:lnTo>
                  <a:pt x="18973" y="15183"/>
                </a:lnTo>
                <a:lnTo>
                  <a:pt x="19367" y="16101"/>
                </a:lnTo>
                <a:lnTo>
                  <a:pt x="19629" y="16623"/>
                </a:lnTo>
                <a:lnTo>
                  <a:pt x="19714" y="17279"/>
                </a:lnTo>
                <a:lnTo>
                  <a:pt x="19836" y="20071"/>
                </a:lnTo>
                <a:lnTo>
                  <a:pt x="19646" y="21511"/>
                </a:lnTo>
                <a:lnTo>
                  <a:pt x="19574" y="21773"/>
                </a:lnTo>
                <a:lnTo>
                  <a:pt x="18645" y="23780"/>
                </a:lnTo>
                <a:lnTo>
                  <a:pt x="18208" y="24434"/>
                </a:lnTo>
                <a:lnTo>
                  <a:pt x="17662" y="24826"/>
                </a:lnTo>
                <a:lnTo>
                  <a:pt x="17225" y="25349"/>
                </a:lnTo>
                <a:lnTo>
                  <a:pt x="16569" y="25611"/>
                </a:lnTo>
                <a:lnTo>
                  <a:pt x="15987" y="25873"/>
                </a:lnTo>
                <a:lnTo>
                  <a:pt x="14675" y="26135"/>
                </a:lnTo>
                <a:lnTo>
                  <a:pt x="25358" y="26135"/>
                </a:lnTo>
                <a:lnTo>
                  <a:pt x="25876" y="24826"/>
                </a:lnTo>
                <a:lnTo>
                  <a:pt x="26257" y="23386"/>
                </a:lnTo>
                <a:lnTo>
                  <a:pt x="28114" y="23124"/>
                </a:lnTo>
                <a:lnTo>
                  <a:pt x="28441" y="22994"/>
                </a:lnTo>
                <a:lnTo>
                  <a:pt x="28768" y="22818"/>
                </a:lnTo>
                <a:lnTo>
                  <a:pt x="28987" y="22558"/>
                </a:lnTo>
                <a:lnTo>
                  <a:pt x="29097" y="22165"/>
                </a:lnTo>
                <a:lnTo>
                  <a:pt x="29315" y="21773"/>
                </a:lnTo>
                <a:lnTo>
                  <a:pt x="29242" y="16623"/>
                </a:lnTo>
                <a:lnTo>
                  <a:pt x="29097" y="16361"/>
                </a:lnTo>
                <a:lnTo>
                  <a:pt x="28987" y="15969"/>
                </a:lnTo>
                <a:lnTo>
                  <a:pt x="28768" y="15707"/>
                </a:lnTo>
                <a:lnTo>
                  <a:pt x="28441" y="15445"/>
                </a:lnTo>
                <a:lnTo>
                  <a:pt x="28114" y="15445"/>
                </a:lnTo>
                <a:lnTo>
                  <a:pt x="26257" y="15053"/>
                </a:lnTo>
                <a:lnTo>
                  <a:pt x="25516" y="12522"/>
                </a:lnTo>
                <a:lnTo>
                  <a:pt x="25419" y="12261"/>
                </a:lnTo>
                <a:close/>
              </a:path>
              <a:path w="29845" h="38735">
                <a:moveTo>
                  <a:pt x="16569" y="0"/>
                </a:moveTo>
                <a:lnTo>
                  <a:pt x="12818" y="0"/>
                </a:lnTo>
                <a:lnTo>
                  <a:pt x="12491" y="131"/>
                </a:lnTo>
                <a:lnTo>
                  <a:pt x="12272" y="393"/>
                </a:lnTo>
                <a:lnTo>
                  <a:pt x="11835" y="1179"/>
                </a:lnTo>
                <a:lnTo>
                  <a:pt x="11835" y="1571"/>
                </a:lnTo>
                <a:lnTo>
                  <a:pt x="11580" y="3970"/>
                </a:lnTo>
                <a:lnTo>
                  <a:pt x="10707" y="4232"/>
                </a:lnTo>
                <a:lnTo>
                  <a:pt x="10051" y="4626"/>
                </a:lnTo>
                <a:lnTo>
                  <a:pt x="8521" y="5671"/>
                </a:lnTo>
                <a:lnTo>
                  <a:pt x="25028" y="5671"/>
                </a:lnTo>
                <a:lnTo>
                  <a:pt x="24927" y="5541"/>
                </a:lnTo>
                <a:lnTo>
                  <a:pt x="20721" y="5541"/>
                </a:lnTo>
                <a:lnTo>
                  <a:pt x="20065" y="5017"/>
                </a:lnTo>
                <a:lnTo>
                  <a:pt x="18536" y="4232"/>
                </a:lnTo>
                <a:lnTo>
                  <a:pt x="17771" y="3970"/>
                </a:lnTo>
                <a:lnTo>
                  <a:pt x="17662" y="1571"/>
                </a:lnTo>
                <a:lnTo>
                  <a:pt x="17443" y="785"/>
                </a:lnTo>
                <a:lnTo>
                  <a:pt x="17225" y="393"/>
                </a:lnTo>
                <a:lnTo>
                  <a:pt x="16898" y="131"/>
                </a:lnTo>
                <a:lnTo>
                  <a:pt x="16569" y="0"/>
                </a:lnTo>
                <a:close/>
              </a:path>
              <a:path w="29845" h="38735">
                <a:moveTo>
                  <a:pt x="23160" y="3708"/>
                </a:moveTo>
                <a:lnTo>
                  <a:pt x="22943" y="3708"/>
                </a:lnTo>
                <a:lnTo>
                  <a:pt x="22614" y="3840"/>
                </a:lnTo>
                <a:lnTo>
                  <a:pt x="22396" y="3840"/>
                </a:lnTo>
                <a:lnTo>
                  <a:pt x="22177" y="4102"/>
                </a:lnTo>
                <a:lnTo>
                  <a:pt x="20721" y="5541"/>
                </a:lnTo>
                <a:lnTo>
                  <a:pt x="24927" y="5541"/>
                </a:lnTo>
                <a:lnTo>
                  <a:pt x="23707" y="3970"/>
                </a:lnTo>
                <a:lnTo>
                  <a:pt x="23489" y="3840"/>
                </a:lnTo>
                <a:lnTo>
                  <a:pt x="23160" y="3708"/>
                </a:lnTo>
                <a:close/>
              </a:path>
            </a:pathLst>
          </a:custGeom>
          <a:solidFill>
            <a:srgbClr val="FFFFFF"/>
          </a:solidFill>
        </p:spPr>
        <p:txBody>
          <a:bodyPr wrap="square" lIns="0" tIns="0" rIns="0" bIns="0" rtlCol="0"/>
          <a:lstStyle/>
          <a:p>
            <a:endParaRPr/>
          </a:p>
        </p:txBody>
      </p:sp>
      <p:sp>
        <p:nvSpPr>
          <p:cNvPr id="432" name="object 432"/>
          <p:cNvSpPr/>
          <p:nvPr/>
        </p:nvSpPr>
        <p:spPr>
          <a:xfrm>
            <a:off x="5978547" y="5501985"/>
            <a:ext cx="23495" cy="33655"/>
          </a:xfrm>
          <a:custGeom>
            <a:avLst/>
            <a:gdLst/>
            <a:ahLst/>
            <a:cxnLst/>
            <a:rect l="l" t="t" r="r" b="b"/>
            <a:pathLst>
              <a:path w="23495" h="33654">
                <a:moveTo>
                  <a:pt x="15888" y="28796"/>
                </a:moveTo>
                <a:lnTo>
                  <a:pt x="7647" y="28796"/>
                </a:lnTo>
                <a:lnTo>
                  <a:pt x="9212" y="29582"/>
                </a:lnTo>
                <a:lnTo>
                  <a:pt x="9868" y="29844"/>
                </a:lnTo>
                <a:lnTo>
                  <a:pt x="10176" y="31807"/>
                </a:lnTo>
                <a:lnTo>
                  <a:pt x="10415" y="32767"/>
                </a:lnTo>
                <a:lnTo>
                  <a:pt x="10742" y="33028"/>
                </a:lnTo>
                <a:lnTo>
                  <a:pt x="10961" y="33290"/>
                </a:lnTo>
                <a:lnTo>
                  <a:pt x="11288" y="33422"/>
                </a:lnTo>
                <a:lnTo>
                  <a:pt x="11617" y="33422"/>
                </a:lnTo>
                <a:lnTo>
                  <a:pt x="14931" y="29320"/>
                </a:lnTo>
                <a:lnTo>
                  <a:pt x="15695" y="28928"/>
                </a:lnTo>
                <a:lnTo>
                  <a:pt x="15888" y="28796"/>
                </a:lnTo>
                <a:close/>
              </a:path>
              <a:path w="23495" h="33654">
                <a:moveTo>
                  <a:pt x="4370" y="4102"/>
                </a:moveTo>
                <a:lnTo>
                  <a:pt x="4151" y="4232"/>
                </a:lnTo>
                <a:lnTo>
                  <a:pt x="3788" y="4364"/>
                </a:lnTo>
                <a:lnTo>
                  <a:pt x="3569" y="4494"/>
                </a:lnTo>
                <a:lnTo>
                  <a:pt x="3350" y="4756"/>
                </a:lnTo>
                <a:lnTo>
                  <a:pt x="1893" y="7374"/>
                </a:lnTo>
                <a:lnTo>
                  <a:pt x="1820" y="8858"/>
                </a:lnTo>
                <a:lnTo>
                  <a:pt x="1930" y="9250"/>
                </a:lnTo>
                <a:lnTo>
                  <a:pt x="2039" y="9512"/>
                </a:lnTo>
                <a:lnTo>
                  <a:pt x="2843" y="10689"/>
                </a:lnTo>
                <a:lnTo>
                  <a:pt x="2940" y="11213"/>
                </a:lnTo>
                <a:lnTo>
                  <a:pt x="2695" y="11999"/>
                </a:lnTo>
                <a:lnTo>
                  <a:pt x="2476" y="13176"/>
                </a:lnTo>
                <a:lnTo>
                  <a:pt x="2366" y="14268"/>
                </a:lnTo>
                <a:lnTo>
                  <a:pt x="946" y="14660"/>
                </a:lnTo>
                <a:lnTo>
                  <a:pt x="728" y="14791"/>
                </a:lnTo>
                <a:lnTo>
                  <a:pt x="400" y="15053"/>
                </a:lnTo>
                <a:lnTo>
                  <a:pt x="182" y="15315"/>
                </a:lnTo>
                <a:lnTo>
                  <a:pt x="0" y="15969"/>
                </a:lnTo>
                <a:lnTo>
                  <a:pt x="29" y="17540"/>
                </a:lnTo>
                <a:lnTo>
                  <a:pt x="135" y="19024"/>
                </a:lnTo>
                <a:lnTo>
                  <a:pt x="255" y="20201"/>
                </a:lnTo>
                <a:lnTo>
                  <a:pt x="400" y="20463"/>
                </a:lnTo>
                <a:lnTo>
                  <a:pt x="509" y="20855"/>
                </a:lnTo>
                <a:lnTo>
                  <a:pt x="838" y="21117"/>
                </a:lnTo>
                <a:lnTo>
                  <a:pt x="1056" y="21249"/>
                </a:lnTo>
                <a:lnTo>
                  <a:pt x="1383" y="21379"/>
                </a:lnTo>
                <a:lnTo>
                  <a:pt x="2803" y="21379"/>
                </a:lnTo>
                <a:lnTo>
                  <a:pt x="3459" y="23256"/>
                </a:lnTo>
                <a:lnTo>
                  <a:pt x="3896" y="24172"/>
                </a:lnTo>
                <a:lnTo>
                  <a:pt x="3022" y="25873"/>
                </a:lnTo>
                <a:lnTo>
                  <a:pt x="2913" y="27750"/>
                </a:lnTo>
                <a:lnTo>
                  <a:pt x="3132" y="28142"/>
                </a:lnTo>
                <a:lnTo>
                  <a:pt x="3240" y="28404"/>
                </a:lnTo>
                <a:lnTo>
                  <a:pt x="4916" y="30237"/>
                </a:lnTo>
                <a:lnTo>
                  <a:pt x="5244" y="30497"/>
                </a:lnTo>
                <a:lnTo>
                  <a:pt x="5463" y="30629"/>
                </a:lnTo>
                <a:lnTo>
                  <a:pt x="5790" y="30759"/>
                </a:lnTo>
                <a:lnTo>
                  <a:pt x="6446" y="30497"/>
                </a:lnTo>
                <a:lnTo>
                  <a:pt x="6664" y="30237"/>
                </a:lnTo>
                <a:lnTo>
                  <a:pt x="7647" y="28796"/>
                </a:lnTo>
                <a:lnTo>
                  <a:pt x="15888" y="28796"/>
                </a:lnTo>
                <a:lnTo>
                  <a:pt x="16461" y="28404"/>
                </a:lnTo>
                <a:lnTo>
                  <a:pt x="17115" y="27750"/>
                </a:lnTo>
                <a:lnTo>
                  <a:pt x="20422" y="27750"/>
                </a:lnTo>
                <a:lnTo>
                  <a:pt x="21522" y="25743"/>
                </a:lnTo>
                <a:lnTo>
                  <a:pt x="21522" y="24172"/>
                </a:lnTo>
                <a:lnTo>
                  <a:pt x="21303" y="23780"/>
                </a:lnTo>
                <a:lnTo>
                  <a:pt x="20407" y="22427"/>
                </a:lnTo>
                <a:lnTo>
                  <a:pt x="11507" y="22427"/>
                </a:lnTo>
                <a:lnTo>
                  <a:pt x="10415" y="22165"/>
                </a:lnTo>
                <a:lnTo>
                  <a:pt x="9978" y="21903"/>
                </a:lnTo>
                <a:lnTo>
                  <a:pt x="9541" y="21511"/>
                </a:lnTo>
                <a:lnTo>
                  <a:pt x="9104" y="20987"/>
                </a:lnTo>
                <a:lnTo>
                  <a:pt x="8667" y="20593"/>
                </a:lnTo>
                <a:lnTo>
                  <a:pt x="8375" y="20070"/>
                </a:lnTo>
                <a:lnTo>
                  <a:pt x="8215" y="19678"/>
                </a:lnTo>
                <a:lnTo>
                  <a:pt x="7866" y="18630"/>
                </a:lnTo>
                <a:lnTo>
                  <a:pt x="7647" y="17802"/>
                </a:lnTo>
                <a:lnTo>
                  <a:pt x="7756" y="14660"/>
                </a:lnTo>
                <a:lnTo>
                  <a:pt x="11398" y="10559"/>
                </a:lnTo>
                <a:lnTo>
                  <a:pt x="20335" y="10559"/>
                </a:lnTo>
                <a:lnTo>
                  <a:pt x="20102" y="9904"/>
                </a:lnTo>
                <a:lnTo>
                  <a:pt x="19664" y="8858"/>
                </a:lnTo>
                <a:lnTo>
                  <a:pt x="20320" y="7374"/>
                </a:lnTo>
                <a:lnTo>
                  <a:pt x="20429" y="6981"/>
                </a:lnTo>
                <a:lnTo>
                  <a:pt x="20374" y="5409"/>
                </a:lnTo>
                <a:lnTo>
                  <a:pt x="6227" y="5409"/>
                </a:lnTo>
                <a:lnTo>
                  <a:pt x="5134" y="4494"/>
                </a:lnTo>
                <a:lnTo>
                  <a:pt x="4916" y="4232"/>
                </a:lnTo>
                <a:lnTo>
                  <a:pt x="4589" y="4232"/>
                </a:lnTo>
                <a:lnTo>
                  <a:pt x="4370" y="4102"/>
                </a:lnTo>
                <a:close/>
              </a:path>
              <a:path w="23495" h="33654">
                <a:moveTo>
                  <a:pt x="20422" y="27750"/>
                </a:moveTo>
                <a:lnTo>
                  <a:pt x="17115" y="27750"/>
                </a:lnTo>
                <a:lnTo>
                  <a:pt x="18353" y="28796"/>
                </a:lnTo>
                <a:lnTo>
                  <a:pt x="18572" y="29058"/>
                </a:lnTo>
                <a:lnTo>
                  <a:pt x="18790" y="29190"/>
                </a:lnTo>
                <a:lnTo>
                  <a:pt x="19009" y="29190"/>
                </a:lnTo>
                <a:lnTo>
                  <a:pt x="19337" y="29058"/>
                </a:lnTo>
                <a:lnTo>
                  <a:pt x="19775" y="28796"/>
                </a:lnTo>
                <a:lnTo>
                  <a:pt x="19993" y="28534"/>
                </a:lnTo>
                <a:lnTo>
                  <a:pt x="20422" y="27750"/>
                </a:lnTo>
                <a:close/>
              </a:path>
              <a:path w="23495" h="33654">
                <a:moveTo>
                  <a:pt x="20335" y="10559"/>
                </a:moveTo>
                <a:lnTo>
                  <a:pt x="11944" y="10559"/>
                </a:lnTo>
                <a:lnTo>
                  <a:pt x="13037" y="10821"/>
                </a:lnTo>
                <a:lnTo>
                  <a:pt x="13511" y="11083"/>
                </a:lnTo>
                <a:lnTo>
                  <a:pt x="15844" y="17802"/>
                </a:lnTo>
                <a:lnTo>
                  <a:pt x="15294" y="19678"/>
                </a:lnTo>
                <a:lnTo>
                  <a:pt x="12054" y="22427"/>
                </a:lnTo>
                <a:lnTo>
                  <a:pt x="20407" y="22427"/>
                </a:lnTo>
                <a:lnTo>
                  <a:pt x="20484" y="21773"/>
                </a:lnTo>
                <a:lnTo>
                  <a:pt x="20976" y="20201"/>
                </a:lnTo>
                <a:lnTo>
                  <a:pt x="21084" y="19024"/>
                </a:lnTo>
                <a:lnTo>
                  <a:pt x="23415" y="17540"/>
                </a:lnTo>
                <a:lnTo>
                  <a:pt x="23307" y="13744"/>
                </a:lnTo>
                <a:lnTo>
                  <a:pt x="23197" y="13176"/>
                </a:lnTo>
                <a:lnTo>
                  <a:pt x="23088" y="12784"/>
                </a:lnTo>
                <a:lnTo>
                  <a:pt x="22651" y="12261"/>
                </a:lnTo>
                <a:lnTo>
                  <a:pt x="22286" y="11999"/>
                </a:lnTo>
                <a:lnTo>
                  <a:pt x="21959" y="11999"/>
                </a:lnTo>
                <a:lnTo>
                  <a:pt x="20757" y="11867"/>
                </a:lnTo>
                <a:lnTo>
                  <a:pt x="20335" y="10559"/>
                </a:lnTo>
                <a:close/>
              </a:path>
              <a:path w="23495" h="33654">
                <a:moveTo>
                  <a:pt x="12162" y="0"/>
                </a:moveTo>
                <a:lnTo>
                  <a:pt x="11835" y="0"/>
                </a:lnTo>
                <a:lnTo>
                  <a:pt x="9760" y="131"/>
                </a:lnTo>
                <a:lnTo>
                  <a:pt x="9431" y="261"/>
                </a:lnTo>
                <a:lnTo>
                  <a:pt x="9104" y="523"/>
                </a:lnTo>
                <a:lnTo>
                  <a:pt x="8885" y="785"/>
                </a:lnTo>
                <a:lnTo>
                  <a:pt x="8777" y="1047"/>
                </a:lnTo>
                <a:lnTo>
                  <a:pt x="8521" y="1439"/>
                </a:lnTo>
                <a:lnTo>
                  <a:pt x="8521" y="3708"/>
                </a:lnTo>
                <a:lnTo>
                  <a:pt x="7647" y="4232"/>
                </a:lnTo>
                <a:lnTo>
                  <a:pt x="6883" y="4756"/>
                </a:lnTo>
                <a:lnTo>
                  <a:pt x="6227" y="5409"/>
                </a:lnTo>
                <a:lnTo>
                  <a:pt x="20374" y="5409"/>
                </a:lnTo>
                <a:lnTo>
                  <a:pt x="20320" y="5279"/>
                </a:lnTo>
                <a:lnTo>
                  <a:pt x="19461" y="4232"/>
                </a:lnTo>
                <a:lnTo>
                  <a:pt x="15913" y="4232"/>
                </a:lnTo>
                <a:lnTo>
                  <a:pt x="14275" y="3402"/>
                </a:lnTo>
                <a:lnTo>
                  <a:pt x="13511" y="3142"/>
                </a:lnTo>
                <a:lnTo>
                  <a:pt x="13292" y="1439"/>
                </a:lnTo>
                <a:lnTo>
                  <a:pt x="13147" y="915"/>
                </a:lnTo>
                <a:lnTo>
                  <a:pt x="12928" y="655"/>
                </a:lnTo>
                <a:lnTo>
                  <a:pt x="12710" y="261"/>
                </a:lnTo>
                <a:lnTo>
                  <a:pt x="12491" y="131"/>
                </a:lnTo>
                <a:lnTo>
                  <a:pt x="12162" y="0"/>
                </a:lnTo>
                <a:close/>
              </a:path>
              <a:path w="23495" h="33654">
                <a:moveTo>
                  <a:pt x="17552" y="2487"/>
                </a:moveTo>
                <a:lnTo>
                  <a:pt x="17333" y="2618"/>
                </a:lnTo>
                <a:lnTo>
                  <a:pt x="17006" y="2748"/>
                </a:lnTo>
                <a:lnTo>
                  <a:pt x="16693" y="3142"/>
                </a:lnTo>
                <a:lnTo>
                  <a:pt x="15913" y="4232"/>
                </a:lnTo>
                <a:lnTo>
                  <a:pt x="19461" y="4232"/>
                </a:lnTo>
                <a:lnTo>
                  <a:pt x="18244" y="2748"/>
                </a:lnTo>
                <a:lnTo>
                  <a:pt x="17552" y="2487"/>
                </a:lnTo>
                <a:close/>
              </a:path>
            </a:pathLst>
          </a:custGeom>
          <a:solidFill>
            <a:srgbClr val="FFFFFF"/>
          </a:solidFill>
        </p:spPr>
        <p:txBody>
          <a:bodyPr wrap="square" lIns="0" tIns="0" rIns="0" bIns="0" rtlCol="0"/>
          <a:lstStyle/>
          <a:p>
            <a:endParaRPr/>
          </a:p>
        </p:txBody>
      </p:sp>
      <p:sp>
        <p:nvSpPr>
          <p:cNvPr id="433" name="object 433"/>
          <p:cNvSpPr/>
          <p:nvPr/>
        </p:nvSpPr>
        <p:spPr>
          <a:xfrm>
            <a:off x="5962415" y="5521271"/>
            <a:ext cx="19050" cy="26670"/>
          </a:xfrm>
          <a:custGeom>
            <a:avLst/>
            <a:gdLst/>
            <a:ahLst/>
            <a:cxnLst/>
            <a:rect l="l" t="t" r="r" b="b"/>
            <a:pathLst>
              <a:path w="19050" h="26670">
                <a:moveTo>
                  <a:pt x="16361" y="22425"/>
                </a:moveTo>
                <a:lnTo>
                  <a:pt x="5608" y="22425"/>
                </a:lnTo>
                <a:lnTo>
                  <a:pt x="6190" y="22818"/>
                </a:lnTo>
                <a:lnTo>
                  <a:pt x="6736" y="23124"/>
                </a:lnTo>
                <a:lnTo>
                  <a:pt x="7283" y="23386"/>
                </a:lnTo>
                <a:lnTo>
                  <a:pt x="7392" y="24826"/>
                </a:lnTo>
                <a:lnTo>
                  <a:pt x="7610" y="25611"/>
                </a:lnTo>
                <a:lnTo>
                  <a:pt x="8047" y="26133"/>
                </a:lnTo>
                <a:lnTo>
                  <a:pt x="8374" y="26395"/>
                </a:lnTo>
                <a:lnTo>
                  <a:pt x="10342" y="26395"/>
                </a:lnTo>
                <a:lnTo>
                  <a:pt x="10560" y="26265"/>
                </a:lnTo>
                <a:lnTo>
                  <a:pt x="10924" y="26003"/>
                </a:lnTo>
                <a:lnTo>
                  <a:pt x="11032" y="25611"/>
                </a:lnTo>
                <a:lnTo>
                  <a:pt x="11251" y="25349"/>
                </a:lnTo>
                <a:lnTo>
                  <a:pt x="11361" y="24826"/>
                </a:lnTo>
                <a:lnTo>
                  <a:pt x="11470" y="23516"/>
                </a:lnTo>
                <a:lnTo>
                  <a:pt x="12017" y="23254"/>
                </a:lnTo>
                <a:lnTo>
                  <a:pt x="12673" y="22992"/>
                </a:lnTo>
                <a:lnTo>
                  <a:pt x="13218" y="22557"/>
                </a:lnTo>
                <a:lnTo>
                  <a:pt x="16266" y="22557"/>
                </a:lnTo>
                <a:lnTo>
                  <a:pt x="16361" y="22425"/>
                </a:lnTo>
                <a:close/>
              </a:path>
              <a:path w="19050" h="26670">
                <a:moveTo>
                  <a:pt x="16266" y="22557"/>
                </a:moveTo>
                <a:lnTo>
                  <a:pt x="13218" y="22557"/>
                </a:lnTo>
                <a:lnTo>
                  <a:pt x="13983" y="23386"/>
                </a:lnTo>
                <a:lnTo>
                  <a:pt x="14311" y="23646"/>
                </a:lnTo>
                <a:lnTo>
                  <a:pt x="14530" y="23778"/>
                </a:lnTo>
                <a:lnTo>
                  <a:pt x="15184" y="23778"/>
                </a:lnTo>
                <a:lnTo>
                  <a:pt x="15439" y="23516"/>
                </a:lnTo>
                <a:lnTo>
                  <a:pt x="15768" y="23254"/>
                </a:lnTo>
                <a:lnTo>
                  <a:pt x="16266" y="22557"/>
                </a:lnTo>
                <a:close/>
              </a:path>
              <a:path w="19050" h="26670">
                <a:moveTo>
                  <a:pt x="4405" y="2617"/>
                </a:moveTo>
                <a:lnTo>
                  <a:pt x="4078" y="2617"/>
                </a:lnTo>
                <a:lnTo>
                  <a:pt x="3859" y="2748"/>
                </a:lnTo>
                <a:lnTo>
                  <a:pt x="3532" y="2878"/>
                </a:lnTo>
                <a:lnTo>
                  <a:pt x="3123" y="3402"/>
                </a:lnTo>
                <a:lnTo>
                  <a:pt x="2329" y="4494"/>
                </a:lnTo>
                <a:lnTo>
                  <a:pt x="2110" y="4754"/>
                </a:lnTo>
                <a:lnTo>
                  <a:pt x="2075" y="6325"/>
                </a:lnTo>
                <a:lnTo>
                  <a:pt x="2220" y="6849"/>
                </a:lnTo>
                <a:lnTo>
                  <a:pt x="2766" y="7765"/>
                </a:lnTo>
                <a:lnTo>
                  <a:pt x="2439" y="8594"/>
                </a:lnTo>
                <a:lnTo>
                  <a:pt x="2002" y="10296"/>
                </a:lnTo>
                <a:lnTo>
                  <a:pt x="1091" y="10427"/>
                </a:lnTo>
                <a:lnTo>
                  <a:pt x="764" y="10557"/>
                </a:lnTo>
                <a:lnTo>
                  <a:pt x="545" y="10689"/>
                </a:lnTo>
                <a:lnTo>
                  <a:pt x="327" y="11081"/>
                </a:lnTo>
                <a:lnTo>
                  <a:pt x="108" y="11343"/>
                </a:lnTo>
                <a:lnTo>
                  <a:pt x="0" y="14528"/>
                </a:lnTo>
                <a:lnTo>
                  <a:pt x="108" y="14922"/>
                </a:lnTo>
                <a:lnTo>
                  <a:pt x="218" y="15183"/>
                </a:lnTo>
                <a:lnTo>
                  <a:pt x="437" y="15444"/>
                </a:lnTo>
                <a:lnTo>
                  <a:pt x="764" y="15705"/>
                </a:lnTo>
                <a:lnTo>
                  <a:pt x="1091" y="15837"/>
                </a:lnTo>
                <a:lnTo>
                  <a:pt x="2002" y="15967"/>
                </a:lnTo>
                <a:lnTo>
                  <a:pt x="2439" y="17539"/>
                </a:lnTo>
                <a:lnTo>
                  <a:pt x="2766" y="18368"/>
                </a:lnTo>
                <a:lnTo>
                  <a:pt x="2110" y="19414"/>
                </a:lnTo>
                <a:lnTo>
                  <a:pt x="1892" y="19808"/>
                </a:lnTo>
                <a:lnTo>
                  <a:pt x="1856" y="20855"/>
                </a:lnTo>
                <a:lnTo>
                  <a:pt x="2002" y="21379"/>
                </a:lnTo>
                <a:lnTo>
                  <a:pt x="2220" y="21771"/>
                </a:lnTo>
                <a:lnTo>
                  <a:pt x="3095" y="22992"/>
                </a:lnTo>
                <a:lnTo>
                  <a:pt x="3313" y="23386"/>
                </a:lnTo>
                <a:lnTo>
                  <a:pt x="3968" y="23646"/>
                </a:lnTo>
                <a:lnTo>
                  <a:pt x="4186" y="23516"/>
                </a:lnTo>
                <a:lnTo>
                  <a:pt x="4515" y="23516"/>
                </a:lnTo>
                <a:lnTo>
                  <a:pt x="4842" y="23254"/>
                </a:lnTo>
                <a:lnTo>
                  <a:pt x="5608" y="22425"/>
                </a:lnTo>
                <a:lnTo>
                  <a:pt x="16361" y="22425"/>
                </a:lnTo>
                <a:lnTo>
                  <a:pt x="16641" y="22033"/>
                </a:lnTo>
                <a:lnTo>
                  <a:pt x="16859" y="21641"/>
                </a:lnTo>
                <a:lnTo>
                  <a:pt x="17078" y="20855"/>
                </a:lnTo>
                <a:lnTo>
                  <a:pt x="16969" y="20070"/>
                </a:lnTo>
                <a:lnTo>
                  <a:pt x="16205" y="18630"/>
                </a:lnTo>
                <a:lnTo>
                  <a:pt x="16532" y="17801"/>
                </a:lnTo>
                <a:lnTo>
                  <a:pt x="8922" y="17801"/>
                </a:lnTo>
                <a:lnTo>
                  <a:pt x="8374" y="17539"/>
                </a:lnTo>
                <a:lnTo>
                  <a:pt x="6255" y="14266"/>
                </a:lnTo>
                <a:lnTo>
                  <a:pt x="6299" y="11605"/>
                </a:lnTo>
                <a:lnTo>
                  <a:pt x="9030" y="8464"/>
                </a:lnTo>
                <a:lnTo>
                  <a:pt x="16564" y="8464"/>
                </a:lnTo>
                <a:lnTo>
                  <a:pt x="16495" y="7765"/>
                </a:lnTo>
                <a:lnTo>
                  <a:pt x="17078" y="6719"/>
                </a:lnTo>
                <a:lnTo>
                  <a:pt x="17188" y="5801"/>
                </a:lnTo>
                <a:lnTo>
                  <a:pt x="16969" y="5016"/>
                </a:lnTo>
                <a:lnTo>
                  <a:pt x="16859" y="4754"/>
                </a:lnTo>
                <a:lnTo>
                  <a:pt x="16193" y="3838"/>
                </a:lnTo>
                <a:lnTo>
                  <a:pt x="5608" y="3838"/>
                </a:lnTo>
                <a:lnTo>
                  <a:pt x="4733" y="2748"/>
                </a:lnTo>
                <a:lnTo>
                  <a:pt x="4405" y="2617"/>
                </a:lnTo>
                <a:close/>
              </a:path>
              <a:path w="19050" h="26670">
                <a:moveTo>
                  <a:pt x="16564" y="8464"/>
                </a:moveTo>
                <a:lnTo>
                  <a:pt x="10123" y="8464"/>
                </a:lnTo>
                <a:lnTo>
                  <a:pt x="10669" y="8724"/>
                </a:lnTo>
                <a:lnTo>
                  <a:pt x="11143" y="8986"/>
                </a:lnTo>
                <a:lnTo>
                  <a:pt x="12017" y="9772"/>
                </a:lnTo>
                <a:lnTo>
                  <a:pt x="12344" y="10427"/>
                </a:lnTo>
                <a:lnTo>
                  <a:pt x="12694" y="11343"/>
                </a:lnTo>
                <a:lnTo>
                  <a:pt x="12799" y="14528"/>
                </a:lnTo>
                <a:lnTo>
                  <a:pt x="12606" y="15183"/>
                </a:lnTo>
                <a:lnTo>
                  <a:pt x="10013" y="17801"/>
                </a:lnTo>
                <a:lnTo>
                  <a:pt x="16532" y="17801"/>
                </a:lnTo>
                <a:lnTo>
                  <a:pt x="16969" y="16099"/>
                </a:lnTo>
                <a:lnTo>
                  <a:pt x="17844" y="15967"/>
                </a:lnTo>
                <a:lnTo>
                  <a:pt x="18171" y="15837"/>
                </a:lnTo>
                <a:lnTo>
                  <a:pt x="18389" y="15705"/>
                </a:lnTo>
                <a:lnTo>
                  <a:pt x="18716" y="15444"/>
                </a:lnTo>
                <a:lnTo>
                  <a:pt x="18972" y="14528"/>
                </a:lnTo>
                <a:lnTo>
                  <a:pt x="19045" y="11997"/>
                </a:lnTo>
                <a:lnTo>
                  <a:pt x="18826" y="11605"/>
                </a:lnTo>
                <a:lnTo>
                  <a:pt x="18716" y="11211"/>
                </a:lnTo>
                <a:lnTo>
                  <a:pt x="18498" y="10951"/>
                </a:lnTo>
                <a:lnTo>
                  <a:pt x="18171" y="10689"/>
                </a:lnTo>
                <a:lnTo>
                  <a:pt x="17952" y="10557"/>
                </a:lnTo>
                <a:lnTo>
                  <a:pt x="17078" y="10427"/>
                </a:lnTo>
                <a:lnTo>
                  <a:pt x="16564" y="8464"/>
                </a:lnTo>
                <a:close/>
              </a:path>
              <a:path w="19050" h="26670">
                <a:moveTo>
                  <a:pt x="10342" y="0"/>
                </a:moveTo>
                <a:lnTo>
                  <a:pt x="8703" y="0"/>
                </a:lnTo>
                <a:lnTo>
                  <a:pt x="8374" y="261"/>
                </a:lnTo>
                <a:lnTo>
                  <a:pt x="8156" y="391"/>
                </a:lnTo>
                <a:lnTo>
                  <a:pt x="7937" y="783"/>
                </a:lnTo>
                <a:lnTo>
                  <a:pt x="7719" y="1569"/>
                </a:lnTo>
                <a:lnTo>
                  <a:pt x="7610" y="2617"/>
                </a:lnTo>
                <a:lnTo>
                  <a:pt x="6954" y="3009"/>
                </a:lnTo>
                <a:lnTo>
                  <a:pt x="6299" y="3270"/>
                </a:lnTo>
                <a:lnTo>
                  <a:pt x="5608" y="3838"/>
                </a:lnTo>
                <a:lnTo>
                  <a:pt x="13545" y="3838"/>
                </a:lnTo>
                <a:lnTo>
                  <a:pt x="13000" y="3402"/>
                </a:lnTo>
                <a:lnTo>
                  <a:pt x="12344" y="3009"/>
                </a:lnTo>
                <a:lnTo>
                  <a:pt x="11688" y="2748"/>
                </a:lnTo>
                <a:lnTo>
                  <a:pt x="11580" y="1569"/>
                </a:lnTo>
                <a:lnTo>
                  <a:pt x="11361" y="783"/>
                </a:lnTo>
                <a:lnTo>
                  <a:pt x="10924" y="261"/>
                </a:lnTo>
                <a:lnTo>
                  <a:pt x="10560" y="130"/>
                </a:lnTo>
                <a:lnTo>
                  <a:pt x="10342" y="0"/>
                </a:lnTo>
                <a:close/>
              </a:path>
              <a:path w="19050" h="26670">
                <a:moveTo>
                  <a:pt x="15294" y="2878"/>
                </a:moveTo>
                <a:lnTo>
                  <a:pt x="14748" y="2878"/>
                </a:lnTo>
                <a:lnTo>
                  <a:pt x="14420" y="3009"/>
                </a:lnTo>
                <a:lnTo>
                  <a:pt x="14201" y="3140"/>
                </a:lnTo>
                <a:lnTo>
                  <a:pt x="13545" y="3838"/>
                </a:lnTo>
                <a:lnTo>
                  <a:pt x="16193" y="3838"/>
                </a:lnTo>
                <a:lnTo>
                  <a:pt x="15658" y="3140"/>
                </a:lnTo>
                <a:lnTo>
                  <a:pt x="15294" y="2878"/>
                </a:lnTo>
                <a:close/>
              </a:path>
            </a:pathLst>
          </a:custGeom>
          <a:solidFill>
            <a:srgbClr val="FFFFFF"/>
          </a:solidFill>
        </p:spPr>
        <p:txBody>
          <a:bodyPr wrap="square" lIns="0" tIns="0" rIns="0" bIns="0" rtlCol="0"/>
          <a:lstStyle/>
          <a:p>
            <a:endParaRPr/>
          </a:p>
        </p:txBody>
      </p:sp>
      <p:sp>
        <p:nvSpPr>
          <p:cNvPr id="434" name="object 434"/>
          <p:cNvSpPr/>
          <p:nvPr/>
        </p:nvSpPr>
        <p:spPr>
          <a:xfrm>
            <a:off x="5968933" y="5036085"/>
            <a:ext cx="26670" cy="30480"/>
          </a:xfrm>
          <a:custGeom>
            <a:avLst/>
            <a:gdLst/>
            <a:ahLst/>
            <a:cxnLst/>
            <a:rect l="l" t="t" r="r" b="b"/>
            <a:pathLst>
              <a:path w="26670" h="30479">
                <a:moveTo>
                  <a:pt x="0" y="0"/>
                </a:moveTo>
                <a:lnTo>
                  <a:pt x="26402" y="0"/>
                </a:lnTo>
                <a:lnTo>
                  <a:pt x="26402" y="30019"/>
                </a:lnTo>
                <a:lnTo>
                  <a:pt x="0" y="30019"/>
                </a:lnTo>
                <a:lnTo>
                  <a:pt x="0" y="0"/>
                </a:lnTo>
                <a:close/>
              </a:path>
            </a:pathLst>
          </a:custGeom>
          <a:solidFill>
            <a:srgbClr val="94E616"/>
          </a:solidFill>
        </p:spPr>
        <p:txBody>
          <a:bodyPr wrap="square" lIns="0" tIns="0" rIns="0" bIns="0" rtlCol="0"/>
          <a:lstStyle/>
          <a:p>
            <a:endParaRPr/>
          </a:p>
        </p:txBody>
      </p:sp>
      <p:sp>
        <p:nvSpPr>
          <p:cNvPr id="435" name="object 435"/>
          <p:cNvSpPr/>
          <p:nvPr/>
        </p:nvSpPr>
        <p:spPr>
          <a:xfrm>
            <a:off x="5968933" y="5036085"/>
            <a:ext cx="26670" cy="30480"/>
          </a:xfrm>
          <a:custGeom>
            <a:avLst/>
            <a:gdLst/>
            <a:ahLst/>
            <a:cxnLst/>
            <a:rect l="l" t="t" r="r" b="b"/>
            <a:pathLst>
              <a:path w="26670" h="30479">
                <a:moveTo>
                  <a:pt x="0" y="0"/>
                </a:moveTo>
                <a:lnTo>
                  <a:pt x="26402" y="0"/>
                </a:lnTo>
                <a:lnTo>
                  <a:pt x="26402" y="30019"/>
                </a:lnTo>
                <a:lnTo>
                  <a:pt x="0" y="30019"/>
                </a:lnTo>
                <a:lnTo>
                  <a:pt x="0" y="0"/>
                </a:lnTo>
                <a:close/>
              </a:path>
            </a:pathLst>
          </a:custGeom>
          <a:ln w="3175">
            <a:solidFill>
              <a:srgbClr val="94E616"/>
            </a:solidFill>
          </a:ln>
        </p:spPr>
        <p:txBody>
          <a:bodyPr wrap="square" lIns="0" tIns="0" rIns="0" bIns="0" rtlCol="0"/>
          <a:lstStyle/>
          <a:p>
            <a:endParaRPr/>
          </a:p>
        </p:txBody>
      </p:sp>
      <p:sp>
        <p:nvSpPr>
          <p:cNvPr id="436" name="object 436"/>
          <p:cNvSpPr txBox="1"/>
          <p:nvPr/>
        </p:nvSpPr>
        <p:spPr>
          <a:xfrm>
            <a:off x="5962279" y="5024342"/>
            <a:ext cx="35560" cy="50800"/>
          </a:xfrm>
          <a:prstGeom prst="rect">
            <a:avLst/>
          </a:prstGeom>
        </p:spPr>
        <p:txBody>
          <a:bodyPr vert="horz" wrap="square" lIns="0" tIns="14604" rIns="0" bIns="0" rtlCol="0">
            <a:spAutoFit/>
          </a:bodyPr>
          <a:lstStyle/>
          <a:p>
            <a:pPr algn="ctr">
              <a:lnSpc>
                <a:spcPct val="100000"/>
              </a:lnSpc>
              <a:spcBef>
                <a:spcPts val="114"/>
              </a:spcBef>
            </a:pPr>
            <a:r>
              <a:rPr sz="150" b="1" spc="-10">
                <a:solidFill>
                  <a:srgbClr val="FFFFFF"/>
                </a:solidFill>
                <a:latin typeface="Arial"/>
                <a:cs typeface="Arial"/>
              </a:rPr>
              <a:t>2</a:t>
            </a:r>
            <a:endParaRPr sz="150">
              <a:latin typeface="Arial"/>
              <a:cs typeface="Arial"/>
            </a:endParaRPr>
          </a:p>
        </p:txBody>
      </p:sp>
      <p:sp>
        <p:nvSpPr>
          <p:cNvPr id="437" name="object 437"/>
          <p:cNvSpPr/>
          <p:nvPr/>
        </p:nvSpPr>
        <p:spPr>
          <a:xfrm>
            <a:off x="5968933" y="5344263"/>
            <a:ext cx="26670" cy="30480"/>
          </a:xfrm>
          <a:custGeom>
            <a:avLst/>
            <a:gdLst/>
            <a:ahLst/>
            <a:cxnLst/>
            <a:rect l="l" t="t" r="r" b="b"/>
            <a:pathLst>
              <a:path w="26670" h="30479">
                <a:moveTo>
                  <a:pt x="0" y="0"/>
                </a:moveTo>
                <a:lnTo>
                  <a:pt x="26402" y="0"/>
                </a:lnTo>
                <a:lnTo>
                  <a:pt x="26402" y="29967"/>
                </a:lnTo>
                <a:lnTo>
                  <a:pt x="0" y="29967"/>
                </a:lnTo>
                <a:lnTo>
                  <a:pt x="0" y="0"/>
                </a:lnTo>
                <a:close/>
              </a:path>
            </a:pathLst>
          </a:custGeom>
          <a:solidFill>
            <a:srgbClr val="94E616"/>
          </a:solidFill>
        </p:spPr>
        <p:txBody>
          <a:bodyPr wrap="square" lIns="0" tIns="0" rIns="0" bIns="0" rtlCol="0"/>
          <a:lstStyle/>
          <a:p>
            <a:endParaRPr/>
          </a:p>
        </p:txBody>
      </p:sp>
      <p:sp>
        <p:nvSpPr>
          <p:cNvPr id="438" name="object 438"/>
          <p:cNvSpPr/>
          <p:nvPr/>
        </p:nvSpPr>
        <p:spPr>
          <a:xfrm>
            <a:off x="5968933" y="5344263"/>
            <a:ext cx="26670" cy="30480"/>
          </a:xfrm>
          <a:custGeom>
            <a:avLst/>
            <a:gdLst/>
            <a:ahLst/>
            <a:cxnLst/>
            <a:rect l="l" t="t" r="r" b="b"/>
            <a:pathLst>
              <a:path w="26670" h="30479">
                <a:moveTo>
                  <a:pt x="0" y="0"/>
                </a:moveTo>
                <a:lnTo>
                  <a:pt x="26402" y="0"/>
                </a:lnTo>
                <a:lnTo>
                  <a:pt x="26402" y="29967"/>
                </a:lnTo>
                <a:lnTo>
                  <a:pt x="0" y="29967"/>
                </a:lnTo>
                <a:lnTo>
                  <a:pt x="0" y="0"/>
                </a:lnTo>
                <a:close/>
              </a:path>
            </a:pathLst>
          </a:custGeom>
          <a:ln w="3175">
            <a:solidFill>
              <a:srgbClr val="94E616"/>
            </a:solidFill>
          </a:ln>
        </p:spPr>
        <p:txBody>
          <a:bodyPr wrap="square" lIns="0" tIns="0" rIns="0" bIns="0" rtlCol="0"/>
          <a:lstStyle/>
          <a:p>
            <a:endParaRPr/>
          </a:p>
        </p:txBody>
      </p:sp>
      <p:sp>
        <p:nvSpPr>
          <p:cNvPr id="439" name="object 439"/>
          <p:cNvSpPr txBox="1"/>
          <p:nvPr/>
        </p:nvSpPr>
        <p:spPr>
          <a:xfrm>
            <a:off x="5962279" y="5334349"/>
            <a:ext cx="35560" cy="50800"/>
          </a:xfrm>
          <a:prstGeom prst="rect">
            <a:avLst/>
          </a:prstGeom>
        </p:spPr>
        <p:txBody>
          <a:bodyPr vert="horz" wrap="square" lIns="0" tIns="14604" rIns="0" bIns="0" rtlCol="0">
            <a:spAutoFit/>
          </a:bodyPr>
          <a:lstStyle/>
          <a:p>
            <a:pPr algn="ctr">
              <a:lnSpc>
                <a:spcPct val="100000"/>
              </a:lnSpc>
              <a:spcBef>
                <a:spcPts val="114"/>
              </a:spcBef>
            </a:pPr>
            <a:r>
              <a:rPr sz="150" b="1" spc="-10">
                <a:solidFill>
                  <a:srgbClr val="FFFFFF"/>
                </a:solidFill>
                <a:latin typeface="Arial"/>
                <a:cs typeface="Arial"/>
              </a:rPr>
              <a:t>6</a:t>
            </a:r>
            <a:endParaRPr sz="150">
              <a:latin typeface="Arial"/>
              <a:cs typeface="Arial"/>
            </a:endParaRPr>
          </a:p>
        </p:txBody>
      </p:sp>
      <p:sp>
        <p:nvSpPr>
          <p:cNvPr id="440" name="object 440"/>
          <p:cNvSpPr txBox="1"/>
          <p:nvPr/>
        </p:nvSpPr>
        <p:spPr>
          <a:xfrm>
            <a:off x="584403" y="3122422"/>
            <a:ext cx="3173095" cy="808990"/>
          </a:xfrm>
          <a:prstGeom prst="rect">
            <a:avLst/>
          </a:prstGeom>
        </p:spPr>
        <p:txBody>
          <a:bodyPr vert="horz" wrap="square" lIns="0" tIns="60960" rIns="0" bIns="0" rtlCol="0">
            <a:spAutoFit/>
          </a:bodyPr>
          <a:lstStyle/>
          <a:p>
            <a:pPr marL="12700">
              <a:lnSpc>
                <a:spcPct val="100000"/>
              </a:lnSpc>
              <a:spcBef>
                <a:spcPts val="480"/>
              </a:spcBef>
            </a:pPr>
            <a:r>
              <a:rPr sz="900" b="1" spc="-5">
                <a:latin typeface="Verdana"/>
                <a:cs typeface="Verdana"/>
              </a:rPr>
              <a:t>FSL Accelerator</a:t>
            </a:r>
            <a:r>
              <a:rPr sz="900" b="1" spc="15">
                <a:latin typeface="Verdana"/>
                <a:cs typeface="Verdana"/>
              </a:rPr>
              <a:t> </a:t>
            </a:r>
            <a:r>
              <a:rPr sz="900" b="1" spc="-5">
                <a:latin typeface="Verdana"/>
                <a:cs typeface="Verdana"/>
              </a:rPr>
              <a:t>V2.0</a:t>
            </a:r>
            <a:endParaRPr sz="900">
              <a:latin typeface="Verdana"/>
              <a:cs typeface="Verdana"/>
            </a:endParaRPr>
          </a:p>
          <a:p>
            <a:pPr marL="12700" marR="5080">
              <a:lnSpc>
                <a:spcPct val="100000"/>
              </a:lnSpc>
              <a:spcBef>
                <a:spcPts val="385"/>
              </a:spcBef>
            </a:pPr>
            <a:r>
              <a:rPr sz="900">
                <a:latin typeface="Verdana"/>
                <a:cs typeface="Verdana"/>
              </a:rPr>
              <a:t>A set of capabilities on top of </a:t>
            </a:r>
            <a:r>
              <a:rPr sz="900" spc="-5">
                <a:latin typeface="Verdana"/>
                <a:cs typeface="Verdana"/>
              </a:rPr>
              <a:t>the </a:t>
            </a:r>
            <a:r>
              <a:rPr sz="900">
                <a:latin typeface="Verdana"/>
                <a:cs typeface="Verdana"/>
              </a:rPr>
              <a:t>already </a:t>
            </a:r>
            <a:r>
              <a:rPr sz="900" spc="-5">
                <a:latin typeface="Verdana"/>
                <a:cs typeface="Verdana"/>
              </a:rPr>
              <a:t>powerful</a:t>
            </a:r>
            <a:r>
              <a:rPr sz="900" spc="-145">
                <a:latin typeface="Verdana"/>
                <a:cs typeface="Verdana"/>
              </a:rPr>
              <a:t> </a:t>
            </a:r>
            <a:r>
              <a:rPr sz="900" spc="-5">
                <a:latin typeface="Verdana"/>
                <a:cs typeface="Verdana"/>
              </a:rPr>
              <a:t>FSL  package </a:t>
            </a:r>
            <a:r>
              <a:rPr sz="900">
                <a:latin typeface="Verdana"/>
                <a:cs typeface="Verdana"/>
              </a:rPr>
              <a:t>to </a:t>
            </a:r>
            <a:r>
              <a:rPr sz="900" spc="-5">
                <a:latin typeface="Verdana"/>
                <a:cs typeface="Verdana"/>
              </a:rPr>
              <a:t>enhance customer experience, </a:t>
            </a:r>
            <a:r>
              <a:rPr sz="900">
                <a:latin typeface="Verdana"/>
                <a:cs typeface="Verdana"/>
              </a:rPr>
              <a:t>remote  diagnosis, </a:t>
            </a:r>
            <a:r>
              <a:rPr sz="900" spc="-5">
                <a:latin typeface="Verdana"/>
                <a:cs typeface="Verdana"/>
              </a:rPr>
              <a:t>and </a:t>
            </a:r>
            <a:r>
              <a:rPr sz="900">
                <a:latin typeface="Verdana"/>
                <a:cs typeface="Verdana"/>
              </a:rPr>
              <a:t>self service. </a:t>
            </a:r>
            <a:r>
              <a:rPr sz="900" spc="-5">
                <a:latin typeface="Verdana"/>
                <a:cs typeface="Verdana"/>
              </a:rPr>
              <a:t>Includes </a:t>
            </a:r>
            <a:r>
              <a:rPr sz="900">
                <a:latin typeface="Verdana"/>
                <a:cs typeface="Verdana"/>
              </a:rPr>
              <a:t>several </a:t>
            </a:r>
            <a:r>
              <a:rPr sz="900" spc="-5">
                <a:latin typeface="Verdana"/>
                <a:cs typeface="Verdana"/>
              </a:rPr>
              <a:t>new  lightning components and </a:t>
            </a:r>
            <a:r>
              <a:rPr sz="900">
                <a:latin typeface="Verdana"/>
                <a:cs typeface="Verdana"/>
              </a:rPr>
              <a:t>a mobile</a:t>
            </a:r>
            <a:r>
              <a:rPr sz="900" spc="-5">
                <a:latin typeface="Verdana"/>
                <a:cs typeface="Verdana"/>
              </a:rPr>
              <a:t> </a:t>
            </a:r>
            <a:r>
              <a:rPr sz="900">
                <a:latin typeface="Verdana"/>
                <a:cs typeface="Verdana"/>
              </a:rPr>
              <a:t>application</a:t>
            </a:r>
          </a:p>
        </p:txBody>
      </p:sp>
      <p:sp>
        <p:nvSpPr>
          <p:cNvPr id="441" name="object 441"/>
          <p:cNvSpPr/>
          <p:nvPr/>
        </p:nvSpPr>
        <p:spPr>
          <a:xfrm>
            <a:off x="528827" y="4067555"/>
            <a:ext cx="3249168" cy="1639824"/>
          </a:xfrm>
          <a:prstGeom prst="rect">
            <a:avLst/>
          </a:prstGeom>
          <a:blipFill>
            <a:blip r:embed="rId5" cstate="print"/>
            <a:stretch>
              <a:fillRect/>
            </a:stretch>
          </a:blipFill>
        </p:spPr>
        <p:txBody>
          <a:bodyPr wrap="square" lIns="0" tIns="0" rIns="0" bIns="0" rtlCol="0"/>
          <a:lstStyle/>
          <a:p>
            <a:endParaRPr/>
          </a:p>
        </p:txBody>
      </p:sp>
      <p:sp>
        <p:nvSpPr>
          <p:cNvPr id="442" name="object 442"/>
          <p:cNvSpPr/>
          <p:nvPr/>
        </p:nvSpPr>
        <p:spPr>
          <a:xfrm>
            <a:off x="8217407" y="1429511"/>
            <a:ext cx="3421379" cy="1452372"/>
          </a:xfrm>
          <a:prstGeom prst="rect">
            <a:avLst/>
          </a:prstGeom>
          <a:blipFill>
            <a:blip r:embed="rId6" cstate="print"/>
            <a:stretch>
              <a:fillRect/>
            </a:stretch>
          </a:blipFill>
        </p:spPr>
        <p:txBody>
          <a:bodyPr wrap="square" lIns="0" tIns="0" rIns="0" bIns="0" rtlCol="0"/>
          <a:lstStyle/>
          <a:p>
            <a:endParaRPr/>
          </a:p>
        </p:txBody>
      </p:sp>
      <p:sp>
        <p:nvSpPr>
          <p:cNvPr id="443" name="object 443"/>
          <p:cNvSpPr txBox="1"/>
          <p:nvPr/>
        </p:nvSpPr>
        <p:spPr>
          <a:xfrm>
            <a:off x="8099806" y="3171190"/>
            <a:ext cx="1934210" cy="162560"/>
          </a:xfrm>
          <a:prstGeom prst="rect">
            <a:avLst/>
          </a:prstGeom>
        </p:spPr>
        <p:txBody>
          <a:bodyPr vert="horz" wrap="square" lIns="0" tIns="12700" rIns="0" bIns="0" rtlCol="0">
            <a:spAutoFit/>
          </a:bodyPr>
          <a:lstStyle/>
          <a:p>
            <a:pPr marL="12700">
              <a:lnSpc>
                <a:spcPct val="100000"/>
              </a:lnSpc>
              <a:spcBef>
                <a:spcPts val="100"/>
              </a:spcBef>
            </a:pPr>
            <a:r>
              <a:rPr sz="900" b="1" spc="-5">
                <a:latin typeface="Verdana"/>
                <a:cs typeface="Verdana"/>
              </a:rPr>
              <a:t>Data Governance </a:t>
            </a:r>
            <a:r>
              <a:rPr sz="900" b="1">
                <a:latin typeface="Verdana"/>
                <a:cs typeface="Verdana"/>
              </a:rPr>
              <a:t>as a</a:t>
            </a:r>
            <a:r>
              <a:rPr sz="900" b="1" spc="-40">
                <a:latin typeface="Verdana"/>
                <a:cs typeface="Verdana"/>
              </a:rPr>
              <a:t> </a:t>
            </a:r>
            <a:r>
              <a:rPr sz="900" b="1" spc="-5">
                <a:latin typeface="Verdana"/>
                <a:cs typeface="Verdana"/>
              </a:rPr>
              <a:t>Service</a:t>
            </a:r>
            <a:endParaRPr sz="900">
              <a:latin typeface="Verdana"/>
              <a:cs typeface="Verdana"/>
            </a:endParaRPr>
          </a:p>
        </p:txBody>
      </p:sp>
      <p:sp>
        <p:nvSpPr>
          <p:cNvPr id="444" name="object 444"/>
          <p:cNvSpPr txBox="1"/>
          <p:nvPr/>
        </p:nvSpPr>
        <p:spPr>
          <a:xfrm>
            <a:off x="8099806" y="3357117"/>
            <a:ext cx="3676650" cy="299720"/>
          </a:xfrm>
          <a:prstGeom prst="rect">
            <a:avLst/>
          </a:prstGeom>
        </p:spPr>
        <p:txBody>
          <a:bodyPr vert="horz" wrap="square" lIns="0" tIns="12700" rIns="0" bIns="0" rtlCol="0">
            <a:spAutoFit/>
          </a:bodyPr>
          <a:lstStyle/>
          <a:p>
            <a:pPr marL="184785" marR="5080" indent="-172720">
              <a:lnSpc>
                <a:spcPct val="100000"/>
              </a:lnSpc>
              <a:spcBef>
                <a:spcPts val="100"/>
              </a:spcBef>
              <a:buFont typeface="Arial"/>
              <a:buChar char="•"/>
              <a:tabLst>
                <a:tab pos="184785" algn="l"/>
                <a:tab pos="185420" algn="l"/>
              </a:tabLst>
            </a:pPr>
            <a:r>
              <a:rPr sz="900" spc="-5">
                <a:latin typeface="Verdana"/>
                <a:cs typeface="Verdana"/>
              </a:rPr>
              <a:t>Cap has partnered with Odaseva </a:t>
            </a:r>
            <a:r>
              <a:rPr sz="900">
                <a:latin typeface="Verdana"/>
                <a:cs typeface="Verdana"/>
              </a:rPr>
              <a:t>to </a:t>
            </a:r>
            <a:r>
              <a:rPr sz="900" spc="-5">
                <a:latin typeface="Verdana"/>
                <a:cs typeface="Verdana"/>
              </a:rPr>
              <a:t>deliver </a:t>
            </a:r>
            <a:r>
              <a:rPr sz="900">
                <a:latin typeface="Verdana"/>
                <a:cs typeface="Verdana"/>
              </a:rPr>
              <a:t>a </a:t>
            </a:r>
            <a:r>
              <a:rPr sz="900" spc="-5">
                <a:latin typeface="Verdana"/>
                <a:cs typeface="Verdana"/>
              </a:rPr>
              <a:t>comprehensive  end </a:t>
            </a:r>
            <a:r>
              <a:rPr sz="900">
                <a:latin typeface="Verdana"/>
                <a:cs typeface="Verdana"/>
              </a:rPr>
              <a:t>to </a:t>
            </a:r>
            <a:r>
              <a:rPr sz="900" spc="-5">
                <a:latin typeface="Verdana"/>
                <a:cs typeface="Verdana"/>
              </a:rPr>
              <a:t>end solution for </a:t>
            </a:r>
            <a:r>
              <a:rPr sz="900">
                <a:latin typeface="Verdana"/>
                <a:cs typeface="Verdana"/>
              </a:rPr>
              <a:t>data </a:t>
            </a:r>
            <a:r>
              <a:rPr sz="900" spc="-5">
                <a:latin typeface="Verdana"/>
                <a:cs typeface="Verdana"/>
              </a:rPr>
              <a:t>governance for</a:t>
            </a:r>
            <a:r>
              <a:rPr sz="900" spc="20">
                <a:latin typeface="Verdana"/>
                <a:cs typeface="Verdana"/>
              </a:rPr>
              <a:t> </a:t>
            </a:r>
            <a:r>
              <a:rPr sz="900" spc="-5">
                <a:latin typeface="Verdana"/>
                <a:cs typeface="Verdana"/>
              </a:rPr>
              <a:t>Salesforce</a:t>
            </a:r>
            <a:endParaRPr sz="900">
              <a:latin typeface="Verdana"/>
              <a:cs typeface="Verdana"/>
            </a:endParaRPr>
          </a:p>
        </p:txBody>
      </p:sp>
      <p:sp>
        <p:nvSpPr>
          <p:cNvPr id="445" name="object 445"/>
          <p:cNvSpPr/>
          <p:nvPr/>
        </p:nvSpPr>
        <p:spPr>
          <a:xfrm>
            <a:off x="4570476" y="1708404"/>
            <a:ext cx="2065020" cy="1110996"/>
          </a:xfrm>
          <a:prstGeom prst="rect">
            <a:avLst/>
          </a:prstGeom>
          <a:blipFill>
            <a:blip r:embed="rId7" cstate="print"/>
            <a:stretch>
              <a:fillRect/>
            </a:stretch>
          </a:blipFill>
        </p:spPr>
        <p:txBody>
          <a:bodyPr wrap="square" lIns="0" tIns="0" rIns="0" bIns="0" rtlCol="0"/>
          <a:lstStyle/>
          <a:p>
            <a:endParaRPr/>
          </a:p>
        </p:txBody>
      </p:sp>
      <p:sp>
        <p:nvSpPr>
          <p:cNvPr id="446" name="object 446"/>
          <p:cNvSpPr/>
          <p:nvPr/>
        </p:nvSpPr>
        <p:spPr>
          <a:xfrm>
            <a:off x="5358384" y="1470660"/>
            <a:ext cx="2081784" cy="1115568"/>
          </a:xfrm>
          <a:prstGeom prst="rect">
            <a:avLst/>
          </a:prstGeom>
          <a:blipFill>
            <a:blip r:embed="rId8" cstate="print"/>
            <a:stretch>
              <a:fillRect/>
            </a:stretch>
          </a:blipFill>
        </p:spPr>
        <p:txBody>
          <a:bodyPr wrap="square" lIns="0" tIns="0" rIns="0" bIns="0" rtlCol="0"/>
          <a:lstStyle/>
          <a:p>
            <a:endParaRPr/>
          </a:p>
        </p:txBody>
      </p:sp>
      <p:sp>
        <p:nvSpPr>
          <p:cNvPr id="447" name="object 447"/>
          <p:cNvSpPr/>
          <p:nvPr/>
        </p:nvSpPr>
        <p:spPr>
          <a:xfrm>
            <a:off x="5000244" y="1994916"/>
            <a:ext cx="2080259" cy="1104900"/>
          </a:xfrm>
          <a:prstGeom prst="rect">
            <a:avLst/>
          </a:prstGeom>
          <a:blipFill>
            <a:blip r:embed="rId9" cstate="print"/>
            <a:stretch>
              <a:fillRect/>
            </a:stretch>
          </a:blipFill>
        </p:spPr>
        <p:txBody>
          <a:bodyPr wrap="square" lIns="0" tIns="0" rIns="0" bIns="0" rtlCol="0"/>
          <a:lstStyle/>
          <a:p>
            <a:endParaRPr/>
          </a:p>
        </p:txBody>
      </p:sp>
      <p:sp>
        <p:nvSpPr>
          <p:cNvPr id="448" name="object 448"/>
          <p:cNvSpPr txBox="1"/>
          <p:nvPr/>
        </p:nvSpPr>
        <p:spPr>
          <a:xfrm>
            <a:off x="4373626" y="3171190"/>
            <a:ext cx="3007360" cy="162560"/>
          </a:xfrm>
          <a:prstGeom prst="rect">
            <a:avLst/>
          </a:prstGeom>
        </p:spPr>
        <p:txBody>
          <a:bodyPr vert="horz" wrap="square" lIns="0" tIns="12700" rIns="0" bIns="0" rtlCol="0">
            <a:spAutoFit/>
          </a:bodyPr>
          <a:lstStyle/>
          <a:p>
            <a:pPr marL="12700">
              <a:lnSpc>
                <a:spcPct val="100000"/>
              </a:lnSpc>
              <a:spcBef>
                <a:spcPts val="100"/>
              </a:spcBef>
            </a:pPr>
            <a:r>
              <a:rPr sz="900" b="1" spc="-5">
                <a:latin typeface="Verdana"/>
                <a:cs typeface="Verdana"/>
              </a:rPr>
              <a:t>Technical Solution Design </a:t>
            </a:r>
            <a:r>
              <a:rPr sz="900" b="1" spc="-10">
                <a:latin typeface="Verdana"/>
                <a:cs typeface="Verdana"/>
              </a:rPr>
              <a:t>Document</a:t>
            </a:r>
            <a:r>
              <a:rPr sz="900" b="1" spc="40">
                <a:latin typeface="Verdana"/>
                <a:cs typeface="Verdana"/>
              </a:rPr>
              <a:t> </a:t>
            </a:r>
            <a:r>
              <a:rPr sz="900" b="1" spc="-5">
                <a:latin typeface="Verdana"/>
                <a:cs typeface="Verdana"/>
              </a:rPr>
              <a:t>Template</a:t>
            </a:r>
            <a:endParaRPr sz="900">
              <a:latin typeface="Verdana"/>
              <a:cs typeface="Verdana"/>
            </a:endParaRPr>
          </a:p>
        </p:txBody>
      </p:sp>
      <p:sp>
        <p:nvSpPr>
          <p:cNvPr id="449" name="object 449"/>
          <p:cNvSpPr txBox="1"/>
          <p:nvPr/>
        </p:nvSpPr>
        <p:spPr>
          <a:xfrm>
            <a:off x="4373626" y="3357117"/>
            <a:ext cx="3135630" cy="299720"/>
          </a:xfrm>
          <a:prstGeom prst="rect">
            <a:avLst/>
          </a:prstGeom>
        </p:spPr>
        <p:txBody>
          <a:bodyPr vert="horz" wrap="square" lIns="0" tIns="12700" rIns="0" bIns="0" rtlCol="0">
            <a:spAutoFit/>
          </a:bodyPr>
          <a:lstStyle/>
          <a:p>
            <a:pPr marL="184785" marR="5080" indent="-172720">
              <a:lnSpc>
                <a:spcPct val="100000"/>
              </a:lnSpc>
              <a:spcBef>
                <a:spcPts val="100"/>
              </a:spcBef>
              <a:buFont typeface="Arial"/>
              <a:buChar char="•"/>
              <a:tabLst>
                <a:tab pos="184785" algn="l"/>
                <a:tab pos="185420" algn="l"/>
              </a:tabLst>
            </a:pPr>
            <a:r>
              <a:rPr sz="900">
                <a:latin typeface="Verdana"/>
                <a:cs typeface="Verdana"/>
              </a:rPr>
              <a:t>A template </a:t>
            </a:r>
            <a:r>
              <a:rPr sz="900" spc="-5">
                <a:latin typeface="Verdana"/>
                <a:cs typeface="Verdana"/>
              </a:rPr>
              <a:t>and </a:t>
            </a:r>
            <a:r>
              <a:rPr sz="900">
                <a:latin typeface="Verdana"/>
                <a:cs typeface="Verdana"/>
              </a:rPr>
              <a:t>a </a:t>
            </a:r>
            <a:r>
              <a:rPr sz="900" spc="-5">
                <a:latin typeface="Verdana"/>
                <a:cs typeface="Verdana"/>
              </a:rPr>
              <a:t>structure </a:t>
            </a:r>
            <a:r>
              <a:rPr sz="900">
                <a:latin typeface="Verdana"/>
                <a:cs typeface="Verdana"/>
              </a:rPr>
              <a:t>to properly </a:t>
            </a:r>
            <a:r>
              <a:rPr sz="900" spc="-5">
                <a:latin typeface="Verdana"/>
                <a:cs typeface="Verdana"/>
              </a:rPr>
              <a:t>document </a:t>
            </a:r>
            <a:r>
              <a:rPr sz="900">
                <a:latin typeface="Verdana"/>
                <a:cs typeface="Verdana"/>
              </a:rPr>
              <a:t>a  </a:t>
            </a:r>
            <a:r>
              <a:rPr sz="900" spc="-5">
                <a:latin typeface="Verdana"/>
                <a:cs typeface="Verdana"/>
              </a:rPr>
              <a:t>Salesforce-based</a:t>
            </a:r>
            <a:r>
              <a:rPr sz="900" spc="10">
                <a:latin typeface="Verdana"/>
                <a:cs typeface="Verdana"/>
              </a:rPr>
              <a:t> </a:t>
            </a:r>
            <a:r>
              <a:rPr sz="900" spc="-5">
                <a:latin typeface="Verdana"/>
                <a:cs typeface="Verdana"/>
              </a:rPr>
              <a:t>solution</a:t>
            </a:r>
            <a:endParaRPr sz="900">
              <a:latin typeface="Verdana"/>
              <a:cs typeface="Verdana"/>
            </a:endParaRPr>
          </a:p>
        </p:txBody>
      </p:sp>
      <p:sp>
        <p:nvSpPr>
          <p:cNvPr id="450" name="object 450"/>
          <p:cNvSpPr/>
          <p:nvPr/>
        </p:nvSpPr>
        <p:spPr>
          <a:xfrm>
            <a:off x="8833104" y="4186428"/>
            <a:ext cx="2289048" cy="1496568"/>
          </a:xfrm>
          <a:prstGeom prst="rect">
            <a:avLst/>
          </a:prstGeom>
          <a:blipFill>
            <a:blip r:embed="rId10" cstate="print"/>
            <a:stretch>
              <a:fillRect/>
            </a:stretch>
          </a:blipFill>
        </p:spPr>
        <p:txBody>
          <a:bodyPr wrap="square" lIns="0" tIns="0" rIns="0" bIns="0" rtlCol="0"/>
          <a:lstStyle/>
          <a:p>
            <a:endParaRPr/>
          </a:p>
        </p:txBody>
      </p:sp>
      <p:sp>
        <p:nvSpPr>
          <p:cNvPr id="451" name="object 451"/>
          <p:cNvSpPr/>
          <p:nvPr/>
        </p:nvSpPr>
        <p:spPr>
          <a:xfrm>
            <a:off x="8459723" y="6565390"/>
            <a:ext cx="3514344" cy="292608"/>
          </a:xfrm>
          <a:prstGeom prst="rect">
            <a:avLst/>
          </a:prstGeom>
          <a:blipFill>
            <a:blip r:embed="rId11" cstate="print"/>
            <a:stretch>
              <a:fillRect/>
            </a:stretch>
          </a:blipFill>
        </p:spPr>
        <p:txBody>
          <a:bodyPr wrap="square" lIns="0" tIns="0" rIns="0" bIns="0" rtlCol="0"/>
          <a:lstStyle/>
          <a:p>
            <a:endParaRPr/>
          </a:p>
        </p:txBody>
      </p:sp>
      <p:sp>
        <p:nvSpPr>
          <p:cNvPr id="452" name="object 452"/>
          <p:cNvSpPr txBox="1"/>
          <p:nvPr/>
        </p:nvSpPr>
        <p:spPr>
          <a:xfrm>
            <a:off x="8099806" y="5691456"/>
            <a:ext cx="3756660" cy="828040"/>
          </a:xfrm>
          <a:prstGeom prst="rect">
            <a:avLst/>
          </a:prstGeom>
        </p:spPr>
        <p:txBody>
          <a:bodyPr vert="horz" wrap="square" lIns="0" tIns="60960" rIns="0" bIns="0" rtlCol="0">
            <a:spAutoFit/>
          </a:bodyPr>
          <a:lstStyle/>
          <a:p>
            <a:pPr marL="12700">
              <a:lnSpc>
                <a:spcPct val="100000"/>
              </a:lnSpc>
              <a:spcBef>
                <a:spcPts val="480"/>
              </a:spcBef>
            </a:pPr>
            <a:r>
              <a:rPr sz="900" b="1" spc="-5">
                <a:latin typeface="Verdana"/>
                <a:cs typeface="Verdana"/>
              </a:rPr>
              <a:t>5G for Customer</a:t>
            </a:r>
            <a:r>
              <a:rPr sz="900" b="1" spc="20">
                <a:latin typeface="Verdana"/>
                <a:cs typeface="Verdana"/>
              </a:rPr>
              <a:t> </a:t>
            </a:r>
            <a:r>
              <a:rPr sz="900" b="1" spc="-5">
                <a:latin typeface="Verdana"/>
                <a:cs typeface="Verdana"/>
              </a:rPr>
              <a:t>Service</a:t>
            </a:r>
            <a:endParaRPr sz="900">
              <a:latin typeface="Verdana"/>
              <a:cs typeface="Verdana"/>
            </a:endParaRPr>
          </a:p>
          <a:p>
            <a:pPr marL="184785" indent="-172720">
              <a:lnSpc>
                <a:spcPct val="100000"/>
              </a:lnSpc>
              <a:spcBef>
                <a:spcPts val="384"/>
              </a:spcBef>
              <a:buFont typeface="Arial"/>
              <a:buChar char="•"/>
              <a:tabLst>
                <a:tab pos="184785" algn="l"/>
                <a:tab pos="185420" algn="l"/>
              </a:tabLst>
            </a:pPr>
            <a:r>
              <a:rPr sz="900" spc="-5">
                <a:latin typeface="Verdana"/>
                <a:cs typeface="Verdana"/>
              </a:rPr>
              <a:t>An innovative </a:t>
            </a:r>
            <a:r>
              <a:rPr sz="900">
                <a:latin typeface="Verdana"/>
                <a:cs typeface="Verdana"/>
              </a:rPr>
              <a:t>approach </a:t>
            </a:r>
            <a:r>
              <a:rPr sz="900" spc="-5">
                <a:latin typeface="Verdana"/>
                <a:cs typeface="Verdana"/>
              </a:rPr>
              <a:t>towards </a:t>
            </a:r>
            <a:r>
              <a:rPr sz="900">
                <a:latin typeface="Verdana"/>
                <a:cs typeface="Verdana"/>
              </a:rPr>
              <a:t>customer </a:t>
            </a:r>
            <a:r>
              <a:rPr sz="900" spc="-5">
                <a:latin typeface="Verdana"/>
                <a:cs typeface="Verdana"/>
              </a:rPr>
              <a:t>service using</a:t>
            </a:r>
            <a:r>
              <a:rPr sz="900" spc="70">
                <a:latin typeface="Verdana"/>
                <a:cs typeface="Verdana"/>
              </a:rPr>
              <a:t> </a:t>
            </a:r>
            <a:r>
              <a:rPr sz="900">
                <a:latin typeface="Verdana"/>
                <a:cs typeface="Verdana"/>
              </a:rPr>
              <a:t>5G</a:t>
            </a:r>
          </a:p>
          <a:p>
            <a:pPr marL="184785">
              <a:lnSpc>
                <a:spcPct val="100000"/>
              </a:lnSpc>
            </a:pPr>
            <a:r>
              <a:rPr sz="900" spc="-5">
                <a:latin typeface="Verdana"/>
                <a:cs typeface="Verdana"/>
              </a:rPr>
              <a:t>technology and </a:t>
            </a:r>
            <a:r>
              <a:rPr sz="900">
                <a:latin typeface="Verdana"/>
                <a:cs typeface="Verdana"/>
              </a:rPr>
              <a:t>collaborative </a:t>
            </a:r>
            <a:r>
              <a:rPr sz="900" spc="-5">
                <a:latin typeface="Verdana"/>
                <a:cs typeface="Verdana"/>
              </a:rPr>
              <a:t>video</a:t>
            </a:r>
            <a:r>
              <a:rPr sz="900" spc="10">
                <a:latin typeface="Verdana"/>
                <a:cs typeface="Verdana"/>
              </a:rPr>
              <a:t> </a:t>
            </a:r>
            <a:r>
              <a:rPr sz="900" spc="-5">
                <a:latin typeface="Verdana"/>
                <a:cs typeface="Verdana"/>
              </a:rPr>
              <a:t>interaction</a:t>
            </a:r>
            <a:endParaRPr sz="900">
              <a:latin typeface="Verdana"/>
              <a:cs typeface="Verdana"/>
            </a:endParaRPr>
          </a:p>
          <a:p>
            <a:pPr marL="478790" algn="ctr">
              <a:lnSpc>
                <a:spcPct val="100000"/>
              </a:lnSpc>
              <a:spcBef>
                <a:spcPts val="390"/>
              </a:spcBef>
            </a:pPr>
            <a:r>
              <a:rPr sz="1600" b="1" i="1" spc="-5">
                <a:solidFill>
                  <a:srgbClr val="9A5DC9"/>
                </a:solidFill>
                <a:latin typeface="Verdana"/>
                <a:cs typeface="Verdana"/>
              </a:rPr>
              <a:t>+ </a:t>
            </a:r>
            <a:r>
              <a:rPr sz="1600" b="1" i="1" spc="-10">
                <a:solidFill>
                  <a:srgbClr val="9A5DC9"/>
                </a:solidFill>
                <a:latin typeface="Verdana"/>
                <a:cs typeface="Verdana"/>
              </a:rPr>
              <a:t>Several </a:t>
            </a:r>
            <a:r>
              <a:rPr sz="1600" b="1" i="1" spc="-5">
                <a:solidFill>
                  <a:srgbClr val="9A5DC9"/>
                </a:solidFill>
                <a:latin typeface="Verdana"/>
                <a:cs typeface="Verdana"/>
              </a:rPr>
              <a:t>other</a:t>
            </a:r>
            <a:r>
              <a:rPr sz="1600" b="1" i="1" spc="10">
                <a:solidFill>
                  <a:srgbClr val="9A5DC9"/>
                </a:solidFill>
                <a:latin typeface="Verdana"/>
                <a:cs typeface="Verdana"/>
              </a:rPr>
              <a:t> </a:t>
            </a:r>
            <a:r>
              <a:rPr sz="1600" b="1" i="1" spc="-5">
                <a:solidFill>
                  <a:srgbClr val="9A5DC9"/>
                </a:solidFill>
                <a:latin typeface="Verdana"/>
                <a:cs typeface="Verdana"/>
              </a:rPr>
              <a:t>accelerators</a:t>
            </a:r>
            <a:endParaRPr sz="1600">
              <a:latin typeface="Verdana"/>
              <a:cs typeface="Verdana"/>
            </a:endParaRPr>
          </a:p>
        </p:txBody>
      </p:sp>
      <p:sp>
        <p:nvSpPr>
          <p:cNvPr id="453" name="object 453"/>
          <p:cNvSpPr txBox="1"/>
          <p:nvPr/>
        </p:nvSpPr>
        <p:spPr>
          <a:xfrm>
            <a:off x="481583" y="1147572"/>
            <a:ext cx="3421379" cy="279400"/>
          </a:xfrm>
          <a:prstGeom prst="rect">
            <a:avLst/>
          </a:prstGeom>
          <a:solidFill>
            <a:srgbClr val="421F5D"/>
          </a:solidFill>
          <a:ln w="12192">
            <a:solidFill>
              <a:srgbClr val="006FAC"/>
            </a:solidFill>
          </a:ln>
        </p:spPr>
        <p:txBody>
          <a:bodyPr vert="horz" wrap="square" lIns="0" tIns="62230" rIns="0" bIns="0" rtlCol="0">
            <a:spAutoFit/>
          </a:bodyPr>
          <a:lstStyle/>
          <a:p>
            <a:pPr marL="829310">
              <a:lnSpc>
                <a:spcPct val="100000"/>
              </a:lnSpc>
              <a:spcBef>
                <a:spcPts val="490"/>
              </a:spcBef>
            </a:pPr>
            <a:r>
              <a:rPr sz="1000" spc="-5">
                <a:solidFill>
                  <a:srgbClr val="FFFFFF"/>
                </a:solidFill>
                <a:latin typeface="Verdana"/>
                <a:cs typeface="Verdana"/>
              </a:rPr>
              <a:t>Example: Vertical</a:t>
            </a:r>
            <a:r>
              <a:rPr sz="1000" spc="20">
                <a:solidFill>
                  <a:srgbClr val="FFFFFF"/>
                </a:solidFill>
                <a:latin typeface="Verdana"/>
                <a:cs typeface="Verdana"/>
              </a:rPr>
              <a:t> </a:t>
            </a:r>
            <a:r>
              <a:rPr sz="1000">
                <a:solidFill>
                  <a:srgbClr val="FFFFFF"/>
                </a:solidFill>
                <a:latin typeface="Verdana"/>
                <a:cs typeface="Verdana"/>
              </a:rPr>
              <a:t>Solutions</a:t>
            </a:r>
            <a:endParaRPr sz="1000">
              <a:latin typeface="Verdana"/>
              <a:cs typeface="Verdana"/>
            </a:endParaRPr>
          </a:p>
        </p:txBody>
      </p:sp>
      <p:sp>
        <p:nvSpPr>
          <p:cNvPr id="454" name="object 454"/>
          <p:cNvSpPr txBox="1"/>
          <p:nvPr/>
        </p:nvSpPr>
        <p:spPr>
          <a:xfrm>
            <a:off x="4294632" y="1147572"/>
            <a:ext cx="3421379" cy="279400"/>
          </a:xfrm>
          <a:prstGeom prst="rect">
            <a:avLst/>
          </a:prstGeom>
          <a:solidFill>
            <a:srgbClr val="421F5D"/>
          </a:solidFill>
          <a:ln w="12192">
            <a:solidFill>
              <a:srgbClr val="006FAC"/>
            </a:solidFill>
          </a:ln>
        </p:spPr>
        <p:txBody>
          <a:bodyPr vert="horz" wrap="square" lIns="0" tIns="62230" rIns="0" bIns="0" rtlCol="0">
            <a:spAutoFit/>
          </a:bodyPr>
          <a:lstStyle/>
          <a:p>
            <a:pPr marL="471170">
              <a:lnSpc>
                <a:spcPct val="100000"/>
              </a:lnSpc>
              <a:spcBef>
                <a:spcPts val="490"/>
              </a:spcBef>
            </a:pPr>
            <a:r>
              <a:rPr sz="1000" spc="-5">
                <a:solidFill>
                  <a:srgbClr val="FFFFFF"/>
                </a:solidFill>
                <a:latin typeface="Verdana"/>
                <a:cs typeface="Verdana"/>
              </a:rPr>
              <a:t>Example: Governance &amp; Best</a:t>
            </a:r>
            <a:r>
              <a:rPr sz="1000" spc="70">
                <a:solidFill>
                  <a:srgbClr val="FFFFFF"/>
                </a:solidFill>
                <a:latin typeface="Verdana"/>
                <a:cs typeface="Verdana"/>
              </a:rPr>
              <a:t> </a:t>
            </a:r>
            <a:r>
              <a:rPr sz="1000" spc="-5">
                <a:solidFill>
                  <a:srgbClr val="FFFFFF"/>
                </a:solidFill>
                <a:latin typeface="Verdana"/>
                <a:cs typeface="Verdana"/>
              </a:rPr>
              <a:t>Practices</a:t>
            </a:r>
            <a:endParaRPr sz="1000">
              <a:latin typeface="Verdana"/>
              <a:cs typeface="Verdana"/>
            </a:endParaRPr>
          </a:p>
        </p:txBody>
      </p:sp>
      <p:sp>
        <p:nvSpPr>
          <p:cNvPr id="455" name="object 455"/>
          <p:cNvSpPr txBox="1"/>
          <p:nvPr/>
        </p:nvSpPr>
        <p:spPr>
          <a:xfrm>
            <a:off x="8217407" y="1147572"/>
            <a:ext cx="3421379" cy="279400"/>
          </a:xfrm>
          <a:prstGeom prst="rect">
            <a:avLst/>
          </a:prstGeom>
          <a:solidFill>
            <a:srgbClr val="421F5D"/>
          </a:solidFill>
          <a:ln w="12192">
            <a:solidFill>
              <a:srgbClr val="006FAC"/>
            </a:solidFill>
          </a:ln>
        </p:spPr>
        <p:txBody>
          <a:bodyPr vert="horz" wrap="square" lIns="0" tIns="62230" rIns="0" bIns="0" rtlCol="0">
            <a:spAutoFit/>
          </a:bodyPr>
          <a:lstStyle/>
          <a:p>
            <a:pPr marL="1019175">
              <a:lnSpc>
                <a:spcPct val="100000"/>
              </a:lnSpc>
              <a:spcBef>
                <a:spcPts val="490"/>
              </a:spcBef>
            </a:pPr>
            <a:r>
              <a:rPr sz="1000" spc="-5">
                <a:solidFill>
                  <a:srgbClr val="FFFFFF"/>
                </a:solidFill>
                <a:latin typeface="Verdana"/>
                <a:cs typeface="Verdana"/>
              </a:rPr>
              <a:t>Example:</a:t>
            </a:r>
            <a:r>
              <a:rPr sz="1000">
                <a:solidFill>
                  <a:srgbClr val="FFFFFF"/>
                </a:solidFill>
                <a:latin typeface="Verdana"/>
                <a:cs typeface="Verdana"/>
              </a:rPr>
              <a:t> </a:t>
            </a:r>
            <a:r>
              <a:rPr sz="1000" spc="-5">
                <a:solidFill>
                  <a:srgbClr val="FFFFFF"/>
                </a:solidFill>
                <a:latin typeface="Verdana"/>
                <a:cs typeface="Verdana"/>
              </a:rPr>
              <a:t>Compliance</a:t>
            </a:r>
            <a:endParaRPr sz="1000">
              <a:latin typeface="Verdana"/>
              <a:cs typeface="Verdana"/>
            </a:endParaRPr>
          </a:p>
        </p:txBody>
      </p:sp>
      <p:sp>
        <p:nvSpPr>
          <p:cNvPr id="456" name="object 456"/>
          <p:cNvSpPr/>
          <p:nvPr/>
        </p:nvSpPr>
        <p:spPr>
          <a:xfrm>
            <a:off x="8217407" y="3741420"/>
            <a:ext cx="3421379" cy="399415"/>
          </a:xfrm>
          <a:custGeom>
            <a:avLst/>
            <a:gdLst/>
            <a:ahLst/>
            <a:cxnLst/>
            <a:rect l="l" t="t" r="r" b="b"/>
            <a:pathLst>
              <a:path w="3421379" h="399414">
                <a:moveTo>
                  <a:pt x="3421380" y="0"/>
                </a:moveTo>
                <a:lnTo>
                  <a:pt x="0" y="0"/>
                </a:lnTo>
                <a:lnTo>
                  <a:pt x="0" y="319404"/>
                </a:lnTo>
                <a:lnTo>
                  <a:pt x="1710690" y="399287"/>
                </a:lnTo>
                <a:lnTo>
                  <a:pt x="3421380" y="319404"/>
                </a:lnTo>
                <a:lnTo>
                  <a:pt x="3421380" y="0"/>
                </a:lnTo>
                <a:close/>
              </a:path>
            </a:pathLst>
          </a:custGeom>
          <a:solidFill>
            <a:srgbClr val="006FAC"/>
          </a:solidFill>
        </p:spPr>
        <p:txBody>
          <a:bodyPr wrap="square" lIns="0" tIns="0" rIns="0" bIns="0" rtlCol="0"/>
          <a:lstStyle/>
          <a:p>
            <a:endParaRPr/>
          </a:p>
        </p:txBody>
      </p:sp>
      <p:sp>
        <p:nvSpPr>
          <p:cNvPr id="457" name="object 457"/>
          <p:cNvSpPr txBox="1"/>
          <p:nvPr/>
        </p:nvSpPr>
        <p:spPr>
          <a:xfrm>
            <a:off x="9134093" y="3807714"/>
            <a:ext cx="1590040" cy="186690"/>
          </a:xfrm>
          <a:prstGeom prst="rect">
            <a:avLst/>
          </a:prstGeom>
        </p:spPr>
        <p:txBody>
          <a:bodyPr vert="horz" wrap="square" lIns="0" tIns="13335" rIns="0" bIns="0" rtlCol="0">
            <a:spAutoFit/>
          </a:bodyPr>
          <a:lstStyle/>
          <a:p>
            <a:pPr marL="12700">
              <a:lnSpc>
                <a:spcPct val="100000"/>
              </a:lnSpc>
              <a:spcBef>
                <a:spcPts val="105"/>
              </a:spcBef>
            </a:pPr>
            <a:r>
              <a:rPr sz="1050" b="1">
                <a:solidFill>
                  <a:srgbClr val="FFFFFF"/>
                </a:solidFill>
                <a:latin typeface="Verdana"/>
                <a:cs typeface="Verdana"/>
              </a:rPr>
              <a:t>Example:</a:t>
            </a:r>
            <a:r>
              <a:rPr sz="1050" b="1" spc="-85">
                <a:solidFill>
                  <a:srgbClr val="FFFFFF"/>
                </a:solidFill>
                <a:latin typeface="Verdana"/>
                <a:cs typeface="Verdana"/>
              </a:rPr>
              <a:t> </a:t>
            </a:r>
            <a:r>
              <a:rPr sz="1050" b="1">
                <a:solidFill>
                  <a:srgbClr val="FFFFFF"/>
                </a:solidFill>
                <a:latin typeface="Verdana"/>
                <a:cs typeface="Verdana"/>
              </a:rPr>
              <a:t>Innovation</a:t>
            </a:r>
            <a:endParaRPr sz="1050">
              <a:latin typeface="Verdana"/>
              <a:cs typeface="Verdana"/>
            </a:endParaRPr>
          </a:p>
        </p:txBody>
      </p:sp>
      <p:sp>
        <p:nvSpPr>
          <p:cNvPr id="458" name="object 458"/>
          <p:cNvSpPr/>
          <p:nvPr/>
        </p:nvSpPr>
        <p:spPr>
          <a:xfrm>
            <a:off x="4090415" y="1200911"/>
            <a:ext cx="0" cy="5367020"/>
          </a:xfrm>
          <a:custGeom>
            <a:avLst/>
            <a:gdLst/>
            <a:ahLst/>
            <a:cxnLst/>
            <a:rect l="l" t="t" r="r" b="b"/>
            <a:pathLst>
              <a:path h="5367020">
                <a:moveTo>
                  <a:pt x="0" y="0"/>
                </a:moveTo>
                <a:lnTo>
                  <a:pt x="0" y="5366804"/>
                </a:lnTo>
              </a:path>
            </a:pathLst>
          </a:custGeom>
          <a:ln w="76200">
            <a:solidFill>
              <a:srgbClr val="FFFFFF"/>
            </a:solidFill>
          </a:ln>
        </p:spPr>
        <p:txBody>
          <a:bodyPr wrap="square" lIns="0" tIns="0" rIns="0" bIns="0" rtlCol="0"/>
          <a:lstStyle/>
          <a:p>
            <a:endParaRPr/>
          </a:p>
        </p:txBody>
      </p:sp>
      <p:sp>
        <p:nvSpPr>
          <p:cNvPr id="459" name="object 459"/>
          <p:cNvSpPr/>
          <p:nvPr/>
        </p:nvSpPr>
        <p:spPr>
          <a:xfrm>
            <a:off x="1260347" y="1505711"/>
            <a:ext cx="1722119" cy="1447800"/>
          </a:xfrm>
          <a:prstGeom prst="rect">
            <a:avLst/>
          </a:prstGeom>
          <a:blipFill>
            <a:blip r:embed="rId12" cstate="print"/>
            <a:stretch>
              <a:fillRect/>
            </a:stretch>
          </a:blipFill>
        </p:spPr>
        <p:txBody>
          <a:bodyPr wrap="square" lIns="0" tIns="0" rIns="0" bIns="0" rtlCol="0"/>
          <a:lstStyle/>
          <a:p>
            <a:endParaRPr/>
          </a:p>
        </p:txBody>
      </p:sp>
      <p:sp>
        <p:nvSpPr>
          <p:cNvPr id="460" name="object 460"/>
          <p:cNvSpPr/>
          <p:nvPr/>
        </p:nvSpPr>
        <p:spPr>
          <a:xfrm>
            <a:off x="7956804" y="1191767"/>
            <a:ext cx="0" cy="5367020"/>
          </a:xfrm>
          <a:custGeom>
            <a:avLst/>
            <a:gdLst/>
            <a:ahLst/>
            <a:cxnLst/>
            <a:rect l="l" t="t" r="r" b="b"/>
            <a:pathLst>
              <a:path h="5367020">
                <a:moveTo>
                  <a:pt x="0" y="0"/>
                </a:moveTo>
                <a:lnTo>
                  <a:pt x="0" y="5366804"/>
                </a:lnTo>
              </a:path>
            </a:pathLst>
          </a:custGeom>
          <a:ln w="76200">
            <a:solidFill>
              <a:srgbClr val="FFFFFF"/>
            </a:solidFill>
          </a:ln>
        </p:spPr>
        <p:txBody>
          <a:bodyPr wrap="square" lIns="0" tIns="0" rIns="0" bIns="0" rtlCol="0"/>
          <a:lstStyle/>
          <a:p>
            <a:endParaRPr/>
          </a:p>
        </p:txBody>
      </p:sp>
      <p:sp>
        <p:nvSpPr>
          <p:cNvPr id="461" name="object 46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62" name="object 46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6</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8" name="object 8"/>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9" name="object 9"/>
          <p:cNvSpPr txBox="1">
            <a:spLocks noGrp="1"/>
          </p:cNvSpPr>
          <p:nvPr>
            <p:ph type="title"/>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rPr>
              <a:t>02.2</a:t>
            </a:r>
            <a:endParaRPr sz="4400"/>
          </a:p>
        </p:txBody>
      </p:sp>
      <p:sp>
        <p:nvSpPr>
          <p:cNvPr id="10" name="object 10"/>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11" name="object 11"/>
          <p:cNvSpPr/>
          <p:nvPr/>
        </p:nvSpPr>
        <p:spPr>
          <a:xfrm>
            <a:off x="443483" y="3974591"/>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2" name="object 12"/>
          <p:cNvSpPr/>
          <p:nvPr/>
        </p:nvSpPr>
        <p:spPr>
          <a:xfrm>
            <a:off x="502919" y="4043171"/>
            <a:ext cx="169164" cy="150875"/>
          </a:xfrm>
          <a:prstGeom prst="rect">
            <a:avLst/>
          </a:prstGeom>
          <a:blipFill>
            <a:blip r:embed="rId3" cstate="print"/>
            <a:stretch>
              <a:fillRect/>
            </a:stretch>
          </a:blipFill>
        </p:spPr>
        <p:txBody>
          <a:bodyPr wrap="square" lIns="0" tIns="0" rIns="0" bIns="0" rtlCol="0"/>
          <a:lstStyle/>
          <a:p>
            <a:endParaRPr/>
          </a:p>
        </p:txBody>
      </p:sp>
      <p:sp>
        <p:nvSpPr>
          <p:cNvPr id="13" name="object 13"/>
          <p:cNvSpPr txBox="1"/>
          <p:nvPr/>
        </p:nvSpPr>
        <p:spPr>
          <a:xfrm>
            <a:off x="540207" y="2774400"/>
            <a:ext cx="3672204" cy="1453515"/>
          </a:xfrm>
          <a:prstGeom prst="rect">
            <a:avLst/>
          </a:prstGeom>
        </p:spPr>
        <p:txBody>
          <a:bodyPr vert="horz" wrap="square" lIns="0" tIns="140970" rIns="0" bIns="0" rtlCol="0">
            <a:spAutoFit/>
          </a:bodyPr>
          <a:lstStyle/>
          <a:p>
            <a:pPr marL="12700">
              <a:lnSpc>
                <a:spcPct val="100000"/>
              </a:lnSpc>
              <a:spcBef>
                <a:spcPts val="1110"/>
              </a:spcBef>
            </a:pPr>
            <a:r>
              <a:rPr sz="2000" b="1">
                <a:solidFill>
                  <a:srgbClr val="FFFFFF"/>
                </a:solidFill>
                <a:latin typeface="Verdana"/>
                <a:cs typeface="Verdana"/>
              </a:rPr>
              <a:t>Customer </a:t>
            </a:r>
            <a:r>
              <a:rPr sz="2000" b="1" spc="-5">
                <a:solidFill>
                  <a:srgbClr val="FFFFFF"/>
                </a:solidFill>
                <a:latin typeface="Verdana"/>
                <a:cs typeface="Verdana"/>
              </a:rPr>
              <a:t>Experience</a:t>
            </a:r>
            <a:r>
              <a:rPr sz="2000" b="1" spc="-70">
                <a:solidFill>
                  <a:srgbClr val="FFFFFF"/>
                </a:solidFill>
                <a:latin typeface="Verdana"/>
                <a:cs typeface="Verdana"/>
              </a:rPr>
              <a:t> </a:t>
            </a:r>
            <a:r>
              <a:rPr sz="2000" b="1">
                <a:solidFill>
                  <a:srgbClr val="FFFFFF"/>
                </a:solidFill>
                <a:latin typeface="Verdana"/>
                <a:cs typeface="Verdana"/>
              </a:rPr>
              <a:t>and</a:t>
            </a:r>
            <a:endParaRPr sz="2000">
              <a:latin typeface="Verdana"/>
              <a:cs typeface="Verdana"/>
            </a:endParaRPr>
          </a:p>
          <a:p>
            <a:pPr marL="12700">
              <a:lnSpc>
                <a:spcPct val="100000"/>
              </a:lnSpc>
              <a:spcBef>
                <a:spcPts val="1010"/>
              </a:spcBef>
            </a:pPr>
            <a:r>
              <a:rPr sz="2000" b="1">
                <a:solidFill>
                  <a:srgbClr val="FFFFFF"/>
                </a:solidFill>
                <a:latin typeface="Verdana"/>
                <a:cs typeface="Verdana"/>
              </a:rPr>
              <a:t>Salesforce</a:t>
            </a:r>
            <a:r>
              <a:rPr sz="2000" b="1" spc="-40">
                <a:solidFill>
                  <a:srgbClr val="FFFFFF"/>
                </a:solidFill>
                <a:latin typeface="Verdana"/>
                <a:cs typeface="Verdana"/>
              </a:rPr>
              <a:t> </a:t>
            </a:r>
            <a:r>
              <a:rPr sz="2000" b="1">
                <a:solidFill>
                  <a:srgbClr val="FFFFFF"/>
                </a:solidFill>
                <a:latin typeface="Verdana"/>
                <a:cs typeface="Verdana"/>
              </a:rPr>
              <a:t>capabilities</a:t>
            </a:r>
            <a:endParaRPr sz="2000">
              <a:latin typeface="Verdana"/>
              <a:cs typeface="Verdana"/>
            </a:endParaRPr>
          </a:p>
          <a:p>
            <a:pPr>
              <a:lnSpc>
                <a:spcPct val="100000"/>
              </a:lnSpc>
              <a:spcBef>
                <a:spcPts val="35"/>
              </a:spcBef>
            </a:pPr>
            <a:endParaRPr sz="2350">
              <a:latin typeface="Times New Roman"/>
              <a:cs typeface="Times New Roman"/>
            </a:endParaRPr>
          </a:p>
          <a:p>
            <a:pPr marL="302895">
              <a:lnSpc>
                <a:spcPct val="100000"/>
              </a:lnSpc>
            </a:pPr>
            <a:r>
              <a:rPr sz="1400" b="1">
                <a:solidFill>
                  <a:srgbClr val="FFFFFF"/>
                </a:solidFill>
                <a:latin typeface="Verdana"/>
                <a:cs typeface="Verdana"/>
              </a:rPr>
              <a:t>ADM</a:t>
            </a:r>
            <a:r>
              <a:rPr sz="1400" b="1" spc="-30">
                <a:solidFill>
                  <a:srgbClr val="FFFFFF"/>
                </a:solidFill>
                <a:latin typeface="Verdana"/>
                <a:cs typeface="Verdana"/>
              </a:rPr>
              <a:t> </a:t>
            </a:r>
            <a:r>
              <a:rPr sz="1400" b="1" spc="-5">
                <a:solidFill>
                  <a:srgbClr val="FFFFFF"/>
                </a:solidFill>
                <a:latin typeface="Verdana"/>
                <a:cs typeface="Verdana"/>
              </a:rPr>
              <a:t>Services</a:t>
            </a:r>
            <a:endParaRPr sz="1400">
              <a:latin typeface="Verdana"/>
              <a:cs typeface="Verdana"/>
            </a:endParaRPr>
          </a:p>
        </p:txBody>
      </p:sp>
      <p:sp>
        <p:nvSpPr>
          <p:cNvPr id="14" name="object 1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5" name="object 1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7</a:t>
            </a:fld>
            <a:endParaRPr/>
          </a:p>
        </p:txBody>
      </p:sp>
      <p:pic>
        <p:nvPicPr>
          <p:cNvPr id="16" name="Picture 15">
            <a:extLst>
              <a:ext uri="{FF2B5EF4-FFF2-40B4-BE49-F238E27FC236}">
                <a16:creationId xmlns:a16="http://schemas.microsoft.com/office/drawing/2014/main" id="{BEB6331D-F358-4EC3-8C2D-2EB993731190}"/>
              </a:ext>
            </a:extLst>
          </p:cNvPr>
          <p:cNvPicPr>
            <a:picLocks noChangeAspect="1"/>
          </p:cNvPicPr>
          <p:nvPr/>
        </p:nvPicPr>
        <p:blipFill>
          <a:blip r:embed="rId4">
            <a:alphaModFix/>
          </a:blip>
          <a:stretch>
            <a:fillRect/>
          </a:stretch>
        </p:blipFill>
        <p:spPr>
          <a:xfrm>
            <a:off x="6173969" y="1628775"/>
            <a:ext cx="5094106" cy="282892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841491" y="1245108"/>
            <a:ext cx="1888489" cy="5110480"/>
          </a:xfrm>
          <a:custGeom>
            <a:avLst/>
            <a:gdLst/>
            <a:ahLst/>
            <a:cxnLst/>
            <a:rect l="l" t="t" r="r" b="b"/>
            <a:pathLst>
              <a:path w="1888490" h="5110480">
                <a:moveTo>
                  <a:pt x="1888236" y="0"/>
                </a:moveTo>
                <a:lnTo>
                  <a:pt x="72517" y="0"/>
                </a:lnTo>
                <a:lnTo>
                  <a:pt x="43719" y="7330"/>
                </a:lnTo>
                <a:lnTo>
                  <a:pt x="20732" y="27590"/>
                </a:lnTo>
                <a:lnTo>
                  <a:pt x="5508" y="58185"/>
                </a:lnTo>
                <a:lnTo>
                  <a:pt x="0" y="96519"/>
                </a:lnTo>
                <a:lnTo>
                  <a:pt x="0" y="5013388"/>
                </a:lnTo>
                <a:lnTo>
                  <a:pt x="5508" y="5051764"/>
                </a:lnTo>
                <a:lnTo>
                  <a:pt x="20732" y="5082378"/>
                </a:lnTo>
                <a:lnTo>
                  <a:pt x="43719" y="5102642"/>
                </a:lnTo>
                <a:lnTo>
                  <a:pt x="72517" y="5109971"/>
                </a:lnTo>
                <a:lnTo>
                  <a:pt x="1888236" y="0"/>
                </a:lnTo>
                <a:close/>
              </a:path>
            </a:pathLst>
          </a:custGeom>
          <a:solidFill>
            <a:srgbClr val="F1F1F1"/>
          </a:solidFill>
        </p:spPr>
        <p:txBody>
          <a:bodyPr wrap="square" lIns="0" tIns="0" rIns="0" bIns="0" rtlCol="0"/>
          <a:lstStyle/>
          <a:p>
            <a:endParaRPr/>
          </a:p>
        </p:txBody>
      </p:sp>
      <p:sp>
        <p:nvSpPr>
          <p:cNvPr id="3" name="object 3"/>
          <p:cNvSpPr/>
          <p:nvPr/>
        </p:nvSpPr>
        <p:spPr>
          <a:xfrm>
            <a:off x="5841491" y="1245108"/>
            <a:ext cx="1888489" cy="5110480"/>
          </a:xfrm>
          <a:custGeom>
            <a:avLst/>
            <a:gdLst/>
            <a:ahLst/>
            <a:cxnLst/>
            <a:rect l="l" t="t" r="r" b="b"/>
            <a:pathLst>
              <a:path w="1888490" h="5110480">
                <a:moveTo>
                  <a:pt x="72517" y="5109971"/>
                </a:moveTo>
                <a:lnTo>
                  <a:pt x="43719" y="5102642"/>
                </a:lnTo>
                <a:lnTo>
                  <a:pt x="20732" y="5082378"/>
                </a:lnTo>
                <a:lnTo>
                  <a:pt x="5508" y="5051764"/>
                </a:lnTo>
                <a:lnTo>
                  <a:pt x="0" y="5013388"/>
                </a:lnTo>
                <a:lnTo>
                  <a:pt x="0" y="96519"/>
                </a:lnTo>
                <a:lnTo>
                  <a:pt x="5508" y="58185"/>
                </a:lnTo>
                <a:lnTo>
                  <a:pt x="20732" y="27590"/>
                </a:lnTo>
                <a:lnTo>
                  <a:pt x="43719" y="7330"/>
                </a:lnTo>
                <a:lnTo>
                  <a:pt x="72517" y="0"/>
                </a:lnTo>
                <a:lnTo>
                  <a:pt x="1888236" y="0"/>
                </a:lnTo>
              </a:path>
            </a:pathLst>
          </a:custGeom>
          <a:ln w="12191">
            <a:solidFill>
              <a:srgbClr val="7E7E7E"/>
            </a:solidFill>
          </a:ln>
        </p:spPr>
        <p:txBody>
          <a:bodyPr wrap="square" lIns="0" tIns="0" rIns="0" bIns="0" rtlCol="0"/>
          <a:lstStyle/>
          <a:p>
            <a:endParaRPr/>
          </a:p>
        </p:txBody>
      </p:sp>
      <p:sp>
        <p:nvSpPr>
          <p:cNvPr id="4" name="object 4"/>
          <p:cNvSpPr/>
          <p:nvPr/>
        </p:nvSpPr>
        <p:spPr>
          <a:xfrm>
            <a:off x="5914644" y="6355079"/>
            <a:ext cx="6198235" cy="0"/>
          </a:xfrm>
          <a:custGeom>
            <a:avLst/>
            <a:gdLst/>
            <a:ahLst/>
            <a:cxnLst/>
            <a:rect l="l" t="t" r="r" b="b"/>
            <a:pathLst>
              <a:path w="6198234">
                <a:moveTo>
                  <a:pt x="0" y="0"/>
                </a:moveTo>
                <a:lnTo>
                  <a:pt x="6198108" y="0"/>
                </a:lnTo>
              </a:path>
            </a:pathLst>
          </a:custGeom>
          <a:ln w="12192">
            <a:solidFill>
              <a:srgbClr val="7E7E7E"/>
            </a:solidFill>
          </a:ln>
        </p:spPr>
        <p:txBody>
          <a:bodyPr wrap="square" lIns="0" tIns="0" rIns="0" bIns="0" rtlCol="0"/>
          <a:lstStyle/>
          <a:p>
            <a:endParaRPr/>
          </a:p>
        </p:txBody>
      </p:sp>
      <p:sp>
        <p:nvSpPr>
          <p:cNvPr id="5" name="object 5"/>
          <p:cNvSpPr/>
          <p:nvPr/>
        </p:nvSpPr>
        <p:spPr>
          <a:xfrm>
            <a:off x="5958840" y="4838700"/>
            <a:ext cx="5983605" cy="1463040"/>
          </a:xfrm>
          <a:custGeom>
            <a:avLst/>
            <a:gdLst/>
            <a:ahLst/>
            <a:cxnLst/>
            <a:rect l="l" t="t" r="r" b="b"/>
            <a:pathLst>
              <a:path w="5983605" h="1463039">
                <a:moveTo>
                  <a:pt x="0" y="1463040"/>
                </a:moveTo>
                <a:lnTo>
                  <a:pt x="5983223" y="1463040"/>
                </a:lnTo>
                <a:lnTo>
                  <a:pt x="5983223" y="0"/>
                </a:lnTo>
                <a:lnTo>
                  <a:pt x="0" y="0"/>
                </a:lnTo>
                <a:lnTo>
                  <a:pt x="0" y="1463040"/>
                </a:lnTo>
                <a:close/>
              </a:path>
            </a:pathLst>
          </a:custGeom>
          <a:solidFill>
            <a:srgbClr val="FFFFFF"/>
          </a:solidFill>
        </p:spPr>
        <p:txBody>
          <a:bodyPr wrap="square" lIns="0" tIns="0" rIns="0" bIns="0" rtlCol="0"/>
          <a:lstStyle/>
          <a:p>
            <a:endParaRPr/>
          </a:p>
        </p:txBody>
      </p:sp>
      <p:sp>
        <p:nvSpPr>
          <p:cNvPr id="6" name="object 6"/>
          <p:cNvSpPr/>
          <p:nvPr/>
        </p:nvSpPr>
        <p:spPr>
          <a:xfrm>
            <a:off x="7729728" y="1245108"/>
            <a:ext cx="3795395" cy="2540"/>
          </a:xfrm>
          <a:custGeom>
            <a:avLst/>
            <a:gdLst/>
            <a:ahLst/>
            <a:cxnLst/>
            <a:rect l="l" t="t" r="r" b="b"/>
            <a:pathLst>
              <a:path w="3795395" h="2540">
                <a:moveTo>
                  <a:pt x="0" y="0"/>
                </a:moveTo>
                <a:lnTo>
                  <a:pt x="3795395" y="2031"/>
                </a:lnTo>
              </a:path>
            </a:pathLst>
          </a:custGeom>
          <a:ln w="12192">
            <a:solidFill>
              <a:srgbClr val="7E7E7E"/>
            </a:solidFill>
          </a:ln>
        </p:spPr>
        <p:txBody>
          <a:bodyPr wrap="square" lIns="0" tIns="0" rIns="0" bIns="0" rtlCol="0"/>
          <a:lstStyle/>
          <a:p>
            <a:endParaRPr/>
          </a:p>
        </p:txBody>
      </p:sp>
      <p:sp>
        <p:nvSpPr>
          <p:cNvPr id="7" name="object 7"/>
          <p:cNvSpPr/>
          <p:nvPr/>
        </p:nvSpPr>
        <p:spPr>
          <a:xfrm>
            <a:off x="5958840" y="1729739"/>
            <a:ext cx="1931035" cy="2833370"/>
          </a:xfrm>
          <a:custGeom>
            <a:avLst/>
            <a:gdLst/>
            <a:ahLst/>
            <a:cxnLst/>
            <a:rect l="l" t="t" r="r" b="b"/>
            <a:pathLst>
              <a:path w="1931034" h="2833370">
                <a:moveTo>
                  <a:pt x="0" y="2833116"/>
                </a:moveTo>
                <a:lnTo>
                  <a:pt x="1930908" y="2833116"/>
                </a:lnTo>
                <a:lnTo>
                  <a:pt x="1930908" y="0"/>
                </a:lnTo>
                <a:lnTo>
                  <a:pt x="0" y="0"/>
                </a:lnTo>
                <a:lnTo>
                  <a:pt x="0" y="2833116"/>
                </a:lnTo>
                <a:close/>
              </a:path>
            </a:pathLst>
          </a:custGeom>
          <a:solidFill>
            <a:srgbClr val="FFFFFF"/>
          </a:solidFill>
        </p:spPr>
        <p:txBody>
          <a:bodyPr wrap="square" lIns="0" tIns="0" rIns="0" bIns="0" rtlCol="0"/>
          <a:lstStyle/>
          <a:p>
            <a:endParaRPr/>
          </a:p>
        </p:txBody>
      </p:sp>
      <p:sp>
        <p:nvSpPr>
          <p:cNvPr id="8" name="object 8"/>
          <p:cNvSpPr txBox="1"/>
          <p:nvPr/>
        </p:nvSpPr>
        <p:spPr>
          <a:xfrm>
            <a:off x="252475" y="1202283"/>
            <a:ext cx="5383530" cy="2095500"/>
          </a:xfrm>
          <a:prstGeom prst="rect">
            <a:avLst/>
          </a:prstGeom>
        </p:spPr>
        <p:txBody>
          <a:bodyPr vert="horz" wrap="square" lIns="0" tIns="116205" rIns="0" bIns="0" rtlCol="0">
            <a:spAutoFit/>
          </a:bodyPr>
          <a:lstStyle/>
          <a:p>
            <a:pPr marL="241300" indent="-228600">
              <a:lnSpc>
                <a:spcPct val="100000"/>
              </a:lnSpc>
              <a:spcBef>
                <a:spcPts val="915"/>
              </a:spcBef>
              <a:buClr>
                <a:srgbClr val="006FAC"/>
              </a:buClr>
              <a:buFont typeface="Wingdings"/>
              <a:buChar char=""/>
              <a:tabLst>
                <a:tab pos="240665" algn="l"/>
                <a:tab pos="241300" algn="l"/>
              </a:tabLst>
            </a:pPr>
            <a:r>
              <a:rPr sz="1400">
                <a:latin typeface="Verdana"/>
                <a:cs typeface="Verdana"/>
              </a:rPr>
              <a:t>ADM </a:t>
            </a:r>
            <a:r>
              <a:rPr sz="1400" spc="-5">
                <a:latin typeface="Verdana"/>
                <a:cs typeface="Verdana"/>
              </a:rPr>
              <a:t>Market </a:t>
            </a:r>
            <a:r>
              <a:rPr sz="1400">
                <a:latin typeface="Verdana"/>
                <a:cs typeface="Verdana"/>
              </a:rPr>
              <a:t>share: </a:t>
            </a:r>
            <a:r>
              <a:rPr sz="1400" spc="-5">
                <a:solidFill>
                  <a:srgbClr val="006FC0"/>
                </a:solidFill>
                <a:latin typeface="Verdana"/>
                <a:cs typeface="Verdana"/>
              </a:rPr>
              <a:t>~20% </a:t>
            </a:r>
            <a:r>
              <a:rPr sz="1400">
                <a:solidFill>
                  <a:srgbClr val="006FC0"/>
                </a:solidFill>
                <a:latin typeface="Verdana"/>
                <a:cs typeface="Verdana"/>
              </a:rPr>
              <a:t>in </a:t>
            </a:r>
            <a:r>
              <a:rPr sz="1400" spc="-5">
                <a:solidFill>
                  <a:srgbClr val="006FC0"/>
                </a:solidFill>
                <a:latin typeface="Verdana"/>
                <a:cs typeface="Verdana"/>
              </a:rPr>
              <a:t>Europe </a:t>
            </a:r>
            <a:r>
              <a:rPr sz="1400">
                <a:solidFill>
                  <a:srgbClr val="006FC0"/>
                </a:solidFill>
                <a:latin typeface="Verdana"/>
                <a:cs typeface="Verdana"/>
              </a:rPr>
              <a:t>and ~7%</a:t>
            </a:r>
            <a:r>
              <a:rPr sz="1400" spc="-100">
                <a:solidFill>
                  <a:srgbClr val="006FC0"/>
                </a:solidFill>
                <a:latin typeface="Verdana"/>
                <a:cs typeface="Verdana"/>
              </a:rPr>
              <a:t> </a:t>
            </a:r>
            <a:r>
              <a:rPr sz="1400">
                <a:solidFill>
                  <a:srgbClr val="006FC0"/>
                </a:solidFill>
                <a:latin typeface="Verdana"/>
                <a:cs typeface="Verdana"/>
              </a:rPr>
              <a:t>worldwide</a:t>
            </a:r>
            <a:endParaRPr sz="1400">
              <a:latin typeface="Verdana"/>
              <a:cs typeface="Verdana"/>
            </a:endParaRPr>
          </a:p>
          <a:p>
            <a:pPr marL="241300" indent="-228600">
              <a:lnSpc>
                <a:spcPct val="100000"/>
              </a:lnSpc>
              <a:spcBef>
                <a:spcPts val="815"/>
              </a:spcBef>
              <a:buClr>
                <a:srgbClr val="006FAC"/>
              </a:buClr>
              <a:buFont typeface="Wingdings"/>
              <a:buChar char=""/>
              <a:tabLst>
                <a:tab pos="240665" algn="l"/>
                <a:tab pos="241300" algn="l"/>
              </a:tabLst>
            </a:pPr>
            <a:r>
              <a:rPr sz="1400">
                <a:latin typeface="Verdana"/>
                <a:cs typeface="Verdana"/>
              </a:rPr>
              <a:t>Serving </a:t>
            </a:r>
            <a:r>
              <a:rPr sz="1400" spc="-5">
                <a:solidFill>
                  <a:srgbClr val="006FC0"/>
                </a:solidFill>
                <a:latin typeface="Verdana"/>
                <a:cs typeface="Verdana"/>
              </a:rPr>
              <a:t>~75% </a:t>
            </a:r>
            <a:r>
              <a:rPr sz="1400">
                <a:solidFill>
                  <a:srgbClr val="006FC0"/>
                </a:solidFill>
                <a:latin typeface="Verdana"/>
                <a:cs typeface="Verdana"/>
              </a:rPr>
              <a:t>of </a:t>
            </a:r>
            <a:r>
              <a:rPr sz="1400" spc="-5">
                <a:solidFill>
                  <a:srgbClr val="006FC0"/>
                </a:solidFill>
                <a:latin typeface="Verdana"/>
                <a:cs typeface="Verdana"/>
              </a:rPr>
              <a:t>Fortune 500</a:t>
            </a:r>
            <a:r>
              <a:rPr sz="1400" spc="-65">
                <a:solidFill>
                  <a:srgbClr val="006FC0"/>
                </a:solidFill>
                <a:latin typeface="Verdana"/>
                <a:cs typeface="Verdana"/>
              </a:rPr>
              <a:t> </a:t>
            </a:r>
            <a:r>
              <a:rPr sz="1400">
                <a:latin typeface="Verdana"/>
                <a:cs typeface="Verdana"/>
              </a:rPr>
              <a:t>companies</a:t>
            </a:r>
          </a:p>
          <a:p>
            <a:pPr marL="241300" indent="-228600">
              <a:lnSpc>
                <a:spcPct val="100000"/>
              </a:lnSpc>
              <a:spcBef>
                <a:spcPts val="815"/>
              </a:spcBef>
              <a:buClr>
                <a:srgbClr val="006FAC"/>
              </a:buClr>
              <a:buFont typeface="Wingdings"/>
              <a:buChar char=""/>
              <a:tabLst>
                <a:tab pos="240665" algn="l"/>
                <a:tab pos="241300" algn="l"/>
              </a:tabLst>
            </a:pPr>
            <a:r>
              <a:rPr sz="1400" spc="-5">
                <a:solidFill>
                  <a:srgbClr val="006FC0"/>
                </a:solidFill>
                <a:latin typeface="Verdana"/>
                <a:cs typeface="Verdana"/>
              </a:rPr>
              <a:t>~90,000 </a:t>
            </a:r>
            <a:r>
              <a:rPr sz="1400">
                <a:latin typeface="Verdana"/>
                <a:cs typeface="Verdana"/>
              </a:rPr>
              <a:t>ADM</a:t>
            </a:r>
            <a:r>
              <a:rPr sz="1400" spc="-40">
                <a:latin typeface="Verdana"/>
                <a:cs typeface="Verdana"/>
              </a:rPr>
              <a:t> </a:t>
            </a:r>
            <a:r>
              <a:rPr sz="1400">
                <a:latin typeface="Verdana"/>
                <a:cs typeface="Verdana"/>
              </a:rPr>
              <a:t>staff</a:t>
            </a:r>
          </a:p>
          <a:p>
            <a:pPr marL="241300" indent="-228600">
              <a:lnSpc>
                <a:spcPct val="100000"/>
              </a:lnSpc>
              <a:spcBef>
                <a:spcPts val="830"/>
              </a:spcBef>
              <a:buClr>
                <a:srgbClr val="006FAC"/>
              </a:buClr>
              <a:buFont typeface="Wingdings"/>
              <a:buChar char=""/>
              <a:tabLst>
                <a:tab pos="240665" algn="l"/>
                <a:tab pos="241300" algn="l"/>
              </a:tabLst>
            </a:pPr>
            <a:r>
              <a:rPr sz="1400">
                <a:latin typeface="Verdana"/>
                <a:cs typeface="Verdana"/>
              </a:rPr>
              <a:t>Successfully delivered </a:t>
            </a:r>
            <a:r>
              <a:rPr sz="1400" spc="-5">
                <a:solidFill>
                  <a:srgbClr val="006FC0"/>
                </a:solidFill>
                <a:latin typeface="Verdana"/>
                <a:cs typeface="Verdana"/>
              </a:rPr>
              <a:t>700+</a:t>
            </a:r>
            <a:r>
              <a:rPr sz="1400" spc="-100">
                <a:solidFill>
                  <a:srgbClr val="006FC0"/>
                </a:solidFill>
                <a:latin typeface="Verdana"/>
                <a:cs typeface="Verdana"/>
              </a:rPr>
              <a:t> </a:t>
            </a:r>
            <a:r>
              <a:rPr sz="1400">
                <a:solidFill>
                  <a:srgbClr val="006FC0"/>
                </a:solidFill>
                <a:latin typeface="Verdana"/>
                <a:cs typeface="Verdana"/>
              </a:rPr>
              <a:t>transitions</a:t>
            </a:r>
            <a:endParaRPr sz="1400">
              <a:latin typeface="Verdana"/>
              <a:cs typeface="Verdana"/>
            </a:endParaRPr>
          </a:p>
          <a:p>
            <a:pPr marL="241300" marR="140335" indent="-228600">
              <a:lnSpc>
                <a:spcPct val="113199"/>
              </a:lnSpc>
              <a:spcBef>
                <a:spcPts val="595"/>
              </a:spcBef>
              <a:buClr>
                <a:srgbClr val="006FAC"/>
              </a:buClr>
              <a:buFont typeface="Wingdings"/>
              <a:buChar char=""/>
              <a:tabLst>
                <a:tab pos="240665" algn="l"/>
                <a:tab pos="241300" algn="l"/>
              </a:tabLst>
            </a:pPr>
            <a:r>
              <a:rPr sz="1400">
                <a:latin typeface="Verdana"/>
                <a:cs typeface="Verdana"/>
              </a:rPr>
              <a:t>Services across </a:t>
            </a:r>
            <a:r>
              <a:rPr sz="1400" spc="-5">
                <a:latin typeface="Verdana"/>
                <a:cs typeface="Verdana"/>
              </a:rPr>
              <a:t>Packages </a:t>
            </a:r>
            <a:r>
              <a:rPr sz="1400">
                <a:latin typeface="Verdana"/>
                <a:cs typeface="Verdana"/>
              </a:rPr>
              <a:t>and </a:t>
            </a:r>
            <a:r>
              <a:rPr sz="1400" spc="-5">
                <a:latin typeface="Verdana"/>
                <a:cs typeface="Verdana"/>
              </a:rPr>
              <a:t>Custom-built</a:t>
            </a:r>
            <a:r>
              <a:rPr sz="1400" spc="-114">
                <a:latin typeface="Verdana"/>
                <a:cs typeface="Verdana"/>
              </a:rPr>
              <a:t> </a:t>
            </a:r>
            <a:r>
              <a:rPr sz="1400">
                <a:latin typeface="Verdana"/>
                <a:cs typeface="Verdana"/>
              </a:rPr>
              <a:t>applications  </a:t>
            </a:r>
            <a:r>
              <a:rPr sz="1400" spc="-15">
                <a:latin typeface="Verdana"/>
                <a:cs typeface="Verdana"/>
              </a:rPr>
              <a:t>viz., </a:t>
            </a:r>
            <a:r>
              <a:rPr sz="1400" spc="-55">
                <a:latin typeface="Verdana"/>
                <a:cs typeface="Verdana"/>
              </a:rPr>
              <a:t>ERP, </a:t>
            </a:r>
            <a:r>
              <a:rPr sz="1400">
                <a:latin typeface="Verdana"/>
                <a:cs typeface="Verdana"/>
              </a:rPr>
              <a:t>CRM, Legacy / Client </a:t>
            </a:r>
            <a:r>
              <a:rPr sz="1400" spc="-30">
                <a:latin typeface="Verdana"/>
                <a:cs typeface="Verdana"/>
              </a:rPr>
              <a:t>Server, </a:t>
            </a:r>
            <a:r>
              <a:rPr sz="1400" spc="-5">
                <a:latin typeface="Verdana"/>
                <a:cs typeface="Verdana"/>
              </a:rPr>
              <a:t>EAI, J2EE, </a:t>
            </a:r>
            <a:r>
              <a:rPr sz="1400">
                <a:latin typeface="Verdana"/>
                <a:cs typeface="Verdana"/>
              </a:rPr>
              <a:t>.Net  and BI</a:t>
            </a:r>
            <a:r>
              <a:rPr sz="1400" spc="-25">
                <a:latin typeface="Verdana"/>
                <a:cs typeface="Verdana"/>
              </a:rPr>
              <a:t> </a:t>
            </a:r>
            <a:r>
              <a:rPr sz="1400">
                <a:latin typeface="Verdana"/>
                <a:cs typeface="Verdana"/>
              </a:rPr>
              <a:t>etc.</a:t>
            </a:r>
          </a:p>
        </p:txBody>
      </p:sp>
      <p:sp>
        <p:nvSpPr>
          <p:cNvPr id="9" name="object 9"/>
          <p:cNvSpPr/>
          <p:nvPr/>
        </p:nvSpPr>
        <p:spPr>
          <a:xfrm>
            <a:off x="11439143" y="836675"/>
            <a:ext cx="629411" cy="603503"/>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265175" y="3493008"/>
            <a:ext cx="5526024" cy="2862072"/>
          </a:xfrm>
          <a:prstGeom prst="rect">
            <a:avLst/>
          </a:prstGeom>
          <a:blipFill>
            <a:blip r:embed="rId3" cstate="print"/>
            <a:stretch>
              <a:fillRect/>
            </a:stretch>
          </a:blipFill>
        </p:spPr>
        <p:txBody>
          <a:bodyPr wrap="square" lIns="0" tIns="0" rIns="0" bIns="0" rtlCol="0"/>
          <a:lstStyle/>
          <a:p>
            <a:endParaRPr/>
          </a:p>
        </p:txBody>
      </p:sp>
      <p:graphicFrame>
        <p:nvGraphicFramePr>
          <p:cNvPr id="11" name="object 11"/>
          <p:cNvGraphicFramePr>
            <a:graphicFrameLocks noGrp="1"/>
          </p:cNvGraphicFramePr>
          <p:nvPr/>
        </p:nvGraphicFramePr>
        <p:xfrm>
          <a:off x="5957315" y="1499616"/>
          <a:ext cx="5983604" cy="4802124"/>
        </p:xfrm>
        <a:graphic>
          <a:graphicData uri="http://schemas.openxmlformats.org/drawingml/2006/table">
            <a:tbl>
              <a:tblPr firstRow="1" bandRow="1">
                <a:tableStyleId>{2D5ABB26-0587-4C30-8999-92F81FD0307C}</a:tableStyleId>
              </a:tblPr>
              <a:tblGrid>
                <a:gridCol w="1012190">
                  <a:extLst>
                    <a:ext uri="{9D8B030D-6E8A-4147-A177-3AD203B41FA5}">
                      <a16:colId xmlns:a16="http://schemas.microsoft.com/office/drawing/2014/main" val="20000"/>
                    </a:ext>
                  </a:extLst>
                </a:gridCol>
                <a:gridCol w="918845">
                  <a:extLst>
                    <a:ext uri="{9D8B030D-6E8A-4147-A177-3AD203B41FA5}">
                      <a16:colId xmlns:a16="http://schemas.microsoft.com/office/drawing/2014/main" val="20001"/>
                    </a:ext>
                  </a:extLst>
                </a:gridCol>
                <a:gridCol w="85089">
                  <a:extLst>
                    <a:ext uri="{9D8B030D-6E8A-4147-A177-3AD203B41FA5}">
                      <a16:colId xmlns:a16="http://schemas.microsoft.com/office/drawing/2014/main" val="20002"/>
                    </a:ext>
                  </a:extLst>
                </a:gridCol>
                <a:gridCol w="2157095">
                  <a:extLst>
                    <a:ext uri="{9D8B030D-6E8A-4147-A177-3AD203B41FA5}">
                      <a16:colId xmlns:a16="http://schemas.microsoft.com/office/drawing/2014/main" val="20003"/>
                    </a:ext>
                  </a:extLst>
                </a:gridCol>
                <a:gridCol w="879475">
                  <a:extLst>
                    <a:ext uri="{9D8B030D-6E8A-4147-A177-3AD203B41FA5}">
                      <a16:colId xmlns:a16="http://schemas.microsoft.com/office/drawing/2014/main" val="20004"/>
                    </a:ext>
                  </a:extLst>
                </a:gridCol>
                <a:gridCol w="930910">
                  <a:extLst>
                    <a:ext uri="{9D8B030D-6E8A-4147-A177-3AD203B41FA5}">
                      <a16:colId xmlns:a16="http://schemas.microsoft.com/office/drawing/2014/main" val="20005"/>
                    </a:ext>
                  </a:extLst>
                </a:gridCol>
              </a:tblGrid>
              <a:tr h="231648">
                <a:tc gridSpan="2">
                  <a:txBody>
                    <a:bodyPr/>
                    <a:lstStyle/>
                    <a:p>
                      <a:pPr algn="ctr">
                        <a:lnSpc>
                          <a:spcPct val="100000"/>
                        </a:lnSpc>
                        <a:spcBef>
                          <a:spcPts val="75"/>
                        </a:spcBef>
                      </a:pPr>
                      <a:r>
                        <a:rPr sz="1200" b="1">
                          <a:solidFill>
                            <a:srgbClr val="FFFFFF"/>
                          </a:solidFill>
                          <a:latin typeface="Verdana"/>
                          <a:cs typeface="Verdana"/>
                        </a:rPr>
                        <a:t>APAC</a:t>
                      </a:r>
                      <a:endParaRPr sz="1200">
                        <a:latin typeface="Verdana"/>
                        <a:cs typeface="Verdana"/>
                      </a:endParaRPr>
                    </a:p>
                  </a:txBody>
                  <a:tcPr marL="0" marR="0" marT="9525" marB="0">
                    <a:solidFill>
                      <a:srgbClr val="006FAC"/>
                    </a:solidFill>
                  </a:tcPr>
                </a:tc>
                <a:tc hMerge="1">
                  <a:txBody>
                    <a:bodyPr/>
                    <a:lstStyle/>
                    <a:p>
                      <a:endParaRPr/>
                    </a:p>
                  </a:txBody>
                  <a:tcPr marL="0" marR="0" marT="0" marB="0"/>
                </a:tc>
                <a:tc rowSpan="2">
                  <a:txBody>
                    <a:bodyPr/>
                    <a:lstStyle/>
                    <a:p>
                      <a:pPr>
                        <a:lnSpc>
                          <a:spcPct val="100000"/>
                        </a:lnSpc>
                      </a:pPr>
                      <a:endParaRPr sz="1000">
                        <a:latin typeface="Times New Roman"/>
                        <a:cs typeface="Times New Roman"/>
                      </a:endParaRPr>
                    </a:p>
                  </a:txBody>
                  <a:tcPr marL="0" marR="0" marT="0" marB="0"/>
                </a:tc>
                <a:tc gridSpan="3">
                  <a:txBody>
                    <a:bodyPr/>
                    <a:lstStyle/>
                    <a:p>
                      <a:pPr marL="2540" algn="ctr">
                        <a:lnSpc>
                          <a:spcPct val="100000"/>
                        </a:lnSpc>
                        <a:spcBef>
                          <a:spcPts val="180"/>
                        </a:spcBef>
                      </a:pPr>
                      <a:r>
                        <a:rPr sz="1200" b="1" spc="-5">
                          <a:solidFill>
                            <a:srgbClr val="FFFFFF"/>
                          </a:solidFill>
                          <a:latin typeface="Verdana"/>
                          <a:cs typeface="Verdana"/>
                        </a:rPr>
                        <a:t>EUROPE</a:t>
                      </a:r>
                      <a:endParaRPr sz="1200">
                        <a:latin typeface="Verdana"/>
                        <a:cs typeface="Verdana"/>
                      </a:endParaRPr>
                    </a:p>
                  </a:txBody>
                  <a:tcPr marL="0" marR="0" marT="22860" marB="0">
                    <a:solidFill>
                      <a:srgbClr val="006FAC"/>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831592">
                <a:tc gridSpan="2">
                  <a:txBody>
                    <a:bodyPr/>
                    <a:lstStyle/>
                    <a:p>
                      <a:pPr marL="59055">
                        <a:lnSpc>
                          <a:spcPct val="100000"/>
                        </a:lnSpc>
                        <a:spcBef>
                          <a:spcPts val="335"/>
                        </a:spcBef>
                        <a:tabLst>
                          <a:tab pos="1026160" algn="l"/>
                        </a:tabLst>
                      </a:pPr>
                      <a:r>
                        <a:rPr sz="900" b="1" spc="-5">
                          <a:latin typeface="Verdana"/>
                          <a:cs typeface="Verdana"/>
                        </a:rPr>
                        <a:t>India	China</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2B133C"/>
                          </a:solidFill>
                          <a:latin typeface="Verdana"/>
                          <a:cs typeface="Verdana"/>
                        </a:rPr>
                        <a:t>Mumbai	</a:t>
                      </a:r>
                      <a:r>
                        <a:rPr sz="900">
                          <a:solidFill>
                            <a:srgbClr val="006FAC"/>
                          </a:solidFill>
                          <a:latin typeface="Arial"/>
                          <a:cs typeface="Arial"/>
                        </a:rPr>
                        <a:t>•</a:t>
                      </a:r>
                      <a:r>
                        <a:rPr sz="900" spc="65">
                          <a:solidFill>
                            <a:srgbClr val="006FAC"/>
                          </a:solidFill>
                          <a:latin typeface="Arial"/>
                          <a:cs typeface="Arial"/>
                        </a:rPr>
                        <a:t> </a:t>
                      </a:r>
                      <a:r>
                        <a:rPr sz="900" spc="-5">
                          <a:solidFill>
                            <a:srgbClr val="2B133C"/>
                          </a:solidFill>
                          <a:latin typeface="Verdana"/>
                          <a:cs typeface="Verdana"/>
                        </a:rPr>
                        <a:t>Beijing</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2B133C"/>
                          </a:solidFill>
                          <a:latin typeface="Verdana"/>
                          <a:cs typeface="Verdana"/>
                        </a:rPr>
                        <a:t>Bangalore	</a:t>
                      </a:r>
                      <a:r>
                        <a:rPr sz="900">
                          <a:solidFill>
                            <a:srgbClr val="006FAC"/>
                          </a:solidFill>
                          <a:latin typeface="Arial"/>
                          <a:cs typeface="Arial"/>
                        </a:rPr>
                        <a:t>•</a:t>
                      </a:r>
                      <a:r>
                        <a:rPr sz="900" spc="55">
                          <a:solidFill>
                            <a:srgbClr val="006FAC"/>
                          </a:solidFill>
                          <a:latin typeface="Arial"/>
                          <a:cs typeface="Arial"/>
                        </a:rPr>
                        <a:t> </a:t>
                      </a:r>
                      <a:r>
                        <a:rPr sz="900" spc="-5">
                          <a:solidFill>
                            <a:srgbClr val="2B133C"/>
                          </a:solidFill>
                          <a:latin typeface="Verdana"/>
                          <a:cs typeface="Verdana"/>
                        </a:rPr>
                        <a:t>Shanghai</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2B133C"/>
                          </a:solidFill>
                          <a:latin typeface="Verdana"/>
                          <a:cs typeface="Verdana"/>
                        </a:rPr>
                        <a:t>Chennai	</a:t>
                      </a:r>
                      <a:r>
                        <a:rPr sz="900">
                          <a:solidFill>
                            <a:srgbClr val="006FAC"/>
                          </a:solidFill>
                          <a:latin typeface="Arial"/>
                          <a:cs typeface="Arial"/>
                        </a:rPr>
                        <a:t>•  </a:t>
                      </a:r>
                      <a:r>
                        <a:rPr sz="900" spc="-5">
                          <a:solidFill>
                            <a:srgbClr val="2B133C"/>
                          </a:solidFill>
                          <a:latin typeface="Verdana"/>
                          <a:cs typeface="Verdana"/>
                        </a:rPr>
                        <a:t>Foshan</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a:solidFill>
                            <a:srgbClr val="2B133C"/>
                          </a:solidFill>
                          <a:latin typeface="Verdana"/>
                          <a:cs typeface="Verdana"/>
                        </a:rPr>
                        <a:t>Kolkata	</a:t>
                      </a:r>
                      <a:r>
                        <a:rPr sz="900">
                          <a:solidFill>
                            <a:srgbClr val="006FAC"/>
                          </a:solidFill>
                          <a:latin typeface="Arial"/>
                          <a:cs typeface="Arial"/>
                        </a:rPr>
                        <a:t>•</a:t>
                      </a:r>
                      <a:r>
                        <a:rPr sz="900" spc="245">
                          <a:solidFill>
                            <a:srgbClr val="006FAC"/>
                          </a:solidFill>
                          <a:latin typeface="Arial"/>
                          <a:cs typeface="Arial"/>
                        </a:rPr>
                        <a:t> </a:t>
                      </a:r>
                      <a:r>
                        <a:rPr sz="900" spc="-5">
                          <a:solidFill>
                            <a:srgbClr val="2B133C"/>
                          </a:solidFill>
                          <a:latin typeface="Verdana"/>
                          <a:cs typeface="Verdana"/>
                        </a:rPr>
                        <a:t>Taiwan</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2B133C"/>
                          </a:solidFill>
                          <a:latin typeface="Verdana"/>
                          <a:cs typeface="Verdana"/>
                        </a:rPr>
                        <a:t>Hyderabad	</a:t>
                      </a:r>
                      <a:r>
                        <a:rPr sz="900">
                          <a:solidFill>
                            <a:srgbClr val="006FAC"/>
                          </a:solidFill>
                          <a:latin typeface="Arial"/>
                          <a:cs typeface="Arial"/>
                        </a:rPr>
                        <a:t>•</a:t>
                      </a:r>
                      <a:r>
                        <a:rPr sz="900" spc="45">
                          <a:solidFill>
                            <a:srgbClr val="006FAC"/>
                          </a:solidFill>
                          <a:latin typeface="Arial"/>
                          <a:cs typeface="Arial"/>
                        </a:rPr>
                        <a:t> </a:t>
                      </a:r>
                      <a:r>
                        <a:rPr sz="900" spc="-5">
                          <a:solidFill>
                            <a:srgbClr val="2B133C"/>
                          </a:solidFill>
                          <a:latin typeface="Verdana"/>
                          <a:cs typeface="Verdana"/>
                        </a:rPr>
                        <a:t>Guangzhou</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2B133C"/>
                          </a:solidFill>
                          <a:latin typeface="Verdana"/>
                          <a:cs typeface="Verdana"/>
                        </a:rPr>
                        <a:t>Pune	</a:t>
                      </a:r>
                      <a:r>
                        <a:rPr sz="900">
                          <a:solidFill>
                            <a:srgbClr val="006FAC"/>
                          </a:solidFill>
                          <a:latin typeface="Arial"/>
                          <a:cs typeface="Arial"/>
                        </a:rPr>
                        <a:t>•</a:t>
                      </a:r>
                      <a:r>
                        <a:rPr sz="900" spc="235">
                          <a:solidFill>
                            <a:srgbClr val="006FAC"/>
                          </a:solidFill>
                          <a:latin typeface="Arial"/>
                          <a:cs typeface="Arial"/>
                        </a:rPr>
                        <a:t> </a:t>
                      </a:r>
                      <a:r>
                        <a:rPr sz="900" spc="-5">
                          <a:solidFill>
                            <a:srgbClr val="2B133C"/>
                          </a:solidFill>
                          <a:latin typeface="Verdana"/>
                          <a:cs typeface="Verdana"/>
                        </a:rPr>
                        <a:t>Kunshan</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7E7E7E"/>
                          </a:solidFill>
                          <a:latin typeface="Verdana"/>
                          <a:cs typeface="Verdana"/>
                        </a:rPr>
                        <a:t>Trichy	</a:t>
                      </a:r>
                      <a:r>
                        <a:rPr sz="900">
                          <a:solidFill>
                            <a:srgbClr val="006FAC"/>
                          </a:solidFill>
                          <a:latin typeface="Arial"/>
                          <a:cs typeface="Arial"/>
                        </a:rPr>
                        <a:t>• </a:t>
                      </a:r>
                      <a:r>
                        <a:rPr sz="900" spc="5">
                          <a:solidFill>
                            <a:srgbClr val="006FAC"/>
                          </a:solidFill>
                          <a:latin typeface="Arial"/>
                          <a:cs typeface="Arial"/>
                        </a:rPr>
                        <a:t> </a:t>
                      </a:r>
                      <a:r>
                        <a:rPr sz="900" spc="-5">
                          <a:solidFill>
                            <a:srgbClr val="2B133C"/>
                          </a:solidFill>
                          <a:latin typeface="Verdana"/>
                          <a:cs typeface="Verdana"/>
                        </a:rPr>
                        <a:t>HuaQiao</a:t>
                      </a:r>
                      <a:endParaRPr sz="900">
                        <a:latin typeface="Verdana"/>
                        <a:cs typeface="Verdana"/>
                      </a:endParaRPr>
                    </a:p>
                    <a:p>
                      <a:pPr marL="173355" indent="-114935">
                        <a:lnSpc>
                          <a:spcPct val="100000"/>
                        </a:lnSpc>
                        <a:buClr>
                          <a:srgbClr val="006FAC"/>
                        </a:buClr>
                        <a:buFont typeface="Arial"/>
                        <a:buChar char="•"/>
                        <a:tabLst>
                          <a:tab pos="173990" algn="l"/>
                        </a:tabLst>
                      </a:pPr>
                      <a:r>
                        <a:rPr sz="900" spc="-5">
                          <a:solidFill>
                            <a:srgbClr val="7E7E7E"/>
                          </a:solidFill>
                          <a:latin typeface="Verdana"/>
                          <a:cs typeface="Verdana"/>
                        </a:rPr>
                        <a:t>Trivandrum</a:t>
                      </a:r>
                      <a:endParaRPr sz="900">
                        <a:latin typeface="Verdana"/>
                        <a:cs typeface="Verdana"/>
                      </a:endParaRPr>
                    </a:p>
                    <a:p>
                      <a:pPr marL="1026160">
                        <a:lnSpc>
                          <a:spcPct val="100000"/>
                        </a:lnSpc>
                      </a:pPr>
                      <a:r>
                        <a:rPr sz="900" b="1" spc="-5">
                          <a:latin typeface="Verdana"/>
                          <a:cs typeface="Verdana"/>
                        </a:rPr>
                        <a:t>Middle</a:t>
                      </a:r>
                      <a:r>
                        <a:rPr sz="900" b="1" spc="-10">
                          <a:latin typeface="Verdana"/>
                          <a:cs typeface="Verdana"/>
                        </a:rPr>
                        <a:t> </a:t>
                      </a:r>
                      <a:r>
                        <a:rPr sz="900" b="1" spc="-5">
                          <a:latin typeface="Verdana"/>
                          <a:cs typeface="Verdana"/>
                        </a:rPr>
                        <a:t>East</a:t>
                      </a:r>
                      <a:endParaRPr sz="900">
                        <a:latin typeface="Verdana"/>
                        <a:cs typeface="Verdana"/>
                      </a:endParaRPr>
                    </a:p>
                    <a:p>
                      <a:pPr marL="59055">
                        <a:lnSpc>
                          <a:spcPct val="100000"/>
                        </a:lnSpc>
                        <a:tabLst>
                          <a:tab pos="1026160" algn="l"/>
                        </a:tabLst>
                      </a:pPr>
                      <a:r>
                        <a:rPr sz="900" b="1" spc="-5">
                          <a:latin typeface="Verdana"/>
                          <a:cs typeface="Verdana"/>
                        </a:rPr>
                        <a:t>Australia	</a:t>
                      </a:r>
                      <a:r>
                        <a:rPr sz="900">
                          <a:solidFill>
                            <a:srgbClr val="006FAC"/>
                          </a:solidFill>
                          <a:latin typeface="Arial"/>
                          <a:cs typeface="Arial"/>
                        </a:rPr>
                        <a:t>•</a:t>
                      </a:r>
                      <a:r>
                        <a:rPr sz="900" spc="65">
                          <a:solidFill>
                            <a:srgbClr val="006FAC"/>
                          </a:solidFill>
                          <a:latin typeface="Arial"/>
                          <a:cs typeface="Arial"/>
                        </a:rPr>
                        <a:t> </a:t>
                      </a:r>
                      <a:r>
                        <a:rPr sz="900" spc="-5">
                          <a:solidFill>
                            <a:srgbClr val="7E7E7E"/>
                          </a:solidFill>
                          <a:latin typeface="Verdana"/>
                          <a:cs typeface="Verdana"/>
                        </a:rPr>
                        <a:t>Dubai</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spc="-5">
                          <a:solidFill>
                            <a:srgbClr val="7E7E7E"/>
                          </a:solidFill>
                          <a:latin typeface="Verdana"/>
                          <a:cs typeface="Verdana"/>
                        </a:rPr>
                        <a:t>Sydney	</a:t>
                      </a:r>
                      <a:r>
                        <a:rPr sz="900">
                          <a:solidFill>
                            <a:srgbClr val="006FAC"/>
                          </a:solidFill>
                          <a:latin typeface="Arial"/>
                          <a:cs typeface="Arial"/>
                        </a:rPr>
                        <a:t>• </a:t>
                      </a:r>
                      <a:r>
                        <a:rPr sz="900" spc="-5">
                          <a:solidFill>
                            <a:srgbClr val="7E7E7E"/>
                          </a:solidFill>
                          <a:latin typeface="Verdana"/>
                          <a:cs typeface="Verdana"/>
                        </a:rPr>
                        <a:t>Saudi</a:t>
                      </a:r>
                      <a:r>
                        <a:rPr sz="900" spc="20">
                          <a:solidFill>
                            <a:srgbClr val="7E7E7E"/>
                          </a:solidFill>
                          <a:latin typeface="Verdana"/>
                          <a:cs typeface="Verdana"/>
                        </a:rPr>
                        <a:t> </a:t>
                      </a:r>
                      <a:r>
                        <a:rPr sz="900">
                          <a:solidFill>
                            <a:srgbClr val="7E7E7E"/>
                          </a:solidFill>
                          <a:latin typeface="Verdana"/>
                          <a:cs typeface="Verdana"/>
                        </a:rPr>
                        <a:t>Arabia</a:t>
                      </a:r>
                      <a:endParaRPr sz="900">
                        <a:latin typeface="Verdana"/>
                        <a:cs typeface="Verdana"/>
                      </a:endParaRPr>
                    </a:p>
                    <a:p>
                      <a:pPr marL="173355" indent="-114935">
                        <a:lnSpc>
                          <a:spcPct val="100000"/>
                        </a:lnSpc>
                        <a:buClr>
                          <a:srgbClr val="006FAC"/>
                        </a:buClr>
                        <a:buFont typeface="Arial"/>
                        <a:buChar char="•"/>
                        <a:tabLst>
                          <a:tab pos="173990" algn="l"/>
                        </a:tabLst>
                      </a:pPr>
                      <a:r>
                        <a:rPr sz="900" spc="-5">
                          <a:solidFill>
                            <a:srgbClr val="7E7E7E"/>
                          </a:solidFill>
                          <a:latin typeface="Verdana"/>
                          <a:cs typeface="Verdana"/>
                        </a:rPr>
                        <a:t>Melbourne</a:t>
                      </a:r>
                      <a:endParaRPr sz="900">
                        <a:latin typeface="Verdana"/>
                        <a:cs typeface="Verdana"/>
                      </a:endParaRPr>
                    </a:p>
                    <a:p>
                      <a:pPr marL="59055" marR="190500" indent="967105">
                        <a:lnSpc>
                          <a:spcPct val="100000"/>
                        </a:lnSpc>
                        <a:tabLst>
                          <a:tab pos="1026160" algn="l"/>
                        </a:tabLst>
                      </a:pPr>
                      <a:r>
                        <a:rPr sz="900" b="1" spc="-5">
                          <a:latin typeface="Verdana"/>
                          <a:cs typeface="Verdana"/>
                        </a:rPr>
                        <a:t>Singapore  </a:t>
                      </a:r>
                      <a:r>
                        <a:rPr sz="900" b="1">
                          <a:latin typeface="Verdana"/>
                          <a:cs typeface="Verdana"/>
                        </a:rPr>
                        <a:t>N</a:t>
                      </a:r>
                      <a:r>
                        <a:rPr sz="900" b="1" spc="-5">
                          <a:latin typeface="Verdana"/>
                          <a:cs typeface="Verdana"/>
                        </a:rPr>
                        <a:t>e</a:t>
                      </a:r>
                      <a:r>
                        <a:rPr sz="900" b="1">
                          <a:latin typeface="Verdana"/>
                          <a:cs typeface="Verdana"/>
                        </a:rPr>
                        <a:t>w</a:t>
                      </a:r>
                      <a:r>
                        <a:rPr sz="900" b="1" spc="10">
                          <a:latin typeface="Verdana"/>
                          <a:cs typeface="Verdana"/>
                        </a:rPr>
                        <a:t> </a:t>
                      </a:r>
                      <a:r>
                        <a:rPr sz="900" b="1">
                          <a:latin typeface="Verdana"/>
                          <a:cs typeface="Verdana"/>
                        </a:rPr>
                        <a:t>Zeala</a:t>
                      </a:r>
                      <a:r>
                        <a:rPr sz="900" b="1" spc="-10">
                          <a:latin typeface="Verdana"/>
                          <a:cs typeface="Verdana"/>
                        </a:rPr>
                        <a:t>n</a:t>
                      </a:r>
                      <a:r>
                        <a:rPr sz="900" b="1">
                          <a:latin typeface="Verdana"/>
                          <a:cs typeface="Verdana"/>
                        </a:rPr>
                        <a:t>d	P</a:t>
                      </a:r>
                      <a:r>
                        <a:rPr sz="900" b="1" spc="-5">
                          <a:latin typeface="Verdana"/>
                          <a:cs typeface="Verdana"/>
                        </a:rPr>
                        <a:t>h</a:t>
                      </a:r>
                      <a:r>
                        <a:rPr sz="900" b="1">
                          <a:latin typeface="Verdana"/>
                          <a:cs typeface="Verdana"/>
                        </a:rPr>
                        <a:t>ili</a:t>
                      </a:r>
                      <a:r>
                        <a:rPr sz="900" b="1" spc="-10">
                          <a:latin typeface="Verdana"/>
                          <a:cs typeface="Verdana"/>
                        </a:rPr>
                        <a:t>pp</a:t>
                      </a:r>
                      <a:r>
                        <a:rPr sz="900" b="1">
                          <a:latin typeface="Verdana"/>
                          <a:cs typeface="Verdana"/>
                        </a:rPr>
                        <a:t>i</a:t>
                      </a:r>
                      <a:r>
                        <a:rPr sz="900" b="1" spc="-5">
                          <a:latin typeface="Verdana"/>
                          <a:cs typeface="Verdana"/>
                        </a:rPr>
                        <a:t>nes</a:t>
                      </a:r>
                      <a:endParaRPr sz="900">
                        <a:latin typeface="Verdana"/>
                        <a:cs typeface="Verdana"/>
                      </a:endParaRPr>
                    </a:p>
                    <a:p>
                      <a:pPr marL="173355" indent="-114935">
                        <a:lnSpc>
                          <a:spcPct val="100000"/>
                        </a:lnSpc>
                        <a:buClr>
                          <a:srgbClr val="006FAC"/>
                        </a:buClr>
                        <a:buFont typeface="Arial"/>
                        <a:buChar char="•"/>
                        <a:tabLst>
                          <a:tab pos="173990" algn="l"/>
                          <a:tab pos="1026160" algn="l"/>
                        </a:tabLst>
                      </a:pPr>
                      <a:r>
                        <a:rPr sz="900">
                          <a:solidFill>
                            <a:srgbClr val="7E7E7E"/>
                          </a:solidFill>
                          <a:latin typeface="Verdana"/>
                          <a:cs typeface="Verdana"/>
                        </a:rPr>
                        <a:t>Wellington	</a:t>
                      </a:r>
                      <a:r>
                        <a:rPr sz="900" b="1" spc="-5">
                          <a:latin typeface="Verdana"/>
                          <a:cs typeface="Verdana"/>
                        </a:rPr>
                        <a:t>South</a:t>
                      </a:r>
                      <a:r>
                        <a:rPr sz="900" b="1" spc="-20">
                          <a:latin typeface="Verdana"/>
                          <a:cs typeface="Verdana"/>
                        </a:rPr>
                        <a:t> </a:t>
                      </a:r>
                      <a:r>
                        <a:rPr sz="900" b="1" spc="-5">
                          <a:latin typeface="Verdana"/>
                          <a:cs typeface="Verdana"/>
                        </a:rPr>
                        <a:t>Africa</a:t>
                      </a:r>
                      <a:endParaRPr sz="900">
                        <a:latin typeface="Verdana"/>
                        <a:cs typeface="Verdana"/>
                      </a:endParaRPr>
                    </a:p>
                    <a:p>
                      <a:pPr>
                        <a:lnSpc>
                          <a:spcPct val="100000"/>
                        </a:lnSpc>
                        <a:spcBef>
                          <a:spcPts val="50"/>
                        </a:spcBef>
                        <a:buClr>
                          <a:srgbClr val="006FAC"/>
                        </a:buClr>
                        <a:buFont typeface="Arial"/>
                        <a:buChar char="•"/>
                      </a:pPr>
                      <a:endParaRPr sz="900">
                        <a:latin typeface="Times New Roman"/>
                        <a:cs typeface="Times New Roman"/>
                      </a:endParaRPr>
                    </a:p>
                    <a:p>
                      <a:pPr marL="59055">
                        <a:lnSpc>
                          <a:spcPct val="100000"/>
                        </a:lnSpc>
                      </a:pPr>
                      <a:r>
                        <a:rPr sz="900" b="1" spc="-5">
                          <a:latin typeface="Verdana"/>
                          <a:cs typeface="Verdana"/>
                        </a:rPr>
                        <a:t>Japan</a:t>
                      </a:r>
                      <a:endParaRPr sz="900">
                        <a:latin typeface="Verdana"/>
                        <a:cs typeface="Verdana"/>
                      </a:endParaRPr>
                    </a:p>
                    <a:p>
                      <a:pPr marL="173355" indent="-114935">
                        <a:lnSpc>
                          <a:spcPct val="100000"/>
                        </a:lnSpc>
                        <a:buClr>
                          <a:srgbClr val="006FAC"/>
                        </a:buClr>
                        <a:buFont typeface="Arial"/>
                        <a:buChar char="•"/>
                        <a:tabLst>
                          <a:tab pos="173990" algn="l"/>
                        </a:tabLst>
                      </a:pPr>
                      <a:r>
                        <a:rPr sz="900" spc="-5">
                          <a:solidFill>
                            <a:srgbClr val="7E7E7E"/>
                          </a:solidFill>
                          <a:latin typeface="Verdana"/>
                          <a:cs typeface="Verdana"/>
                        </a:rPr>
                        <a:t>Tokyo</a:t>
                      </a:r>
                      <a:endParaRPr sz="900">
                        <a:latin typeface="Verdana"/>
                        <a:cs typeface="Verdana"/>
                      </a:endParaRPr>
                    </a:p>
                  </a:txBody>
                  <a:tcPr marL="0" marR="0" marT="42545" marB="0">
                    <a:lnL w="3175">
                      <a:solidFill>
                        <a:srgbClr val="006FAC"/>
                      </a:solidFill>
                      <a:prstDash val="solid"/>
                    </a:lnL>
                    <a:lnR w="3175">
                      <a:solidFill>
                        <a:srgbClr val="006FAC"/>
                      </a:solidFill>
                      <a:prstDash val="solid"/>
                    </a:lnR>
                    <a:lnB w="3175">
                      <a:solidFill>
                        <a:srgbClr val="006FAC"/>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102235">
                        <a:lnSpc>
                          <a:spcPct val="100000"/>
                        </a:lnSpc>
                        <a:spcBef>
                          <a:spcPts val="335"/>
                        </a:spcBef>
                        <a:tabLst>
                          <a:tab pos="1061085" algn="l"/>
                        </a:tabLst>
                      </a:pPr>
                      <a:r>
                        <a:rPr sz="900" b="1" spc="-5">
                          <a:latin typeface="Verdana"/>
                          <a:cs typeface="Verdana"/>
                        </a:rPr>
                        <a:t>Germany	The</a:t>
                      </a:r>
                      <a:r>
                        <a:rPr sz="900" b="1" spc="-80">
                          <a:latin typeface="Verdana"/>
                          <a:cs typeface="Verdana"/>
                        </a:rPr>
                        <a:t> </a:t>
                      </a:r>
                      <a:r>
                        <a:rPr sz="900" b="1" spc="-5">
                          <a:latin typeface="Verdana"/>
                          <a:cs typeface="Verdana"/>
                        </a:rPr>
                        <a:t>Netherlands</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spc="-5">
                          <a:solidFill>
                            <a:srgbClr val="7E7E7E"/>
                          </a:solidFill>
                          <a:latin typeface="Verdana"/>
                          <a:cs typeface="Verdana"/>
                        </a:rPr>
                        <a:t>Rüsselsheim	</a:t>
                      </a:r>
                      <a:r>
                        <a:rPr sz="900">
                          <a:solidFill>
                            <a:srgbClr val="006FAC"/>
                          </a:solidFill>
                          <a:latin typeface="Arial"/>
                          <a:cs typeface="Arial"/>
                        </a:rPr>
                        <a:t>• </a:t>
                      </a:r>
                      <a:r>
                        <a:rPr sz="900" spc="20">
                          <a:solidFill>
                            <a:srgbClr val="006FAC"/>
                          </a:solidFill>
                          <a:latin typeface="Arial"/>
                          <a:cs typeface="Arial"/>
                        </a:rPr>
                        <a:t> </a:t>
                      </a:r>
                      <a:r>
                        <a:rPr sz="900" spc="-5">
                          <a:solidFill>
                            <a:srgbClr val="7E7E7E"/>
                          </a:solidFill>
                          <a:latin typeface="Verdana"/>
                          <a:cs typeface="Verdana"/>
                        </a:rPr>
                        <a:t>Amsterdam</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spc="-5">
                          <a:solidFill>
                            <a:srgbClr val="7E7E7E"/>
                          </a:solidFill>
                          <a:latin typeface="Verdana"/>
                          <a:cs typeface="Verdana"/>
                        </a:rPr>
                        <a:t>Offenbach	</a:t>
                      </a:r>
                      <a:r>
                        <a:rPr sz="900">
                          <a:solidFill>
                            <a:srgbClr val="006FAC"/>
                          </a:solidFill>
                          <a:latin typeface="Arial"/>
                          <a:cs typeface="Arial"/>
                        </a:rPr>
                        <a:t>•</a:t>
                      </a:r>
                      <a:r>
                        <a:rPr sz="900" spc="70">
                          <a:solidFill>
                            <a:srgbClr val="006FAC"/>
                          </a:solidFill>
                          <a:latin typeface="Arial"/>
                          <a:cs typeface="Arial"/>
                        </a:rPr>
                        <a:t> </a:t>
                      </a:r>
                      <a:r>
                        <a:rPr sz="900" spc="-5">
                          <a:solidFill>
                            <a:srgbClr val="7E7E7E"/>
                          </a:solidFill>
                          <a:latin typeface="Verdana"/>
                          <a:cs typeface="Verdana"/>
                        </a:rPr>
                        <a:t>Utrecht</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a:solidFill>
                            <a:srgbClr val="7E7E7E"/>
                          </a:solidFill>
                          <a:latin typeface="Verdana"/>
                          <a:cs typeface="Verdana"/>
                        </a:rPr>
                        <a:t>Düsseldorf	</a:t>
                      </a:r>
                      <a:r>
                        <a:rPr sz="900">
                          <a:solidFill>
                            <a:srgbClr val="006FAC"/>
                          </a:solidFill>
                          <a:latin typeface="Arial"/>
                          <a:cs typeface="Arial"/>
                        </a:rPr>
                        <a:t>•</a:t>
                      </a:r>
                      <a:r>
                        <a:rPr sz="900" spc="65">
                          <a:solidFill>
                            <a:srgbClr val="006FAC"/>
                          </a:solidFill>
                          <a:latin typeface="Arial"/>
                          <a:cs typeface="Arial"/>
                        </a:rPr>
                        <a:t> </a:t>
                      </a:r>
                      <a:r>
                        <a:rPr sz="900">
                          <a:solidFill>
                            <a:srgbClr val="7E7E7E"/>
                          </a:solidFill>
                          <a:latin typeface="Verdana"/>
                          <a:cs typeface="Verdana"/>
                        </a:rPr>
                        <a:t>Heerlen</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spc="-5">
                          <a:solidFill>
                            <a:srgbClr val="7E7E7E"/>
                          </a:solidFill>
                          <a:latin typeface="Verdana"/>
                          <a:cs typeface="Verdana"/>
                        </a:rPr>
                        <a:t>Lüebeck	</a:t>
                      </a:r>
                      <a:r>
                        <a:rPr sz="900">
                          <a:solidFill>
                            <a:srgbClr val="006FAC"/>
                          </a:solidFill>
                          <a:latin typeface="Arial"/>
                          <a:cs typeface="Arial"/>
                        </a:rPr>
                        <a:t>•</a:t>
                      </a:r>
                      <a:r>
                        <a:rPr sz="900" spc="70">
                          <a:solidFill>
                            <a:srgbClr val="006FAC"/>
                          </a:solidFill>
                          <a:latin typeface="Arial"/>
                          <a:cs typeface="Arial"/>
                        </a:rPr>
                        <a:t> </a:t>
                      </a:r>
                      <a:r>
                        <a:rPr sz="900" spc="-5">
                          <a:solidFill>
                            <a:srgbClr val="7E7E7E"/>
                          </a:solidFill>
                          <a:latin typeface="Verdana"/>
                          <a:cs typeface="Verdana"/>
                        </a:rPr>
                        <a:t>Apeldoorn</a:t>
                      </a:r>
                      <a:endParaRPr sz="900">
                        <a:latin typeface="Verdana"/>
                        <a:cs typeface="Verdana"/>
                      </a:endParaRPr>
                    </a:p>
                    <a:p>
                      <a:pPr marL="216535" indent="-114935">
                        <a:lnSpc>
                          <a:spcPct val="100000"/>
                        </a:lnSpc>
                        <a:buClr>
                          <a:srgbClr val="006FAC"/>
                        </a:buClr>
                        <a:buFont typeface="Arial"/>
                        <a:buChar char="•"/>
                        <a:tabLst>
                          <a:tab pos="217170" algn="l"/>
                        </a:tabLst>
                      </a:pPr>
                      <a:r>
                        <a:rPr sz="900" spc="-5">
                          <a:solidFill>
                            <a:srgbClr val="7E7E7E"/>
                          </a:solidFill>
                          <a:latin typeface="Verdana"/>
                          <a:cs typeface="Verdana"/>
                        </a:rPr>
                        <a:t>Munich</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spc="-5">
                          <a:solidFill>
                            <a:srgbClr val="7E7E7E"/>
                          </a:solidFill>
                          <a:latin typeface="Verdana"/>
                          <a:cs typeface="Verdana"/>
                        </a:rPr>
                        <a:t>Hanover	</a:t>
                      </a:r>
                      <a:r>
                        <a:rPr sz="900" b="1">
                          <a:latin typeface="Verdana"/>
                          <a:cs typeface="Verdana"/>
                        </a:rPr>
                        <a:t>UK</a:t>
                      </a:r>
                      <a:endParaRPr sz="900">
                        <a:latin typeface="Verdana"/>
                        <a:cs typeface="Verdana"/>
                      </a:endParaRPr>
                    </a:p>
                    <a:p>
                      <a:pPr marL="1175385" lvl="1" indent="-114935">
                        <a:lnSpc>
                          <a:spcPct val="100000"/>
                        </a:lnSpc>
                        <a:buClr>
                          <a:srgbClr val="006FAC"/>
                        </a:buClr>
                        <a:buFont typeface="Arial"/>
                        <a:buChar char="•"/>
                        <a:tabLst>
                          <a:tab pos="1176020" algn="l"/>
                        </a:tabLst>
                      </a:pPr>
                      <a:r>
                        <a:rPr sz="900" spc="-5">
                          <a:solidFill>
                            <a:srgbClr val="7E7E7E"/>
                          </a:solidFill>
                          <a:latin typeface="Verdana"/>
                          <a:cs typeface="Verdana"/>
                        </a:rPr>
                        <a:t>Aston</a:t>
                      </a:r>
                      <a:endParaRPr sz="900">
                        <a:latin typeface="Verdana"/>
                        <a:cs typeface="Verdana"/>
                      </a:endParaRPr>
                    </a:p>
                    <a:p>
                      <a:pPr marL="102235">
                        <a:lnSpc>
                          <a:spcPct val="100000"/>
                        </a:lnSpc>
                        <a:tabLst>
                          <a:tab pos="1061085" algn="l"/>
                        </a:tabLst>
                      </a:pPr>
                      <a:r>
                        <a:rPr sz="900" b="1" spc="-5">
                          <a:latin typeface="Verdana"/>
                          <a:cs typeface="Verdana"/>
                        </a:rPr>
                        <a:t>Sweden	</a:t>
                      </a:r>
                      <a:r>
                        <a:rPr sz="900">
                          <a:solidFill>
                            <a:srgbClr val="006FAC"/>
                          </a:solidFill>
                          <a:latin typeface="Arial"/>
                          <a:cs typeface="Arial"/>
                        </a:rPr>
                        <a:t>•</a:t>
                      </a:r>
                      <a:r>
                        <a:rPr sz="900" spc="70">
                          <a:solidFill>
                            <a:srgbClr val="006FAC"/>
                          </a:solidFill>
                          <a:latin typeface="Arial"/>
                          <a:cs typeface="Arial"/>
                        </a:rPr>
                        <a:t> </a:t>
                      </a:r>
                      <a:r>
                        <a:rPr sz="900">
                          <a:solidFill>
                            <a:srgbClr val="7E7E7E"/>
                          </a:solidFill>
                          <a:latin typeface="Verdana"/>
                          <a:cs typeface="Verdana"/>
                        </a:rPr>
                        <a:t>Sale</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spc="-5">
                          <a:solidFill>
                            <a:srgbClr val="7E7E7E"/>
                          </a:solidFill>
                          <a:latin typeface="Verdana"/>
                          <a:cs typeface="Verdana"/>
                        </a:rPr>
                        <a:t>Stockholm	</a:t>
                      </a:r>
                      <a:r>
                        <a:rPr sz="900">
                          <a:solidFill>
                            <a:srgbClr val="006FAC"/>
                          </a:solidFill>
                          <a:latin typeface="Arial"/>
                          <a:cs typeface="Arial"/>
                        </a:rPr>
                        <a:t>•</a:t>
                      </a:r>
                      <a:r>
                        <a:rPr sz="900" spc="70">
                          <a:solidFill>
                            <a:srgbClr val="006FAC"/>
                          </a:solidFill>
                          <a:latin typeface="Arial"/>
                          <a:cs typeface="Arial"/>
                        </a:rPr>
                        <a:t> </a:t>
                      </a:r>
                      <a:r>
                        <a:rPr sz="900" spc="-5">
                          <a:solidFill>
                            <a:srgbClr val="7E7E7E"/>
                          </a:solidFill>
                          <a:latin typeface="Verdana"/>
                          <a:cs typeface="Verdana"/>
                        </a:rPr>
                        <a:t>Woking</a:t>
                      </a:r>
                      <a:endParaRPr sz="900">
                        <a:latin typeface="Verdana"/>
                        <a:cs typeface="Verdana"/>
                      </a:endParaRPr>
                    </a:p>
                    <a:p>
                      <a:pPr marL="1175385" lvl="1" indent="-114935">
                        <a:lnSpc>
                          <a:spcPct val="100000"/>
                        </a:lnSpc>
                        <a:buClr>
                          <a:srgbClr val="006FAC"/>
                        </a:buClr>
                        <a:buFont typeface="Arial"/>
                        <a:buChar char="•"/>
                        <a:tabLst>
                          <a:tab pos="1176020" algn="l"/>
                        </a:tabLst>
                      </a:pPr>
                      <a:r>
                        <a:rPr sz="900" spc="-5">
                          <a:solidFill>
                            <a:srgbClr val="7E7E7E"/>
                          </a:solidFill>
                          <a:latin typeface="Verdana"/>
                          <a:cs typeface="Verdana"/>
                        </a:rPr>
                        <a:t>Birmingham</a:t>
                      </a:r>
                      <a:endParaRPr sz="900">
                        <a:latin typeface="Verdana"/>
                        <a:cs typeface="Verdana"/>
                      </a:endParaRPr>
                    </a:p>
                    <a:p>
                      <a:pPr marL="102235">
                        <a:lnSpc>
                          <a:spcPct val="100000"/>
                        </a:lnSpc>
                        <a:tabLst>
                          <a:tab pos="1061085" algn="l"/>
                        </a:tabLst>
                      </a:pPr>
                      <a:r>
                        <a:rPr sz="900" b="1" spc="-5">
                          <a:latin typeface="Verdana"/>
                          <a:cs typeface="Verdana"/>
                        </a:rPr>
                        <a:t>Norway	</a:t>
                      </a:r>
                      <a:r>
                        <a:rPr sz="900">
                          <a:solidFill>
                            <a:srgbClr val="006FAC"/>
                          </a:solidFill>
                          <a:latin typeface="Arial"/>
                          <a:cs typeface="Arial"/>
                        </a:rPr>
                        <a:t>•</a:t>
                      </a:r>
                      <a:r>
                        <a:rPr sz="900" spc="45">
                          <a:solidFill>
                            <a:srgbClr val="006FAC"/>
                          </a:solidFill>
                          <a:latin typeface="Arial"/>
                          <a:cs typeface="Arial"/>
                        </a:rPr>
                        <a:t> </a:t>
                      </a:r>
                      <a:r>
                        <a:rPr sz="900" spc="-5">
                          <a:solidFill>
                            <a:srgbClr val="7E7E7E"/>
                          </a:solidFill>
                          <a:latin typeface="Verdana"/>
                          <a:cs typeface="Verdana"/>
                        </a:rPr>
                        <a:t>Inverness/Nairn</a:t>
                      </a:r>
                      <a:endParaRPr sz="900">
                        <a:latin typeface="Verdana"/>
                        <a:cs typeface="Verdana"/>
                      </a:endParaRPr>
                    </a:p>
                    <a:p>
                      <a:pPr marL="217170" marR="85725" indent="-217170">
                        <a:lnSpc>
                          <a:spcPct val="100000"/>
                        </a:lnSpc>
                        <a:buClr>
                          <a:srgbClr val="006FAC"/>
                        </a:buClr>
                        <a:buFont typeface="Arial"/>
                        <a:buChar char="•"/>
                        <a:tabLst>
                          <a:tab pos="217170" algn="l"/>
                          <a:tab pos="1061085" algn="l"/>
                        </a:tabLst>
                      </a:pPr>
                      <a:r>
                        <a:rPr sz="900" spc="-5">
                          <a:solidFill>
                            <a:srgbClr val="7E7E7E"/>
                          </a:solidFill>
                          <a:latin typeface="Verdana"/>
                          <a:cs typeface="Verdana"/>
                        </a:rPr>
                        <a:t>Oslo	</a:t>
                      </a:r>
                      <a:r>
                        <a:rPr sz="900">
                          <a:solidFill>
                            <a:srgbClr val="006FAC"/>
                          </a:solidFill>
                          <a:latin typeface="Arial"/>
                          <a:cs typeface="Arial"/>
                        </a:rPr>
                        <a:t>• </a:t>
                      </a:r>
                      <a:r>
                        <a:rPr sz="900" spc="-5">
                          <a:solidFill>
                            <a:srgbClr val="7E7E7E"/>
                          </a:solidFill>
                          <a:latin typeface="Verdana"/>
                          <a:cs typeface="Verdana"/>
                        </a:rPr>
                        <a:t>Manchester/Sal  </a:t>
                      </a:r>
                      <a:r>
                        <a:rPr sz="900">
                          <a:solidFill>
                            <a:srgbClr val="7E7E7E"/>
                          </a:solidFill>
                          <a:latin typeface="Verdana"/>
                          <a:cs typeface="Verdana"/>
                        </a:rPr>
                        <a:t>e</a:t>
                      </a:r>
                      <a:endParaRPr sz="900">
                        <a:latin typeface="Verdana"/>
                        <a:cs typeface="Verdana"/>
                      </a:endParaRPr>
                    </a:p>
                    <a:p>
                      <a:pPr marL="102235">
                        <a:lnSpc>
                          <a:spcPct val="100000"/>
                        </a:lnSpc>
                        <a:tabLst>
                          <a:tab pos="1061085" algn="l"/>
                        </a:tabLst>
                      </a:pPr>
                      <a:r>
                        <a:rPr sz="900" b="1" spc="-5">
                          <a:latin typeface="Verdana"/>
                          <a:cs typeface="Verdana"/>
                        </a:rPr>
                        <a:t>Portugal	</a:t>
                      </a:r>
                      <a:r>
                        <a:rPr sz="900">
                          <a:solidFill>
                            <a:srgbClr val="006FAC"/>
                          </a:solidFill>
                          <a:latin typeface="Arial"/>
                          <a:cs typeface="Arial"/>
                        </a:rPr>
                        <a:t>•</a:t>
                      </a:r>
                      <a:r>
                        <a:rPr sz="900" spc="70">
                          <a:solidFill>
                            <a:srgbClr val="006FAC"/>
                          </a:solidFill>
                          <a:latin typeface="Arial"/>
                          <a:cs typeface="Arial"/>
                        </a:rPr>
                        <a:t> </a:t>
                      </a:r>
                      <a:r>
                        <a:rPr sz="900" spc="-5">
                          <a:solidFill>
                            <a:srgbClr val="7E7E7E"/>
                          </a:solidFill>
                          <a:latin typeface="Verdana"/>
                          <a:cs typeface="Verdana"/>
                        </a:rPr>
                        <a:t>London</a:t>
                      </a:r>
                      <a:endParaRPr sz="900">
                        <a:latin typeface="Verdana"/>
                        <a:cs typeface="Verdana"/>
                      </a:endParaRPr>
                    </a:p>
                    <a:p>
                      <a:pPr marL="216535" indent="-114935">
                        <a:lnSpc>
                          <a:spcPct val="100000"/>
                        </a:lnSpc>
                        <a:buClr>
                          <a:srgbClr val="006FAC"/>
                        </a:buClr>
                        <a:buFont typeface="Arial"/>
                        <a:buChar char="•"/>
                        <a:tabLst>
                          <a:tab pos="217170" algn="l"/>
                        </a:tabLst>
                      </a:pPr>
                      <a:r>
                        <a:rPr sz="900">
                          <a:solidFill>
                            <a:srgbClr val="7E7E7E"/>
                          </a:solidFill>
                          <a:latin typeface="Verdana"/>
                          <a:cs typeface="Verdana"/>
                        </a:rPr>
                        <a:t>Lisbo</a:t>
                      </a:r>
                      <a:endParaRPr sz="900">
                        <a:latin typeface="Verdana"/>
                        <a:cs typeface="Verdana"/>
                      </a:endParaRPr>
                    </a:p>
                    <a:p>
                      <a:pPr marL="1061085">
                        <a:lnSpc>
                          <a:spcPct val="100000"/>
                        </a:lnSpc>
                        <a:spcBef>
                          <a:spcPts val="5"/>
                        </a:spcBef>
                      </a:pPr>
                      <a:r>
                        <a:rPr sz="900" b="1" spc="-5">
                          <a:latin typeface="Verdana"/>
                          <a:cs typeface="Verdana"/>
                        </a:rPr>
                        <a:t>Romania</a:t>
                      </a:r>
                      <a:endParaRPr sz="900">
                        <a:latin typeface="Verdana"/>
                        <a:cs typeface="Verdana"/>
                      </a:endParaRPr>
                    </a:p>
                    <a:p>
                      <a:pPr marL="102235">
                        <a:lnSpc>
                          <a:spcPct val="100000"/>
                        </a:lnSpc>
                        <a:tabLst>
                          <a:tab pos="1061085" algn="l"/>
                        </a:tabLst>
                      </a:pPr>
                      <a:r>
                        <a:rPr sz="900" b="1" spc="-5">
                          <a:latin typeface="Verdana"/>
                          <a:cs typeface="Verdana"/>
                        </a:rPr>
                        <a:t>Belgium	</a:t>
                      </a:r>
                      <a:r>
                        <a:rPr sz="900">
                          <a:solidFill>
                            <a:srgbClr val="006FAC"/>
                          </a:solidFill>
                          <a:latin typeface="Arial"/>
                          <a:cs typeface="Arial"/>
                        </a:rPr>
                        <a:t>•</a:t>
                      </a:r>
                      <a:r>
                        <a:rPr sz="900" spc="65">
                          <a:solidFill>
                            <a:srgbClr val="006FAC"/>
                          </a:solidFill>
                          <a:latin typeface="Arial"/>
                          <a:cs typeface="Arial"/>
                        </a:rPr>
                        <a:t> </a:t>
                      </a:r>
                      <a:r>
                        <a:rPr sz="900" spc="-5">
                          <a:solidFill>
                            <a:srgbClr val="2B133C"/>
                          </a:solidFill>
                          <a:latin typeface="Verdana"/>
                          <a:cs typeface="Verdana"/>
                        </a:rPr>
                        <a:t>Bucharest</a:t>
                      </a:r>
                      <a:endParaRPr sz="900">
                        <a:latin typeface="Verdana"/>
                        <a:cs typeface="Verdana"/>
                      </a:endParaRPr>
                    </a:p>
                    <a:p>
                      <a:pPr marL="216535" indent="-114935">
                        <a:lnSpc>
                          <a:spcPct val="100000"/>
                        </a:lnSpc>
                        <a:buClr>
                          <a:srgbClr val="006FAC"/>
                        </a:buClr>
                        <a:buFont typeface="Arial"/>
                        <a:buChar char="•"/>
                        <a:tabLst>
                          <a:tab pos="217170" algn="l"/>
                          <a:tab pos="1061085" algn="l"/>
                        </a:tabLst>
                      </a:pPr>
                      <a:r>
                        <a:rPr sz="900">
                          <a:solidFill>
                            <a:srgbClr val="7E7E7E"/>
                          </a:solidFill>
                          <a:latin typeface="Verdana"/>
                          <a:cs typeface="Verdana"/>
                        </a:rPr>
                        <a:t>Diegem	</a:t>
                      </a:r>
                      <a:r>
                        <a:rPr sz="900">
                          <a:solidFill>
                            <a:srgbClr val="006FAC"/>
                          </a:solidFill>
                          <a:latin typeface="Arial"/>
                          <a:cs typeface="Arial"/>
                        </a:rPr>
                        <a:t>•</a:t>
                      </a:r>
                      <a:r>
                        <a:rPr sz="900" spc="70">
                          <a:solidFill>
                            <a:srgbClr val="006FAC"/>
                          </a:solidFill>
                          <a:latin typeface="Arial"/>
                          <a:cs typeface="Arial"/>
                        </a:rPr>
                        <a:t> </a:t>
                      </a:r>
                      <a:r>
                        <a:rPr sz="900">
                          <a:solidFill>
                            <a:srgbClr val="2B133C"/>
                          </a:solidFill>
                          <a:latin typeface="Verdana"/>
                          <a:cs typeface="Verdana"/>
                        </a:rPr>
                        <a:t>Lasi</a:t>
                      </a:r>
                      <a:endParaRPr sz="900">
                        <a:latin typeface="Verdana"/>
                        <a:cs typeface="Verdana"/>
                      </a:endParaRPr>
                    </a:p>
                  </a:txBody>
                  <a:tcPr marL="0" marR="0" marT="42545" marB="0">
                    <a:lnL w="3175">
                      <a:solidFill>
                        <a:srgbClr val="006FAC"/>
                      </a:solidFill>
                      <a:prstDash val="solid"/>
                    </a:lnL>
                    <a:lnB w="3175">
                      <a:solidFill>
                        <a:srgbClr val="006FAC"/>
                      </a:solidFill>
                      <a:prstDash val="solid"/>
                    </a:lnB>
                  </a:tcPr>
                </a:tc>
                <a:tc>
                  <a:txBody>
                    <a:bodyPr/>
                    <a:lstStyle/>
                    <a:p>
                      <a:pPr marL="38735">
                        <a:lnSpc>
                          <a:spcPct val="100000"/>
                        </a:lnSpc>
                        <a:spcBef>
                          <a:spcPts val="335"/>
                        </a:spcBef>
                      </a:pPr>
                      <a:r>
                        <a:rPr sz="900" b="1" spc="-5">
                          <a:latin typeface="Verdana"/>
                          <a:cs typeface="Verdana"/>
                        </a:rPr>
                        <a:t>Poland</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2B133C"/>
                          </a:solidFill>
                          <a:latin typeface="Verdana"/>
                          <a:cs typeface="Verdana"/>
                        </a:rPr>
                        <a:t>Warsaw</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2B133C"/>
                          </a:solidFill>
                          <a:latin typeface="Verdana"/>
                          <a:cs typeface="Verdana"/>
                        </a:rPr>
                        <a:t>Kraków</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2B133C"/>
                          </a:solidFill>
                          <a:latin typeface="Verdana"/>
                          <a:cs typeface="Verdana"/>
                        </a:rPr>
                        <a:t>Katowice</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38735">
                        <a:lnSpc>
                          <a:spcPct val="100000"/>
                        </a:lnSpc>
                      </a:pPr>
                      <a:r>
                        <a:rPr sz="900" b="1" spc="-5">
                          <a:latin typeface="Verdana"/>
                          <a:cs typeface="Verdana"/>
                        </a:rPr>
                        <a:t>Finland</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7E7E7E"/>
                          </a:solidFill>
                          <a:latin typeface="Verdana"/>
                          <a:cs typeface="Verdana"/>
                        </a:rPr>
                        <a:t>Helsinki</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38735">
                        <a:lnSpc>
                          <a:spcPct val="100000"/>
                        </a:lnSpc>
                      </a:pPr>
                      <a:r>
                        <a:rPr sz="900" b="1" spc="-5">
                          <a:latin typeface="Verdana"/>
                          <a:cs typeface="Verdana"/>
                        </a:rPr>
                        <a:t>Austria</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7E7E7E"/>
                          </a:solidFill>
                          <a:latin typeface="Verdana"/>
                          <a:cs typeface="Verdana"/>
                        </a:rPr>
                        <a:t>Vienna</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38735">
                        <a:lnSpc>
                          <a:spcPct val="100000"/>
                        </a:lnSpc>
                      </a:pPr>
                      <a:r>
                        <a:rPr sz="900" b="1" spc="-10">
                          <a:latin typeface="Verdana"/>
                          <a:cs typeface="Verdana"/>
                        </a:rPr>
                        <a:t>Morocco</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2B133C"/>
                          </a:solidFill>
                          <a:latin typeface="Verdana"/>
                          <a:cs typeface="Verdana"/>
                        </a:rPr>
                        <a:t>Casablanca</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2B133C"/>
                          </a:solidFill>
                          <a:latin typeface="Verdana"/>
                          <a:cs typeface="Verdana"/>
                        </a:rPr>
                        <a:t>Rabat</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38735">
                        <a:lnSpc>
                          <a:spcPct val="100000"/>
                        </a:lnSpc>
                      </a:pPr>
                      <a:r>
                        <a:rPr sz="900" b="1" spc="-5">
                          <a:latin typeface="Verdana"/>
                          <a:cs typeface="Verdana"/>
                        </a:rPr>
                        <a:t>Spain</a:t>
                      </a:r>
                      <a:endParaRPr sz="900">
                        <a:latin typeface="Verdana"/>
                        <a:cs typeface="Verdana"/>
                      </a:endParaRPr>
                    </a:p>
                    <a:p>
                      <a:pPr marL="153035" indent="-114935">
                        <a:lnSpc>
                          <a:spcPct val="100000"/>
                        </a:lnSpc>
                        <a:spcBef>
                          <a:spcPts val="5"/>
                        </a:spcBef>
                        <a:buClr>
                          <a:srgbClr val="006FAC"/>
                        </a:buClr>
                        <a:buFont typeface="Arial"/>
                        <a:buChar char="•"/>
                        <a:tabLst>
                          <a:tab pos="153670" algn="l"/>
                        </a:tabLst>
                      </a:pPr>
                      <a:r>
                        <a:rPr sz="900">
                          <a:solidFill>
                            <a:srgbClr val="2B133C"/>
                          </a:solidFill>
                          <a:latin typeface="Verdana"/>
                          <a:cs typeface="Verdana"/>
                        </a:rPr>
                        <a:t>Madrid</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2B133C"/>
                          </a:solidFill>
                          <a:latin typeface="Verdana"/>
                          <a:cs typeface="Verdana"/>
                        </a:rPr>
                        <a:t>Asturias</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7E7E7E"/>
                          </a:solidFill>
                          <a:latin typeface="Verdana"/>
                          <a:cs typeface="Verdana"/>
                        </a:rPr>
                        <a:t>Zaragoza</a:t>
                      </a:r>
                      <a:endParaRPr sz="900">
                        <a:latin typeface="Verdana"/>
                        <a:cs typeface="Verdana"/>
                      </a:endParaRPr>
                    </a:p>
                    <a:p>
                      <a:pPr marL="153035" indent="-114935">
                        <a:lnSpc>
                          <a:spcPct val="100000"/>
                        </a:lnSpc>
                        <a:buClr>
                          <a:srgbClr val="006FAC"/>
                        </a:buClr>
                        <a:buFont typeface="Arial"/>
                        <a:buChar char="•"/>
                        <a:tabLst>
                          <a:tab pos="153670" algn="l"/>
                        </a:tabLst>
                      </a:pPr>
                      <a:r>
                        <a:rPr sz="900" spc="-5">
                          <a:solidFill>
                            <a:srgbClr val="7E7E7E"/>
                          </a:solidFill>
                          <a:latin typeface="Verdana"/>
                          <a:cs typeface="Verdana"/>
                        </a:rPr>
                        <a:t>Murcia</a:t>
                      </a:r>
                      <a:endParaRPr sz="900">
                        <a:latin typeface="Verdana"/>
                        <a:cs typeface="Verdana"/>
                      </a:endParaRPr>
                    </a:p>
                  </a:txBody>
                  <a:tcPr marL="0" marR="0" marT="42545" marB="0">
                    <a:lnB w="3175">
                      <a:solidFill>
                        <a:srgbClr val="006FAC"/>
                      </a:solidFill>
                      <a:prstDash val="solid"/>
                    </a:lnB>
                  </a:tcPr>
                </a:tc>
                <a:tc>
                  <a:txBody>
                    <a:bodyPr/>
                    <a:lstStyle/>
                    <a:p>
                      <a:pPr marL="77470">
                        <a:lnSpc>
                          <a:spcPct val="100000"/>
                        </a:lnSpc>
                        <a:spcBef>
                          <a:spcPts val="335"/>
                        </a:spcBef>
                      </a:pPr>
                      <a:r>
                        <a:rPr sz="900" b="1" spc="-5">
                          <a:latin typeface="Verdana"/>
                          <a:cs typeface="Verdana"/>
                        </a:rPr>
                        <a:t>Hungary</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Budapest</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77470">
                        <a:lnSpc>
                          <a:spcPct val="100000"/>
                        </a:lnSpc>
                      </a:pPr>
                      <a:r>
                        <a:rPr sz="900" b="1" spc="-5">
                          <a:latin typeface="Verdana"/>
                          <a:cs typeface="Verdana"/>
                        </a:rPr>
                        <a:t>France</a:t>
                      </a:r>
                      <a:endParaRPr sz="900">
                        <a:latin typeface="Verdana"/>
                        <a:cs typeface="Verdana"/>
                      </a:endParaRPr>
                    </a:p>
                    <a:p>
                      <a:pPr marL="191770" marR="150495" indent="-114300">
                        <a:lnSpc>
                          <a:spcPct val="100000"/>
                        </a:lnSpc>
                        <a:buClr>
                          <a:srgbClr val="006FAC"/>
                        </a:buClr>
                        <a:buFont typeface="Arial"/>
                        <a:buChar char="•"/>
                        <a:tabLst>
                          <a:tab pos="192405" algn="l"/>
                        </a:tabLst>
                      </a:pPr>
                      <a:r>
                        <a:rPr sz="900" spc="-5">
                          <a:solidFill>
                            <a:srgbClr val="7E7E7E"/>
                          </a:solidFill>
                          <a:latin typeface="Verdana"/>
                          <a:cs typeface="Verdana"/>
                        </a:rPr>
                        <a:t>C</a:t>
                      </a:r>
                      <a:r>
                        <a:rPr sz="900">
                          <a:solidFill>
                            <a:srgbClr val="7E7E7E"/>
                          </a:solidFill>
                          <a:latin typeface="Verdana"/>
                          <a:cs typeface="Verdana"/>
                        </a:rPr>
                        <a:t>lermo</a:t>
                      </a:r>
                      <a:r>
                        <a:rPr sz="900" spc="-10">
                          <a:solidFill>
                            <a:srgbClr val="7E7E7E"/>
                          </a:solidFill>
                          <a:latin typeface="Verdana"/>
                          <a:cs typeface="Verdana"/>
                        </a:rPr>
                        <a:t>n</a:t>
                      </a:r>
                      <a:r>
                        <a:rPr sz="900" spc="10">
                          <a:solidFill>
                            <a:srgbClr val="7E7E7E"/>
                          </a:solidFill>
                          <a:latin typeface="Verdana"/>
                          <a:cs typeface="Verdana"/>
                        </a:rPr>
                        <a:t>t</a:t>
                      </a:r>
                      <a:r>
                        <a:rPr sz="900">
                          <a:solidFill>
                            <a:srgbClr val="7E7E7E"/>
                          </a:solidFill>
                          <a:latin typeface="Verdana"/>
                          <a:cs typeface="Verdana"/>
                        </a:rPr>
                        <a:t>-  </a:t>
                      </a:r>
                      <a:r>
                        <a:rPr sz="900" spc="-5">
                          <a:solidFill>
                            <a:srgbClr val="7E7E7E"/>
                          </a:solidFill>
                          <a:latin typeface="Verdana"/>
                          <a:cs typeface="Verdana"/>
                        </a:rPr>
                        <a:t>Ferrand</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Grenoble</a:t>
                      </a:r>
                      <a:endParaRPr sz="900">
                        <a:latin typeface="Verdana"/>
                        <a:cs typeface="Verdana"/>
                      </a:endParaRPr>
                    </a:p>
                    <a:p>
                      <a:pPr marL="191770" indent="-114935">
                        <a:lnSpc>
                          <a:spcPct val="100000"/>
                        </a:lnSpc>
                        <a:buClr>
                          <a:srgbClr val="006FAC"/>
                        </a:buClr>
                        <a:buFont typeface="Arial"/>
                        <a:buChar char="•"/>
                        <a:tabLst>
                          <a:tab pos="192405" algn="l"/>
                        </a:tabLst>
                      </a:pPr>
                      <a:r>
                        <a:rPr sz="900">
                          <a:solidFill>
                            <a:srgbClr val="7E7E7E"/>
                          </a:solidFill>
                          <a:latin typeface="Verdana"/>
                          <a:cs typeface="Verdana"/>
                        </a:rPr>
                        <a:t>Lille</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Nantes</a:t>
                      </a:r>
                      <a:endParaRPr sz="900">
                        <a:latin typeface="Verdana"/>
                        <a:cs typeface="Verdana"/>
                      </a:endParaRPr>
                    </a:p>
                    <a:p>
                      <a:pPr marL="191770" indent="-114935">
                        <a:lnSpc>
                          <a:spcPct val="100000"/>
                        </a:lnSpc>
                        <a:buClr>
                          <a:srgbClr val="006FAC"/>
                        </a:buClr>
                        <a:buFont typeface="Arial"/>
                        <a:buChar char="•"/>
                        <a:tabLst>
                          <a:tab pos="192405" algn="l"/>
                        </a:tabLst>
                      </a:pPr>
                      <a:r>
                        <a:rPr sz="900">
                          <a:solidFill>
                            <a:srgbClr val="7E7E7E"/>
                          </a:solidFill>
                          <a:latin typeface="Verdana"/>
                          <a:cs typeface="Verdana"/>
                        </a:rPr>
                        <a:t>Paris</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Rennes</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Strasbourg</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Toulouse</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77470">
                        <a:lnSpc>
                          <a:spcPct val="100000"/>
                        </a:lnSpc>
                      </a:pPr>
                      <a:r>
                        <a:rPr sz="900" b="1" spc="-5">
                          <a:latin typeface="Verdana"/>
                          <a:cs typeface="Verdana"/>
                        </a:rPr>
                        <a:t>Italy</a:t>
                      </a:r>
                      <a:endParaRPr sz="900">
                        <a:latin typeface="Verdana"/>
                        <a:cs typeface="Verdana"/>
                      </a:endParaRPr>
                    </a:p>
                    <a:p>
                      <a:pPr marL="191770" indent="-114935">
                        <a:lnSpc>
                          <a:spcPct val="100000"/>
                        </a:lnSpc>
                        <a:buClr>
                          <a:srgbClr val="006FAC"/>
                        </a:buClr>
                        <a:buFont typeface="Arial"/>
                        <a:buChar char="•"/>
                        <a:tabLst>
                          <a:tab pos="192405" algn="l"/>
                        </a:tabLst>
                      </a:pPr>
                      <a:r>
                        <a:rPr sz="900">
                          <a:solidFill>
                            <a:srgbClr val="2B133C"/>
                          </a:solidFill>
                          <a:latin typeface="Verdana"/>
                          <a:cs typeface="Verdana"/>
                        </a:rPr>
                        <a:t>Napoli</a:t>
                      </a:r>
                      <a:endParaRPr sz="900">
                        <a:latin typeface="Verdana"/>
                        <a:cs typeface="Verdana"/>
                      </a:endParaRPr>
                    </a:p>
                    <a:p>
                      <a:pPr marL="191770" indent="-114935">
                        <a:lnSpc>
                          <a:spcPct val="100000"/>
                        </a:lnSpc>
                        <a:spcBef>
                          <a:spcPts val="5"/>
                        </a:spcBef>
                        <a:buClr>
                          <a:srgbClr val="006FAC"/>
                        </a:buClr>
                        <a:buFont typeface="Arial"/>
                        <a:buChar char="•"/>
                        <a:tabLst>
                          <a:tab pos="192405" algn="l"/>
                        </a:tabLst>
                      </a:pPr>
                      <a:r>
                        <a:rPr sz="900" spc="-5">
                          <a:solidFill>
                            <a:srgbClr val="7E7E7E"/>
                          </a:solidFill>
                          <a:latin typeface="Verdana"/>
                          <a:cs typeface="Verdana"/>
                        </a:rPr>
                        <a:t>Torino</a:t>
                      </a:r>
                      <a:endParaRPr sz="900">
                        <a:latin typeface="Verdana"/>
                        <a:cs typeface="Verdana"/>
                      </a:endParaRPr>
                    </a:p>
                    <a:p>
                      <a:pPr marL="191770" indent="-114935">
                        <a:lnSpc>
                          <a:spcPct val="100000"/>
                        </a:lnSpc>
                        <a:buClr>
                          <a:srgbClr val="006FAC"/>
                        </a:buClr>
                        <a:buFont typeface="Arial"/>
                        <a:buChar char="•"/>
                        <a:tabLst>
                          <a:tab pos="192405" algn="l"/>
                        </a:tabLst>
                      </a:pPr>
                      <a:r>
                        <a:rPr sz="900">
                          <a:solidFill>
                            <a:srgbClr val="2B133C"/>
                          </a:solidFill>
                          <a:latin typeface="Verdana"/>
                          <a:cs typeface="Verdana"/>
                        </a:rPr>
                        <a:t>La</a:t>
                      </a:r>
                      <a:r>
                        <a:rPr sz="900" spc="-35">
                          <a:solidFill>
                            <a:srgbClr val="2B133C"/>
                          </a:solidFill>
                          <a:latin typeface="Verdana"/>
                          <a:cs typeface="Verdana"/>
                        </a:rPr>
                        <a:t> </a:t>
                      </a:r>
                      <a:r>
                        <a:rPr sz="900" spc="-5">
                          <a:solidFill>
                            <a:srgbClr val="2B133C"/>
                          </a:solidFill>
                          <a:latin typeface="Verdana"/>
                          <a:cs typeface="Verdana"/>
                        </a:rPr>
                        <a:t>Spezia</a:t>
                      </a:r>
                      <a:endParaRPr sz="900">
                        <a:latin typeface="Verdana"/>
                        <a:cs typeface="Verdana"/>
                      </a:endParaRPr>
                    </a:p>
                    <a:p>
                      <a:pPr marL="191770" indent="-114935">
                        <a:lnSpc>
                          <a:spcPct val="100000"/>
                        </a:lnSpc>
                        <a:buClr>
                          <a:srgbClr val="006FAC"/>
                        </a:buClr>
                        <a:buFont typeface="Arial"/>
                        <a:buChar char="•"/>
                        <a:tabLst>
                          <a:tab pos="192405" algn="l"/>
                        </a:tabLst>
                      </a:pPr>
                      <a:r>
                        <a:rPr sz="900" spc="-5">
                          <a:solidFill>
                            <a:srgbClr val="7E7E7E"/>
                          </a:solidFill>
                          <a:latin typeface="Verdana"/>
                          <a:cs typeface="Verdana"/>
                        </a:rPr>
                        <a:t>Rome</a:t>
                      </a:r>
                      <a:endParaRPr sz="900">
                        <a:latin typeface="Verdana"/>
                        <a:cs typeface="Verdana"/>
                      </a:endParaRPr>
                    </a:p>
                  </a:txBody>
                  <a:tcPr marL="0" marR="0" marT="42545" marB="0">
                    <a:lnR w="3175">
                      <a:solidFill>
                        <a:srgbClr val="006FAC"/>
                      </a:solidFill>
                      <a:prstDash val="solid"/>
                    </a:lnR>
                    <a:lnB w="3175">
                      <a:solidFill>
                        <a:srgbClr val="006FAC"/>
                      </a:solidFill>
                      <a:prstDash val="solid"/>
                    </a:lnB>
                  </a:tcPr>
                </a:tc>
                <a:extLst>
                  <a:ext uri="{0D108BD9-81ED-4DB2-BD59-A6C34878D82A}">
                    <a16:rowId xmlns:a16="http://schemas.microsoft.com/office/drawing/2014/main" val="10001"/>
                  </a:ext>
                </a:extLst>
              </a:tr>
              <a:tr h="275844">
                <a:tc gridSpan="6">
                  <a:txBody>
                    <a:bodyPr/>
                    <a:lstStyle/>
                    <a:p>
                      <a:pPr marL="2540" algn="ctr">
                        <a:lnSpc>
                          <a:spcPct val="100000"/>
                        </a:lnSpc>
                        <a:spcBef>
                          <a:spcPts val="465"/>
                        </a:spcBef>
                      </a:pPr>
                      <a:r>
                        <a:rPr sz="1200" b="1">
                          <a:solidFill>
                            <a:srgbClr val="FFFFFF"/>
                          </a:solidFill>
                          <a:latin typeface="Verdana"/>
                          <a:cs typeface="Verdana"/>
                        </a:rPr>
                        <a:t>USA</a:t>
                      </a:r>
                      <a:endParaRPr sz="1200">
                        <a:latin typeface="Verdana"/>
                        <a:cs typeface="Verdana"/>
                      </a:endParaRPr>
                    </a:p>
                  </a:txBody>
                  <a:tcPr marL="0" marR="0" marT="59055" marB="0">
                    <a:lnT w="3175" cap="flat" cmpd="sng" algn="ctr">
                      <a:solidFill>
                        <a:srgbClr val="006FAC"/>
                      </a:solidFill>
                      <a:prstDash val="solid"/>
                      <a:round/>
                      <a:headEnd type="none" w="med" len="med"/>
                      <a:tailEnd type="none" w="med" len="med"/>
                    </a:lnT>
                    <a:solidFill>
                      <a:srgbClr val="006FAC"/>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r h="1463040">
                <a:tc>
                  <a:txBody>
                    <a:bodyPr/>
                    <a:lstStyle/>
                    <a:p>
                      <a:pPr marL="112395">
                        <a:lnSpc>
                          <a:spcPct val="100000"/>
                        </a:lnSpc>
                        <a:spcBef>
                          <a:spcPts val="300"/>
                        </a:spcBef>
                      </a:pPr>
                      <a:r>
                        <a:rPr sz="900" b="1">
                          <a:latin typeface="Verdana"/>
                          <a:cs typeface="Verdana"/>
                        </a:rPr>
                        <a:t>USA</a:t>
                      </a:r>
                      <a:endParaRPr sz="900">
                        <a:latin typeface="Verdana"/>
                        <a:cs typeface="Verdana"/>
                      </a:endParaRPr>
                    </a:p>
                    <a:p>
                      <a:pPr marL="226695" marR="101600" indent="-114300">
                        <a:lnSpc>
                          <a:spcPct val="100000"/>
                        </a:lnSpc>
                        <a:buClr>
                          <a:srgbClr val="006FAC"/>
                        </a:buClr>
                        <a:buFont typeface="Arial"/>
                        <a:buChar char="•"/>
                        <a:tabLst>
                          <a:tab pos="227329" algn="l"/>
                        </a:tabLst>
                      </a:pPr>
                      <a:r>
                        <a:rPr sz="900">
                          <a:solidFill>
                            <a:srgbClr val="7E7E7E"/>
                          </a:solidFill>
                          <a:latin typeface="Verdana"/>
                          <a:cs typeface="Verdana"/>
                        </a:rPr>
                        <a:t>W</a:t>
                      </a:r>
                      <a:r>
                        <a:rPr sz="900" spc="-5">
                          <a:solidFill>
                            <a:srgbClr val="7E7E7E"/>
                          </a:solidFill>
                          <a:latin typeface="Verdana"/>
                          <a:cs typeface="Verdana"/>
                        </a:rPr>
                        <a:t>a</a:t>
                      </a:r>
                      <a:r>
                        <a:rPr sz="900">
                          <a:solidFill>
                            <a:srgbClr val="7E7E7E"/>
                          </a:solidFill>
                          <a:latin typeface="Verdana"/>
                          <a:cs typeface="Verdana"/>
                        </a:rPr>
                        <a:t>s</a:t>
                      </a:r>
                      <a:r>
                        <a:rPr sz="900" spc="-10">
                          <a:solidFill>
                            <a:srgbClr val="7E7E7E"/>
                          </a:solidFill>
                          <a:latin typeface="Verdana"/>
                          <a:cs typeface="Verdana"/>
                        </a:rPr>
                        <a:t>h</a:t>
                      </a:r>
                      <a:r>
                        <a:rPr sz="900">
                          <a:solidFill>
                            <a:srgbClr val="7E7E7E"/>
                          </a:solidFill>
                          <a:latin typeface="Verdana"/>
                          <a:cs typeface="Verdana"/>
                        </a:rPr>
                        <a:t>i</a:t>
                      </a:r>
                      <a:r>
                        <a:rPr sz="900" spc="-10">
                          <a:solidFill>
                            <a:srgbClr val="7E7E7E"/>
                          </a:solidFill>
                          <a:latin typeface="Verdana"/>
                          <a:cs typeface="Verdana"/>
                        </a:rPr>
                        <a:t>n</a:t>
                      </a:r>
                      <a:r>
                        <a:rPr sz="900">
                          <a:solidFill>
                            <a:srgbClr val="7E7E7E"/>
                          </a:solidFill>
                          <a:latin typeface="Verdana"/>
                          <a:cs typeface="Verdana"/>
                        </a:rPr>
                        <a:t>gton  DC</a:t>
                      </a:r>
                      <a:endParaRPr sz="900">
                        <a:latin typeface="Verdana"/>
                        <a:cs typeface="Verdana"/>
                      </a:endParaRPr>
                    </a:p>
                    <a:p>
                      <a:pPr marL="226695" indent="-114935">
                        <a:lnSpc>
                          <a:spcPct val="100000"/>
                        </a:lnSpc>
                        <a:buClr>
                          <a:srgbClr val="006FAC"/>
                        </a:buClr>
                        <a:buFont typeface="Arial"/>
                        <a:buChar char="•"/>
                        <a:tabLst>
                          <a:tab pos="227329" algn="l"/>
                        </a:tabLst>
                      </a:pPr>
                      <a:r>
                        <a:rPr sz="900" spc="-5">
                          <a:solidFill>
                            <a:srgbClr val="2B133C"/>
                          </a:solidFill>
                          <a:latin typeface="Verdana"/>
                          <a:cs typeface="Verdana"/>
                        </a:rPr>
                        <a:t>Kansas City</a:t>
                      </a:r>
                      <a:endParaRPr sz="900">
                        <a:latin typeface="Verdana"/>
                        <a:cs typeface="Verdana"/>
                      </a:endParaRPr>
                    </a:p>
                    <a:p>
                      <a:pPr marL="226695" indent="-114935">
                        <a:lnSpc>
                          <a:spcPct val="100000"/>
                        </a:lnSpc>
                        <a:buClr>
                          <a:srgbClr val="006FAC"/>
                        </a:buClr>
                        <a:buFont typeface="Arial"/>
                        <a:buChar char="•"/>
                        <a:tabLst>
                          <a:tab pos="227329" algn="l"/>
                        </a:tabLst>
                      </a:pPr>
                      <a:r>
                        <a:rPr sz="900" spc="-5">
                          <a:solidFill>
                            <a:srgbClr val="7E7E7E"/>
                          </a:solidFill>
                          <a:latin typeface="Verdana"/>
                          <a:cs typeface="Verdana"/>
                        </a:rPr>
                        <a:t>New</a:t>
                      </a:r>
                      <a:r>
                        <a:rPr sz="900" spc="-25">
                          <a:solidFill>
                            <a:srgbClr val="7E7E7E"/>
                          </a:solidFill>
                          <a:latin typeface="Verdana"/>
                          <a:cs typeface="Verdana"/>
                        </a:rPr>
                        <a:t> </a:t>
                      </a:r>
                      <a:r>
                        <a:rPr sz="900">
                          <a:solidFill>
                            <a:srgbClr val="7E7E7E"/>
                          </a:solidFill>
                          <a:latin typeface="Verdana"/>
                          <a:cs typeface="Verdana"/>
                        </a:rPr>
                        <a:t>Jersey</a:t>
                      </a:r>
                      <a:endParaRPr sz="900">
                        <a:latin typeface="Verdana"/>
                        <a:cs typeface="Verdana"/>
                      </a:endParaRPr>
                    </a:p>
                    <a:p>
                      <a:pPr marL="226695" indent="-114935">
                        <a:lnSpc>
                          <a:spcPct val="100000"/>
                        </a:lnSpc>
                        <a:buClr>
                          <a:srgbClr val="006FAC"/>
                        </a:buClr>
                        <a:buFont typeface="Arial"/>
                        <a:buChar char="•"/>
                        <a:tabLst>
                          <a:tab pos="227329" algn="l"/>
                        </a:tabLst>
                      </a:pPr>
                      <a:r>
                        <a:rPr sz="900" spc="-5">
                          <a:solidFill>
                            <a:srgbClr val="7E7E7E"/>
                          </a:solidFill>
                          <a:latin typeface="Verdana"/>
                          <a:cs typeface="Verdana"/>
                        </a:rPr>
                        <a:t>Burbank</a:t>
                      </a:r>
                      <a:endParaRPr sz="900">
                        <a:latin typeface="Verdana"/>
                        <a:cs typeface="Verdana"/>
                      </a:endParaRPr>
                    </a:p>
                    <a:p>
                      <a:pPr marL="226695" indent="-114935">
                        <a:lnSpc>
                          <a:spcPct val="100000"/>
                        </a:lnSpc>
                        <a:buClr>
                          <a:srgbClr val="006FAC"/>
                        </a:buClr>
                        <a:buFont typeface="Arial"/>
                        <a:buChar char="•"/>
                        <a:tabLst>
                          <a:tab pos="227329" algn="l"/>
                        </a:tabLst>
                      </a:pPr>
                      <a:r>
                        <a:rPr sz="900" spc="-5">
                          <a:solidFill>
                            <a:srgbClr val="7E7E7E"/>
                          </a:solidFill>
                          <a:latin typeface="Verdana"/>
                          <a:cs typeface="Verdana"/>
                        </a:rPr>
                        <a:t>Atlanta</a:t>
                      </a:r>
                      <a:endParaRPr sz="900">
                        <a:latin typeface="Verdana"/>
                        <a:cs typeface="Verdana"/>
                      </a:endParaRPr>
                    </a:p>
                    <a:p>
                      <a:pPr marL="226695" indent="-114935">
                        <a:lnSpc>
                          <a:spcPct val="100000"/>
                        </a:lnSpc>
                        <a:buClr>
                          <a:srgbClr val="006FAC"/>
                        </a:buClr>
                        <a:buFont typeface="Arial"/>
                        <a:buChar char="•"/>
                        <a:tabLst>
                          <a:tab pos="227329" algn="l"/>
                        </a:tabLst>
                      </a:pPr>
                      <a:r>
                        <a:rPr sz="900" spc="-5">
                          <a:solidFill>
                            <a:srgbClr val="7E7E7E"/>
                          </a:solidFill>
                          <a:latin typeface="Verdana"/>
                          <a:cs typeface="Verdana"/>
                        </a:rPr>
                        <a:t>Herndon</a:t>
                      </a:r>
                      <a:endParaRPr sz="900">
                        <a:latin typeface="Verdana"/>
                        <a:cs typeface="Verdana"/>
                      </a:endParaRPr>
                    </a:p>
                    <a:p>
                      <a:pPr marL="226695" indent="-114935">
                        <a:lnSpc>
                          <a:spcPct val="100000"/>
                        </a:lnSpc>
                        <a:buClr>
                          <a:srgbClr val="006FAC"/>
                        </a:buClr>
                        <a:buFont typeface="Arial"/>
                        <a:buChar char="•"/>
                        <a:tabLst>
                          <a:tab pos="227329" algn="l"/>
                        </a:tabLst>
                      </a:pPr>
                      <a:r>
                        <a:rPr sz="900">
                          <a:solidFill>
                            <a:srgbClr val="7E7E7E"/>
                          </a:solidFill>
                          <a:latin typeface="Verdana"/>
                          <a:cs typeface="Verdana"/>
                        </a:rPr>
                        <a:t>Dallas</a:t>
                      </a:r>
                      <a:endParaRPr sz="900">
                        <a:latin typeface="Verdana"/>
                        <a:cs typeface="Verdana"/>
                      </a:endParaRPr>
                    </a:p>
                    <a:p>
                      <a:pPr marL="226695" indent="-114935">
                        <a:lnSpc>
                          <a:spcPct val="100000"/>
                        </a:lnSpc>
                        <a:spcBef>
                          <a:spcPts val="5"/>
                        </a:spcBef>
                        <a:buClr>
                          <a:srgbClr val="006FAC"/>
                        </a:buClr>
                        <a:buFont typeface="Arial"/>
                        <a:buChar char="•"/>
                        <a:tabLst>
                          <a:tab pos="227329" algn="l"/>
                        </a:tabLst>
                      </a:pPr>
                      <a:r>
                        <a:rPr sz="900">
                          <a:solidFill>
                            <a:srgbClr val="7E7E7E"/>
                          </a:solidFill>
                          <a:latin typeface="Verdana"/>
                          <a:cs typeface="Verdana"/>
                        </a:rPr>
                        <a:t>Detroit</a:t>
                      </a:r>
                      <a:endParaRPr sz="900">
                        <a:latin typeface="Verdana"/>
                        <a:cs typeface="Verdana"/>
                      </a:endParaRPr>
                    </a:p>
                  </a:txBody>
                  <a:tcPr marL="0" marR="0" marT="38100" marB="0">
                    <a:lnL w="3175">
                      <a:solidFill>
                        <a:srgbClr val="006FAC"/>
                      </a:solidFill>
                      <a:prstDash val="solid"/>
                    </a:lnL>
                    <a:lnB w="3175">
                      <a:solidFill>
                        <a:srgbClr val="006FAC"/>
                      </a:solidFill>
                      <a:prstDash val="solid"/>
                    </a:lnB>
                  </a:tcPr>
                </a:tc>
                <a:tc>
                  <a:txBody>
                    <a:bodyPr/>
                    <a:lstStyle/>
                    <a:p>
                      <a:pPr marL="109220">
                        <a:lnSpc>
                          <a:spcPct val="100000"/>
                        </a:lnSpc>
                        <a:spcBef>
                          <a:spcPts val="300"/>
                        </a:spcBef>
                      </a:pPr>
                      <a:r>
                        <a:rPr sz="900" b="1" spc="-5">
                          <a:latin typeface="Verdana"/>
                          <a:cs typeface="Verdana"/>
                        </a:rPr>
                        <a:t>Canada</a:t>
                      </a:r>
                      <a:endParaRPr sz="900">
                        <a:latin typeface="Verdana"/>
                        <a:cs typeface="Verdana"/>
                      </a:endParaRPr>
                    </a:p>
                    <a:p>
                      <a:pPr marL="223520" indent="-114935">
                        <a:lnSpc>
                          <a:spcPct val="100000"/>
                        </a:lnSpc>
                        <a:buClr>
                          <a:srgbClr val="006FAC"/>
                        </a:buClr>
                        <a:buFont typeface="Arial"/>
                        <a:buChar char="•"/>
                        <a:tabLst>
                          <a:tab pos="224154" algn="l"/>
                        </a:tabLst>
                      </a:pPr>
                      <a:r>
                        <a:rPr sz="900" spc="-5">
                          <a:solidFill>
                            <a:srgbClr val="7E7E7E"/>
                          </a:solidFill>
                          <a:latin typeface="Verdana"/>
                          <a:cs typeface="Verdana"/>
                        </a:rPr>
                        <a:t>Toronto</a:t>
                      </a:r>
                      <a:endParaRPr sz="900">
                        <a:latin typeface="Verdana"/>
                        <a:cs typeface="Verdana"/>
                      </a:endParaRPr>
                    </a:p>
                    <a:p>
                      <a:pPr>
                        <a:lnSpc>
                          <a:spcPct val="100000"/>
                        </a:lnSpc>
                        <a:spcBef>
                          <a:spcPts val="45"/>
                        </a:spcBef>
                        <a:buClr>
                          <a:srgbClr val="006FAC"/>
                        </a:buClr>
                        <a:buFont typeface="Arial"/>
                        <a:buChar char="•"/>
                      </a:pPr>
                      <a:endParaRPr sz="900">
                        <a:latin typeface="Times New Roman"/>
                        <a:cs typeface="Times New Roman"/>
                      </a:endParaRPr>
                    </a:p>
                    <a:p>
                      <a:pPr marL="109220">
                        <a:lnSpc>
                          <a:spcPct val="100000"/>
                        </a:lnSpc>
                      </a:pPr>
                      <a:r>
                        <a:rPr sz="900" b="1" spc="-5">
                          <a:latin typeface="Verdana"/>
                          <a:cs typeface="Verdana"/>
                        </a:rPr>
                        <a:t>Guatemala</a:t>
                      </a:r>
                      <a:endParaRPr sz="900">
                        <a:latin typeface="Verdana"/>
                        <a:cs typeface="Verdana"/>
                      </a:endParaRPr>
                    </a:p>
                    <a:p>
                      <a:pPr marL="223520" marR="64135" indent="-114300">
                        <a:lnSpc>
                          <a:spcPct val="100000"/>
                        </a:lnSpc>
                        <a:buClr>
                          <a:srgbClr val="006FAC"/>
                        </a:buClr>
                        <a:buFont typeface="Arial"/>
                        <a:buChar char="•"/>
                        <a:tabLst>
                          <a:tab pos="224154" algn="l"/>
                        </a:tabLst>
                      </a:pPr>
                      <a:r>
                        <a:rPr sz="900" spc="-5">
                          <a:solidFill>
                            <a:srgbClr val="7E7E7E"/>
                          </a:solidFill>
                          <a:latin typeface="Verdana"/>
                          <a:cs typeface="Verdana"/>
                        </a:rPr>
                        <a:t>G</a:t>
                      </a:r>
                      <a:r>
                        <a:rPr sz="900" spc="-10">
                          <a:solidFill>
                            <a:srgbClr val="7E7E7E"/>
                          </a:solidFill>
                          <a:latin typeface="Verdana"/>
                          <a:cs typeface="Verdana"/>
                        </a:rPr>
                        <a:t>u</a:t>
                      </a:r>
                      <a:r>
                        <a:rPr sz="900">
                          <a:solidFill>
                            <a:srgbClr val="7E7E7E"/>
                          </a:solidFill>
                          <a:latin typeface="Verdana"/>
                          <a:cs typeface="Verdana"/>
                        </a:rPr>
                        <a:t>atema</a:t>
                      </a:r>
                      <a:r>
                        <a:rPr sz="900" spc="5">
                          <a:solidFill>
                            <a:srgbClr val="7E7E7E"/>
                          </a:solidFill>
                          <a:latin typeface="Verdana"/>
                          <a:cs typeface="Verdana"/>
                        </a:rPr>
                        <a:t>l</a:t>
                      </a:r>
                      <a:r>
                        <a:rPr sz="900">
                          <a:solidFill>
                            <a:srgbClr val="7E7E7E"/>
                          </a:solidFill>
                          <a:latin typeface="Verdana"/>
                          <a:cs typeface="Verdana"/>
                        </a:rPr>
                        <a:t>a  </a:t>
                      </a:r>
                      <a:r>
                        <a:rPr sz="900" spc="-5">
                          <a:solidFill>
                            <a:srgbClr val="7E7E7E"/>
                          </a:solidFill>
                          <a:latin typeface="Verdana"/>
                          <a:cs typeface="Verdana"/>
                        </a:rPr>
                        <a:t>City</a:t>
                      </a:r>
                      <a:endParaRPr sz="900">
                        <a:latin typeface="Verdana"/>
                        <a:cs typeface="Verdana"/>
                      </a:endParaRPr>
                    </a:p>
                  </a:txBody>
                  <a:tcPr marL="0" marR="0" marT="38100" marB="0">
                    <a:lnT w="3175">
                      <a:solidFill>
                        <a:srgbClr val="006FAC"/>
                      </a:solidFill>
                      <a:prstDash val="solid"/>
                    </a:lnT>
                    <a:lnB w="3175">
                      <a:solidFill>
                        <a:srgbClr val="006FAC"/>
                      </a:solidFill>
                      <a:prstDash val="solid"/>
                    </a:lnB>
                  </a:tcPr>
                </a:tc>
                <a:tc>
                  <a:txBody>
                    <a:bodyPr/>
                    <a:lstStyle/>
                    <a:p>
                      <a:pPr>
                        <a:lnSpc>
                          <a:spcPct val="100000"/>
                        </a:lnSpc>
                      </a:pPr>
                      <a:endParaRPr sz="1000">
                        <a:latin typeface="Times New Roman"/>
                        <a:cs typeface="Times New Roman"/>
                      </a:endParaRPr>
                    </a:p>
                  </a:txBody>
                  <a:tcPr marL="0" marR="0" marT="0" marB="0">
                    <a:lnT w="3175">
                      <a:solidFill>
                        <a:srgbClr val="006FAC"/>
                      </a:solidFill>
                      <a:prstDash val="solid"/>
                    </a:lnT>
                    <a:lnB w="3175">
                      <a:solidFill>
                        <a:srgbClr val="006FAC"/>
                      </a:solidFill>
                      <a:prstDash val="solid"/>
                    </a:lnB>
                  </a:tcPr>
                </a:tc>
                <a:tc>
                  <a:txBody>
                    <a:bodyPr/>
                    <a:lstStyle/>
                    <a:p>
                      <a:pPr marL="149860">
                        <a:lnSpc>
                          <a:spcPct val="100000"/>
                        </a:lnSpc>
                        <a:spcBef>
                          <a:spcPts val="300"/>
                        </a:spcBef>
                        <a:tabLst>
                          <a:tab pos="1278255" algn="l"/>
                        </a:tabLst>
                      </a:pPr>
                      <a:r>
                        <a:rPr sz="900" b="1" spc="-5">
                          <a:latin typeface="Verdana"/>
                          <a:cs typeface="Verdana"/>
                        </a:rPr>
                        <a:t>Mexico	Brazil</a:t>
                      </a:r>
                      <a:endParaRPr sz="900">
                        <a:latin typeface="Verdana"/>
                        <a:cs typeface="Verdana"/>
                      </a:endParaRPr>
                    </a:p>
                    <a:p>
                      <a:pPr marL="264160" indent="-114935">
                        <a:lnSpc>
                          <a:spcPct val="100000"/>
                        </a:lnSpc>
                        <a:buClr>
                          <a:srgbClr val="006FAC"/>
                        </a:buClr>
                        <a:buFont typeface="Arial"/>
                        <a:buChar char="•"/>
                        <a:tabLst>
                          <a:tab pos="264795" algn="l"/>
                          <a:tab pos="1278255" algn="l"/>
                        </a:tabLst>
                      </a:pPr>
                      <a:r>
                        <a:rPr sz="900" spc="-5">
                          <a:solidFill>
                            <a:srgbClr val="2B133C"/>
                          </a:solidFill>
                          <a:latin typeface="Verdana"/>
                          <a:cs typeface="Verdana"/>
                        </a:rPr>
                        <a:t>Santa </a:t>
                      </a:r>
                      <a:r>
                        <a:rPr sz="900">
                          <a:solidFill>
                            <a:srgbClr val="2B133C"/>
                          </a:solidFill>
                          <a:latin typeface="Verdana"/>
                          <a:cs typeface="Verdana"/>
                        </a:rPr>
                        <a:t>Fé	</a:t>
                      </a:r>
                      <a:r>
                        <a:rPr sz="900">
                          <a:solidFill>
                            <a:srgbClr val="006FAC"/>
                          </a:solidFill>
                          <a:latin typeface="Arial"/>
                          <a:cs typeface="Arial"/>
                        </a:rPr>
                        <a:t>• </a:t>
                      </a:r>
                      <a:r>
                        <a:rPr sz="900" spc="-5">
                          <a:solidFill>
                            <a:srgbClr val="2B133C"/>
                          </a:solidFill>
                          <a:latin typeface="Verdana"/>
                          <a:cs typeface="Verdana"/>
                        </a:rPr>
                        <a:t>Sao</a:t>
                      </a:r>
                      <a:r>
                        <a:rPr sz="900" spc="45">
                          <a:solidFill>
                            <a:srgbClr val="2B133C"/>
                          </a:solidFill>
                          <a:latin typeface="Verdana"/>
                          <a:cs typeface="Verdana"/>
                        </a:rPr>
                        <a:t> </a:t>
                      </a:r>
                      <a:r>
                        <a:rPr sz="900" spc="-5">
                          <a:solidFill>
                            <a:srgbClr val="2B133C"/>
                          </a:solidFill>
                          <a:latin typeface="Verdana"/>
                          <a:cs typeface="Verdana"/>
                        </a:rPr>
                        <a:t>Paulo</a:t>
                      </a:r>
                      <a:endParaRPr sz="900">
                        <a:latin typeface="Verdana"/>
                        <a:cs typeface="Verdana"/>
                      </a:endParaRPr>
                    </a:p>
                    <a:p>
                      <a:pPr marL="264160" indent="-114935">
                        <a:lnSpc>
                          <a:spcPct val="100000"/>
                        </a:lnSpc>
                        <a:buClr>
                          <a:srgbClr val="006FAC"/>
                        </a:buClr>
                        <a:buFont typeface="Arial"/>
                        <a:buChar char="•"/>
                        <a:tabLst>
                          <a:tab pos="264795" algn="l"/>
                          <a:tab pos="1278255" algn="l"/>
                        </a:tabLst>
                      </a:pPr>
                      <a:r>
                        <a:rPr sz="900" spc="-5">
                          <a:solidFill>
                            <a:srgbClr val="2B133C"/>
                          </a:solidFill>
                          <a:latin typeface="Verdana"/>
                          <a:cs typeface="Verdana"/>
                        </a:rPr>
                        <a:t>Aguascalientes	</a:t>
                      </a:r>
                      <a:r>
                        <a:rPr sz="900">
                          <a:solidFill>
                            <a:srgbClr val="006FAC"/>
                          </a:solidFill>
                          <a:latin typeface="Arial"/>
                          <a:cs typeface="Arial"/>
                        </a:rPr>
                        <a:t>• </a:t>
                      </a:r>
                      <a:r>
                        <a:rPr sz="900" spc="-5">
                          <a:solidFill>
                            <a:srgbClr val="2B133C"/>
                          </a:solidFill>
                          <a:latin typeface="Verdana"/>
                          <a:cs typeface="Verdana"/>
                        </a:rPr>
                        <a:t>Rio</a:t>
                      </a:r>
                      <a:r>
                        <a:rPr sz="900" spc="60">
                          <a:solidFill>
                            <a:srgbClr val="2B133C"/>
                          </a:solidFill>
                          <a:latin typeface="Verdana"/>
                          <a:cs typeface="Verdana"/>
                        </a:rPr>
                        <a:t> </a:t>
                      </a:r>
                      <a:r>
                        <a:rPr sz="900">
                          <a:solidFill>
                            <a:srgbClr val="2B133C"/>
                          </a:solidFill>
                          <a:latin typeface="Verdana"/>
                          <a:cs typeface="Verdana"/>
                        </a:rPr>
                        <a:t>de</a:t>
                      </a:r>
                      <a:endParaRPr sz="900">
                        <a:latin typeface="Verdana"/>
                        <a:cs typeface="Verdana"/>
                      </a:endParaRPr>
                    </a:p>
                    <a:p>
                      <a:pPr marL="1392555">
                        <a:lnSpc>
                          <a:spcPct val="100000"/>
                        </a:lnSpc>
                      </a:pPr>
                      <a:r>
                        <a:rPr sz="900" spc="-5">
                          <a:solidFill>
                            <a:srgbClr val="2B133C"/>
                          </a:solidFill>
                          <a:latin typeface="Verdana"/>
                          <a:cs typeface="Verdana"/>
                        </a:rPr>
                        <a:t>Janeiro</a:t>
                      </a:r>
                      <a:endParaRPr sz="900">
                        <a:latin typeface="Verdana"/>
                        <a:cs typeface="Verdana"/>
                      </a:endParaRPr>
                    </a:p>
                    <a:p>
                      <a:pPr marL="1392555" marR="205104" lvl="1" indent="-114300">
                        <a:lnSpc>
                          <a:spcPct val="100000"/>
                        </a:lnSpc>
                        <a:buClr>
                          <a:srgbClr val="006FAC"/>
                        </a:buClr>
                        <a:buFont typeface="Arial"/>
                        <a:buChar char="•"/>
                        <a:tabLst>
                          <a:tab pos="1393190" algn="l"/>
                        </a:tabLst>
                      </a:pPr>
                      <a:r>
                        <a:rPr sz="900" spc="-5">
                          <a:solidFill>
                            <a:srgbClr val="2B133C"/>
                          </a:solidFill>
                          <a:latin typeface="Verdana"/>
                          <a:cs typeface="Verdana"/>
                        </a:rPr>
                        <a:t>Belo  H</a:t>
                      </a:r>
                      <a:r>
                        <a:rPr sz="900">
                          <a:solidFill>
                            <a:srgbClr val="2B133C"/>
                          </a:solidFill>
                          <a:latin typeface="Verdana"/>
                          <a:cs typeface="Verdana"/>
                        </a:rPr>
                        <a:t>or</a:t>
                      </a:r>
                      <a:r>
                        <a:rPr sz="900" spc="5">
                          <a:solidFill>
                            <a:srgbClr val="2B133C"/>
                          </a:solidFill>
                          <a:latin typeface="Verdana"/>
                          <a:cs typeface="Verdana"/>
                        </a:rPr>
                        <a:t>i</a:t>
                      </a:r>
                      <a:r>
                        <a:rPr sz="900" spc="-5">
                          <a:solidFill>
                            <a:srgbClr val="2B133C"/>
                          </a:solidFill>
                          <a:latin typeface="Verdana"/>
                          <a:cs typeface="Verdana"/>
                        </a:rPr>
                        <a:t>z</a:t>
                      </a:r>
                      <a:r>
                        <a:rPr sz="900">
                          <a:solidFill>
                            <a:srgbClr val="2B133C"/>
                          </a:solidFill>
                          <a:latin typeface="Verdana"/>
                          <a:cs typeface="Verdana"/>
                        </a:rPr>
                        <a:t>o</a:t>
                      </a:r>
                      <a:r>
                        <a:rPr sz="900" spc="-10">
                          <a:solidFill>
                            <a:srgbClr val="2B133C"/>
                          </a:solidFill>
                          <a:latin typeface="Verdana"/>
                          <a:cs typeface="Verdana"/>
                        </a:rPr>
                        <a:t>n</a:t>
                      </a:r>
                      <a:r>
                        <a:rPr sz="900">
                          <a:solidFill>
                            <a:srgbClr val="2B133C"/>
                          </a:solidFill>
                          <a:latin typeface="Verdana"/>
                          <a:cs typeface="Verdana"/>
                        </a:rPr>
                        <a:t>te</a:t>
                      </a:r>
                      <a:endParaRPr sz="900">
                        <a:latin typeface="Verdana"/>
                        <a:cs typeface="Verdana"/>
                      </a:endParaRPr>
                    </a:p>
                    <a:p>
                      <a:pPr marL="1393190" lvl="1" indent="-114935">
                        <a:lnSpc>
                          <a:spcPct val="100000"/>
                        </a:lnSpc>
                        <a:buClr>
                          <a:srgbClr val="006FAC"/>
                        </a:buClr>
                        <a:buFont typeface="Arial"/>
                        <a:buChar char="•"/>
                        <a:tabLst>
                          <a:tab pos="1393190" algn="l"/>
                        </a:tabLst>
                      </a:pPr>
                      <a:r>
                        <a:rPr sz="900">
                          <a:solidFill>
                            <a:srgbClr val="2B133C"/>
                          </a:solidFill>
                          <a:latin typeface="Verdana"/>
                          <a:cs typeface="Verdana"/>
                        </a:rPr>
                        <a:t>Salvador</a:t>
                      </a:r>
                      <a:endParaRPr sz="900">
                        <a:latin typeface="Verdana"/>
                        <a:cs typeface="Verdana"/>
                      </a:endParaRPr>
                    </a:p>
                  </a:txBody>
                  <a:tcPr marL="0" marR="0" marT="38100" marB="0">
                    <a:lnT w="3175">
                      <a:solidFill>
                        <a:srgbClr val="006FAC"/>
                      </a:solidFill>
                      <a:prstDash val="solid"/>
                    </a:lnT>
                    <a:lnB w="3175">
                      <a:solidFill>
                        <a:srgbClr val="006FAC"/>
                      </a:solidFill>
                      <a:prstDash val="solid"/>
                    </a:lnB>
                  </a:tcPr>
                </a:tc>
                <a:tc>
                  <a:txBody>
                    <a:bodyPr/>
                    <a:lstStyle/>
                    <a:p>
                      <a:pPr marL="113664">
                        <a:lnSpc>
                          <a:spcPct val="100000"/>
                        </a:lnSpc>
                        <a:spcBef>
                          <a:spcPts val="300"/>
                        </a:spcBef>
                      </a:pPr>
                      <a:r>
                        <a:rPr sz="900" b="1" spc="-5">
                          <a:latin typeface="Verdana"/>
                          <a:cs typeface="Verdana"/>
                        </a:rPr>
                        <a:t>Argentina</a:t>
                      </a:r>
                      <a:endParaRPr sz="900">
                        <a:latin typeface="Verdana"/>
                        <a:cs typeface="Verdana"/>
                      </a:endParaRPr>
                    </a:p>
                    <a:p>
                      <a:pPr marL="227965" marR="223520" indent="-114300">
                        <a:lnSpc>
                          <a:spcPct val="100000"/>
                        </a:lnSpc>
                        <a:buClr>
                          <a:srgbClr val="006FAC"/>
                        </a:buClr>
                        <a:buFont typeface="Arial"/>
                        <a:buChar char="•"/>
                        <a:tabLst>
                          <a:tab pos="228600" algn="l"/>
                        </a:tabLst>
                      </a:pPr>
                      <a:r>
                        <a:rPr sz="900" spc="-5">
                          <a:solidFill>
                            <a:srgbClr val="7E7E7E"/>
                          </a:solidFill>
                          <a:latin typeface="Verdana"/>
                          <a:cs typeface="Verdana"/>
                        </a:rPr>
                        <a:t>B</a:t>
                      </a:r>
                      <a:r>
                        <a:rPr sz="900" spc="-10">
                          <a:solidFill>
                            <a:srgbClr val="7E7E7E"/>
                          </a:solidFill>
                          <a:latin typeface="Verdana"/>
                          <a:cs typeface="Verdana"/>
                        </a:rPr>
                        <a:t>u</a:t>
                      </a:r>
                      <a:r>
                        <a:rPr sz="900">
                          <a:solidFill>
                            <a:srgbClr val="7E7E7E"/>
                          </a:solidFill>
                          <a:latin typeface="Verdana"/>
                          <a:cs typeface="Verdana"/>
                        </a:rPr>
                        <a:t>e</a:t>
                      </a:r>
                      <a:r>
                        <a:rPr sz="900" spc="-10">
                          <a:solidFill>
                            <a:srgbClr val="7E7E7E"/>
                          </a:solidFill>
                          <a:latin typeface="Verdana"/>
                          <a:cs typeface="Verdana"/>
                        </a:rPr>
                        <a:t>n</a:t>
                      </a:r>
                      <a:r>
                        <a:rPr sz="900">
                          <a:solidFill>
                            <a:srgbClr val="7E7E7E"/>
                          </a:solidFill>
                          <a:latin typeface="Verdana"/>
                          <a:cs typeface="Verdana"/>
                        </a:rPr>
                        <a:t>os  </a:t>
                      </a:r>
                      <a:r>
                        <a:rPr sz="900" spc="-5">
                          <a:solidFill>
                            <a:srgbClr val="7E7E7E"/>
                          </a:solidFill>
                          <a:latin typeface="Verdana"/>
                          <a:cs typeface="Verdana"/>
                        </a:rPr>
                        <a:t>Aires</a:t>
                      </a:r>
                      <a:endParaRPr sz="900">
                        <a:latin typeface="Verdana"/>
                        <a:cs typeface="Verdana"/>
                      </a:endParaRPr>
                    </a:p>
                  </a:txBody>
                  <a:tcPr marL="0" marR="0" marT="38100" marB="0">
                    <a:lnT w="3175">
                      <a:solidFill>
                        <a:srgbClr val="006FAC"/>
                      </a:solidFill>
                      <a:prstDash val="solid"/>
                    </a:lnT>
                    <a:lnB w="3175">
                      <a:solidFill>
                        <a:srgbClr val="006FAC"/>
                      </a:solidFill>
                      <a:prstDash val="solid"/>
                    </a:lnB>
                  </a:tcPr>
                </a:tc>
                <a:tc>
                  <a:txBody>
                    <a:bodyPr/>
                    <a:lstStyle/>
                    <a:p>
                      <a:pPr marL="227329">
                        <a:lnSpc>
                          <a:spcPct val="100000"/>
                        </a:lnSpc>
                        <a:spcBef>
                          <a:spcPts val="300"/>
                        </a:spcBef>
                      </a:pPr>
                      <a:r>
                        <a:rPr sz="900" b="1" spc="-5">
                          <a:latin typeface="Verdana"/>
                          <a:cs typeface="Verdana"/>
                        </a:rPr>
                        <a:t>Chile</a:t>
                      </a:r>
                      <a:endParaRPr sz="900">
                        <a:latin typeface="Verdana"/>
                        <a:cs typeface="Verdana"/>
                      </a:endParaRPr>
                    </a:p>
                    <a:p>
                      <a:pPr marL="341630" indent="-114935">
                        <a:lnSpc>
                          <a:spcPct val="100000"/>
                        </a:lnSpc>
                        <a:buClr>
                          <a:srgbClr val="006FAC"/>
                        </a:buClr>
                        <a:buFont typeface="Arial"/>
                        <a:buChar char="•"/>
                        <a:tabLst>
                          <a:tab pos="342265" algn="l"/>
                        </a:tabLst>
                      </a:pPr>
                      <a:r>
                        <a:rPr sz="900" spc="-5">
                          <a:solidFill>
                            <a:srgbClr val="7E7E7E"/>
                          </a:solidFill>
                          <a:latin typeface="Verdana"/>
                          <a:cs typeface="Verdana"/>
                        </a:rPr>
                        <a:t>Santiago</a:t>
                      </a:r>
                      <a:endParaRPr sz="900">
                        <a:latin typeface="Verdana"/>
                        <a:cs typeface="Verdana"/>
                      </a:endParaRPr>
                    </a:p>
                  </a:txBody>
                  <a:tcPr marL="0" marR="0" marT="38100" marB="0">
                    <a:lnR w="3175">
                      <a:solidFill>
                        <a:srgbClr val="006FAC"/>
                      </a:solidFill>
                      <a:prstDash val="solid"/>
                    </a:lnR>
                    <a:lnT w="3175">
                      <a:solidFill>
                        <a:srgbClr val="006FAC"/>
                      </a:solidFill>
                      <a:prstDash val="solid"/>
                    </a:lnT>
                    <a:lnB w="3175">
                      <a:solidFill>
                        <a:srgbClr val="006FAC"/>
                      </a:solidFill>
                      <a:prstDash val="solid"/>
                    </a:lnB>
                  </a:tcPr>
                </a:tc>
                <a:extLst>
                  <a:ext uri="{0D108BD9-81ED-4DB2-BD59-A6C34878D82A}">
                    <a16:rowId xmlns:a16="http://schemas.microsoft.com/office/drawing/2014/main" val="10003"/>
                  </a:ext>
                </a:extLst>
              </a:tr>
            </a:tbl>
          </a:graphicData>
        </a:graphic>
      </p:graphicFrame>
      <p:sp>
        <p:nvSpPr>
          <p:cNvPr id="13" name="object 1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4" name="object 1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8</a:t>
            </a:fld>
            <a:endParaRPr/>
          </a:p>
        </p:txBody>
      </p:sp>
      <p:sp>
        <p:nvSpPr>
          <p:cNvPr id="12" name="object 12"/>
          <p:cNvSpPr txBox="1">
            <a:spLocks noGrp="1"/>
          </p:cNvSpPr>
          <p:nvPr>
            <p:ph type="title"/>
          </p:nvPr>
        </p:nvSpPr>
        <p:spPr>
          <a:xfrm>
            <a:off x="490829" y="152781"/>
            <a:ext cx="9049385" cy="863600"/>
          </a:xfrm>
          <a:prstGeom prst="rect">
            <a:avLst/>
          </a:prstGeom>
        </p:spPr>
        <p:txBody>
          <a:bodyPr vert="horz" wrap="square" lIns="0" tIns="12700" rIns="0" bIns="0" rtlCol="0">
            <a:spAutoFit/>
          </a:bodyPr>
          <a:lstStyle/>
          <a:p>
            <a:pPr marL="12700" marR="5080">
              <a:lnSpc>
                <a:spcPct val="114599"/>
              </a:lnSpc>
              <a:spcBef>
                <a:spcPts val="100"/>
              </a:spcBef>
            </a:pPr>
            <a:r>
              <a:rPr spc="-5"/>
              <a:t>Capgemini is </a:t>
            </a:r>
            <a:r>
              <a:t>a </a:t>
            </a:r>
            <a:r>
              <a:rPr spc="-30"/>
              <a:t>World </a:t>
            </a:r>
            <a:r>
              <a:rPr spc="-5"/>
              <a:t>Leader </a:t>
            </a:r>
            <a:r>
              <a:rPr spc="-10"/>
              <a:t>in </a:t>
            </a:r>
            <a:r>
              <a:rPr spc="-5"/>
              <a:t>Application Development </a:t>
            </a:r>
            <a:r>
              <a:t>&amp;  Maintenance</a:t>
            </a:r>
            <a:r>
              <a:rPr spc="-5"/>
              <a:t> </a:t>
            </a:r>
            <a:r>
              <a:t>(ADM)</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97241" y="1534245"/>
            <a:ext cx="2808840" cy="3247939"/>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1192783" y="2991992"/>
            <a:ext cx="1374140" cy="537845"/>
          </a:xfrm>
          <a:prstGeom prst="rect">
            <a:avLst/>
          </a:prstGeom>
        </p:spPr>
        <p:txBody>
          <a:bodyPr vert="horz" wrap="square" lIns="0" tIns="33020" rIns="0" bIns="0" rtlCol="0">
            <a:spAutoFit/>
          </a:bodyPr>
          <a:lstStyle/>
          <a:p>
            <a:pPr marL="12065" marR="5080" indent="-2540" algn="ctr">
              <a:lnSpc>
                <a:spcPts val="1300"/>
              </a:lnSpc>
              <a:spcBef>
                <a:spcPts val="260"/>
              </a:spcBef>
            </a:pPr>
            <a:r>
              <a:rPr sz="1200" spc="-10">
                <a:latin typeface="Verdana"/>
                <a:cs typeface="Verdana"/>
              </a:rPr>
              <a:t>Application  </a:t>
            </a:r>
            <a:r>
              <a:rPr sz="1200" spc="-5">
                <a:latin typeface="Verdana"/>
                <a:cs typeface="Verdana"/>
              </a:rPr>
              <a:t>Development</a:t>
            </a:r>
            <a:r>
              <a:rPr sz="1200" spc="-70">
                <a:latin typeface="Verdana"/>
                <a:cs typeface="Verdana"/>
              </a:rPr>
              <a:t> </a:t>
            </a:r>
            <a:r>
              <a:rPr sz="1200" spc="-5">
                <a:latin typeface="Verdana"/>
                <a:cs typeface="Verdana"/>
              </a:rPr>
              <a:t>and  Maintenance</a:t>
            </a:r>
            <a:endParaRPr sz="1200">
              <a:latin typeface="Verdana"/>
              <a:cs typeface="Verdana"/>
            </a:endParaRPr>
          </a:p>
        </p:txBody>
      </p:sp>
      <p:sp>
        <p:nvSpPr>
          <p:cNvPr id="4" name="object 4"/>
          <p:cNvSpPr/>
          <p:nvPr/>
        </p:nvSpPr>
        <p:spPr>
          <a:xfrm>
            <a:off x="6976871" y="3253740"/>
            <a:ext cx="76200" cy="533400"/>
          </a:xfrm>
          <a:custGeom>
            <a:avLst/>
            <a:gdLst/>
            <a:ahLst/>
            <a:cxnLst/>
            <a:rect l="l" t="t" r="r" b="b"/>
            <a:pathLst>
              <a:path w="76200" h="533400">
                <a:moveTo>
                  <a:pt x="31750" y="458478"/>
                </a:moveTo>
                <a:lnTo>
                  <a:pt x="23252" y="460188"/>
                </a:lnTo>
                <a:lnTo>
                  <a:pt x="11144" y="468344"/>
                </a:lnTo>
                <a:lnTo>
                  <a:pt x="2988" y="480452"/>
                </a:lnTo>
                <a:lnTo>
                  <a:pt x="0" y="495300"/>
                </a:lnTo>
                <a:lnTo>
                  <a:pt x="2988" y="510147"/>
                </a:lnTo>
                <a:lnTo>
                  <a:pt x="11144" y="522255"/>
                </a:lnTo>
                <a:lnTo>
                  <a:pt x="23252" y="530411"/>
                </a:lnTo>
                <a:lnTo>
                  <a:pt x="38100" y="533400"/>
                </a:lnTo>
                <a:lnTo>
                  <a:pt x="52947" y="530411"/>
                </a:lnTo>
                <a:lnTo>
                  <a:pt x="65055" y="522255"/>
                </a:lnTo>
                <a:lnTo>
                  <a:pt x="73211" y="510147"/>
                </a:lnTo>
                <a:lnTo>
                  <a:pt x="76200" y="495300"/>
                </a:lnTo>
                <a:lnTo>
                  <a:pt x="31750" y="495300"/>
                </a:lnTo>
                <a:lnTo>
                  <a:pt x="31750" y="458478"/>
                </a:lnTo>
                <a:close/>
              </a:path>
              <a:path w="76200" h="533400">
                <a:moveTo>
                  <a:pt x="38100" y="457200"/>
                </a:moveTo>
                <a:lnTo>
                  <a:pt x="31750" y="458478"/>
                </a:lnTo>
                <a:lnTo>
                  <a:pt x="31750" y="495300"/>
                </a:lnTo>
                <a:lnTo>
                  <a:pt x="44450" y="495300"/>
                </a:lnTo>
                <a:lnTo>
                  <a:pt x="44450" y="458478"/>
                </a:lnTo>
                <a:lnTo>
                  <a:pt x="38100" y="457200"/>
                </a:lnTo>
                <a:close/>
              </a:path>
              <a:path w="76200" h="533400">
                <a:moveTo>
                  <a:pt x="44450" y="458478"/>
                </a:moveTo>
                <a:lnTo>
                  <a:pt x="44450" y="495300"/>
                </a:lnTo>
                <a:lnTo>
                  <a:pt x="76200" y="495300"/>
                </a:lnTo>
                <a:lnTo>
                  <a:pt x="73211" y="480452"/>
                </a:lnTo>
                <a:lnTo>
                  <a:pt x="65055" y="468344"/>
                </a:lnTo>
                <a:lnTo>
                  <a:pt x="52947" y="460188"/>
                </a:lnTo>
                <a:lnTo>
                  <a:pt x="44450" y="458478"/>
                </a:lnTo>
                <a:close/>
              </a:path>
              <a:path w="76200" h="533400">
                <a:moveTo>
                  <a:pt x="31750" y="74921"/>
                </a:moveTo>
                <a:lnTo>
                  <a:pt x="31750" y="458478"/>
                </a:lnTo>
                <a:lnTo>
                  <a:pt x="38100" y="457200"/>
                </a:lnTo>
                <a:lnTo>
                  <a:pt x="44450" y="457200"/>
                </a:lnTo>
                <a:lnTo>
                  <a:pt x="44450" y="76200"/>
                </a:lnTo>
                <a:lnTo>
                  <a:pt x="38100" y="76200"/>
                </a:lnTo>
                <a:lnTo>
                  <a:pt x="31750" y="74921"/>
                </a:lnTo>
                <a:close/>
              </a:path>
              <a:path w="76200" h="533400">
                <a:moveTo>
                  <a:pt x="44450" y="457200"/>
                </a:moveTo>
                <a:lnTo>
                  <a:pt x="38100" y="457200"/>
                </a:lnTo>
                <a:lnTo>
                  <a:pt x="44450" y="458478"/>
                </a:lnTo>
                <a:lnTo>
                  <a:pt x="44450" y="457200"/>
                </a:lnTo>
                <a:close/>
              </a:path>
              <a:path w="76200" h="533400">
                <a:moveTo>
                  <a:pt x="44450" y="38100"/>
                </a:moveTo>
                <a:lnTo>
                  <a:pt x="31750" y="38100"/>
                </a:lnTo>
                <a:lnTo>
                  <a:pt x="31750" y="74921"/>
                </a:lnTo>
                <a:lnTo>
                  <a:pt x="38100" y="76200"/>
                </a:lnTo>
                <a:lnTo>
                  <a:pt x="44450" y="74921"/>
                </a:lnTo>
                <a:lnTo>
                  <a:pt x="44450" y="38100"/>
                </a:lnTo>
                <a:close/>
              </a:path>
              <a:path w="76200" h="533400">
                <a:moveTo>
                  <a:pt x="44450" y="74921"/>
                </a:moveTo>
                <a:lnTo>
                  <a:pt x="38100" y="76200"/>
                </a:lnTo>
                <a:lnTo>
                  <a:pt x="44450" y="76200"/>
                </a:lnTo>
                <a:lnTo>
                  <a:pt x="44450" y="74921"/>
                </a:lnTo>
                <a:close/>
              </a:path>
              <a:path w="76200" h="53340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533400">
                <a:moveTo>
                  <a:pt x="76200" y="38100"/>
                </a:moveTo>
                <a:lnTo>
                  <a:pt x="44450" y="38100"/>
                </a:lnTo>
                <a:lnTo>
                  <a:pt x="44450" y="74921"/>
                </a:lnTo>
                <a:lnTo>
                  <a:pt x="52947" y="73211"/>
                </a:lnTo>
                <a:lnTo>
                  <a:pt x="65055" y="65055"/>
                </a:lnTo>
                <a:lnTo>
                  <a:pt x="73211" y="52947"/>
                </a:lnTo>
                <a:lnTo>
                  <a:pt x="76200" y="38100"/>
                </a:lnTo>
                <a:close/>
              </a:path>
            </a:pathLst>
          </a:custGeom>
          <a:solidFill>
            <a:srgbClr val="998B85"/>
          </a:solidFill>
        </p:spPr>
        <p:txBody>
          <a:bodyPr wrap="square" lIns="0" tIns="0" rIns="0" bIns="0" rtlCol="0"/>
          <a:lstStyle/>
          <a:p>
            <a:endParaRPr/>
          </a:p>
        </p:txBody>
      </p:sp>
      <p:sp>
        <p:nvSpPr>
          <p:cNvPr id="5" name="object 5"/>
          <p:cNvSpPr/>
          <p:nvPr/>
        </p:nvSpPr>
        <p:spPr>
          <a:xfrm>
            <a:off x="473963" y="4527803"/>
            <a:ext cx="2897505" cy="1836420"/>
          </a:xfrm>
          <a:custGeom>
            <a:avLst/>
            <a:gdLst/>
            <a:ahLst/>
            <a:cxnLst/>
            <a:rect l="l" t="t" r="r" b="b"/>
            <a:pathLst>
              <a:path w="2897504" h="1836420">
                <a:moveTo>
                  <a:pt x="0" y="1836420"/>
                </a:moveTo>
                <a:lnTo>
                  <a:pt x="2897124" y="1836420"/>
                </a:lnTo>
                <a:lnTo>
                  <a:pt x="2897124" y="0"/>
                </a:lnTo>
                <a:lnTo>
                  <a:pt x="0" y="0"/>
                </a:lnTo>
                <a:lnTo>
                  <a:pt x="0" y="1836420"/>
                </a:lnTo>
                <a:close/>
              </a:path>
            </a:pathLst>
          </a:custGeom>
          <a:solidFill>
            <a:srgbClr val="F1F1F1"/>
          </a:solidFill>
        </p:spPr>
        <p:txBody>
          <a:bodyPr wrap="square" lIns="0" tIns="0" rIns="0" bIns="0" rtlCol="0"/>
          <a:lstStyle/>
          <a:p>
            <a:endParaRPr/>
          </a:p>
        </p:txBody>
      </p:sp>
      <p:sp>
        <p:nvSpPr>
          <p:cNvPr id="6" name="object 6"/>
          <p:cNvSpPr txBox="1"/>
          <p:nvPr/>
        </p:nvSpPr>
        <p:spPr>
          <a:xfrm>
            <a:off x="473963" y="4562094"/>
            <a:ext cx="2897505" cy="1751964"/>
          </a:xfrm>
          <a:prstGeom prst="rect">
            <a:avLst/>
          </a:prstGeom>
        </p:spPr>
        <p:txBody>
          <a:bodyPr vert="horz" wrap="square" lIns="0" tIns="12065" rIns="0" bIns="0" rtlCol="0">
            <a:spAutoFit/>
          </a:bodyPr>
          <a:lstStyle/>
          <a:p>
            <a:pPr marL="92075" marR="385445">
              <a:lnSpc>
                <a:spcPct val="100000"/>
              </a:lnSpc>
              <a:spcBef>
                <a:spcPts val="95"/>
              </a:spcBef>
            </a:pPr>
            <a:r>
              <a:rPr sz="1000" b="1" spc="-10">
                <a:latin typeface="Verdana"/>
                <a:cs typeface="Verdana"/>
              </a:rPr>
              <a:t>Build: </a:t>
            </a:r>
            <a:r>
              <a:rPr sz="1000" spc="-10">
                <a:latin typeface="Verdana"/>
                <a:cs typeface="Verdana"/>
              </a:rPr>
              <a:t>Create </a:t>
            </a:r>
            <a:r>
              <a:rPr sz="1000" spc="-5">
                <a:latin typeface="Verdana"/>
                <a:cs typeface="Verdana"/>
              </a:rPr>
              <a:t>custom </a:t>
            </a:r>
            <a:r>
              <a:rPr sz="1000">
                <a:latin typeface="Verdana"/>
                <a:cs typeface="Verdana"/>
              </a:rPr>
              <a:t>applications </a:t>
            </a:r>
            <a:r>
              <a:rPr sz="1000" spc="-5">
                <a:latin typeface="Verdana"/>
                <a:cs typeface="Verdana"/>
              </a:rPr>
              <a:t>or  implement </a:t>
            </a:r>
            <a:r>
              <a:rPr sz="1000">
                <a:latin typeface="Verdana"/>
                <a:cs typeface="Verdana"/>
              </a:rPr>
              <a:t>industry-specific</a:t>
            </a:r>
            <a:r>
              <a:rPr sz="1000" spc="-20">
                <a:latin typeface="Verdana"/>
                <a:cs typeface="Verdana"/>
              </a:rPr>
              <a:t> </a:t>
            </a:r>
            <a:r>
              <a:rPr sz="1000" spc="-5">
                <a:latin typeface="Verdana"/>
                <a:cs typeface="Verdana"/>
              </a:rPr>
              <a:t>packages</a:t>
            </a:r>
            <a:endParaRPr sz="1000">
              <a:latin typeface="Verdana"/>
              <a:cs typeface="Verdana"/>
            </a:endParaRPr>
          </a:p>
          <a:p>
            <a:pPr marL="92075" marR="340360">
              <a:lnSpc>
                <a:spcPct val="100000"/>
              </a:lnSpc>
              <a:spcBef>
                <a:spcPts val="790"/>
              </a:spcBef>
            </a:pPr>
            <a:r>
              <a:rPr sz="1000" b="1" spc="-10">
                <a:latin typeface="Verdana"/>
                <a:cs typeface="Verdana"/>
              </a:rPr>
              <a:t>Run: </a:t>
            </a:r>
            <a:r>
              <a:rPr sz="1000">
                <a:latin typeface="Verdana"/>
                <a:cs typeface="Verdana"/>
              </a:rPr>
              <a:t>Full suite </a:t>
            </a:r>
            <a:r>
              <a:rPr sz="1000" spc="-5">
                <a:latin typeface="Verdana"/>
                <a:cs typeface="Verdana"/>
              </a:rPr>
              <a:t>of services to </a:t>
            </a:r>
            <a:r>
              <a:rPr sz="1000">
                <a:latin typeface="Verdana"/>
                <a:cs typeface="Verdana"/>
              </a:rPr>
              <a:t>maintain  </a:t>
            </a:r>
            <a:r>
              <a:rPr sz="1000" spc="-5">
                <a:latin typeface="Verdana"/>
                <a:cs typeface="Verdana"/>
              </a:rPr>
              <a:t>your </a:t>
            </a:r>
            <a:r>
              <a:rPr sz="1000">
                <a:latin typeface="Verdana"/>
                <a:cs typeface="Verdana"/>
              </a:rPr>
              <a:t>applications </a:t>
            </a:r>
            <a:r>
              <a:rPr sz="1000" spc="-10">
                <a:latin typeface="Verdana"/>
                <a:cs typeface="Verdana"/>
              </a:rPr>
              <a:t>from </a:t>
            </a:r>
            <a:r>
              <a:rPr sz="1000" spc="-5">
                <a:latin typeface="Verdana"/>
                <a:cs typeface="Verdana"/>
              </a:rPr>
              <a:t>Help Desk to  production support, maintenance and  enhancements</a:t>
            </a:r>
            <a:endParaRPr sz="1000">
              <a:latin typeface="Verdana"/>
              <a:cs typeface="Verdana"/>
            </a:endParaRPr>
          </a:p>
          <a:p>
            <a:pPr marL="92075" marR="481965">
              <a:lnSpc>
                <a:spcPct val="100000"/>
              </a:lnSpc>
              <a:spcBef>
                <a:spcPts val="810"/>
              </a:spcBef>
            </a:pPr>
            <a:r>
              <a:rPr sz="1000" b="1" spc="-5">
                <a:latin typeface="Verdana"/>
                <a:cs typeface="Verdana"/>
              </a:rPr>
              <a:t>Evolve: </a:t>
            </a:r>
            <a:r>
              <a:rPr sz="1000" spc="-5">
                <a:latin typeface="Verdana"/>
                <a:cs typeface="Verdana"/>
              </a:rPr>
              <a:t>Move to the next level </a:t>
            </a:r>
            <a:r>
              <a:rPr sz="1000" spc="-10">
                <a:latin typeface="Verdana"/>
                <a:cs typeface="Verdana"/>
              </a:rPr>
              <a:t>of  </a:t>
            </a:r>
            <a:r>
              <a:rPr sz="1000" spc="-5">
                <a:latin typeface="Verdana"/>
                <a:cs typeface="Verdana"/>
              </a:rPr>
              <a:t>maturity </a:t>
            </a:r>
            <a:r>
              <a:rPr sz="1000" spc="-10">
                <a:latin typeface="Verdana"/>
                <a:cs typeface="Verdana"/>
              </a:rPr>
              <a:t>for </a:t>
            </a:r>
            <a:r>
              <a:rPr sz="1000" spc="-5">
                <a:latin typeface="Verdana"/>
                <a:cs typeface="Verdana"/>
              </a:rPr>
              <a:t>our </a:t>
            </a:r>
            <a:r>
              <a:rPr sz="1000">
                <a:latin typeface="Verdana"/>
                <a:cs typeface="Verdana"/>
              </a:rPr>
              <a:t>clients’ applications</a:t>
            </a:r>
          </a:p>
          <a:p>
            <a:pPr marL="92075" marR="306705">
              <a:lnSpc>
                <a:spcPct val="100000"/>
              </a:lnSpc>
            </a:pPr>
            <a:r>
              <a:rPr sz="1000" spc="-5">
                <a:latin typeface="Verdana"/>
                <a:cs typeface="Verdana"/>
              </a:rPr>
              <a:t>through our continuous transformation  and modernization</a:t>
            </a:r>
            <a:r>
              <a:rPr sz="1000" spc="35">
                <a:latin typeface="Verdana"/>
                <a:cs typeface="Verdana"/>
              </a:rPr>
              <a:t> </a:t>
            </a:r>
            <a:r>
              <a:rPr sz="1000" spc="-5">
                <a:latin typeface="Verdana"/>
                <a:cs typeface="Verdana"/>
              </a:rPr>
              <a:t>services.</a:t>
            </a:r>
            <a:endParaRPr sz="1000">
              <a:latin typeface="Verdana"/>
              <a:cs typeface="Verdana"/>
            </a:endParaRPr>
          </a:p>
        </p:txBody>
      </p:sp>
      <p:sp>
        <p:nvSpPr>
          <p:cNvPr id="7" name="object 7"/>
          <p:cNvSpPr txBox="1"/>
          <p:nvPr/>
        </p:nvSpPr>
        <p:spPr>
          <a:xfrm>
            <a:off x="7171181" y="2165985"/>
            <a:ext cx="1290955" cy="635000"/>
          </a:xfrm>
          <a:prstGeom prst="rect">
            <a:avLst/>
          </a:prstGeom>
        </p:spPr>
        <p:txBody>
          <a:bodyPr vert="horz" wrap="square" lIns="0" tIns="12065" rIns="0" bIns="0" rtlCol="0">
            <a:spAutoFit/>
          </a:bodyPr>
          <a:lstStyle/>
          <a:p>
            <a:pPr marL="184785" indent="-172720">
              <a:lnSpc>
                <a:spcPct val="100000"/>
              </a:lnSpc>
              <a:spcBef>
                <a:spcPts val="95"/>
              </a:spcBef>
              <a:buClr>
                <a:srgbClr val="006FAC"/>
              </a:buClr>
              <a:buFont typeface="Wingdings"/>
              <a:buChar char=""/>
              <a:tabLst>
                <a:tab pos="185420" algn="l"/>
              </a:tabLst>
            </a:pPr>
            <a:r>
              <a:rPr sz="1000" spc="-5">
                <a:latin typeface="Verdana"/>
                <a:cs typeface="Verdana"/>
              </a:rPr>
              <a:t>Monitoring</a:t>
            </a:r>
            <a:endParaRPr sz="1000">
              <a:latin typeface="Verdana"/>
              <a:cs typeface="Verdana"/>
            </a:endParaRPr>
          </a:p>
          <a:p>
            <a:pPr marL="184785" indent="-172720">
              <a:lnSpc>
                <a:spcPct val="100000"/>
              </a:lnSpc>
              <a:buClr>
                <a:srgbClr val="006FAC"/>
              </a:buClr>
              <a:buFont typeface="Wingdings"/>
              <a:buChar char=""/>
              <a:tabLst>
                <a:tab pos="185420" algn="l"/>
              </a:tabLst>
            </a:pPr>
            <a:r>
              <a:rPr sz="1000" spc="-5">
                <a:latin typeface="Verdana"/>
                <a:cs typeface="Verdana"/>
              </a:rPr>
              <a:t>Support</a:t>
            </a:r>
            <a:endParaRPr sz="1000">
              <a:latin typeface="Verdana"/>
              <a:cs typeface="Verdana"/>
            </a:endParaRPr>
          </a:p>
          <a:p>
            <a:pPr marL="184785" indent="-172720">
              <a:lnSpc>
                <a:spcPct val="100000"/>
              </a:lnSpc>
              <a:buClr>
                <a:srgbClr val="006FAC"/>
              </a:buClr>
              <a:buFont typeface="Wingdings"/>
              <a:buChar char=""/>
              <a:tabLst>
                <a:tab pos="185420" algn="l"/>
              </a:tabLst>
            </a:pPr>
            <a:r>
              <a:rPr sz="1000" spc="-5">
                <a:latin typeface="Verdana"/>
                <a:cs typeface="Verdana"/>
              </a:rPr>
              <a:t>Service</a:t>
            </a:r>
            <a:r>
              <a:rPr sz="1000" spc="-45">
                <a:latin typeface="Verdana"/>
                <a:cs typeface="Verdana"/>
              </a:rPr>
              <a:t> </a:t>
            </a:r>
            <a:r>
              <a:rPr sz="1000" spc="-5">
                <a:latin typeface="Verdana"/>
                <a:cs typeface="Verdana"/>
              </a:rPr>
              <a:t>Requests</a:t>
            </a:r>
            <a:endParaRPr sz="1000">
              <a:latin typeface="Verdana"/>
              <a:cs typeface="Verdana"/>
            </a:endParaRPr>
          </a:p>
          <a:p>
            <a:pPr marL="184785" indent="-172720">
              <a:lnSpc>
                <a:spcPct val="100000"/>
              </a:lnSpc>
              <a:buClr>
                <a:srgbClr val="006FAC"/>
              </a:buClr>
              <a:buFont typeface="Wingdings"/>
              <a:buChar char=""/>
              <a:tabLst>
                <a:tab pos="185420" algn="l"/>
              </a:tabLst>
            </a:pPr>
            <a:r>
              <a:rPr sz="1000" spc="-5">
                <a:latin typeface="Verdana"/>
                <a:cs typeface="Verdana"/>
              </a:rPr>
              <a:t>Ad-hoc</a:t>
            </a:r>
            <a:r>
              <a:rPr sz="1000" spc="-15">
                <a:latin typeface="Verdana"/>
                <a:cs typeface="Verdana"/>
              </a:rPr>
              <a:t> </a:t>
            </a:r>
            <a:r>
              <a:rPr sz="1000" spc="-5">
                <a:latin typeface="Verdana"/>
                <a:cs typeface="Verdana"/>
              </a:rPr>
              <a:t>Services</a:t>
            </a:r>
            <a:endParaRPr sz="1000">
              <a:latin typeface="Verdana"/>
              <a:cs typeface="Verdana"/>
            </a:endParaRPr>
          </a:p>
        </p:txBody>
      </p:sp>
      <p:sp>
        <p:nvSpPr>
          <p:cNvPr id="8" name="object 8"/>
          <p:cNvSpPr txBox="1"/>
          <p:nvPr/>
        </p:nvSpPr>
        <p:spPr>
          <a:xfrm>
            <a:off x="8965818" y="2152853"/>
            <a:ext cx="920115" cy="483234"/>
          </a:xfrm>
          <a:prstGeom prst="rect">
            <a:avLst/>
          </a:prstGeom>
        </p:spPr>
        <p:txBody>
          <a:bodyPr vert="horz" wrap="square" lIns="0" tIns="12065" rIns="0" bIns="0" rtlCol="0">
            <a:spAutoFit/>
          </a:bodyPr>
          <a:lstStyle/>
          <a:p>
            <a:pPr marL="184785" indent="-172720">
              <a:lnSpc>
                <a:spcPct val="100000"/>
              </a:lnSpc>
              <a:spcBef>
                <a:spcPts val="95"/>
              </a:spcBef>
              <a:buClr>
                <a:srgbClr val="006FAC"/>
              </a:buClr>
              <a:buFont typeface="Wingdings"/>
              <a:buChar char=""/>
              <a:tabLst>
                <a:tab pos="185420" algn="l"/>
              </a:tabLst>
            </a:pPr>
            <a:r>
              <a:rPr sz="1000" spc="-5">
                <a:latin typeface="Verdana"/>
                <a:cs typeface="Verdana"/>
              </a:rPr>
              <a:t>Business</a:t>
            </a:r>
            <a:endParaRPr sz="1000">
              <a:latin typeface="Verdana"/>
              <a:cs typeface="Verdana"/>
            </a:endParaRPr>
          </a:p>
          <a:p>
            <a:pPr marL="184785" indent="-172720">
              <a:lnSpc>
                <a:spcPct val="100000"/>
              </a:lnSpc>
              <a:spcBef>
                <a:spcPts val="5"/>
              </a:spcBef>
              <a:buClr>
                <a:srgbClr val="006FAC"/>
              </a:buClr>
              <a:buFont typeface="Wingdings"/>
              <a:buChar char=""/>
              <a:tabLst>
                <a:tab pos="185420" algn="l"/>
              </a:tabLst>
            </a:pPr>
            <a:r>
              <a:rPr sz="1000" spc="-10">
                <a:latin typeface="Verdana"/>
                <a:cs typeface="Verdana"/>
              </a:rPr>
              <a:t>T</a:t>
            </a:r>
            <a:r>
              <a:rPr sz="1000" spc="-15">
                <a:latin typeface="Verdana"/>
                <a:cs typeface="Verdana"/>
              </a:rPr>
              <a:t>e</a:t>
            </a:r>
            <a:r>
              <a:rPr sz="1000" spc="-5">
                <a:latin typeface="Verdana"/>
                <a:cs typeface="Verdana"/>
              </a:rPr>
              <a:t>ch</a:t>
            </a:r>
            <a:r>
              <a:rPr sz="1000">
                <a:latin typeface="Verdana"/>
                <a:cs typeface="Verdana"/>
              </a:rPr>
              <a:t>n</a:t>
            </a:r>
            <a:r>
              <a:rPr sz="1000" spc="-10">
                <a:latin typeface="Verdana"/>
                <a:cs typeface="Verdana"/>
              </a:rPr>
              <a:t>o</a:t>
            </a:r>
            <a:r>
              <a:rPr sz="1000" spc="5">
                <a:latin typeface="Verdana"/>
                <a:cs typeface="Verdana"/>
              </a:rPr>
              <a:t>l</a:t>
            </a:r>
            <a:r>
              <a:rPr sz="1000" spc="-10">
                <a:latin typeface="Verdana"/>
                <a:cs typeface="Verdana"/>
              </a:rPr>
              <a:t>o</a:t>
            </a:r>
            <a:r>
              <a:rPr sz="1000" spc="-5">
                <a:latin typeface="Verdana"/>
                <a:cs typeface="Verdana"/>
              </a:rPr>
              <a:t>gy</a:t>
            </a:r>
            <a:endParaRPr sz="1000">
              <a:latin typeface="Verdana"/>
              <a:cs typeface="Verdana"/>
            </a:endParaRPr>
          </a:p>
          <a:p>
            <a:pPr marL="184785" indent="-172720">
              <a:lnSpc>
                <a:spcPct val="100000"/>
              </a:lnSpc>
              <a:buClr>
                <a:srgbClr val="006FAC"/>
              </a:buClr>
              <a:buFont typeface="Wingdings"/>
              <a:buChar char=""/>
              <a:tabLst>
                <a:tab pos="185420" algn="l"/>
              </a:tabLst>
            </a:pPr>
            <a:r>
              <a:rPr sz="1000" spc="-10">
                <a:latin typeface="Verdana"/>
                <a:cs typeface="Verdana"/>
              </a:rPr>
              <a:t>Process</a:t>
            </a:r>
            <a:endParaRPr sz="1000">
              <a:latin typeface="Verdana"/>
              <a:cs typeface="Verdana"/>
            </a:endParaRPr>
          </a:p>
        </p:txBody>
      </p:sp>
      <p:sp>
        <p:nvSpPr>
          <p:cNvPr id="9" name="object 9"/>
          <p:cNvSpPr txBox="1"/>
          <p:nvPr/>
        </p:nvSpPr>
        <p:spPr>
          <a:xfrm>
            <a:off x="10337418" y="2152853"/>
            <a:ext cx="897890" cy="483234"/>
          </a:xfrm>
          <a:prstGeom prst="rect">
            <a:avLst/>
          </a:prstGeom>
        </p:spPr>
        <p:txBody>
          <a:bodyPr vert="horz" wrap="square" lIns="0" tIns="12065" rIns="0" bIns="0" rtlCol="0">
            <a:spAutoFit/>
          </a:bodyPr>
          <a:lstStyle/>
          <a:p>
            <a:pPr marL="184785" indent="-172720">
              <a:lnSpc>
                <a:spcPct val="100000"/>
              </a:lnSpc>
              <a:spcBef>
                <a:spcPts val="95"/>
              </a:spcBef>
              <a:buClr>
                <a:srgbClr val="006FAC"/>
              </a:buClr>
              <a:buFont typeface="Wingdings"/>
              <a:buChar char=""/>
              <a:tabLst>
                <a:tab pos="185420" algn="l"/>
              </a:tabLst>
            </a:pPr>
            <a:r>
              <a:rPr sz="1000" spc="-10">
                <a:latin typeface="Verdana"/>
                <a:cs typeface="Verdana"/>
              </a:rPr>
              <a:t>Ra</a:t>
            </a:r>
            <a:r>
              <a:rPr sz="1000" spc="-5">
                <a:latin typeface="Verdana"/>
                <a:cs typeface="Verdana"/>
              </a:rPr>
              <a:t>t</a:t>
            </a:r>
            <a:r>
              <a:rPr sz="1000" spc="5">
                <a:latin typeface="Verdana"/>
                <a:cs typeface="Verdana"/>
              </a:rPr>
              <a:t>i</a:t>
            </a:r>
            <a:r>
              <a:rPr sz="1000" spc="-15">
                <a:latin typeface="Verdana"/>
                <a:cs typeface="Verdana"/>
              </a:rPr>
              <a:t>o</a:t>
            </a:r>
            <a:r>
              <a:rPr sz="1000" spc="-5">
                <a:latin typeface="Verdana"/>
                <a:cs typeface="Verdana"/>
              </a:rPr>
              <a:t>na</a:t>
            </a:r>
            <a:r>
              <a:rPr sz="1000" spc="10">
                <a:latin typeface="Verdana"/>
                <a:cs typeface="Verdana"/>
              </a:rPr>
              <a:t>l</a:t>
            </a:r>
            <a:r>
              <a:rPr sz="1000" spc="5">
                <a:latin typeface="Verdana"/>
                <a:cs typeface="Verdana"/>
              </a:rPr>
              <a:t>i</a:t>
            </a:r>
            <a:r>
              <a:rPr sz="1000" spc="-5">
                <a:latin typeface="Verdana"/>
                <a:cs typeface="Verdana"/>
              </a:rPr>
              <a:t>ze</a:t>
            </a:r>
            <a:endParaRPr sz="1000">
              <a:latin typeface="Verdana"/>
              <a:cs typeface="Verdana"/>
            </a:endParaRPr>
          </a:p>
          <a:p>
            <a:pPr marL="184785" indent="-172720">
              <a:lnSpc>
                <a:spcPct val="100000"/>
              </a:lnSpc>
              <a:spcBef>
                <a:spcPts val="5"/>
              </a:spcBef>
              <a:buClr>
                <a:srgbClr val="006FAC"/>
              </a:buClr>
              <a:buFont typeface="Wingdings"/>
              <a:buChar char=""/>
              <a:tabLst>
                <a:tab pos="185420" algn="l"/>
              </a:tabLst>
            </a:pPr>
            <a:r>
              <a:rPr sz="1000">
                <a:latin typeface="Verdana"/>
                <a:cs typeface="Verdana"/>
              </a:rPr>
              <a:t>Optimize</a:t>
            </a:r>
          </a:p>
          <a:p>
            <a:pPr marL="184785" indent="-172720">
              <a:lnSpc>
                <a:spcPct val="100000"/>
              </a:lnSpc>
              <a:buClr>
                <a:srgbClr val="006FAC"/>
              </a:buClr>
              <a:buFont typeface="Wingdings"/>
              <a:buChar char=""/>
              <a:tabLst>
                <a:tab pos="185420" algn="l"/>
              </a:tabLst>
            </a:pPr>
            <a:r>
              <a:rPr sz="1000" spc="-5">
                <a:latin typeface="Verdana"/>
                <a:cs typeface="Verdana"/>
              </a:rPr>
              <a:t>Modernize</a:t>
            </a:r>
            <a:endParaRPr sz="1000">
              <a:latin typeface="Verdana"/>
              <a:cs typeface="Verdana"/>
            </a:endParaRPr>
          </a:p>
        </p:txBody>
      </p:sp>
      <p:sp>
        <p:nvSpPr>
          <p:cNvPr id="10" name="object 10"/>
          <p:cNvSpPr/>
          <p:nvPr/>
        </p:nvSpPr>
        <p:spPr>
          <a:xfrm>
            <a:off x="7002780" y="2907792"/>
            <a:ext cx="3683000" cy="0"/>
          </a:xfrm>
          <a:custGeom>
            <a:avLst/>
            <a:gdLst/>
            <a:ahLst/>
            <a:cxnLst/>
            <a:rect l="l" t="t" r="r" b="b"/>
            <a:pathLst>
              <a:path w="3683000">
                <a:moveTo>
                  <a:pt x="0" y="0"/>
                </a:moveTo>
                <a:lnTo>
                  <a:pt x="3683000" y="0"/>
                </a:lnTo>
              </a:path>
            </a:pathLst>
          </a:custGeom>
          <a:ln w="9144">
            <a:solidFill>
              <a:srgbClr val="998B85"/>
            </a:solidFill>
            <a:prstDash val="sysDash"/>
          </a:ln>
        </p:spPr>
        <p:txBody>
          <a:bodyPr wrap="square" lIns="0" tIns="0" rIns="0" bIns="0" rtlCol="0"/>
          <a:lstStyle/>
          <a:p>
            <a:endParaRPr/>
          </a:p>
        </p:txBody>
      </p:sp>
      <p:sp>
        <p:nvSpPr>
          <p:cNvPr id="11" name="object 11"/>
          <p:cNvSpPr/>
          <p:nvPr/>
        </p:nvSpPr>
        <p:spPr>
          <a:xfrm>
            <a:off x="7141378" y="1135293"/>
            <a:ext cx="928288" cy="928288"/>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7196328" y="1190244"/>
            <a:ext cx="818515" cy="818515"/>
          </a:xfrm>
          <a:custGeom>
            <a:avLst/>
            <a:gdLst/>
            <a:ahLst/>
            <a:cxnLst/>
            <a:rect l="l" t="t" r="r" b="b"/>
            <a:pathLst>
              <a:path w="818515" h="818514">
                <a:moveTo>
                  <a:pt x="409194" y="0"/>
                </a:moveTo>
                <a:lnTo>
                  <a:pt x="361484" y="2753"/>
                </a:lnTo>
                <a:lnTo>
                  <a:pt x="315388" y="10810"/>
                </a:lnTo>
                <a:lnTo>
                  <a:pt x="271212" y="23861"/>
                </a:lnTo>
                <a:lnTo>
                  <a:pt x="229266" y="41601"/>
                </a:lnTo>
                <a:lnTo>
                  <a:pt x="189855" y="63721"/>
                </a:lnTo>
                <a:lnTo>
                  <a:pt x="153288" y="89913"/>
                </a:lnTo>
                <a:lnTo>
                  <a:pt x="119872" y="119872"/>
                </a:lnTo>
                <a:lnTo>
                  <a:pt x="89913" y="153288"/>
                </a:lnTo>
                <a:lnTo>
                  <a:pt x="63721" y="189855"/>
                </a:lnTo>
                <a:lnTo>
                  <a:pt x="41601" y="229266"/>
                </a:lnTo>
                <a:lnTo>
                  <a:pt x="23861" y="271212"/>
                </a:lnTo>
                <a:lnTo>
                  <a:pt x="10810" y="315388"/>
                </a:lnTo>
                <a:lnTo>
                  <a:pt x="2753" y="361484"/>
                </a:lnTo>
                <a:lnTo>
                  <a:pt x="0" y="409193"/>
                </a:lnTo>
                <a:lnTo>
                  <a:pt x="2753" y="456903"/>
                </a:lnTo>
                <a:lnTo>
                  <a:pt x="10810" y="502999"/>
                </a:lnTo>
                <a:lnTo>
                  <a:pt x="23861" y="547175"/>
                </a:lnTo>
                <a:lnTo>
                  <a:pt x="41601" y="589121"/>
                </a:lnTo>
                <a:lnTo>
                  <a:pt x="63721" y="628532"/>
                </a:lnTo>
                <a:lnTo>
                  <a:pt x="89913" y="665099"/>
                </a:lnTo>
                <a:lnTo>
                  <a:pt x="119872" y="698515"/>
                </a:lnTo>
                <a:lnTo>
                  <a:pt x="153288" y="728474"/>
                </a:lnTo>
                <a:lnTo>
                  <a:pt x="189855" y="754666"/>
                </a:lnTo>
                <a:lnTo>
                  <a:pt x="229266" y="776786"/>
                </a:lnTo>
                <a:lnTo>
                  <a:pt x="271212" y="794526"/>
                </a:lnTo>
                <a:lnTo>
                  <a:pt x="315388" y="807577"/>
                </a:lnTo>
                <a:lnTo>
                  <a:pt x="361484" y="815634"/>
                </a:lnTo>
                <a:lnTo>
                  <a:pt x="409194" y="818388"/>
                </a:lnTo>
                <a:lnTo>
                  <a:pt x="456903" y="815634"/>
                </a:lnTo>
                <a:lnTo>
                  <a:pt x="502999" y="807577"/>
                </a:lnTo>
                <a:lnTo>
                  <a:pt x="547175" y="794526"/>
                </a:lnTo>
                <a:lnTo>
                  <a:pt x="589121" y="776786"/>
                </a:lnTo>
                <a:lnTo>
                  <a:pt x="628532" y="754666"/>
                </a:lnTo>
                <a:lnTo>
                  <a:pt x="665099" y="728474"/>
                </a:lnTo>
                <a:lnTo>
                  <a:pt x="698515" y="698515"/>
                </a:lnTo>
                <a:lnTo>
                  <a:pt x="728474" y="665099"/>
                </a:lnTo>
                <a:lnTo>
                  <a:pt x="754666" y="628532"/>
                </a:lnTo>
                <a:lnTo>
                  <a:pt x="776786" y="589121"/>
                </a:lnTo>
                <a:lnTo>
                  <a:pt x="794526" y="547175"/>
                </a:lnTo>
                <a:lnTo>
                  <a:pt x="807577" y="502999"/>
                </a:lnTo>
                <a:lnTo>
                  <a:pt x="815634" y="456903"/>
                </a:lnTo>
                <a:lnTo>
                  <a:pt x="818388" y="409193"/>
                </a:lnTo>
                <a:lnTo>
                  <a:pt x="815634" y="361484"/>
                </a:lnTo>
                <a:lnTo>
                  <a:pt x="807577" y="315388"/>
                </a:lnTo>
                <a:lnTo>
                  <a:pt x="794526" y="271212"/>
                </a:lnTo>
                <a:lnTo>
                  <a:pt x="776786" y="229266"/>
                </a:lnTo>
                <a:lnTo>
                  <a:pt x="754666" y="189855"/>
                </a:lnTo>
                <a:lnTo>
                  <a:pt x="728474" y="153288"/>
                </a:lnTo>
                <a:lnTo>
                  <a:pt x="698515" y="119872"/>
                </a:lnTo>
                <a:lnTo>
                  <a:pt x="665099" y="89913"/>
                </a:lnTo>
                <a:lnTo>
                  <a:pt x="628532" y="63721"/>
                </a:lnTo>
                <a:lnTo>
                  <a:pt x="589121" y="41601"/>
                </a:lnTo>
                <a:lnTo>
                  <a:pt x="547175" y="23861"/>
                </a:lnTo>
                <a:lnTo>
                  <a:pt x="502999" y="10810"/>
                </a:lnTo>
                <a:lnTo>
                  <a:pt x="456903" y="2753"/>
                </a:lnTo>
                <a:lnTo>
                  <a:pt x="409194" y="0"/>
                </a:lnTo>
                <a:close/>
              </a:path>
            </a:pathLst>
          </a:custGeom>
          <a:solidFill>
            <a:srgbClr val="2B133C"/>
          </a:solidFill>
        </p:spPr>
        <p:txBody>
          <a:bodyPr wrap="square" lIns="0" tIns="0" rIns="0" bIns="0" rtlCol="0"/>
          <a:lstStyle/>
          <a:p>
            <a:endParaRPr/>
          </a:p>
        </p:txBody>
      </p:sp>
      <p:sp>
        <p:nvSpPr>
          <p:cNvPr id="13" name="object 13"/>
          <p:cNvSpPr/>
          <p:nvPr/>
        </p:nvSpPr>
        <p:spPr>
          <a:xfrm>
            <a:off x="8866545" y="1135293"/>
            <a:ext cx="928288" cy="928288"/>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8921495" y="1190244"/>
            <a:ext cx="818515" cy="818515"/>
          </a:xfrm>
          <a:custGeom>
            <a:avLst/>
            <a:gdLst/>
            <a:ahLst/>
            <a:cxnLst/>
            <a:rect l="l" t="t" r="r" b="b"/>
            <a:pathLst>
              <a:path w="818515" h="818514">
                <a:moveTo>
                  <a:pt x="409194" y="0"/>
                </a:moveTo>
                <a:lnTo>
                  <a:pt x="361484" y="2753"/>
                </a:lnTo>
                <a:lnTo>
                  <a:pt x="315388" y="10810"/>
                </a:lnTo>
                <a:lnTo>
                  <a:pt x="271212" y="23861"/>
                </a:lnTo>
                <a:lnTo>
                  <a:pt x="229266" y="41601"/>
                </a:lnTo>
                <a:lnTo>
                  <a:pt x="189855" y="63721"/>
                </a:lnTo>
                <a:lnTo>
                  <a:pt x="153288" y="89913"/>
                </a:lnTo>
                <a:lnTo>
                  <a:pt x="119872" y="119872"/>
                </a:lnTo>
                <a:lnTo>
                  <a:pt x="89913" y="153288"/>
                </a:lnTo>
                <a:lnTo>
                  <a:pt x="63721" y="189855"/>
                </a:lnTo>
                <a:lnTo>
                  <a:pt x="41601" y="229266"/>
                </a:lnTo>
                <a:lnTo>
                  <a:pt x="23861" y="271212"/>
                </a:lnTo>
                <a:lnTo>
                  <a:pt x="10810" y="315388"/>
                </a:lnTo>
                <a:lnTo>
                  <a:pt x="2753" y="361484"/>
                </a:lnTo>
                <a:lnTo>
                  <a:pt x="0" y="409193"/>
                </a:lnTo>
                <a:lnTo>
                  <a:pt x="2753" y="456903"/>
                </a:lnTo>
                <a:lnTo>
                  <a:pt x="10810" y="502999"/>
                </a:lnTo>
                <a:lnTo>
                  <a:pt x="23861" y="547175"/>
                </a:lnTo>
                <a:lnTo>
                  <a:pt x="41601" y="589121"/>
                </a:lnTo>
                <a:lnTo>
                  <a:pt x="63721" y="628532"/>
                </a:lnTo>
                <a:lnTo>
                  <a:pt x="89913" y="665099"/>
                </a:lnTo>
                <a:lnTo>
                  <a:pt x="119872" y="698515"/>
                </a:lnTo>
                <a:lnTo>
                  <a:pt x="153288" y="728474"/>
                </a:lnTo>
                <a:lnTo>
                  <a:pt x="189855" y="754666"/>
                </a:lnTo>
                <a:lnTo>
                  <a:pt x="229266" y="776786"/>
                </a:lnTo>
                <a:lnTo>
                  <a:pt x="271212" y="794526"/>
                </a:lnTo>
                <a:lnTo>
                  <a:pt x="315388" y="807577"/>
                </a:lnTo>
                <a:lnTo>
                  <a:pt x="361484" y="815634"/>
                </a:lnTo>
                <a:lnTo>
                  <a:pt x="409194" y="818388"/>
                </a:lnTo>
                <a:lnTo>
                  <a:pt x="456903" y="815634"/>
                </a:lnTo>
                <a:lnTo>
                  <a:pt x="502999" y="807577"/>
                </a:lnTo>
                <a:lnTo>
                  <a:pt x="547175" y="794526"/>
                </a:lnTo>
                <a:lnTo>
                  <a:pt x="589121" y="776786"/>
                </a:lnTo>
                <a:lnTo>
                  <a:pt x="628532" y="754666"/>
                </a:lnTo>
                <a:lnTo>
                  <a:pt x="665099" y="728474"/>
                </a:lnTo>
                <a:lnTo>
                  <a:pt x="698515" y="698515"/>
                </a:lnTo>
                <a:lnTo>
                  <a:pt x="728474" y="665099"/>
                </a:lnTo>
                <a:lnTo>
                  <a:pt x="754666" y="628532"/>
                </a:lnTo>
                <a:lnTo>
                  <a:pt x="776786" y="589121"/>
                </a:lnTo>
                <a:lnTo>
                  <a:pt x="794526" y="547175"/>
                </a:lnTo>
                <a:lnTo>
                  <a:pt x="807577" y="502999"/>
                </a:lnTo>
                <a:lnTo>
                  <a:pt x="815634" y="456903"/>
                </a:lnTo>
                <a:lnTo>
                  <a:pt x="818387" y="409193"/>
                </a:lnTo>
                <a:lnTo>
                  <a:pt x="815634" y="361484"/>
                </a:lnTo>
                <a:lnTo>
                  <a:pt x="807577" y="315388"/>
                </a:lnTo>
                <a:lnTo>
                  <a:pt x="794526" y="271212"/>
                </a:lnTo>
                <a:lnTo>
                  <a:pt x="776786" y="229266"/>
                </a:lnTo>
                <a:lnTo>
                  <a:pt x="754666" y="189855"/>
                </a:lnTo>
                <a:lnTo>
                  <a:pt x="728474" y="153288"/>
                </a:lnTo>
                <a:lnTo>
                  <a:pt x="698515" y="119872"/>
                </a:lnTo>
                <a:lnTo>
                  <a:pt x="665099" y="89913"/>
                </a:lnTo>
                <a:lnTo>
                  <a:pt x="628532" y="63721"/>
                </a:lnTo>
                <a:lnTo>
                  <a:pt x="589121" y="41601"/>
                </a:lnTo>
                <a:lnTo>
                  <a:pt x="547175" y="23861"/>
                </a:lnTo>
                <a:lnTo>
                  <a:pt x="502999" y="10810"/>
                </a:lnTo>
                <a:lnTo>
                  <a:pt x="456903" y="2753"/>
                </a:lnTo>
                <a:lnTo>
                  <a:pt x="409194" y="0"/>
                </a:lnTo>
                <a:close/>
              </a:path>
            </a:pathLst>
          </a:custGeom>
          <a:solidFill>
            <a:srgbClr val="2B133C"/>
          </a:solidFill>
        </p:spPr>
        <p:txBody>
          <a:bodyPr wrap="square" lIns="0" tIns="0" rIns="0" bIns="0" rtlCol="0"/>
          <a:lstStyle/>
          <a:p>
            <a:endParaRPr/>
          </a:p>
        </p:txBody>
      </p:sp>
      <p:sp>
        <p:nvSpPr>
          <p:cNvPr id="15" name="object 15"/>
          <p:cNvSpPr/>
          <p:nvPr/>
        </p:nvSpPr>
        <p:spPr>
          <a:xfrm>
            <a:off x="10591713" y="1135293"/>
            <a:ext cx="928288" cy="928288"/>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10646664" y="1190244"/>
            <a:ext cx="818515" cy="818515"/>
          </a:xfrm>
          <a:custGeom>
            <a:avLst/>
            <a:gdLst/>
            <a:ahLst/>
            <a:cxnLst/>
            <a:rect l="l" t="t" r="r" b="b"/>
            <a:pathLst>
              <a:path w="818515" h="818514">
                <a:moveTo>
                  <a:pt x="409193" y="0"/>
                </a:moveTo>
                <a:lnTo>
                  <a:pt x="361484" y="2753"/>
                </a:lnTo>
                <a:lnTo>
                  <a:pt x="315388" y="10810"/>
                </a:lnTo>
                <a:lnTo>
                  <a:pt x="271212" y="23861"/>
                </a:lnTo>
                <a:lnTo>
                  <a:pt x="229266" y="41601"/>
                </a:lnTo>
                <a:lnTo>
                  <a:pt x="189855" y="63721"/>
                </a:lnTo>
                <a:lnTo>
                  <a:pt x="153288" y="89913"/>
                </a:lnTo>
                <a:lnTo>
                  <a:pt x="119872" y="119872"/>
                </a:lnTo>
                <a:lnTo>
                  <a:pt x="89913" y="153288"/>
                </a:lnTo>
                <a:lnTo>
                  <a:pt x="63721" y="189855"/>
                </a:lnTo>
                <a:lnTo>
                  <a:pt x="41601" y="229266"/>
                </a:lnTo>
                <a:lnTo>
                  <a:pt x="23861" y="271212"/>
                </a:lnTo>
                <a:lnTo>
                  <a:pt x="10810" y="315388"/>
                </a:lnTo>
                <a:lnTo>
                  <a:pt x="2753" y="361484"/>
                </a:lnTo>
                <a:lnTo>
                  <a:pt x="0" y="409193"/>
                </a:lnTo>
                <a:lnTo>
                  <a:pt x="2753" y="456903"/>
                </a:lnTo>
                <a:lnTo>
                  <a:pt x="10810" y="502999"/>
                </a:lnTo>
                <a:lnTo>
                  <a:pt x="23861" y="547175"/>
                </a:lnTo>
                <a:lnTo>
                  <a:pt x="41601" y="589121"/>
                </a:lnTo>
                <a:lnTo>
                  <a:pt x="63721" y="628532"/>
                </a:lnTo>
                <a:lnTo>
                  <a:pt x="89913" y="665099"/>
                </a:lnTo>
                <a:lnTo>
                  <a:pt x="119872" y="698515"/>
                </a:lnTo>
                <a:lnTo>
                  <a:pt x="153288" y="728474"/>
                </a:lnTo>
                <a:lnTo>
                  <a:pt x="189855" y="754666"/>
                </a:lnTo>
                <a:lnTo>
                  <a:pt x="229266" y="776786"/>
                </a:lnTo>
                <a:lnTo>
                  <a:pt x="271212" y="794526"/>
                </a:lnTo>
                <a:lnTo>
                  <a:pt x="315388" y="807577"/>
                </a:lnTo>
                <a:lnTo>
                  <a:pt x="361484" y="815634"/>
                </a:lnTo>
                <a:lnTo>
                  <a:pt x="409193" y="818388"/>
                </a:lnTo>
                <a:lnTo>
                  <a:pt x="456903" y="815634"/>
                </a:lnTo>
                <a:lnTo>
                  <a:pt x="502999" y="807577"/>
                </a:lnTo>
                <a:lnTo>
                  <a:pt x="547175" y="794526"/>
                </a:lnTo>
                <a:lnTo>
                  <a:pt x="589121" y="776786"/>
                </a:lnTo>
                <a:lnTo>
                  <a:pt x="628532" y="754666"/>
                </a:lnTo>
                <a:lnTo>
                  <a:pt x="665099" y="728474"/>
                </a:lnTo>
                <a:lnTo>
                  <a:pt x="698515" y="698515"/>
                </a:lnTo>
                <a:lnTo>
                  <a:pt x="728474" y="665099"/>
                </a:lnTo>
                <a:lnTo>
                  <a:pt x="754666" y="628532"/>
                </a:lnTo>
                <a:lnTo>
                  <a:pt x="776786" y="589121"/>
                </a:lnTo>
                <a:lnTo>
                  <a:pt x="794526" y="547175"/>
                </a:lnTo>
                <a:lnTo>
                  <a:pt x="807577" y="502999"/>
                </a:lnTo>
                <a:lnTo>
                  <a:pt x="815634" y="456903"/>
                </a:lnTo>
                <a:lnTo>
                  <a:pt x="818387" y="409193"/>
                </a:lnTo>
                <a:lnTo>
                  <a:pt x="815634" y="361484"/>
                </a:lnTo>
                <a:lnTo>
                  <a:pt x="807577" y="315388"/>
                </a:lnTo>
                <a:lnTo>
                  <a:pt x="794526" y="271212"/>
                </a:lnTo>
                <a:lnTo>
                  <a:pt x="776786" y="229266"/>
                </a:lnTo>
                <a:lnTo>
                  <a:pt x="754666" y="189855"/>
                </a:lnTo>
                <a:lnTo>
                  <a:pt x="728474" y="153288"/>
                </a:lnTo>
                <a:lnTo>
                  <a:pt x="698515" y="119872"/>
                </a:lnTo>
                <a:lnTo>
                  <a:pt x="665099" y="89913"/>
                </a:lnTo>
                <a:lnTo>
                  <a:pt x="628532" y="63721"/>
                </a:lnTo>
                <a:lnTo>
                  <a:pt x="589121" y="41601"/>
                </a:lnTo>
                <a:lnTo>
                  <a:pt x="547175" y="23861"/>
                </a:lnTo>
                <a:lnTo>
                  <a:pt x="502999" y="10810"/>
                </a:lnTo>
                <a:lnTo>
                  <a:pt x="456903" y="2753"/>
                </a:lnTo>
                <a:lnTo>
                  <a:pt x="409193" y="0"/>
                </a:lnTo>
                <a:close/>
              </a:path>
            </a:pathLst>
          </a:custGeom>
          <a:solidFill>
            <a:srgbClr val="2B133C"/>
          </a:solidFill>
        </p:spPr>
        <p:txBody>
          <a:bodyPr wrap="square" lIns="0" tIns="0" rIns="0" bIns="0" rtlCol="0"/>
          <a:lstStyle/>
          <a:p>
            <a:endParaRPr/>
          </a:p>
        </p:txBody>
      </p:sp>
      <p:sp>
        <p:nvSpPr>
          <p:cNvPr id="17" name="object 17"/>
          <p:cNvSpPr/>
          <p:nvPr/>
        </p:nvSpPr>
        <p:spPr>
          <a:xfrm>
            <a:off x="7977171" y="1489503"/>
            <a:ext cx="974090" cy="494665"/>
          </a:xfrm>
          <a:custGeom>
            <a:avLst/>
            <a:gdLst/>
            <a:ahLst/>
            <a:cxnLst/>
            <a:rect l="l" t="t" r="r" b="b"/>
            <a:pathLst>
              <a:path w="974090" h="494664">
                <a:moveTo>
                  <a:pt x="64044" y="63836"/>
                </a:moveTo>
                <a:lnTo>
                  <a:pt x="59642" y="68532"/>
                </a:lnTo>
                <a:lnTo>
                  <a:pt x="53707" y="71181"/>
                </a:lnTo>
                <a:lnTo>
                  <a:pt x="91646" y="124285"/>
                </a:lnTo>
                <a:lnTo>
                  <a:pt x="121237" y="165052"/>
                </a:lnTo>
                <a:lnTo>
                  <a:pt x="150701" y="204803"/>
                </a:lnTo>
                <a:lnTo>
                  <a:pt x="180292" y="243284"/>
                </a:lnTo>
                <a:lnTo>
                  <a:pt x="209883" y="280368"/>
                </a:lnTo>
                <a:lnTo>
                  <a:pt x="239220" y="315420"/>
                </a:lnTo>
                <a:lnTo>
                  <a:pt x="268684" y="348440"/>
                </a:lnTo>
                <a:lnTo>
                  <a:pt x="298148" y="378793"/>
                </a:lnTo>
                <a:lnTo>
                  <a:pt x="327358" y="406352"/>
                </a:lnTo>
                <a:lnTo>
                  <a:pt x="356695" y="430863"/>
                </a:lnTo>
                <a:lnTo>
                  <a:pt x="400383" y="460835"/>
                </a:lnTo>
                <a:lnTo>
                  <a:pt x="444198" y="482044"/>
                </a:lnTo>
                <a:lnTo>
                  <a:pt x="488013" y="492966"/>
                </a:lnTo>
                <a:lnTo>
                  <a:pt x="502745" y="494236"/>
                </a:lnTo>
                <a:lnTo>
                  <a:pt x="517223" y="494109"/>
                </a:lnTo>
                <a:lnTo>
                  <a:pt x="531828" y="492712"/>
                </a:lnTo>
                <a:lnTo>
                  <a:pt x="546306" y="490172"/>
                </a:lnTo>
                <a:lnTo>
                  <a:pt x="560657" y="486362"/>
                </a:lnTo>
                <a:lnTo>
                  <a:pt x="574290" y="481536"/>
                </a:lnTo>
                <a:lnTo>
                  <a:pt x="503761" y="481536"/>
                </a:lnTo>
                <a:lnTo>
                  <a:pt x="490172" y="480520"/>
                </a:lnTo>
                <a:lnTo>
                  <a:pt x="449024" y="470360"/>
                </a:lnTo>
                <a:lnTo>
                  <a:pt x="407114" y="450167"/>
                </a:lnTo>
                <a:lnTo>
                  <a:pt x="364569" y="420957"/>
                </a:lnTo>
                <a:lnTo>
                  <a:pt x="321643" y="383873"/>
                </a:lnTo>
                <a:lnTo>
                  <a:pt x="292687" y="355171"/>
                </a:lnTo>
                <a:lnTo>
                  <a:pt x="263604" y="323802"/>
                </a:lnTo>
                <a:lnTo>
                  <a:pt x="219789" y="272494"/>
                </a:lnTo>
                <a:lnTo>
                  <a:pt x="190452" y="235664"/>
                </a:lnTo>
                <a:lnTo>
                  <a:pt x="160988" y="197183"/>
                </a:lnTo>
                <a:lnTo>
                  <a:pt x="131397" y="157559"/>
                </a:lnTo>
                <a:lnTo>
                  <a:pt x="101933" y="116919"/>
                </a:lnTo>
                <a:lnTo>
                  <a:pt x="73404" y="77003"/>
                </a:lnTo>
                <a:lnTo>
                  <a:pt x="64044" y="63836"/>
                </a:lnTo>
                <a:close/>
              </a:path>
              <a:path w="974090" h="494664">
                <a:moveTo>
                  <a:pt x="910873" y="96747"/>
                </a:moveTo>
                <a:lnTo>
                  <a:pt x="878284" y="145113"/>
                </a:lnTo>
                <a:lnTo>
                  <a:pt x="851741" y="183721"/>
                </a:lnTo>
                <a:lnTo>
                  <a:pt x="825071" y="221313"/>
                </a:lnTo>
                <a:lnTo>
                  <a:pt x="798528" y="257762"/>
                </a:lnTo>
                <a:lnTo>
                  <a:pt x="771731" y="292560"/>
                </a:lnTo>
                <a:lnTo>
                  <a:pt x="745061" y="325326"/>
                </a:lnTo>
                <a:lnTo>
                  <a:pt x="718391" y="355933"/>
                </a:lnTo>
                <a:lnTo>
                  <a:pt x="691467" y="383873"/>
                </a:lnTo>
                <a:lnTo>
                  <a:pt x="651335" y="420195"/>
                </a:lnTo>
                <a:lnTo>
                  <a:pt x="611076" y="449024"/>
                </a:lnTo>
                <a:lnTo>
                  <a:pt x="570817" y="469344"/>
                </a:lnTo>
                <a:lnTo>
                  <a:pt x="530558" y="480012"/>
                </a:lnTo>
                <a:lnTo>
                  <a:pt x="503761" y="481536"/>
                </a:lnTo>
                <a:lnTo>
                  <a:pt x="574290" y="481536"/>
                </a:lnTo>
                <a:lnTo>
                  <a:pt x="617299" y="460073"/>
                </a:lnTo>
                <a:lnTo>
                  <a:pt x="659209" y="430228"/>
                </a:lnTo>
                <a:lnTo>
                  <a:pt x="700357" y="393017"/>
                </a:lnTo>
                <a:lnTo>
                  <a:pt x="727535" y="364569"/>
                </a:lnTo>
                <a:lnTo>
                  <a:pt x="754713" y="333581"/>
                </a:lnTo>
                <a:lnTo>
                  <a:pt x="781637" y="300561"/>
                </a:lnTo>
                <a:lnTo>
                  <a:pt x="808561" y="265382"/>
                </a:lnTo>
                <a:lnTo>
                  <a:pt x="835358" y="228806"/>
                </a:lnTo>
                <a:lnTo>
                  <a:pt x="862028" y="191087"/>
                </a:lnTo>
                <a:lnTo>
                  <a:pt x="888698" y="152352"/>
                </a:lnTo>
                <a:lnTo>
                  <a:pt x="915368" y="112982"/>
                </a:lnTo>
                <a:lnTo>
                  <a:pt x="921470" y="103887"/>
                </a:lnTo>
                <a:lnTo>
                  <a:pt x="915495" y="101425"/>
                </a:lnTo>
                <a:lnTo>
                  <a:pt x="910873" y="96747"/>
                </a:lnTo>
                <a:close/>
              </a:path>
              <a:path w="974090" h="494664">
                <a:moveTo>
                  <a:pt x="974079" y="66246"/>
                </a:moveTo>
                <a:lnTo>
                  <a:pt x="931370" y="66246"/>
                </a:lnTo>
                <a:lnTo>
                  <a:pt x="942038" y="73231"/>
                </a:lnTo>
                <a:lnTo>
                  <a:pt x="921470" y="103887"/>
                </a:lnTo>
                <a:lnTo>
                  <a:pt x="929447" y="107174"/>
                </a:lnTo>
                <a:lnTo>
                  <a:pt x="944054" y="107124"/>
                </a:lnTo>
                <a:lnTo>
                  <a:pt x="957589" y="101621"/>
                </a:lnTo>
                <a:lnTo>
                  <a:pt x="968327" y="91011"/>
                </a:lnTo>
                <a:lnTo>
                  <a:pt x="974058" y="77088"/>
                </a:lnTo>
                <a:lnTo>
                  <a:pt x="974079" y="66246"/>
                </a:lnTo>
                <a:close/>
              </a:path>
              <a:path w="974090" h="494664">
                <a:moveTo>
                  <a:pt x="931370" y="66246"/>
                </a:moveTo>
                <a:lnTo>
                  <a:pt x="910873" y="96747"/>
                </a:lnTo>
                <a:lnTo>
                  <a:pt x="915495" y="101425"/>
                </a:lnTo>
                <a:lnTo>
                  <a:pt x="921470" y="103887"/>
                </a:lnTo>
                <a:lnTo>
                  <a:pt x="942038" y="73231"/>
                </a:lnTo>
                <a:lnTo>
                  <a:pt x="931370" y="66246"/>
                </a:lnTo>
                <a:close/>
              </a:path>
              <a:path w="974090" h="494664">
                <a:moveTo>
                  <a:pt x="943907" y="32303"/>
                </a:moveTo>
                <a:lnTo>
                  <a:pt x="905081" y="48466"/>
                </a:lnTo>
                <a:lnTo>
                  <a:pt x="899334" y="77088"/>
                </a:lnTo>
                <a:lnTo>
                  <a:pt x="904831" y="90632"/>
                </a:lnTo>
                <a:lnTo>
                  <a:pt x="910873" y="96747"/>
                </a:lnTo>
                <a:lnTo>
                  <a:pt x="931370" y="66246"/>
                </a:lnTo>
                <a:lnTo>
                  <a:pt x="974079" y="66246"/>
                </a:lnTo>
                <a:lnTo>
                  <a:pt x="974074" y="62388"/>
                </a:lnTo>
                <a:lnTo>
                  <a:pt x="968577" y="48845"/>
                </a:lnTo>
                <a:lnTo>
                  <a:pt x="957913" y="38052"/>
                </a:lnTo>
                <a:lnTo>
                  <a:pt x="943907" y="32303"/>
                </a:lnTo>
                <a:close/>
              </a:path>
              <a:path w="974090" h="494664">
                <a:moveTo>
                  <a:pt x="43846" y="0"/>
                </a:moveTo>
                <a:lnTo>
                  <a:pt x="29259" y="390"/>
                </a:lnTo>
                <a:lnTo>
                  <a:pt x="15446" y="6556"/>
                </a:lnTo>
                <a:lnTo>
                  <a:pt x="5109" y="17583"/>
                </a:lnTo>
                <a:lnTo>
                  <a:pt x="0" y="31241"/>
                </a:lnTo>
                <a:lnTo>
                  <a:pt x="390" y="45829"/>
                </a:lnTo>
                <a:lnTo>
                  <a:pt x="6556" y="59642"/>
                </a:lnTo>
                <a:lnTo>
                  <a:pt x="17583" y="69978"/>
                </a:lnTo>
                <a:lnTo>
                  <a:pt x="31242" y="75088"/>
                </a:lnTo>
                <a:lnTo>
                  <a:pt x="45829" y="74697"/>
                </a:lnTo>
                <a:lnTo>
                  <a:pt x="53707" y="71181"/>
                </a:lnTo>
                <a:lnTo>
                  <a:pt x="32337" y="41227"/>
                </a:lnTo>
                <a:lnTo>
                  <a:pt x="42751" y="33861"/>
                </a:lnTo>
                <a:lnTo>
                  <a:pt x="74821" y="33861"/>
                </a:lnTo>
                <a:lnTo>
                  <a:pt x="74697" y="29259"/>
                </a:lnTo>
                <a:lnTo>
                  <a:pt x="68532" y="15446"/>
                </a:lnTo>
                <a:lnTo>
                  <a:pt x="57505" y="5109"/>
                </a:lnTo>
                <a:lnTo>
                  <a:pt x="43846" y="0"/>
                </a:lnTo>
                <a:close/>
              </a:path>
              <a:path w="974090" h="494664">
                <a:moveTo>
                  <a:pt x="42751" y="33861"/>
                </a:moveTo>
                <a:lnTo>
                  <a:pt x="32337" y="41227"/>
                </a:lnTo>
                <a:lnTo>
                  <a:pt x="53707" y="71181"/>
                </a:lnTo>
                <a:lnTo>
                  <a:pt x="59642" y="68532"/>
                </a:lnTo>
                <a:lnTo>
                  <a:pt x="64044" y="63836"/>
                </a:lnTo>
                <a:lnTo>
                  <a:pt x="42751" y="33861"/>
                </a:lnTo>
                <a:close/>
              </a:path>
              <a:path w="974090" h="494664">
                <a:moveTo>
                  <a:pt x="74821" y="33861"/>
                </a:moveTo>
                <a:lnTo>
                  <a:pt x="42751" y="33861"/>
                </a:lnTo>
                <a:lnTo>
                  <a:pt x="64044" y="63836"/>
                </a:lnTo>
                <a:lnTo>
                  <a:pt x="69978" y="57505"/>
                </a:lnTo>
                <a:lnTo>
                  <a:pt x="75088" y="43846"/>
                </a:lnTo>
                <a:lnTo>
                  <a:pt x="74821" y="33861"/>
                </a:lnTo>
                <a:close/>
              </a:path>
            </a:pathLst>
          </a:custGeom>
          <a:solidFill>
            <a:srgbClr val="998B85"/>
          </a:solidFill>
        </p:spPr>
        <p:txBody>
          <a:bodyPr wrap="square" lIns="0" tIns="0" rIns="0" bIns="0" rtlCol="0"/>
          <a:lstStyle/>
          <a:p>
            <a:endParaRPr/>
          </a:p>
        </p:txBody>
      </p:sp>
      <p:sp>
        <p:nvSpPr>
          <p:cNvPr id="18" name="object 18"/>
          <p:cNvSpPr/>
          <p:nvPr/>
        </p:nvSpPr>
        <p:spPr>
          <a:xfrm>
            <a:off x="9709959" y="1489503"/>
            <a:ext cx="974090" cy="494665"/>
          </a:xfrm>
          <a:custGeom>
            <a:avLst/>
            <a:gdLst/>
            <a:ahLst/>
            <a:cxnLst/>
            <a:rect l="l" t="t" r="r" b="b"/>
            <a:pathLst>
              <a:path w="974090" h="494664">
                <a:moveTo>
                  <a:pt x="64044" y="63836"/>
                </a:moveTo>
                <a:lnTo>
                  <a:pt x="59642" y="68532"/>
                </a:lnTo>
                <a:lnTo>
                  <a:pt x="53707" y="71181"/>
                </a:lnTo>
                <a:lnTo>
                  <a:pt x="91646" y="124285"/>
                </a:lnTo>
                <a:lnTo>
                  <a:pt x="121237" y="165052"/>
                </a:lnTo>
                <a:lnTo>
                  <a:pt x="150701" y="204803"/>
                </a:lnTo>
                <a:lnTo>
                  <a:pt x="180292" y="243284"/>
                </a:lnTo>
                <a:lnTo>
                  <a:pt x="209883" y="280368"/>
                </a:lnTo>
                <a:lnTo>
                  <a:pt x="239220" y="315420"/>
                </a:lnTo>
                <a:lnTo>
                  <a:pt x="268684" y="348440"/>
                </a:lnTo>
                <a:lnTo>
                  <a:pt x="298148" y="378793"/>
                </a:lnTo>
                <a:lnTo>
                  <a:pt x="327358" y="406352"/>
                </a:lnTo>
                <a:lnTo>
                  <a:pt x="356695" y="430863"/>
                </a:lnTo>
                <a:lnTo>
                  <a:pt x="400383" y="460835"/>
                </a:lnTo>
                <a:lnTo>
                  <a:pt x="444198" y="482044"/>
                </a:lnTo>
                <a:lnTo>
                  <a:pt x="488013" y="492966"/>
                </a:lnTo>
                <a:lnTo>
                  <a:pt x="502745" y="494236"/>
                </a:lnTo>
                <a:lnTo>
                  <a:pt x="517223" y="494109"/>
                </a:lnTo>
                <a:lnTo>
                  <a:pt x="531828" y="492712"/>
                </a:lnTo>
                <a:lnTo>
                  <a:pt x="546306" y="490172"/>
                </a:lnTo>
                <a:lnTo>
                  <a:pt x="560657" y="486362"/>
                </a:lnTo>
                <a:lnTo>
                  <a:pt x="574290" y="481536"/>
                </a:lnTo>
                <a:lnTo>
                  <a:pt x="503761" y="481536"/>
                </a:lnTo>
                <a:lnTo>
                  <a:pt x="490172" y="480520"/>
                </a:lnTo>
                <a:lnTo>
                  <a:pt x="449024" y="470360"/>
                </a:lnTo>
                <a:lnTo>
                  <a:pt x="407114" y="450167"/>
                </a:lnTo>
                <a:lnTo>
                  <a:pt x="364569" y="420957"/>
                </a:lnTo>
                <a:lnTo>
                  <a:pt x="321643" y="383873"/>
                </a:lnTo>
                <a:lnTo>
                  <a:pt x="292687" y="355171"/>
                </a:lnTo>
                <a:lnTo>
                  <a:pt x="263604" y="323802"/>
                </a:lnTo>
                <a:lnTo>
                  <a:pt x="219789" y="272494"/>
                </a:lnTo>
                <a:lnTo>
                  <a:pt x="190452" y="235664"/>
                </a:lnTo>
                <a:lnTo>
                  <a:pt x="160988" y="197183"/>
                </a:lnTo>
                <a:lnTo>
                  <a:pt x="131397" y="157559"/>
                </a:lnTo>
                <a:lnTo>
                  <a:pt x="101933" y="116919"/>
                </a:lnTo>
                <a:lnTo>
                  <a:pt x="73404" y="77003"/>
                </a:lnTo>
                <a:lnTo>
                  <a:pt x="64044" y="63836"/>
                </a:lnTo>
                <a:close/>
              </a:path>
              <a:path w="974090" h="494664">
                <a:moveTo>
                  <a:pt x="910873" y="96747"/>
                </a:moveTo>
                <a:lnTo>
                  <a:pt x="878284" y="145113"/>
                </a:lnTo>
                <a:lnTo>
                  <a:pt x="851741" y="183721"/>
                </a:lnTo>
                <a:lnTo>
                  <a:pt x="825071" y="221313"/>
                </a:lnTo>
                <a:lnTo>
                  <a:pt x="798528" y="257762"/>
                </a:lnTo>
                <a:lnTo>
                  <a:pt x="771731" y="292560"/>
                </a:lnTo>
                <a:lnTo>
                  <a:pt x="745061" y="325326"/>
                </a:lnTo>
                <a:lnTo>
                  <a:pt x="718391" y="355933"/>
                </a:lnTo>
                <a:lnTo>
                  <a:pt x="691467" y="383873"/>
                </a:lnTo>
                <a:lnTo>
                  <a:pt x="651335" y="420195"/>
                </a:lnTo>
                <a:lnTo>
                  <a:pt x="611076" y="449024"/>
                </a:lnTo>
                <a:lnTo>
                  <a:pt x="570817" y="469344"/>
                </a:lnTo>
                <a:lnTo>
                  <a:pt x="530558" y="480012"/>
                </a:lnTo>
                <a:lnTo>
                  <a:pt x="503761" y="481536"/>
                </a:lnTo>
                <a:lnTo>
                  <a:pt x="574290" y="481536"/>
                </a:lnTo>
                <a:lnTo>
                  <a:pt x="617299" y="460073"/>
                </a:lnTo>
                <a:lnTo>
                  <a:pt x="659209" y="430228"/>
                </a:lnTo>
                <a:lnTo>
                  <a:pt x="700357" y="393017"/>
                </a:lnTo>
                <a:lnTo>
                  <a:pt x="727535" y="364569"/>
                </a:lnTo>
                <a:lnTo>
                  <a:pt x="754713" y="333581"/>
                </a:lnTo>
                <a:lnTo>
                  <a:pt x="781637" y="300561"/>
                </a:lnTo>
                <a:lnTo>
                  <a:pt x="808561" y="265382"/>
                </a:lnTo>
                <a:lnTo>
                  <a:pt x="835358" y="228806"/>
                </a:lnTo>
                <a:lnTo>
                  <a:pt x="862028" y="191087"/>
                </a:lnTo>
                <a:lnTo>
                  <a:pt x="888698" y="152352"/>
                </a:lnTo>
                <a:lnTo>
                  <a:pt x="915368" y="112982"/>
                </a:lnTo>
                <a:lnTo>
                  <a:pt x="921470" y="103887"/>
                </a:lnTo>
                <a:lnTo>
                  <a:pt x="915495" y="101425"/>
                </a:lnTo>
                <a:lnTo>
                  <a:pt x="910873" y="96747"/>
                </a:lnTo>
                <a:close/>
              </a:path>
              <a:path w="974090" h="494664">
                <a:moveTo>
                  <a:pt x="974079" y="66246"/>
                </a:moveTo>
                <a:lnTo>
                  <a:pt x="931370" y="66246"/>
                </a:lnTo>
                <a:lnTo>
                  <a:pt x="942038" y="73231"/>
                </a:lnTo>
                <a:lnTo>
                  <a:pt x="921470" y="103887"/>
                </a:lnTo>
                <a:lnTo>
                  <a:pt x="929447" y="107174"/>
                </a:lnTo>
                <a:lnTo>
                  <a:pt x="944054" y="107124"/>
                </a:lnTo>
                <a:lnTo>
                  <a:pt x="957589" y="101621"/>
                </a:lnTo>
                <a:lnTo>
                  <a:pt x="968327" y="91011"/>
                </a:lnTo>
                <a:lnTo>
                  <a:pt x="974058" y="77088"/>
                </a:lnTo>
                <a:lnTo>
                  <a:pt x="974079" y="66246"/>
                </a:lnTo>
                <a:close/>
              </a:path>
              <a:path w="974090" h="494664">
                <a:moveTo>
                  <a:pt x="931370" y="66246"/>
                </a:moveTo>
                <a:lnTo>
                  <a:pt x="910873" y="96747"/>
                </a:lnTo>
                <a:lnTo>
                  <a:pt x="915495" y="101425"/>
                </a:lnTo>
                <a:lnTo>
                  <a:pt x="921470" y="103887"/>
                </a:lnTo>
                <a:lnTo>
                  <a:pt x="942038" y="73231"/>
                </a:lnTo>
                <a:lnTo>
                  <a:pt x="931370" y="66246"/>
                </a:lnTo>
                <a:close/>
              </a:path>
              <a:path w="974090" h="494664">
                <a:moveTo>
                  <a:pt x="943907" y="32303"/>
                </a:moveTo>
                <a:lnTo>
                  <a:pt x="905081" y="48466"/>
                </a:lnTo>
                <a:lnTo>
                  <a:pt x="899334" y="77088"/>
                </a:lnTo>
                <a:lnTo>
                  <a:pt x="904831" y="90632"/>
                </a:lnTo>
                <a:lnTo>
                  <a:pt x="910873" y="96747"/>
                </a:lnTo>
                <a:lnTo>
                  <a:pt x="931370" y="66246"/>
                </a:lnTo>
                <a:lnTo>
                  <a:pt x="974079" y="66246"/>
                </a:lnTo>
                <a:lnTo>
                  <a:pt x="974074" y="62388"/>
                </a:lnTo>
                <a:lnTo>
                  <a:pt x="968577" y="48845"/>
                </a:lnTo>
                <a:lnTo>
                  <a:pt x="957913" y="38052"/>
                </a:lnTo>
                <a:lnTo>
                  <a:pt x="943907" y="32303"/>
                </a:lnTo>
                <a:close/>
              </a:path>
              <a:path w="974090" h="494664">
                <a:moveTo>
                  <a:pt x="43846" y="0"/>
                </a:moveTo>
                <a:lnTo>
                  <a:pt x="29259" y="390"/>
                </a:lnTo>
                <a:lnTo>
                  <a:pt x="15446" y="6556"/>
                </a:lnTo>
                <a:lnTo>
                  <a:pt x="5109" y="17583"/>
                </a:lnTo>
                <a:lnTo>
                  <a:pt x="0" y="31241"/>
                </a:lnTo>
                <a:lnTo>
                  <a:pt x="390" y="45829"/>
                </a:lnTo>
                <a:lnTo>
                  <a:pt x="6556" y="59642"/>
                </a:lnTo>
                <a:lnTo>
                  <a:pt x="17583" y="69978"/>
                </a:lnTo>
                <a:lnTo>
                  <a:pt x="31241" y="75088"/>
                </a:lnTo>
                <a:lnTo>
                  <a:pt x="45829" y="74697"/>
                </a:lnTo>
                <a:lnTo>
                  <a:pt x="53707" y="71181"/>
                </a:lnTo>
                <a:lnTo>
                  <a:pt x="32337" y="41227"/>
                </a:lnTo>
                <a:lnTo>
                  <a:pt x="42751" y="33861"/>
                </a:lnTo>
                <a:lnTo>
                  <a:pt x="74821" y="33861"/>
                </a:lnTo>
                <a:lnTo>
                  <a:pt x="74697" y="29259"/>
                </a:lnTo>
                <a:lnTo>
                  <a:pt x="68532" y="15446"/>
                </a:lnTo>
                <a:lnTo>
                  <a:pt x="57505" y="5109"/>
                </a:lnTo>
                <a:lnTo>
                  <a:pt x="43846" y="0"/>
                </a:lnTo>
                <a:close/>
              </a:path>
              <a:path w="974090" h="494664">
                <a:moveTo>
                  <a:pt x="42751" y="33861"/>
                </a:moveTo>
                <a:lnTo>
                  <a:pt x="32337" y="41227"/>
                </a:lnTo>
                <a:lnTo>
                  <a:pt x="53707" y="71181"/>
                </a:lnTo>
                <a:lnTo>
                  <a:pt x="59642" y="68532"/>
                </a:lnTo>
                <a:lnTo>
                  <a:pt x="64044" y="63836"/>
                </a:lnTo>
                <a:lnTo>
                  <a:pt x="42751" y="33861"/>
                </a:lnTo>
                <a:close/>
              </a:path>
              <a:path w="974090" h="494664">
                <a:moveTo>
                  <a:pt x="74821" y="33861"/>
                </a:moveTo>
                <a:lnTo>
                  <a:pt x="42751" y="33861"/>
                </a:lnTo>
                <a:lnTo>
                  <a:pt x="64044" y="63836"/>
                </a:lnTo>
                <a:lnTo>
                  <a:pt x="69978" y="57505"/>
                </a:lnTo>
                <a:lnTo>
                  <a:pt x="75088" y="43846"/>
                </a:lnTo>
                <a:lnTo>
                  <a:pt x="74821" y="33861"/>
                </a:lnTo>
                <a:close/>
              </a:path>
            </a:pathLst>
          </a:custGeom>
          <a:solidFill>
            <a:srgbClr val="998B85"/>
          </a:solidFill>
        </p:spPr>
        <p:txBody>
          <a:bodyPr wrap="square" lIns="0" tIns="0" rIns="0" bIns="0" rtlCol="0"/>
          <a:lstStyle/>
          <a:p>
            <a:endParaRPr/>
          </a:p>
        </p:txBody>
      </p:sp>
      <p:sp>
        <p:nvSpPr>
          <p:cNvPr id="19" name="object 19"/>
          <p:cNvSpPr/>
          <p:nvPr/>
        </p:nvSpPr>
        <p:spPr>
          <a:xfrm>
            <a:off x="7325868" y="2057400"/>
            <a:ext cx="593090" cy="58419"/>
          </a:xfrm>
          <a:custGeom>
            <a:avLst/>
            <a:gdLst/>
            <a:ahLst/>
            <a:cxnLst/>
            <a:rect l="l" t="t" r="r" b="b"/>
            <a:pathLst>
              <a:path w="593090" h="58419">
                <a:moveTo>
                  <a:pt x="296417" y="0"/>
                </a:moveTo>
                <a:lnTo>
                  <a:pt x="217619" y="1033"/>
                </a:lnTo>
                <a:lnTo>
                  <a:pt x="146811" y="3951"/>
                </a:lnTo>
                <a:lnTo>
                  <a:pt x="86820" y="8477"/>
                </a:lnTo>
                <a:lnTo>
                  <a:pt x="40470" y="14336"/>
                </a:lnTo>
                <a:lnTo>
                  <a:pt x="10588" y="21254"/>
                </a:lnTo>
                <a:lnTo>
                  <a:pt x="0" y="28955"/>
                </a:lnTo>
                <a:lnTo>
                  <a:pt x="10588" y="36657"/>
                </a:lnTo>
                <a:lnTo>
                  <a:pt x="86820" y="49434"/>
                </a:lnTo>
                <a:lnTo>
                  <a:pt x="146811" y="53960"/>
                </a:lnTo>
                <a:lnTo>
                  <a:pt x="217619" y="56878"/>
                </a:lnTo>
                <a:lnTo>
                  <a:pt x="296417" y="57912"/>
                </a:lnTo>
                <a:lnTo>
                  <a:pt x="375216" y="56878"/>
                </a:lnTo>
                <a:lnTo>
                  <a:pt x="446024" y="53960"/>
                </a:lnTo>
                <a:lnTo>
                  <a:pt x="506015" y="49434"/>
                </a:lnTo>
                <a:lnTo>
                  <a:pt x="552365" y="43575"/>
                </a:lnTo>
                <a:lnTo>
                  <a:pt x="592835" y="28955"/>
                </a:lnTo>
                <a:lnTo>
                  <a:pt x="582247" y="21254"/>
                </a:lnTo>
                <a:lnTo>
                  <a:pt x="552365" y="14336"/>
                </a:lnTo>
                <a:lnTo>
                  <a:pt x="506015" y="8477"/>
                </a:lnTo>
                <a:lnTo>
                  <a:pt x="446024" y="3951"/>
                </a:lnTo>
                <a:lnTo>
                  <a:pt x="375216" y="1033"/>
                </a:lnTo>
                <a:lnTo>
                  <a:pt x="296417" y="0"/>
                </a:lnTo>
                <a:close/>
              </a:path>
            </a:pathLst>
          </a:custGeom>
          <a:solidFill>
            <a:srgbClr val="F1F1F1"/>
          </a:solidFill>
        </p:spPr>
        <p:txBody>
          <a:bodyPr wrap="square" lIns="0" tIns="0" rIns="0" bIns="0" rtlCol="0"/>
          <a:lstStyle/>
          <a:p>
            <a:endParaRPr/>
          </a:p>
        </p:txBody>
      </p:sp>
      <p:sp>
        <p:nvSpPr>
          <p:cNvPr id="20" name="object 20"/>
          <p:cNvSpPr/>
          <p:nvPr/>
        </p:nvSpPr>
        <p:spPr>
          <a:xfrm>
            <a:off x="9058656" y="2057400"/>
            <a:ext cx="593090" cy="58419"/>
          </a:xfrm>
          <a:custGeom>
            <a:avLst/>
            <a:gdLst/>
            <a:ahLst/>
            <a:cxnLst/>
            <a:rect l="l" t="t" r="r" b="b"/>
            <a:pathLst>
              <a:path w="593090" h="58419">
                <a:moveTo>
                  <a:pt x="296418" y="0"/>
                </a:moveTo>
                <a:lnTo>
                  <a:pt x="217619" y="1033"/>
                </a:lnTo>
                <a:lnTo>
                  <a:pt x="146811" y="3951"/>
                </a:lnTo>
                <a:lnTo>
                  <a:pt x="86820" y="8477"/>
                </a:lnTo>
                <a:lnTo>
                  <a:pt x="40470" y="14336"/>
                </a:lnTo>
                <a:lnTo>
                  <a:pt x="10588" y="21254"/>
                </a:lnTo>
                <a:lnTo>
                  <a:pt x="0" y="28955"/>
                </a:lnTo>
                <a:lnTo>
                  <a:pt x="10588" y="36657"/>
                </a:lnTo>
                <a:lnTo>
                  <a:pt x="86820" y="49434"/>
                </a:lnTo>
                <a:lnTo>
                  <a:pt x="146812" y="53960"/>
                </a:lnTo>
                <a:lnTo>
                  <a:pt x="217619" y="56878"/>
                </a:lnTo>
                <a:lnTo>
                  <a:pt x="296418" y="57912"/>
                </a:lnTo>
                <a:lnTo>
                  <a:pt x="375216" y="56878"/>
                </a:lnTo>
                <a:lnTo>
                  <a:pt x="446024" y="53960"/>
                </a:lnTo>
                <a:lnTo>
                  <a:pt x="506015" y="49434"/>
                </a:lnTo>
                <a:lnTo>
                  <a:pt x="552365" y="43575"/>
                </a:lnTo>
                <a:lnTo>
                  <a:pt x="592836" y="28955"/>
                </a:lnTo>
                <a:lnTo>
                  <a:pt x="582247" y="21254"/>
                </a:lnTo>
                <a:lnTo>
                  <a:pt x="552365" y="14336"/>
                </a:lnTo>
                <a:lnTo>
                  <a:pt x="506015" y="8477"/>
                </a:lnTo>
                <a:lnTo>
                  <a:pt x="446024" y="3951"/>
                </a:lnTo>
                <a:lnTo>
                  <a:pt x="375216" y="1033"/>
                </a:lnTo>
                <a:lnTo>
                  <a:pt x="296418" y="0"/>
                </a:lnTo>
                <a:close/>
              </a:path>
            </a:pathLst>
          </a:custGeom>
          <a:solidFill>
            <a:srgbClr val="F1F1F1"/>
          </a:solidFill>
        </p:spPr>
        <p:txBody>
          <a:bodyPr wrap="square" lIns="0" tIns="0" rIns="0" bIns="0" rtlCol="0"/>
          <a:lstStyle/>
          <a:p>
            <a:endParaRPr/>
          </a:p>
        </p:txBody>
      </p:sp>
      <p:sp>
        <p:nvSpPr>
          <p:cNvPr id="21" name="object 21"/>
          <p:cNvSpPr/>
          <p:nvPr/>
        </p:nvSpPr>
        <p:spPr>
          <a:xfrm>
            <a:off x="10774680" y="2057400"/>
            <a:ext cx="593090" cy="58419"/>
          </a:xfrm>
          <a:custGeom>
            <a:avLst/>
            <a:gdLst/>
            <a:ahLst/>
            <a:cxnLst/>
            <a:rect l="l" t="t" r="r" b="b"/>
            <a:pathLst>
              <a:path w="593090" h="58419">
                <a:moveTo>
                  <a:pt x="296418" y="0"/>
                </a:moveTo>
                <a:lnTo>
                  <a:pt x="217619" y="1033"/>
                </a:lnTo>
                <a:lnTo>
                  <a:pt x="146811" y="3951"/>
                </a:lnTo>
                <a:lnTo>
                  <a:pt x="86820" y="8477"/>
                </a:lnTo>
                <a:lnTo>
                  <a:pt x="40470" y="14336"/>
                </a:lnTo>
                <a:lnTo>
                  <a:pt x="10588" y="21254"/>
                </a:lnTo>
                <a:lnTo>
                  <a:pt x="0" y="28955"/>
                </a:lnTo>
                <a:lnTo>
                  <a:pt x="10588" y="36657"/>
                </a:lnTo>
                <a:lnTo>
                  <a:pt x="86820" y="49434"/>
                </a:lnTo>
                <a:lnTo>
                  <a:pt x="146812" y="53960"/>
                </a:lnTo>
                <a:lnTo>
                  <a:pt x="217619" y="56878"/>
                </a:lnTo>
                <a:lnTo>
                  <a:pt x="296418" y="57912"/>
                </a:lnTo>
                <a:lnTo>
                  <a:pt x="375216" y="56878"/>
                </a:lnTo>
                <a:lnTo>
                  <a:pt x="446024" y="53960"/>
                </a:lnTo>
                <a:lnTo>
                  <a:pt x="506015" y="49434"/>
                </a:lnTo>
                <a:lnTo>
                  <a:pt x="552365" y="43575"/>
                </a:lnTo>
                <a:lnTo>
                  <a:pt x="592836" y="28955"/>
                </a:lnTo>
                <a:lnTo>
                  <a:pt x="582247" y="21254"/>
                </a:lnTo>
                <a:lnTo>
                  <a:pt x="552365" y="14336"/>
                </a:lnTo>
                <a:lnTo>
                  <a:pt x="506015" y="8477"/>
                </a:lnTo>
                <a:lnTo>
                  <a:pt x="446024" y="3951"/>
                </a:lnTo>
                <a:lnTo>
                  <a:pt x="375216" y="1033"/>
                </a:lnTo>
                <a:lnTo>
                  <a:pt x="296418" y="0"/>
                </a:lnTo>
                <a:close/>
              </a:path>
            </a:pathLst>
          </a:custGeom>
          <a:solidFill>
            <a:srgbClr val="F1F1F1"/>
          </a:solidFill>
        </p:spPr>
        <p:txBody>
          <a:bodyPr wrap="square" lIns="0" tIns="0" rIns="0" bIns="0" rtlCol="0"/>
          <a:lstStyle/>
          <a:p>
            <a:endParaRPr/>
          </a:p>
        </p:txBody>
      </p:sp>
      <p:sp>
        <p:nvSpPr>
          <p:cNvPr id="22" name="object 22"/>
          <p:cNvSpPr txBox="1"/>
          <p:nvPr/>
        </p:nvSpPr>
        <p:spPr>
          <a:xfrm>
            <a:off x="7368920" y="1444879"/>
            <a:ext cx="460375" cy="330200"/>
          </a:xfrm>
          <a:prstGeom prst="rect">
            <a:avLst/>
          </a:prstGeom>
        </p:spPr>
        <p:txBody>
          <a:bodyPr vert="horz" wrap="square" lIns="0" tIns="12065" rIns="0" bIns="0" rtlCol="0">
            <a:spAutoFit/>
          </a:bodyPr>
          <a:lstStyle/>
          <a:p>
            <a:pPr algn="ctr">
              <a:lnSpc>
                <a:spcPct val="100000"/>
              </a:lnSpc>
              <a:spcBef>
                <a:spcPts val="95"/>
              </a:spcBef>
            </a:pPr>
            <a:r>
              <a:rPr sz="1000" b="1" spc="-10">
                <a:solidFill>
                  <a:srgbClr val="FFFFFF"/>
                </a:solidFill>
                <a:latin typeface="Verdana"/>
                <a:cs typeface="Verdana"/>
              </a:rPr>
              <a:t>Lights</a:t>
            </a:r>
            <a:endParaRPr sz="1000">
              <a:latin typeface="Verdana"/>
              <a:cs typeface="Verdana"/>
            </a:endParaRPr>
          </a:p>
          <a:p>
            <a:pPr algn="ctr">
              <a:lnSpc>
                <a:spcPct val="100000"/>
              </a:lnSpc>
            </a:pPr>
            <a:r>
              <a:rPr sz="1000" b="1" spc="-10">
                <a:solidFill>
                  <a:srgbClr val="FFFFFF"/>
                </a:solidFill>
                <a:latin typeface="Verdana"/>
                <a:cs typeface="Verdana"/>
              </a:rPr>
              <a:t>on</a:t>
            </a:r>
            <a:endParaRPr sz="1000">
              <a:latin typeface="Verdana"/>
              <a:cs typeface="Verdana"/>
            </a:endParaRPr>
          </a:p>
        </p:txBody>
      </p:sp>
      <p:sp>
        <p:nvSpPr>
          <p:cNvPr id="23" name="object 23"/>
          <p:cNvSpPr txBox="1"/>
          <p:nvPr/>
        </p:nvSpPr>
        <p:spPr>
          <a:xfrm>
            <a:off x="9070593" y="1521079"/>
            <a:ext cx="553085"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Ch</a:t>
            </a:r>
            <a:r>
              <a:rPr sz="1000" b="1" spc="-15">
                <a:solidFill>
                  <a:srgbClr val="FFFFFF"/>
                </a:solidFill>
                <a:latin typeface="Verdana"/>
                <a:cs typeface="Verdana"/>
              </a:rPr>
              <a:t>a</a:t>
            </a:r>
            <a:r>
              <a:rPr sz="1000" b="1" spc="-10">
                <a:solidFill>
                  <a:srgbClr val="FFFFFF"/>
                </a:solidFill>
                <a:latin typeface="Verdana"/>
                <a:cs typeface="Verdana"/>
              </a:rPr>
              <a:t>nge</a:t>
            </a:r>
            <a:endParaRPr sz="1000">
              <a:latin typeface="Verdana"/>
              <a:cs typeface="Verdana"/>
            </a:endParaRPr>
          </a:p>
        </p:txBody>
      </p:sp>
      <p:sp>
        <p:nvSpPr>
          <p:cNvPr id="24" name="object 24"/>
          <p:cNvSpPr txBox="1"/>
          <p:nvPr/>
        </p:nvSpPr>
        <p:spPr>
          <a:xfrm>
            <a:off x="10763757" y="1521079"/>
            <a:ext cx="63246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Improve</a:t>
            </a:r>
            <a:endParaRPr sz="1000">
              <a:latin typeface="Verdana"/>
              <a:cs typeface="Verdana"/>
            </a:endParaRPr>
          </a:p>
        </p:txBody>
      </p:sp>
      <p:sp>
        <p:nvSpPr>
          <p:cNvPr id="25" name="object 25"/>
          <p:cNvSpPr/>
          <p:nvPr/>
        </p:nvSpPr>
        <p:spPr>
          <a:xfrm>
            <a:off x="6995159" y="1376172"/>
            <a:ext cx="0" cy="1505585"/>
          </a:xfrm>
          <a:custGeom>
            <a:avLst/>
            <a:gdLst/>
            <a:ahLst/>
            <a:cxnLst/>
            <a:rect l="l" t="t" r="r" b="b"/>
            <a:pathLst>
              <a:path h="1505585">
                <a:moveTo>
                  <a:pt x="0" y="1505330"/>
                </a:moveTo>
                <a:lnTo>
                  <a:pt x="0" y="0"/>
                </a:lnTo>
              </a:path>
            </a:pathLst>
          </a:custGeom>
          <a:ln w="9144">
            <a:solidFill>
              <a:srgbClr val="998B85"/>
            </a:solidFill>
            <a:prstDash val="sysDash"/>
          </a:ln>
        </p:spPr>
        <p:txBody>
          <a:bodyPr wrap="square" lIns="0" tIns="0" rIns="0" bIns="0" rtlCol="0"/>
          <a:lstStyle/>
          <a:p>
            <a:endParaRPr/>
          </a:p>
        </p:txBody>
      </p:sp>
      <p:sp>
        <p:nvSpPr>
          <p:cNvPr id="26" name="object 26"/>
          <p:cNvSpPr/>
          <p:nvPr/>
        </p:nvSpPr>
        <p:spPr>
          <a:xfrm>
            <a:off x="4090400" y="1401987"/>
            <a:ext cx="1752631" cy="573162"/>
          </a:xfrm>
          <a:prstGeom prst="rect">
            <a:avLst/>
          </a:prstGeom>
          <a:blipFill>
            <a:blip r:embed="rId4" cstate="print"/>
            <a:stretch>
              <a:fillRect/>
            </a:stretch>
          </a:blipFill>
        </p:spPr>
        <p:txBody>
          <a:bodyPr wrap="square" lIns="0" tIns="0" rIns="0" bIns="0" rtlCol="0"/>
          <a:lstStyle/>
          <a:p>
            <a:endParaRPr/>
          </a:p>
        </p:txBody>
      </p:sp>
      <p:sp>
        <p:nvSpPr>
          <p:cNvPr id="27" name="object 27"/>
          <p:cNvSpPr/>
          <p:nvPr/>
        </p:nvSpPr>
        <p:spPr>
          <a:xfrm>
            <a:off x="4552188" y="1469136"/>
            <a:ext cx="829056" cy="480060"/>
          </a:xfrm>
          <a:prstGeom prst="rect">
            <a:avLst/>
          </a:prstGeom>
          <a:blipFill>
            <a:blip r:embed="rId5" cstate="print"/>
            <a:stretch>
              <a:fillRect/>
            </a:stretch>
          </a:blipFill>
        </p:spPr>
        <p:txBody>
          <a:bodyPr wrap="square" lIns="0" tIns="0" rIns="0" bIns="0" rtlCol="0"/>
          <a:lstStyle/>
          <a:p>
            <a:endParaRPr/>
          </a:p>
        </p:txBody>
      </p:sp>
      <p:sp>
        <p:nvSpPr>
          <p:cNvPr id="28" name="object 28"/>
          <p:cNvSpPr/>
          <p:nvPr/>
        </p:nvSpPr>
        <p:spPr>
          <a:xfrm>
            <a:off x="4107179" y="1409700"/>
            <a:ext cx="1664335" cy="494030"/>
          </a:xfrm>
          <a:custGeom>
            <a:avLst/>
            <a:gdLst/>
            <a:ahLst/>
            <a:cxnLst/>
            <a:rect l="l" t="t" r="r" b="b"/>
            <a:pathLst>
              <a:path w="1664335" h="494030">
                <a:moveTo>
                  <a:pt x="1581912" y="0"/>
                </a:moveTo>
                <a:lnTo>
                  <a:pt x="82296" y="0"/>
                </a:lnTo>
                <a:lnTo>
                  <a:pt x="50256" y="6465"/>
                </a:lnTo>
                <a:lnTo>
                  <a:pt x="24098" y="24098"/>
                </a:lnTo>
                <a:lnTo>
                  <a:pt x="6465" y="50256"/>
                </a:lnTo>
                <a:lnTo>
                  <a:pt x="0" y="82296"/>
                </a:lnTo>
                <a:lnTo>
                  <a:pt x="0" y="411479"/>
                </a:lnTo>
                <a:lnTo>
                  <a:pt x="6465" y="443519"/>
                </a:lnTo>
                <a:lnTo>
                  <a:pt x="24098" y="469677"/>
                </a:lnTo>
                <a:lnTo>
                  <a:pt x="50256" y="487310"/>
                </a:lnTo>
                <a:lnTo>
                  <a:pt x="82296" y="493775"/>
                </a:lnTo>
                <a:lnTo>
                  <a:pt x="1581912" y="493775"/>
                </a:lnTo>
                <a:lnTo>
                  <a:pt x="1613951" y="487310"/>
                </a:lnTo>
                <a:lnTo>
                  <a:pt x="1640109" y="469677"/>
                </a:lnTo>
                <a:lnTo>
                  <a:pt x="1657742" y="443519"/>
                </a:lnTo>
                <a:lnTo>
                  <a:pt x="1664208" y="411479"/>
                </a:lnTo>
                <a:lnTo>
                  <a:pt x="1664208" y="82296"/>
                </a:lnTo>
                <a:lnTo>
                  <a:pt x="1657742" y="50256"/>
                </a:lnTo>
                <a:lnTo>
                  <a:pt x="1640109" y="24098"/>
                </a:lnTo>
                <a:lnTo>
                  <a:pt x="1613951" y="6465"/>
                </a:lnTo>
                <a:lnTo>
                  <a:pt x="1581912" y="0"/>
                </a:lnTo>
                <a:close/>
              </a:path>
            </a:pathLst>
          </a:custGeom>
          <a:solidFill>
            <a:srgbClr val="00AFEF"/>
          </a:solidFill>
        </p:spPr>
        <p:txBody>
          <a:bodyPr wrap="square" lIns="0" tIns="0" rIns="0" bIns="0" rtlCol="0"/>
          <a:lstStyle/>
          <a:p>
            <a:endParaRPr/>
          </a:p>
        </p:txBody>
      </p:sp>
      <p:sp>
        <p:nvSpPr>
          <p:cNvPr id="29" name="object 29"/>
          <p:cNvSpPr txBox="1"/>
          <p:nvPr/>
        </p:nvSpPr>
        <p:spPr>
          <a:xfrm>
            <a:off x="4672710" y="1535683"/>
            <a:ext cx="53467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B</a:t>
            </a:r>
            <a:r>
              <a:rPr sz="1400" b="1" spc="-10">
                <a:solidFill>
                  <a:srgbClr val="FFFFFF"/>
                </a:solidFill>
                <a:latin typeface="Verdana"/>
                <a:cs typeface="Verdana"/>
              </a:rPr>
              <a:t>u</a:t>
            </a:r>
            <a:r>
              <a:rPr sz="1400" b="1">
                <a:solidFill>
                  <a:srgbClr val="FFFFFF"/>
                </a:solidFill>
                <a:latin typeface="Verdana"/>
                <a:cs typeface="Verdana"/>
              </a:rPr>
              <a:t>ild</a:t>
            </a:r>
            <a:endParaRPr sz="1400">
              <a:latin typeface="Verdana"/>
              <a:cs typeface="Verdana"/>
            </a:endParaRPr>
          </a:p>
        </p:txBody>
      </p:sp>
      <p:sp>
        <p:nvSpPr>
          <p:cNvPr id="30" name="object 30"/>
          <p:cNvSpPr/>
          <p:nvPr/>
        </p:nvSpPr>
        <p:spPr>
          <a:xfrm>
            <a:off x="4090400" y="2887887"/>
            <a:ext cx="1752631" cy="573162"/>
          </a:xfrm>
          <a:prstGeom prst="rect">
            <a:avLst/>
          </a:prstGeom>
          <a:blipFill>
            <a:blip r:embed="rId4" cstate="print"/>
            <a:stretch>
              <a:fillRect/>
            </a:stretch>
          </a:blipFill>
        </p:spPr>
        <p:txBody>
          <a:bodyPr wrap="square" lIns="0" tIns="0" rIns="0" bIns="0" rtlCol="0"/>
          <a:lstStyle/>
          <a:p>
            <a:endParaRPr/>
          </a:p>
        </p:txBody>
      </p:sp>
      <p:sp>
        <p:nvSpPr>
          <p:cNvPr id="31" name="object 31"/>
          <p:cNvSpPr/>
          <p:nvPr/>
        </p:nvSpPr>
        <p:spPr>
          <a:xfrm>
            <a:off x="4610100" y="2955035"/>
            <a:ext cx="713231" cy="480060"/>
          </a:xfrm>
          <a:prstGeom prst="rect">
            <a:avLst/>
          </a:prstGeom>
          <a:blipFill>
            <a:blip r:embed="rId6" cstate="print"/>
            <a:stretch>
              <a:fillRect/>
            </a:stretch>
          </a:blipFill>
        </p:spPr>
        <p:txBody>
          <a:bodyPr wrap="square" lIns="0" tIns="0" rIns="0" bIns="0" rtlCol="0"/>
          <a:lstStyle/>
          <a:p>
            <a:endParaRPr/>
          </a:p>
        </p:txBody>
      </p:sp>
      <p:sp>
        <p:nvSpPr>
          <p:cNvPr id="32" name="object 32"/>
          <p:cNvSpPr/>
          <p:nvPr/>
        </p:nvSpPr>
        <p:spPr>
          <a:xfrm>
            <a:off x="4107179" y="2895600"/>
            <a:ext cx="1664335" cy="494030"/>
          </a:xfrm>
          <a:custGeom>
            <a:avLst/>
            <a:gdLst/>
            <a:ahLst/>
            <a:cxnLst/>
            <a:rect l="l" t="t" r="r" b="b"/>
            <a:pathLst>
              <a:path w="1664335" h="494029">
                <a:moveTo>
                  <a:pt x="1581912" y="0"/>
                </a:moveTo>
                <a:lnTo>
                  <a:pt x="82296" y="0"/>
                </a:lnTo>
                <a:lnTo>
                  <a:pt x="50256" y="6465"/>
                </a:lnTo>
                <a:lnTo>
                  <a:pt x="24098" y="24098"/>
                </a:lnTo>
                <a:lnTo>
                  <a:pt x="6465" y="50256"/>
                </a:lnTo>
                <a:lnTo>
                  <a:pt x="0" y="82296"/>
                </a:lnTo>
                <a:lnTo>
                  <a:pt x="0" y="411479"/>
                </a:lnTo>
                <a:lnTo>
                  <a:pt x="6465" y="443519"/>
                </a:lnTo>
                <a:lnTo>
                  <a:pt x="24098" y="469677"/>
                </a:lnTo>
                <a:lnTo>
                  <a:pt x="50256" y="487310"/>
                </a:lnTo>
                <a:lnTo>
                  <a:pt x="82296" y="493775"/>
                </a:lnTo>
                <a:lnTo>
                  <a:pt x="1581912" y="493775"/>
                </a:lnTo>
                <a:lnTo>
                  <a:pt x="1613951" y="487310"/>
                </a:lnTo>
                <a:lnTo>
                  <a:pt x="1640109" y="469677"/>
                </a:lnTo>
                <a:lnTo>
                  <a:pt x="1657742" y="443519"/>
                </a:lnTo>
                <a:lnTo>
                  <a:pt x="1664208" y="411479"/>
                </a:lnTo>
                <a:lnTo>
                  <a:pt x="1664208" y="82296"/>
                </a:lnTo>
                <a:lnTo>
                  <a:pt x="1657742" y="50256"/>
                </a:lnTo>
                <a:lnTo>
                  <a:pt x="1640109" y="24098"/>
                </a:lnTo>
                <a:lnTo>
                  <a:pt x="1613951" y="6465"/>
                </a:lnTo>
                <a:lnTo>
                  <a:pt x="1581912" y="0"/>
                </a:lnTo>
                <a:close/>
              </a:path>
            </a:pathLst>
          </a:custGeom>
          <a:solidFill>
            <a:srgbClr val="00AFEF"/>
          </a:solidFill>
        </p:spPr>
        <p:txBody>
          <a:bodyPr wrap="square" lIns="0" tIns="0" rIns="0" bIns="0" rtlCol="0"/>
          <a:lstStyle/>
          <a:p>
            <a:endParaRPr/>
          </a:p>
        </p:txBody>
      </p:sp>
      <p:sp>
        <p:nvSpPr>
          <p:cNvPr id="33" name="object 33"/>
          <p:cNvSpPr txBox="1"/>
          <p:nvPr/>
        </p:nvSpPr>
        <p:spPr>
          <a:xfrm>
            <a:off x="4730622" y="3021838"/>
            <a:ext cx="419734"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R</a:t>
            </a:r>
            <a:r>
              <a:rPr sz="1400" b="1" spc="-5">
                <a:solidFill>
                  <a:srgbClr val="FFFFFF"/>
                </a:solidFill>
                <a:latin typeface="Verdana"/>
                <a:cs typeface="Verdana"/>
              </a:rPr>
              <a:t>un</a:t>
            </a:r>
            <a:endParaRPr sz="1400">
              <a:latin typeface="Verdana"/>
              <a:cs typeface="Verdana"/>
            </a:endParaRPr>
          </a:p>
        </p:txBody>
      </p:sp>
      <p:sp>
        <p:nvSpPr>
          <p:cNvPr id="34" name="object 34"/>
          <p:cNvSpPr/>
          <p:nvPr/>
        </p:nvSpPr>
        <p:spPr>
          <a:xfrm>
            <a:off x="4090400" y="4347879"/>
            <a:ext cx="1752631" cy="573162"/>
          </a:xfrm>
          <a:prstGeom prst="rect">
            <a:avLst/>
          </a:prstGeom>
          <a:blipFill>
            <a:blip r:embed="rId4" cstate="print"/>
            <a:stretch>
              <a:fillRect/>
            </a:stretch>
          </a:blipFill>
        </p:spPr>
        <p:txBody>
          <a:bodyPr wrap="square" lIns="0" tIns="0" rIns="0" bIns="0" rtlCol="0"/>
          <a:lstStyle/>
          <a:p>
            <a:endParaRPr/>
          </a:p>
        </p:txBody>
      </p:sp>
      <p:sp>
        <p:nvSpPr>
          <p:cNvPr id="35" name="object 35"/>
          <p:cNvSpPr/>
          <p:nvPr/>
        </p:nvSpPr>
        <p:spPr>
          <a:xfrm>
            <a:off x="4479035" y="4416552"/>
            <a:ext cx="975360" cy="480060"/>
          </a:xfrm>
          <a:prstGeom prst="rect">
            <a:avLst/>
          </a:prstGeom>
          <a:blipFill>
            <a:blip r:embed="rId7" cstate="print"/>
            <a:stretch>
              <a:fillRect/>
            </a:stretch>
          </a:blipFill>
        </p:spPr>
        <p:txBody>
          <a:bodyPr wrap="square" lIns="0" tIns="0" rIns="0" bIns="0" rtlCol="0"/>
          <a:lstStyle/>
          <a:p>
            <a:endParaRPr/>
          </a:p>
        </p:txBody>
      </p:sp>
      <p:sp>
        <p:nvSpPr>
          <p:cNvPr id="36" name="object 36"/>
          <p:cNvSpPr/>
          <p:nvPr/>
        </p:nvSpPr>
        <p:spPr>
          <a:xfrm>
            <a:off x="4107179" y="4355591"/>
            <a:ext cx="1664335" cy="494030"/>
          </a:xfrm>
          <a:custGeom>
            <a:avLst/>
            <a:gdLst/>
            <a:ahLst/>
            <a:cxnLst/>
            <a:rect l="l" t="t" r="r" b="b"/>
            <a:pathLst>
              <a:path w="1664335" h="494029">
                <a:moveTo>
                  <a:pt x="1581912" y="0"/>
                </a:moveTo>
                <a:lnTo>
                  <a:pt x="82296" y="0"/>
                </a:lnTo>
                <a:lnTo>
                  <a:pt x="50256" y="6465"/>
                </a:lnTo>
                <a:lnTo>
                  <a:pt x="24098" y="24098"/>
                </a:lnTo>
                <a:lnTo>
                  <a:pt x="6465" y="50256"/>
                </a:lnTo>
                <a:lnTo>
                  <a:pt x="0" y="82295"/>
                </a:lnTo>
                <a:lnTo>
                  <a:pt x="0" y="411479"/>
                </a:lnTo>
                <a:lnTo>
                  <a:pt x="6465" y="443519"/>
                </a:lnTo>
                <a:lnTo>
                  <a:pt x="24098" y="469677"/>
                </a:lnTo>
                <a:lnTo>
                  <a:pt x="50256" y="487310"/>
                </a:lnTo>
                <a:lnTo>
                  <a:pt x="82296" y="493775"/>
                </a:lnTo>
                <a:lnTo>
                  <a:pt x="1581912" y="493775"/>
                </a:lnTo>
                <a:lnTo>
                  <a:pt x="1613951" y="487310"/>
                </a:lnTo>
                <a:lnTo>
                  <a:pt x="1640109" y="469677"/>
                </a:lnTo>
                <a:lnTo>
                  <a:pt x="1657742" y="443519"/>
                </a:lnTo>
                <a:lnTo>
                  <a:pt x="1664208" y="411479"/>
                </a:lnTo>
                <a:lnTo>
                  <a:pt x="1664208" y="82295"/>
                </a:lnTo>
                <a:lnTo>
                  <a:pt x="1657742" y="50256"/>
                </a:lnTo>
                <a:lnTo>
                  <a:pt x="1640109" y="24098"/>
                </a:lnTo>
                <a:lnTo>
                  <a:pt x="1613951" y="6465"/>
                </a:lnTo>
                <a:lnTo>
                  <a:pt x="1581912" y="0"/>
                </a:lnTo>
                <a:close/>
              </a:path>
            </a:pathLst>
          </a:custGeom>
          <a:solidFill>
            <a:srgbClr val="00AFEF"/>
          </a:solidFill>
        </p:spPr>
        <p:txBody>
          <a:bodyPr wrap="square" lIns="0" tIns="0" rIns="0" bIns="0" rtlCol="0"/>
          <a:lstStyle/>
          <a:p>
            <a:endParaRPr/>
          </a:p>
        </p:txBody>
      </p:sp>
      <p:sp>
        <p:nvSpPr>
          <p:cNvPr id="37" name="object 37"/>
          <p:cNvSpPr txBox="1"/>
          <p:nvPr/>
        </p:nvSpPr>
        <p:spPr>
          <a:xfrm>
            <a:off x="4599559" y="4482846"/>
            <a:ext cx="680720" cy="239395"/>
          </a:xfrm>
          <a:prstGeom prst="rect">
            <a:avLst/>
          </a:prstGeom>
        </p:spPr>
        <p:txBody>
          <a:bodyPr vert="horz" wrap="square" lIns="0" tIns="12700" rIns="0" bIns="0" rtlCol="0">
            <a:spAutoFit/>
          </a:bodyPr>
          <a:lstStyle/>
          <a:p>
            <a:pPr marL="12700">
              <a:lnSpc>
                <a:spcPct val="100000"/>
              </a:lnSpc>
              <a:spcBef>
                <a:spcPts val="100"/>
              </a:spcBef>
            </a:pPr>
            <a:r>
              <a:rPr sz="1400" b="1" spc="-5">
                <a:solidFill>
                  <a:srgbClr val="FFFFFF"/>
                </a:solidFill>
                <a:latin typeface="Verdana"/>
                <a:cs typeface="Verdana"/>
              </a:rPr>
              <a:t>Evolve</a:t>
            </a:r>
            <a:endParaRPr sz="1400">
              <a:latin typeface="Verdana"/>
              <a:cs typeface="Verdana"/>
            </a:endParaRPr>
          </a:p>
        </p:txBody>
      </p:sp>
      <p:sp>
        <p:nvSpPr>
          <p:cNvPr id="38" name="object 38"/>
          <p:cNvSpPr txBox="1"/>
          <p:nvPr/>
        </p:nvSpPr>
        <p:spPr>
          <a:xfrm>
            <a:off x="4090542" y="1999767"/>
            <a:ext cx="1948814" cy="788670"/>
          </a:xfrm>
          <a:prstGeom prst="rect">
            <a:avLst/>
          </a:prstGeom>
        </p:spPr>
        <p:txBody>
          <a:bodyPr vert="horz" wrap="square" lIns="0" tIns="50800" rIns="0" bIns="0" rtlCol="0">
            <a:spAutoFit/>
          </a:bodyPr>
          <a:lstStyle/>
          <a:p>
            <a:pPr marL="184785" indent="-172720">
              <a:lnSpc>
                <a:spcPct val="100000"/>
              </a:lnSpc>
              <a:spcBef>
                <a:spcPts val="400"/>
              </a:spcBef>
              <a:buClr>
                <a:srgbClr val="006FAC"/>
              </a:buClr>
              <a:buFont typeface="Wingdings"/>
              <a:buChar char=""/>
              <a:tabLst>
                <a:tab pos="185420" algn="l"/>
              </a:tabLst>
            </a:pPr>
            <a:r>
              <a:rPr sz="1000">
                <a:latin typeface="Verdana"/>
                <a:cs typeface="Verdana"/>
              </a:rPr>
              <a:t>Application </a:t>
            </a:r>
            <a:r>
              <a:rPr sz="1000" spc="-5">
                <a:latin typeface="Verdana"/>
                <a:cs typeface="Verdana"/>
              </a:rPr>
              <a:t>Solution</a:t>
            </a:r>
            <a:r>
              <a:rPr sz="1000" spc="-20">
                <a:latin typeface="Verdana"/>
                <a:cs typeface="Verdana"/>
              </a:rPr>
              <a:t> </a:t>
            </a:r>
            <a:r>
              <a:rPr sz="1000" spc="-5">
                <a:latin typeface="Verdana"/>
                <a:cs typeface="Verdana"/>
              </a:rPr>
              <a:t>Design</a:t>
            </a:r>
            <a:endParaRPr sz="1000">
              <a:latin typeface="Verdana"/>
              <a:cs typeface="Verdana"/>
            </a:endParaRPr>
          </a:p>
          <a:p>
            <a:pPr marL="184785" indent="-172720">
              <a:lnSpc>
                <a:spcPct val="100000"/>
              </a:lnSpc>
              <a:spcBef>
                <a:spcPts val="305"/>
              </a:spcBef>
              <a:buClr>
                <a:srgbClr val="006FAC"/>
              </a:buClr>
              <a:buFont typeface="Wingdings"/>
              <a:buChar char=""/>
              <a:tabLst>
                <a:tab pos="185420" algn="l"/>
              </a:tabLst>
            </a:pPr>
            <a:r>
              <a:rPr sz="1000">
                <a:latin typeface="Verdana"/>
                <a:cs typeface="Verdana"/>
              </a:rPr>
              <a:t>Application</a:t>
            </a:r>
            <a:r>
              <a:rPr sz="1000" spc="-15">
                <a:latin typeface="Verdana"/>
                <a:cs typeface="Verdana"/>
              </a:rPr>
              <a:t> </a:t>
            </a:r>
            <a:r>
              <a:rPr sz="1000" spc="-5">
                <a:latin typeface="Verdana"/>
                <a:cs typeface="Verdana"/>
              </a:rPr>
              <a:t>Development</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spc="-5">
                <a:latin typeface="Verdana"/>
                <a:cs typeface="Verdana"/>
              </a:rPr>
              <a:t>User</a:t>
            </a:r>
            <a:r>
              <a:rPr sz="1000" spc="15">
                <a:latin typeface="Verdana"/>
                <a:cs typeface="Verdana"/>
              </a:rPr>
              <a:t> </a:t>
            </a:r>
            <a:r>
              <a:rPr sz="1000" spc="-5">
                <a:latin typeface="Verdana"/>
                <a:cs typeface="Verdana"/>
              </a:rPr>
              <a:t>Experience</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a:latin typeface="Verdana"/>
                <a:cs typeface="Verdana"/>
              </a:rPr>
              <a:t>Application</a:t>
            </a:r>
            <a:r>
              <a:rPr sz="1000" spc="-10">
                <a:latin typeface="Verdana"/>
                <a:cs typeface="Verdana"/>
              </a:rPr>
              <a:t> </a:t>
            </a:r>
            <a:r>
              <a:rPr sz="1000" spc="-5">
                <a:latin typeface="Verdana"/>
                <a:cs typeface="Verdana"/>
              </a:rPr>
              <a:t>Integration</a:t>
            </a:r>
            <a:endParaRPr sz="1000">
              <a:latin typeface="Verdana"/>
              <a:cs typeface="Verdana"/>
            </a:endParaRPr>
          </a:p>
        </p:txBody>
      </p:sp>
      <p:sp>
        <p:nvSpPr>
          <p:cNvPr id="39" name="object 39"/>
          <p:cNvSpPr txBox="1"/>
          <p:nvPr/>
        </p:nvSpPr>
        <p:spPr>
          <a:xfrm>
            <a:off x="4090542" y="3473856"/>
            <a:ext cx="1915160" cy="787400"/>
          </a:xfrm>
          <a:prstGeom prst="rect">
            <a:avLst/>
          </a:prstGeom>
        </p:spPr>
        <p:txBody>
          <a:bodyPr vert="horz" wrap="square" lIns="0" tIns="50800" rIns="0" bIns="0" rtlCol="0">
            <a:spAutoFit/>
          </a:bodyPr>
          <a:lstStyle/>
          <a:p>
            <a:pPr marL="184785" indent="-172720">
              <a:lnSpc>
                <a:spcPct val="100000"/>
              </a:lnSpc>
              <a:spcBef>
                <a:spcPts val="400"/>
              </a:spcBef>
              <a:buClr>
                <a:srgbClr val="006FAC"/>
              </a:buClr>
              <a:buFont typeface="Wingdings"/>
              <a:buChar char=""/>
              <a:tabLst>
                <a:tab pos="185420" algn="l"/>
              </a:tabLst>
            </a:pPr>
            <a:r>
              <a:rPr sz="1000">
                <a:latin typeface="Verdana"/>
                <a:cs typeface="Verdana"/>
              </a:rPr>
              <a:t>Application</a:t>
            </a:r>
            <a:r>
              <a:rPr sz="1000" spc="-10">
                <a:latin typeface="Verdana"/>
                <a:cs typeface="Verdana"/>
              </a:rPr>
              <a:t> </a:t>
            </a:r>
            <a:r>
              <a:rPr sz="1000" spc="-5">
                <a:latin typeface="Verdana"/>
                <a:cs typeface="Verdana"/>
              </a:rPr>
              <a:t>Support</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a:latin typeface="Verdana"/>
                <a:cs typeface="Verdana"/>
              </a:rPr>
              <a:t>Application</a:t>
            </a:r>
            <a:r>
              <a:rPr sz="1000" spc="-10">
                <a:latin typeface="Verdana"/>
                <a:cs typeface="Verdana"/>
              </a:rPr>
              <a:t> </a:t>
            </a:r>
            <a:r>
              <a:rPr sz="1000" spc="-5">
                <a:latin typeface="Verdana"/>
                <a:cs typeface="Verdana"/>
              </a:rPr>
              <a:t>Maintenance</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a:latin typeface="Verdana"/>
                <a:cs typeface="Verdana"/>
              </a:rPr>
              <a:t>Application</a:t>
            </a:r>
            <a:r>
              <a:rPr sz="1000" spc="-50">
                <a:latin typeface="Verdana"/>
                <a:cs typeface="Verdana"/>
              </a:rPr>
              <a:t> </a:t>
            </a:r>
            <a:r>
              <a:rPr sz="1000" spc="-5">
                <a:latin typeface="Verdana"/>
                <a:cs typeface="Verdana"/>
              </a:rPr>
              <a:t>Transformation</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spc="-5">
                <a:latin typeface="Verdana"/>
                <a:cs typeface="Verdana"/>
              </a:rPr>
              <a:t>Continuous</a:t>
            </a:r>
            <a:r>
              <a:rPr sz="1000" spc="5">
                <a:latin typeface="Verdana"/>
                <a:cs typeface="Verdana"/>
              </a:rPr>
              <a:t> </a:t>
            </a:r>
            <a:r>
              <a:rPr sz="1000" spc="-5">
                <a:latin typeface="Verdana"/>
                <a:cs typeface="Verdana"/>
              </a:rPr>
              <a:t>Improvement</a:t>
            </a:r>
            <a:endParaRPr sz="1000">
              <a:latin typeface="Verdana"/>
              <a:cs typeface="Verdana"/>
            </a:endParaRPr>
          </a:p>
        </p:txBody>
      </p:sp>
      <p:sp>
        <p:nvSpPr>
          <p:cNvPr id="40" name="object 40"/>
          <p:cNvSpPr txBox="1"/>
          <p:nvPr/>
        </p:nvSpPr>
        <p:spPr>
          <a:xfrm>
            <a:off x="4071365" y="4934864"/>
            <a:ext cx="1917700" cy="787400"/>
          </a:xfrm>
          <a:prstGeom prst="rect">
            <a:avLst/>
          </a:prstGeom>
        </p:spPr>
        <p:txBody>
          <a:bodyPr vert="horz" wrap="square" lIns="0" tIns="50800" rIns="0" bIns="0" rtlCol="0">
            <a:spAutoFit/>
          </a:bodyPr>
          <a:lstStyle/>
          <a:p>
            <a:pPr marL="184785" indent="-172720">
              <a:lnSpc>
                <a:spcPct val="100000"/>
              </a:lnSpc>
              <a:spcBef>
                <a:spcPts val="400"/>
              </a:spcBef>
              <a:buClr>
                <a:srgbClr val="006FAC"/>
              </a:buClr>
              <a:buFont typeface="Wingdings"/>
              <a:buChar char=""/>
              <a:tabLst>
                <a:tab pos="185420" algn="l"/>
              </a:tabLst>
            </a:pPr>
            <a:r>
              <a:rPr sz="1000" spc="-5">
                <a:latin typeface="Verdana"/>
                <a:cs typeface="Verdana"/>
              </a:rPr>
              <a:t>Portfolio </a:t>
            </a:r>
            <a:r>
              <a:rPr sz="1000">
                <a:latin typeface="Verdana"/>
                <a:cs typeface="Verdana"/>
              </a:rPr>
              <a:t>Rationalization</a:t>
            </a:r>
          </a:p>
          <a:p>
            <a:pPr marL="184785" indent="-172720">
              <a:lnSpc>
                <a:spcPct val="100000"/>
              </a:lnSpc>
              <a:spcBef>
                <a:spcPts val="300"/>
              </a:spcBef>
              <a:buClr>
                <a:srgbClr val="006FAC"/>
              </a:buClr>
              <a:buFont typeface="Wingdings"/>
              <a:buChar char=""/>
              <a:tabLst>
                <a:tab pos="185420" algn="l"/>
              </a:tabLst>
            </a:pPr>
            <a:r>
              <a:rPr sz="1000">
                <a:latin typeface="Verdana"/>
                <a:cs typeface="Verdana"/>
              </a:rPr>
              <a:t>Application</a:t>
            </a:r>
            <a:r>
              <a:rPr sz="1000" spc="-40">
                <a:latin typeface="Verdana"/>
                <a:cs typeface="Verdana"/>
              </a:rPr>
              <a:t> </a:t>
            </a:r>
            <a:r>
              <a:rPr sz="1000" spc="-5">
                <a:latin typeface="Verdana"/>
                <a:cs typeface="Verdana"/>
              </a:rPr>
              <a:t>Re-engineering</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a:latin typeface="Verdana"/>
                <a:cs typeface="Verdana"/>
              </a:rPr>
              <a:t>Application</a:t>
            </a:r>
            <a:r>
              <a:rPr sz="1000" spc="-60">
                <a:latin typeface="Verdana"/>
                <a:cs typeface="Verdana"/>
              </a:rPr>
              <a:t> </a:t>
            </a:r>
            <a:r>
              <a:rPr sz="1000" spc="-5">
                <a:latin typeface="Verdana"/>
                <a:cs typeface="Verdana"/>
              </a:rPr>
              <a:t>Modernization</a:t>
            </a:r>
            <a:endParaRPr sz="1000">
              <a:latin typeface="Verdana"/>
              <a:cs typeface="Verdana"/>
            </a:endParaRPr>
          </a:p>
          <a:p>
            <a:pPr marL="184785" indent="-172720">
              <a:lnSpc>
                <a:spcPct val="100000"/>
              </a:lnSpc>
              <a:spcBef>
                <a:spcPts val="300"/>
              </a:spcBef>
              <a:buClr>
                <a:srgbClr val="006FAC"/>
              </a:buClr>
              <a:buFont typeface="Wingdings"/>
              <a:buChar char=""/>
              <a:tabLst>
                <a:tab pos="185420" algn="l"/>
              </a:tabLst>
            </a:pPr>
            <a:r>
              <a:rPr sz="1000">
                <a:latin typeface="Verdana"/>
                <a:cs typeface="Verdana"/>
              </a:rPr>
              <a:t>Application</a:t>
            </a:r>
            <a:r>
              <a:rPr sz="1000" spc="-45">
                <a:latin typeface="Verdana"/>
                <a:cs typeface="Verdana"/>
              </a:rPr>
              <a:t> </a:t>
            </a:r>
            <a:r>
              <a:rPr sz="1000" spc="-5">
                <a:latin typeface="Verdana"/>
                <a:cs typeface="Verdana"/>
              </a:rPr>
              <a:t>Benchmarking</a:t>
            </a:r>
            <a:endParaRPr sz="1000">
              <a:latin typeface="Verdana"/>
              <a:cs typeface="Verdana"/>
            </a:endParaRPr>
          </a:p>
        </p:txBody>
      </p:sp>
      <p:sp>
        <p:nvSpPr>
          <p:cNvPr id="41" name="object 41"/>
          <p:cNvSpPr txBox="1"/>
          <p:nvPr/>
        </p:nvSpPr>
        <p:spPr>
          <a:xfrm>
            <a:off x="3236423" y="3683226"/>
            <a:ext cx="179705" cy="664210"/>
          </a:xfrm>
          <a:prstGeom prst="rect">
            <a:avLst/>
          </a:prstGeom>
        </p:spPr>
        <p:txBody>
          <a:bodyPr vert="vert270" wrap="square" lIns="0" tIns="12700" rIns="0" bIns="0" rtlCol="0">
            <a:spAutoFit/>
          </a:bodyPr>
          <a:lstStyle/>
          <a:p>
            <a:pPr marL="12700">
              <a:lnSpc>
                <a:spcPct val="100000"/>
              </a:lnSpc>
              <a:spcBef>
                <a:spcPts val="100"/>
              </a:spcBef>
            </a:pPr>
            <a:r>
              <a:rPr sz="1000" b="1">
                <a:latin typeface="Verdana"/>
                <a:cs typeface="Verdana"/>
              </a:rPr>
              <a:t>M</a:t>
            </a:r>
            <a:r>
              <a:rPr sz="1000" b="1" spc="-5">
                <a:latin typeface="Verdana"/>
                <a:cs typeface="Verdana"/>
              </a:rPr>
              <a:t>an</a:t>
            </a:r>
            <a:r>
              <a:rPr sz="1000" b="1" spc="-10">
                <a:latin typeface="Verdana"/>
                <a:cs typeface="Verdana"/>
              </a:rPr>
              <a:t>a</a:t>
            </a:r>
            <a:r>
              <a:rPr sz="1000" b="1" spc="-5">
                <a:latin typeface="Verdana"/>
                <a:cs typeface="Verdana"/>
              </a:rPr>
              <a:t>ged</a:t>
            </a:r>
            <a:endParaRPr sz="1000">
              <a:latin typeface="Verdana"/>
              <a:cs typeface="Verdana"/>
            </a:endParaRPr>
          </a:p>
        </p:txBody>
      </p:sp>
      <p:sp>
        <p:nvSpPr>
          <p:cNvPr id="42" name="object 42"/>
          <p:cNvSpPr txBox="1"/>
          <p:nvPr/>
        </p:nvSpPr>
        <p:spPr>
          <a:xfrm>
            <a:off x="3255346" y="1978545"/>
            <a:ext cx="179705" cy="619760"/>
          </a:xfrm>
          <a:prstGeom prst="rect">
            <a:avLst/>
          </a:prstGeom>
        </p:spPr>
        <p:txBody>
          <a:bodyPr vert="vert270" wrap="square" lIns="0" tIns="12700" rIns="0" bIns="0" rtlCol="0">
            <a:spAutoFit/>
          </a:bodyPr>
          <a:lstStyle/>
          <a:p>
            <a:pPr marL="12700">
              <a:lnSpc>
                <a:spcPct val="100000"/>
              </a:lnSpc>
              <a:spcBef>
                <a:spcPts val="100"/>
              </a:spcBef>
            </a:pPr>
            <a:r>
              <a:rPr sz="1000" b="1" spc="-10">
                <a:latin typeface="Verdana"/>
                <a:cs typeface="Verdana"/>
              </a:rPr>
              <a:t>Services</a:t>
            </a:r>
            <a:endParaRPr sz="1000">
              <a:latin typeface="Verdana"/>
              <a:cs typeface="Verdana"/>
            </a:endParaRPr>
          </a:p>
        </p:txBody>
      </p:sp>
      <p:sp>
        <p:nvSpPr>
          <p:cNvPr id="43" name="object 43"/>
          <p:cNvSpPr/>
          <p:nvPr/>
        </p:nvSpPr>
        <p:spPr>
          <a:xfrm>
            <a:off x="5771388" y="2031492"/>
            <a:ext cx="1226820" cy="1116965"/>
          </a:xfrm>
          <a:custGeom>
            <a:avLst/>
            <a:gdLst/>
            <a:ahLst/>
            <a:cxnLst/>
            <a:rect l="l" t="t" r="r" b="b"/>
            <a:pathLst>
              <a:path w="1226820" h="1116964">
                <a:moveTo>
                  <a:pt x="606933" y="1103757"/>
                </a:moveTo>
                <a:lnTo>
                  <a:pt x="0" y="1103757"/>
                </a:lnTo>
                <a:lnTo>
                  <a:pt x="0" y="1116457"/>
                </a:lnTo>
                <a:lnTo>
                  <a:pt x="616838" y="1116457"/>
                </a:lnTo>
                <a:lnTo>
                  <a:pt x="619633" y="1113663"/>
                </a:lnTo>
                <a:lnTo>
                  <a:pt x="619633" y="1110107"/>
                </a:lnTo>
                <a:lnTo>
                  <a:pt x="606933" y="1110107"/>
                </a:lnTo>
                <a:lnTo>
                  <a:pt x="606933" y="1103757"/>
                </a:lnTo>
                <a:close/>
              </a:path>
              <a:path w="1226820" h="1116964">
                <a:moveTo>
                  <a:pt x="1150365" y="31750"/>
                </a:moveTo>
                <a:lnTo>
                  <a:pt x="609726" y="31750"/>
                </a:lnTo>
                <a:lnTo>
                  <a:pt x="606933" y="34544"/>
                </a:lnTo>
                <a:lnTo>
                  <a:pt x="606933" y="1110107"/>
                </a:lnTo>
                <a:lnTo>
                  <a:pt x="613283" y="1103757"/>
                </a:lnTo>
                <a:lnTo>
                  <a:pt x="619633" y="1103757"/>
                </a:lnTo>
                <a:lnTo>
                  <a:pt x="619633" y="44450"/>
                </a:lnTo>
                <a:lnTo>
                  <a:pt x="613283" y="44450"/>
                </a:lnTo>
                <a:lnTo>
                  <a:pt x="619633" y="38100"/>
                </a:lnTo>
                <a:lnTo>
                  <a:pt x="1150365" y="38100"/>
                </a:lnTo>
                <a:lnTo>
                  <a:pt x="1150365" y="31750"/>
                </a:lnTo>
                <a:close/>
              </a:path>
              <a:path w="1226820" h="1116964">
                <a:moveTo>
                  <a:pt x="619633" y="1103757"/>
                </a:moveTo>
                <a:lnTo>
                  <a:pt x="613283" y="1103757"/>
                </a:lnTo>
                <a:lnTo>
                  <a:pt x="606933" y="1110107"/>
                </a:lnTo>
                <a:lnTo>
                  <a:pt x="619633" y="1110107"/>
                </a:lnTo>
                <a:lnTo>
                  <a:pt x="619633" y="1103757"/>
                </a:lnTo>
                <a:close/>
              </a:path>
              <a:path w="1226820" h="1116964">
                <a:moveTo>
                  <a:pt x="1150365" y="0"/>
                </a:moveTo>
                <a:lnTo>
                  <a:pt x="1150365" y="76200"/>
                </a:lnTo>
                <a:lnTo>
                  <a:pt x="1213865" y="44450"/>
                </a:lnTo>
                <a:lnTo>
                  <a:pt x="1163065" y="44450"/>
                </a:lnTo>
                <a:lnTo>
                  <a:pt x="1163065" y="31750"/>
                </a:lnTo>
                <a:lnTo>
                  <a:pt x="1213865" y="31750"/>
                </a:lnTo>
                <a:lnTo>
                  <a:pt x="1150365" y="0"/>
                </a:lnTo>
                <a:close/>
              </a:path>
              <a:path w="1226820" h="1116964">
                <a:moveTo>
                  <a:pt x="619633" y="38100"/>
                </a:moveTo>
                <a:lnTo>
                  <a:pt x="613283" y="44450"/>
                </a:lnTo>
                <a:lnTo>
                  <a:pt x="619633" y="44450"/>
                </a:lnTo>
                <a:lnTo>
                  <a:pt x="619633" y="38100"/>
                </a:lnTo>
                <a:close/>
              </a:path>
              <a:path w="1226820" h="1116964">
                <a:moveTo>
                  <a:pt x="1150365" y="38100"/>
                </a:moveTo>
                <a:lnTo>
                  <a:pt x="619633" y="38100"/>
                </a:lnTo>
                <a:lnTo>
                  <a:pt x="619633" y="44450"/>
                </a:lnTo>
                <a:lnTo>
                  <a:pt x="1150365" y="44450"/>
                </a:lnTo>
                <a:lnTo>
                  <a:pt x="1150365" y="38100"/>
                </a:lnTo>
                <a:close/>
              </a:path>
              <a:path w="1226820" h="1116964">
                <a:moveTo>
                  <a:pt x="1213865" y="31750"/>
                </a:moveTo>
                <a:lnTo>
                  <a:pt x="1163065" y="31750"/>
                </a:lnTo>
                <a:lnTo>
                  <a:pt x="1163065" y="44450"/>
                </a:lnTo>
                <a:lnTo>
                  <a:pt x="1213865" y="44450"/>
                </a:lnTo>
                <a:lnTo>
                  <a:pt x="1226565" y="38100"/>
                </a:lnTo>
                <a:lnTo>
                  <a:pt x="1213865" y="31750"/>
                </a:lnTo>
                <a:close/>
              </a:path>
            </a:pathLst>
          </a:custGeom>
          <a:solidFill>
            <a:srgbClr val="998B85"/>
          </a:solidFill>
        </p:spPr>
        <p:txBody>
          <a:bodyPr wrap="square" lIns="0" tIns="0" rIns="0" bIns="0" rtlCol="0"/>
          <a:lstStyle/>
          <a:p>
            <a:endParaRPr/>
          </a:p>
        </p:txBody>
      </p:sp>
      <p:sp>
        <p:nvSpPr>
          <p:cNvPr id="44" name="object 44"/>
          <p:cNvSpPr/>
          <p:nvPr/>
        </p:nvSpPr>
        <p:spPr>
          <a:xfrm>
            <a:off x="6976871" y="3842003"/>
            <a:ext cx="76200" cy="654050"/>
          </a:xfrm>
          <a:custGeom>
            <a:avLst/>
            <a:gdLst/>
            <a:ahLst/>
            <a:cxnLst/>
            <a:rect l="l" t="t" r="r" b="b"/>
            <a:pathLst>
              <a:path w="76200" h="654050">
                <a:moveTo>
                  <a:pt x="31750" y="579128"/>
                </a:moveTo>
                <a:lnTo>
                  <a:pt x="23252" y="580838"/>
                </a:lnTo>
                <a:lnTo>
                  <a:pt x="11144" y="588994"/>
                </a:lnTo>
                <a:lnTo>
                  <a:pt x="2988" y="601102"/>
                </a:lnTo>
                <a:lnTo>
                  <a:pt x="0" y="615950"/>
                </a:lnTo>
                <a:lnTo>
                  <a:pt x="2988" y="630797"/>
                </a:lnTo>
                <a:lnTo>
                  <a:pt x="11144" y="642905"/>
                </a:lnTo>
                <a:lnTo>
                  <a:pt x="23252" y="651061"/>
                </a:lnTo>
                <a:lnTo>
                  <a:pt x="38100" y="654050"/>
                </a:lnTo>
                <a:lnTo>
                  <a:pt x="52947" y="651061"/>
                </a:lnTo>
                <a:lnTo>
                  <a:pt x="65055" y="642905"/>
                </a:lnTo>
                <a:lnTo>
                  <a:pt x="73211" y="630797"/>
                </a:lnTo>
                <a:lnTo>
                  <a:pt x="76200" y="615950"/>
                </a:lnTo>
                <a:lnTo>
                  <a:pt x="31750" y="615950"/>
                </a:lnTo>
                <a:lnTo>
                  <a:pt x="31750" y="579128"/>
                </a:lnTo>
                <a:close/>
              </a:path>
              <a:path w="76200" h="654050">
                <a:moveTo>
                  <a:pt x="38100" y="577850"/>
                </a:moveTo>
                <a:lnTo>
                  <a:pt x="31750" y="579128"/>
                </a:lnTo>
                <a:lnTo>
                  <a:pt x="31750" y="615950"/>
                </a:lnTo>
                <a:lnTo>
                  <a:pt x="44450" y="615950"/>
                </a:lnTo>
                <a:lnTo>
                  <a:pt x="44450" y="579128"/>
                </a:lnTo>
                <a:lnTo>
                  <a:pt x="38100" y="577850"/>
                </a:lnTo>
                <a:close/>
              </a:path>
              <a:path w="76200" h="654050">
                <a:moveTo>
                  <a:pt x="44450" y="579128"/>
                </a:moveTo>
                <a:lnTo>
                  <a:pt x="44450" y="615950"/>
                </a:lnTo>
                <a:lnTo>
                  <a:pt x="76200" y="615950"/>
                </a:lnTo>
                <a:lnTo>
                  <a:pt x="73211" y="601102"/>
                </a:lnTo>
                <a:lnTo>
                  <a:pt x="65055" y="588994"/>
                </a:lnTo>
                <a:lnTo>
                  <a:pt x="52947" y="580838"/>
                </a:lnTo>
                <a:lnTo>
                  <a:pt x="44450" y="579128"/>
                </a:lnTo>
                <a:close/>
              </a:path>
              <a:path w="76200" h="654050">
                <a:moveTo>
                  <a:pt x="31750" y="74921"/>
                </a:moveTo>
                <a:lnTo>
                  <a:pt x="31750" y="579128"/>
                </a:lnTo>
                <a:lnTo>
                  <a:pt x="38100" y="577850"/>
                </a:lnTo>
                <a:lnTo>
                  <a:pt x="44450" y="577850"/>
                </a:lnTo>
                <a:lnTo>
                  <a:pt x="44450" y="76200"/>
                </a:lnTo>
                <a:lnTo>
                  <a:pt x="38100" y="76200"/>
                </a:lnTo>
                <a:lnTo>
                  <a:pt x="31750" y="74921"/>
                </a:lnTo>
                <a:close/>
              </a:path>
              <a:path w="76200" h="654050">
                <a:moveTo>
                  <a:pt x="44450" y="577850"/>
                </a:moveTo>
                <a:lnTo>
                  <a:pt x="38100" y="577850"/>
                </a:lnTo>
                <a:lnTo>
                  <a:pt x="44450" y="579128"/>
                </a:lnTo>
                <a:lnTo>
                  <a:pt x="44450" y="577850"/>
                </a:lnTo>
                <a:close/>
              </a:path>
              <a:path w="76200" h="654050">
                <a:moveTo>
                  <a:pt x="44450" y="38100"/>
                </a:moveTo>
                <a:lnTo>
                  <a:pt x="31750" y="38100"/>
                </a:lnTo>
                <a:lnTo>
                  <a:pt x="31750" y="74921"/>
                </a:lnTo>
                <a:lnTo>
                  <a:pt x="38100" y="76200"/>
                </a:lnTo>
                <a:lnTo>
                  <a:pt x="44450" y="74921"/>
                </a:lnTo>
                <a:lnTo>
                  <a:pt x="44450" y="38100"/>
                </a:lnTo>
                <a:close/>
              </a:path>
              <a:path w="76200" h="654050">
                <a:moveTo>
                  <a:pt x="44450" y="74921"/>
                </a:moveTo>
                <a:lnTo>
                  <a:pt x="38100" y="76200"/>
                </a:lnTo>
                <a:lnTo>
                  <a:pt x="44450" y="76200"/>
                </a:lnTo>
                <a:lnTo>
                  <a:pt x="44450" y="74921"/>
                </a:lnTo>
                <a:close/>
              </a:path>
              <a:path w="76200" h="65405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654050">
                <a:moveTo>
                  <a:pt x="76200" y="38100"/>
                </a:moveTo>
                <a:lnTo>
                  <a:pt x="44450" y="38100"/>
                </a:lnTo>
                <a:lnTo>
                  <a:pt x="44450" y="74921"/>
                </a:lnTo>
                <a:lnTo>
                  <a:pt x="52947" y="73211"/>
                </a:lnTo>
                <a:lnTo>
                  <a:pt x="65055" y="65055"/>
                </a:lnTo>
                <a:lnTo>
                  <a:pt x="73211" y="52947"/>
                </a:lnTo>
                <a:lnTo>
                  <a:pt x="76200" y="38100"/>
                </a:lnTo>
                <a:close/>
              </a:path>
            </a:pathLst>
          </a:custGeom>
          <a:solidFill>
            <a:srgbClr val="998B85"/>
          </a:solidFill>
        </p:spPr>
        <p:txBody>
          <a:bodyPr wrap="square" lIns="0" tIns="0" rIns="0" bIns="0" rtlCol="0"/>
          <a:lstStyle/>
          <a:p>
            <a:endParaRPr/>
          </a:p>
        </p:txBody>
      </p:sp>
      <p:sp>
        <p:nvSpPr>
          <p:cNvPr id="45" name="object 45"/>
          <p:cNvSpPr/>
          <p:nvPr/>
        </p:nvSpPr>
        <p:spPr>
          <a:xfrm>
            <a:off x="6976871" y="4552188"/>
            <a:ext cx="76200" cy="685800"/>
          </a:xfrm>
          <a:custGeom>
            <a:avLst/>
            <a:gdLst/>
            <a:ahLst/>
            <a:cxnLst/>
            <a:rect l="l" t="t" r="r" b="b"/>
            <a:pathLst>
              <a:path w="76200" h="685800">
                <a:moveTo>
                  <a:pt x="31750" y="610878"/>
                </a:moveTo>
                <a:lnTo>
                  <a:pt x="23252" y="612588"/>
                </a:lnTo>
                <a:lnTo>
                  <a:pt x="11144" y="620744"/>
                </a:lnTo>
                <a:lnTo>
                  <a:pt x="2988" y="632852"/>
                </a:lnTo>
                <a:lnTo>
                  <a:pt x="0" y="647700"/>
                </a:lnTo>
                <a:lnTo>
                  <a:pt x="2988" y="662547"/>
                </a:lnTo>
                <a:lnTo>
                  <a:pt x="11144" y="674655"/>
                </a:lnTo>
                <a:lnTo>
                  <a:pt x="23252" y="682811"/>
                </a:lnTo>
                <a:lnTo>
                  <a:pt x="38100" y="685800"/>
                </a:lnTo>
                <a:lnTo>
                  <a:pt x="52947" y="682811"/>
                </a:lnTo>
                <a:lnTo>
                  <a:pt x="65055" y="674655"/>
                </a:lnTo>
                <a:lnTo>
                  <a:pt x="73211" y="662547"/>
                </a:lnTo>
                <a:lnTo>
                  <a:pt x="76200" y="647700"/>
                </a:lnTo>
                <a:lnTo>
                  <a:pt x="31750" y="647700"/>
                </a:lnTo>
                <a:lnTo>
                  <a:pt x="31750" y="610878"/>
                </a:lnTo>
                <a:close/>
              </a:path>
              <a:path w="76200" h="685800">
                <a:moveTo>
                  <a:pt x="38100" y="609600"/>
                </a:moveTo>
                <a:lnTo>
                  <a:pt x="31750" y="610878"/>
                </a:lnTo>
                <a:lnTo>
                  <a:pt x="31750" y="647700"/>
                </a:lnTo>
                <a:lnTo>
                  <a:pt x="44450" y="647700"/>
                </a:lnTo>
                <a:lnTo>
                  <a:pt x="44450" y="610878"/>
                </a:lnTo>
                <a:lnTo>
                  <a:pt x="38100" y="609600"/>
                </a:lnTo>
                <a:close/>
              </a:path>
              <a:path w="76200" h="685800">
                <a:moveTo>
                  <a:pt x="44450" y="610878"/>
                </a:moveTo>
                <a:lnTo>
                  <a:pt x="44450" y="647700"/>
                </a:lnTo>
                <a:lnTo>
                  <a:pt x="76200" y="647700"/>
                </a:lnTo>
                <a:lnTo>
                  <a:pt x="73211" y="632852"/>
                </a:lnTo>
                <a:lnTo>
                  <a:pt x="65055" y="620744"/>
                </a:lnTo>
                <a:lnTo>
                  <a:pt x="52947" y="612588"/>
                </a:lnTo>
                <a:lnTo>
                  <a:pt x="44450" y="610878"/>
                </a:lnTo>
                <a:close/>
              </a:path>
              <a:path w="76200" h="685800">
                <a:moveTo>
                  <a:pt x="31750" y="74921"/>
                </a:moveTo>
                <a:lnTo>
                  <a:pt x="31750" y="610878"/>
                </a:lnTo>
                <a:lnTo>
                  <a:pt x="38100" y="609600"/>
                </a:lnTo>
                <a:lnTo>
                  <a:pt x="44450" y="609600"/>
                </a:lnTo>
                <a:lnTo>
                  <a:pt x="44450" y="76200"/>
                </a:lnTo>
                <a:lnTo>
                  <a:pt x="38100" y="76200"/>
                </a:lnTo>
                <a:lnTo>
                  <a:pt x="31750" y="74921"/>
                </a:lnTo>
                <a:close/>
              </a:path>
              <a:path w="76200" h="685800">
                <a:moveTo>
                  <a:pt x="44450" y="609600"/>
                </a:moveTo>
                <a:lnTo>
                  <a:pt x="38100" y="609600"/>
                </a:lnTo>
                <a:lnTo>
                  <a:pt x="44450" y="610878"/>
                </a:lnTo>
                <a:lnTo>
                  <a:pt x="44450" y="609600"/>
                </a:lnTo>
                <a:close/>
              </a:path>
              <a:path w="76200" h="685800">
                <a:moveTo>
                  <a:pt x="44450" y="38100"/>
                </a:moveTo>
                <a:lnTo>
                  <a:pt x="31750" y="38100"/>
                </a:lnTo>
                <a:lnTo>
                  <a:pt x="31750" y="74921"/>
                </a:lnTo>
                <a:lnTo>
                  <a:pt x="38100" y="76200"/>
                </a:lnTo>
                <a:lnTo>
                  <a:pt x="44450" y="74921"/>
                </a:lnTo>
                <a:lnTo>
                  <a:pt x="44450" y="38100"/>
                </a:lnTo>
                <a:close/>
              </a:path>
              <a:path w="76200" h="685800">
                <a:moveTo>
                  <a:pt x="44450" y="74921"/>
                </a:moveTo>
                <a:lnTo>
                  <a:pt x="38100" y="76200"/>
                </a:lnTo>
                <a:lnTo>
                  <a:pt x="44450" y="76200"/>
                </a:lnTo>
                <a:lnTo>
                  <a:pt x="44450" y="74921"/>
                </a:lnTo>
                <a:close/>
              </a:path>
              <a:path w="76200" h="68580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685800">
                <a:moveTo>
                  <a:pt x="76200" y="38100"/>
                </a:moveTo>
                <a:lnTo>
                  <a:pt x="44450" y="38100"/>
                </a:lnTo>
                <a:lnTo>
                  <a:pt x="44450" y="74921"/>
                </a:lnTo>
                <a:lnTo>
                  <a:pt x="52947" y="73211"/>
                </a:lnTo>
                <a:lnTo>
                  <a:pt x="65055" y="65055"/>
                </a:lnTo>
                <a:lnTo>
                  <a:pt x="73211" y="52947"/>
                </a:lnTo>
                <a:lnTo>
                  <a:pt x="76200" y="38100"/>
                </a:lnTo>
                <a:close/>
              </a:path>
            </a:pathLst>
          </a:custGeom>
          <a:solidFill>
            <a:srgbClr val="998B85"/>
          </a:solidFill>
        </p:spPr>
        <p:txBody>
          <a:bodyPr wrap="square" lIns="0" tIns="0" rIns="0" bIns="0" rtlCol="0"/>
          <a:lstStyle/>
          <a:p>
            <a:endParaRPr/>
          </a:p>
        </p:txBody>
      </p:sp>
      <p:sp>
        <p:nvSpPr>
          <p:cNvPr id="46" name="object 46"/>
          <p:cNvSpPr/>
          <p:nvPr/>
        </p:nvSpPr>
        <p:spPr>
          <a:xfrm>
            <a:off x="6976871" y="5256276"/>
            <a:ext cx="76200" cy="687070"/>
          </a:xfrm>
          <a:custGeom>
            <a:avLst/>
            <a:gdLst/>
            <a:ahLst/>
            <a:cxnLst/>
            <a:rect l="l" t="t" r="r" b="b"/>
            <a:pathLst>
              <a:path w="76200" h="687070">
                <a:moveTo>
                  <a:pt x="31750" y="611972"/>
                </a:moveTo>
                <a:lnTo>
                  <a:pt x="23252" y="613686"/>
                </a:lnTo>
                <a:lnTo>
                  <a:pt x="11144" y="621850"/>
                </a:lnTo>
                <a:lnTo>
                  <a:pt x="2988" y="633961"/>
                </a:lnTo>
                <a:lnTo>
                  <a:pt x="0" y="648792"/>
                </a:lnTo>
                <a:lnTo>
                  <a:pt x="2988" y="663623"/>
                </a:lnTo>
                <a:lnTo>
                  <a:pt x="11144" y="675733"/>
                </a:lnTo>
                <a:lnTo>
                  <a:pt x="23252" y="683898"/>
                </a:lnTo>
                <a:lnTo>
                  <a:pt x="38100" y="686892"/>
                </a:lnTo>
                <a:lnTo>
                  <a:pt x="52947" y="683898"/>
                </a:lnTo>
                <a:lnTo>
                  <a:pt x="65055" y="675733"/>
                </a:lnTo>
                <a:lnTo>
                  <a:pt x="73211" y="663623"/>
                </a:lnTo>
                <a:lnTo>
                  <a:pt x="76200" y="648792"/>
                </a:lnTo>
                <a:lnTo>
                  <a:pt x="31750" y="648792"/>
                </a:lnTo>
                <a:lnTo>
                  <a:pt x="31750" y="611972"/>
                </a:lnTo>
                <a:close/>
              </a:path>
              <a:path w="76200" h="687070">
                <a:moveTo>
                  <a:pt x="38100" y="610692"/>
                </a:moveTo>
                <a:lnTo>
                  <a:pt x="31750" y="611972"/>
                </a:lnTo>
                <a:lnTo>
                  <a:pt x="31750" y="648792"/>
                </a:lnTo>
                <a:lnTo>
                  <a:pt x="44450" y="648792"/>
                </a:lnTo>
                <a:lnTo>
                  <a:pt x="44450" y="611972"/>
                </a:lnTo>
                <a:lnTo>
                  <a:pt x="38100" y="610692"/>
                </a:lnTo>
                <a:close/>
              </a:path>
              <a:path w="76200" h="687070">
                <a:moveTo>
                  <a:pt x="44450" y="611972"/>
                </a:moveTo>
                <a:lnTo>
                  <a:pt x="44450" y="648792"/>
                </a:lnTo>
                <a:lnTo>
                  <a:pt x="76200" y="648792"/>
                </a:lnTo>
                <a:lnTo>
                  <a:pt x="73211" y="633961"/>
                </a:lnTo>
                <a:lnTo>
                  <a:pt x="65055" y="621850"/>
                </a:lnTo>
                <a:lnTo>
                  <a:pt x="52947" y="613686"/>
                </a:lnTo>
                <a:lnTo>
                  <a:pt x="44450" y="611972"/>
                </a:lnTo>
                <a:close/>
              </a:path>
              <a:path w="76200" h="687070">
                <a:moveTo>
                  <a:pt x="31750" y="74921"/>
                </a:moveTo>
                <a:lnTo>
                  <a:pt x="31750" y="611972"/>
                </a:lnTo>
                <a:lnTo>
                  <a:pt x="38100" y="610692"/>
                </a:lnTo>
                <a:lnTo>
                  <a:pt x="44450" y="610692"/>
                </a:lnTo>
                <a:lnTo>
                  <a:pt x="44450" y="76200"/>
                </a:lnTo>
                <a:lnTo>
                  <a:pt x="38100" y="76200"/>
                </a:lnTo>
                <a:lnTo>
                  <a:pt x="31750" y="74921"/>
                </a:lnTo>
                <a:close/>
              </a:path>
              <a:path w="76200" h="687070">
                <a:moveTo>
                  <a:pt x="44450" y="610692"/>
                </a:moveTo>
                <a:lnTo>
                  <a:pt x="38100" y="610692"/>
                </a:lnTo>
                <a:lnTo>
                  <a:pt x="44450" y="611972"/>
                </a:lnTo>
                <a:lnTo>
                  <a:pt x="44450" y="610692"/>
                </a:lnTo>
                <a:close/>
              </a:path>
              <a:path w="76200" h="687070">
                <a:moveTo>
                  <a:pt x="44450" y="38100"/>
                </a:moveTo>
                <a:lnTo>
                  <a:pt x="31750" y="38100"/>
                </a:lnTo>
                <a:lnTo>
                  <a:pt x="31750" y="74921"/>
                </a:lnTo>
                <a:lnTo>
                  <a:pt x="38100" y="76200"/>
                </a:lnTo>
                <a:lnTo>
                  <a:pt x="44450" y="74921"/>
                </a:lnTo>
                <a:lnTo>
                  <a:pt x="44450" y="38100"/>
                </a:lnTo>
                <a:close/>
              </a:path>
              <a:path w="76200" h="687070">
                <a:moveTo>
                  <a:pt x="44450" y="74921"/>
                </a:moveTo>
                <a:lnTo>
                  <a:pt x="38100" y="76200"/>
                </a:lnTo>
                <a:lnTo>
                  <a:pt x="44450" y="76200"/>
                </a:lnTo>
                <a:lnTo>
                  <a:pt x="44450" y="74921"/>
                </a:lnTo>
                <a:close/>
              </a:path>
              <a:path w="76200" h="68707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76200" h="687070">
                <a:moveTo>
                  <a:pt x="76200" y="38100"/>
                </a:moveTo>
                <a:lnTo>
                  <a:pt x="44450" y="38100"/>
                </a:lnTo>
                <a:lnTo>
                  <a:pt x="44450" y="74921"/>
                </a:lnTo>
                <a:lnTo>
                  <a:pt x="52947" y="73211"/>
                </a:lnTo>
                <a:lnTo>
                  <a:pt x="65055" y="65055"/>
                </a:lnTo>
                <a:lnTo>
                  <a:pt x="73211" y="52947"/>
                </a:lnTo>
                <a:lnTo>
                  <a:pt x="76200" y="38100"/>
                </a:lnTo>
                <a:close/>
              </a:path>
            </a:pathLst>
          </a:custGeom>
          <a:solidFill>
            <a:srgbClr val="998B85"/>
          </a:solidFill>
        </p:spPr>
        <p:txBody>
          <a:bodyPr wrap="square" lIns="0" tIns="0" rIns="0" bIns="0" rtlCol="0"/>
          <a:lstStyle/>
          <a:p>
            <a:endParaRPr/>
          </a:p>
        </p:txBody>
      </p:sp>
      <p:sp>
        <p:nvSpPr>
          <p:cNvPr id="47" name="object 47"/>
          <p:cNvSpPr/>
          <p:nvPr/>
        </p:nvSpPr>
        <p:spPr>
          <a:xfrm>
            <a:off x="6976871" y="5996940"/>
            <a:ext cx="76200" cy="417830"/>
          </a:xfrm>
          <a:custGeom>
            <a:avLst/>
            <a:gdLst/>
            <a:ahLst/>
            <a:cxnLst/>
            <a:rect l="l" t="t" r="r" b="b"/>
            <a:pathLst>
              <a:path w="76200" h="417829">
                <a:moveTo>
                  <a:pt x="31750" y="342732"/>
                </a:moveTo>
                <a:lnTo>
                  <a:pt x="23252" y="344446"/>
                </a:lnTo>
                <a:lnTo>
                  <a:pt x="11144" y="352610"/>
                </a:lnTo>
                <a:lnTo>
                  <a:pt x="2988" y="364721"/>
                </a:lnTo>
                <a:lnTo>
                  <a:pt x="0" y="379552"/>
                </a:lnTo>
                <a:lnTo>
                  <a:pt x="2988" y="394383"/>
                </a:lnTo>
                <a:lnTo>
                  <a:pt x="11144" y="406493"/>
                </a:lnTo>
                <a:lnTo>
                  <a:pt x="23252" y="414658"/>
                </a:lnTo>
                <a:lnTo>
                  <a:pt x="38100" y="417652"/>
                </a:lnTo>
                <a:lnTo>
                  <a:pt x="52947" y="414658"/>
                </a:lnTo>
                <a:lnTo>
                  <a:pt x="65055" y="406493"/>
                </a:lnTo>
                <a:lnTo>
                  <a:pt x="73211" y="394383"/>
                </a:lnTo>
                <a:lnTo>
                  <a:pt x="76200" y="379552"/>
                </a:lnTo>
                <a:lnTo>
                  <a:pt x="31750" y="379552"/>
                </a:lnTo>
                <a:lnTo>
                  <a:pt x="31750" y="342732"/>
                </a:lnTo>
                <a:close/>
              </a:path>
              <a:path w="76200" h="417829">
                <a:moveTo>
                  <a:pt x="38100" y="341452"/>
                </a:moveTo>
                <a:lnTo>
                  <a:pt x="31750" y="342732"/>
                </a:lnTo>
                <a:lnTo>
                  <a:pt x="31750" y="379552"/>
                </a:lnTo>
                <a:lnTo>
                  <a:pt x="44450" y="379552"/>
                </a:lnTo>
                <a:lnTo>
                  <a:pt x="44450" y="342732"/>
                </a:lnTo>
                <a:lnTo>
                  <a:pt x="38100" y="341452"/>
                </a:lnTo>
                <a:close/>
              </a:path>
              <a:path w="76200" h="417829">
                <a:moveTo>
                  <a:pt x="44450" y="342732"/>
                </a:moveTo>
                <a:lnTo>
                  <a:pt x="44450" y="379552"/>
                </a:lnTo>
                <a:lnTo>
                  <a:pt x="76200" y="379552"/>
                </a:lnTo>
                <a:lnTo>
                  <a:pt x="73211" y="364721"/>
                </a:lnTo>
                <a:lnTo>
                  <a:pt x="65055" y="352610"/>
                </a:lnTo>
                <a:lnTo>
                  <a:pt x="52947" y="344446"/>
                </a:lnTo>
                <a:lnTo>
                  <a:pt x="44450" y="342732"/>
                </a:lnTo>
                <a:close/>
              </a:path>
              <a:path w="76200" h="417829">
                <a:moveTo>
                  <a:pt x="31750" y="74919"/>
                </a:moveTo>
                <a:lnTo>
                  <a:pt x="31750" y="342732"/>
                </a:lnTo>
                <a:lnTo>
                  <a:pt x="38100" y="341452"/>
                </a:lnTo>
                <a:lnTo>
                  <a:pt x="44450" y="341452"/>
                </a:lnTo>
                <a:lnTo>
                  <a:pt x="44450" y="76200"/>
                </a:lnTo>
                <a:lnTo>
                  <a:pt x="38100" y="76200"/>
                </a:lnTo>
                <a:lnTo>
                  <a:pt x="31750" y="74919"/>
                </a:lnTo>
                <a:close/>
              </a:path>
              <a:path w="76200" h="417829">
                <a:moveTo>
                  <a:pt x="44450" y="341452"/>
                </a:moveTo>
                <a:lnTo>
                  <a:pt x="38100" y="341452"/>
                </a:lnTo>
                <a:lnTo>
                  <a:pt x="44450" y="342732"/>
                </a:lnTo>
                <a:lnTo>
                  <a:pt x="44450" y="341452"/>
                </a:lnTo>
                <a:close/>
              </a:path>
              <a:path w="76200" h="417829">
                <a:moveTo>
                  <a:pt x="44450" y="38100"/>
                </a:moveTo>
                <a:lnTo>
                  <a:pt x="31750" y="38100"/>
                </a:lnTo>
                <a:lnTo>
                  <a:pt x="31750" y="74919"/>
                </a:lnTo>
                <a:lnTo>
                  <a:pt x="38100" y="76200"/>
                </a:lnTo>
                <a:lnTo>
                  <a:pt x="44449" y="74919"/>
                </a:lnTo>
                <a:lnTo>
                  <a:pt x="44450" y="38100"/>
                </a:lnTo>
                <a:close/>
              </a:path>
              <a:path w="76200" h="417829">
                <a:moveTo>
                  <a:pt x="44450" y="74919"/>
                </a:moveTo>
                <a:lnTo>
                  <a:pt x="38100" y="76200"/>
                </a:lnTo>
                <a:lnTo>
                  <a:pt x="44450" y="76200"/>
                </a:lnTo>
                <a:lnTo>
                  <a:pt x="44450" y="74919"/>
                </a:lnTo>
                <a:close/>
              </a:path>
              <a:path w="76200" h="417829">
                <a:moveTo>
                  <a:pt x="38100" y="0"/>
                </a:moveTo>
                <a:lnTo>
                  <a:pt x="23252" y="2993"/>
                </a:lnTo>
                <a:lnTo>
                  <a:pt x="11144" y="11158"/>
                </a:lnTo>
                <a:lnTo>
                  <a:pt x="2988" y="23268"/>
                </a:lnTo>
                <a:lnTo>
                  <a:pt x="0" y="38100"/>
                </a:lnTo>
                <a:lnTo>
                  <a:pt x="2988" y="52931"/>
                </a:lnTo>
                <a:lnTo>
                  <a:pt x="11144" y="65041"/>
                </a:lnTo>
                <a:lnTo>
                  <a:pt x="23252" y="73206"/>
                </a:lnTo>
                <a:lnTo>
                  <a:pt x="31750" y="74919"/>
                </a:lnTo>
                <a:lnTo>
                  <a:pt x="31750" y="38100"/>
                </a:lnTo>
                <a:lnTo>
                  <a:pt x="76200" y="38100"/>
                </a:lnTo>
                <a:lnTo>
                  <a:pt x="73211" y="23268"/>
                </a:lnTo>
                <a:lnTo>
                  <a:pt x="65055" y="11158"/>
                </a:lnTo>
                <a:lnTo>
                  <a:pt x="52947" y="2993"/>
                </a:lnTo>
                <a:lnTo>
                  <a:pt x="38100" y="0"/>
                </a:lnTo>
                <a:close/>
              </a:path>
              <a:path w="76200" h="417829">
                <a:moveTo>
                  <a:pt x="76200" y="38100"/>
                </a:moveTo>
                <a:lnTo>
                  <a:pt x="44450" y="38100"/>
                </a:lnTo>
                <a:lnTo>
                  <a:pt x="44450" y="74919"/>
                </a:lnTo>
                <a:lnTo>
                  <a:pt x="52947" y="73206"/>
                </a:lnTo>
                <a:lnTo>
                  <a:pt x="65055" y="65041"/>
                </a:lnTo>
                <a:lnTo>
                  <a:pt x="73211" y="52931"/>
                </a:lnTo>
                <a:lnTo>
                  <a:pt x="76200" y="38100"/>
                </a:lnTo>
                <a:close/>
              </a:path>
            </a:pathLst>
          </a:custGeom>
          <a:solidFill>
            <a:srgbClr val="998B85"/>
          </a:solidFill>
        </p:spPr>
        <p:txBody>
          <a:bodyPr wrap="square" lIns="0" tIns="0" rIns="0" bIns="0" rtlCol="0"/>
          <a:lstStyle/>
          <a:p>
            <a:endParaRPr/>
          </a:p>
        </p:txBody>
      </p:sp>
      <p:sp>
        <p:nvSpPr>
          <p:cNvPr id="48" name="object 48"/>
          <p:cNvSpPr txBox="1"/>
          <p:nvPr/>
        </p:nvSpPr>
        <p:spPr>
          <a:xfrm>
            <a:off x="6989064" y="2932176"/>
            <a:ext cx="4724400" cy="268605"/>
          </a:xfrm>
          <a:prstGeom prst="rect">
            <a:avLst/>
          </a:prstGeom>
          <a:solidFill>
            <a:srgbClr val="F1F1F1"/>
          </a:solidFill>
        </p:spPr>
        <p:txBody>
          <a:bodyPr vert="horz" wrap="square" lIns="0" tIns="50165" rIns="0" bIns="0" rtlCol="0">
            <a:spAutoFit/>
          </a:bodyPr>
          <a:lstStyle/>
          <a:p>
            <a:pPr marL="635" algn="ctr">
              <a:lnSpc>
                <a:spcPct val="100000"/>
              </a:lnSpc>
              <a:spcBef>
                <a:spcPts val="395"/>
              </a:spcBef>
            </a:pPr>
            <a:r>
              <a:rPr sz="1100" b="1">
                <a:solidFill>
                  <a:srgbClr val="4E4641"/>
                </a:solidFill>
                <a:latin typeface="Verdana"/>
                <a:cs typeface="Verdana"/>
              </a:rPr>
              <a:t>ADM </a:t>
            </a:r>
            <a:r>
              <a:rPr sz="1100" b="1" spc="-5">
                <a:solidFill>
                  <a:srgbClr val="4E4641"/>
                </a:solidFill>
                <a:latin typeface="Verdana"/>
                <a:cs typeface="Verdana"/>
              </a:rPr>
              <a:t>Solution</a:t>
            </a:r>
            <a:r>
              <a:rPr sz="1100" b="1" spc="-30">
                <a:solidFill>
                  <a:srgbClr val="4E4641"/>
                </a:solidFill>
                <a:latin typeface="Verdana"/>
                <a:cs typeface="Verdana"/>
              </a:rPr>
              <a:t> </a:t>
            </a:r>
            <a:r>
              <a:rPr sz="1100" b="1">
                <a:solidFill>
                  <a:srgbClr val="4E4641"/>
                </a:solidFill>
                <a:latin typeface="Verdana"/>
                <a:cs typeface="Verdana"/>
              </a:rPr>
              <a:t>Components</a:t>
            </a:r>
            <a:endParaRPr sz="1100">
              <a:latin typeface="Verdana"/>
              <a:cs typeface="Verdana"/>
            </a:endParaRPr>
          </a:p>
        </p:txBody>
      </p:sp>
      <p:sp>
        <p:nvSpPr>
          <p:cNvPr id="49" name="object 49"/>
          <p:cNvSpPr txBox="1"/>
          <p:nvPr/>
        </p:nvSpPr>
        <p:spPr>
          <a:xfrm>
            <a:off x="7171181" y="3261741"/>
            <a:ext cx="3299460" cy="1491615"/>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Service</a:t>
            </a:r>
            <a:r>
              <a:rPr sz="1000" b="1" spc="10">
                <a:latin typeface="Verdana"/>
                <a:cs typeface="Verdana"/>
              </a:rPr>
              <a:t> </a:t>
            </a:r>
            <a:r>
              <a:rPr sz="1000" b="1" spc="-10">
                <a:latin typeface="Verdana"/>
                <a:cs typeface="Verdana"/>
              </a:rPr>
              <a:t>Management:</a:t>
            </a:r>
            <a:endParaRPr sz="1000">
              <a:latin typeface="Verdana"/>
              <a:cs typeface="Verdana"/>
            </a:endParaRPr>
          </a:p>
          <a:p>
            <a:pPr marL="241300" indent="-228600">
              <a:lnSpc>
                <a:spcPct val="100000"/>
              </a:lnSpc>
              <a:buClr>
                <a:srgbClr val="006FAC"/>
              </a:buClr>
              <a:buAutoNum type="arabicPeriod"/>
              <a:tabLst>
                <a:tab pos="241300" algn="l"/>
              </a:tabLst>
            </a:pPr>
            <a:r>
              <a:rPr sz="1000" spc="-5">
                <a:latin typeface="Verdana"/>
                <a:cs typeface="Verdana"/>
              </a:rPr>
              <a:t>SLA Monitoring and</a:t>
            </a:r>
            <a:r>
              <a:rPr sz="1000" spc="30">
                <a:latin typeface="Verdana"/>
                <a:cs typeface="Verdana"/>
              </a:rPr>
              <a:t> </a:t>
            </a:r>
            <a:r>
              <a:rPr sz="1000" spc="-5">
                <a:latin typeface="Verdana"/>
                <a:cs typeface="Verdana"/>
              </a:rPr>
              <a:t>Reporting</a:t>
            </a:r>
            <a:endParaRPr sz="1000">
              <a:latin typeface="Verdana"/>
              <a:cs typeface="Verdana"/>
            </a:endParaRPr>
          </a:p>
          <a:p>
            <a:pPr marL="241300" indent="-228600">
              <a:lnSpc>
                <a:spcPct val="100000"/>
              </a:lnSpc>
              <a:buClr>
                <a:srgbClr val="006FAC"/>
              </a:buClr>
              <a:buAutoNum type="arabicPeriod"/>
              <a:tabLst>
                <a:tab pos="241300" algn="l"/>
              </a:tabLst>
            </a:pPr>
            <a:r>
              <a:rPr sz="1000" spc="-5">
                <a:latin typeface="Verdana"/>
                <a:cs typeface="Verdana"/>
              </a:rPr>
              <a:t>Demand</a:t>
            </a:r>
            <a:r>
              <a:rPr sz="1000" spc="15">
                <a:latin typeface="Verdana"/>
                <a:cs typeface="Verdana"/>
              </a:rPr>
              <a:t> </a:t>
            </a:r>
            <a:r>
              <a:rPr sz="1000" spc="-5">
                <a:latin typeface="Verdana"/>
                <a:cs typeface="Verdana"/>
              </a:rPr>
              <a:t>Management</a:t>
            </a:r>
            <a:endParaRPr sz="1000">
              <a:latin typeface="Verdana"/>
              <a:cs typeface="Verdana"/>
            </a:endParaRPr>
          </a:p>
          <a:p>
            <a:pPr marL="12700">
              <a:lnSpc>
                <a:spcPct val="100000"/>
              </a:lnSpc>
              <a:spcBef>
                <a:spcPts val="1025"/>
              </a:spcBef>
            </a:pPr>
            <a:r>
              <a:rPr sz="1000" b="1" spc="-10">
                <a:latin typeface="Verdana"/>
                <a:cs typeface="Verdana"/>
              </a:rPr>
              <a:t>Application Help</a:t>
            </a:r>
            <a:r>
              <a:rPr sz="1000" b="1" spc="20">
                <a:latin typeface="Verdana"/>
                <a:cs typeface="Verdana"/>
              </a:rPr>
              <a:t> </a:t>
            </a:r>
            <a:r>
              <a:rPr sz="1000" b="1" spc="-10">
                <a:latin typeface="Verdana"/>
                <a:cs typeface="Verdana"/>
              </a:rPr>
              <a:t>Desk:</a:t>
            </a:r>
            <a:endParaRPr sz="1000">
              <a:latin typeface="Verdana"/>
              <a:cs typeface="Verdana"/>
            </a:endParaRPr>
          </a:p>
          <a:p>
            <a:pPr marL="241300" indent="-228600">
              <a:lnSpc>
                <a:spcPct val="100000"/>
              </a:lnSpc>
              <a:buClr>
                <a:srgbClr val="006FAC"/>
              </a:buClr>
              <a:buAutoNum type="arabicPeriod"/>
              <a:tabLst>
                <a:tab pos="241300" algn="l"/>
              </a:tabLst>
            </a:pPr>
            <a:r>
              <a:rPr sz="1000">
                <a:latin typeface="Verdana"/>
                <a:cs typeface="Verdana"/>
              </a:rPr>
              <a:t>Application </a:t>
            </a:r>
            <a:r>
              <a:rPr sz="1000" spc="-5">
                <a:latin typeface="Verdana"/>
                <a:cs typeface="Verdana"/>
              </a:rPr>
              <a:t>User</a:t>
            </a:r>
            <a:r>
              <a:rPr sz="1000" spc="5">
                <a:latin typeface="Verdana"/>
                <a:cs typeface="Verdana"/>
              </a:rPr>
              <a:t> </a:t>
            </a:r>
            <a:r>
              <a:rPr sz="1000" spc="-5">
                <a:latin typeface="Verdana"/>
                <a:cs typeface="Verdana"/>
              </a:rPr>
              <a:t>Support</a:t>
            </a:r>
            <a:endParaRPr sz="1000">
              <a:latin typeface="Verdana"/>
              <a:cs typeface="Verdana"/>
            </a:endParaRPr>
          </a:p>
          <a:p>
            <a:pPr marL="241300" indent="-228600">
              <a:lnSpc>
                <a:spcPct val="100000"/>
              </a:lnSpc>
              <a:buClr>
                <a:srgbClr val="006FAC"/>
              </a:buClr>
              <a:buAutoNum type="arabicPeriod"/>
              <a:tabLst>
                <a:tab pos="241300" algn="l"/>
              </a:tabLst>
            </a:pPr>
            <a:r>
              <a:rPr sz="1000">
                <a:latin typeface="Verdana"/>
                <a:cs typeface="Verdana"/>
              </a:rPr>
              <a:t>Application </a:t>
            </a:r>
            <a:r>
              <a:rPr sz="1000" spc="-5">
                <a:latin typeface="Verdana"/>
                <a:cs typeface="Verdana"/>
              </a:rPr>
              <a:t>access rights and user</a:t>
            </a:r>
            <a:r>
              <a:rPr sz="1000" spc="60">
                <a:latin typeface="Verdana"/>
                <a:cs typeface="Verdana"/>
              </a:rPr>
              <a:t> </a:t>
            </a:r>
            <a:r>
              <a:rPr sz="1000" spc="-5">
                <a:latin typeface="Verdana"/>
                <a:cs typeface="Verdana"/>
              </a:rPr>
              <a:t>maintenance</a:t>
            </a:r>
            <a:endParaRPr sz="1000">
              <a:latin typeface="Verdana"/>
              <a:cs typeface="Verdana"/>
            </a:endParaRPr>
          </a:p>
          <a:p>
            <a:pPr marL="241300" indent="-228600">
              <a:lnSpc>
                <a:spcPct val="100000"/>
              </a:lnSpc>
              <a:buClr>
                <a:srgbClr val="006FAC"/>
              </a:buClr>
              <a:buAutoNum type="arabicPeriod"/>
              <a:tabLst>
                <a:tab pos="241300" algn="l"/>
              </a:tabLst>
            </a:pPr>
            <a:r>
              <a:rPr sz="1000">
                <a:latin typeface="Verdana"/>
                <a:cs typeface="Verdana"/>
              </a:rPr>
              <a:t>Application </a:t>
            </a:r>
            <a:r>
              <a:rPr sz="1000" spc="-5">
                <a:latin typeface="Verdana"/>
                <a:cs typeface="Verdana"/>
              </a:rPr>
              <a:t>level</a:t>
            </a:r>
            <a:r>
              <a:rPr sz="1000" spc="5">
                <a:latin typeface="Verdana"/>
                <a:cs typeface="Verdana"/>
              </a:rPr>
              <a:t> </a:t>
            </a:r>
            <a:r>
              <a:rPr sz="1000" spc="-5">
                <a:latin typeface="Verdana"/>
                <a:cs typeface="Verdana"/>
              </a:rPr>
              <a:t>triage</a:t>
            </a:r>
            <a:endParaRPr sz="1000">
              <a:latin typeface="Verdana"/>
              <a:cs typeface="Verdana"/>
            </a:endParaRPr>
          </a:p>
          <a:p>
            <a:pPr marL="12700">
              <a:lnSpc>
                <a:spcPct val="100000"/>
              </a:lnSpc>
              <a:spcBef>
                <a:spcPts val="919"/>
              </a:spcBef>
            </a:pPr>
            <a:r>
              <a:rPr sz="1000" b="1" spc="-5">
                <a:latin typeface="Verdana"/>
                <a:cs typeface="Verdana"/>
              </a:rPr>
              <a:t>Production</a:t>
            </a:r>
            <a:r>
              <a:rPr sz="1000" b="1" spc="10">
                <a:latin typeface="Verdana"/>
                <a:cs typeface="Verdana"/>
              </a:rPr>
              <a:t> </a:t>
            </a:r>
            <a:r>
              <a:rPr sz="1000" b="1" spc="-10">
                <a:latin typeface="Verdana"/>
                <a:cs typeface="Verdana"/>
              </a:rPr>
              <a:t>Support:</a:t>
            </a:r>
            <a:endParaRPr sz="1000">
              <a:latin typeface="Verdana"/>
              <a:cs typeface="Verdana"/>
            </a:endParaRPr>
          </a:p>
        </p:txBody>
      </p:sp>
      <p:sp>
        <p:nvSpPr>
          <p:cNvPr id="50" name="object 50"/>
          <p:cNvSpPr txBox="1"/>
          <p:nvPr/>
        </p:nvSpPr>
        <p:spPr>
          <a:xfrm>
            <a:off x="9506204" y="4728209"/>
            <a:ext cx="1615440" cy="482600"/>
          </a:xfrm>
          <a:prstGeom prst="rect">
            <a:avLst/>
          </a:prstGeom>
        </p:spPr>
        <p:txBody>
          <a:bodyPr vert="horz" wrap="square" lIns="0" tIns="12065" rIns="0" bIns="0" rtlCol="0">
            <a:spAutoFit/>
          </a:bodyPr>
          <a:lstStyle/>
          <a:p>
            <a:pPr marL="241300" marR="5080" indent="-228600">
              <a:lnSpc>
                <a:spcPct val="100000"/>
              </a:lnSpc>
              <a:spcBef>
                <a:spcPts val="95"/>
              </a:spcBef>
              <a:buClr>
                <a:srgbClr val="006FAC"/>
              </a:buClr>
              <a:buAutoNum type="arabicPeriod" startAt="4"/>
              <a:tabLst>
                <a:tab pos="241300" algn="l"/>
              </a:tabLst>
            </a:pPr>
            <a:r>
              <a:rPr sz="1000" spc="-5">
                <a:latin typeface="Verdana"/>
                <a:cs typeface="Verdana"/>
              </a:rPr>
              <a:t>Release</a:t>
            </a:r>
            <a:r>
              <a:rPr sz="1000" spc="-40">
                <a:latin typeface="Verdana"/>
                <a:cs typeface="Verdana"/>
              </a:rPr>
              <a:t> </a:t>
            </a:r>
            <a:r>
              <a:rPr sz="1000" spc="-5">
                <a:latin typeface="Verdana"/>
                <a:cs typeface="Verdana"/>
              </a:rPr>
              <a:t>Management  Support</a:t>
            </a:r>
            <a:endParaRPr sz="1000">
              <a:latin typeface="Verdana"/>
              <a:cs typeface="Verdana"/>
            </a:endParaRPr>
          </a:p>
          <a:p>
            <a:pPr marL="241300" indent="-228600">
              <a:lnSpc>
                <a:spcPct val="100000"/>
              </a:lnSpc>
              <a:buClr>
                <a:srgbClr val="006FAC"/>
              </a:buClr>
              <a:buAutoNum type="arabicPeriod" startAt="4"/>
              <a:tabLst>
                <a:tab pos="241300" algn="l"/>
              </a:tabLst>
            </a:pPr>
            <a:r>
              <a:rPr sz="1000" spc="-5">
                <a:latin typeface="Verdana"/>
                <a:cs typeface="Verdana"/>
              </a:rPr>
              <a:t>Outage</a:t>
            </a:r>
            <a:r>
              <a:rPr sz="1000" spc="-25">
                <a:latin typeface="Verdana"/>
                <a:cs typeface="Verdana"/>
              </a:rPr>
              <a:t> </a:t>
            </a:r>
            <a:r>
              <a:rPr sz="1000" spc="-5">
                <a:latin typeface="Verdana"/>
                <a:cs typeface="Verdana"/>
              </a:rPr>
              <a:t>Management</a:t>
            </a:r>
            <a:endParaRPr sz="1000">
              <a:latin typeface="Verdana"/>
              <a:cs typeface="Verdana"/>
            </a:endParaRPr>
          </a:p>
        </p:txBody>
      </p:sp>
      <p:sp>
        <p:nvSpPr>
          <p:cNvPr id="51" name="object 51"/>
          <p:cNvSpPr txBox="1"/>
          <p:nvPr/>
        </p:nvSpPr>
        <p:spPr>
          <a:xfrm>
            <a:off x="7171181" y="4728209"/>
            <a:ext cx="1818005" cy="1186815"/>
          </a:xfrm>
          <a:prstGeom prst="rect">
            <a:avLst/>
          </a:prstGeom>
        </p:spPr>
        <p:txBody>
          <a:bodyPr vert="horz" wrap="square" lIns="0" tIns="12065" rIns="0" bIns="0" rtlCol="0">
            <a:spAutoFit/>
          </a:bodyPr>
          <a:lstStyle/>
          <a:p>
            <a:pPr marL="241300" indent="-228600">
              <a:lnSpc>
                <a:spcPct val="100000"/>
              </a:lnSpc>
              <a:spcBef>
                <a:spcPts val="95"/>
              </a:spcBef>
              <a:buClr>
                <a:srgbClr val="006FAC"/>
              </a:buClr>
              <a:buAutoNum type="arabicPeriod"/>
              <a:tabLst>
                <a:tab pos="241300" algn="l"/>
              </a:tabLst>
            </a:pPr>
            <a:r>
              <a:rPr sz="1000" spc="-5">
                <a:latin typeface="Verdana"/>
                <a:cs typeface="Verdana"/>
              </a:rPr>
              <a:t>Incident</a:t>
            </a:r>
            <a:r>
              <a:rPr sz="1000" spc="-35">
                <a:latin typeface="Verdana"/>
                <a:cs typeface="Verdana"/>
              </a:rPr>
              <a:t> </a:t>
            </a:r>
            <a:r>
              <a:rPr sz="1000" spc="-5">
                <a:latin typeface="Verdana"/>
                <a:cs typeface="Verdana"/>
              </a:rPr>
              <a:t>Management</a:t>
            </a:r>
            <a:endParaRPr sz="1000">
              <a:latin typeface="Verdana"/>
              <a:cs typeface="Verdana"/>
            </a:endParaRPr>
          </a:p>
          <a:p>
            <a:pPr marL="241300" indent="-228600">
              <a:lnSpc>
                <a:spcPct val="100000"/>
              </a:lnSpc>
              <a:buClr>
                <a:srgbClr val="006FAC"/>
              </a:buClr>
              <a:buAutoNum type="arabicPeriod"/>
              <a:tabLst>
                <a:tab pos="241300" algn="l"/>
              </a:tabLst>
            </a:pPr>
            <a:r>
              <a:rPr sz="1000" spc="-5">
                <a:latin typeface="Verdana"/>
                <a:cs typeface="Verdana"/>
              </a:rPr>
              <a:t>Problem</a:t>
            </a:r>
            <a:r>
              <a:rPr sz="1000" spc="-60">
                <a:latin typeface="Verdana"/>
                <a:cs typeface="Verdana"/>
              </a:rPr>
              <a:t> </a:t>
            </a:r>
            <a:r>
              <a:rPr sz="1000" spc="-5">
                <a:latin typeface="Verdana"/>
                <a:cs typeface="Verdana"/>
              </a:rPr>
              <a:t>Management</a:t>
            </a:r>
            <a:endParaRPr sz="1000">
              <a:latin typeface="Verdana"/>
              <a:cs typeface="Verdana"/>
            </a:endParaRPr>
          </a:p>
          <a:p>
            <a:pPr marL="241300" indent="-228600">
              <a:lnSpc>
                <a:spcPct val="100000"/>
              </a:lnSpc>
              <a:buClr>
                <a:srgbClr val="006FAC"/>
              </a:buClr>
              <a:buAutoNum type="arabicPeriod"/>
              <a:tabLst>
                <a:tab pos="241300" algn="l"/>
              </a:tabLst>
            </a:pPr>
            <a:r>
              <a:rPr sz="1000" spc="-5">
                <a:latin typeface="Verdana"/>
                <a:cs typeface="Verdana"/>
              </a:rPr>
              <a:t>Break –</a:t>
            </a:r>
            <a:r>
              <a:rPr sz="1000" spc="5">
                <a:latin typeface="Verdana"/>
                <a:cs typeface="Verdana"/>
              </a:rPr>
              <a:t> </a:t>
            </a:r>
            <a:r>
              <a:rPr sz="1000">
                <a:latin typeface="Verdana"/>
                <a:cs typeface="Verdana"/>
              </a:rPr>
              <a:t>Fix</a:t>
            </a:r>
          </a:p>
          <a:p>
            <a:pPr marL="12700">
              <a:lnSpc>
                <a:spcPct val="100000"/>
              </a:lnSpc>
              <a:spcBef>
                <a:spcPts val="745"/>
              </a:spcBef>
            </a:pPr>
            <a:r>
              <a:rPr sz="1000" b="1" spc="-10">
                <a:latin typeface="Verdana"/>
                <a:cs typeface="Verdana"/>
              </a:rPr>
              <a:t>Application</a:t>
            </a:r>
            <a:r>
              <a:rPr sz="1000" b="1" spc="-15">
                <a:latin typeface="Verdana"/>
                <a:cs typeface="Verdana"/>
              </a:rPr>
              <a:t> </a:t>
            </a:r>
            <a:r>
              <a:rPr sz="1000" b="1" spc="-10">
                <a:latin typeface="Verdana"/>
                <a:cs typeface="Verdana"/>
              </a:rPr>
              <a:t>Maintenance:</a:t>
            </a:r>
            <a:endParaRPr sz="1000">
              <a:latin typeface="Verdana"/>
              <a:cs typeface="Verdana"/>
            </a:endParaRPr>
          </a:p>
          <a:p>
            <a:pPr marL="241300" indent="-228600">
              <a:lnSpc>
                <a:spcPct val="100000"/>
              </a:lnSpc>
              <a:buClr>
                <a:srgbClr val="006FAC"/>
              </a:buClr>
              <a:buAutoNum type="arabicPeriod"/>
              <a:tabLst>
                <a:tab pos="241300" algn="l"/>
              </a:tabLst>
            </a:pPr>
            <a:r>
              <a:rPr sz="1000">
                <a:latin typeface="Verdana"/>
                <a:cs typeface="Verdana"/>
              </a:rPr>
              <a:t>Application</a:t>
            </a:r>
            <a:r>
              <a:rPr sz="1000" spc="-15">
                <a:latin typeface="Verdana"/>
                <a:cs typeface="Verdana"/>
              </a:rPr>
              <a:t> </a:t>
            </a:r>
            <a:r>
              <a:rPr sz="1000" spc="-5">
                <a:latin typeface="Verdana"/>
                <a:cs typeface="Verdana"/>
              </a:rPr>
              <a:t>Monitoring</a:t>
            </a:r>
            <a:endParaRPr sz="1000">
              <a:latin typeface="Verdana"/>
              <a:cs typeface="Verdana"/>
            </a:endParaRPr>
          </a:p>
          <a:p>
            <a:pPr marL="241300" indent="-228600">
              <a:lnSpc>
                <a:spcPct val="100000"/>
              </a:lnSpc>
              <a:buClr>
                <a:srgbClr val="006FAC"/>
              </a:buClr>
              <a:buAutoNum type="arabicPeriod"/>
              <a:tabLst>
                <a:tab pos="241300" algn="l"/>
              </a:tabLst>
            </a:pPr>
            <a:r>
              <a:rPr sz="1000" spc="-5">
                <a:latin typeface="Verdana"/>
                <a:cs typeface="Verdana"/>
              </a:rPr>
              <a:t>Preventive</a:t>
            </a:r>
            <a:r>
              <a:rPr sz="1000" spc="-15">
                <a:latin typeface="Verdana"/>
                <a:cs typeface="Verdana"/>
              </a:rPr>
              <a:t> </a:t>
            </a:r>
            <a:r>
              <a:rPr sz="1000" spc="-5">
                <a:latin typeface="Verdana"/>
                <a:cs typeface="Verdana"/>
              </a:rPr>
              <a:t>Maintenance</a:t>
            </a:r>
            <a:endParaRPr sz="1000">
              <a:latin typeface="Verdana"/>
              <a:cs typeface="Verdana"/>
            </a:endParaRPr>
          </a:p>
          <a:p>
            <a:pPr marL="241300" indent="-228600">
              <a:lnSpc>
                <a:spcPct val="100000"/>
              </a:lnSpc>
              <a:buClr>
                <a:srgbClr val="006FAC"/>
              </a:buClr>
              <a:buAutoNum type="arabicPeriod"/>
              <a:tabLst>
                <a:tab pos="241300" algn="l"/>
              </a:tabLst>
            </a:pPr>
            <a:r>
              <a:rPr sz="1000" spc="-5">
                <a:latin typeface="Verdana"/>
                <a:cs typeface="Verdana"/>
              </a:rPr>
              <a:t>Corrective Maintenance</a:t>
            </a:r>
            <a:endParaRPr sz="1000">
              <a:latin typeface="Verdana"/>
              <a:cs typeface="Verdana"/>
            </a:endParaRPr>
          </a:p>
        </p:txBody>
      </p:sp>
      <p:sp>
        <p:nvSpPr>
          <p:cNvPr id="52" name="object 52"/>
          <p:cNvSpPr txBox="1"/>
          <p:nvPr/>
        </p:nvSpPr>
        <p:spPr>
          <a:xfrm>
            <a:off x="9391904" y="5432552"/>
            <a:ext cx="2204720" cy="482600"/>
          </a:xfrm>
          <a:prstGeom prst="rect">
            <a:avLst/>
          </a:prstGeom>
        </p:spPr>
        <p:txBody>
          <a:bodyPr vert="horz" wrap="square" lIns="0" tIns="12065" rIns="0" bIns="0" rtlCol="0">
            <a:spAutoFit/>
          </a:bodyPr>
          <a:lstStyle/>
          <a:p>
            <a:pPr marL="241300" indent="-228600">
              <a:lnSpc>
                <a:spcPct val="100000"/>
              </a:lnSpc>
              <a:spcBef>
                <a:spcPts val="95"/>
              </a:spcBef>
              <a:buClr>
                <a:srgbClr val="006FAC"/>
              </a:buClr>
              <a:buAutoNum type="arabicPeriod" startAt="4"/>
              <a:tabLst>
                <a:tab pos="241300" algn="l"/>
              </a:tabLst>
            </a:pPr>
            <a:r>
              <a:rPr sz="1000" spc="-5">
                <a:latin typeface="Verdana"/>
                <a:cs typeface="Verdana"/>
              </a:rPr>
              <a:t>Root Cause</a:t>
            </a:r>
            <a:r>
              <a:rPr sz="1000" spc="30">
                <a:latin typeface="Verdana"/>
                <a:cs typeface="Verdana"/>
              </a:rPr>
              <a:t> </a:t>
            </a:r>
            <a:r>
              <a:rPr sz="1000">
                <a:latin typeface="Verdana"/>
                <a:cs typeface="Verdana"/>
              </a:rPr>
              <a:t>Analysis</a:t>
            </a:r>
          </a:p>
          <a:p>
            <a:pPr marL="241300" marR="5080" indent="-228600">
              <a:lnSpc>
                <a:spcPct val="100000"/>
              </a:lnSpc>
              <a:buClr>
                <a:srgbClr val="006FAC"/>
              </a:buClr>
              <a:buAutoNum type="arabicPeriod" startAt="4"/>
              <a:tabLst>
                <a:tab pos="241300" algn="l"/>
              </a:tabLst>
            </a:pPr>
            <a:r>
              <a:rPr sz="1000" spc="-5">
                <a:latin typeface="Verdana"/>
                <a:cs typeface="Verdana"/>
              </a:rPr>
              <a:t>Business </a:t>
            </a:r>
            <a:r>
              <a:rPr sz="1000">
                <a:latin typeface="Verdana"/>
                <a:cs typeface="Verdana"/>
              </a:rPr>
              <a:t>Continuity Planning </a:t>
            </a:r>
            <a:r>
              <a:rPr sz="1000" spc="-5">
                <a:latin typeface="Verdana"/>
                <a:cs typeface="Verdana"/>
              </a:rPr>
              <a:t>/  Disaster </a:t>
            </a:r>
            <a:r>
              <a:rPr sz="1000" spc="-10">
                <a:latin typeface="Verdana"/>
                <a:cs typeface="Verdana"/>
              </a:rPr>
              <a:t>Recovery</a:t>
            </a:r>
            <a:r>
              <a:rPr sz="1000" spc="65">
                <a:latin typeface="Verdana"/>
                <a:cs typeface="Verdana"/>
              </a:rPr>
              <a:t> </a:t>
            </a:r>
            <a:r>
              <a:rPr sz="1000" spc="-5">
                <a:latin typeface="Verdana"/>
                <a:cs typeface="Verdana"/>
              </a:rPr>
              <a:t>Support</a:t>
            </a:r>
            <a:endParaRPr sz="1000">
              <a:latin typeface="Verdana"/>
              <a:cs typeface="Verdana"/>
            </a:endParaRPr>
          </a:p>
        </p:txBody>
      </p:sp>
      <p:sp>
        <p:nvSpPr>
          <p:cNvPr id="53" name="object 53"/>
          <p:cNvSpPr txBox="1"/>
          <p:nvPr/>
        </p:nvSpPr>
        <p:spPr>
          <a:xfrm>
            <a:off x="7171181" y="6040323"/>
            <a:ext cx="4670425" cy="3302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Application</a:t>
            </a:r>
            <a:r>
              <a:rPr sz="1000" b="1" spc="10">
                <a:latin typeface="Verdana"/>
                <a:cs typeface="Verdana"/>
              </a:rPr>
              <a:t> </a:t>
            </a:r>
            <a:r>
              <a:rPr sz="1000" b="1" spc="-10">
                <a:latin typeface="Verdana"/>
                <a:cs typeface="Verdana"/>
              </a:rPr>
              <a:t>Enhancements:</a:t>
            </a:r>
            <a:endParaRPr sz="1000">
              <a:latin typeface="Verdana"/>
              <a:cs typeface="Verdana"/>
            </a:endParaRPr>
          </a:p>
          <a:p>
            <a:pPr marL="12700">
              <a:lnSpc>
                <a:spcPct val="100000"/>
              </a:lnSpc>
            </a:pPr>
            <a:r>
              <a:rPr sz="1000" spc="-5">
                <a:solidFill>
                  <a:srgbClr val="006FAC"/>
                </a:solidFill>
                <a:latin typeface="Verdana"/>
                <a:cs typeface="Verdana"/>
              </a:rPr>
              <a:t>1. </a:t>
            </a:r>
            <a:r>
              <a:rPr sz="1000" spc="-5">
                <a:latin typeface="Verdana"/>
                <a:cs typeface="Verdana"/>
              </a:rPr>
              <a:t>Enhancement </a:t>
            </a:r>
            <a:r>
              <a:rPr sz="1000">
                <a:latin typeface="Verdana"/>
                <a:cs typeface="Verdana"/>
              </a:rPr>
              <a:t>Analysis, </a:t>
            </a:r>
            <a:r>
              <a:rPr sz="1000" spc="-5">
                <a:latin typeface="Verdana"/>
                <a:cs typeface="Verdana"/>
              </a:rPr>
              <a:t>Estimation and </a:t>
            </a:r>
            <a:r>
              <a:rPr sz="1000">
                <a:latin typeface="Verdana"/>
                <a:cs typeface="Verdana"/>
              </a:rPr>
              <a:t>Planning Application</a:t>
            </a:r>
            <a:r>
              <a:rPr sz="1000" spc="-150">
                <a:latin typeface="Verdana"/>
                <a:cs typeface="Verdana"/>
              </a:rPr>
              <a:t> </a:t>
            </a:r>
            <a:r>
              <a:rPr sz="1000" spc="-5">
                <a:latin typeface="Verdana"/>
                <a:cs typeface="Verdana"/>
              </a:rPr>
              <a:t>Changes</a:t>
            </a:r>
            <a:endParaRPr sz="1000">
              <a:latin typeface="Verdana"/>
              <a:cs typeface="Verdana"/>
            </a:endParaRPr>
          </a:p>
        </p:txBody>
      </p:sp>
      <p:sp>
        <p:nvSpPr>
          <p:cNvPr id="54" name="object 54"/>
          <p:cNvSpPr/>
          <p:nvPr/>
        </p:nvSpPr>
        <p:spPr>
          <a:xfrm>
            <a:off x="1281683" y="2638044"/>
            <a:ext cx="1246631" cy="277367"/>
          </a:xfrm>
          <a:prstGeom prst="rect">
            <a:avLst/>
          </a:prstGeom>
          <a:blipFill>
            <a:blip r:embed="rId8" cstate="print"/>
            <a:stretch>
              <a:fillRect/>
            </a:stretch>
          </a:blipFill>
        </p:spPr>
        <p:txBody>
          <a:bodyPr wrap="square" lIns="0" tIns="0" rIns="0" bIns="0" rtlCol="0"/>
          <a:lstStyle/>
          <a:p>
            <a:endParaRPr/>
          </a:p>
        </p:txBody>
      </p:sp>
      <p:sp>
        <p:nvSpPr>
          <p:cNvPr id="55" name="object 55"/>
          <p:cNvSpPr/>
          <p:nvPr/>
        </p:nvSpPr>
        <p:spPr>
          <a:xfrm>
            <a:off x="3874008" y="1447800"/>
            <a:ext cx="405765" cy="407034"/>
          </a:xfrm>
          <a:custGeom>
            <a:avLst/>
            <a:gdLst/>
            <a:ahLst/>
            <a:cxnLst/>
            <a:rect l="l" t="t" r="r" b="b"/>
            <a:pathLst>
              <a:path w="405764" h="407035">
                <a:moveTo>
                  <a:pt x="202691" y="0"/>
                </a:moveTo>
                <a:lnTo>
                  <a:pt x="156234" y="5371"/>
                </a:lnTo>
                <a:lnTo>
                  <a:pt x="113577" y="20673"/>
                </a:lnTo>
                <a:lnTo>
                  <a:pt x="75942" y="44686"/>
                </a:lnTo>
                <a:lnTo>
                  <a:pt x="44547" y="76191"/>
                </a:lnTo>
                <a:lnTo>
                  <a:pt x="20611" y="113966"/>
                </a:lnTo>
                <a:lnTo>
                  <a:pt x="5356" y="156794"/>
                </a:lnTo>
                <a:lnTo>
                  <a:pt x="0" y="203453"/>
                </a:lnTo>
                <a:lnTo>
                  <a:pt x="5356" y="250113"/>
                </a:lnTo>
                <a:lnTo>
                  <a:pt x="20611" y="292941"/>
                </a:lnTo>
                <a:lnTo>
                  <a:pt x="44547" y="330716"/>
                </a:lnTo>
                <a:lnTo>
                  <a:pt x="75942" y="362221"/>
                </a:lnTo>
                <a:lnTo>
                  <a:pt x="113577" y="386234"/>
                </a:lnTo>
                <a:lnTo>
                  <a:pt x="156234" y="401536"/>
                </a:lnTo>
                <a:lnTo>
                  <a:pt x="202691" y="406908"/>
                </a:lnTo>
                <a:lnTo>
                  <a:pt x="249149" y="401536"/>
                </a:lnTo>
                <a:lnTo>
                  <a:pt x="291806" y="386234"/>
                </a:lnTo>
                <a:lnTo>
                  <a:pt x="329441" y="362221"/>
                </a:lnTo>
                <a:lnTo>
                  <a:pt x="360836" y="330716"/>
                </a:lnTo>
                <a:lnTo>
                  <a:pt x="384772" y="292941"/>
                </a:lnTo>
                <a:lnTo>
                  <a:pt x="400027" y="250113"/>
                </a:lnTo>
                <a:lnTo>
                  <a:pt x="405383" y="203453"/>
                </a:lnTo>
                <a:lnTo>
                  <a:pt x="400027" y="156794"/>
                </a:lnTo>
                <a:lnTo>
                  <a:pt x="384772" y="113966"/>
                </a:lnTo>
                <a:lnTo>
                  <a:pt x="360836" y="76191"/>
                </a:lnTo>
                <a:lnTo>
                  <a:pt x="329441" y="44686"/>
                </a:lnTo>
                <a:lnTo>
                  <a:pt x="291806" y="20673"/>
                </a:lnTo>
                <a:lnTo>
                  <a:pt x="249149" y="5371"/>
                </a:lnTo>
                <a:lnTo>
                  <a:pt x="202691" y="0"/>
                </a:lnTo>
                <a:close/>
              </a:path>
            </a:pathLst>
          </a:custGeom>
          <a:solidFill>
            <a:srgbClr val="FFFFFF"/>
          </a:solidFill>
        </p:spPr>
        <p:txBody>
          <a:bodyPr wrap="square" lIns="0" tIns="0" rIns="0" bIns="0" rtlCol="0"/>
          <a:lstStyle/>
          <a:p>
            <a:endParaRPr/>
          </a:p>
        </p:txBody>
      </p:sp>
      <p:sp>
        <p:nvSpPr>
          <p:cNvPr id="56" name="object 56"/>
          <p:cNvSpPr/>
          <p:nvPr/>
        </p:nvSpPr>
        <p:spPr>
          <a:xfrm>
            <a:off x="3874008" y="1447800"/>
            <a:ext cx="405765" cy="407034"/>
          </a:xfrm>
          <a:custGeom>
            <a:avLst/>
            <a:gdLst/>
            <a:ahLst/>
            <a:cxnLst/>
            <a:rect l="l" t="t" r="r" b="b"/>
            <a:pathLst>
              <a:path w="405764" h="407035">
                <a:moveTo>
                  <a:pt x="0" y="203453"/>
                </a:moveTo>
                <a:lnTo>
                  <a:pt x="5356" y="156794"/>
                </a:lnTo>
                <a:lnTo>
                  <a:pt x="20611" y="113966"/>
                </a:lnTo>
                <a:lnTo>
                  <a:pt x="44547" y="76191"/>
                </a:lnTo>
                <a:lnTo>
                  <a:pt x="75942" y="44686"/>
                </a:lnTo>
                <a:lnTo>
                  <a:pt x="113577" y="20673"/>
                </a:lnTo>
                <a:lnTo>
                  <a:pt x="156234" y="5371"/>
                </a:lnTo>
                <a:lnTo>
                  <a:pt x="202691" y="0"/>
                </a:lnTo>
                <a:lnTo>
                  <a:pt x="249149" y="5371"/>
                </a:lnTo>
                <a:lnTo>
                  <a:pt x="291806" y="20673"/>
                </a:lnTo>
                <a:lnTo>
                  <a:pt x="329441" y="44686"/>
                </a:lnTo>
                <a:lnTo>
                  <a:pt x="360836" y="76191"/>
                </a:lnTo>
                <a:lnTo>
                  <a:pt x="384772" y="113966"/>
                </a:lnTo>
                <a:lnTo>
                  <a:pt x="400027" y="156794"/>
                </a:lnTo>
                <a:lnTo>
                  <a:pt x="405383" y="203453"/>
                </a:lnTo>
                <a:lnTo>
                  <a:pt x="400027" y="250113"/>
                </a:lnTo>
                <a:lnTo>
                  <a:pt x="384772" y="292941"/>
                </a:lnTo>
                <a:lnTo>
                  <a:pt x="360836" y="330716"/>
                </a:lnTo>
                <a:lnTo>
                  <a:pt x="329441" y="362221"/>
                </a:lnTo>
                <a:lnTo>
                  <a:pt x="291806" y="386234"/>
                </a:lnTo>
                <a:lnTo>
                  <a:pt x="249149" y="401536"/>
                </a:lnTo>
                <a:lnTo>
                  <a:pt x="202691" y="406908"/>
                </a:lnTo>
                <a:lnTo>
                  <a:pt x="156234" y="401536"/>
                </a:lnTo>
                <a:lnTo>
                  <a:pt x="113577" y="386234"/>
                </a:lnTo>
                <a:lnTo>
                  <a:pt x="75942" y="362221"/>
                </a:lnTo>
                <a:lnTo>
                  <a:pt x="44547" y="330716"/>
                </a:lnTo>
                <a:lnTo>
                  <a:pt x="20611" y="292941"/>
                </a:lnTo>
                <a:lnTo>
                  <a:pt x="5356" y="250113"/>
                </a:lnTo>
                <a:lnTo>
                  <a:pt x="0" y="203453"/>
                </a:lnTo>
                <a:close/>
              </a:path>
            </a:pathLst>
          </a:custGeom>
          <a:ln w="12192">
            <a:solidFill>
              <a:srgbClr val="006FAC"/>
            </a:solidFill>
          </a:ln>
        </p:spPr>
        <p:txBody>
          <a:bodyPr wrap="square" lIns="0" tIns="0" rIns="0" bIns="0" rtlCol="0"/>
          <a:lstStyle/>
          <a:p>
            <a:endParaRPr/>
          </a:p>
        </p:txBody>
      </p:sp>
      <p:sp>
        <p:nvSpPr>
          <p:cNvPr id="57" name="object 57"/>
          <p:cNvSpPr txBox="1"/>
          <p:nvPr/>
        </p:nvSpPr>
        <p:spPr>
          <a:xfrm>
            <a:off x="4020692" y="1553337"/>
            <a:ext cx="114935" cy="193675"/>
          </a:xfrm>
          <a:prstGeom prst="rect">
            <a:avLst/>
          </a:prstGeom>
        </p:spPr>
        <p:txBody>
          <a:bodyPr vert="horz" wrap="square" lIns="0" tIns="13335" rIns="0" bIns="0" rtlCol="0">
            <a:spAutoFit/>
          </a:bodyPr>
          <a:lstStyle/>
          <a:p>
            <a:pPr marL="12700">
              <a:lnSpc>
                <a:spcPct val="100000"/>
              </a:lnSpc>
              <a:spcBef>
                <a:spcPts val="105"/>
              </a:spcBef>
            </a:pPr>
            <a:r>
              <a:rPr sz="1100">
                <a:latin typeface="Verdana"/>
                <a:cs typeface="Verdana"/>
              </a:rPr>
              <a:t>1</a:t>
            </a:r>
          </a:p>
        </p:txBody>
      </p:sp>
      <p:sp>
        <p:nvSpPr>
          <p:cNvPr id="58" name="object 58"/>
          <p:cNvSpPr/>
          <p:nvPr/>
        </p:nvSpPr>
        <p:spPr>
          <a:xfrm>
            <a:off x="3874008" y="2921507"/>
            <a:ext cx="405765" cy="405765"/>
          </a:xfrm>
          <a:custGeom>
            <a:avLst/>
            <a:gdLst/>
            <a:ahLst/>
            <a:cxnLst/>
            <a:rect l="l" t="t" r="r" b="b"/>
            <a:pathLst>
              <a:path w="405764" h="405764">
                <a:moveTo>
                  <a:pt x="202691" y="0"/>
                </a:moveTo>
                <a:lnTo>
                  <a:pt x="156234" y="5356"/>
                </a:lnTo>
                <a:lnTo>
                  <a:pt x="113577" y="20611"/>
                </a:lnTo>
                <a:lnTo>
                  <a:pt x="75942" y="44547"/>
                </a:lnTo>
                <a:lnTo>
                  <a:pt x="44547" y="75942"/>
                </a:lnTo>
                <a:lnTo>
                  <a:pt x="20611" y="113577"/>
                </a:lnTo>
                <a:lnTo>
                  <a:pt x="5356" y="156234"/>
                </a:lnTo>
                <a:lnTo>
                  <a:pt x="0" y="202691"/>
                </a:lnTo>
                <a:lnTo>
                  <a:pt x="5356" y="249149"/>
                </a:lnTo>
                <a:lnTo>
                  <a:pt x="20611" y="291806"/>
                </a:lnTo>
                <a:lnTo>
                  <a:pt x="44547" y="329441"/>
                </a:lnTo>
                <a:lnTo>
                  <a:pt x="75942" y="360836"/>
                </a:lnTo>
                <a:lnTo>
                  <a:pt x="113577" y="384772"/>
                </a:lnTo>
                <a:lnTo>
                  <a:pt x="156234" y="400027"/>
                </a:lnTo>
                <a:lnTo>
                  <a:pt x="202691" y="405383"/>
                </a:lnTo>
                <a:lnTo>
                  <a:pt x="249149" y="400027"/>
                </a:lnTo>
                <a:lnTo>
                  <a:pt x="291806" y="384772"/>
                </a:lnTo>
                <a:lnTo>
                  <a:pt x="329441" y="360836"/>
                </a:lnTo>
                <a:lnTo>
                  <a:pt x="360836" y="329441"/>
                </a:lnTo>
                <a:lnTo>
                  <a:pt x="384772" y="291806"/>
                </a:lnTo>
                <a:lnTo>
                  <a:pt x="400027" y="249149"/>
                </a:lnTo>
                <a:lnTo>
                  <a:pt x="405383" y="202691"/>
                </a:lnTo>
                <a:lnTo>
                  <a:pt x="400027" y="156234"/>
                </a:lnTo>
                <a:lnTo>
                  <a:pt x="384772" y="113577"/>
                </a:lnTo>
                <a:lnTo>
                  <a:pt x="360836" y="75942"/>
                </a:lnTo>
                <a:lnTo>
                  <a:pt x="329441" y="44547"/>
                </a:lnTo>
                <a:lnTo>
                  <a:pt x="291806" y="20611"/>
                </a:lnTo>
                <a:lnTo>
                  <a:pt x="249149" y="5356"/>
                </a:lnTo>
                <a:lnTo>
                  <a:pt x="202691" y="0"/>
                </a:lnTo>
                <a:close/>
              </a:path>
            </a:pathLst>
          </a:custGeom>
          <a:solidFill>
            <a:srgbClr val="FFFFFF"/>
          </a:solidFill>
        </p:spPr>
        <p:txBody>
          <a:bodyPr wrap="square" lIns="0" tIns="0" rIns="0" bIns="0" rtlCol="0"/>
          <a:lstStyle/>
          <a:p>
            <a:endParaRPr/>
          </a:p>
        </p:txBody>
      </p:sp>
      <p:sp>
        <p:nvSpPr>
          <p:cNvPr id="59" name="object 59"/>
          <p:cNvSpPr/>
          <p:nvPr/>
        </p:nvSpPr>
        <p:spPr>
          <a:xfrm>
            <a:off x="3874008" y="2921507"/>
            <a:ext cx="405765" cy="405765"/>
          </a:xfrm>
          <a:custGeom>
            <a:avLst/>
            <a:gdLst/>
            <a:ahLst/>
            <a:cxnLst/>
            <a:rect l="l" t="t" r="r" b="b"/>
            <a:pathLst>
              <a:path w="405764" h="405764">
                <a:moveTo>
                  <a:pt x="0" y="202691"/>
                </a:moveTo>
                <a:lnTo>
                  <a:pt x="5356" y="156234"/>
                </a:lnTo>
                <a:lnTo>
                  <a:pt x="20611" y="113577"/>
                </a:lnTo>
                <a:lnTo>
                  <a:pt x="44547" y="75942"/>
                </a:lnTo>
                <a:lnTo>
                  <a:pt x="75942" y="44547"/>
                </a:lnTo>
                <a:lnTo>
                  <a:pt x="113577" y="20611"/>
                </a:lnTo>
                <a:lnTo>
                  <a:pt x="156234" y="5356"/>
                </a:lnTo>
                <a:lnTo>
                  <a:pt x="202691" y="0"/>
                </a:lnTo>
                <a:lnTo>
                  <a:pt x="249149" y="5356"/>
                </a:lnTo>
                <a:lnTo>
                  <a:pt x="291806" y="20611"/>
                </a:lnTo>
                <a:lnTo>
                  <a:pt x="329441" y="44547"/>
                </a:lnTo>
                <a:lnTo>
                  <a:pt x="360836" y="75942"/>
                </a:lnTo>
                <a:lnTo>
                  <a:pt x="384772" y="113577"/>
                </a:lnTo>
                <a:lnTo>
                  <a:pt x="400027" y="156234"/>
                </a:lnTo>
                <a:lnTo>
                  <a:pt x="405383" y="202691"/>
                </a:lnTo>
                <a:lnTo>
                  <a:pt x="400027" y="249149"/>
                </a:lnTo>
                <a:lnTo>
                  <a:pt x="384772" y="291806"/>
                </a:lnTo>
                <a:lnTo>
                  <a:pt x="360836" y="329441"/>
                </a:lnTo>
                <a:lnTo>
                  <a:pt x="329441" y="360836"/>
                </a:lnTo>
                <a:lnTo>
                  <a:pt x="291806" y="384772"/>
                </a:lnTo>
                <a:lnTo>
                  <a:pt x="249149" y="400027"/>
                </a:lnTo>
                <a:lnTo>
                  <a:pt x="202691" y="405383"/>
                </a:lnTo>
                <a:lnTo>
                  <a:pt x="156234" y="400027"/>
                </a:lnTo>
                <a:lnTo>
                  <a:pt x="113577" y="384772"/>
                </a:lnTo>
                <a:lnTo>
                  <a:pt x="75942" y="360836"/>
                </a:lnTo>
                <a:lnTo>
                  <a:pt x="44547" y="329441"/>
                </a:lnTo>
                <a:lnTo>
                  <a:pt x="20611" y="291806"/>
                </a:lnTo>
                <a:lnTo>
                  <a:pt x="5356" y="249149"/>
                </a:lnTo>
                <a:lnTo>
                  <a:pt x="0" y="202691"/>
                </a:lnTo>
                <a:close/>
              </a:path>
            </a:pathLst>
          </a:custGeom>
          <a:ln w="12192">
            <a:solidFill>
              <a:srgbClr val="006FAC"/>
            </a:solidFill>
          </a:ln>
        </p:spPr>
        <p:txBody>
          <a:bodyPr wrap="square" lIns="0" tIns="0" rIns="0" bIns="0" rtlCol="0"/>
          <a:lstStyle/>
          <a:p>
            <a:endParaRPr/>
          </a:p>
        </p:txBody>
      </p:sp>
      <p:sp>
        <p:nvSpPr>
          <p:cNvPr id="60" name="object 60"/>
          <p:cNvSpPr txBox="1"/>
          <p:nvPr/>
        </p:nvSpPr>
        <p:spPr>
          <a:xfrm>
            <a:off x="4020692" y="3026791"/>
            <a:ext cx="114935" cy="193675"/>
          </a:xfrm>
          <a:prstGeom prst="rect">
            <a:avLst/>
          </a:prstGeom>
        </p:spPr>
        <p:txBody>
          <a:bodyPr vert="horz" wrap="square" lIns="0" tIns="13335" rIns="0" bIns="0" rtlCol="0">
            <a:spAutoFit/>
          </a:bodyPr>
          <a:lstStyle/>
          <a:p>
            <a:pPr marL="12700">
              <a:lnSpc>
                <a:spcPct val="100000"/>
              </a:lnSpc>
              <a:spcBef>
                <a:spcPts val="105"/>
              </a:spcBef>
            </a:pPr>
            <a:r>
              <a:rPr sz="1100">
                <a:latin typeface="Verdana"/>
                <a:cs typeface="Verdana"/>
              </a:rPr>
              <a:t>2</a:t>
            </a:r>
          </a:p>
        </p:txBody>
      </p:sp>
      <p:sp>
        <p:nvSpPr>
          <p:cNvPr id="61" name="object 61"/>
          <p:cNvSpPr/>
          <p:nvPr/>
        </p:nvSpPr>
        <p:spPr>
          <a:xfrm>
            <a:off x="3874008" y="4419600"/>
            <a:ext cx="405765" cy="407034"/>
          </a:xfrm>
          <a:custGeom>
            <a:avLst/>
            <a:gdLst/>
            <a:ahLst/>
            <a:cxnLst/>
            <a:rect l="l" t="t" r="r" b="b"/>
            <a:pathLst>
              <a:path w="405764" h="407035">
                <a:moveTo>
                  <a:pt x="202691" y="0"/>
                </a:moveTo>
                <a:lnTo>
                  <a:pt x="156234" y="5371"/>
                </a:lnTo>
                <a:lnTo>
                  <a:pt x="113577" y="20673"/>
                </a:lnTo>
                <a:lnTo>
                  <a:pt x="75942" y="44686"/>
                </a:lnTo>
                <a:lnTo>
                  <a:pt x="44547" y="76191"/>
                </a:lnTo>
                <a:lnTo>
                  <a:pt x="20611" y="113966"/>
                </a:lnTo>
                <a:lnTo>
                  <a:pt x="5356" y="156794"/>
                </a:lnTo>
                <a:lnTo>
                  <a:pt x="0" y="203454"/>
                </a:lnTo>
                <a:lnTo>
                  <a:pt x="5356" y="250113"/>
                </a:lnTo>
                <a:lnTo>
                  <a:pt x="20611" y="292941"/>
                </a:lnTo>
                <a:lnTo>
                  <a:pt x="44547" y="330716"/>
                </a:lnTo>
                <a:lnTo>
                  <a:pt x="75942" y="362221"/>
                </a:lnTo>
                <a:lnTo>
                  <a:pt x="113577" y="386234"/>
                </a:lnTo>
                <a:lnTo>
                  <a:pt x="156234" y="401536"/>
                </a:lnTo>
                <a:lnTo>
                  <a:pt x="202691" y="406907"/>
                </a:lnTo>
                <a:lnTo>
                  <a:pt x="249149" y="401536"/>
                </a:lnTo>
                <a:lnTo>
                  <a:pt x="291806" y="386234"/>
                </a:lnTo>
                <a:lnTo>
                  <a:pt x="329441" y="362221"/>
                </a:lnTo>
                <a:lnTo>
                  <a:pt x="360836" y="330716"/>
                </a:lnTo>
                <a:lnTo>
                  <a:pt x="384772" y="292941"/>
                </a:lnTo>
                <a:lnTo>
                  <a:pt x="400027" y="250113"/>
                </a:lnTo>
                <a:lnTo>
                  <a:pt x="405383" y="203454"/>
                </a:lnTo>
                <a:lnTo>
                  <a:pt x="400027" y="156794"/>
                </a:lnTo>
                <a:lnTo>
                  <a:pt x="384772" y="113966"/>
                </a:lnTo>
                <a:lnTo>
                  <a:pt x="360836" y="76191"/>
                </a:lnTo>
                <a:lnTo>
                  <a:pt x="329441" y="44686"/>
                </a:lnTo>
                <a:lnTo>
                  <a:pt x="291806" y="20673"/>
                </a:lnTo>
                <a:lnTo>
                  <a:pt x="249149" y="5371"/>
                </a:lnTo>
                <a:lnTo>
                  <a:pt x="202691" y="0"/>
                </a:lnTo>
                <a:close/>
              </a:path>
            </a:pathLst>
          </a:custGeom>
          <a:solidFill>
            <a:srgbClr val="FFFFFF"/>
          </a:solidFill>
        </p:spPr>
        <p:txBody>
          <a:bodyPr wrap="square" lIns="0" tIns="0" rIns="0" bIns="0" rtlCol="0"/>
          <a:lstStyle/>
          <a:p>
            <a:endParaRPr/>
          </a:p>
        </p:txBody>
      </p:sp>
      <p:sp>
        <p:nvSpPr>
          <p:cNvPr id="62" name="object 62"/>
          <p:cNvSpPr/>
          <p:nvPr/>
        </p:nvSpPr>
        <p:spPr>
          <a:xfrm>
            <a:off x="3874008" y="4419600"/>
            <a:ext cx="405765" cy="407034"/>
          </a:xfrm>
          <a:custGeom>
            <a:avLst/>
            <a:gdLst/>
            <a:ahLst/>
            <a:cxnLst/>
            <a:rect l="l" t="t" r="r" b="b"/>
            <a:pathLst>
              <a:path w="405764" h="407035">
                <a:moveTo>
                  <a:pt x="0" y="203454"/>
                </a:moveTo>
                <a:lnTo>
                  <a:pt x="5356" y="156794"/>
                </a:lnTo>
                <a:lnTo>
                  <a:pt x="20611" y="113966"/>
                </a:lnTo>
                <a:lnTo>
                  <a:pt x="44547" y="76191"/>
                </a:lnTo>
                <a:lnTo>
                  <a:pt x="75942" y="44686"/>
                </a:lnTo>
                <a:lnTo>
                  <a:pt x="113577" y="20673"/>
                </a:lnTo>
                <a:lnTo>
                  <a:pt x="156234" y="5371"/>
                </a:lnTo>
                <a:lnTo>
                  <a:pt x="202691" y="0"/>
                </a:lnTo>
                <a:lnTo>
                  <a:pt x="249149" y="5371"/>
                </a:lnTo>
                <a:lnTo>
                  <a:pt x="291806" y="20673"/>
                </a:lnTo>
                <a:lnTo>
                  <a:pt x="329441" y="44686"/>
                </a:lnTo>
                <a:lnTo>
                  <a:pt x="360836" y="76191"/>
                </a:lnTo>
                <a:lnTo>
                  <a:pt x="384772" y="113966"/>
                </a:lnTo>
                <a:lnTo>
                  <a:pt x="400027" y="156794"/>
                </a:lnTo>
                <a:lnTo>
                  <a:pt x="405383" y="203454"/>
                </a:lnTo>
                <a:lnTo>
                  <a:pt x="400027" y="250113"/>
                </a:lnTo>
                <a:lnTo>
                  <a:pt x="384772" y="292941"/>
                </a:lnTo>
                <a:lnTo>
                  <a:pt x="360836" y="330716"/>
                </a:lnTo>
                <a:lnTo>
                  <a:pt x="329441" y="362221"/>
                </a:lnTo>
                <a:lnTo>
                  <a:pt x="291806" y="386234"/>
                </a:lnTo>
                <a:lnTo>
                  <a:pt x="249149" y="401536"/>
                </a:lnTo>
                <a:lnTo>
                  <a:pt x="202691" y="406907"/>
                </a:lnTo>
                <a:lnTo>
                  <a:pt x="156234" y="401536"/>
                </a:lnTo>
                <a:lnTo>
                  <a:pt x="113577" y="386234"/>
                </a:lnTo>
                <a:lnTo>
                  <a:pt x="75942" y="362221"/>
                </a:lnTo>
                <a:lnTo>
                  <a:pt x="44547" y="330716"/>
                </a:lnTo>
                <a:lnTo>
                  <a:pt x="20611" y="292941"/>
                </a:lnTo>
                <a:lnTo>
                  <a:pt x="5356" y="250113"/>
                </a:lnTo>
                <a:lnTo>
                  <a:pt x="0" y="203454"/>
                </a:lnTo>
                <a:close/>
              </a:path>
            </a:pathLst>
          </a:custGeom>
          <a:ln w="12192">
            <a:solidFill>
              <a:srgbClr val="006FAC"/>
            </a:solidFill>
          </a:ln>
        </p:spPr>
        <p:txBody>
          <a:bodyPr wrap="square" lIns="0" tIns="0" rIns="0" bIns="0" rtlCol="0"/>
          <a:lstStyle/>
          <a:p>
            <a:endParaRPr/>
          </a:p>
        </p:txBody>
      </p:sp>
      <p:sp>
        <p:nvSpPr>
          <p:cNvPr id="63" name="object 63"/>
          <p:cNvSpPr txBox="1"/>
          <p:nvPr/>
        </p:nvSpPr>
        <p:spPr>
          <a:xfrm>
            <a:off x="4020692" y="4525771"/>
            <a:ext cx="114935" cy="193675"/>
          </a:xfrm>
          <a:prstGeom prst="rect">
            <a:avLst/>
          </a:prstGeom>
        </p:spPr>
        <p:txBody>
          <a:bodyPr vert="horz" wrap="square" lIns="0" tIns="12700" rIns="0" bIns="0" rtlCol="0">
            <a:spAutoFit/>
          </a:bodyPr>
          <a:lstStyle/>
          <a:p>
            <a:pPr marL="12700">
              <a:lnSpc>
                <a:spcPct val="100000"/>
              </a:lnSpc>
              <a:spcBef>
                <a:spcPts val="100"/>
              </a:spcBef>
            </a:pPr>
            <a:r>
              <a:rPr sz="1100">
                <a:latin typeface="Verdana"/>
                <a:cs typeface="Verdana"/>
              </a:rPr>
              <a:t>3</a:t>
            </a:r>
          </a:p>
        </p:txBody>
      </p:sp>
      <p:sp>
        <p:nvSpPr>
          <p:cNvPr id="64" name="object 64"/>
          <p:cNvSpPr/>
          <p:nvPr/>
        </p:nvSpPr>
        <p:spPr>
          <a:xfrm>
            <a:off x="3150107" y="3084576"/>
            <a:ext cx="669925" cy="76200"/>
          </a:xfrm>
          <a:custGeom>
            <a:avLst/>
            <a:gdLst/>
            <a:ahLst/>
            <a:cxnLst/>
            <a:rect l="l" t="t" r="r" b="b"/>
            <a:pathLst>
              <a:path w="669925"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669925" h="76200">
                <a:moveTo>
                  <a:pt x="593725" y="0"/>
                </a:moveTo>
                <a:lnTo>
                  <a:pt x="593725" y="76200"/>
                </a:lnTo>
                <a:lnTo>
                  <a:pt x="657225" y="44450"/>
                </a:lnTo>
                <a:lnTo>
                  <a:pt x="606425" y="44450"/>
                </a:lnTo>
                <a:lnTo>
                  <a:pt x="606425" y="31750"/>
                </a:lnTo>
                <a:lnTo>
                  <a:pt x="657225" y="31750"/>
                </a:lnTo>
                <a:lnTo>
                  <a:pt x="593725" y="0"/>
                </a:lnTo>
                <a:close/>
              </a:path>
              <a:path w="669925" h="76200">
                <a:moveTo>
                  <a:pt x="74921" y="31750"/>
                </a:moveTo>
                <a:lnTo>
                  <a:pt x="38100" y="31750"/>
                </a:lnTo>
                <a:lnTo>
                  <a:pt x="38100" y="44450"/>
                </a:lnTo>
                <a:lnTo>
                  <a:pt x="74921" y="44450"/>
                </a:lnTo>
                <a:lnTo>
                  <a:pt x="76200" y="38100"/>
                </a:lnTo>
                <a:lnTo>
                  <a:pt x="74921" y="31750"/>
                </a:lnTo>
                <a:close/>
              </a:path>
              <a:path w="669925" h="76200">
                <a:moveTo>
                  <a:pt x="593725" y="31750"/>
                </a:moveTo>
                <a:lnTo>
                  <a:pt x="74921" y="31750"/>
                </a:lnTo>
                <a:lnTo>
                  <a:pt x="76200" y="38100"/>
                </a:lnTo>
                <a:lnTo>
                  <a:pt x="74921" y="44450"/>
                </a:lnTo>
                <a:lnTo>
                  <a:pt x="593725" y="44450"/>
                </a:lnTo>
                <a:lnTo>
                  <a:pt x="593725" y="31750"/>
                </a:lnTo>
                <a:close/>
              </a:path>
              <a:path w="669925" h="76200">
                <a:moveTo>
                  <a:pt x="657225" y="31750"/>
                </a:moveTo>
                <a:lnTo>
                  <a:pt x="606425" y="31750"/>
                </a:lnTo>
                <a:lnTo>
                  <a:pt x="606425" y="44450"/>
                </a:lnTo>
                <a:lnTo>
                  <a:pt x="657225" y="44450"/>
                </a:lnTo>
                <a:lnTo>
                  <a:pt x="669925" y="38100"/>
                </a:lnTo>
                <a:lnTo>
                  <a:pt x="657225" y="31750"/>
                </a:lnTo>
                <a:close/>
              </a:path>
            </a:pathLst>
          </a:custGeom>
          <a:solidFill>
            <a:srgbClr val="998B85"/>
          </a:solidFill>
        </p:spPr>
        <p:txBody>
          <a:bodyPr wrap="square" lIns="0" tIns="0" rIns="0" bIns="0" rtlCol="0"/>
          <a:lstStyle/>
          <a:p>
            <a:endParaRPr/>
          </a:p>
        </p:txBody>
      </p:sp>
      <p:sp>
        <p:nvSpPr>
          <p:cNvPr id="65" name="object 65"/>
          <p:cNvSpPr/>
          <p:nvPr/>
        </p:nvSpPr>
        <p:spPr>
          <a:xfrm>
            <a:off x="3105911" y="1620011"/>
            <a:ext cx="800100" cy="1333500"/>
          </a:xfrm>
          <a:custGeom>
            <a:avLst/>
            <a:gdLst/>
            <a:ahLst/>
            <a:cxnLst/>
            <a:rect l="l" t="t" r="r" b="b"/>
            <a:pathLst>
              <a:path w="800100" h="1333500">
                <a:moveTo>
                  <a:pt x="38100" y="1257300"/>
                </a:moveTo>
                <a:lnTo>
                  <a:pt x="23252" y="1260288"/>
                </a:lnTo>
                <a:lnTo>
                  <a:pt x="11144" y="1268444"/>
                </a:lnTo>
                <a:lnTo>
                  <a:pt x="2988" y="1280552"/>
                </a:lnTo>
                <a:lnTo>
                  <a:pt x="0" y="1295400"/>
                </a:lnTo>
                <a:lnTo>
                  <a:pt x="2988" y="1310247"/>
                </a:lnTo>
                <a:lnTo>
                  <a:pt x="11144" y="1322355"/>
                </a:lnTo>
                <a:lnTo>
                  <a:pt x="23252" y="1330511"/>
                </a:lnTo>
                <a:lnTo>
                  <a:pt x="38100" y="1333500"/>
                </a:lnTo>
                <a:lnTo>
                  <a:pt x="52947" y="1330511"/>
                </a:lnTo>
                <a:lnTo>
                  <a:pt x="65055" y="1322355"/>
                </a:lnTo>
                <a:lnTo>
                  <a:pt x="73211" y="1310247"/>
                </a:lnTo>
                <a:lnTo>
                  <a:pt x="74921" y="1301750"/>
                </a:lnTo>
                <a:lnTo>
                  <a:pt x="38100" y="1301750"/>
                </a:lnTo>
                <a:lnTo>
                  <a:pt x="38100" y="1289050"/>
                </a:lnTo>
                <a:lnTo>
                  <a:pt x="74921" y="1289050"/>
                </a:lnTo>
                <a:lnTo>
                  <a:pt x="73211" y="1280552"/>
                </a:lnTo>
                <a:lnTo>
                  <a:pt x="65055" y="1268444"/>
                </a:lnTo>
                <a:lnTo>
                  <a:pt x="52947" y="1260288"/>
                </a:lnTo>
                <a:lnTo>
                  <a:pt x="38100" y="1257300"/>
                </a:lnTo>
                <a:close/>
              </a:path>
              <a:path w="800100" h="1333500">
                <a:moveTo>
                  <a:pt x="74921" y="1289050"/>
                </a:moveTo>
                <a:lnTo>
                  <a:pt x="38100" y="1289050"/>
                </a:lnTo>
                <a:lnTo>
                  <a:pt x="38100" y="1301750"/>
                </a:lnTo>
                <a:lnTo>
                  <a:pt x="74921" y="1301750"/>
                </a:lnTo>
                <a:lnTo>
                  <a:pt x="76200" y="1295400"/>
                </a:lnTo>
                <a:lnTo>
                  <a:pt x="74921" y="1289050"/>
                </a:lnTo>
                <a:close/>
              </a:path>
              <a:path w="800100" h="1333500">
                <a:moveTo>
                  <a:pt x="412750" y="1289050"/>
                </a:moveTo>
                <a:lnTo>
                  <a:pt x="74921" y="1289050"/>
                </a:lnTo>
                <a:lnTo>
                  <a:pt x="76200" y="1295400"/>
                </a:lnTo>
                <a:lnTo>
                  <a:pt x="74921" y="1301750"/>
                </a:lnTo>
                <a:lnTo>
                  <a:pt x="422655" y="1301750"/>
                </a:lnTo>
                <a:lnTo>
                  <a:pt x="425450" y="1298955"/>
                </a:lnTo>
                <a:lnTo>
                  <a:pt x="425450" y="1295400"/>
                </a:lnTo>
                <a:lnTo>
                  <a:pt x="412750" y="1295400"/>
                </a:lnTo>
                <a:lnTo>
                  <a:pt x="412750" y="1289050"/>
                </a:lnTo>
                <a:close/>
              </a:path>
              <a:path w="800100" h="1333500">
                <a:moveTo>
                  <a:pt x="723900" y="31750"/>
                </a:moveTo>
                <a:lnTo>
                  <a:pt x="415543" y="31750"/>
                </a:lnTo>
                <a:lnTo>
                  <a:pt x="412750" y="34543"/>
                </a:lnTo>
                <a:lnTo>
                  <a:pt x="412750" y="1295400"/>
                </a:lnTo>
                <a:lnTo>
                  <a:pt x="419100" y="1289050"/>
                </a:lnTo>
                <a:lnTo>
                  <a:pt x="425450" y="1289050"/>
                </a:lnTo>
                <a:lnTo>
                  <a:pt x="425450" y="44450"/>
                </a:lnTo>
                <a:lnTo>
                  <a:pt x="419100" y="44450"/>
                </a:lnTo>
                <a:lnTo>
                  <a:pt x="425450" y="38100"/>
                </a:lnTo>
                <a:lnTo>
                  <a:pt x="723900" y="38100"/>
                </a:lnTo>
                <a:lnTo>
                  <a:pt x="723900" y="31750"/>
                </a:lnTo>
                <a:close/>
              </a:path>
              <a:path w="800100" h="1333500">
                <a:moveTo>
                  <a:pt x="425450" y="1289050"/>
                </a:moveTo>
                <a:lnTo>
                  <a:pt x="419100" y="1289050"/>
                </a:lnTo>
                <a:lnTo>
                  <a:pt x="412750" y="1295400"/>
                </a:lnTo>
                <a:lnTo>
                  <a:pt x="425450" y="1295400"/>
                </a:lnTo>
                <a:lnTo>
                  <a:pt x="425450" y="1289050"/>
                </a:lnTo>
                <a:close/>
              </a:path>
              <a:path w="800100" h="1333500">
                <a:moveTo>
                  <a:pt x="723900" y="0"/>
                </a:moveTo>
                <a:lnTo>
                  <a:pt x="723900" y="76200"/>
                </a:lnTo>
                <a:lnTo>
                  <a:pt x="787400" y="44450"/>
                </a:lnTo>
                <a:lnTo>
                  <a:pt x="736600" y="44450"/>
                </a:lnTo>
                <a:lnTo>
                  <a:pt x="736600" y="31750"/>
                </a:lnTo>
                <a:lnTo>
                  <a:pt x="787400" y="31750"/>
                </a:lnTo>
                <a:lnTo>
                  <a:pt x="723900" y="0"/>
                </a:lnTo>
                <a:close/>
              </a:path>
              <a:path w="800100" h="1333500">
                <a:moveTo>
                  <a:pt x="425450" y="38100"/>
                </a:moveTo>
                <a:lnTo>
                  <a:pt x="419100" y="44450"/>
                </a:lnTo>
                <a:lnTo>
                  <a:pt x="425450" y="44450"/>
                </a:lnTo>
                <a:lnTo>
                  <a:pt x="425450" y="38100"/>
                </a:lnTo>
                <a:close/>
              </a:path>
              <a:path w="800100" h="1333500">
                <a:moveTo>
                  <a:pt x="723900" y="38100"/>
                </a:moveTo>
                <a:lnTo>
                  <a:pt x="425450" y="38100"/>
                </a:lnTo>
                <a:lnTo>
                  <a:pt x="425450" y="44450"/>
                </a:lnTo>
                <a:lnTo>
                  <a:pt x="723900" y="44450"/>
                </a:lnTo>
                <a:lnTo>
                  <a:pt x="723900" y="38100"/>
                </a:lnTo>
                <a:close/>
              </a:path>
              <a:path w="800100" h="1333500">
                <a:moveTo>
                  <a:pt x="787400" y="31750"/>
                </a:moveTo>
                <a:lnTo>
                  <a:pt x="736600" y="31750"/>
                </a:lnTo>
                <a:lnTo>
                  <a:pt x="736600" y="44450"/>
                </a:lnTo>
                <a:lnTo>
                  <a:pt x="787400" y="44450"/>
                </a:lnTo>
                <a:lnTo>
                  <a:pt x="800100" y="38100"/>
                </a:lnTo>
                <a:lnTo>
                  <a:pt x="787400" y="31750"/>
                </a:lnTo>
                <a:close/>
              </a:path>
            </a:pathLst>
          </a:custGeom>
          <a:solidFill>
            <a:srgbClr val="998B85"/>
          </a:solidFill>
        </p:spPr>
        <p:txBody>
          <a:bodyPr wrap="square" lIns="0" tIns="0" rIns="0" bIns="0" rtlCol="0"/>
          <a:lstStyle/>
          <a:p>
            <a:endParaRPr/>
          </a:p>
        </p:txBody>
      </p:sp>
      <p:sp>
        <p:nvSpPr>
          <p:cNvPr id="66" name="object 66"/>
          <p:cNvSpPr/>
          <p:nvPr/>
        </p:nvSpPr>
        <p:spPr>
          <a:xfrm>
            <a:off x="3105911" y="3296411"/>
            <a:ext cx="800100" cy="1381125"/>
          </a:xfrm>
          <a:custGeom>
            <a:avLst/>
            <a:gdLst/>
            <a:ahLst/>
            <a:cxnLst/>
            <a:rect l="l" t="t" r="r" b="b"/>
            <a:pathLst>
              <a:path w="800100" h="1381125">
                <a:moveTo>
                  <a:pt x="723900" y="1304544"/>
                </a:moveTo>
                <a:lnTo>
                  <a:pt x="723900" y="1380744"/>
                </a:lnTo>
                <a:lnTo>
                  <a:pt x="787400" y="1348994"/>
                </a:lnTo>
                <a:lnTo>
                  <a:pt x="736600" y="1348994"/>
                </a:lnTo>
                <a:lnTo>
                  <a:pt x="736600" y="1336294"/>
                </a:lnTo>
                <a:lnTo>
                  <a:pt x="787400" y="1336294"/>
                </a:lnTo>
                <a:lnTo>
                  <a:pt x="723900" y="1304544"/>
                </a:lnTo>
                <a:close/>
              </a:path>
              <a:path w="800100" h="1381125">
                <a:moveTo>
                  <a:pt x="412750" y="38100"/>
                </a:moveTo>
                <a:lnTo>
                  <a:pt x="412750" y="1346200"/>
                </a:lnTo>
                <a:lnTo>
                  <a:pt x="415543" y="1348994"/>
                </a:lnTo>
                <a:lnTo>
                  <a:pt x="723900" y="1348994"/>
                </a:lnTo>
                <a:lnTo>
                  <a:pt x="723900" y="1342644"/>
                </a:lnTo>
                <a:lnTo>
                  <a:pt x="425450" y="1342644"/>
                </a:lnTo>
                <a:lnTo>
                  <a:pt x="419100" y="1336294"/>
                </a:lnTo>
                <a:lnTo>
                  <a:pt x="425450" y="1336294"/>
                </a:lnTo>
                <a:lnTo>
                  <a:pt x="425450" y="44450"/>
                </a:lnTo>
                <a:lnTo>
                  <a:pt x="419100" y="44450"/>
                </a:lnTo>
                <a:lnTo>
                  <a:pt x="412750" y="38100"/>
                </a:lnTo>
                <a:close/>
              </a:path>
              <a:path w="800100" h="1381125">
                <a:moveTo>
                  <a:pt x="787400" y="1336294"/>
                </a:moveTo>
                <a:lnTo>
                  <a:pt x="736600" y="1336294"/>
                </a:lnTo>
                <a:lnTo>
                  <a:pt x="736600" y="1348994"/>
                </a:lnTo>
                <a:lnTo>
                  <a:pt x="787400" y="1348994"/>
                </a:lnTo>
                <a:lnTo>
                  <a:pt x="800100" y="1342644"/>
                </a:lnTo>
                <a:lnTo>
                  <a:pt x="787400" y="1336294"/>
                </a:lnTo>
                <a:close/>
              </a:path>
              <a:path w="800100" h="1381125">
                <a:moveTo>
                  <a:pt x="425450" y="1336294"/>
                </a:moveTo>
                <a:lnTo>
                  <a:pt x="419100" y="1336294"/>
                </a:lnTo>
                <a:lnTo>
                  <a:pt x="425450" y="1342644"/>
                </a:lnTo>
                <a:lnTo>
                  <a:pt x="425450" y="1336294"/>
                </a:lnTo>
                <a:close/>
              </a:path>
              <a:path w="800100" h="1381125">
                <a:moveTo>
                  <a:pt x="723900" y="1336294"/>
                </a:moveTo>
                <a:lnTo>
                  <a:pt x="425450" y="1336294"/>
                </a:lnTo>
                <a:lnTo>
                  <a:pt x="425450" y="1342644"/>
                </a:lnTo>
                <a:lnTo>
                  <a:pt x="723900" y="1342644"/>
                </a:lnTo>
                <a:lnTo>
                  <a:pt x="723900" y="1336294"/>
                </a:lnTo>
                <a:close/>
              </a:path>
              <a:path w="800100" h="1381125">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800100" h="1381125">
                <a:moveTo>
                  <a:pt x="74921" y="31750"/>
                </a:moveTo>
                <a:lnTo>
                  <a:pt x="38100" y="31750"/>
                </a:lnTo>
                <a:lnTo>
                  <a:pt x="38100" y="44450"/>
                </a:lnTo>
                <a:lnTo>
                  <a:pt x="74921" y="44450"/>
                </a:lnTo>
                <a:lnTo>
                  <a:pt x="76200" y="38100"/>
                </a:lnTo>
                <a:lnTo>
                  <a:pt x="74921" y="31750"/>
                </a:lnTo>
                <a:close/>
              </a:path>
              <a:path w="800100" h="1381125">
                <a:moveTo>
                  <a:pt x="422655" y="31750"/>
                </a:moveTo>
                <a:lnTo>
                  <a:pt x="74921" y="31750"/>
                </a:lnTo>
                <a:lnTo>
                  <a:pt x="76200" y="38100"/>
                </a:lnTo>
                <a:lnTo>
                  <a:pt x="74921" y="44450"/>
                </a:lnTo>
                <a:lnTo>
                  <a:pt x="412750" y="44450"/>
                </a:lnTo>
                <a:lnTo>
                  <a:pt x="412750" y="38100"/>
                </a:lnTo>
                <a:lnTo>
                  <a:pt x="425450" y="38100"/>
                </a:lnTo>
                <a:lnTo>
                  <a:pt x="425450" y="34543"/>
                </a:lnTo>
                <a:lnTo>
                  <a:pt x="422655" y="31750"/>
                </a:lnTo>
                <a:close/>
              </a:path>
              <a:path w="800100" h="1381125">
                <a:moveTo>
                  <a:pt x="425450" y="38100"/>
                </a:moveTo>
                <a:lnTo>
                  <a:pt x="412750" y="38100"/>
                </a:lnTo>
                <a:lnTo>
                  <a:pt x="419100" y="44450"/>
                </a:lnTo>
                <a:lnTo>
                  <a:pt x="425450" y="44450"/>
                </a:lnTo>
                <a:lnTo>
                  <a:pt x="425450" y="38100"/>
                </a:lnTo>
                <a:close/>
              </a:path>
            </a:pathLst>
          </a:custGeom>
          <a:solidFill>
            <a:srgbClr val="998B85"/>
          </a:solidFill>
        </p:spPr>
        <p:txBody>
          <a:bodyPr wrap="square" lIns="0" tIns="0" rIns="0" bIns="0" rtlCol="0"/>
          <a:lstStyle/>
          <a:p>
            <a:endParaRPr/>
          </a:p>
        </p:txBody>
      </p:sp>
      <p:sp>
        <p:nvSpPr>
          <p:cNvPr id="67" name="object 67"/>
          <p:cNvSpPr txBox="1">
            <a:spLocks noGrp="1"/>
          </p:cNvSpPr>
          <p:nvPr>
            <p:ph type="title"/>
          </p:nvPr>
        </p:nvSpPr>
        <p:spPr>
          <a:xfrm>
            <a:off x="517651" y="154027"/>
            <a:ext cx="10594340" cy="863600"/>
          </a:xfrm>
          <a:prstGeom prst="rect">
            <a:avLst/>
          </a:prstGeom>
        </p:spPr>
        <p:txBody>
          <a:bodyPr vert="horz" wrap="square" lIns="0" tIns="12065" rIns="0" bIns="0" rtlCol="0">
            <a:spAutoFit/>
          </a:bodyPr>
          <a:lstStyle/>
          <a:p>
            <a:pPr marL="12700" marR="5080">
              <a:lnSpc>
                <a:spcPct val="114599"/>
              </a:lnSpc>
              <a:spcBef>
                <a:spcPts val="95"/>
              </a:spcBef>
            </a:pPr>
            <a:r>
              <a:rPr spc="-5"/>
              <a:t>Our Application Development </a:t>
            </a:r>
            <a:r>
              <a:t>and Maintenance </a:t>
            </a:r>
            <a:r>
              <a:rPr spc="-5"/>
              <a:t>Services </a:t>
            </a:r>
            <a:r>
              <a:rPr spc="-10"/>
              <a:t>Covers </a:t>
            </a:r>
            <a:r>
              <a:t>End-  </a:t>
            </a:r>
            <a:r>
              <a:rPr spc="-5"/>
              <a:t>to-End</a:t>
            </a:r>
            <a:r>
              <a:rPr spc="10"/>
              <a:t> </a:t>
            </a:r>
            <a:r>
              <a:rPr spc="-5"/>
              <a:t>Activities</a:t>
            </a:r>
          </a:p>
        </p:txBody>
      </p:sp>
      <p:sp>
        <p:nvSpPr>
          <p:cNvPr id="68" name="object 6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9" name="object 69"/>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29</a:t>
            </a:fld>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6595109" cy="6858000"/>
          </a:xfrm>
          <a:custGeom>
            <a:avLst/>
            <a:gdLst/>
            <a:ahLst/>
            <a:cxnLst/>
            <a:rect l="l" t="t" r="r" b="b"/>
            <a:pathLst>
              <a:path w="6595109" h="6858000">
                <a:moveTo>
                  <a:pt x="4007868" y="0"/>
                </a:moveTo>
                <a:lnTo>
                  <a:pt x="11088" y="0"/>
                </a:lnTo>
                <a:lnTo>
                  <a:pt x="108" y="4224084"/>
                </a:lnTo>
                <a:lnTo>
                  <a:pt x="0" y="6857997"/>
                </a:lnTo>
                <a:lnTo>
                  <a:pt x="1440329" y="6857997"/>
                </a:lnTo>
                <a:lnTo>
                  <a:pt x="6595109" y="6844647"/>
                </a:lnTo>
                <a:lnTo>
                  <a:pt x="6593840" y="6843167"/>
                </a:lnTo>
                <a:lnTo>
                  <a:pt x="6541896" y="6797525"/>
                </a:lnTo>
                <a:lnTo>
                  <a:pt x="6485678" y="6754355"/>
                </a:lnTo>
                <a:lnTo>
                  <a:pt x="6425063" y="6713780"/>
                </a:lnTo>
                <a:lnTo>
                  <a:pt x="6359927" y="6675928"/>
                </a:lnTo>
                <a:lnTo>
                  <a:pt x="6325625" y="6658062"/>
                </a:lnTo>
                <a:lnTo>
                  <a:pt x="6290147" y="6640923"/>
                </a:lnTo>
                <a:lnTo>
                  <a:pt x="6253478" y="6624528"/>
                </a:lnTo>
                <a:lnTo>
                  <a:pt x="6215601" y="6608891"/>
                </a:lnTo>
                <a:lnTo>
                  <a:pt x="6176501" y="6594029"/>
                </a:lnTo>
                <a:lnTo>
                  <a:pt x="6136163" y="6579957"/>
                </a:lnTo>
                <a:lnTo>
                  <a:pt x="6094573" y="6566691"/>
                </a:lnTo>
                <a:lnTo>
                  <a:pt x="6051713" y="6554247"/>
                </a:lnTo>
                <a:lnTo>
                  <a:pt x="6007569" y="6542640"/>
                </a:lnTo>
                <a:lnTo>
                  <a:pt x="5962126" y="6531886"/>
                </a:lnTo>
                <a:lnTo>
                  <a:pt x="4426875" y="6529670"/>
                </a:lnTo>
                <a:lnTo>
                  <a:pt x="4382080" y="6529500"/>
                </a:lnTo>
                <a:lnTo>
                  <a:pt x="4337817" y="6528808"/>
                </a:lnTo>
                <a:lnTo>
                  <a:pt x="4294085" y="6527596"/>
                </a:lnTo>
                <a:lnTo>
                  <a:pt x="4250882" y="6525868"/>
                </a:lnTo>
                <a:lnTo>
                  <a:pt x="4208208" y="6523625"/>
                </a:lnTo>
                <a:lnTo>
                  <a:pt x="4166060" y="6520872"/>
                </a:lnTo>
                <a:lnTo>
                  <a:pt x="4124439" y="6517611"/>
                </a:lnTo>
                <a:lnTo>
                  <a:pt x="4083342" y="6513844"/>
                </a:lnTo>
                <a:lnTo>
                  <a:pt x="4042769" y="6509574"/>
                </a:lnTo>
                <a:lnTo>
                  <a:pt x="4002717" y="6504805"/>
                </a:lnTo>
                <a:lnTo>
                  <a:pt x="3963187" y="6499538"/>
                </a:lnTo>
                <a:lnTo>
                  <a:pt x="3924176" y="6493777"/>
                </a:lnTo>
                <a:lnTo>
                  <a:pt x="3885684" y="6487525"/>
                </a:lnTo>
                <a:lnTo>
                  <a:pt x="3847709" y="6480784"/>
                </a:lnTo>
                <a:lnTo>
                  <a:pt x="3810250" y="6473557"/>
                </a:lnTo>
                <a:lnTo>
                  <a:pt x="3736875" y="6457657"/>
                </a:lnTo>
                <a:lnTo>
                  <a:pt x="3665549" y="6439847"/>
                </a:lnTo>
                <a:lnTo>
                  <a:pt x="3596262" y="6420149"/>
                </a:lnTo>
                <a:lnTo>
                  <a:pt x="3529004" y="6398586"/>
                </a:lnTo>
                <a:lnTo>
                  <a:pt x="3463766" y="6375180"/>
                </a:lnTo>
                <a:lnTo>
                  <a:pt x="3400537" y="6349953"/>
                </a:lnTo>
                <a:lnTo>
                  <a:pt x="3339308" y="6322929"/>
                </a:lnTo>
                <a:lnTo>
                  <a:pt x="3280069" y="6294128"/>
                </a:lnTo>
                <a:lnTo>
                  <a:pt x="3222810" y="6263575"/>
                </a:lnTo>
                <a:lnTo>
                  <a:pt x="3167521" y="6231290"/>
                </a:lnTo>
                <a:lnTo>
                  <a:pt x="3114191" y="6197296"/>
                </a:lnTo>
                <a:lnTo>
                  <a:pt x="3062813" y="6161616"/>
                </a:lnTo>
                <a:lnTo>
                  <a:pt x="3013374" y="6124273"/>
                </a:lnTo>
                <a:lnTo>
                  <a:pt x="2965866" y="6085287"/>
                </a:lnTo>
                <a:lnTo>
                  <a:pt x="2920279" y="6044683"/>
                </a:lnTo>
                <a:lnTo>
                  <a:pt x="2876602" y="6002481"/>
                </a:lnTo>
                <a:lnTo>
                  <a:pt x="2834826" y="5958706"/>
                </a:lnTo>
                <a:lnTo>
                  <a:pt x="2794942" y="5913378"/>
                </a:lnTo>
                <a:lnTo>
                  <a:pt x="2756938" y="5866520"/>
                </a:lnTo>
                <a:lnTo>
                  <a:pt x="2720805" y="5818155"/>
                </a:lnTo>
                <a:lnTo>
                  <a:pt x="2686534" y="5768305"/>
                </a:lnTo>
                <a:lnTo>
                  <a:pt x="2654115" y="5716993"/>
                </a:lnTo>
                <a:lnTo>
                  <a:pt x="2623537" y="5664240"/>
                </a:lnTo>
                <a:lnTo>
                  <a:pt x="2594790" y="5610069"/>
                </a:lnTo>
                <a:lnTo>
                  <a:pt x="2567866" y="5554503"/>
                </a:lnTo>
                <a:lnTo>
                  <a:pt x="2542753" y="5497564"/>
                </a:lnTo>
                <a:lnTo>
                  <a:pt x="2519442" y="5439274"/>
                </a:lnTo>
                <a:lnTo>
                  <a:pt x="2497924" y="5379656"/>
                </a:lnTo>
                <a:lnTo>
                  <a:pt x="2478188" y="5318731"/>
                </a:lnTo>
                <a:lnTo>
                  <a:pt x="2460224" y="5256523"/>
                </a:lnTo>
                <a:lnTo>
                  <a:pt x="2444023" y="5193054"/>
                </a:lnTo>
                <a:lnTo>
                  <a:pt x="2429575" y="5128346"/>
                </a:lnTo>
                <a:lnTo>
                  <a:pt x="2416869" y="5062421"/>
                </a:lnTo>
                <a:lnTo>
                  <a:pt x="2405896" y="4995302"/>
                </a:lnTo>
                <a:lnTo>
                  <a:pt x="2396647" y="4927012"/>
                </a:lnTo>
                <a:lnTo>
                  <a:pt x="2389110" y="4857572"/>
                </a:lnTo>
                <a:lnTo>
                  <a:pt x="2383277" y="4787004"/>
                </a:lnTo>
                <a:lnTo>
                  <a:pt x="2379137" y="4715333"/>
                </a:lnTo>
                <a:lnTo>
                  <a:pt x="2376680" y="4642578"/>
                </a:lnTo>
                <a:lnTo>
                  <a:pt x="2375897" y="4568764"/>
                </a:lnTo>
                <a:lnTo>
                  <a:pt x="2376130" y="4531467"/>
                </a:lnTo>
                <a:lnTo>
                  <a:pt x="2377839" y="4456105"/>
                </a:lnTo>
                <a:lnTo>
                  <a:pt x="2381197" y="4379739"/>
                </a:lnTo>
                <a:lnTo>
                  <a:pt x="2383492" y="4341186"/>
                </a:lnTo>
                <a:lnTo>
                  <a:pt x="2386194" y="4302391"/>
                </a:lnTo>
                <a:lnTo>
                  <a:pt x="2389304" y="4263356"/>
                </a:lnTo>
                <a:lnTo>
                  <a:pt x="2392821" y="4224084"/>
                </a:lnTo>
                <a:lnTo>
                  <a:pt x="2396741" y="4184577"/>
                </a:lnTo>
                <a:lnTo>
                  <a:pt x="2401066" y="4144840"/>
                </a:lnTo>
                <a:lnTo>
                  <a:pt x="2405793" y="4104873"/>
                </a:lnTo>
                <a:lnTo>
                  <a:pt x="2410921" y="4064681"/>
                </a:lnTo>
                <a:lnTo>
                  <a:pt x="2416449" y="4024266"/>
                </a:lnTo>
                <a:lnTo>
                  <a:pt x="2422375" y="3983631"/>
                </a:lnTo>
                <a:lnTo>
                  <a:pt x="2428699" y="3942778"/>
                </a:lnTo>
                <a:lnTo>
                  <a:pt x="2435419" y="3901710"/>
                </a:lnTo>
                <a:lnTo>
                  <a:pt x="2442534" y="3860431"/>
                </a:lnTo>
                <a:lnTo>
                  <a:pt x="2450043" y="3818942"/>
                </a:lnTo>
                <a:lnTo>
                  <a:pt x="2457944" y="3777247"/>
                </a:lnTo>
                <a:lnTo>
                  <a:pt x="2466237" y="3735349"/>
                </a:lnTo>
                <a:lnTo>
                  <a:pt x="2474919" y="3693250"/>
                </a:lnTo>
                <a:lnTo>
                  <a:pt x="2483990" y="3650954"/>
                </a:lnTo>
                <a:lnTo>
                  <a:pt x="2493449" y="3608462"/>
                </a:lnTo>
                <a:lnTo>
                  <a:pt x="2503294" y="3565778"/>
                </a:lnTo>
                <a:lnTo>
                  <a:pt x="2513524" y="3522904"/>
                </a:lnTo>
                <a:lnTo>
                  <a:pt x="2524138" y="3479844"/>
                </a:lnTo>
                <a:lnTo>
                  <a:pt x="2535134" y="3436599"/>
                </a:lnTo>
                <a:lnTo>
                  <a:pt x="2546512" y="3393174"/>
                </a:lnTo>
                <a:lnTo>
                  <a:pt x="2558270" y="3349570"/>
                </a:lnTo>
                <a:lnTo>
                  <a:pt x="2570407" y="3305791"/>
                </a:lnTo>
                <a:lnTo>
                  <a:pt x="2582922" y="3261839"/>
                </a:lnTo>
                <a:lnTo>
                  <a:pt x="2595813" y="3217718"/>
                </a:lnTo>
                <a:lnTo>
                  <a:pt x="2609079" y="3173429"/>
                </a:lnTo>
                <a:lnTo>
                  <a:pt x="2622719" y="3128976"/>
                </a:lnTo>
                <a:lnTo>
                  <a:pt x="2636731" y="3084361"/>
                </a:lnTo>
                <a:lnTo>
                  <a:pt x="2651116" y="3039587"/>
                </a:lnTo>
                <a:lnTo>
                  <a:pt x="2665870" y="2994658"/>
                </a:lnTo>
                <a:lnTo>
                  <a:pt x="2680994" y="2949576"/>
                </a:lnTo>
                <a:lnTo>
                  <a:pt x="2696485" y="2904343"/>
                </a:lnTo>
                <a:lnTo>
                  <a:pt x="2712343" y="2858962"/>
                </a:lnTo>
                <a:lnTo>
                  <a:pt x="2728566" y="2813437"/>
                </a:lnTo>
                <a:lnTo>
                  <a:pt x="2745153" y="2767770"/>
                </a:lnTo>
                <a:lnTo>
                  <a:pt x="2762103" y="2721964"/>
                </a:lnTo>
                <a:lnTo>
                  <a:pt x="2779414" y="2676021"/>
                </a:lnTo>
                <a:lnTo>
                  <a:pt x="2797086" y="2629945"/>
                </a:lnTo>
                <a:lnTo>
                  <a:pt x="2815117" y="2583738"/>
                </a:lnTo>
                <a:lnTo>
                  <a:pt x="2833506" y="2537403"/>
                </a:lnTo>
                <a:lnTo>
                  <a:pt x="2852252" y="2490943"/>
                </a:lnTo>
                <a:lnTo>
                  <a:pt x="2871353" y="2444360"/>
                </a:lnTo>
                <a:lnTo>
                  <a:pt x="2890808" y="2397658"/>
                </a:lnTo>
                <a:lnTo>
                  <a:pt x="2910616" y="2350840"/>
                </a:lnTo>
                <a:lnTo>
                  <a:pt x="2930776" y="2303907"/>
                </a:lnTo>
                <a:lnTo>
                  <a:pt x="2951286" y="2256863"/>
                </a:lnTo>
                <a:lnTo>
                  <a:pt x="2972146" y="2209710"/>
                </a:lnTo>
                <a:lnTo>
                  <a:pt x="2993354" y="2162452"/>
                </a:lnTo>
                <a:lnTo>
                  <a:pt x="3014908" y="2115091"/>
                </a:lnTo>
                <a:lnTo>
                  <a:pt x="3036808" y="2067630"/>
                </a:lnTo>
                <a:lnTo>
                  <a:pt x="3059052" y="2020072"/>
                </a:lnTo>
                <a:lnTo>
                  <a:pt x="3081639" y="1972420"/>
                </a:lnTo>
                <a:lnTo>
                  <a:pt x="3104568" y="1924676"/>
                </a:lnTo>
                <a:lnTo>
                  <a:pt x="3127838" y="1876843"/>
                </a:lnTo>
                <a:lnTo>
                  <a:pt x="3151447" y="1828924"/>
                </a:lnTo>
                <a:lnTo>
                  <a:pt x="3175394" y="1780922"/>
                </a:lnTo>
                <a:lnTo>
                  <a:pt x="3199678" y="1732839"/>
                </a:lnTo>
                <a:lnTo>
                  <a:pt x="3224298" y="1684679"/>
                </a:lnTo>
                <a:lnTo>
                  <a:pt x="3249252" y="1636444"/>
                </a:lnTo>
                <a:lnTo>
                  <a:pt x="3274540" y="1588136"/>
                </a:lnTo>
                <a:lnTo>
                  <a:pt x="3300159" y="1539760"/>
                </a:lnTo>
                <a:lnTo>
                  <a:pt x="3326109" y="1491317"/>
                </a:lnTo>
                <a:lnTo>
                  <a:pt x="3352389" y="1442811"/>
                </a:lnTo>
                <a:lnTo>
                  <a:pt x="3378996" y="1394243"/>
                </a:lnTo>
                <a:lnTo>
                  <a:pt x="3405931" y="1345618"/>
                </a:lnTo>
                <a:lnTo>
                  <a:pt x="3433192" y="1296937"/>
                </a:lnTo>
                <a:lnTo>
                  <a:pt x="3460777" y="1248204"/>
                </a:lnTo>
                <a:lnTo>
                  <a:pt x="3488685" y="1199421"/>
                </a:lnTo>
                <a:lnTo>
                  <a:pt x="3516916" y="1150591"/>
                </a:lnTo>
                <a:lnTo>
                  <a:pt x="3545467" y="1101717"/>
                </a:lnTo>
                <a:lnTo>
                  <a:pt x="3574338" y="1052802"/>
                </a:lnTo>
                <a:lnTo>
                  <a:pt x="3603527" y="1003849"/>
                </a:lnTo>
                <a:lnTo>
                  <a:pt x="3633034" y="954859"/>
                </a:lnTo>
                <a:lnTo>
                  <a:pt x="3662856" y="905837"/>
                </a:lnTo>
                <a:lnTo>
                  <a:pt x="3692993" y="856785"/>
                </a:lnTo>
                <a:lnTo>
                  <a:pt x="3723444" y="807705"/>
                </a:lnTo>
                <a:lnTo>
                  <a:pt x="3754206" y="758601"/>
                </a:lnTo>
                <a:lnTo>
                  <a:pt x="3785280" y="709475"/>
                </a:lnTo>
                <a:lnTo>
                  <a:pt x="3816663" y="660330"/>
                </a:lnTo>
                <a:lnTo>
                  <a:pt x="3848355" y="611169"/>
                </a:lnTo>
                <a:lnTo>
                  <a:pt x="3880354" y="561995"/>
                </a:lnTo>
                <a:lnTo>
                  <a:pt x="3912659" y="512810"/>
                </a:lnTo>
                <a:lnTo>
                  <a:pt x="3945269" y="463618"/>
                </a:lnTo>
                <a:lnTo>
                  <a:pt x="3978182" y="414420"/>
                </a:lnTo>
                <a:lnTo>
                  <a:pt x="4011398" y="365221"/>
                </a:lnTo>
                <a:lnTo>
                  <a:pt x="4044915" y="316022"/>
                </a:lnTo>
                <a:lnTo>
                  <a:pt x="4078732" y="266826"/>
                </a:lnTo>
                <a:lnTo>
                  <a:pt x="4007868" y="0"/>
                </a:lnTo>
                <a:close/>
              </a:path>
              <a:path w="6595109" h="6858000">
                <a:moveTo>
                  <a:pt x="5372071" y="6474366"/>
                </a:moveTo>
                <a:lnTo>
                  <a:pt x="5309831" y="6475070"/>
                </a:lnTo>
                <a:lnTo>
                  <a:pt x="5246092" y="6476830"/>
                </a:lnTo>
                <a:lnTo>
                  <a:pt x="5180837" y="6479663"/>
                </a:lnTo>
                <a:lnTo>
                  <a:pt x="5114052" y="6483584"/>
                </a:lnTo>
                <a:lnTo>
                  <a:pt x="5045721" y="6488608"/>
                </a:lnTo>
                <a:lnTo>
                  <a:pt x="4975828" y="6494752"/>
                </a:lnTo>
                <a:lnTo>
                  <a:pt x="4804536" y="6511893"/>
                </a:lnTo>
                <a:lnTo>
                  <a:pt x="4755441" y="6516002"/>
                </a:lnTo>
                <a:lnTo>
                  <a:pt x="4706887" y="6519566"/>
                </a:lnTo>
                <a:lnTo>
                  <a:pt x="4658874" y="6522588"/>
                </a:lnTo>
                <a:lnTo>
                  <a:pt x="4611400" y="6525071"/>
                </a:lnTo>
                <a:lnTo>
                  <a:pt x="4564465" y="6527018"/>
                </a:lnTo>
                <a:lnTo>
                  <a:pt x="4518066" y="6528432"/>
                </a:lnTo>
                <a:lnTo>
                  <a:pt x="4472203" y="6529315"/>
                </a:lnTo>
                <a:lnTo>
                  <a:pt x="4426875" y="6529670"/>
                </a:lnTo>
                <a:lnTo>
                  <a:pt x="5951643" y="6529670"/>
                </a:lnTo>
                <a:lnTo>
                  <a:pt x="5867278" y="6512999"/>
                </a:lnTo>
                <a:lnTo>
                  <a:pt x="5817844" y="6504898"/>
                </a:lnTo>
                <a:lnTo>
                  <a:pt x="5767048" y="6497712"/>
                </a:lnTo>
                <a:lnTo>
                  <a:pt x="5714876" y="6491458"/>
                </a:lnTo>
                <a:lnTo>
                  <a:pt x="5661311" y="6486150"/>
                </a:lnTo>
                <a:lnTo>
                  <a:pt x="5606340" y="6481805"/>
                </a:lnTo>
                <a:lnTo>
                  <a:pt x="5549945" y="6478439"/>
                </a:lnTo>
                <a:lnTo>
                  <a:pt x="5492113" y="6476066"/>
                </a:lnTo>
                <a:lnTo>
                  <a:pt x="5432826" y="6474704"/>
                </a:lnTo>
                <a:lnTo>
                  <a:pt x="5372071" y="6474366"/>
                </a:lnTo>
                <a:close/>
              </a:path>
            </a:pathLst>
          </a:custGeom>
          <a:solidFill>
            <a:srgbClr val="CDEFFA"/>
          </a:solidFill>
        </p:spPr>
        <p:txBody>
          <a:bodyPr wrap="square" lIns="0" tIns="0" rIns="0" bIns="0" rtlCol="0"/>
          <a:lstStyle/>
          <a:p>
            <a:endParaRPr/>
          </a:p>
        </p:txBody>
      </p:sp>
      <p:sp>
        <p:nvSpPr>
          <p:cNvPr id="3" name="object 3"/>
          <p:cNvSpPr txBox="1">
            <a:spLocks noGrp="1"/>
          </p:cNvSpPr>
          <p:nvPr>
            <p:ph type="title"/>
          </p:nvPr>
        </p:nvSpPr>
        <p:spPr>
          <a:xfrm>
            <a:off x="214680" y="318896"/>
            <a:ext cx="3625850" cy="422275"/>
          </a:xfrm>
          <a:prstGeom prst="rect">
            <a:avLst/>
          </a:prstGeom>
        </p:spPr>
        <p:txBody>
          <a:bodyPr vert="horz" wrap="square" lIns="0" tIns="12700" rIns="0" bIns="0" rtlCol="0">
            <a:spAutoFit/>
          </a:bodyPr>
          <a:lstStyle/>
          <a:p>
            <a:pPr marL="12700">
              <a:lnSpc>
                <a:spcPct val="100000"/>
              </a:lnSpc>
              <a:spcBef>
                <a:spcPts val="100"/>
              </a:spcBef>
            </a:pPr>
            <a:r>
              <a:rPr sz="2600" spc="-5"/>
              <a:t>Confidentiality</a:t>
            </a:r>
            <a:r>
              <a:rPr sz="2600" spc="-50"/>
              <a:t> </a:t>
            </a:r>
            <a:r>
              <a:rPr sz="2600"/>
              <a:t>Clause</a:t>
            </a:r>
          </a:p>
        </p:txBody>
      </p:sp>
      <p:sp>
        <p:nvSpPr>
          <p:cNvPr id="4" name="object 4"/>
          <p:cNvSpPr/>
          <p:nvPr/>
        </p:nvSpPr>
        <p:spPr>
          <a:xfrm>
            <a:off x="11169395" y="711708"/>
            <a:ext cx="182880" cy="5588635"/>
          </a:xfrm>
          <a:custGeom>
            <a:avLst/>
            <a:gdLst/>
            <a:ahLst/>
            <a:cxnLst/>
            <a:rect l="l" t="t" r="r" b="b"/>
            <a:pathLst>
              <a:path w="182879" h="5588635">
                <a:moveTo>
                  <a:pt x="152400" y="0"/>
                </a:moveTo>
                <a:lnTo>
                  <a:pt x="30479" y="0"/>
                </a:lnTo>
                <a:lnTo>
                  <a:pt x="18591" y="2387"/>
                </a:lnTo>
                <a:lnTo>
                  <a:pt x="8905" y="8905"/>
                </a:lnTo>
                <a:lnTo>
                  <a:pt x="2387" y="18591"/>
                </a:lnTo>
                <a:lnTo>
                  <a:pt x="0" y="30479"/>
                </a:lnTo>
                <a:lnTo>
                  <a:pt x="0" y="5558028"/>
                </a:lnTo>
                <a:lnTo>
                  <a:pt x="2387" y="5569889"/>
                </a:lnTo>
                <a:lnTo>
                  <a:pt x="8905" y="5579578"/>
                </a:lnTo>
                <a:lnTo>
                  <a:pt x="18591" y="5586111"/>
                </a:lnTo>
                <a:lnTo>
                  <a:pt x="30479" y="5588508"/>
                </a:lnTo>
                <a:lnTo>
                  <a:pt x="152400" y="5588508"/>
                </a:lnTo>
                <a:lnTo>
                  <a:pt x="164288" y="5586111"/>
                </a:lnTo>
                <a:lnTo>
                  <a:pt x="173974" y="5579578"/>
                </a:lnTo>
                <a:lnTo>
                  <a:pt x="180492" y="5569889"/>
                </a:lnTo>
                <a:lnTo>
                  <a:pt x="182879" y="5558028"/>
                </a:lnTo>
                <a:lnTo>
                  <a:pt x="182879" y="30479"/>
                </a:lnTo>
                <a:lnTo>
                  <a:pt x="180492" y="18591"/>
                </a:lnTo>
                <a:lnTo>
                  <a:pt x="173974" y="8905"/>
                </a:lnTo>
                <a:lnTo>
                  <a:pt x="164288" y="2387"/>
                </a:lnTo>
                <a:lnTo>
                  <a:pt x="152400" y="0"/>
                </a:lnTo>
                <a:close/>
              </a:path>
            </a:pathLst>
          </a:custGeom>
          <a:solidFill>
            <a:srgbClr val="006FAC"/>
          </a:solidFill>
        </p:spPr>
        <p:txBody>
          <a:bodyPr wrap="square" lIns="0" tIns="0" rIns="0" bIns="0" rtlCol="0"/>
          <a:lstStyle/>
          <a:p>
            <a:endParaRPr/>
          </a:p>
        </p:txBody>
      </p:sp>
      <p:sp>
        <p:nvSpPr>
          <p:cNvPr id="5" name="object 5"/>
          <p:cNvSpPr/>
          <p:nvPr/>
        </p:nvSpPr>
        <p:spPr>
          <a:xfrm>
            <a:off x="3026664" y="710183"/>
            <a:ext cx="8250936" cy="5590032"/>
          </a:xfrm>
          <a:prstGeom prst="rect">
            <a:avLst/>
          </a:prstGeom>
          <a:blipFill>
            <a:blip r:embed="rId2" cstate="print"/>
            <a:stretch>
              <a:fillRect/>
            </a:stretch>
          </a:blipFill>
        </p:spPr>
        <p:txBody>
          <a:bodyPr wrap="square" lIns="0" tIns="0" rIns="0" bIns="0" rtlCol="0"/>
          <a:lstStyle/>
          <a:p>
            <a:endParaRPr/>
          </a:p>
        </p:txBody>
      </p:sp>
      <p:sp>
        <p:nvSpPr>
          <p:cNvPr id="6" name="object 6"/>
          <p:cNvSpPr txBox="1"/>
          <p:nvPr/>
        </p:nvSpPr>
        <p:spPr>
          <a:xfrm>
            <a:off x="3250183" y="804799"/>
            <a:ext cx="7868284" cy="5742305"/>
          </a:xfrm>
          <a:prstGeom prst="rect">
            <a:avLst/>
          </a:prstGeom>
        </p:spPr>
        <p:txBody>
          <a:bodyPr vert="horz" wrap="square" lIns="0" tIns="13335" rIns="0" bIns="0" rtlCol="0">
            <a:spAutoFit/>
          </a:bodyPr>
          <a:lstStyle/>
          <a:p>
            <a:pPr marL="12700" marR="295275">
              <a:lnSpc>
                <a:spcPct val="100000"/>
              </a:lnSpc>
              <a:spcBef>
                <a:spcPts val="105"/>
              </a:spcBef>
            </a:pPr>
            <a:r>
              <a:rPr sz="1400" spc="-80">
                <a:latin typeface="Verdana"/>
                <a:cs typeface="Verdana"/>
              </a:rPr>
              <a:t>To </a:t>
            </a:r>
            <a:r>
              <a:rPr sz="1400" spc="-5">
                <a:latin typeface="Verdana"/>
                <a:cs typeface="Verdana"/>
              </a:rPr>
              <a:t>the </a:t>
            </a:r>
            <a:r>
              <a:rPr sz="1400">
                <a:latin typeface="Verdana"/>
                <a:cs typeface="Verdana"/>
              </a:rPr>
              <a:t>attention of Marelli Holdings </a:t>
            </a:r>
            <a:r>
              <a:rPr sz="1400" spc="-5">
                <a:latin typeface="Verdana"/>
                <a:cs typeface="Verdana"/>
              </a:rPr>
              <a:t>Co. </a:t>
            </a:r>
            <a:r>
              <a:rPr sz="1400">
                <a:latin typeface="Verdana"/>
                <a:cs typeface="Verdana"/>
              </a:rPr>
              <a:t>Ltd, located </a:t>
            </a:r>
            <a:r>
              <a:rPr sz="1400" spc="-5">
                <a:latin typeface="Verdana"/>
                <a:cs typeface="Verdana"/>
              </a:rPr>
              <a:t>at 2-1917 Nisshin-cho, </a:t>
            </a:r>
            <a:r>
              <a:rPr sz="1400">
                <a:latin typeface="Verdana"/>
                <a:cs typeface="Verdana"/>
              </a:rPr>
              <a:t>Kita-ku,  </a:t>
            </a:r>
            <a:r>
              <a:rPr sz="1400" spc="-15">
                <a:latin typeface="Verdana"/>
                <a:cs typeface="Verdana"/>
              </a:rPr>
              <a:t>Saitama-city, </a:t>
            </a:r>
            <a:r>
              <a:rPr sz="1400">
                <a:latin typeface="Verdana"/>
                <a:cs typeface="Verdana"/>
              </a:rPr>
              <a:t>Saitama - </a:t>
            </a:r>
            <a:r>
              <a:rPr sz="1400" spc="-10">
                <a:latin typeface="Verdana"/>
                <a:cs typeface="Verdana"/>
              </a:rPr>
              <a:t>JAPAN </a:t>
            </a:r>
            <a:r>
              <a:rPr sz="1400" spc="-5">
                <a:latin typeface="Verdana"/>
                <a:cs typeface="Verdana"/>
              </a:rPr>
              <a:t>Corporation </a:t>
            </a:r>
            <a:r>
              <a:rPr sz="1400">
                <a:latin typeface="Verdana"/>
                <a:cs typeface="Verdana"/>
              </a:rPr>
              <a:t>- </a:t>
            </a:r>
            <a:r>
              <a:rPr sz="1400" spc="-5">
                <a:latin typeface="Verdana"/>
                <a:cs typeface="Verdana"/>
              </a:rPr>
              <a:t>Registration </a:t>
            </a:r>
            <a:r>
              <a:rPr sz="1400">
                <a:latin typeface="Verdana"/>
                <a:cs typeface="Verdana"/>
              </a:rPr>
              <a:t>Number</a:t>
            </a:r>
            <a:r>
              <a:rPr sz="1400" spc="-50">
                <a:latin typeface="Verdana"/>
                <a:cs typeface="Verdana"/>
              </a:rPr>
              <a:t> </a:t>
            </a:r>
            <a:r>
              <a:rPr sz="1400" spc="-5">
                <a:latin typeface="Verdana"/>
                <a:cs typeface="Verdana"/>
              </a:rPr>
              <a:t>0100-01-178910:</a:t>
            </a:r>
            <a:endParaRPr sz="1400">
              <a:latin typeface="Verdana"/>
              <a:cs typeface="Verdana"/>
            </a:endParaRPr>
          </a:p>
          <a:p>
            <a:pPr>
              <a:lnSpc>
                <a:spcPct val="100000"/>
              </a:lnSpc>
              <a:spcBef>
                <a:spcPts val="30"/>
              </a:spcBef>
            </a:pPr>
            <a:endParaRPr sz="2300">
              <a:latin typeface="Times New Roman"/>
              <a:cs typeface="Times New Roman"/>
            </a:endParaRPr>
          </a:p>
          <a:p>
            <a:pPr marL="12700" marR="8890">
              <a:lnSpc>
                <a:spcPct val="100000"/>
              </a:lnSpc>
            </a:pPr>
            <a:r>
              <a:rPr sz="1400" spc="-5">
                <a:latin typeface="Verdana"/>
                <a:cs typeface="Verdana"/>
              </a:rPr>
              <a:t>The </a:t>
            </a:r>
            <a:r>
              <a:rPr sz="1400">
                <a:latin typeface="Verdana"/>
                <a:cs typeface="Verdana"/>
              </a:rPr>
              <a:t>information contained herein is considered proprietary and confidential</a:t>
            </a:r>
            <a:r>
              <a:rPr sz="1400" spc="-160">
                <a:latin typeface="Verdana"/>
                <a:cs typeface="Verdana"/>
              </a:rPr>
              <a:t> </a:t>
            </a:r>
            <a:r>
              <a:rPr sz="1400">
                <a:latin typeface="Verdana"/>
                <a:cs typeface="Verdana"/>
              </a:rPr>
              <a:t>information  of Capgemini Italia </a:t>
            </a:r>
            <a:r>
              <a:rPr sz="1400" spc="-5">
                <a:latin typeface="Verdana"/>
                <a:cs typeface="Verdana"/>
              </a:rPr>
              <a:t>S.p.A. </a:t>
            </a:r>
            <a:r>
              <a:rPr sz="1400">
                <a:latin typeface="Verdana"/>
                <a:cs typeface="Verdana"/>
              </a:rPr>
              <a:t>(“Capgemini”), and its release would offer substantial  benefit to competitors offering </a:t>
            </a:r>
            <a:r>
              <a:rPr sz="1400" spc="5">
                <a:latin typeface="Verdana"/>
                <a:cs typeface="Verdana"/>
              </a:rPr>
              <a:t>similar </a:t>
            </a:r>
            <a:r>
              <a:rPr sz="1400">
                <a:latin typeface="Verdana"/>
                <a:cs typeface="Verdana"/>
              </a:rPr>
              <a:t>services. This material includes customer logos,  descriptions of methodologies and concepts derived </a:t>
            </a:r>
            <a:r>
              <a:rPr sz="1400" spc="-5">
                <a:latin typeface="Verdana"/>
                <a:cs typeface="Verdana"/>
              </a:rPr>
              <a:t>through </a:t>
            </a:r>
            <a:r>
              <a:rPr sz="1400">
                <a:latin typeface="Verdana"/>
                <a:cs typeface="Verdana"/>
              </a:rPr>
              <a:t>substantial research and  development efforts undertaken </a:t>
            </a:r>
            <a:r>
              <a:rPr sz="1400" spc="-5">
                <a:latin typeface="Verdana"/>
                <a:cs typeface="Verdana"/>
              </a:rPr>
              <a:t>by </a:t>
            </a:r>
            <a:r>
              <a:rPr sz="1400">
                <a:latin typeface="Verdana"/>
                <a:cs typeface="Verdana"/>
              </a:rPr>
              <a:t>Capgemini. Therefore, </a:t>
            </a:r>
            <a:r>
              <a:rPr sz="1400" spc="-5">
                <a:latin typeface="Verdana"/>
                <a:cs typeface="Verdana"/>
              </a:rPr>
              <a:t>the </a:t>
            </a:r>
            <a:r>
              <a:rPr sz="1400">
                <a:latin typeface="Verdana"/>
                <a:cs typeface="Verdana"/>
              </a:rPr>
              <a:t>use or release of </a:t>
            </a:r>
            <a:r>
              <a:rPr sz="1400" spc="-5">
                <a:latin typeface="Verdana"/>
                <a:cs typeface="Verdana"/>
              </a:rPr>
              <a:t>the  </a:t>
            </a:r>
            <a:r>
              <a:rPr sz="1400">
                <a:latin typeface="Verdana"/>
                <a:cs typeface="Verdana"/>
              </a:rPr>
              <a:t>information contained in this </a:t>
            </a:r>
            <a:r>
              <a:rPr sz="1400" spc="-5">
                <a:latin typeface="Verdana"/>
                <a:cs typeface="Verdana"/>
              </a:rPr>
              <a:t>document </a:t>
            </a:r>
            <a:r>
              <a:rPr sz="1400">
                <a:latin typeface="Verdana"/>
                <a:cs typeface="Verdana"/>
              </a:rPr>
              <a:t>for </a:t>
            </a:r>
            <a:r>
              <a:rPr sz="1400" spc="-5">
                <a:latin typeface="Verdana"/>
                <a:cs typeface="Verdana"/>
              </a:rPr>
              <a:t>purposes </a:t>
            </a:r>
            <a:r>
              <a:rPr sz="1400">
                <a:latin typeface="Verdana"/>
                <a:cs typeface="Verdana"/>
              </a:rPr>
              <a:t>other </a:t>
            </a:r>
            <a:r>
              <a:rPr sz="1400" spc="-5">
                <a:latin typeface="Verdana"/>
                <a:cs typeface="Verdana"/>
              </a:rPr>
              <a:t>than </a:t>
            </a:r>
            <a:r>
              <a:rPr sz="1400">
                <a:latin typeface="Verdana"/>
                <a:cs typeface="Verdana"/>
              </a:rPr>
              <a:t>an evaluation of </a:t>
            </a:r>
            <a:r>
              <a:rPr sz="1400" spc="-5">
                <a:latin typeface="Verdana"/>
                <a:cs typeface="Verdana"/>
              </a:rPr>
              <a:t>its  </a:t>
            </a:r>
            <a:r>
              <a:rPr sz="1400">
                <a:latin typeface="Verdana"/>
                <a:cs typeface="Verdana"/>
              </a:rPr>
              <a:t>contents as a basis for </a:t>
            </a:r>
            <a:r>
              <a:rPr sz="1400" spc="-5">
                <a:latin typeface="Verdana"/>
                <a:cs typeface="Verdana"/>
              </a:rPr>
              <a:t>contract award </a:t>
            </a:r>
            <a:r>
              <a:rPr sz="1400">
                <a:latin typeface="Verdana"/>
                <a:cs typeface="Verdana"/>
              </a:rPr>
              <a:t>is prohibited, and it is </a:t>
            </a:r>
            <a:r>
              <a:rPr sz="1400" spc="-5">
                <a:latin typeface="Verdana"/>
                <a:cs typeface="Verdana"/>
              </a:rPr>
              <a:t>the </a:t>
            </a:r>
            <a:r>
              <a:rPr sz="1400">
                <a:latin typeface="Verdana"/>
                <a:cs typeface="Verdana"/>
              </a:rPr>
              <a:t>position of Capgemini  </a:t>
            </a:r>
            <a:r>
              <a:rPr sz="1400" spc="-5">
                <a:latin typeface="Verdana"/>
                <a:cs typeface="Verdana"/>
              </a:rPr>
              <a:t>that the </a:t>
            </a:r>
            <a:r>
              <a:rPr sz="1400">
                <a:latin typeface="Verdana"/>
                <a:cs typeface="Verdana"/>
              </a:rPr>
              <a:t>materials herein are not considered subject </a:t>
            </a:r>
            <a:r>
              <a:rPr sz="1400" spc="-5">
                <a:latin typeface="Verdana"/>
                <a:cs typeface="Verdana"/>
              </a:rPr>
              <a:t>to </a:t>
            </a:r>
            <a:r>
              <a:rPr sz="1400">
                <a:latin typeface="Verdana"/>
                <a:cs typeface="Verdana"/>
              </a:rPr>
              <a:t>release under </a:t>
            </a:r>
            <a:r>
              <a:rPr sz="1400" spc="-5">
                <a:latin typeface="Verdana"/>
                <a:cs typeface="Verdana"/>
              </a:rPr>
              <a:t>the </a:t>
            </a:r>
            <a:r>
              <a:rPr sz="1400">
                <a:latin typeface="Verdana"/>
                <a:cs typeface="Verdana"/>
              </a:rPr>
              <a:t>Right </a:t>
            </a:r>
            <a:r>
              <a:rPr sz="1400" spc="-5">
                <a:latin typeface="Verdana"/>
                <a:cs typeface="Verdana"/>
              </a:rPr>
              <a:t>to  </a:t>
            </a:r>
            <a:r>
              <a:rPr sz="1400">
                <a:latin typeface="Verdana"/>
                <a:cs typeface="Verdana"/>
              </a:rPr>
              <a:t>Information Act, if</a:t>
            </a:r>
            <a:r>
              <a:rPr sz="1400" spc="-75">
                <a:latin typeface="Verdana"/>
                <a:cs typeface="Verdana"/>
              </a:rPr>
              <a:t> </a:t>
            </a:r>
            <a:r>
              <a:rPr sz="1400">
                <a:latin typeface="Verdana"/>
                <a:cs typeface="Verdana"/>
              </a:rPr>
              <a:t>applicable</a:t>
            </a:r>
          </a:p>
          <a:p>
            <a:pPr marL="12700" marR="60325">
              <a:lnSpc>
                <a:spcPct val="100000"/>
              </a:lnSpc>
              <a:spcBef>
                <a:spcPts val="509"/>
              </a:spcBef>
            </a:pPr>
            <a:r>
              <a:rPr sz="1400">
                <a:latin typeface="Verdana"/>
                <a:cs typeface="Verdana"/>
              </a:rPr>
              <a:t>No </a:t>
            </a:r>
            <a:r>
              <a:rPr sz="1400" spc="-5">
                <a:latin typeface="Verdana"/>
                <a:cs typeface="Verdana"/>
              </a:rPr>
              <a:t>part </a:t>
            </a:r>
            <a:r>
              <a:rPr sz="1400">
                <a:latin typeface="Verdana"/>
                <a:cs typeface="Verdana"/>
              </a:rPr>
              <a:t>of this </a:t>
            </a:r>
            <a:r>
              <a:rPr sz="1400" spc="-5">
                <a:latin typeface="Verdana"/>
                <a:cs typeface="Verdana"/>
              </a:rPr>
              <a:t>document may be </a:t>
            </a:r>
            <a:r>
              <a:rPr sz="1400">
                <a:latin typeface="Verdana"/>
                <a:cs typeface="Verdana"/>
              </a:rPr>
              <a:t>reproduced </a:t>
            </a:r>
            <a:r>
              <a:rPr sz="1400" spc="-5">
                <a:latin typeface="Verdana"/>
                <a:cs typeface="Verdana"/>
              </a:rPr>
              <a:t>by any </a:t>
            </a:r>
            <a:r>
              <a:rPr sz="1400">
                <a:latin typeface="Verdana"/>
                <a:cs typeface="Verdana"/>
              </a:rPr>
              <a:t>means or </a:t>
            </a:r>
            <a:r>
              <a:rPr sz="1400" spc="-5">
                <a:latin typeface="Verdana"/>
                <a:cs typeface="Verdana"/>
              </a:rPr>
              <a:t>transmitted </a:t>
            </a:r>
            <a:r>
              <a:rPr sz="1400">
                <a:latin typeface="Verdana"/>
                <a:cs typeface="Verdana"/>
              </a:rPr>
              <a:t>without </a:t>
            </a:r>
            <a:r>
              <a:rPr sz="1400" spc="-5">
                <a:latin typeface="Verdana"/>
                <a:cs typeface="Verdana"/>
              </a:rPr>
              <a:t>the  </a:t>
            </a:r>
            <a:r>
              <a:rPr sz="1400">
                <a:latin typeface="Verdana"/>
                <a:cs typeface="Verdana"/>
              </a:rPr>
              <a:t>prior written permission of Capgemini </a:t>
            </a:r>
            <a:r>
              <a:rPr sz="1400" spc="-5">
                <a:latin typeface="Verdana"/>
                <a:cs typeface="Verdana"/>
              </a:rPr>
              <a:t>except </a:t>
            </a:r>
            <a:r>
              <a:rPr sz="1400">
                <a:latin typeface="Verdana"/>
                <a:cs typeface="Verdana"/>
              </a:rPr>
              <a:t>with respect </a:t>
            </a:r>
            <a:r>
              <a:rPr sz="1400" spc="-5">
                <a:latin typeface="Verdana"/>
                <a:cs typeface="Verdana"/>
              </a:rPr>
              <a:t>to </a:t>
            </a:r>
            <a:r>
              <a:rPr sz="1400">
                <a:latin typeface="Verdana"/>
                <a:cs typeface="Verdana"/>
              </a:rPr>
              <a:t>copies made or  </a:t>
            </a:r>
            <a:r>
              <a:rPr sz="1400" spc="-5">
                <a:latin typeface="Verdana"/>
                <a:cs typeface="Verdana"/>
              </a:rPr>
              <a:t>transmitted </a:t>
            </a:r>
            <a:r>
              <a:rPr sz="1400">
                <a:latin typeface="Verdana"/>
                <a:cs typeface="Verdana"/>
              </a:rPr>
              <a:t>internally </a:t>
            </a:r>
            <a:r>
              <a:rPr sz="1400" spc="-5">
                <a:latin typeface="Verdana"/>
                <a:cs typeface="Verdana"/>
              </a:rPr>
              <a:t>by you </a:t>
            </a:r>
            <a:r>
              <a:rPr sz="1400">
                <a:latin typeface="Verdana"/>
                <a:cs typeface="Verdana"/>
              </a:rPr>
              <a:t>for </a:t>
            </a:r>
            <a:r>
              <a:rPr sz="1400" spc="-5">
                <a:latin typeface="Verdana"/>
                <a:cs typeface="Verdana"/>
              </a:rPr>
              <a:t>the purpose </a:t>
            </a:r>
            <a:r>
              <a:rPr sz="1400">
                <a:latin typeface="Verdana"/>
                <a:cs typeface="Verdana"/>
              </a:rPr>
              <a:t>of evaluating this </a:t>
            </a:r>
            <a:r>
              <a:rPr sz="1400" spc="-5">
                <a:latin typeface="Verdana"/>
                <a:cs typeface="Verdana"/>
              </a:rPr>
              <a:t>document. </a:t>
            </a:r>
            <a:r>
              <a:rPr sz="1400" spc="5">
                <a:latin typeface="Verdana"/>
                <a:cs typeface="Verdana"/>
              </a:rPr>
              <a:t>All </a:t>
            </a:r>
            <a:r>
              <a:rPr sz="1400">
                <a:latin typeface="Verdana"/>
                <a:cs typeface="Verdana"/>
              </a:rPr>
              <a:t>copies of  this </a:t>
            </a:r>
            <a:r>
              <a:rPr sz="1400" spc="-5">
                <a:latin typeface="Verdana"/>
                <a:cs typeface="Verdana"/>
              </a:rPr>
              <a:t>document (or </a:t>
            </a:r>
            <a:r>
              <a:rPr sz="1400" spc="-10">
                <a:latin typeface="Verdana"/>
                <a:cs typeface="Verdana"/>
              </a:rPr>
              <a:t>any </a:t>
            </a:r>
            <a:r>
              <a:rPr sz="1400">
                <a:latin typeface="Verdana"/>
                <a:cs typeface="Verdana"/>
              </a:rPr>
              <a:t>portion </a:t>
            </a:r>
            <a:r>
              <a:rPr sz="1400" spc="10">
                <a:latin typeface="Verdana"/>
                <a:cs typeface="Verdana"/>
              </a:rPr>
              <a:t>hereof) </a:t>
            </a:r>
            <a:r>
              <a:rPr sz="1400">
                <a:latin typeface="Verdana"/>
                <a:cs typeface="Verdana"/>
              </a:rPr>
              <a:t>and </a:t>
            </a:r>
            <a:r>
              <a:rPr sz="1400" spc="-5">
                <a:latin typeface="Verdana"/>
                <a:cs typeface="Verdana"/>
              </a:rPr>
              <a:t>any </a:t>
            </a:r>
            <a:r>
              <a:rPr sz="1400">
                <a:latin typeface="Verdana"/>
                <a:cs typeface="Verdana"/>
              </a:rPr>
              <a:t>accompanying electronic copies should  </a:t>
            </a:r>
            <a:r>
              <a:rPr sz="1400" spc="-5">
                <a:latin typeface="Verdana"/>
                <a:cs typeface="Verdana"/>
              </a:rPr>
              <a:t>be </a:t>
            </a:r>
            <a:r>
              <a:rPr sz="1400">
                <a:latin typeface="Verdana"/>
                <a:cs typeface="Verdana"/>
              </a:rPr>
              <a:t>returned </a:t>
            </a:r>
            <a:r>
              <a:rPr sz="1400" spc="-5">
                <a:latin typeface="Verdana"/>
                <a:cs typeface="Verdana"/>
              </a:rPr>
              <a:t>to </a:t>
            </a:r>
            <a:r>
              <a:rPr sz="1400">
                <a:latin typeface="Verdana"/>
                <a:cs typeface="Verdana"/>
              </a:rPr>
              <a:t>Capgemini </a:t>
            </a:r>
            <a:r>
              <a:rPr sz="1400" spc="-65">
                <a:latin typeface="Verdana"/>
                <a:cs typeface="Verdana"/>
              </a:rPr>
              <a:t>or, </a:t>
            </a:r>
            <a:r>
              <a:rPr sz="1400">
                <a:latin typeface="Verdana"/>
                <a:cs typeface="Verdana"/>
              </a:rPr>
              <a:t>at </a:t>
            </a:r>
            <a:r>
              <a:rPr sz="1400" spc="-5">
                <a:latin typeface="Verdana"/>
                <a:cs typeface="Verdana"/>
              </a:rPr>
              <a:t>Capgemini’s </a:t>
            </a:r>
            <a:r>
              <a:rPr sz="1400">
                <a:latin typeface="Verdana"/>
                <a:cs typeface="Verdana"/>
              </a:rPr>
              <a:t>option, </a:t>
            </a:r>
            <a:r>
              <a:rPr sz="1400" spc="-5">
                <a:latin typeface="Verdana"/>
                <a:cs typeface="Verdana"/>
              </a:rPr>
              <a:t>destroyed </a:t>
            </a:r>
            <a:r>
              <a:rPr sz="1400">
                <a:latin typeface="Verdana"/>
                <a:cs typeface="Verdana"/>
              </a:rPr>
              <a:t>at </a:t>
            </a:r>
            <a:r>
              <a:rPr sz="1400" spc="-5">
                <a:latin typeface="Verdana"/>
                <a:cs typeface="Verdana"/>
              </a:rPr>
              <a:t>the </a:t>
            </a:r>
            <a:r>
              <a:rPr sz="1400">
                <a:latin typeface="Verdana"/>
                <a:cs typeface="Verdana"/>
              </a:rPr>
              <a:t>end of </a:t>
            </a:r>
            <a:r>
              <a:rPr sz="1400" spc="-5">
                <a:latin typeface="Verdana"/>
                <a:cs typeface="Verdana"/>
              </a:rPr>
              <a:t>the  proposal evaluation </a:t>
            </a:r>
            <a:r>
              <a:rPr sz="1400">
                <a:latin typeface="Verdana"/>
                <a:cs typeface="Verdana"/>
              </a:rPr>
              <a:t>period if Capgemini </a:t>
            </a:r>
            <a:r>
              <a:rPr sz="1400" spc="5">
                <a:latin typeface="Verdana"/>
                <a:cs typeface="Verdana"/>
              </a:rPr>
              <a:t>is </a:t>
            </a:r>
            <a:r>
              <a:rPr sz="1400">
                <a:latin typeface="Verdana"/>
                <a:cs typeface="Verdana"/>
              </a:rPr>
              <a:t>not</a:t>
            </a:r>
            <a:r>
              <a:rPr sz="1400" spc="-185">
                <a:latin typeface="Verdana"/>
                <a:cs typeface="Verdana"/>
              </a:rPr>
              <a:t> </a:t>
            </a:r>
            <a:r>
              <a:rPr sz="1400">
                <a:latin typeface="Verdana"/>
                <a:cs typeface="Verdana"/>
              </a:rPr>
              <a:t>selected</a:t>
            </a:r>
          </a:p>
          <a:p>
            <a:pPr marL="12700" marR="66675">
              <a:lnSpc>
                <a:spcPct val="100000"/>
              </a:lnSpc>
              <a:spcBef>
                <a:spcPts val="490"/>
              </a:spcBef>
            </a:pPr>
            <a:r>
              <a:rPr sz="1400">
                <a:latin typeface="Verdana"/>
                <a:cs typeface="Verdana"/>
              </a:rPr>
              <a:t>Neither submission </a:t>
            </a:r>
            <a:r>
              <a:rPr sz="1400" spc="-5">
                <a:latin typeface="Verdana"/>
                <a:cs typeface="Verdana"/>
              </a:rPr>
              <a:t>by </a:t>
            </a:r>
            <a:r>
              <a:rPr sz="1400">
                <a:latin typeface="Verdana"/>
                <a:cs typeface="Verdana"/>
              </a:rPr>
              <a:t>Capgemini nor </a:t>
            </a:r>
            <a:r>
              <a:rPr sz="1400" spc="-5">
                <a:latin typeface="Verdana"/>
                <a:cs typeface="Verdana"/>
              </a:rPr>
              <a:t>your </a:t>
            </a:r>
            <a:r>
              <a:rPr sz="1400">
                <a:latin typeface="Verdana"/>
                <a:cs typeface="Verdana"/>
              </a:rPr>
              <a:t>acceptance of this </a:t>
            </a:r>
            <a:r>
              <a:rPr sz="1400" spc="-5">
                <a:latin typeface="Verdana"/>
                <a:cs typeface="Verdana"/>
              </a:rPr>
              <a:t>document, </a:t>
            </a:r>
            <a:r>
              <a:rPr sz="1400">
                <a:latin typeface="Verdana"/>
                <a:cs typeface="Verdana"/>
              </a:rPr>
              <a:t>in whole or</a:t>
            </a:r>
            <a:r>
              <a:rPr sz="1400" spc="-180">
                <a:latin typeface="Verdana"/>
                <a:cs typeface="Verdana"/>
              </a:rPr>
              <a:t> </a:t>
            </a:r>
            <a:r>
              <a:rPr sz="1400">
                <a:latin typeface="Verdana"/>
                <a:cs typeface="Verdana"/>
              </a:rPr>
              <a:t>in  </a:t>
            </a:r>
            <a:r>
              <a:rPr sz="1400" spc="-5">
                <a:latin typeface="Verdana"/>
                <a:cs typeface="Verdana"/>
              </a:rPr>
              <a:t>part, </a:t>
            </a:r>
            <a:r>
              <a:rPr sz="1400">
                <a:latin typeface="Verdana"/>
                <a:cs typeface="Verdana"/>
              </a:rPr>
              <a:t>constitutes acceptance </a:t>
            </a:r>
            <a:r>
              <a:rPr sz="1400" spc="-5">
                <a:latin typeface="Verdana"/>
                <a:cs typeface="Verdana"/>
              </a:rPr>
              <a:t>by </a:t>
            </a:r>
            <a:r>
              <a:rPr sz="1400">
                <a:latin typeface="Verdana"/>
                <a:cs typeface="Verdana"/>
              </a:rPr>
              <a:t>Capgemini of </a:t>
            </a:r>
            <a:r>
              <a:rPr sz="1400" spc="-5">
                <a:latin typeface="Verdana"/>
                <a:cs typeface="Verdana"/>
              </a:rPr>
              <a:t>any contractual terms </a:t>
            </a:r>
            <a:r>
              <a:rPr sz="1400">
                <a:latin typeface="Verdana"/>
                <a:cs typeface="Verdana"/>
              </a:rPr>
              <a:t>contained in </a:t>
            </a:r>
            <a:r>
              <a:rPr sz="1400" spc="-5">
                <a:latin typeface="Verdana"/>
                <a:cs typeface="Verdana"/>
              </a:rPr>
              <a:t>your  Request, </a:t>
            </a:r>
            <a:r>
              <a:rPr sz="1400">
                <a:latin typeface="Verdana"/>
                <a:cs typeface="Verdana"/>
              </a:rPr>
              <a:t>if </a:t>
            </a:r>
            <a:r>
              <a:rPr sz="1400" spc="-40">
                <a:latin typeface="Verdana"/>
                <a:cs typeface="Verdana"/>
              </a:rPr>
              <a:t>any, </a:t>
            </a:r>
            <a:r>
              <a:rPr sz="1400">
                <a:latin typeface="Verdana"/>
                <a:cs typeface="Verdana"/>
              </a:rPr>
              <a:t>and shall not form a binding agreement between </a:t>
            </a:r>
            <a:r>
              <a:rPr sz="1400" spc="-5">
                <a:latin typeface="Verdana"/>
                <a:cs typeface="Verdana"/>
              </a:rPr>
              <a:t>the</a:t>
            </a:r>
            <a:r>
              <a:rPr sz="1400" spc="-130">
                <a:latin typeface="Verdana"/>
                <a:cs typeface="Verdana"/>
              </a:rPr>
              <a:t> </a:t>
            </a:r>
            <a:r>
              <a:rPr sz="1400" spc="-5">
                <a:latin typeface="Verdana"/>
                <a:cs typeface="Verdana"/>
              </a:rPr>
              <a:t>parties</a:t>
            </a:r>
            <a:endParaRPr sz="1400">
              <a:latin typeface="Verdana"/>
              <a:cs typeface="Verdana"/>
            </a:endParaRPr>
          </a:p>
          <a:p>
            <a:pPr marL="12700" marR="208915">
              <a:lnSpc>
                <a:spcPct val="100000"/>
              </a:lnSpc>
              <a:spcBef>
                <a:spcPts val="505"/>
              </a:spcBef>
            </a:pPr>
            <a:r>
              <a:rPr sz="1400" spc="-5">
                <a:latin typeface="Verdana"/>
                <a:cs typeface="Verdana"/>
              </a:rPr>
              <a:t>The term </a:t>
            </a:r>
            <a:r>
              <a:rPr sz="1400">
                <a:latin typeface="Verdana"/>
                <a:cs typeface="Verdana"/>
              </a:rPr>
              <a:t>"Capgemini" appearing elsewhere in this </a:t>
            </a:r>
            <a:r>
              <a:rPr sz="1400" spc="-5">
                <a:latin typeface="Verdana"/>
                <a:cs typeface="Verdana"/>
              </a:rPr>
              <a:t>document may </a:t>
            </a:r>
            <a:r>
              <a:rPr sz="1400">
                <a:latin typeface="Verdana"/>
                <a:cs typeface="Verdana"/>
              </a:rPr>
              <a:t>refer </a:t>
            </a:r>
            <a:r>
              <a:rPr sz="1400" spc="-5">
                <a:latin typeface="Verdana"/>
                <a:cs typeface="Verdana"/>
              </a:rPr>
              <a:t>to </a:t>
            </a:r>
            <a:r>
              <a:rPr sz="1400">
                <a:latin typeface="Verdana"/>
                <a:cs typeface="Verdana"/>
              </a:rPr>
              <a:t>Capgemini  Italia </a:t>
            </a:r>
            <a:r>
              <a:rPr sz="1400" spc="-5">
                <a:latin typeface="Verdana"/>
                <a:cs typeface="Verdana"/>
              </a:rPr>
              <a:t>S.p.A, </a:t>
            </a:r>
            <a:r>
              <a:rPr sz="1400">
                <a:latin typeface="Verdana"/>
                <a:cs typeface="Verdana"/>
              </a:rPr>
              <a:t>or </a:t>
            </a:r>
            <a:r>
              <a:rPr sz="1400" spc="-5">
                <a:latin typeface="Verdana"/>
                <a:cs typeface="Verdana"/>
              </a:rPr>
              <a:t>to </a:t>
            </a:r>
            <a:r>
              <a:rPr sz="1400">
                <a:latin typeface="Verdana"/>
                <a:cs typeface="Verdana"/>
              </a:rPr>
              <a:t>one or more of its global </a:t>
            </a:r>
            <a:r>
              <a:rPr sz="1400" spc="-5">
                <a:latin typeface="Verdana"/>
                <a:cs typeface="Verdana"/>
              </a:rPr>
              <a:t>affiliates. </a:t>
            </a:r>
            <a:r>
              <a:rPr sz="1400" spc="-25">
                <a:latin typeface="Verdana"/>
                <a:cs typeface="Verdana"/>
              </a:rPr>
              <a:t>However, </a:t>
            </a:r>
            <a:r>
              <a:rPr sz="1400">
                <a:latin typeface="Verdana"/>
                <a:cs typeface="Verdana"/>
              </a:rPr>
              <a:t>this </a:t>
            </a:r>
            <a:r>
              <a:rPr sz="1400" spc="-5">
                <a:latin typeface="Verdana"/>
                <a:cs typeface="Verdana"/>
              </a:rPr>
              <a:t>proposal </a:t>
            </a:r>
            <a:r>
              <a:rPr sz="1400">
                <a:latin typeface="Verdana"/>
                <a:cs typeface="Verdana"/>
              </a:rPr>
              <a:t>is being  submitted only by Capgemini Italia </a:t>
            </a:r>
            <a:r>
              <a:rPr sz="1400" spc="-15">
                <a:latin typeface="Verdana"/>
                <a:cs typeface="Verdana"/>
              </a:rPr>
              <a:t>S.p.A., </a:t>
            </a:r>
            <a:r>
              <a:rPr sz="1400">
                <a:latin typeface="Verdana"/>
                <a:cs typeface="Verdana"/>
              </a:rPr>
              <a:t>which </a:t>
            </a:r>
            <a:r>
              <a:rPr sz="1400" spc="5">
                <a:latin typeface="Verdana"/>
                <a:cs typeface="Verdana"/>
              </a:rPr>
              <a:t>is solely </a:t>
            </a:r>
            <a:r>
              <a:rPr sz="1400">
                <a:latin typeface="Verdana"/>
                <a:cs typeface="Verdana"/>
              </a:rPr>
              <a:t>responsible for its</a:t>
            </a:r>
            <a:r>
              <a:rPr sz="1400" spc="-290">
                <a:latin typeface="Verdana"/>
                <a:cs typeface="Verdana"/>
              </a:rPr>
              <a:t> </a:t>
            </a:r>
            <a:r>
              <a:rPr sz="1400">
                <a:latin typeface="Verdana"/>
                <a:cs typeface="Verdana"/>
              </a:rPr>
              <a:t>contents</a:t>
            </a:r>
          </a:p>
          <a:p>
            <a:pPr marL="5565140">
              <a:lnSpc>
                <a:spcPct val="100000"/>
              </a:lnSpc>
              <a:spcBef>
                <a:spcPts val="505"/>
              </a:spcBef>
            </a:pPr>
            <a:r>
              <a:rPr sz="1400" b="1" i="1">
                <a:latin typeface="Verdana"/>
                <a:cs typeface="Verdana"/>
              </a:rPr>
              <a:t>Capgemini Italia</a:t>
            </a:r>
            <a:r>
              <a:rPr sz="1400" b="1" i="1" spc="-125">
                <a:latin typeface="Verdana"/>
                <a:cs typeface="Verdana"/>
              </a:rPr>
              <a:t> </a:t>
            </a:r>
            <a:r>
              <a:rPr sz="1400" b="1" i="1" spc="-5">
                <a:latin typeface="Verdana"/>
                <a:cs typeface="Verdana"/>
              </a:rPr>
              <a:t>S.p.A.</a:t>
            </a:r>
            <a:endParaRPr sz="1400">
              <a:latin typeface="Verdana"/>
              <a:cs typeface="Verdana"/>
            </a:endParaRPr>
          </a:p>
        </p:txBody>
      </p:sp>
      <p:sp>
        <p:nvSpPr>
          <p:cNvPr id="7" name="object 7"/>
          <p:cNvSpPr/>
          <p:nvPr/>
        </p:nvSpPr>
        <p:spPr>
          <a:xfrm>
            <a:off x="0" y="2942844"/>
            <a:ext cx="1463040" cy="2792186"/>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0" y="2890120"/>
            <a:ext cx="2574734" cy="3201461"/>
          </a:xfrm>
          <a:prstGeom prst="rect">
            <a:avLst/>
          </a:prstGeom>
          <a:blipFill>
            <a:blip r:embed="rId4" cstate="print"/>
            <a:stretch>
              <a:fillRect/>
            </a:stretch>
          </a:blipFill>
        </p:spPr>
        <p:txBody>
          <a:bodyPr wrap="square" lIns="0" tIns="0" rIns="0" bIns="0" rtlCol="0"/>
          <a:lstStyle/>
          <a:p>
            <a:endParaRPr/>
          </a:p>
        </p:txBody>
      </p:sp>
      <p:sp>
        <p:nvSpPr>
          <p:cNvPr id="9" name="object 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0" name="object 10"/>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3</a:t>
            </a:fld>
            <a:endParaRPr sz="800">
              <a:latin typeface="Verdana"/>
              <a:cs typeface="Verdana"/>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28778" y="1363980"/>
            <a:ext cx="2396490" cy="4794250"/>
          </a:xfrm>
          <a:custGeom>
            <a:avLst/>
            <a:gdLst/>
            <a:ahLst/>
            <a:cxnLst/>
            <a:rect l="l" t="t" r="r" b="b"/>
            <a:pathLst>
              <a:path w="2396490" h="4794250">
                <a:moveTo>
                  <a:pt x="0" y="0"/>
                </a:moveTo>
                <a:lnTo>
                  <a:pt x="48310" y="477"/>
                </a:lnTo>
                <a:lnTo>
                  <a:pt x="96389" y="1903"/>
                </a:lnTo>
                <a:lnTo>
                  <a:pt x="144225" y="4269"/>
                </a:lnTo>
                <a:lnTo>
                  <a:pt x="191811" y="7566"/>
                </a:lnTo>
                <a:lnTo>
                  <a:pt x="239138" y="11784"/>
                </a:lnTo>
                <a:lnTo>
                  <a:pt x="286196" y="16916"/>
                </a:lnTo>
                <a:lnTo>
                  <a:pt x="332976" y="22952"/>
                </a:lnTo>
                <a:lnTo>
                  <a:pt x="379471" y="29882"/>
                </a:lnTo>
                <a:lnTo>
                  <a:pt x="425670" y="37699"/>
                </a:lnTo>
                <a:lnTo>
                  <a:pt x="471565" y="46393"/>
                </a:lnTo>
                <a:lnTo>
                  <a:pt x="517146" y="55955"/>
                </a:lnTo>
                <a:lnTo>
                  <a:pt x="562406" y="66377"/>
                </a:lnTo>
                <a:lnTo>
                  <a:pt x="607335" y="77649"/>
                </a:lnTo>
                <a:lnTo>
                  <a:pt x="651923" y="89762"/>
                </a:lnTo>
                <a:lnTo>
                  <a:pt x="696163" y="102707"/>
                </a:lnTo>
                <a:lnTo>
                  <a:pt x="740044" y="116476"/>
                </a:lnTo>
                <a:lnTo>
                  <a:pt x="783559" y="131059"/>
                </a:lnTo>
                <a:lnTo>
                  <a:pt x="826698" y="146448"/>
                </a:lnTo>
                <a:lnTo>
                  <a:pt x="869452" y="162634"/>
                </a:lnTo>
                <a:lnTo>
                  <a:pt x="911812" y="179607"/>
                </a:lnTo>
                <a:lnTo>
                  <a:pt x="953770" y="197359"/>
                </a:lnTo>
                <a:lnTo>
                  <a:pt x="995317" y="215880"/>
                </a:lnTo>
                <a:lnTo>
                  <a:pt x="1036442" y="235163"/>
                </a:lnTo>
                <a:lnTo>
                  <a:pt x="1077138" y="255197"/>
                </a:lnTo>
                <a:lnTo>
                  <a:pt x="1117396" y="275974"/>
                </a:lnTo>
                <a:lnTo>
                  <a:pt x="1157207" y="297485"/>
                </a:lnTo>
                <a:lnTo>
                  <a:pt x="1196561" y="319721"/>
                </a:lnTo>
                <a:lnTo>
                  <a:pt x="1235449" y="342673"/>
                </a:lnTo>
                <a:lnTo>
                  <a:pt x="1273864" y="366332"/>
                </a:lnTo>
                <a:lnTo>
                  <a:pt x="1311795" y="390689"/>
                </a:lnTo>
                <a:lnTo>
                  <a:pt x="1349235" y="415736"/>
                </a:lnTo>
                <a:lnTo>
                  <a:pt x="1386173" y="441462"/>
                </a:lnTo>
                <a:lnTo>
                  <a:pt x="1422601" y="467860"/>
                </a:lnTo>
                <a:lnTo>
                  <a:pt x="1458510" y="494920"/>
                </a:lnTo>
                <a:lnTo>
                  <a:pt x="1493892" y="522634"/>
                </a:lnTo>
                <a:lnTo>
                  <a:pt x="1528736" y="550992"/>
                </a:lnTo>
                <a:lnTo>
                  <a:pt x="1563035" y="579985"/>
                </a:lnTo>
                <a:lnTo>
                  <a:pt x="1596779" y="609605"/>
                </a:lnTo>
                <a:lnTo>
                  <a:pt x="1629959" y="639843"/>
                </a:lnTo>
                <a:lnTo>
                  <a:pt x="1662566" y="670689"/>
                </a:lnTo>
                <a:lnTo>
                  <a:pt x="1694592" y="702135"/>
                </a:lnTo>
                <a:lnTo>
                  <a:pt x="1726028" y="734171"/>
                </a:lnTo>
                <a:lnTo>
                  <a:pt x="1756864" y="766790"/>
                </a:lnTo>
                <a:lnTo>
                  <a:pt x="1787091" y="799981"/>
                </a:lnTo>
                <a:lnTo>
                  <a:pt x="1816701" y="833736"/>
                </a:lnTo>
                <a:lnTo>
                  <a:pt x="1845685" y="868045"/>
                </a:lnTo>
                <a:lnTo>
                  <a:pt x="1874034" y="902901"/>
                </a:lnTo>
                <a:lnTo>
                  <a:pt x="1901738" y="938294"/>
                </a:lnTo>
                <a:lnTo>
                  <a:pt x="1928789" y="974215"/>
                </a:lnTo>
                <a:lnTo>
                  <a:pt x="1955178" y="1010655"/>
                </a:lnTo>
                <a:lnTo>
                  <a:pt x="1980896" y="1047605"/>
                </a:lnTo>
                <a:lnTo>
                  <a:pt x="2005934" y="1085056"/>
                </a:lnTo>
                <a:lnTo>
                  <a:pt x="2030283" y="1123000"/>
                </a:lnTo>
                <a:lnTo>
                  <a:pt x="2053934" y="1161426"/>
                </a:lnTo>
                <a:lnTo>
                  <a:pt x="2076878" y="1200328"/>
                </a:lnTo>
                <a:lnTo>
                  <a:pt x="2099107" y="1239694"/>
                </a:lnTo>
                <a:lnTo>
                  <a:pt x="2120610" y="1279517"/>
                </a:lnTo>
                <a:lnTo>
                  <a:pt x="2141380" y="1319788"/>
                </a:lnTo>
                <a:lnTo>
                  <a:pt x="2161408" y="1360497"/>
                </a:lnTo>
                <a:lnTo>
                  <a:pt x="2180683" y="1401635"/>
                </a:lnTo>
                <a:lnTo>
                  <a:pt x="2199199" y="1443194"/>
                </a:lnTo>
                <a:lnTo>
                  <a:pt x="2216944" y="1485165"/>
                </a:lnTo>
                <a:lnTo>
                  <a:pt x="2233912" y="1527539"/>
                </a:lnTo>
                <a:lnTo>
                  <a:pt x="2250092" y="1570306"/>
                </a:lnTo>
                <a:lnTo>
                  <a:pt x="2265475" y="1613459"/>
                </a:lnTo>
                <a:lnTo>
                  <a:pt x="2280054" y="1656987"/>
                </a:lnTo>
                <a:lnTo>
                  <a:pt x="2293818" y="1700882"/>
                </a:lnTo>
                <a:lnTo>
                  <a:pt x="2306759" y="1745135"/>
                </a:lnTo>
                <a:lnTo>
                  <a:pt x="2318868" y="1789737"/>
                </a:lnTo>
                <a:lnTo>
                  <a:pt x="2330135" y="1834679"/>
                </a:lnTo>
                <a:lnTo>
                  <a:pt x="2340553" y="1879952"/>
                </a:lnTo>
                <a:lnTo>
                  <a:pt x="2350112" y="1925548"/>
                </a:lnTo>
                <a:lnTo>
                  <a:pt x="2358803" y="1971456"/>
                </a:lnTo>
                <a:lnTo>
                  <a:pt x="2366617" y="2017669"/>
                </a:lnTo>
                <a:lnTo>
                  <a:pt x="2373545" y="2064177"/>
                </a:lnTo>
                <a:lnTo>
                  <a:pt x="2379579" y="2110972"/>
                </a:lnTo>
                <a:lnTo>
                  <a:pt x="2384709" y="2158044"/>
                </a:lnTo>
                <a:lnTo>
                  <a:pt x="2388926" y="2205384"/>
                </a:lnTo>
                <a:lnTo>
                  <a:pt x="2392222" y="2252984"/>
                </a:lnTo>
                <a:lnTo>
                  <a:pt x="2394587" y="2300835"/>
                </a:lnTo>
                <a:lnTo>
                  <a:pt x="2396012" y="2348927"/>
                </a:lnTo>
                <a:lnTo>
                  <a:pt x="2396490" y="2397252"/>
                </a:lnTo>
                <a:lnTo>
                  <a:pt x="2396011" y="2445644"/>
                </a:lnTo>
                <a:lnTo>
                  <a:pt x="2394580" y="2493805"/>
                </a:lnTo>
                <a:lnTo>
                  <a:pt x="2392206" y="2541727"/>
                </a:lnTo>
                <a:lnTo>
                  <a:pt x="2388898" y="2589400"/>
                </a:lnTo>
                <a:lnTo>
                  <a:pt x="2384665" y="2636815"/>
                </a:lnTo>
                <a:lnTo>
                  <a:pt x="2379516" y="2683963"/>
                </a:lnTo>
                <a:lnTo>
                  <a:pt x="2373460" y="2730835"/>
                </a:lnTo>
                <a:lnTo>
                  <a:pt x="2366506" y="2777421"/>
                </a:lnTo>
                <a:lnTo>
                  <a:pt x="2358662" y="2823714"/>
                </a:lnTo>
                <a:lnTo>
                  <a:pt x="2349939" y="2869702"/>
                </a:lnTo>
                <a:lnTo>
                  <a:pt x="2340343" y="2915379"/>
                </a:lnTo>
                <a:lnTo>
                  <a:pt x="2329885" y="2960734"/>
                </a:lnTo>
                <a:lnTo>
                  <a:pt x="2318574" y="3005758"/>
                </a:lnTo>
                <a:lnTo>
                  <a:pt x="2306418" y="3050442"/>
                </a:lnTo>
                <a:lnTo>
                  <a:pt x="2293427" y="3094778"/>
                </a:lnTo>
                <a:lnTo>
                  <a:pt x="2279609" y="3138755"/>
                </a:lnTo>
                <a:lnTo>
                  <a:pt x="2264973" y="3182366"/>
                </a:lnTo>
                <a:lnTo>
                  <a:pt x="2249528" y="3225601"/>
                </a:lnTo>
                <a:lnTo>
                  <a:pt x="2233284" y="3268450"/>
                </a:lnTo>
                <a:lnTo>
                  <a:pt x="2216248" y="3310905"/>
                </a:lnTo>
                <a:lnTo>
                  <a:pt x="2198431" y="3352957"/>
                </a:lnTo>
                <a:lnTo>
                  <a:pt x="2179841" y="3394596"/>
                </a:lnTo>
                <a:lnTo>
                  <a:pt x="2160486" y="3435814"/>
                </a:lnTo>
                <a:lnTo>
                  <a:pt x="2140377" y="3476601"/>
                </a:lnTo>
                <a:lnTo>
                  <a:pt x="2119521" y="3516948"/>
                </a:lnTo>
                <a:lnTo>
                  <a:pt x="2097928" y="3556847"/>
                </a:lnTo>
                <a:lnTo>
                  <a:pt x="2075607" y="3596288"/>
                </a:lnTo>
                <a:lnTo>
                  <a:pt x="2052567" y="3635261"/>
                </a:lnTo>
                <a:lnTo>
                  <a:pt x="2028816" y="3673759"/>
                </a:lnTo>
                <a:lnTo>
                  <a:pt x="2004363" y="3711772"/>
                </a:lnTo>
                <a:lnTo>
                  <a:pt x="1979218" y="3749290"/>
                </a:lnTo>
                <a:lnTo>
                  <a:pt x="1953390" y="3786305"/>
                </a:lnTo>
                <a:lnTo>
                  <a:pt x="1926887" y="3822808"/>
                </a:lnTo>
                <a:lnTo>
                  <a:pt x="1899718" y="3858789"/>
                </a:lnTo>
                <a:lnTo>
                  <a:pt x="1871893" y="3894239"/>
                </a:lnTo>
                <a:lnTo>
                  <a:pt x="1843419" y="3929150"/>
                </a:lnTo>
                <a:lnTo>
                  <a:pt x="1814307" y="3963512"/>
                </a:lnTo>
                <a:lnTo>
                  <a:pt x="1784565" y="3997316"/>
                </a:lnTo>
                <a:lnTo>
                  <a:pt x="1754202" y="4030554"/>
                </a:lnTo>
                <a:lnTo>
                  <a:pt x="1723227" y="4063215"/>
                </a:lnTo>
                <a:lnTo>
                  <a:pt x="1691649" y="4095291"/>
                </a:lnTo>
                <a:lnTo>
                  <a:pt x="1659477" y="4126773"/>
                </a:lnTo>
                <a:lnTo>
                  <a:pt x="1626720" y="4157652"/>
                </a:lnTo>
                <a:lnTo>
                  <a:pt x="1593386" y="4187918"/>
                </a:lnTo>
                <a:lnTo>
                  <a:pt x="1559485" y="4217563"/>
                </a:lnTo>
                <a:lnTo>
                  <a:pt x="1525026" y="4246577"/>
                </a:lnTo>
                <a:lnTo>
                  <a:pt x="1490017" y="4274952"/>
                </a:lnTo>
                <a:lnTo>
                  <a:pt x="1454468" y="4302678"/>
                </a:lnTo>
                <a:lnTo>
                  <a:pt x="1418387" y="4329746"/>
                </a:lnTo>
                <a:lnTo>
                  <a:pt x="1381784" y="4356147"/>
                </a:lnTo>
                <a:lnTo>
                  <a:pt x="1344667" y="4381873"/>
                </a:lnTo>
                <a:lnTo>
                  <a:pt x="1307046" y="4406913"/>
                </a:lnTo>
                <a:lnTo>
                  <a:pt x="1268929" y="4431259"/>
                </a:lnTo>
                <a:lnTo>
                  <a:pt x="1230325" y="4454902"/>
                </a:lnTo>
                <a:lnTo>
                  <a:pt x="1191243" y="4477832"/>
                </a:lnTo>
                <a:lnTo>
                  <a:pt x="1151692" y="4500041"/>
                </a:lnTo>
                <a:lnTo>
                  <a:pt x="1111681" y="4521520"/>
                </a:lnTo>
                <a:lnTo>
                  <a:pt x="1071220" y="4542259"/>
                </a:lnTo>
                <a:lnTo>
                  <a:pt x="1030316" y="4562249"/>
                </a:lnTo>
                <a:lnTo>
                  <a:pt x="988979" y="4581481"/>
                </a:lnTo>
                <a:lnTo>
                  <a:pt x="947218" y="4599947"/>
                </a:lnTo>
                <a:lnTo>
                  <a:pt x="905041" y="4617637"/>
                </a:lnTo>
                <a:lnTo>
                  <a:pt x="862459" y="4634541"/>
                </a:lnTo>
                <a:lnTo>
                  <a:pt x="819479" y="4650652"/>
                </a:lnTo>
                <a:lnTo>
                  <a:pt x="776110" y="4665959"/>
                </a:lnTo>
                <a:lnTo>
                  <a:pt x="732362" y="4680454"/>
                </a:lnTo>
                <a:lnTo>
                  <a:pt x="688244" y="4694128"/>
                </a:lnTo>
                <a:lnTo>
                  <a:pt x="643764" y="4706971"/>
                </a:lnTo>
                <a:lnTo>
                  <a:pt x="598931" y="4718975"/>
                </a:lnTo>
                <a:lnTo>
                  <a:pt x="553755" y="4730129"/>
                </a:lnTo>
                <a:lnTo>
                  <a:pt x="508244" y="4740427"/>
                </a:lnTo>
                <a:lnTo>
                  <a:pt x="462407" y="4749857"/>
                </a:lnTo>
                <a:lnTo>
                  <a:pt x="416253" y="4758412"/>
                </a:lnTo>
                <a:lnTo>
                  <a:pt x="369791" y="4766081"/>
                </a:lnTo>
                <a:lnTo>
                  <a:pt x="323031" y="4772856"/>
                </a:lnTo>
                <a:lnTo>
                  <a:pt x="275980" y="4778729"/>
                </a:lnTo>
                <a:lnTo>
                  <a:pt x="228649" y="4783689"/>
                </a:lnTo>
                <a:lnTo>
                  <a:pt x="181045" y="4787727"/>
                </a:lnTo>
                <a:lnTo>
                  <a:pt x="133178" y="4790835"/>
                </a:lnTo>
                <a:lnTo>
                  <a:pt x="85056" y="4793004"/>
                </a:lnTo>
                <a:lnTo>
                  <a:pt x="36690" y="4794224"/>
                </a:lnTo>
              </a:path>
            </a:pathLst>
          </a:custGeom>
          <a:ln w="6096">
            <a:solidFill>
              <a:srgbClr val="006FAC"/>
            </a:solidFill>
            <a:prstDash val="sysDot"/>
          </a:ln>
        </p:spPr>
        <p:txBody>
          <a:bodyPr wrap="square" lIns="0" tIns="0" rIns="0" bIns="0" rtlCol="0"/>
          <a:lstStyle/>
          <a:p>
            <a:endParaRPr/>
          </a:p>
        </p:txBody>
      </p:sp>
      <p:sp>
        <p:nvSpPr>
          <p:cNvPr id="3" name="object 3"/>
          <p:cNvSpPr/>
          <p:nvPr/>
        </p:nvSpPr>
        <p:spPr>
          <a:xfrm>
            <a:off x="3012948" y="2991611"/>
            <a:ext cx="8918575" cy="745490"/>
          </a:xfrm>
          <a:custGeom>
            <a:avLst/>
            <a:gdLst/>
            <a:ahLst/>
            <a:cxnLst/>
            <a:rect l="l" t="t" r="r" b="b"/>
            <a:pathLst>
              <a:path w="8918575" h="745489">
                <a:moveTo>
                  <a:pt x="0" y="745236"/>
                </a:moveTo>
                <a:lnTo>
                  <a:pt x="8918448" y="745236"/>
                </a:lnTo>
                <a:lnTo>
                  <a:pt x="8918448" y="0"/>
                </a:lnTo>
                <a:lnTo>
                  <a:pt x="0" y="0"/>
                </a:lnTo>
                <a:lnTo>
                  <a:pt x="0" y="745236"/>
                </a:lnTo>
                <a:close/>
              </a:path>
            </a:pathLst>
          </a:custGeom>
          <a:solidFill>
            <a:srgbClr val="F1F1F1"/>
          </a:solidFill>
        </p:spPr>
        <p:txBody>
          <a:bodyPr wrap="square" lIns="0" tIns="0" rIns="0" bIns="0" rtlCol="0"/>
          <a:lstStyle/>
          <a:p>
            <a:endParaRPr/>
          </a:p>
        </p:txBody>
      </p:sp>
      <p:sp>
        <p:nvSpPr>
          <p:cNvPr id="4" name="object 4"/>
          <p:cNvSpPr/>
          <p:nvPr/>
        </p:nvSpPr>
        <p:spPr>
          <a:xfrm>
            <a:off x="3006851" y="2985516"/>
            <a:ext cx="8930640" cy="757428"/>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2616707" y="2107692"/>
            <a:ext cx="9328785" cy="745490"/>
          </a:xfrm>
          <a:custGeom>
            <a:avLst/>
            <a:gdLst/>
            <a:ahLst/>
            <a:cxnLst/>
            <a:rect l="l" t="t" r="r" b="b"/>
            <a:pathLst>
              <a:path w="9328785" h="745489">
                <a:moveTo>
                  <a:pt x="0" y="745236"/>
                </a:moveTo>
                <a:lnTo>
                  <a:pt x="9328404" y="745236"/>
                </a:lnTo>
                <a:lnTo>
                  <a:pt x="9328404" y="0"/>
                </a:lnTo>
                <a:lnTo>
                  <a:pt x="0" y="0"/>
                </a:lnTo>
                <a:lnTo>
                  <a:pt x="0" y="745236"/>
                </a:lnTo>
                <a:close/>
              </a:path>
            </a:pathLst>
          </a:custGeom>
          <a:solidFill>
            <a:srgbClr val="F1F1F1"/>
          </a:solidFill>
        </p:spPr>
        <p:txBody>
          <a:bodyPr wrap="square" lIns="0" tIns="0" rIns="0" bIns="0" rtlCol="0"/>
          <a:lstStyle/>
          <a:p>
            <a:endParaRPr/>
          </a:p>
        </p:txBody>
      </p:sp>
      <p:sp>
        <p:nvSpPr>
          <p:cNvPr id="6" name="object 6"/>
          <p:cNvSpPr/>
          <p:nvPr/>
        </p:nvSpPr>
        <p:spPr>
          <a:xfrm>
            <a:off x="2610611" y="2101595"/>
            <a:ext cx="9340596" cy="757427"/>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2964179" y="3892296"/>
            <a:ext cx="8968740" cy="745490"/>
          </a:xfrm>
          <a:custGeom>
            <a:avLst/>
            <a:gdLst/>
            <a:ahLst/>
            <a:cxnLst/>
            <a:rect l="l" t="t" r="r" b="b"/>
            <a:pathLst>
              <a:path w="8968740" h="745489">
                <a:moveTo>
                  <a:pt x="0" y="745235"/>
                </a:moveTo>
                <a:lnTo>
                  <a:pt x="8968740" y="745235"/>
                </a:lnTo>
                <a:lnTo>
                  <a:pt x="8968740" y="0"/>
                </a:lnTo>
                <a:lnTo>
                  <a:pt x="0" y="0"/>
                </a:lnTo>
                <a:lnTo>
                  <a:pt x="0" y="745235"/>
                </a:lnTo>
                <a:close/>
              </a:path>
            </a:pathLst>
          </a:custGeom>
          <a:solidFill>
            <a:srgbClr val="F1F1F1"/>
          </a:solidFill>
        </p:spPr>
        <p:txBody>
          <a:bodyPr wrap="square" lIns="0" tIns="0" rIns="0" bIns="0" rtlCol="0"/>
          <a:lstStyle/>
          <a:p>
            <a:endParaRPr/>
          </a:p>
        </p:txBody>
      </p:sp>
      <p:sp>
        <p:nvSpPr>
          <p:cNvPr id="8" name="object 8"/>
          <p:cNvSpPr/>
          <p:nvPr/>
        </p:nvSpPr>
        <p:spPr>
          <a:xfrm>
            <a:off x="2958083" y="3886200"/>
            <a:ext cx="8980932" cy="757427"/>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2001011" y="1225296"/>
            <a:ext cx="9965690" cy="745490"/>
          </a:xfrm>
          <a:custGeom>
            <a:avLst/>
            <a:gdLst/>
            <a:ahLst/>
            <a:cxnLst/>
            <a:rect l="l" t="t" r="r" b="b"/>
            <a:pathLst>
              <a:path w="9965690" h="745489">
                <a:moveTo>
                  <a:pt x="0" y="745236"/>
                </a:moveTo>
                <a:lnTo>
                  <a:pt x="9965436" y="745236"/>
                </a:lnTo>
                <a:lnTo>
                  <a:pt x="9965436" y="0"/>
                </a:lnTo>
                <a:lnTo>
                  <a:pt x="0" y="0"/>
                </a:lnTo>
                <a:lnTo>
                  <a:pt x="0" y="745236"/>
                </a:lnTo>
                <a:close/>
              </a:path>
            </a:pathLst>
          </a:custGeom>
          <a:solidFill>
            <a:srgbClr val="F1F1F1"/>
          </a:solidFill>
        </p:spPr>
        <p:txBody>
          <a:bodyPr wrap="square" lIns="0" tIns="0" rIns="0" bIns="0" rtlCol="0"/>
          <a:lstStyle/>
          <a:p>
            <a:endParaRPr/>
          </a:p>
        </p:txBody>
      </p:sp>
      <p:sp>
        <p:nvSpPr>
          <p:cNvPr id="10" name="object 10"/>
          <p:cNvSpPr/>
          <p:nvPr/>
        </p:nvSpPr>
        <p:spPr>
          <a:xfrm>
            <a:off x="1994916" y="1219200"/>
            <a:ext cx="9977628" cy="757427"/>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1932432" y="5638800"/>
            <a:ext cx="10035540" cy="745490"/>
          </a:xfrm>
          <a:custGeom>
            <a:avLst/>
            <a:gdLst/>
            <a:ahLst/>
            <a:cxnLst/>
            <a:rect l="l" t="t" r="r" b="b"/>
            <a:pathLst>
              <a:path w="10035540" h="745489">
                <a:moveTo>
                  <a:pt x="0" y="745236"/>
                </a:moveTo>
                <a:lnTo>
                  <a:pt x="10035540" y="745236"/>
                </a:lnTo>
                <a:lnTo>
                  <a:pt x="10035540" y="0"/>
                </a:lnTo>
                <a:lnTo>
                  <a:pt x="0" y="0"/>
                </a:lnTo>
                <a:lnTo>
                  <a:pt x="0" y="745236"/>
                </a:lnTo>
                <a:close/>
              </a:path>
            </a:pathLst>
          </a:custGeom>
          <a:solidFill>
            <a:srgbClr val="F1F1F1"/>
          </a:solidFill>
        </p:spPr>
        <p:txBody>
          <a:bodyPr wrap="square" lIns="0" tIns="0" rIns="0" bIns="0" rtlCol="0"/>
          <a:lstStyle/>
          <a:p>
            <a:endParaRPr/>
          </a:p>
        </p:txBody>
      </p:sp>
      <p:sp>
        <p:nvSpPr>
          <p:cNvPr id="12" name="object 12"/>
          <p:cNvSpPr/>
          <p:nvPr/>
        </p:nvSpPr>
        <p:spPr>
          <a:xfrm>
            <a:off x="1926335" y="5632703"/>
            <a:ext cx="10047732" cy="757428"/>
          </a:xfrm>
          <a:prstGeom prst="rect">
            <a:avLst/>
          </a:prstGeom>
          <a:blipFill>
            <a:blip r:embed="rId6" cstate="print"/>
            <a:stretch>
              <a:fillRect/>
            </a:stretch>
          </a:blipFill>
        </p:spPr>
        <p:txBody>
          <a:bodyPr wrap="square" lIns="0" tIns="0" rIns="0" bIns="0" rtlCol="0"/>
          <a:lstStyle/>
          <a:p>
            <a:endParaRPr/>
          </a:p>
        </p:txBody>
      </p:sp>
      <p:sp>
        <p:nvSpPr>
          <p:cNvPr id="13" name="object 13"/>
          <p:cNvSpPr/>
          <p:nvPr/>
        </p:nvSpPr>
        <p:spPr>
          <a:xfrm>
            <a:off x="2587751" y="4785359"/>
            <a:ext cx="9359265" cy="745490"/>
          </a:xfrm>
          <a:custGeom>
            <a:avLst/>
            <a:gdLst/>
            <a:ahLst/>
            <a:cxnLst/>
            <a:rect l="l" t="t" r="r" b="b"/>
            <a:pathLst>
              <a:path w="9359265" h="745489">
                <a:moveTo>
                  <a:pt x="0" y="745235"/>
                </a:moveTo>
                <a:lnTo>
                  <a:pt x="9358884" y="745235"/>
                </a:lnTo>
                <a:lnTo>
                  <a:pt x="9358884" y="0"/>
                </a:lnTo>
                <a:lnTo>
                  <a:pt x="0" y="0"/>
                </a:lnTo>
                <a:lnTo>
                  <a:pt x="0" y="745235"/>
                </a:lnTo>
                <a:close/>
              </a:path>
            </a:pathLst>
          </a:custGeom>
          <a:solidFill>
            <a:srgbClr val="F1F1F1"/>
          </a:solidFill>
        </p:spPr>
        <p:txBody>
          <a:bodyPr wrap="square" lIns="0" tIns="0" rIns="0" bIns="0" rtlCol="0"/>
          <a:lstStyle/>
          <a:p>
            <a:endParaRPr/>
          </a:p>
        </p:txBody>
      </p:sp>
      <p:sp>
        <p:nvSpPr>
          <p:cNvPr id="14" name="object 14"/>
          <p:cNvSpPr/>
          <p:nvPr/>
        </p:nvSpPr>
        <p:spPr>
          <a:xfrm>
            <a:off x="2581655" y="4779264"/>
            <a:ext cx="9371076" cy="757428"/>
          </a:xfrm>
          <a:prstGeom prst="rect">
            <a:avLst/>
          </a:prstGeom>
          <a:blipFill>
            <a:blip r:embed="rId7" cstate="print"/>
            <a:stretch>
              <a:fillRect/>
            </a:stretch>
          </a:blipFill>
        </p:spPr>
        <p:txBody>
          <a:bodyPr wrap="square" lIns="0" tIns="0" rIns="0" bIns="0" rtlCol="0"/>
          <a:lstStyle/>
          <a:p>
            <a:endParaRPr/>
          </a:p>
        </p:txBody>
      </p:sp>
      <p:sp>
        <p:nvSpPr>
          <p:cNvPr id="15" name="object 15"/>
          <p:cNvSpPr txBox="1"/>
          <p:nvPr/>
        </p:nvSpPr>
        <p:spPr>
          <a:xfrm>
            <a:off x="2530601" y="1330593"/>
            <a:ext cx="9300210" cy="5012690"/>
          </a:xfrm>
          <a:prstGeom prst="rect">
            <a:avLst/>
          </a:prstGeom>
        </p:spPr>
        <p:txBody>
          <a:bodyPr vert="horz" wrap="square" lIns="0" tIns="57785" rIns="0" bIns="0" rtlCol="0">
            <a:spAutoFit/>
          </a:bodyPr>
          <a:lstStyle/>
          <a:p>
            <a:pPr marL="33020">
              <a:lnSpc>
                <a:spcPct val="100000"/>
              </a:lnSpc>
              <a:spcBef>
                <a:spcPts val="455"/>
              </a:spcBef>
            </a:pPr>
            <a:r>
              <a:rPr sz="1200" b="1" spc="-5">
                <a:solidFill>
                  <a:srgbClr val="006FAC"/>
                </a:solidFill>
                <a:latin typeface="Verdana"/>
                <a:cs typeface="Verdana"/>
              </a:rPr>
              <a:t>Industry Knowledge </a:t>
            </a:r>
            <a:r>
              <a:rPr sz="1200" b="1">
                <a:solidFill>
                  <a:srgbClr val="006FAC"/>
                </a:solidFill>
                <a:latin typeface="Verdana"/>
                <a:cs typeface="Verdana"/>
              </a:rPr>
              <a:t>– </a:t>
            </a:r>
            <a:r>
              <a:rPr sz="1200">
                <a:latin typeface="Verdana"/>
                <a:cs typeface="Verdana"/>
              </a:rPr>
              <a:t>A </a:t>
            </a:r>
            <a:r>
              <a:rPr sz="1200" spc="-5">
                <a:latin typeface="Verdana"/>
                <a:cs typeface="Verdana"/>
              </a:rPr>
              <a:t>Global Manufacturing </a:t>
            </a:r>
            <a:r>
              <a:rPr sz="1200" spc="-10">
                <a:latin typeface="Verdana"/>
                <a:cs typeface="Verdana"/>
              </a:rPr>
              <a:t>practice </a:t>
            </a:r>
            <a:r>
              <a:rPr sz="1200" spc="-5">
                <a:latin typeface="Verdana"/>
                <a:cs typeface="Verdana"/>
              </a:rPr>
              <a:t>with deep domain experience </a:t>
            </a:r>
            <a:r>
              <a:rPr sz="1200">
                <a:latin typeface="Verdana"/>
                <a:cs typeface="Verdana"/>
              </a:rPr>
              <a:t>and </a:t>
            </a:r>
            <a:r>
              <a:rPr sz="1200" spc="-5">
                <a:latin typeface="Verdana"/>
                <a:cs typeface="Verdana"/>
              </a:rPr>
              <a:t>proven</a:t>
            </a:r>
            <a:r>
              <a:rPr sz="1200" spc="160">
                <a:latin typeface="Verdana"/>
                <a:cs typeface="Verdana"/>
              </a:rPr>
              <a:t> </a:t>
            </a:r>
            <a:r>
              <a:rPr sz="1200" spc="-10">
                <a:latin typeface="Verdana"/>
                <a:cs typeface="Verdana"/>
              </a:rPr>
              <a:t>capabilities</a:t>
            </a:r>
            <a:endParaRPr sz="1200">
              <a:latin typeface="Verdana"/>
              <a:cs typeface="Verdana"/>
            </a:endParaRPr>
          </a:p>
          <a:p>
            <a:pPr marL="33020">
              <a:lnSpc>
                <a:spcPct val="100000"/>
              </a:lnSpc>
              <a:spcBef>
                <a:spcPts val="360"/>
              </a:spcBef>
            </a:pPr>
            <a:r>
              <a:rPr sz="1200" spc="-5">
                <a:latin typeface="Verdana"/>
                <a:cs typeface="Verdana"/>
              </a:rPr>
              <a:t>delivering </a:t>
            </a:r>
            <a:r>
              <a:rPr sz="1200" spc="-15">
                <a:latin typeface="Verdana"/>
                <a:cs typeface="Verdana"/>
              </a:rPr>
              <a:t>Transformation</a:t>
            </a:r>
            <a:r>
              <a:rPr sz="1200" spc="10">
                <a:latin typeface="Verdana"/>
                <a:cs typeface="Verdana"/>
              </a:rPr>
              <a:t> </a:t>
            </a:r>
            <a:r>
              <a:rPr sz="1200" spc="-5">
                <a:latin typeface="Verdana"/>
                <a:cs typeface="Verdana"/>
              </a:rPr>
              <a:t>Programs.</a:t>
            </a:r>
            <a:endParaRPr sz="1200">
              <a:latin typeface="Verdana"/>
              <a:cs typeface="Verdana"/>
            </a:endParaRPr>
          </a:p>
          <a:p>
            <a:pPr>
              <a:lnSpc>
                <a:spcPct val="100000"/>
              </a:lnSpc>
            </a:pPr>
            <a:endParaRPr sz="1400">
              <a:latin typeface="Times New Roman"/>
              <a:cs typeface="Times New Roman"/>
            </a:endParaRPr>
          </a:p>
          <a:p>
            <a:pPr>
              <a:lnSpc>
                <a:spcPct val="100000"/>
              </a:lnSpc>
              <a:spcBef>
                <a:spcPts val="20"/>
              </a:spcBef>
            </a:pPr>
            <a:endParaRPr sz="1500">
              <a:latin typeface="Times New Roman"/>
              <a:cs typeface="Times New Roman"/>
            </a:endParaRPr>
          </a:p>
          <a:p>
            <a:pPr marL="695960" marR="621665">
              <a:lnSpc>
                <a:spcPct val="125000"/>
              </a:lnSpc>
            </a:pPr>
            <a:r>
              <a:rPr sz="1200" b="1" spc="-5">
                <a:solidFill>
                  <a:srgbClr val="006FAC"/>
                </a:solidFill>
                <a:latin typeface="Verdana"/>
                <a:cs typeface="Verdana"/>
              </a:rPr>
              <a:t>ADMnext </a:t>
            </a:r>
            <a:r>
              <a:rPr sz="1200" b="1">
                <a:solidFill>
                  <a:srgbClr val="006FAC"/>
                </a:solidFill>
                <a:latin typeface="Verdana"/>
                <a:cs typeface="Verdana"/>
              </a:rPr>
              <a:t>– </a:t>
            </a:r>
            <a:r>
              <a:rPr sz="1200" spc="-10">
                <a:latin typeface="Verdana"/>
                <a:cs typeface="Verdana"/>
              </a:rPr>
              <a:t>Capgemini’s </a:t>
            </a:r>
            <a:r>
              <a:rPr sz="1200" spc="-5">
                <a:latin typeface="Verdana"/>
                <a:cs typeface="Verdana"/>
              </a:rPr>
              <a:t>ADMnext proposition oversees that our clients benefit </a:t>
            </a:r>
            <a:r>
              <a:rPr sz="1200">
                <a:latin typeface="Verdana"/>
                <a:cs typeface="Verdana"/>
              </a:rPr>
              <a:t>from </a:t>
            </a:r>
            <a:r>
              <a:rPr sz="1200" spc="-5">
                <a:latin typeface="Verdana"/>
                <a:cs typeface="Verdana"/>
              </a:rPr>
              <a:t>improvements and  </a:t>
            </a:r>
            <a:r>
              <a:rPr sz="1200" spc="-10">
                <a:latin typeface="Verdana"/>
                <a:cs typeface="Verdana"/>
              </a:rPr>
              <a:t>innovation </a:t>
            </a:r>
            <a:r>
              <a:rPr sz="1200" spc="-5">
                <a:latin typeface="Verdana"/>
                <a:cs typeface="Verdana"/>
              </a:rPr>
              <a:t>to their application landscape and ongoing, </a:t>
            </a:r>
            <a:r>
              <a:rPr sz="1200" spc="-10">
                <a:latin typeface="Verdana"/>
                <a:cs typeface="Verdana"/>
              </a:rPr>
              <a:t>pervasive </a:t>
            </a:r>
            <a:r>
              <a:rPr sz="1200">
                <a:latin typeface="Verdana"/>
                <a:cs typeface="Verdana"/>
              </a:rPr>
              <a:t>cost</a:t>
            </a:r>
            <a:r>
              <a:rPr sz="1200" spc="155">
                <a:latin typeface="Verdana"/>
                <a:cs typeface="Verdana"/>
              </a:rPr>
              <a:t> </a:t>
            </a:r>
            <a:r>
              <a:rPr sz="1200" spc="-5">
                <a:latin typeface="Verdana"/>
                <a:cs typeface="Verdana"/>
              </a:rPr>
              <a:t>reduction</a:t>
            </a:r>
            <a:endParaRPr sz="1200">
              <a:latin typeface="Verdana"/>
              <a:cs typeface="Verdana"/>
            </a:endParaRPr>
          </a:p>
          <a:p>
            <a:pPr>
              <a:lnSpc>
                <a:spcPct val="100000"/>
              </a:lnSpc>
            </a:pPr>
            <a:endParaRPr sz="1400">
              <a:latin typeface="Times New Roman"/>
              <a:cs typeface="Times New Roman"/>
            </a:endParaRPr>
          </a:p>
          <a:p>
            <a:pPr marL="1045210" marR="156845">
              <a:lnSpc>
                <a:spcPct val="118300"/>
              </a:lnSpc>
              <a:spcBef>
                <a:spcPts val="1010"/>
              </a:spcBef>
            </a:pPr>
            <a:r>
              <a:rPr sz="1200" b="1" spc="-5">
                <a:solidFill>
                  <a:srgbClr val="006FAC"/>
                </a:solidFill>
                <a:latin typeface="Verdana"/>
                <a:cs typeface="Verdana"/>
              </a:rPr>
              <a:t>Application Maintenance Expertise– </a:t>
            </a:r>
            <a:r>
              <a:rPr sz="1200" spc="-5">
                <a:latin typeface="Verdana"/>
                <a:cs typeface="Verdana"/>
              </a:rPr>
              <a:t>Capgemini has provided </a:t>
            </a:r>
            <a:r>
              <a:rPr sz="1200" spc="-10">
                <a:latin typeface="Verdana"/>
                <a:cs typeface="Verdana"/>
              </a:rPr>
              <a:t>Application </a:t>
            </a:r>
            <a:r>
              <a:rPr sz="1200" spc="-5">
                <a:latin typeface="Verdana"/>
                <a:cs typeface="Verdana"/>
              </a:rPr>
              <a:t>Management Support (AMS)  </a:t>
            </a:r>
            <a:r>
              <a:rPr sz="1200">
                <a:latin typeface="Verdana"/>
                <a:cs typeface="Verdana"/>
              </a:rPr>
              <a:t>services on a </a:t>
            </a:r>
            <a:r>
              <a:rPr sz="1200" spc="-5">
                <a:latin typeface="Verdana"/>
                <a:cs typeface="Verdana"/>
              </a:rPr>
              <a:t>global basis since </a:t>
            </a:r>
            <a:r>
              <a:rPr sz="1200">
                <a:latin typeface="Verdana"/>
                <a:cs typeface="Verdana"/>
              </a:rPr>
              <a:t>1970s </a:t>
            </a:r>
            <a:r>
              <a:rPr sz="1200" spc="-5">
                <a:latin typeface="Verdana"/>
                <a:cs typeface="Verdana"/>
              </a:rPr>
              <a:t>with </a:t>
            </a:r>
            <a:r>
              <a:rPr sz="1200" spc="-10">
                <a:latin typeface="Verdana"/>
                <a:cs typeface="Verdana"/>
              </a:rPr>
              <a:t>Application </a:t>
            </a:r>
            <a:r>
              <a:rPr sz="1200" spc="-5">
                <a:latin typeface="Verdana"/>
                <a:cs typeface="Verdana"/>
              </a:rPr>
              <a:t>and Managed Services contribute to </a:t>
            </a:r>
            <a:r>
              <a:rPr sz="1200">
                <a:latin typeface="Verdana"/>
                <a:cs typeface="Verdana"/>
              </a:rPr>
              <a:t>41% of  </a:t>
            </a:r>
            <a:r>
              <a:rPr sz="1200" spc="-5">
                <a:latin typeface="Verdana"/>
                <a:cs typeface="Verdana"/>
              </a:rPr>
              <a:t>Capgemini total revenues with more than 90,000 AM </a:t>
            </a:r>
            <a:r>
              <a:rPr sz="1200">
                <a:latin typeface="Verdana"/>
                <a:cs typeface="Verdana"/>
              </a:rPr>
              <a:t>resources </a:t>
            </a:r>
            <a:r>
              <a:rPr sz="1200" spc="-5">
                <a:latin typeface="Verdana"/>
                <a:cs typeface="Verdana"/>
              </a:rPr>
              <a:t>and more than </a:t>
            </a:r>
            <a:r>
              <a:rPr sz="1200">
                <a:latin typeface="Verdana"/>
                <a:cs typeface="Verdana"/>
              </a:rPr>
              <a:t>950 </a:t>
            </a:r>
            <a:r>
              <a:rPr sz="1200" spc="-5">
                <a:latin typeface="Verdana"/>
                <a:cs typeface="Verdana"/>
              </a:rPr>
              <a:t>clients</a:t>
            </a:r>
            <a:r>
              <a:rPr sz="1200" spc="125">
                <a:latin typeface="Verdana"/>
                <a:cs typeface="Verdana"/>
              </a:rPr>
              <a:t> </a:t>
            </a:r>
            <a:r>
              <a:rPr sz="1200" spc="-10">
                <a:latin typeface="Verdana"/>
                <a:cs typeface="Verdana"/>
              </a:rPr>
              <a:t>globally</a:t>
            </a:r>
            <a:endParaRPr sz="1200">
              <a:latin typeface="Verdana"/>
              <a:cs typeface="Verdana"/>
            </a:endParaRPr>
          </a:p>
          <a:p>
            <a:pPr>
              <a:lnSpc>
                <a:spcPct val="100000"/>
              </a:lnSpc>
              <a:spcBef>
                <a:spcPts val="45"/>
              </a:spcBef>
            </a:pPr>
            <a:endParaRPr sz="1550">
              <a:latin typeface="Times New Roman"/>
              <a:cs typeface="Times New Roman"/>
            </a:endParaRPr>
          </a:p>
          <a:p>
            <a:pPr marL="1042669" marR="5080">
              <a:lnSpc>
                <a:spcPct val="125000"/>
              </a:lnSpc>
            </a:pPr>
            <a:r>
              <a:rPr sz="1200" b="1" spc="-5">
                <a:solidFill>
                  <a:srgbClr val="006FAC"/>
                </a:solidFill>
                <a:latin typeface="Verdana"/>
                <a:cs typeface="Verdana"/>
              </a:rPr>
              <a:t>Industrialized Assets </a:t>
            </a:r>
            <a:r>
              <a:rPr sz="1200" b="1">
                <a:solidFill>
                  <a:srgbClr val="006FAC"/>
                </a:solidFill>
                <a:latin typeface="Verdana"/>
                <a:cs typeface="Verdana"/>
              </a:rPr>
              <a:t>and </a:t>
            </a:r>
            <a:r>
              <a:rPr sz="1200" b="1" spc="-5">
                <a:solidFill>
                  <a:srgbClr val="006FAC"/>
                </a:solidFill>
                <a:latin typeface="Verdana"/>
                <a:cs typeface="Verdana"/>
              </a:rPr>
              <a:t>Services </a:t>
            </a:r>
            <a:r>
              <a:rPr sz="1200" b="1">
                <a:solidFill>
                  <a:srgbClr val="006FAC"/>
                </a:solidFill>
                <a:latin typeface="Verdana"/>
                <a:cs typeface="Verdana"/>
              </a:rPr>
              <a:t>to Mitigate </a:t>
            </a:r>
            <a:r>
              <a:rPr sz="1200" b="1" spc="-5">
                <a:solidFill>
                  <a:srgbClr val="006FAC"/>
                </a:solidFill>
                <a:latin typeface="Verdana"/>
                <a:cs typeface="Verdana"/>
              </a:rPr>
              <a:t>Risk </a:t>
            </a:r>
            <a:r>
              <a:rPr sz="1200" b="1">
                <a:solidFill>
                  <a:srgbClr val="006FAC"/>
                </a:solidFill>
                <a:latin typeface="Verdana"/>
                <a:cs typeface="Verdana"/>
              </a:rPr>
              <a:t>– </a:t>
            </a:r>
            <a:r>
              <a:rPr sz="1200" spc="-5">
                <a:latin typeface="Verdana"/>
                <a:cs typeface="Verdana"/>
              </a:rPr>
              <a:t>Capgemini portfolio </a:t>
            </a:r>
            <a:r>
              <a:rPr sz="1200">
                <a:latin typeface="Verdana"/>
                <a:cs typeface="Verdana"/>
              </a:rPr>
              <a:t>of </a:t>
            </a:r>
            <a:r>
              <a:rPr sz="1200" spc="-5">
                <a:latin typeface="Verdana"/>
                <a:cs typeface="Verdana"/>
              </a:rPr>
              <a:t>proprietary assets  accelerate, guide, and </a:t>
            </a:r>
            <a:r>
              <a:rPr sz="1200" spc="-10">
                <a:latin typeface="Verdana"/>
                <a:cs typeface="Verdana"/>
              </a:rPr>
              <a:t>mitigate </a:t>
            </a:r>
            <a:r>
              <a:rPr sz="1200">
                <a:latin typeface="Verdana"/>
                <a:cs typeface="Verdana"/>
              </a:rPr>
              <a:t>risk for </a:t>
            </a:r>
            <a:r>
              <a:rPr sz="1200" spc="-10">
                <a:latin typeface="Verdana"/>
                <a:cs typeface="Verdana"/>
              </a:rPr>
              <a:t>initiatives </a:t>
            </a:r>
            <a:r>
              <a:rPr sz="1200" spc="-5">
                <a:latin typeface="Verdana"/>
                <a:cs typeface="Verdana"/>
              </a:rPr>
              <a:t>around </a:t>
            </a:r>
            <a:r>
              <a:rPr sz="1200" spc="-20">
                <a:latin typeface="Verdana"/>
                <a:cs typeface="Verdana"/>
              </a:rPr>
              <a:t>strategy, </a:t>
            </a:r>
            <a:r>
              <a:rPr sz="1200" spc="-10">
                <a:latin typeface="Verdana"/>
                <a:cs typeface="Verdana"/>
              </a:rPr>
              <a:t>transition, </a:t>
            </a:r>
            <a:r>
              <a:rPr sz="1200" spc="-5">
                <a:latin typeface="Verdana"/>
                <a:cs typeface="Verdana"/>
              </a:rPr>
              <a:t>design, build, </a:t>
            </a:r>
            <a:r>
              <a:rPr sz="1200">
                <a:latin typeface="Verdana"/>
                <a:cs typeface="Verdana"/>
              </a:rPr>
              <a:t>or </a:t>
            </a:r>
            <a:r>
              <a:rPr sz="1200" spc="-5">
                <a:latin typeface="Verdana"/>
                <a:cs typeface="Verdana"/>
              </a:rPr>
              <a:t>maintenance  </a:t>
            </a:r>
            <a:r>
              <a:rPr sz="1200">
                <a:latin typeface="Verdana"/>
                <a:cs typeface="Verdana"/>
              </a:rPr>
              <a:t>of</a:t>
            </a:r>
            <a:r>
              <a:rPr sz="1200" spc="-10">
                <a:latin typeface="Verdana"/>
                <a:cs typeface="Verdana"/>
              </a:rPr>
              <a:t> </a:t>
            </a:r>
            <a:r>
              <a:rPr sz="1200" spc="-5">
                <a:latin typeface="Verdana"/>
                <a:cs typeface="Verdana"/>
              </a:rPr>
              <a:t>programs.</a:t>
            </a:r>
            <a:endParaRPr sz="1200">
              <a:latin typeface="Verdana"/>
              <a:cs typeface="Verdana"/>
            </a:endParaRPr>
          </a:p>
          <a:p>
            <a:pPr>
              <a:lnSpc>
                <a:spcPct val="100000"/>
              </a:lnSpc>
            </a:pPr>
            <a:endParaRPr sz="1400">
              <a:latin typeface="Times New Roman"/>
              <a:cs typeface="Times New Roman"/>
            </a:endParaRPr>
          </a:p>
          <a:p>
            <a:pPr>
              <a:lnSpc>
                <a:spcPct val="100000"/>
              </a:lnSpc>
              <a:spcBef>
                <a:spcPts val="10"/>
              </a:spcBef>
            </a:pPr>
            <a:endParaRPr sz="1100">
              <a:latin typeface="Times New Roman"/>
              <a:cs typeface="Times New Roman"/>
            </a:endParaRPr>
          </a:p>
          <a:p>
            <a:pPr marL="667385">
              <a:lnSpc>
                <a:spcPct val="100000"/>
              </a:lnSpc>
            </a:pPr>
            <a:r>
              <a:rPr sz="1200" b="1" spc="-5">
                <a:solidFill>
                  <a:srgbClr val="006FAC"/>
                </a:solidFill>
                <a:latin typeface="Verdana"/>
                <a:cs typeface="Verdana"/>
              </a:rPr>
              <a:t>Smooth Transition with Minimum Disruption </a:t>
            </a:r>
            <a:r>
              <a:rPr sz="1200" b="1">
                <a:solidFill>
                  <a:srgbClr val="006FAC"/>
                </a:solidFill>
                <a:latin typeface="Verdana"/>
                <a:cs typeface="Verdana"/>
              </a:rPr>
              <a:t>to </a:t>
            </a:r>
            <a:r>
              <a:rPr sz="1200" b="1" spc="-10">
                <a:solidFill>
                  <a:srgbClr val="006FAC"/>
                </a:solidFill>
                <a:latin typeface="Verdana"/>
                <a:cs typeface="Verdana"/>
              </a:rPr>
              <a:t>Business </a:t>
            </a:r>
            <a:r>
              <a:rPr sz="1200" b="1">
                <a:solidFill>
                  <a:srgbClr val="006FAC"/>
                </a:solidFill>
                <a:latin typeface="Verdana"/>
                <a:cs typeface="Verdana"/>
              </a:rPr>
              <a:t>– </a:t>
            </a:r>
            <a:r>
              <a:rPr sz="1200" spc="-5">
                <a:latin typeface="Verdana"/>
                <a:cs typeface="Verdana"/>
              </a:rPr>
              <a:t>Jointly structured collaboration with</a:t>
            </a:r>
            <a:r>
              <a:rPr sz="1200" spc="215">
                <a:latin typeface="Verdana"/>
                <a:cs typeface="Verdana"/>
              </a:rPr>
              <a:t> </a:t>
            </a:r>
            <a:r>
              <a:rPr sz="1200" spc="-5">
                <a:latin typeface="Verdana"/>
                <a:cs typeface="Verdana"/>
              </a:rPr>
              <a:t>Whirlpool</a:t>
            </a:r>
            <a:endParaRPr sz="1200">
              <a:latin typeface="Verdana"/>
              <a:cs typeface="Verdana"/>
            </a:endParaRPr>
          </a:p>
          <a:p>
            <a:pPr marL="667385">
              <a:lnSpc>
                <a:spcPct val="100000"/>
              </a:lnSpc>
              <a:spcBef>
                <a:spcPts val="365"/>
              </a:spcBef>
            </a:pPr>
            <a:r>
              <a:rPr sz="1200" spc="-5">
                <a:latin typeface="Verdana"/>
                <a:cs typeface="Verdana"/>
              </a:rPr>
              <a:t>to </a:t>
            </a:r>
            <a:r>
              <a:rPr sz="1200" spc="-10">
                <a:latin typeface="Verdana"/>
                <a:cs typeface="Verdana"/>
              </a:rPr>
              <a:t>take over </a:t>
            </a:r>
            <a:r>
              <a:rPr sz="1200" spc="-5">
                <a:latin typeface="Verdana"/>
                <a:cs typeface="Verdana"/>
              </a:rPr>
              <a:t>the knowledge and </a:t>
            </a:r>
            <a:r>
              <a:rPr sz="1200">
                <a:latin typeface="Verdana"/>
                <a:cs typeface="Verdana"/>
              </a:rPr>
              <a:t>service </a:t>
            </a:r>
            <a:r>
              <a:rPr sz="1200" spc="-5">
                <a:latin typeface="Verdana"/>
                <a:cs typeface="Verdana"/>
              </a:rPr>
              <a:t>with </a:t>
            </a:r>
            <a:r>
              <a:rPr sz="1200" spc="-10">
                <a:latin typeface="Verdana"/>
                <a:cs typeface="Verdana"/>
              </a:rPr>
              <a:t>minimum </a:t>
            </a:r>
            <a:r>
              <a:rPr sz="1200" spc="-5">
                <a:latin typeface="Verdana"/>
                <a:cs typeface="Verdana"/>
              </a:rPr>
              <a:t>disruption to the ongoing</a:t>
            </a:r>
            <a:r>
              <a:rPr sz="1200" spc="175">
                <a:latin typeface="Verdana"/>
                <a:cs typeface="Verdana"/>
              </a:rPr>
              <a:t> </a:t>
            </a:r>
            <a:r>
              <a:rPr sz="1200">
                <a:latin typeface="Verdana"/>
                <a:cs typeface="Verdana"/>
              </a:rPr>
              <a:t>business.</a:t>
            </a:r>
          </a:p>
          <a:p>
            <a:pPr>
              <a:lnSpc>
                <a:spcPct val="100000"/>
              </a:lnSpc>
              <a:spcBef>
                <a:spcPts val="40"/>
              </a:spcBef>
            </a:pPr>
            <a:endParaRPr sz="1900">
              <a:latin typeface="Times New Roman"/>
              <a:cs typeface="Times New Roman"/>
            </a:endParaRPr>
          </a:p>
          <a:p>
            <a:pPr marL="12700" marR="365125">
              <a:lnSpc>
                <a:spcPct val="125000"/>
              </a:lnSpc>
            </a:pPr>
            <a:r>
              <a:rPr sz="1200" b="1">
                <a:solidFill>
                  <a:srgbClr val="006FAC"/>
                </a:solidFill>
                <a:latin typeface="Verdana"/>
                <a:cs typeface="Verdana"/>
              </a:rPr>
              <a:t>AMS </a:t>
            </a:r>
            <a:r>
              <a:rPr sz="1200" b="1" spc="-5">
                <a:solidFill>
                  <a:srgbClr val="006FAC"/>
                </a:solidFill>
                <a:latin typeface="Verdana"/>
                <a:cs typeface="Verdana"/>
              </a:rPr>
              <a:t>Office Industrialization </a:t>
            </a:r>
            <a:r>
              <a:rPr sz="1200" b="1">
                <a:solidFill>
                  <a:srgbClr val="006FAC"/>
                </a:solidFill>
                <a:latin typeface="Verdana"/>
                <a:cs typeface="Verdana"/>
              </a:rPr>
              <a:t>– </a:t>
            </a:r>
            <a:r>
              <a:rPr sz="1200" spc="-5">
                <a:latin typeface="Verdana"/>
                <a:cs typeface="Verdana"/>
              </a:rPr>
              <a:t>AMS Office is part </a:t>
            </a:r>
            <a:r>
              <a:rPr sz="1200">
                <a:latin typeface="Verdana"/>
                <a:cs typeface="Verdana"/>
              </a:rPr>
              <a:t>of a </a:t>
            </a:r>
            <a:r>
              <a:rPr sz="1200" spc="-5">
                <a:latin typeface="Verdana"/>
                <a:cs typeface="Verdana"/>
              </a:rPr>
              <a:t>SBU program dedicated to boost industrialization and  automation </a:t>
            </a:r>
            <a:r>
              <a:rPr sz="1200">
                <a:latin typeface="Verdana"/>
                <a:cs typeface="Verdana"/>
              </a:rPr>
              <a:t>on </a:t>
            </a:r>
            <a:r>
              <a:rPr sz="1200" spc="-5">
                <a:latin typeface="Verdana"/>
                <a:cs typeface="Verdana"/>
              </a:rPr>
              <a:t>ADM Engagements; through business cases approach, </a:t>
            </a:r>
            <a:r>
              <a:rPr sz="1200">
                <a:latin typeface="Verdana"/>
                <a:cs typeface="Verdana"/>
              </a:rPr>
              <a:t>a </a:t>
            </a:r>
            <a:r>
              <a:rPr sz="1200" spc="-5">
                <a:latin typeface="Verdana"/>
                <a:cs typeface="Verdana"/>
              </a:rPr>
              <a:t>dedicated </a:t>
            </a:r>
            <a:r>
              <a:rPr sz="1200" spc="-35">
                <a:latin typeface="Verdana"/>
                <a:cs typeface="Verdana"/>
              </a:rPr>
              <a:t>Team </a:t>
            </a:r>
            <a:r>
              <a:rPr sz="1200" spc="-5">
                <a:latin typeface="Verdana"/>
                <a:cs typeface="Verdana"/>
              </a:rPr>
              <a:t>supports AMS </a:t>
            </a:r>
            <a:r>
              <a:rPr sz="1200">
                <a:latin typeface="Verdana"/>
                <a:cs typeface="Verdana"/>
              </a:rPr>
              <a:t>references </a:t>
            </a:r>
            <a:r>
              <a:rPr sz="1200" spc="-5">
                <a:latin typeface="Verdana"/>
                <a:cs typeface="Verdana"/>
              </a:rPr>
              <a:t>to  launch Continuous Improvement</a:t>
            </a:r>
            <a:r>
              <a:rPr sz="1200" spc="40">
                <a:latin typeface="Verdana"/>
                <a:cs typeface="Verdana"/>
              </a:rPr>
              <a:t> </a:t>
            </a:r>
            <a:r>
              <a:rPr sz="1200" spc="-10">
                <a:latin typeface="Verdana"/>
                <a:cs typeface="Verdana"/>
              </a:rPr>
              <a:t>Actions.</a:t>
            </a:r>
            <a:endParaRPr sz="1200">
              <a:latin typeface="Verdana"/>
              <a:cs typeface="Verdana"/>
            </a:endParaRPr>
          </a:p>
        </p:txBody>
      </p:sp>
      <p:sp>
        <p:nvSpPr>
          <p:cNvPr id="16" name="object 16"/>
          <p:cNvSpPr/>
          <p:nvPr/>
        </p:nvSpPr>
        <p:spPr>
          <a:xfrm>
            <a:off x="2077211" y="1978151"/>
            <a:ext cx="1027176" cy="1030224"/>
          </a:xfrm>
          <a:prstGeom prst="rect">
            <a:avLst/>
          </a:prstGeom>
          <a:blipFill>
            <a:blip r:embed="rId8" cstate="print"/>
            <a:stretch>
              <a:fillRect/>
            </a:stretch>
          </a:blipFill>
        </p:spPr>
        <p:txBody>
          <a:bodyPr wrap="square" lIns="0" tIns="0" rIns="0" bIns="0" rtlCol="0"/>
          <a:lstStyle/>
          <a:p>
            <a:endParaRPr/>
          </a:p>
        </p:txBody>
      </p:sp>
      <p:sp>
        <p:nvSpPr>
          <p:cNvPr id="17" name="object 17"/>
          <p:cNvSpPr/>
          <p:nvPr/>
        </p:nvSpPr>
        <p:spPr>
          <a:xfrm>
            <a:off x="2456688" y="3762755"/>
            <a:ext cx="1027176" cy="1031747"/>
          </a:xfrm>
          <a:prstGeom prst="rect">
            <a:avLst/>
          </a:prstGeom>
          <a:blipFill>
            <a:blip r:embed="rId9" cstate="print"/>
            <a:stretch>
              <a:fillRect/>
            </a:stretch>
          </a:blipFill>
        </p:spPr>
        <p:txBody>
          <a:bodyPr wrap="square" lIns="0" tIns="0" rIns="0" bIns="0" rtlCol="0"/>
          <a:lstStyle/>
          <a:p>
            <a:endParaRPr/>
          </a:p>
        </p:txBody>
      </p:sp>
      <p:sp>
        <p:nvSpPr>
          <p:cNvPr id="18" name="object 18"/>
          <p:cNvSpPr/>
          <p:nvPr/>
        </p:nvSpPr>
        <p:spPr>
          <a:xfrm>
            <a:off x="1472183" y="1088136"/>
            <a:ext cx="1037843" cy="1043939"/>
          </a:xfrm>
          <a:prstGeom prst="rect">
            <a:avLst/>
          </a:prstGeom>
          <a:blipFill>
            <a:blip r:embed="rId10" cstate="print"/>
            <a:stretch>
              <a:fillRect/>
            </a:stretch>
          </a:blipFill>
        </p:spPr>
        <p:txBody>
          <a:bodyPr wrap="square" lIns="0" tIns="0" rIns="0" bIns="0" rtlCol="0"/>
          <a:lstStyle/>
          <a:p>
            <a:endParaRPr/>
          </a:p>
        </p:txBody>
      </p:sp>
      <p:sp>
        <p:nvSpPr>
          <p:cNvPr id="19" name="object 19"/>
          <p:cNvSpPr/>
          <p:nvPr/>
        </p:nvSpPr>
        <p:spPr>
          <a:xfrm>
            <a:off x="2456688" y="2860548"/>
            <a:ext cx="1027176" cy="1031747"/>
          </a:xfrm>
          <a:prstGeom prst="rect">
            <a:avLst/>
          </a:prstGeom>
          <a:blipFill>
            <a:blip r:embed="rId11" cstate="print"/>
            <a:stretch>
              <a:fillRect/>
            </a:stretch>
          </a:blipFill>
        </p:spPr>
        <p:txBody>
          <a:bodyPr wrap="square" lIns="0" tIns="0" rIns="0" bIns="0" rtlCol="0"/>
          <a:lstStyle/>
          <a:p>
            <a:endParaRPr/>
          </a:p>
        </p:txBody>
      </p:sp>
      <p:sp>
        <p:nvSpPr>
          <p:cNvPr id="20" name="object 20"/>
          <p:cNvSpPr/>
          <p:nvPr/>
        </p:nvSpPr>
        <p:spPr>
          <a:xfrm>
            <a:off x="1478280" y="5509259"/>
            <a:ext cx="1025652" cy="1031747"/>
          </a:xfrm>
          <a:prstGeom prst="rect">
            <a:avLst/>
          </a:prstGeom>
          <a:blipFill>
            <a:blip r:embed="rId12" cstate="print"/>
            <a:stretch>
              <a:fillRect/>
            </a:stretch>
          </a:blipFill>
        </p:spPr>
        <p:txBody>
          <a:bodyPr wrap="square" lIns="0" tIns="0" rIns="0" bIns="0" rtlCol="0"/>
          <a:lstStyle/>
          <a:p>
            <a:endParaRPr/>
          </a:p>
        </p:txBody>
      </p:sp>
      <p:sp>
        <p:nvSpPr>
          <p:cNvPr id="21" name="object 21"/>
          <p:cNvSpPr/>
          <p:nvPr/>
        </p:nvSpPr>
        <p:spPr>
          <a:xfrm>
            <a:off x="2077211" y="4654296"/>
            <a:ext cx="1027176" cy="1031747"/>
          </a:xfrm>
          <a:prstGeom prst="rect">
            <a:avLst/>
          </a:prstGeom>
          <a:blipFill>
            <a:blip r:embed="rId13" cstate="print"/>
            <a:stretch>
              <a:fillRect/>
            </a:stretch>
          </a:blipFill>
        </p:spPr>
        <p:txBody>
          <a:bodyPr wrap="square" lIns="0" tIns="0" rIns="0" bIns="0" rtlCol="0"/>
          <a:lstStyle/>
          <a:p>
            <a:endParaRPr/>
          </a:p>
        </p:txBody>
      </p:sp>
      <p:sp>
        <p:nvSpPr>
          <p:cNvPr id="22" name="object 22"/>
          <p:cNvSpPr/>
          <p:nvPr/>
        </p:nvSpPr>
        <p:spPr>
          <a:xfrm>
            <a:off x="3043808" y="4166996"/>
            <a:ext cx="83185" cy="89535"/>
          </a:xfrm>
          <a:custGeom>
            <a:avLst/>
            <a:gdLst/>
            <a:ahLst/>
            <a:cxnLst/>
            <a:rect l="l" t="t" r="r" b="b"/>
            <a:pathLst>
              <a:path w="83185" h="89535">
                <a:moveTo>
                  <a:pt x="34671" y="0"/>
                </a:moveTo>
                <a:lnTo>
                  <a:pt x="19984" y="8090"/>
                </a:lnTo>
                <a:lnTo>
                  <a:pt x="8239" y="21002"/>
                </a:lnTo>
                <a:lnTo>
                  <a:pt x="1041" y="37129"/>
                </a:lnTo>
                <a:lnTo>
                  <a:pt x="0" y="54863"/>
                </a:lnTo>
                <a:lnTo>
                  <a:pt x="6096" y="70830"/>
                </a:lnTo>
                <a:lnTo>
                  <a:pt x="17716" y="82295"/>
                </a:lnTo>
                <a:lnTo>
                  <a:pt x="32575" y="88618"/>
                </a:lnTo>
                <a:lnTo>
                  <a:pt x="48387" y="89153"/>
                </a:lnTo>
                <a:lnTo>
                  <a:pt x="64519" y="81599"/>
                </a:lnTo>
                <a:lnTo>
                  <a:pt x="76104" y="69865"/>
                </a:lnTo>
                <a:lnTo>
                  <a:pt x="82498" y="54917"/>
                </a:lnTo>
                <a:lnTo>
                  <a:pt x="83058" y="37718"/>
                </a:lnTo>
                <a:lnTo>
                  <a:pt x="77444" y="21216"/>
                </a:lnTo>
                <a:lnTo>
                  <a:pt x="66627" y="8572"/>
                </a:lnTo>
                <a:lnTo>
                  <a:pt x="51929" y="1071"/>
                </a:lnTo>
                <a:lnTo>
                  <a:pt x="34671" y="0"/>
                </a:lnTo>
                <a:close/>
              </a:path>
            </a:pathLst>
          </a:custGeom>
          <a:solidFill>
            <a:srgbClr val="006FAC"/>
          </a:solidFill>
        </p:spPr>
        <p:txBody>
          <a:bodyPr wrap="square" lIns="0" tIns="0" rIns="0" bIns="0" rtlCol="0"/>
          <a:lstStyle/>
          <a:p>
            <a:endParaRPr/>
          </a:p>
        </p:txBody>
      </p:sp>
      <p:sp>
        <p:nvSpPr>
          <p:cNvPr id="23" name="object 23"/>
          <p:cNvSpPr/>
          <p:nvPr/>
        </p:nvSpPr>
        <p:spPr>
          <a:xfrm>
            <a:off x="3006851" y="4278173"/>
            <a:ext cx="155575" cy="87630"/>
          </a:xfrm>
          <a:custGeom>
            <a:avLst/>
            <a:gdLst/>
            <a:ahLst/>
            <a:cxnLst/>
            <a:rect l="l" t="t" r="r" b="b"/>
            <a:pathLst>
              <a:path w="155575" h="87629">
                <a:moveTo>
                  <a:pt x="95916" y="0"/>
                </a:moveTo>
                <a:lnTo>
                  <a:pt x="38736" y="10177"/>
                </a:lnTo>
                <a:lnTo>
                  <a:pt x="8165" y="39352"/>
                </a:lnTo>
                <a:lnTo>
                  <a:pt x="0" y="60273"/>
                </a:lnTo>
                <a:lnTo>
                  <a:pt x="0" y="77164"/>
                </a:lnTo>
                <a:lnTo>
                  <a:pt x="28245" y="79664"/>
                </a:lnTo>
                <a:lnTo>
                  <a:pt x="58134" y="84403"/>
                </a:lnTo>
                <a:lnTo>
                  <a:pt x="134366" y="84022"/>
                </a:lnTo>
                <a:lnTo>
                  <a:pt x="155225" y="62055"/>
                </a:lnTo>
                <a:lnTo>
                  <a:pt x="155067" y="50113"/>
                </a:lnTo>
                <a:lnTo>
                  <a:pt x="144843" y="27868"/>
                </a:lnTo>
                <a:lnTo>
                  <a:pt x="124904" y="9790"/>
                </a:lnTo>
                <a:lnTo>
                  <a:pt x="95916" y="0"/>
                </a:lnTo>
                <a:close/>
              </a:path>
            </a:pathLst>
          </a:custGeom>
          <a:solidFill>
            <a:srgbClr val="006FAC"/>
          </a:solidFill>
        </p:spPr>
        <p:txBody>
          <a:bodyPr wrap="square" lIns="0" tIns="0" rIns="0" bIns="0" rtlCol="0"/>
          <a:lstStyle/>
          <a:p>
            <a:endParaRPr/>
          </a:p>
        </p:txBody>
      </p:sp>
      <p:sp>
        <p:nvSpPr>
          <p:cNvPr id="24" name="object 24"/>
          <p:cNvSpPr/>
          <p:nvPr/>
        </p:nvSpPr>
        <p:spPr>
          <a:xfrm>
            <a:off x="2798365" y="4139565"/>
            <a:ext cx="70945" cy="75437"/>
          </a:xfrm>
          <a:prstGeom prst="rect">
            <a:avLst/>
          </a:prstGeom>
          <a:blipFill>
            <a:blip r:embed="rId14" cstate="print"/>
            <a:stretch>
              <a:fillRect/>
            </a:stretch>
          </a:blipFill>
        </p:spPr>
        <p:txBody>
          <a:bodyPr wrap="square" lIns="0" tIns="0" rIns="0" bIns="0" rtlCol="0"/>
          <a:lstStyle/>
          <a:p>
            <a:endParaRPr/>
          </a:p>
        </p:txBody>
      </p:sp>
      <p:sp>
        <p:nvSpPr>
          <p:cNvPr id="25" name="object 25"/>
          <p:cNvSpPr/>
          <p:nvPr/>
        </p:nvSpPr>
        <p:spPr>
          <a:xfrm>
            <a:off x="2766278" y="4235128"/>
            <a:ext cx="137160" cy="77470"/>
          </a:xfrm>
          <a:custGeom>
            <a:avLst/>
            <a:gdLst/>
            <a:ahLst/>
            <a:cxnLst/>
            <a:rect l="l" t="t" r="r" b="b"/>
            <a:pathLst>
              <a:path w="137160" h="77470">
                <a:moveTo>
                  <a:pt x="53044" y="0"/>
                </a:moveTo>
                <a:lnTo>
                  <a:pt x="27515" y="9433"/>
                </a:lnTo>
                <a:lnTo>
                  <a:pt x="9677" y="25963"/>
                </a:lnTo>
                <a:lnTo>
                  <a:pt x="162" y="46041"/>
                </a:lnTo>
                <a:lnTo>
                  <a:pt x="0" y="56134"/>
                </a:lnTo>
                <a:lnTo>
                  <a:pt x="4004" y="64964"/>
                </a:lnTo>
                <a:lnTo>
                  <a:pt x="11199" y="71223"/>
                </a:lnTo>
                <a:lnTo>
                  <a:pt x="20609" y="73600"/>
                </a:lnTo>
                <a:lnTo>
                  <a:pt x="57074" y="77404"/>
                </a:lnTo>
                <a:lnTo>
                  <a:pt x="86490" y="75743"/>
                </a:lnTo>
                <a:lnTo>
                  <a:pt x="112049" y="72153"/>
                </a:lnTo>
                <a:lnTo>
                  <a:pt x="136941" y="70171"/>
                </a:lnTo>
                <a:lnTo>
                  <a:pt x="136941" y="59757"/>
                </a:lnTo>
                <a:lnTo>
                  <a:pt x="133512" y="52899"/>
                </a:lnTo>
                <a:lnTo>
                  <a:pt x="127960" y="35625"/>
                </a:lnTo>
                <a:lnTo>
                  <a:pt x="117288" y="20625"/>
                </a:lnTo>
                <a:lnTo>
                  <a:pt x="102758" y="8840"/>
                </a:lnTo>
                <a:lnTo>
                  <a:pt x="85633" y="1210"/>
                </a:lnTo>
                <a:lnTo>
                  <a:pt x="53044" y="0"/>
                </a:lnTo>
                <a:close/>
              </a:path>
            </a:pathLst>
          </a:custGeom>
          <a:solidFill>
            <a:srgbClr val="006FAC"/>
          </a:solidFill>
        </p:spPr>
        <p:txBody>
          <a:bodyPr wrap="square" lIns="0" tIns="0" rIns="0" bIns="0" rtlCol="0"/>
          <a:lstStyle/>
          <a:p>
            <a:endParaRPr/>
          </a:p>
        </p:txBody>
      </p:sp>
      <p:sp>
        <p:nvSpPr>
          <p:cNvPr id="26" name="object 26"/>
          <p:cNvSpPr/>
          <p:nvPr/>
        </p:nvSpPr>
        <p:spPr>
          <a:xfrm>
            <a:off x="2891408" y="4112133"/>
            <a:ext cx="120014" cy="127635"/>
          </a:xfrm>
          <a:custGeom>
            <a:avLst/>
            <a:gdLst/>
            <a:ahLst/>
            <a:cxnLst/>
            <a:rect l="l" t="t" r="r" b="b"/>
            <a:pathLst>
              <a:path w="120014" h="127635">
                <a:moveTo>
                  <a:pt x="58293" y="0"/>
                </a:moveTo>
                <a:lnTo>
                  <a:pt x="34236" y="5433"/>
                </a:lnTo>
                <a:lnTo>
                  <a:pt x="15001" y="20224"/>
                </a:lnTo>
                <a:lnTo>
                  <a:pt x="2839" y="42112"/>
                </a:lnTo>
                <a:lnTo>
                  <a:pt x="0" y="68834"/>
                </a:lnTo>
                <a:lnTo>
                  <a:pt x="4822" y="92910"/>
                </a:lnTo>
                <a:lnTo>
                  <a:pt x="18002" y="112188"/>
                </a:lnTo>
                <a:lnTo>
                  <a:pt x="37611" y="124394"/>
                </a:lnTo>
                <a:lnTo>
                  <a:pt x="61722" y="127254"/>
                </a:lnTo>
                <a:lnTo>
                  <a:pt x="86742" y="119891"/>
                </a:lnTo>
                <a:lnTo>
                  <a:pt x="105013" y="104457"/>
                </a:lnTo>
                <a:lnTo>
                  <a:pt x="116210" y="83212"/>
                </a:lnTo>
                <a:lnTo>
                  <a:pt x="120015" y="58420"/>
                </a:lnTo>
                <a:lnTo>
                  <a:pt x="115192" y="34343"/>
                </a:lnTo>
                <a:lnTo>
                  <a:pt x="102012" y="15065"/>
                </a:lnTo>
                <a:lnTo>
                  <a:pt x="82403" y="2859"/>
                </a:lnTo>
                <a:lnTo>
                  <a:pt x="58293" y="0"/>
                </a:lnTo>
                <a:close/>
              </a:path>
            </a:pathLst>
          </a:custGeom>
          <a:solidFill>
            <a:srgbClr val="006FAC"/>
          </a:solidFill>
        </p:spPr>
        <p:txBody>
          <a:bodyPr wrap="square" lIns="0" tIns="0" rIns="0" bIns="0" rtlCol="0"/>
          <a:lstStyle/>
          <a:p>
            <a:endParaRPr/>
          </a:p>
        </p:txBody>
      </p:sp>
      <p:sp>
        <p:nvSpPr>
          <p:cNvPr id="27" name="object 27"/>
          <p:cNvSpPr/>
          <p:nvPr/>
        </p:nvSpPr>
        <p:spPr>
          <a:xfrm>
            <a:off x="2836164" y="4270355"/>
            <a:ext cx="221615" cy="127635"/>
          </a:xfrm>
          <a:custGeom>
            <a:avLst/>
            <a:gdLst/>
            <a:ahLst/>
            <a:cxnLst/>
            <a:rect l="l" t="t" r="r" b="b"/>
            <a:pathLst>
              <a:path w="221614" h="127635">
                <a:moveTo>
                  <a:pt x="134427" y="0"/>
                </a:moveTo>
                <a:lnTo>
                  <a:pt x="81915" y="3321"/>
                </a:lnTo>
                <a:lnTo>
                  <a:pt x="30718" y="33325"/>
                </a:lnTo>
                <a:lnTo>
                  <a:pt x="0" y="89046"/>
                </a:lnTo>
                <a:lnTo>
                  <a:pt x="0" y="116478"/>
                </a:lnTo>
                <a:lnTo>
                  <a:pt x="38919" y="118032"/>
                </a:lnTo>
                <a:lnTo>
                  <a:pt x="81041" y="123765"/>
                </a:lnTo>
                <a:lnTo>
                  <a:pt x="129569" y="127569"/>
                </a:lnTo>
                <a:lnTo>
                  <a:pt x="187706" y="123336"/>
                </a:lnTo>
                <a:lnTo>
                  <a:pt x="221228" y="86689"/>
                </a:lnTo>
                <a:lnTo>
                  <a:pt x="218312" y="68472"/>
                </a:lnTo>
                <a:lnTo>
                  <a:pt x="202305" y="37076"/>
                </a:lnTo>
                <a:lnTo>
                  <a:pt x="174450" y="12751"/>
                </a:lnTo>
                <a:lnTo>
                  <a:pt x="134427" y="0"/>
                </a:lnTo>
                <a:close/>
              </a:path>
            </a:pathLst>
          </a:custGeom>
          <a:solidFill>
            <a:srgbClr val="006FAC"/>
          </a:solidFill>
        </p:spPr>
        <p:txBody>
          <a:bodyPr wrap="square" lIns="0" tIns="0" rIns="0" bIns="0" rtlCol="0"/>
          <a:lstStyle/>
          <a:p>
            <a:endParaRPr/>
          </a:p>
        </p:txBody>
      </p:sp>
      <p:sp>
        <p:nvSpPr>
          <p:cNvPr id="28" name="object 28"/>
          <p:cNvSpPr/>
          <p:nvPr/>
        </p:nvSpPr>
        <p:spPr>
          <a:xfrm>
            <a:off x="1350349" y="3457409"/>
            <a:ext cx="633898" cy="582457"/>
          </a:xfrm>
          <a:prstGeom prst="rect">
            <a:avLst/>
          </a:prstGeom>
          <a:blipFill>
            <a:blip r:embed="rId15" cstate="print"/>
            <a:stretch>
              <a:fillRect/>
            </a:stretch>
          </a:blipFill>
        </p:spPr>
        <p:txBody>
          <a:bodyPr wrap="square" lIns="0" tIns="0" rIns="0" bIns="0" rtlCol="0"/>
          <a:lstStyle/>
          <a:p>
            <a:endParaRPr/>
          </a:p>
        </p:txBody>
      </p:sp>
      <p:sp>
        <p:nvSpPr>
          <p:cNvPr id="29" name="object 29"/>
          <p:cNvSpPr/>
          <p:nvPr/>
        </p:nvSpPr>
        <p:spPr>
          <a:xfrm>
            <a:off x="2404872" y="2284476"/>
            <a:ext cx="326135" cy="364236"/>
          </a:xfrm>
          <a:prstGeom prst="rect">
            <a:avLst/>
          </a:prstGeom>
          <a:blipFill>
            <a:blip r:embed="rId16" cstate="print"/>
            <a:stretch>
              <a:fillRect/>
            </a:stretch>
          </a:blipFill>
        </p:spPr>
        <p:txBody>
          <a:bodyPr wrap="square" lIns="0" tIns="0" rIns="0" bIns="0" rtlCol="0"/>
          <a:lstStyle/>
          <a:p>
            <a:endParaRPr/>
          </a:p>
        </p:txBody>
      </p:sp>
      <p:sp>
        <p:nvSpPr>
          <p:cNvPr id="30" name="object 30"/>
          <p:cNvSpPr/>
          <p:nvPr/>
        </p:nvSpPr>
        <p:spPr>
          <a:xfrm>
            <a:off x="2807144" y="3214874"/>
            <a:ext cx="320675" cy="321310"/>
          </a:xfrm>
          <a:custGeom>
            <a:avLst/>
            <a:gdLst/>
            <a:ahLst/>
            <a:cxnLst/>
            <a:rect l="l" t="t" r="r" b="b"/>
            <a:pathLst>
              <a:path w="320675" h="321310">
                <a:moveTo>
                  <a:pt x="50476" y="223208"/>
                </a:moveTo>
                <a:lnTo>
                  <a:pt x="13525" y="235334"/>
                </a:lnTo>
                <a:lnTo>
                  <a:pt x="0" y="271339"/>
                </a:lnTo>
                <a:lnTo>
                  <a:pt x="3381" y="290020"/>
                </a:lnTo>
                <a:lnTo>
                  <a:pt x="13525" y="307343"/>
                </a:lnTo>
                <a:lnTo>
                  <a:pt x="30849" y="317488"/>
                </a:lnTo>
                <a:lnTo>
                  <a:pt x="49529" y="320869"/>
                </a:lnTo>
                <a:lnTo>
                  <a:pt x="68210" y="317488"/>
                </a:lnTo>
                <a:lnTo>
                  <a:pt x="85534" y="307343"/>
                </a:lnTo>
                <a:lnTo>
                  <a:pt x="92410" y="296548"/>
                </a:lnTo>
                <a:lnTo>
                  <a:pt x="56705" y="296548"/>
                </a:lnTo>
                <a:lnTo>
                  <a:pt x="31559" y="289309"/>
                </a:lnTo>
                <a:lnTo>
                  <a:pt x="24320" y="264163"/>
                </a:lnTo>
                <a:lnTo>
                  <a:pt x="42354" y="249812"/>
                </a:lnTo>
                <a:lnTo>
                  <a:pt x="103441" y="249812"/>
                </a:lnTo>
                <a:lnTo>
                  <a:pt x="128714" y="224539"/>
                </a:lnTo>
                <a:lnTo>
                  <a:pt x="63944" y="224539"/>
                </a:lnTo>
                <a:lnTo>
                  <a:pt x="50476" y="223208"/>
                </a:lnTo>
                <a:close/>
              </a:path>
              <a:path w="320675" h="321310">
                <a:moveTo>
                  <a:pt x="103441" y="249812"/>
                </a:moveTo>
                <a:lnTo>
                  <a:pt x="42354" y="249812"/>
                </a:lnTo>
                <a:lnTo>
                  <a:pt x="67500" y="253368"/>
                </a:lnTo>
                <a:lnTo>
                  <a:pt x="71056" y="278514"/>
                </a:lnTo>
                <a:lnTo>
                  <a:pt x="56705" y="296548"/>
                </a:lnTo>
                <a:lnTo>
                  <a:pt x="92410" y="296548"/>
                </a:lnTo>
                <a:lnTo>
                  <a:pt x="92793" y="295947"/>
                </a:lnTo>
                <a:lnTo>
                  <a:pt x="97694" y="283515"/>
                </a:lnTo>
                <a:lnTo>
                  <a:pt x="99214" y="270392"/>
                </a:lnTo>
                <a:lnTo>
                  <a:pt x="96329" y="256924"/>
                </a:lnTo>
                <a:lnTo>
                  <a:pt x="103441" y="249812"/>
                </a:lnTo>
                <a:close/>
              </a:path>
              <a:path w="320675" h="321310">
                <a:moveTo>
                  <a:pt x="255708" y="0"/>
                </a:moveTo>
                <a:lnTo>
                  <a:pt x="218757" y="15751"/>
                </a:lnTo>
                <a:lnTo>
                  <a:pt x="203059" y="63829"/>
                </a:lnTo>
                <a:lnTo>
                  <a:pt x="207962" y="80521"/>
                </a:lnTo>
                <a:lnTo>
                  <a:pt x="63944" y="224539"/>
                </a:lnTo>
                <a:lnTo>
                  <a:pt x="128714" y="224539"/>
                </a:lnTo>
                <a:lnTo>
                  <a:pt x="240347" y="112906"/>
                </a:lnTo>
                <a:lnTo>
                  <a:pt x="286065" y="112906"/>
                </a:lnTo>
                <a:lnTo>
                  <a:pt x="317738" y="78283"/>
                </a:lnTo>
                <a:lnTo>
                  <a:pt x="318000" y="76965"/>
                </a:lnTo>
                <a:lnTo>
                  <a:pt x="294322" y="76965"/>
                </a:lnTo>
                <a:lnTo>
                  <a:pt x="258381" y="62487"/>
                </a:lnTo>
                <a:lnTo>
                  <a:pt x="243903" y="26546"/>
                </a:lnTo>
                <a:lnTo>
                  <a:pt x="269176" y="1273"/>
                </a:lnTo>
                <a:lnTo>
                  <a:pt x="255708" y="0"/>
                </a:lnTo>
                <a:close/>
              </a:path>
              <a:path w="320675" h="321310">
                <a:moveTo>
                  <a:pt x="286065" y="112906"/>
                </a:moveTo>
                <a:lnTo>
                  <a:pt x="240347" y="112906"/>
                </a:lnTo>
                <a:lnTo>
                  <a:pt x="257040" y="117810"/>
                </a:lnTo>
                <a:lnTo>
                  <a:pt x="274065" y="116986"/>
                </a:lnTo>
                <a:lnTo>
                  <a:pt x="286065" y="112906"/>
                </a:lnTo>
                <a:close/>
              </a:path>
              <a:path w="320675" h="321310">
                <a:moveTo>
                  <a:pt x="319595" y="51692"/>
                </a:moveTo>
                <a:lnTo>
                  <a:pt x="294322" y="76965"/>
                </a:lnTo>
                <a:lnTo>
                  <a:pt x="318000" y="76965"/>
                </a:lnTo>
                <a:lnTo>
                  <a:pt x="320351" y="65160"/>
                </a:lnTo>
                <a:lnTo>
                  <a:pt x="319595" y="51692"/>
                </a:lnTo>
                <a:close/>
              </a:path>
            </a:pathLst>
          </a:custGeom>
          <a:solidFill>
            <a:srgbClr val="12ABDB"/>
          </a:solidFill>
        </p:spPr>
        <p:txBody>
          <a:bodyPr wrap="square" lIns="0" tIns="0" rIns="0" bIns="0" rtlCol="0"/>
          <a:lstStyle/>
          <a:p>
            <a:endParaRPr/>
          </a:p>
        </p:txBody>
      </p:sp>
      <p:sp>
        <p:nvSpPr>
          <p:cNvPr id="31" name="object 31"/>
          <p:cNvSpPr/>
          <p:nvPr/>
        </p:nvSpPr>
        <p:spPr>
          <a:xfrm>
            <a:off x="2977895" y="3383279"/>
            <a:ext cx="50800" cy="50800"/>
          </a:xfrm>
          <a:custGeom>
            <a:avLst/>
            <a:gdLst/>
            <a:ahLst/>
            <a:cxnLst/>
            <a:rect l="l" t="t" r="r" b="b"/>
            <a:pathLst>
              <a:path w="50800" h="50800">
                <a:moveTo>
                  <a:pt x="35179" y="0"/>
                </a:moveTo>
                <a:lnTo>
                  <a:pt x="0" y="35179"/>
                </a:lnTo>
                <a:lnTo>
                  <a:pt x="15112" y="50292"/>
                </a:lnTo>
                <a:lnTo>
                  <a:pt x="50292" y="12573"/>
                </a:lnTo>
                <a:lnTo>
                  <a:pt x="35179" y="0"/>
                </a:lnTo>
                <a:close/>
              </a:path>
            </a:pathLst>
          </a:custGeom>
          <a:solidFill>
            <a:srgbClr val="FFFFFF"/>
          </a:solidFill>
        </p:spPr>
        <p:txBody>
          <a:bodyPr wrap="square" lIns="0" tIns="0" rIns="0" bIns="0" rtlCol="0"/>
          <a:lstStyle/>
          <a:p>
            <a:endParaRPr/>
          </a:p>
        </p:txBody>
      </p:sp>
      <p:sp>
        <p:nvSpPr>
          <p:cNvPr id="32" name="object 32"/>
          <p:cNvSpPr/>
          <p:nvPr/>
        </p:nvSpPr>
        <p:spPr>
          <a:xfrm>
            <a:off x="2808732" y="3212592"/>
            <a:ext cx="143256" cy="144780"/>
          </a:xfrm>
          <a:prstGeom prst="rect">
            <a:avLst/>
          </a:prstGeom>
          <a:blipFill>
            <a:blip r:embed="rId17" cstate="print"/>
            <a:stretch>
              <a:fillRect/>
            </a:stretch>
          </a:blipFill>
        </p:spPr>
        <p:txBody>
          <a:bodyPr wrap="square" lIns="0" tIns="0" rIns="0" bIns="0" rtlCol="0"/>
          <a:lstStyle/>
          <a:p>
            <a:endParaRPr/>
          </a:p>
        </p:txBody>
      </p:sp>
      <p:sp>
        <p:nvSpPr>
          <p:cNvPr id="33" name="object 33"/>
          <p:cNvSpPr/>
          <p:nvPr/>
        </p:nvSpPr>
        <p:spPr>
          <a:xfrm>
            <a:off x="3002279" y="3409188"/>
            <a:ext cx="128270" cy="128270"/>
          </a:xfrm>
          <a:custGeom>
            <a:avLst/>
            <a:gdLst/>
            <a:ahLst/>
            <a:cxnLst/>
            <a:rect l="l" t="t" r="r" b="b"/>
            <a:pathLst>
              <a:path w="128269" h="128270">
                <a:moveTo>
                  <a:pt x="28447" y="0"/>
                </a:moveTo>
                <a:lnTo>
                  <a:pt x="0" y="28448"/>
                </a:lnTo>
                <a:lnTo>
                  <a:pt x="96012" y="124460"/>
                </a:lnTo>
                <a:lnTo>
                  <a:pt x="103124" y="128015"/>
                </a:lnTo>
                <a:lnTo>
                  <a:pt x="110236" y="128015"/>
                </a:lnTo>
                <a:lnTo>
                  <a:pt x="128015" y="110236"/>
                </a:lnTo>
                <a:lnTo>
                  <a:pt x="128015" y="103124"/>
                </a:lnTo>
                <a:lnTo>
                  <a:pt x="120903" y="96012"/>
                </a:lnTo>
                <a:lnTo>
                  <a:pt x="28447" y="0"/>
                </a:lnTo>
                <a:close/>
              </a:path>
            </a:pathLst>
          </a:custGeom>
          <a:solidFill>
            <a:srgbClr val="12ABDB"/>
          </a:solidFill>
        </p:spPr>
        <p:txBody>
          <a:bodyPr wrap="square" lIns="0" tIns="0" rIns="0" bIns="0" rtlCol="0"/>
          <a:lstStyle/>
          <a:p>
            <a:endParaRPr/>
          </a:p>
        </p:txBody>
      </p:sp>
      <p:sp>
        <p:nvSpPr>
          <p:cNvPr id="34" name="object 34"/>
          <p:cNvSpPr/>
          <p:nvPr/>
        </p:nvSpPr>
        <p:spPr>
          <a:xfrm>
            <a:off x="1988853" y="5889180"/>
            <a:ext cx="149860" cy="300990"/>
          </a:xfrm>
          <a:custGeom>
            <a:avLst/>
            <a:gdLst/>
            <a:ahLst/>
            <a:cxnLst/>
            <a:rect l="l" t="t" r="r" b="b"/>
            <a:pathLst>
              <a:path w="149860" h="300989">
                <a:moveTo>
                  <a:pt x="54195" y="0"/>
                </a:moveTo>
                <a:lnTo>
                  <a:pt x="42969" y="85"/>
                </a:lnTo>
                <a:lnTo>
                  <a:pt x="31827" y="1036"/>
                </a:lnTo>
                <a:lnTo>
                  <a:pt x="20851" y="2895"/>
                </a:lnTo>
                <a:lnTo>
                  <a:pt x="10126" y="5702"/>
                </a:lnTo>
                <a:lnTo>
                  <a:pt x="8348" y="6134"/>
                </a:lnTo>
                <a:lnTo>
                  <a:pt x="7078" y="6578"/>
                </a:lnTo>
                <a:lnTo>
                  <a:pt x="5681" y="7899"/>
                </a:lnTo>
                <a:lnTo>
                  <a:pt x="3903" y="9651"/>
                </a:lnTo>
                <a:lnTo>
                  <a:pt x="3522" y="12280"/>
                </a:lnTo>
                <a:lnTo>
                  <a:pt x="3014" y="14922"/>
                </a:lnTo>
                <a:lnTo>
                  <a:pt x="1252" y="32364"/>
                </a:lnTo>
                <a:lnTo>
                  <a:pt x="347" y="49809"/>
                </a:lnTo>
                <a:lnTo>
                  <a:pt x="13" y="67254"/>
                </a:lnTo>
                <a:lnTo>
                  <a:pt x="0" y="91266"/>
                </a:lnTo>
                <a:lnTo>
                  <a:pt x="236" y="97756"/>
                </a:lnTo>
                <a:lnTo>
                  <a:pt x="14618" y="135447"/>
                </a:lnTo>
                <a:lnTo>
                  <a:pt x="24604" y="148335"/>
                </a:lnTo>
                <a:lnTo>
                  <a:pt x="26382" y="150533"/>
                </a:lnTo>
                <a:lnTo>
                  <a:pt x="27779" y="153161"/>
                </a:lnTo>
                <a:lnTo>
                  <a:pt x="29430" y="157556"/>
                </a:lnTo>
                <a:lnTo>
                  <a:pt x="29938" y="162826"/>
                </a:lnTo>
                <a:lnTo>
                  <a:pt x="29979" y="260319"/>
                </a:lnTo>
                <a:lnTo>
                  <a:pt x="30271" y="267006"/>
                </a:lnTo>
                <a:lnTo>
                  <a:pt x="54260" y="300944"/>
                </a:lnTo>
                <a:lnTo>
                  <a:pt x="61989" y="300032"/>
                </a:lnTo>
                <a:lnTo>
                  <a:pt x="69218" y="297227"/>
                </a:lnTo>
                <a:lnTo>
                  <a:pt x="74388" y="292734"/>
                </a:lnTo>
                <a:lnTo>
                  <a:pt x="111599" y="292734"/>
                </a:lnTo>
                <a:lnTo>
                  <a:pt x="118965" y="253669"/>
                </a:lnTo>
                <a:lnTo>
                  <a:pt x="119185" y="232018"/>
                </a:lnTo>
                <a:lnTo>
                  <a:pt x="119298" y="210443"/>
                </a:lnTo>
                <a:lnTo>
                  <a:pt x="119346" y="157556"/>
                </a:lnTo>
                <a:lnTo>
                  <a:pt x="121124" y="153161"/>
                </a:lnTo>
                <a:lnTo>
                  <a:pt x="122394" y="150533"/>
                </a:lnTo>
                <a:lnTo>
                  <a:pt x="124680" y="148335"/>
                </a:lnTo>
                <a:lnTo>
                  <a:pt x="126458" y="146151"/>
                </a:lnTo>
                <a:lnTo>
                  <a:pt x="147159" y="110159"/>
                </a:lnTo>
                <a:lnTo>
                  <a:pt x="149318" y="84696"/>
                </a:lnTo>
                <a:lnTo>
                  <a:pt x="149048" y="67254"/>
                </a:lnTo>
                <a:lnTo>
                  <a:pt x="148588" y="49809"/>
                </a:lnTo>
                <a:lnTo>
                  <a:pt x="148006" y="39496"/>
                </a:lnTo>
                <a:lnTo>
                  <a:pt x="74388" y="39496"/>
                </a:lnTo>
                <a:lnTo>
                  <a:pt x="71000" y="33386"/>
                </a:lnTo>
                <a:lnTo>
                  <a:pt x="65291" y="22215"/>
                </a:lnTo>
                <a:lnTo>
                  <a:pt x="54195" y="0"/>
                </a:lnTo>
                <a:close/>
              </a:path>
              <a:path w="149860" h="300989">
                <a:moveTo>
                  <a:pt x="111599" y="292734"/>
                </a:moveTo>
                <a:lnTo>
                  <a:pt x="74388" y="292734"/>
                </a:lnTo>
                <a:lnTo>
                  <a:pt x="79583" y="297227"/>
                </a:lnTo>
                <a:lnTo>
                  <a:pt x="86897" y="300032"/>
                </a:lnTo>
                <a:lnTo>
                  <a:pt x="94783" y="300944"/>
                </a:lnTo>
                <a:lnTo>
                  <a:pt x="101693" y="299758"/>
                </a:lnTo>
                <a:lnTo>
                  <a:pt x="109186" y="296684"/>
                </a:lnTo>
                <a:lnTo>
                  <a:pt x="111599" y="292734"/>
                </a:lnTo>
                <a:close/>
              </a:path>
              <a:path w="149860" h="300989">
                <a:moveTo>
                  <a:pt x="94708" y="0"/>
                </a:moveTo>
                <a:lnTo>
                  <a:pt x="83738" y="22215"/>
                </a:lnTo>
                <a:lnTo>
                  <a:pt x="78009" y="33386"/>
                </a:lnTo>
                <a:lnTo>
                  <a:pt x="74388" y="39496"/>
                </a:lnTo>
                <a:lnTo>
                  <a:pt x="148006" y="39496"/>
                </a:lnTo>
                <a:lnTo>
                  <a:pt x="143095" y="7899"/>
                </a:lnTo>
                <a:lnTo>
                  <a:pt x="141825" y="6578"/>
                </a:lnTo>
                <a:lnTo>
                  <a:pt x="105939" y="85"/>
                </a:lnTo>
                <a:lnTo>
                  <a:pt x="94708" y="0"/>
                </a:lnTo>
                <a:close/>
              </a:path>
            </a:pathLst>
          </a:custGeom>
          <a:solidFill>
            <a:srgbClr val="2B133C"/>
          </a:solidFill>
        </p:spPr>
        <p:txBody>
          <a:bodyPr wrap="square" lIns="0" tIns="0" rIns="0" bIns="0" rtlCol="0"/>
          <a:lstStyle/>
          <a:p>
            <a:endParaRPr/>
          </a:p>
        </p:txBody>
      </p:sp>
      <p:sp>
        <p:nvSpPr>
          <p:cNvPr id="35" name="object 35"/>
          <p:cNvSpPr/>
          <p:nvPr/>
        </p:nvSpPr>
        <p:spPr>
          <a:xfrm>
            <a:off x="2028444" y="5809488"/>
            <a:ext cx="67056" cy="79248"/>
          </a:xfrm>
          <a:prstGeom prst="rect">
            <a:avLst/>
          </a:prstGeom>
          <a:blipFill>
            <a:blip r:embed="rId18" cstate="print"/>
            <a:stretch>
              <a:fillRect/>
            </a:stretch>
          </a:blipFill>
        </p:spPr>
        <p:txBody>
          <a:bodyPr wrap="square" lIns="0" tIns="0" rIns="0" bIns="0" rtlCol="0"/>
          <a:lstStyle/>
          <a:p>
            <a:endParaRPr/>
          </a:p>
        </p:txBody>
      </p:sp>
      <p:sp>
        <p:nvSpPr>
          <p:cNvPr id="36" name="object 36"/>
          <p:cNvSpPr/>
          <p:nvPr/>
        </p:nvSpPr>
        <p:spPr>
          <a:xfrm>
            <a:off x="1781555" y="5833871"/>
            <a:ext cx="243840" cy="330835"/>
          </a:xfrm>
          <a:custGeom>
            <a:avLst/>
            <a:gdLst/>
            <a:ahLst/>
            <a:cxnLst/>
            <a:rect l="l" t="t" r="r" b="b"/>
            <a:pathLst>
              <a:path w="243839" h="330835">
                <a:moveTo>
                  <a:pt x="166750" y="0"/>
                </a:moveTo>
                <a:lnTo>
                  <a:pt x="122516" y="5934"/>
                </a:lnTo>
                <a:lnTo>
                  <a:pt x="82709" y="22670"/>
                </a:lnTo>
                <a:lnTo>
                  <a:pt x="48942" y="48604"/>
                </a:lnTo>
                <a:lnTo>
                  <a:pt x="22827" y="82134"/>
                </a:lnTo>
                <a:lnTo>
                  <a:pt x="5975" y="121656"/>
                </a:lnTo>
                <a:lnTo>
                  <a:pt x="0" y="165569"/>
                </a:lnTo>
                <a:lnTo>
                  <a:pt x="5975" y="209455"/>
                </a:lnTo>
                <a:lnTo>
                  <a:pt x="22827" y="248899"/>
                </a:lnTo>
                <a:lnTo>
                  <a:pt x="48942" y="282324"/>
                </a:lnTo>
                <a:lnTo>
                  <a:pt x="82709" y="308152"/>
                </a:lnTo>
                <a:lnTo>
                  <a:pt x="122516" y="324806"/>
                </a:lnTo>
                <a:lnTo>
                  <a:pt x="166750" y="330707"/>
                </a:lnTo>
                <a:lnTo>
                  <a:pt x="181453" y="330061"/>
                </a:lnTo>
                <a:lnTo>
                  <a:pt x="195691" y="328177"/>
                </a:lnTo>
                <a:lnTo>
                  <a:pt x="209524" y="325135"/>
                </a:lnTo>
                <a:lnTo>
                  <a:pt x="223012" y="321017"/>
                </a:lnTo>
                <a:lnTo>
                  <a:pt x="223012" y="304291"/>
                </a:lnTo>
                <a:lnTo>
                  <a:pt x="163194" y="304291"/>
                </a:lnTo>
                <a:lnTo>
                  <a:pt x="160248" y="299440"/>
                </a:lnTo>
                <a:lnTo>
                  <a:pt x="129031" y="299440"/>
                </a:lnTo>
                <a:lnTo>
                  <a:pt x="94357" y="284509"/>
                </a:lnTo>
                <a:lnTo>
                  <a:pt x="65278" y="261240"/>
                </a:lnTo>
                <a:lnTo>
                  <a:pt x="43342" y="231201"/>
                </a:lnTo>
                <a:lnTo>
                  <a:pt x="30099" y="195960"/>
                </a:lnTo>
                <a:lnTo>
                  <a:pt x="207908" y="195960"/>
                </a:lnTo>
                <a:lnTo>
                  <a:pt x="205912" y="192790"/>
                </a:lnTo>
                <a:lnTo>
                  <a:pt x="204096" y="189614"/>
                </a:lnTo>
                <a:lnTo>
                  <a:pt x="138229" y="189614"/>
                </a:lnTo>
                <a:lnTo>
                  <a:pt x="120650" y="188912"/>
                </a:lnTo>
                <a:lnTo>
                  <a:pt x="120480" y="185826"/>
                </a:lnTo>
                <a:lnTo>
                  <a:pt x="93980" y="185826"/>
                </a:lnTo>
                <a:lnTo>
                  <a:pt x="68030" y="180490"/>
                </a:lnTo>
                <a:lnTo>
                  <a:pt x="48117" y="174491"/>
                </a:lnTo>
                <a:lnTo>
                  <a:pt x="34276" y="168988"/>
                </a:lnTo>
                <a:lnTo>
                  <a:pt x="26543" y="165138"/>
                </a:lnTo>
                <a:lnTo>
                  <a:pt x="26543" y="160731"/>
                </a:lnTo>
                <a:lnTo>
                  <a:pt x="27050" y="155879"/>
                </a:lnTo>
                <a:lnTo>
                  <a:pt x="27431" y="151485"/>
                </a:lnTo>
                <a:lnTo>
                  <a:pt x="35518" y="147384"/>
                </a:lnTo>
                <a:lnTo>
                  <a:pt x="49641" y="141797"/>
                </a:lnTo>
                <a:lnTo>
                  <a:pt x="69740" y="135878"/>
                </a:lnTo>
                <a:lnTo>
                  <a:pt x="95757" y="130784"/>
                </a:lnTo>
                <a:lnTo>
                  <a:pt x="122771" y="130784"/>
                </a:lnTo>
                <a:lnTo>
                  <a:pt x="123189" y="127698"/>
                </a:lnTo>
                <a:lnTo>
                  <a:pt x="138799" y="127045"/>
                </a:lnTo>
                <a:lnTo>
                  <a:pt x="192915" y="127045"/>
                </a:lnTo>
                <a:lnTo>
                  <a:pt x="192941" y="119341"/>
                </a:lnTo>
                <a:lnTo>
                  <a:pt x="34543" y="119341"/>
                </a:lnTo>
                <a:lnTo>
                  <a:pt x="49504" y="89290"/>
                </a:lnTo>
                <a:lnTo>
                  <a:pt x="70977" y="63907"/>
                </a:lnTo>
                <a:lnTo>
                  <a:pt x="97855" y="44223"/>
                </a:lnTo>
                <a:lnTo>
                  <a:pt x="129031" y="31267"/>
                </a:lnTo>
                <a:lnTo>
                  <a:pt x="160020" y="31267"/>
                </a:lnTo>
                <a:lnTo>
                  <a:pt x="163194" y="26415"/>
                </a:lnTo>
                <a:lnTo>
                  <a:pt x="236166" y="26415"/>
                </a:lnTo>
                <a:lnTo>
                  <a:pt x="234410" y="20906"/>
                </a:lnTo>
                <a:lnTo>
                  <a:pt x="233171" y="13652"/>
                </a:lnTo>
                <a:lnTo>
                  <a:pt x="217525" y="7800"/>
                </a:lnTo>
                <a:lnTo>
                  <a:pt x="201152" y="3521"/>
                </a:lnTo>
                <a:lnTo>
                  <a:pt x="184183" y="893"/>
                </a:lnTo>
                <a:lnTo>
                  <a:pt x="166750" y="0"/>
                </a:lnTo>
                <a:close/>
              </a:path>
              <a:path w="243839" h="330835">
                <a:moveTo>
                  <a:pt x="219456" y="211810"/>
                </a:moveTo>
                <a:lnTo>
                  <a:pt x="210185" y="211810"/>
                </a:lnTo>
                <a:lnTo>
                  <a:pt x="204192" y="235670"/>
                </a:lnTo>
                <a:lnTo>
                  <a:pt x="195580" y="259037"/>
                </a:lnTo>
                <a:lnTo>
                  <a:pt x="184396" y="281910"/>
                </a:lnTo>
                <a:lnTo>
                  <a:pt x="170687" y="304291"/>
                </a:lnTo>
                <a:lnTo>
                  <a:pt x="223012" y="304291"/>
                </a:lnTo>
                <a:lnTo>
                  <a:pt x="223012" y="298996"/>
                </a:lnTo>
                <a:lnTo>
                  <a:pt x="204850" y="298996"/>
                </a:lnTo>
                <a:lnTo>
                  <a:pt x="210171" y="289685"/>
                </a:lnTo>
                <a:lnTo>
                  <a:pt x="214931" y="280287"/>
                </a:lnTo>
                <a:lnTo>
                  <a:pt x="219192" y="270887"/>
                </a:lnTo>
                <a:lnTo>
                  <a:pt x="223012" y="261569"/>
                </a:lnTo>
                <a:lnTo>
                  <a:pt x="222604" y="231201"/>
                </a:lnTo>
                <a:lnTo>
                  <a:pt x="222504" y="216649"/>
                </a:lnTo>
                <a:lnTo>
                  <a:pt x="222123" y="215328"/>
                </a:lnTo>
                <a:lnTo>
                  <a:pt x="221614" y="214452"/>
                </a:lnTo>
                <a:lnTo>
                  <a:pt x="220344" y="213131"/>
                </a:lnTo>
                <a:lnTo>
                  <a:pt x="219456" y="211810"/>
                </a:lnTo>
                <a:close/>
              </a:path>
              <a:path w="243839" h="330835">
                <a:moveTo>
                  <a:pt x="207908" y="195960"/>
                </a:moveTo>
                <a:lnTo>
                  <a:pt x="30099" y="195960"/>
                </a:lnTo>
                <a:lnTo>
                  <a:pt x="42332" y="200503"/>
                </a:lnTo>
                <a:lnTo>
                  <a:pt x="57673" y="205208"/>
                </a:lnTo>
                <a:lnTo>
                  <a:pt x="76086" y="209582"/>
                </a:lnTo>
                <a:lnTo>
                  <a:pt x="97536" y="213131"/>
                </a:lnTo>
                <a:lnTo>
                  <a:pt x="102117" y="233925"/>
                </a:lnTo>
                <a:lnTo>
                  <a:pt x="108759" y="255295"/>
                </a:lnTo>
                <a:lnTo>
                  <a:pt x="117663" y="277160"/>
                </a:lnTo>
                <a:lnTo>
                  <a:pt x="129031" y="299440"/>
                </a:lnTo>
                <a:lnTo>
                  <a:pt x="160248" y="299440"/>
                </a:lnTo>
                <a:lnTo>
                  <a:pt x="150054" y="282658"/>
                </a:lnTo>
                <a:lnTo>
                  <a:pt x="139223" y="260694"/>
                </a:lnTo>
                <a:lnTo>
                  <a:pt x="130726" y="238399"/>
                </a:lnTo>
                <a:lnTo>
                  <a:pt x="124587" y="215772"/>
                </a:lnTo>
                <a:lnTo>
                  <a:pt x="165502" y="215772"/>
                </a:lnTo>
                <a:lnTo>
                  <a:pt x="177164" y="215171"/>
                </a:lnTo>
                <a:lnTo>
                  <a:pt x="193270" y="213801"/>
                </a:lnTo>
                <a:lnTo>
                  <a:pt x="210185" y="211810"/>
                </a:lnTo>
                <a:lnTo>
                  <a:pt x="219456" y="211810"/>
                </a:lnTo>
                <a:lnTo>
                  <a:pt x="219075" y="211366"/>
                </a:lnTo>
                <a:lnTo>
                  <a:pt x="214182" y="205208"/>
                </a:lnTo>
                <a:lnTo>
                  <a:pt x="209915" y="199147"/>
                </a:lnTo>
                <a:lnTo>
                  <a:pt x="207908" y="195960"/>
                </a:lnTo>
                <a:close/>
              </a:path>
              <a:path w="243839" h="330835">
                <a:moveTo>
                  <a:pt x="223012" y="292836"/>
                </a:moveTo>
                <a:lnTo>
                  <a:pt x="217296" y="295478"/>
                </a:lnTo>
                <a:lnTo>
                  <a:pt x="204850" y="298996"/>
                </a:lnTo>
                <a:lnTo>
                  <a:pt x="223012" y="298996"/>
                </a:lnTo>
                <a:lnTo>
                  <a:pt x="223012" y="292836"/>
                </a:lnTo>
                <a:close/>
              </a:path>
              <a:path w="243839" h="330835">
                <a:moveTo>
                  <a:pt x="165502" y="215772"/>
                </a:moveTo>
                <a:lnTo>
                  <a:pt x="124587" y="215772"/>
                </a:lnTo>
                <a:lnTo>
                  <a:pt x="131699" y="216217"/>
                </a:lnTo>
                <a:lnTo>
                  <a:pt x="147193" y="216217"/>
                </a:lnTo>
                <a:lnTo>
                  <a:pt x="161821" y="215962"/>
                </a:lnTo>
                <a:lnTo>
                  <a:pt x="165502" y="215772"/>
                </a:lnTo>
                <a:close/>
              </a:path>
              <a:path w="243839" h="330835">
                <a:moveTo>
                  <a:pt x="202183" y="186270"/>
                </a:moveTo>
                <a:lnTo>
                  <a:pt x="179103" y="188541"/>
                </a:lnTo>
                <a:lnTo>
                  <a:pt x="157749" y="189572"/>
                </a:lnTo>
                <a:lnTo>
                  <a:pt x="138229" y="189614"/>
                </a:lnTo>
                <a:lnTo>
                  <a:pt x="204096" y="189614"/>
                </a:lnTo>
                <a:lnTo>
                  <a:pt x="202183" y="186270"/>
                </a:lnTo>
                <a:close/>
              </a:path>
              <a:path w="243839" h="330835">
                <a:moveTo>
                  <a:pt x="122771" y="130784"/>
                </a:moveTo>
                <a:lnTo>
                  <a:pt x="95757" y="130784"/>
                </a:lnTo>
                <a:lnTo>
                  <a:pt x="94390" y="143660"/>
                </a:lnTo>
                <a:lnTo>
                  <a:pt x="93659" y="155879"/>
                </a:lnTo>
                <a:lnTo>
                  <a:pt x="93544" y="174491"/>
                </a:lnTo>
                <a:lnTo>
                  <a:pt x="93980" y="185826"/>
                </a:lnTo>
                <a:lnTo>
                  <a:pt x="120480" y="185826"/>
                </a:lnTo>
                <a:lnTo>
                  <a:pt x="119857" y="174491"/>
                </a:lnTo>
                <a:lnTo>
                  <a:pt x="119967" y="158472"/>
                </a:lnTo>
                <a:lnTo>
                  <a:pt x="121096" y="143147"/>
                </a:lnTo>
                <a:lnTo>
                  <a:pt x="122771" y="130784"/>
                </a:lnTo>
                <a:close/>
              </a:path>
              <a:path w="243839" h="330835">
                <a:moveTo>
                  <a:pt x="192915" y="127045"/>
                </a:moveTo>
                <a:lnTo>
                  <a:pt x="138799" y="127045"/>
                </a:lnTo>
                <a:lnTo>
                  <a:pt x="155575" y="127095"/>
                </a:lnTo>
                <a:lnTo>
                  <a:pt x="173589" y="127887"/>
                </a:lnTo>
                <a:lnTo>
                  <a:pt x="192912" y="129463"/>
                </a:lnTo>
                <a:lnTo>
                  <a:pt x="192915" y="127045"/>
                </a:lnTo>
                <a:close/>
              </a:path>
              <a:path w="243839" h="330835">
                <a:moveTo>
                  <a:pt x="160020" y="31267"/>
                </a:moveTo>
                <a:lnTo>
                  <a:pt x="129031" y="31267"/>
                </a:lnTo>
                <a:lnTo>
                  <a:pt x="121969" y="45090"/>
                </a:lnTo>
                <a:lnTo>
                  <a:pt x="114538" y="61925"/>
                </a:lnTo>
                <a:lnTo>
                  <a:pt x="107368" y="81484"/>
                </a:lnTo>
                <a:lnTo>
                  <a:pt x="101092" y="103479"/>
                </a:lnTo>
                <a:lnTo>
                  <a:pt x="80496" y="106642"/>
                </a:lnTo>
                <a:lnTo>
                  <a:pt x="62531" y="110586"/>
                </a:lnTo>
                <a:lnTo>
                  <a:pt x="47210" y="114943"/>
                </a:lnTo>
                <a:lnTo>
                  <a:pt x="34543" y="119341"/>
                </a:lnTo>
                <a:lnTo>
                  <a:pt x="192941" y="119341"/>
                </a:lnTo>
                <a:lnTo>
                  <a:pt x="193057" y="110586"/>
                </a:lnTo>
                <a:lnTo>
                  <a:pt x="193294" y="103047"/>
                </a:lnTo>
                <a:lnTo>
                  <a:pt x="176020" y="101716"/>
                </a:lnTo>
                <a:lnTo>
                  <a:pt x="165900" y="101282"/>
                </a:lnTo>
                <a:lnTo>
                  <a:pt x="129031" y="101282"/>
                </a:lnTo>
                <a:lnTo>
                  <a:pt x="138674" y="72928"/>
                </a:lnTo>
                <a:lnTo>
                  <a:pt x="148923" y="50476"/>
                </a:lnTo>
                <a:lnTo>
                  <a:pt x="157767" y="34709"/>
                </a:lnTo>
                <a:lnTo>
                  <a:pt x="160020" y="31267"/>
                </a:lnTo>
                <a:close/>
              </a:path>
              <a:path w="243839" h="330835">
                <a:moveTo>
                  <a:pt x="143805" y="100877"/>
                </a:moveTo>
                <a:lnTo>
                  <a:pt x="129031" y="101282"/>
                </a:lnTo>
                <a:lnTo>
                  <a:pt x="165900" y="101282"/>
                </a:lnTo>
                <a:lnTo>
                  <a:pt x="159496" y="101007"/>
                </a:lnTo>
                <a:lnTo>
                  <a:pt x="143805" y="100877"/>
                </a:lnTo>
                <a:close/>
              </a:path>
              <a:path w="243839" h="330835">
                <a:moveTo>
                  <a:pt x="236166" y="26415"/>
                </a:moveTo>
                <a:lnTo>
                  <a:pt x="170687" y="26415"/>
                </a:lnTo>
                <a:lnTo>
                  <a:pt x="174414" y="32052"/>
                </a:lnTo>
                <a:lnTo>
                  <a:pt x="180403" y="42105"/>
                </a:lnTo>
                <a:lnTo>
                  <a:pt x="187725" y="56203"/>
                </a:lnTo>
                <a:lnTo>
                  <a:pt x="195452" y="73977"/>
                </a:lnTo>
                <a:lnTo>
                  <a:pt x="195961" y="72212"/>
                </a:lnTo>
                <a:lnTo>
                  <a:pt x="195961" y="68694"/>
                </a:lnTo>
                <a:lnTo>
                  <a:pt x="196342" y="65608"/>
                </a:lnTo>
                <a:lnTo>
                  <a:pt x="197738" y="58572"/>
                </a:lnTo>
                <a:lnTo>
                  <a:pt x="203073" y="53289"/>
                </a:lnTo>
                <a:lnTo>
                  <a:pt x="206629" y="49314"/>
                </a:lnTo>
                <a:lnTo>
                  <a:pt x="211074" y="48437"/>
                </a:lnTo>
                <a:lnTo>
                  <a:pt x="212851" y="47561"/>
                </a:lnTo>
                <a:lnTo>
                  <a:pt x="213232" y="47561"/>
                </a:lnTo>
                <a:lnTo>
                  <a:pt x="210185" y="41833"/>
                </a:lnTo>
                <a:lnTo>
                  <a:pt x="207518" y="36106"/>
                </a:lnTo>
                <a:lnTo>
                  <a:pt x="204850" y="31711"/>
                </a:lnTo>
                <a:lnTo>
                  <a:pt x="238352" y="31711"/>
                </a:lnTo>
                <a:lnTo>
                  <a:pt x="236696" y="28076"/>
                </a:lnTo>
                <a:lnTo>
                  <a:pt x="236166" y="26415"/>
                </a:lnTo>
                <a:close/>
              </a:path>
              <a:path w="243839" h="330835">
                <a:moveTo>
                  <a:pt x="238352" y="31711"/>
                </a:moveTo>
                <a:lnTo>
                  <a:pt x="204850" y="31711"/>
                </a:lnTo>
                <a:lnTo>
                  <a:pt x="212312" y="33933"/>
                </a:lnTo>
                <a:lnTo>
                  <a:pt x="219487" y="36609"/>
                </a:lnTo>
                <a:lnTo>
                  <a:pt x="226425" y="39696"/>
                </a:lnTo>
                <a:lnTo>
                  <a:pt x="233171" y="43154"/>
                </a:lnTo>
                <a:lnTo>
                  <a:pt x="243839" y="41833"/>
                </a:lnTo>
                <a:lnTo>
                  <a:pt x="239887" y="35080"/>
                </a:lnTo>
                <a:lnTo>
                  <a:pt x="238352" y="31711"/>
                </a:lnTo>
                <a:close/>
              </a:path>
            </a:pathLst>
          </a:custGeom>
          <a:solidFill>
            <a:srgbClr val="12ABDB"/>
          </a:solidFill>
        </p:spPr>
        <p:txBody>
          <a:bodyPr wrap="square" lIns="0" tIns="0" rIns="0" bIns="0" rtlCol="0"/>
          <a:lstStyle/>
          <a:p>
            <a:endParaRPr/>
          </a:p>
        </p:txBody>
      </p:sp>
      <p:sp>
        <p:nvSpPr>
          <p:cNvPr id="37" name="object 37"/>
          <p:cNvSpPr/>
          <p:nvPr/>
        </p:nvSpPr>
        <p:spPr>
          <a:xfrm>
            <a:off x="2395446" y="5021579"/>
            <a:ext cx="386113" cy="224028"/>
          </a:xfrm>
          <a:prstGeom prst="rect">
            <a:avLst/>
          </a:prstGeom>
          <a:blipFill>
            <a:blip r:embed="rId19" cstate="print"/>
            <a:stretch>
              <a:fillRect/>
            </a:stretch>
          </a:blipFill>
        </p:spPr>
        <p:txBody>
          <a:bodyPr wrap="square" lIns="0" tIns="0" rIns="0" bIns="0" rtlCol="0"/>
          <a:lstStyle/>
          <a:p>
            <a:endParaRPr/>
          </a:p>
        </p:txBody>
      </p:sp>
      <p:sp>
        <p:nvSpPr>
          <p:cNvPr id="38" name="object 38"/>
          <p:cNvSpPr/>
          <p:nvPr/>
        </p:nvSpPr>
        <p:spPr>
          <a:xfrm>
            <a:off x="1726692" y="1466088"/>
            <a:ext cx="126491" cy="211836"/>
          </a:xfrm>
          <a:prstGeom prst="rect">
            <a:avLst/>
          </a:prstGeom>
          <a:blipFill>
            <a:blip r:embed="rId20" cstate="print"/>
            <a:stretch>
              <a:fillRect/>
            </a:stretch>
          </a:blipFill>
        </p:spPr>
        <p:txBody>
          <a:bodyPr wrap="square" lIns="0" tIns="0" rIns="0" bIns="0" rtlCol="0"/>
          <a:lstStyle/>
          <a:p>
            <a:endParaRPr/>
          </a:p>
        </p:txBody>
      </p:sp>
      <p:sp>
        <p:nvSpPr>
          <p:cNvPr id="39" name="object 39"/>
          <p:cNvSpPr/>
          <p:nvPr/>
        </p:nvSpPr>
        <p:spPr>
          <a:xfrm>
            <a:off x="1905000" y="1487424"/>
            <a:ext cx="329183" cy="211836"/>
          </a:xfrm>
          <a:prstGeom prst="rect">
            <a:avLst/>
          </a:prstGeom>
          <a:blipFill>
            <a:blip r:embed="rId21" cstate="print"/>
            <a:stretch>
              <a:fillRect/>
            </a:stretch>
          </a:blipFill>
        </p:spPr>
        <p:txBody>
          <a:bodyPr wrap="square" lIns="0" tIns="0" rIns="0" bIns="0" rtlCol="0"/>
          <a:lstStyle/>
          <a:p>
            <a:endParaRPr/>
          </a:p>
        </p:txBody>
      </p:sp>
      <p:sp>
        <p:nvSpPr>
          <p:cNvPr id="40" name="object 40"/>
          <p:cNvSpPr/>
          <p:nvPr/>
        </p:nvSpPr>
        <p:spPr>
          <a:xfrm>
            <a:off x="1836420" y="1530096"/>
            <a:ext cx="274320" cy="231775"/>
          </a:xfrm>
          <a:custGeom>
            <a:avLst/>
            <a:gdLst/>
            <a:ahLst/>
            <a:cxnLst/>
            <a:rect l="l" t="t" r="r" b="b"/>
            <a:pathLst>
              <a:path w="274319" h="231775">
                <a:moveTo>
                  <a:pt x="75946" y="0"/>
                </a:moveTo>
                <a:lnTo>
                  <a:pt x="33655" y="0"/>
                </a:lnTo>
                <a:lnTo>
                  <a:pt x="30225" y="16255"/>
                </a:lnTo>
                <a:lnTo>
                  <a:pt x="26543" y="33400"/>
                </a:lnTo>
                <a:lnTo>
                  <a:pt x="13004" y="84708"/>
                </a:lnTo>
                <a:lnTo>
                  <a:pt x="0" y="126491"/>
                </a:lnTo>
                <a:lnTo>
                  <a:pt x="6223" y="132841"/>
                </a:lnTo>
                <a:lnTo>
                  <a:pt x="12318" y="139573"/>
                </a:lnTo>
                <a:lnTo>
                  <a:pt x="18034" y="145161"/>
                </a:lnTo>
                <a:lnTo>
                  <a:pt x="20828" y="147700"/>
                </a:lnTo>
                <a:lnTo>
                  <a:pt x="23241" y="149605"/>
                </a:lnTo>
                <a:lnTo>
                  <a:pt x="38354" y="162305"/>
                </a:lnTo>
                <a:lnTo>
                  <a:pt x="68580" y="185927"/>
                </a:lnTo>
                <a:lnTo>
                  <a:pt x="105410" y="213867"/>
                </a:lnTo>
                <a:lnTo>
                  <a:pt x="124079" y="226440"/>
                </a:lnTo>
                <a:lnTo>
                  <a:pt x="127254" y="227964"/>
                </a:lnTo>
                <a:lnTo>
                  <a:pt x="130937" y="229234"/>
                </a:lnTo>
                <a:lnTo>
                  <a:pt x="134493" y="230124"/>
                </a:lnTo>
                <a:lnTo>
                  <a:pt x="137922" y="230886"/>
                </a:lnTo>
                <a:lnTo>
                  <a:pt x="140843" y="231648"/>
                </a:lnTo>
                <a:lnTo>
                  <a:pt x="149987" y="231648"/>
                </a:lnTo>
                <a:lnTo>
                  <a:pt x="116078" y="198119"/>
                </a:lnTo>
                <a:lnTo>
                  <a:pt x="114681" y="196341"/>
                </a:lnTo>
                <a:lnTo>
                  <a:pt x="113665" y="194563"/>
                </a:lnTo>
                <a:lnTo>
                  <a:pt x="113156" y="192658"/>
                </a:lnTo>
                <a:lnTo>
                  <a:pt x="112903" y="190626"/>
                </a:lnTo>
                <a:lnTo>
                  <a:pt x="113156" y="188721"/>
                </a:lnTo>
                <a:lnTo>
                  <a:pt x="123571" y="180086"/>
                </a:lnTo>
                <a:lnTo>
                  <a:pt x="161452" y="180086"/>
                </a:lnTo>
                <a:lnTo>
                  <a:pt x="147828" y="166496"/>
                </a:lnTo>
                <a:lnTo>
                  <a:pt x="146304" y="164718"/>
                </a:lnTo>
                <a:lnTo>
                  <a:pt x="145287" y="162940"/>
                </a:lnTo>
                <a:lnTo>
                  <a:pt x="144780" y="161036"/>
                </a:lnTo>
                <a:lnTo>
                  <a:pt x="144525" y="159003"/>
                </a:lnTo>
                <a:lnTo>
                  <a:pt x="144780" y="157099"/>
                </a:lnTo>
                <a:lnTo>
                  <a:pt x="155194" y="148462"/>
                </a:lnTo>
                <a:lnTo>
                  <a:pt x="193446" y="148462"/>
                </a:lnTo>
                <a:lnTo>
                  <a:pt x="181737" y="136778"/>
                </a:lnTo>
                <a:lnTo>
                  <a:pt x="180212" y="135381"/>
                </a:lnTo>
                <a:lnTo>
                  <a:pt x="179197" y="133350"/>
                </a:lnTo>
                <a:lnTo>
                  <a:pt x="178816" y="131444"/>
                </a:lnTo>
                <a:lnTo>
                  <a:pt x="178562" y="129412"/>
                </a:lnTo>
                <a:lnTo>
                  <a:pt x="178816" y="127380"/>
                </a:lnTo>
                <a:lnTo>
                  <a:pt x="179197" y="125729"/>
                </a:lnTo>
                <a:lnTo>
                  <a:pt x="180212" y="123698"/>
                </a:lnTo>
                <a:lnTo>
                  <a:pt x="181737" y="122300"/>
                </a:lnTo>
                <a:lnTo>
                  <a:pt x="183261" y="120776"/>
                </a:lnTo>
                <a:lnTo>
                  <a:pt x="185166" y="119761"/>
                </a:lnTo>
                <a:lnTo>
                  <a:pt x="186944" y="119252"/>
                </a:lnTo>
                <a:lnTo>
                  <a:pt x="188849" y="118999"/>
                </a:lnTo>
                <a:lnTo>
                  <a:pt x="229208" y="118999"/>
                </a:lnTo>
                <a:lnTo>
                  <a:pt x="220599" y="111887"/>
                </a:lnTo>
                <a:lnTo>
                  <a:pt x="196342" y="92582"/>
                </a:lnTo>
                <a:lnTo>
                  <a:pt x="190068" y="87375"/>
                </a:lnTo>
                <a:lnTo>
                  <a:pt x="82423" y="87375"/>
                </a:lnTo>
                <a:lnTo>
                  <a:pt x="78231" y="87121"/>
                </a:lnTo>
                <a:lnTo>
                  <a:pt x="74041" y="86740"/>
                </a:lnTo>
                <a:lnTo>
                  <a:pt x="69850" y="85725"/>
                </a:lnTo>
                <a:lnTo>
                  <a:pt x="65405" y="84200"/>
                </a:lnTo>
                <a:lnTo>
                  <a:pt x="63373" y="83692"/>
                </a:lnTo>
                <a:lnTo>
                  <a:pt x="45912" y="61721"/>
                </a:lnTo>
                <a:lnTo>
                  <a:pt x="46035" y="55371"/>
                </a:lnTo>
                <a:lnTo>
                  <a:pt x="61594" y="17271"/>
                </a:lnTo>
                <a:lnTo>
                  <a:pt x="64643" y="13334"/>
                </a:lnTo>
                <a:lnTo>
                  <a:pt x="67310" y="9651"/>
                </a:lnTo>
                <a:lnTo>
                  <a:pt x="73279" y="2920"/>
                </a:lnTo>
                <a:lnTo>
                  <a:pt x="75946" y="0"/>
                </a:lnTo>
                <a:close/>
              </a:path>
              <a:path w="274319" h="231775">
                <a:moveTo>
                  <a:pt x="161452" y="180086"/>
                </a:moveTo>
                <a:lnTo>
                  <a:pt x="123571" y="180086"/>
                </a:lnTo>
                <a:lnTo>
                  <a:pt x="125475" y="180339"/>
                </a:lnTo>
                <a:lnTo>
                  <a:pt x="127507" y="180720"/>
                </a:lnTo>
                <a:lnTo>
                  <a:pt x="129286" y="181737"/>
                </a:lnTo>
                <a:lnTo>
                  <a:pt x="130937" y="183261"/>
                </a:lnTo>
                <a:lnTo>
                  <a:pt x="173100" y="225425"/>
                </a:lnTo>
                <a:lnTo>
                  <a:pt x="174752" y="226694"/>
                </a:lnTo>
                <a:lnTo>
                  <a:pt x="176275" y="227456"/>
                </a:lnTo>
                <a:lnTo>
                  <a:pt x="178054" y="227964"/>
                </a:lnTo>
                <a:lnTo>
                  <a:pt x="179450" y="227964"/>
                </a:lnTo>
                <a:lnTo>
                  <a:pt x="196342" y="214883"/>
                </a:lnTo>
                <a:lnTo>
                  <a:pt x="161452" y="180086"/>
                </a:lnTo>
                <a:close/>
              </a:path>
              <a:path w="274319" h="231775">
                <a:moveTo>
                  <a:pt x="193446" y="148462"/>
                </a:moveTo>
                <a:lnTo>
                  <a:pt x="155194" y="148462"/>
                </a:lnTo>
                <a:lnTo>
                  <a:pt x="157225" y="148716"/>
                </a:lnTo>
                <a:lnTo>
                  <a:pt x="159257" y="149225"/>
                </a:lnTo>
                <a:lnTo>
                  <a:pt x="160909" y="150113"/>
                </a:lnTo>
                <a:lnTo>
                  <a:pt x="162687" y="151637"/>
                </a:lnTo>
                <a:lnTo>
                  <a:pt x="215392" y="204215"/>
                </a:lnTo>
                <a:lnTo>
                  <a:pt x="216407" y="204977"/>
                </a:lnTo>
                <a:lnTo>
                  <a:pt x="218059" y="205486"/>
                </a:lnTo>
                <a:lnTo>
                  <a:pt x="220091" y="205739"/>
                </a:lnTo>
                <a:lnTo>
                  <a:pt x="222377" y="205993"/>
                </a:lnTo>
                <a:lnTo>
                  <a:pt x="227330" y="205486"/>
                </a:lnTo>
                <a:lnTo>
                  <a:pt x="229743" y="204977"/>
                </a:lnTo>
                <a:lnTo>
                  <a:pt x="232282" y="204215"/>
                </a:lnTo>
                <a:lnTo>
                  <a:pt x="234187" y="202691"/>
                </a:lnTo>
                <a:lnTo>
                  <a:pt x="236474" y="201040"/>
                </a:lnTo>
                <a:lnTo>
                  <a:pt x="238887" y="198754"/>
                </a:lnTo>
                <a:lnTo>
                  <a:pt x="239903" y="197357"/>
                </a:lnTo>
                <a:lnTo>
                  <a:pt x="240919" y="195833"/>
                </a:lnTo>
                <a:lnTo>
                  <a:pt x="193446" y="148462"/>
                </a:lnTo>
                <a:close/>
              </a:path>
              <a:path w="274319" h="231775">
                <a:moveTo>
                  <a:pt x="229208" y="118999"/>
                </a:moveTo>
                <a:lnTo>
                  <a:pt x="188849" y="118999"/>
                </a:lnTo>
                <a:lnTo>
                  <a:pt x="190881" y="119252"/>
                </a:lnTo>
                <a:lnTo>
                  <a:pt x="192912" y="119761"/>
                </a:lnTo>
                <a:lnTo>
                  <a:pt x="194818" y="120776"/>
                </a:lnTo>
                <a:lnTo>
                  <a:pt x="257682" y="183261"/>
                </a:lnTo>
                <a:lnTo>
                  <a:pt x="259206" y="183768"/>
                </a:lnTo>
                <a:lnTo>
                  <a:pt x="260985" y="184276"/>
                </a:lnTo>
                <a:lnTo>
                  <a:pt x="263906" y="183768"/>
                </a:lnTo>
                <a:lnTo>
                  <a:pt x="265684" y="183261"/>
                </a:lnTo>
                <a:lnTo>
                  <a:pt x="267081" y="182752"/>
                </a:lnTo>
                <a:lnTo>
                  <a:pt x="270382" y="181228"/>
                </a:lnTo>
                <a:lnTo>
                  <a:pt x="271399" y="180339"/>
                </a:lnTo>
                <a:lnTo>
                  <a:pt x="272034" y="178815"/>
                </a:lnTo>
                <a:lnTo>
                  <a:pt x="273050" y="177037"/>
                </a:lnTo>
                <a:lnTo>
                  <a:pt x="273812" y="175132"/>
                </a:lnTo>
                <a:lnTo>
                  <a:pt x="274319" y="172846"/>
                </a:lnTo>
                <a:lnTo>
                  <a:pt x="274319" y="170179"/>
                </a:lnTo>
                <a:lnTo>
                  <a:pt x="273557" y="167386"/>
                </a:lnTo>
                <a:lnTo>
                  <a:pt x="273050" y="165988"/>
                </a:lnTo>
                <a:lnTo>
                  <a:pt x="272542" y="164211"/>
                </a:lnTo>
                <a:lnTo>
                  <a:pt x="243078" y="130937"/>
                </a:lnTo>
                <a:lnTo>
                  <a:pt x="232282" y="121538"/>
                </a:lnTo>
                <a:lnTo>
                  <a:pt x="229208" y="118999"/>
                </a:lnTo>
                <a:close/>
              </a:path>
              <a:path w="274319" h="231775">
                <a:moveTo>
                  <a:pt x="149987" y="54863"/>
                </a:moveTo>
                <a:lnTo>
                  <a:pt x="149098" y="55371"/>
                </a:lnTo>
                <a:lnTo>
                  <a:pt x="148081" y="56006"/>
                </a:lnTo>
                <a:lnTo>
                  <a:pt x="146050" y="56768"/>
                </a:lnTo>
                <a:lnTo>
                  <a:pt x="145034" y="57276"/>
                </a:lnTo>
                <a:lnTo>
                  <a:pt x="144399" y="57784"/>
                </a:lnTo>
                <a:lnTo>
                  <a:pt x="143891" y="58292"/>
                </a:lnTo>
                <a:lnTo>
                  <a:pt x="143637" y="59054"/>
                </a:lnTo>
                <a:lnTo>
                  <a:pt x="139446" y="60451"/>
                </a:lnTo>
                <a:lnTo>
                  <a:pt x="135890" y="61721"/>
                </a:lnTo>
                <a:lnTo>
                  <a:pt x="134238" y="62483"/>
                </a:lnTo>
                <a:lnTo>
                  <a:pt x="129540" y="62991"/>
                </a:lnTo>
                <a:lnTo>
                  <a:pt x="126746" y="63245"/>
                </a:lnTo>
                <a:lnTo>
                  <a:pt x="123571" y="66928"/>
                </a:lnTo>
                <a:lnTo>
                  <a:pt x="120015" y="70357"/>
                </a:lnTo>
                <a:lnTo>
                  <a:pt x="86613" y="87375"/>
                </a:lnTo>
                <a:lnTo>
                  <a:pt x="190068" y="87375"/>
                </a:lnTo>
                <a:lnTo>
                  <a:pt x="171577" y="72136"/>
                </a:lnTo>
                <a:lnTo>
                  <a:pt x="149987" y="54863"/>
                </a:lnTo>
                <a:close/>
              </a:path>
            </a:pathLst>
          </a:custGeom>
          <a:solidFill>
            <a:srgbClr val="12ABDB"/>
          </a:solidFill>
        </p:spPr>
        <p:txBody>
          <a:bodyPr wrap="square" lIns="0" tIns="0" rIns="0" bIns="0" rtlCol="0"/>
          <a:lstStyle/>
          <a:p>
            <a:endParaRPr/>
          </a:p>
        </p:txBody>
      </p:sp>
      <p:sp>
        <p:nvSpPr>
          <p:cNvPr id="41" name="object 41"/>
          <p:cNvSpPr txBox="1">
            <a:spLocks noGrp="1"/>
          </p:cNvSpPr>
          <p:nvPr>
            <p:ph type="title"/>
          </p:nvPr>
        </p:nvSpPr>
        <p:spPr>
          <a:xfrm>
            <a:off x="517651" y="214121"/>
            <a:ext cx="4117975" cy="391160"/>
          </a:xfrm>
          <a:prstGeom prst="rect">
            <a:avLst/>
          </a:prstGeom>
        </p:spPr>
        <p:txBody>
          <a:bodyPr vert="horz" wrap="square" lIns="0" tIns="12700" rIns="0" bIns="0" rtlCol="0">
            <a:spAutoFit/>
          </a:bodyPr>
          <a:lstStyle/>
          <a:p>
            <a:pPr marL="12700">
              <a:lnSpc>
                <a:spcPct val="100000"/>
              </a:lnSpc>
              <a:spcBef>
                <a:spcPts val="100"/>
              </a:spcBef>
            </a:pPr>
            <a:r>
              <a:rPr spc="-30"/>
              <a:t>Key </a:t>
            </a:r>
            <a:r>
              <a:rPr spc="-45"/>
              <a:t>Tenets </a:t>
            </a:r>
            <a:r>
              <a:rPr spc="-5"/>
              <a:t>of Our</a:t>
            </a:r>
            <a:r>
              <a:rPr spc="65"/>
              <a:t> </a:t>
            </a:r>
            <a:r>
              <a:rPr spc="-5"/>
              <a:t>Solution</a:t>
            </a:r>
          </a:p>
        </p:txBody>
      </p:sp>
      <p:sp>
        <p:nvSpPr>
          <p:cNvPr id="42" name="object 4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3" name="object 43"/>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30</a:t>
            </a:fld>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598675"/>
            <a:ext cx="10441305" cy="405765"/>
          </a:xfrm>
          <a:custGeom>
            <a:avLst/>
            <a:gdLst/>
            <a:ahLst/>
            <a:cxnLst/>
            <a:rect l="l" t="t" r="r" b="b"/>
            <a:pathLst>
              <a:path w="10441305" h="405764">
                <a:moveTo>
                  <a:pt x="0" y="405384"/>
                </a:moveTo>
                <a:lnTo>
                  <a:pt x="10440924" y="405384"/>
                </a:lnTo>
                <a:lnTo>
                  <a:pt x="10440924" y="0"/>
                </a:lnTo>
                <a:lnTo>
                  <a:pt x="0" y="0"/>
                </a:lnTo>
                <a:lnTo>
                  <a:pt x="0" y="405384"/>
                </a:lnTo>
                <a:close/>
              </a:path>
            </a:pathLst>
          </a:custGeom>
          <a:solidFill>
            <a:srgbClr val="EBEBEB"/>
          </a:solidFill>
        </p:spPr>
        <p:txBody>
          <a:bodyPr wrap="square" lIns="0" tIns="0" rIns="0" bIns="0" rtlCol="0"/>
          <a:lstStyle/>
          <a:p>
            <a:endParaRPr/>
          </a:p>
        </p:txBody>
      </p:sp>
      <p:sp>
        <p:nvSpPr>
          <p:cNvPr id="3" name="object 3"/>
          <p:cNvSpPr/>
          <p:nvPr/>
        </p:nvSpPr>
        <p:spPr>
          <a:xfrm>
            <a:off x="7301840" y="811991"/>
            <a:ext cx="4890159" cy="6046006"/>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8789034" y="3754882"/>
            <a:ext cx="2882900" cy="26924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Zero Business</a:t>
            </a:r>
            <a:r>
              <a:rPr sz="1600" b="1" spc="15">
                <a:solidFill>
                  <a:srgbClr val="FFFFFF"/>
                </a:solidFill>
                <a:latin typeface="Verdana"/>
                <a:cs typeface="Verdana"/>
              </a:rPr>
              <a:t> </a:t>
            </a:r>
            <a:r>
              <a:rPr sz="1600" b="1" spc="-10">
                <a:solidFill>
                  <a:srgbClr val="FFFFFF"/>
                </a:solidFill>
                <a:latin typeface="Verdana"/>
                <a:cs typeface="Verdana"/>
              </a:rPr>
              <a:t>Disruption</a:t>
            </a:r>
            <a:endParaRPr sz="1600">
              <a:latin typeface="Verdana"/>
              <a:cs typeface="Verdana"/>
            </a:endParaRPr>
          </a:p>
        </p:txBody>
      </p:sp>
      <p:sp>
        <p:nvSpPr>
          <p:cNvPr id="5" name="object 5"/>
          <p:cNvSpPr txBox="1"/>
          <p:nvPr/>
        </p:nvSpPr>
        <p:spPr>
          <a:xfrm>
            <a:off x="8315070" y="4829936"/>
            <a:ext cx="2591435" cy="26924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Zero </a:t>
            </a:r>
            <a:r>
              <a:rPr sz="1600" b="1" spc="-10">
                <a:solidFill>
                  <a:srgbClr val="FFFFFF"/>
                </a:solidFill>
                <a:latin typeface="Verdana"/>
                <a:cs typeface="Verdana"/>
              </a:rPr>
              <a:t>Defects </a:t>
            </a:r>
            <a:r>
              <a:rPr sz="1600" b="1" spc="-5">
                <a:solidFill>
                  <a:srgbClr val="FFFFFF"/>
                </a:solidFill>
                <a:latin typeface="Verdana"/>
                <a:cs typeface="Verdana"/>
              </a:rPr>
              <a:t>&amp;</a:t>
            </a:r>
            <a:r>
              <a:rPr sz="1600" b="1" spc="10">
                <a:solidFill>
                  <a:srgbClr val="FFFFFF"/>
                </a:solidFill>
                <a:latin typeface="Verdana"/>
                <a:cs typeface="Verdana"/>
              </a:rPr>
              <a:t> </a:t>
            </a:r>
            <a:r>
              <a:rPr sz="1600" b="1" spc="-10">
                <a:solidFill>
                  <a:srgbClr val="FFFFFF"/>
                </a:solidFill>
                <a:latin typeface="Verdana"/>
                <a:cs typeface="Verdana"/>
              </a:rPr>
              <a:t>Tickets</a:t>
            </a:r>
            <a:endParaRPr sz="1600">
              <a:latin typeface="Verdana"/>
              <a:cs typeface="Verdana"/>
            </a:endParaRPr>
          </a:p>
        </p:txBody>
      </p:sp>
      <p:sp>
        <p:nvSpPr>
          <p:cNvPr id="6" name="object 6"/>
          <p:cNvSpPr txBox="1"/>
          <p:nvPr/>
        </p:nvSpPr>
        <p:spPr>
          <a:xfrm>
            <a:off x="8322309" y="5904991"/>
            <a:ext cx="2296160" cy="26924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Zero Technical</a:t>
            </a:r>
            <a:r>
              <a:rPr sz="1600" b="1" spc="-10">
                <a:solidFill>
                  <a:srgbClr val="FFFFFF"/>
                </a:solidFill>
                <a:latin typeface="Verdana"/>
                <a:cs typeface="Verdana"/>
              </a:rPr>
              <a:t> Debt</a:t>
            </a:r>
            <a:endParaRPr sz="1600">
              <a:latin typeface="Verdana"/>
              <a:cs typeface="Verdana"/>
            </a:endParaRPr>
          </a:p>
        </p:txBody>
      </p:sp>
      <p:sp>
        <p:nvSpPr>
          <p:cNvPr id="7" name="object 7"/>
          <p:cNvSpPr txBox="1"/>
          <p:nvPr/>
        </p:nvSpPr>
        <p:spPr>
          <a:xfrm>
            <a:off x="3174619" y="1694815"/>
            <a:ext cx="88455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2B093C"/>
                </a:solidFill>
                <a:latin typeface="Verdana"/>
                <a:cs typeface="Verdana"/>
              </a:rPr>
              <a:t>CR</a:t>
            </a:r>
            <a:r>
              <a:rPr sz="1200" b="1" spc="-10">
                <a:solidFill>
                  <a:srgbClr val="2B093C"/>
                </a:solidFill>
                <a:latin typeface="Verdana"/>
                <a:cs typeface="Verdana"/>
              </a:rPr>
              <a:t>E</a:t>
            </a:r>
            <a:r>
              <a:rPr sz="1200" b="1">
                <a:solidFill>
                  <a:srgbClr val="2B093C"/>
                </a:solidFill>
                <a:latin typeface="Verdana"/>
                <a:cs typeface="Verdana"/>
              </a:rPr>
              <a:t>ATIVE</a:t>
            </a:r>
            <a:endParaRPr sz="1200">
              <a:latin typeface="Verdana"/>
              <a:cs typeface="Verdana"/>
            </a:endParaRPr>
          </a:p>
        </p:txBody>
      </p:sp>
      <p:sp>
        <p:nvSpPr>
          <p:cNvPr id="8" name="object 8"/>
          <p:cNvSpPr/>
          <p:nvPr/>
        </p:nvSpPr>
        <p:spPr>
          <a:xfrm>
            <a:off x="2353050" y="1444081"/>
            <a:ext cx="762635" cy="721360"/>
          </a:xfrm>
          <a:custGeom>
            <a:avLst/>
            <a:gdLst/>
            <a:ahLst/>
            <a:cxnLst/>
            <a:rect l="l" t="t" r="r" b="b"/>
            <a:pathLst>
              <a:path w="762635" h="721360">
                <a:moveTo>
                  <a:pt x="375744" y="0"/>
                </a:moveTo>
                <a:lnTo>
                  <a:pt x="330366" y="3835"/>
                </a:lnTo>
                <a:lnTo>
                  <a:pt x="285377" y="12822"/>
                </a:lnTo>
                <a:lnTo>
                  <a:pt x="241275" y="27032"/>
                </a:lnTo>
                <a:lnTo>
                  <a:pt x="198563" y="46538"/>
                </a:lnTo>
                <a:lnTo>
                  <a:pt x="157739" y="71409"/>
                </a:lnTo>
                <a:lnTo>
                  <a:pt x="120431" y="101648"/>
                </a:lnTo>
                <a:lnTo>
                  <a:pt x="87984" y="135143"/>
                </a:lnTo>
                <a:lnTo>
                  <a:pt x="60481" y="171434"/>
                </a:lnTo>
                <a:lnTo>
                  <a:pt x="38004" y="210061"/>
                </a:lnTo>
                <a:lnTo>
                  <a:pt x="20635" y="250566"/>
                </a:lnTo>
                <a:lnTo>
                  <a:pt x="8456" y="292488"/>
                </a:lnTo>
                <a:lnTo>
                  <a:pt x="1551" y="335368"/>
                </a:lnTo>
                <a:lnTo>
                  <a:pt x="0" y="378746"/>
                </a:lnTo>
                <a:lnTo>
                  <a:pt x="3885" y="422163"/>
                </a:lnTo>
                <a:lnTo>
                  <a:pt x="13291" y="465160"/>
                </a:lnTo>
                <a:lnTo>
                  <a:pt x="28297" y="507276"/>
                </a:lnTo>
                <a:lnTo>
                  <a:pt x="48987" y="548052"/>
                </a:lnTo>
                <a:lnTo>
                  <a:pt x="75443" y="587029"/>
                </a:lnTo>
                <a:lnTo>
                  <a:pt x="105715" y="621521"/>
                </a:lnTo>
                <a:lnTo>
                  <a:pt x="139257" y="650861"/>
                </a:lnTo>
                <a:lnTo>
                  <a:pt x="175620" y="675070"/>
                </a:lnTo>
                <a:lnTo>
                  <a:pt x="214352" y="694167"/>
                </a:lnTo>
                <a:lnTo>
                  <a:pt x="255005" y="708174"/>
                </a:lnTo>
                <a:lnTo>
                  <a:pt x="297128" y="717109"/>
                </a:lnTo>
                <a:lnTo>
                  <a:pt x="340272" y="720993"/>
                </a:lnTo>
                <a:lnTo>
                  <a:pt x="383987" y="719846"/>
                </a:lnTo>
                <a:lnTo>
                  <a:pt x="427823" y="713689"/>
                </a:lnTo>
                <a:lnTo>
                  <a:pt x="471331" y="702540"/>
                </a:lnTo>
                <a:lnTo>
                  <a:pt x="514059" y="686422"/>
                </a:lnTo>
                <a:lnTo>
                  <a:pt x="555560" y="665353"/>
                </a:lnTo>
                <a:lnTo>
                  <a:pt x="595381" y="639353"/>
                </a:lnTo>
                <a:lnTo>
                  <a:pt x="635902" y="607684"/>
                </a:lnTo>
                <a:lnTo>
                  <a:pt x="671220" y="572741"/>
                </a:lnTo>
                <a:lnTo>
                  <a:pt x="701129" y="534993"/>
                </a:lnTo>
                <a:lnTo>
                  <a:pt x="725420" y="494907"/>
                </a:lnTo>
                <a:lnTo>
                  <a:pt x="743887" y="452952"/>
                </a:lnTo>
                <a:lnTo>
                  <a:pt x="756322" y="409595"/>
                </a:lnTo>
                <a:lnTo>
                  <a:pt x="762519" y="365303"/>
                </a:lnTo>
                <a:lnTo>
                  <a:pt x="762269" y="320546"/>
                </a:lnTo>
                <a:lnTo>
                  <a:pt x="755366" y="275790"/>
                </a:lnTo>
                <a:lnTo>
                  <a:pt x="741602" y="231504"/>
                </a:lnTo>
                <a:lnTo>
                  <a:pt x="720770" y="188156"/>
                </a:lnTo>
                <a:lnTo>
                  <a:pt x="692663" y="146212"/>
                </a:lnTo>
                <a:lnTo>
                  <a:pt x="662201" y="111405"/>
                </a:lnTo>
                <a:lnTo>
                  <a:pt x="628123" y="81177"/>
                </a:lnTo>
                <a:lnTo>
                  <a:pt x="590930" y="55601"/>
                </a:lnTo>
                <a:lnTo>
                  <a:pt x="551121" y="34749"/>
                </a:lnTo>
                <a:lnTo>
                  <a:pt x="509197" y="18691"/>
                </a:lnTo>
                <a:lnTo>
                  <a:pt x="465660" y="7499"/>
                </a:lnTo>
                <a:lnTo>
                  <a:pt x="421008" y="1245"/>
                </a:lnTo>
                <a:lnTo>
                  <a:pt x="375744" y="0"/>
                </a:lnTo>
                <a:close/>
              </a:path>
            </a:pathLst>
          </a:custGeom>
          <a:solidFill>
            <a:srgbClr val="7D39B9"/>
          </a:solidFill>
        </p:spPr>
        <p:txBody>
          <a:bodyPr wrap="square" lIns="0" tIns="0" rIns="0" bIns="0" rtlCol="0"/>
          <a:lstStyle/>
          <a:p>
            <a:endParaRPr/>
          </a:p>
        </p:txBody>
      </p:sp>
      <p:sp>
        <p:nvSpPr>
          <p:cNvPr id="9" name="object 9"/>
          <p:cNvSpPr/>
          <p:nvPr/>
        </p:nvSpPr>
        <p:spPr>
          <a:xfrm>
            <a:off x="2714244" y="1556003"/>
            <a:ext cx="0" cy="97790"/>
          </a:xfrm>
          <a:custGeom>
            <a:avLst/>
            <a:gdLst/>
            <a:ahLst/>
            <a:cxnLst/>
            <a:rect l="l" t="t" r="r" b="b"/>
            <a:pathLst>
              <a:path h="97789">
                <a:moveTo>
                  <a:pt x="0" y="0"/>
                </a:moveTo>
                <a:lnTo>
                  <a:pt x="0" y="97536"/>
                </a:lnTo>
              </a:path>
            </a:pathLst>
          </a:custGeom>
          <a:ln w="24384">
            <a:solidFill>
              <a:srgbClr val="9BC93A"/>
            </a:solidFill>
          </a:ln>
        </p:spPr>
        <p:txBody>
          <a:bodyPr wrap="square" lIns="0" tIns="0" rIns="0" bIns="0" rtlCol="0"/>
          <a:lstStyle/>
          <a:p>
            <a:endParaRPr/>
          </a:p>
        </p:txBody>
      </p:sp>
      <p:sp>
        <p:nvSpPr>
          <p:cNvPr id="10" name="object 10"/>
          <p:cNvSpPr/>
          <p:nvPr/>
        </p:nvSpPr>
        <p:spPr>
          <a:xfrm>
            <a:off x="2679192" y="1975104"/>
            <a:ext cx="77724" cy="7162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2587751" y="1684020"/>
            <a:ext cx="265430" cy="320040"/>
          </a:xfrm>
          <a:custGeom>
            <a:avLst/>
            <a:gdLst/>
            <a:ahLst/>
            <a:cxnLst/>
            <a:rect l="l" t="t" r="r" b="b"/>
            <a:pathLst>
              <a:path w="265430" h="320039">
                <a:moveTo>
                  <a:pt x="133731" y="0"/>
                </a:moveTo>
                <a:lnTo>
                  <a:pt x="81278" y="9534"/>
                </a:lnTo>
                <a:lnTo>
                  <a:pt x="38814" y="35702"/>
                </a:lnTo>
                <a:lnTo>
                  <a:pt x="10376" y="74848"/>
                </a:lnTo>
                <a:lnTo>
                  <a:pt x="0" y="123316"/>
                </a:lnTo>
                <a:lnTo>
                  <a:pt x="4064" y="153158"/>
                </a:lnTo>
                <a:lnTo>
                  <a:pt x="15557" y="180594"/>
                </a:lnTo>
                <a:lnTo>
                  <a:pt x="33432" y="204791"/>
                </a:lnTo>
                <a:lnTo>
                  <a:pt x="56642" y="224916"/>
                </a:lnTo>
                <a:lnTo>
                  <a:pt x="63500" y="227075"/>
                </a:lnTo>
                <a:lnTo>
                  <a:pt x="65786" y="233552"/>
                </a:lnTo>
                <a:lnTo>
                  <a:pt x="65786" y="287654"/>
                </a:lnTo>
                <a:lnTo>
                  <a:pt x="68566" y="300912"/>
                </a:lnTo>
                <a:lnTo>
                  <a:pt x="76215" y="311134"/>
                </a:lnTo>
                <a:lnTo>
                  <a:pt x="87699" y="317712"/>
                </a:lnTo>
                <a:lnTo>
                  <a:pt x="101981" y="320039"/>
                </a:lnTo>
                <a:lnTo>
                  <a:pt x="163195" y="320039"/>
                </a:lnTo>
                <a:lnTo>
                  <a:pt x="177476" y="317712"/>
                </a:lnTo>
                <a:lnTo>
                  <a:pt x="188960" y="311134"/>
                </a:lnTo>
                <a:lnTo>
                  <a:pt x="196609" y="300912"/>
                </a:lnTo>
                <a:lnTo>
                  <a:pt x="199390" y="287654"/>
                </a:lnTo>
                <a:lnTo>
                  <a:pt x="199390" y="233552"/>
                </a:lnTo>
                <a:lnTo>
                  <a:pt x="201675" y="227075"/>
                </a:lnTo>
                <a:lnTo>
                  <a:pt x="249618" y="180594"/>
                </a:lnTo>
                <a:lnTo>
                  <a:pt x="265175" y="123316"/>
                </a:lnTo>
                <a:lnTo>
                  <a:pt x="254835" y="74848"/>
                </a:lnTo>
                <a:lnTo>
                  <a:pt x="226647" y="35702"/>
                </a:lnTo>
                <a:lnTo>
                  <a:pt x="184862" y="9534"/>
                </a:lnTo>
                <a:lnTo>
                  <a:pt x="133731" y="0"/>
                </a:lnTo>
                <a:close/>
              </a:path>
            </a:pathLst>
          </a:custGeom>
          <a:solidFill>
            <a:srgbClr val="9BC93A"/>
          </a:solidFill>
        </p:spPr>
        <p:txBody>
          <a:bodyPr wrap="square" lIns="0" tIns="0" rIns="0" bIns="0" rtlCol="0"/>
          <a:lstStyle/>
          <a:p>
            <a:endParaRPr/>
          </a:p>
        </p:txBody>
      </p:sp>
      <p:sp>
        <p:nvSpPr>
          <p:cNvPr id="12" name="object 12"/>
          <p:cNvSpPr/>
          <p:nvPr/>
        </p:nvSpPr>
        <p:spPr>
          <a:xfrm>
            <a:off x="2647188" y="1772411"/>
            <a:ext cx="143256" cy="248412"/>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2823972" y="1615439"/>
            <a:ext cx="77723" cy="79248"/>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2889504" y="1763267"/>
            <a:ext cx="102235" cy="36830"/>
          </a:xfrm>
          <a:custGeom>
            <a:avLst/>
            <a:gdLst/>
            <a:ahLst/>
            <a:cxnLst/>
            <a:rect l="l" t="t" r="r" b="b"/>
            <a:pathLst>
              <a:path w="102235" h="36830">
                <a:moveTo>
                  <a:pt x="95250" y="0"/>
                </a:moveTo>
                <a:lnTo>
                  <a:pt x="88518" y="0"/>
                </a:lnTo>
                <a:lnTo>
                  <a:pt x="9016" y="12954"/>
                </a:lnTo>
                <a:lnTo>
                  <a:pt x="4571" y="15112"/>
                </a:lnTo>
                <a:lnTo>
                  <a:pt x="0" y="19304"/>
                </a:lnTo>
                <a:lnTo>
                  <a:pt x="0" y="25781"/>
                </a:lnTo>
                <a:lnTo>
                  <a:pt x="2285" y="32258"/>
                </a:lnTo>
                <a:lnTo>
                  <a:pt x="6857" y="36576"/>
                </a:lnTo>
                <a:lnTo>
                  <a:pt x="13588" y="34417"/>
                </a:lnTo>
                <a:lnTo>
                  <a:pt x="93090" y="21462"/>
                </a:lnTo>
                <a:lnTo>
                  <a:pt x="97535" y="21462"/>
                </a:lnTo>
                <a:lnTo>
                  <a:pt x="102107" y="15112"/>
                </a:lnTo>
                <a:lnTo>
                  <a:pt x="102107" y="8636"/>
                </a:lnTo>
                <a:lnTo>
                  <a:pt x="99821" y="4318"/>
                </a:lnTo>
                <a:lnTo>
                  <a:pt x="95250" y="0"/>
                </a:lnTo>
                <a:close/>
              </a:path>
            </a:pathLst>
          </a:custGeom>
          <a:solidFill>
            <a:srgbClr val="9BC93A"/>
          </a:solidFill>
        </p:spPr>
        <p:txBody>
          <a:bodyPr wrap="square" lIns="0" tIns="0" rIns="0" bIns="0" rtlCol="0"/>
          <a:lstStyle/>
          <a:p>
            <a:endParaRPr/>
          </a:p>
        </p:txBody>
      </p:sp>
      <p:sp>
        <p:nvSpPr>
          <p:cNvPr id="15" name="object 15"/>
          <p:cNvSpPr/>
          <p:nvPr/>
        </p:nvSpPr>
        <p:spPr>
          <a:xfrm>
            <a:off x="2436876" y="1763267"/>
            <a:ext cx="104139" cy="36830"/>
          </a:xfrm>
          <a:custGeom>
            <a:avLst/>
            <a:gdLst/>
            <a:ahLst/>
            <a:cxnLst/>
            <a:rect l="l" t="t" r="r" b="b"/>
            <a:pathLst>
              <a:path w="104139" h="36830">
                <a:moveTo>
                  <a:pt x="13843" y="0"/>
                </a:moveTo>
                <a:lnTo>
                  <a:pt x="6857" y="0"/>
                </a:lnTo>
                <a:lnTo>
                  <a:pt x="2286" y="4318"/>
                </a:lnTo>
                <a:lnTo>
                  <a:pt x="0" y="8636"/>
                </a:lnTo>
                <a:lnTo>
                  <a:pt x="0" y="15112"/>
                </a:lnTo>
                <a:lnTo>
                  <a:pt x="4572" y="21462"/>
                </a:lnTo>
                <a:lnTo>
                  <a:pt x="9271" y="21462"/>
                </a:lnTo>
                <a:lnTo>
                  <a:pt x="89788" y="34417"/>
                </a:lnTo>
                <a:lnTo>
                  <a:pt x="96774" y="36576"/>
                </a:lnTo>
                <a:lnTo>
                  <a:pt x="101346" y="32258"/>
                </a:lnTo>
                <a:lnTo>
                  <a:pt x="103631" y="25781"/>
                </a:lnTo>
                <a:lnTo>
                  <a:pt x="103631" y="19304"/>
                </a:lnTo>
                <a:lnTo>
                  <a:pt x="101346" y="15112"/>
                </a:lnTo>
                <a:lnTo>
                  <a:pt x="94361" y="12954"/>
                </a:lnTo>
                <a:lnTo>
                  <a:pt x="13843" y="0"/>
                </a:lnTo>
                <a:close/>
              </a:path>
            </a:pathLst>
          </a:custGeom>
          <a:solidFill>
            <a:srgbClr val="9BC93A"/>
          </a:solidFill>
        </p:spPr>
        <p:txBody>
          <a:bodyPr wrap="square" lIns="0" tIns="0" rIns="0" bIns="0" rtlCol="0"/>
          <a:lstStyle/>
          <a:p>
            <a:endParaRPr/>
          </a:p>
        </p:txBody>
      </p:sp>
      <p:sp>
        <p:nvSpPr>
          <p:cNvPr id="16" name="object 16"/>
          <p:cNvSpPr/>
          <p:nvPr/>
        </p:nvSpPr>
        <p:spPr>
          <a:xfrm>
            <a:off x="2526792" y="1615439"/>
            <a:ext cx="77724" cy="79248"/>
          </a:xfrm>
          <a:prstGeom prst="rect">
            <a:avLst/>
          </a:prstGeom>
          <a:blipFill>
            <a:blip r:embed="rId6" cstate="print"/>
            <a:stretch>
              <a:fillRect/>
            </a:stretch>
          </a:blipFill>
        </p:spPr>
        <p:txBody>
          <a:bodyPr wrap="square" lIns="0" tIns="0" rIns="0" bIns="0" rtlCol="0"/>
          <a:lstStyle/>
          <a:p>
            <a:endParaRPr/>
          </a:p>
        </p:txBody>
      </p:sp>
      <p:sp>
        <p:nvSpPr>
          <p:cNvPr id="17" name="object 17"/>
          <p:cNvSpPr txBox="1"/>
          <p:nvPr/>
        </p:nvSpPr>
        <p:spPr>
          <a:xfrm>
            <a:off x="5100320" y="1694815"/>
            <a:ext cx="110426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2B093C"/>
                </a:solidFill>
                <a:latin typeface="Verdana"/>
                <a:cs typeface="Verdana"/>
              </a:rPr>
              <a:t>INSIGHTFUL</a:t>
            </a:r>
            <a:endParaRPr sz="1200">
              <a:latin typeface="Verdana"/>
              <a:cs typeface="Verdana"/>
            </a:endParaRPr>
          </a:p>
        </p:txBody>
      </p:sp>
      <p:sp>
        <p:nvSpPr>
          <p:cNvPr id="18" name="object 18"/>
          <p:cNvSpPr/>
          <p:nvPr/>
        </p:nvSpPr>
        <p:spPr>
          <a:xfrm>
            <a:off x="4277862" y="1444081"/>
            <a:ext cx="762635" cy="721360"/>
          </a:xfrm>
          <a:custGeom>
            <a:avLst/>
            <a:gdLst/>
            <a:ahLst/>
            <a:cxnLst/>
            <a:rect l="l" t="t" r="r" b="b"/>
            <a:pathLst>
              <a:path w="762635" h="721360">
                <a:moveTo>
                  <a:pt x="375744" y="0"/>
                </a:moveTo>
                <a:lnTo>
                  <a:pt x="330366" y="3835"/>
                </a:lnTo>
                <a:lnTo>
                  <a:pt x="285377" y="12822"/>
                </a:lnTo>
                <a:lnTo>
                  <a:pt x="241275" y="27032"/>
                </a:lnTo>
                <a:lnTo>
                  <a:pt x="198563" y="46538"/>
                </a:lnTo>
                <a:lnTo>
                  <a:pt x="157739" y="71409"/>
                </a:lnTo>
                <a:lnTo>
                  <a:pt x="120431" y="101648"/>
                </a:lnTo>
                <a:lnTo>
                  <a:pt x="87984" y="135143"/>
                </a:lnTo>
                <a:lnTo>
                  <a:pt x="60481" y="171434"/>
                </a:lnTo>
                <a:lnTo>
                  <a:pt x="38004" y="210061"/>
                </a:lnTo>
                <a:lnTo>
                  <a:pt x="20635" y="250566"/>
                </a:lnTo>
                <a:lnTo>
                  <a:pt x="8456" y="292488"/>
                </a:lnTo>
                <a:lnTo>
                  <a:pt x="1551" y="335368"/>
                </a:lnTo>
                <a:lnTo>
                  <a:pt x="0" y="378746"/>
                </a:lnTo>
                <a:lnTo>
                  <a:pt x="3885" y="422163"/>
                </a:lnTo>
                <a:lnTo>
                  <a:pt x="13291" y="465160"/>
                </a:lnTo>
                <a:lnTo>
                  <a:pt x="28297" y="507276"/>
                </a:lnTo>
                <a:lnTo>
                  <a:pt x="48987" y="548052"/>
                </a:lnTo>
                <a:lnTo>
                  <a:pt x="75443" y="587029"/>
                </a:lnTo>
                <a:lnTo>
                  <a:pt x="105715" y="621521"/>
                </a:lnTo>
                <a:lnTo>
                  <a:pt x="139257" y="650861"/>
                </a:lnTo>
                <a:lnTo>
                  <a:pt x="175620" y="675070"/>
                </a:lnTo>
                <a:lnTo>
                  <a:pt x="214352" y="694167"/>
                </a:lnTo>
                <a:lnTo>
                  <a:pt x="255005" y="708174"/>
                </a:lnTo>
                <a:lnTo>
                  <a:pt x="297128" y="717109"/>
                </a:lnTo>
                <a:lnTo>
                  <a:pt x="340272" y="720993"/>
                </a:lnTo>
                <a:lnTo>
                  <a:pt x="383987" y="719846"/>
                </a:lnTo>
                <a:lnTo>
                  <a:pt x="427823" y="713689"/>
                </a:lnTo>
                <a:lnTo>
                  <a:pt x="471331" y="702540"/>
                </a:lnTo>
                <a:lnTo>
                  <a:pt x="514059" y="686422"/>
                </a:lnTo>
                <a:lnTo>
                  <a:pt x="555560" y="665353"/>
                </a:lnTo>
                <a:lnTo>
                  <a:pt x="595381" y="639353"/>
                </a:lnTo>
                <a:lnTo>
                  <a:pt x="635902" y="607684"/>
                </a:lnTo>
                <a:lnTo>
                  <a:pt x="671220" y="572741"/>
                </a:lnTo>
                <a:lnTo>
                  <a:pt x="701129" y="534993"/>
                </a:lnTo>
                <a:lnTo>
                  <a:pt x="725420" y="494907"/>
                </a:lnTo>
                <a:lnTo>
                  <a:pt x="743887" y="452952"/>
                </a:lnTo>
                <a:lnTo>
                  <a:pt x="756322" y="409595"/>
                </a:lnTo>
                <a:lnTo>
                  <a:pt x="762519" y="365303"/>
                </a:lnTo>
                <a:lnTo>
                  <a:pt x="762269" y="320546"/>
                </a:lnTo>
                <a:lnTo>
                  <a:pt x="755366" y="275790"/>
                </a:lnTo>
                <a:lnTo>
                  <a:pt x="741602" y="231504"/>
                </a:lnTo>
                <a:lnTo>
                  <a:pt x="720770" y="188156"/>
                </a:lnTo>
                <a:lnTo>
                  <a:pt x="692663" y="146212"/>
                </a:lnTo>
                <a:lnTo>
                  <a:pt x="662201" y="111405"/>
                </a:lnTo>
                <a:lnTo>
                  <a:pt x="628123" y="81177"/>
                </a:lnTo>
                <a:lnTo>
                  <a:pt x="590930" y="55601"/>
                </a:lnTo>
                <a:lnTo>
                  <a:pt x="551121" y="34749"/>
                </a:lnTo>
                <a:lnTo>
                  <a:pt x="509197" y="18691"/>
                </a:lnTo>
                <a:lnTo>
                  <a:pt x="465660" y="7499"/>
                </a:lnTo>
                <a:lnTo>
                  <a:pt x="421008" y="1245"/>
                </a:lnTo>
                <a:lnTo>
                  <a:pt x="375744" y="0"/>
                </a:lnTo>
                <a:close/>
              </a:path>
            </a:pathLst>
          </a:custGeom>
          <a:solidFill>
            <a:srgbClr val="CA2980"/>
          </a:solidFill>
        </p:spPr>
        <p:txBody>
          <a:bodyPr wrap="square" lIns="0" tIns="0" rIns="0" bIns="0" rtlCol="0"/>
          <a:lstStyle/>
          <a:p>
            <a:endParaRPr/>
          </a:p>
        </p:txBody>
      </p:sp>
      <p:sp>
        <p:nvSpPr>
          <p:cNvPr id="19" name="object 19"/>
          <p:cNvSpPr/>
          <p:nvPr/>
        </p:nvSpPr>
        <p:spPr>
          <a:xfrm>
            <a:off x="4806696" y="1545336"/>
            <a:ext cx="128015" cy="121919"/>
          </a:xfrm>
          <a:prstGeom prst="rect">
            <a:avLst/>
          </a:prstGeom>
          <a:blipFill>
            <a:blip r:embed="rId7" cstate="print"/>
            <a:stretch>
              <a:fillRect/>
            </a:stretch>
          </a:blipFill>
        </p:spPr>
        <p:txBody>
          <a:bodyPr wrap="square" lIns="0" tIns="0" rIns="0" bIns="0" rtlCol="0"/>
          <a:lstStyle/>
          <a:p>
            <a:endParaRPr/>
          </a:p>
        </p:txBody>
      </p:sp>
      <p:sp>
        <p:nvSpPr>
          <p:cNvPr id="20" name="object 20"/>
          <p:cNvSpPr/>
          <p:nvPr/>
        </p:nvSpPr>
        <p:spPr>
          <a:xfrm>
            <a:off x="4387596" y="1607819"/>
            <a:ext cx="483234" cy="449580"/>
          </a:xfrm>
          <a:custGeom>
            <a:avLst/>
            <a:gdLst/>
            <a:ahLst/>
            <a:cxnLst/>
            <a:rect l="l" t="t" r="r" b="b"/>
            <a:pathLst>
              <a:path w="483235" h="449580">
                <a:moveTo>
                  <a:pt x="241553" y="0"/>
                </a:moveTo>
                <a:lnTo>
                  <a:pt x="192888" y="4564"/>
                </a:lnTo>
                <a:lnTo>
                  <a:pt x="147554" y="17656"/>
                </a:lnTo>
                <a:lnTo>
                  <a:pt x="106523" y="38375"/>
                </a:lnTo>
                <a:lnTo>
                  <a:pt x="70770" y="65817"/>
                </a:lnTo>
                <a:lnTo>
                  <a:pt x="41268" y="99082"/>
                </a:lnTo>
                <a:lnTo>
                  <a:pt x="18990" y="137267"/>
                </a:lnTo>
                <a:lnTo>
                  <a:pt x="4909" y="179470"/>
                </a:lnTo>
                <a:lnTo>
                  <a:pt x="0" y="224789"/>
                </a:lnTo>
                <a:lnTo>
                  <a:pt x="4909" y="270109"/>
                </a:lnTo>
                <a:lnTo>
                  <a:pt x="18990" y="312312"/>
                </a:lnTo>
                <a:lnTo>
                  <a:pt x="41268" y="350497"/>
                </a:lnTo>
                <a:lnTo>
                  <a:pt x="70770" y="383762"/>
                </a:lnTo>
                <a:lnTo>
                  <a:pt x="106523" y="411204"/>
                </a:lnTo>
                <a:lnTo>
                  <a:pt x="147554" y="431923"/>
                </a:lnTo>
                <a:lnTo>
                  <a:pt x="192888" y="445015"/>
                </a:lnTo>
                <a:lnTo>
                  <a:pt x="241553" y="449579"/>
                </a:lnTo>
                <a:lnTo>
                  <a:pt x="290219" y="445015"/>
                </a:lnTo>
                <a:lnTo>
                  <a:pt x="335553" y="431923"/>
                </a:lnTo>
                <a:lnTo>
                  <a:pt x="376584" y="411204"/>
                </a:lnTo>
                <a:lnTo>
                  <a:pt x="412337" y="383762"/>
                </a:lnTo>
                <a:lnTo>
                  <a:pt x="441839" y="350497"/>
                </a:lnTo>
                <a:lnTo>
                  <a:pt x="464117" y="312312"/>
                </a:lnTo>
                <a:lnTo>
                  <a:pt x="478198" y="270109"/>
                </a:lnTo>
                <a:lnTo>
                  <a:pt x="483107" y="224789"/>
                </a:lnTo>
                <a:lnTo>
                  <a:pt x="478198" y="179470"/>
                </a:lnTo>
                <a:lnTo>
                  <a:pt x="464117" y="137267"/>
                </a:lnTo>
                <a:lnTo>
                  <a:pt x="441839" y="99082"/>
                </a:lnTo>
                <a:lnTo>
                  <a:pt x="412337" y="65817"/>
                </a:lnTo>
                <a:lnTo>
                  <a:pt x="376584" y="38375"/>
                </a:lnTo>
                <a:lnTo>
                  <a:pt x="335553" y="17656"/>
                </a:lnTo>
                <a:lnTo>
                  <a:pt x="290219" y="4564"/>
                </a:lnTo>
                <a:lnTo>
                  <a:pt x="241553" y="0"/>
                </a:lnTo>
                <a:close/>
              </a:path>
            </a:pathLst>
          </a:custGeom>
          <a:solidFill>
            <a:srgbClr val="2B133C"/>
          </a:solidFill>
        </p:spPr>
        <p:txBody>
          <a:bodyPr wrap="square" lIns="0" tIns="0" rIns="0" bIns="0" rtlCol="0"/>
          <a:lstStyle/>
          <a:p>
            <a:endParaRPr/>
          </a:p>
        </p:txBody>
      </p:sp>
      <p:sp>
        <p:nvSpPr>
          <p:cNvPr id="21" name="object 21"/>
          <p:cNvSpPr/>
          <p:nvPr/>
        </p:nvSpPr>
        <p:spPr>
          <a:xfrm>
            <a:off x="4421123" y="1639823"/>
            <a:ext cx="413384" cy="384175"/>
          </a:xfrm>
          <a:custGeom>
            <a:avLst/>
            <a:gdLst/>
            <a:ahLst/>
            <a:cxnLst/>
            <a:rect l="l" t="t" r="r" b="b"/>
            <a:pathLst>
              <a:path w="413385" h="384175">
                <a:moveTo>
                  <a:pt x="206501" y="0"/>
                </a:moveTo>
                <a:lnTo>
                  <a:pt x="159313" y="5078"/>
                </a:lnTo>
                <a:lnTo>
                  <a:pt x="115910" y="19540"/>
                </a:lnTo>
                <a:lnTo>
                  <a:pt x="77559" y="42227"/>
                </a:lnTo>
                <a:lnTo>
                  <a:pt x="45526" y="71979"/>
                </a:lnTo>
                <a:lnTo>
                  <a:pt x="21078" y="107635"/>
                </a:lnTo>
                <a:lnTo>
                  <a:pt x="5480" y="148036"/>
                </a:lnTo>
                <a:lnTo>
                  <a:pt x="0" y="192024"/>
                </a:lnTo>
                <a:lnTo>
                  <a:pt x="5480" y="236011"/>
                </a:lnTo>
                <a:lnTo>
                  <a:pt x="21078" y="276412"/>
                </a:lnTo>
                <a:lnTo>
                  <a:pt x="45526" y="312068"/>
                </a:lnTo>
                <a:lnTo>
                  <a:pt x="77559" y="341820"/>
                </a:lnTo>
                <a:lnTo>
                  <a:pt x="115910" y="364507"/>
                </a:lnTo>
                <a:lnTo>
                  <a:pt x="159313" y="378969"/>
                </a:lnTo>
                <a:lnTo>
                  <a:pt x="206501" y="384048"/>
                </a:lnTo>
                <a:lnTo>
                  <a:pt x="253690" y="378969"/>
                </a:lnTo>
                <a:lnTo>
                  <a:pt x="297093" y="364507"/>
                </a:lnTo>
                <a:lnTo>
                  <a:pt x="309788" y="356997"/>
                </a:lnTo>
                <a:lnTo>
                  <a:pt x="206501" y="356997"/>
                </a:lnTo>
                <a:lnTo>
                  <a:pt x="159457" y="351100"/>
                </a:lnTo>
                <a:lnTo>
                  <a:pt x="117423" y="334461"/>
                </a:lnTo>
                <a:lnTo>
                  <a:pt x="81978" y="308657"/>
                </a:lnTo>
                <a:lnTo>
                  <a:pt x="54704" y="275265"/>
                </a:lnTo>
                <a:lnTo>
                  <a:pt x="37180" y="235861"/>
                </a:lnTo>
                <a:lnTo>
                  <a:pt x="30987" y="192024"/>
                </a:lnTo>
                <a:lnTo>
                  <a:pt x="37180" y="148186"/>
                </a:lnTo>
                <a:lnTo>
                  <a:pt x="54704" y="108782"/>
                </a:lnTo>
                <a:lnTo>
                  <a:pt x="81978" y="75390"/>
                </a:lnTo>
                <a:lnTo>
                  <a:pt x="117423" y="49586"/>
                </a:lnTo>
                <a:lnTo>
                  <a:pt x="159457" y="32947"/>
                </a:lnTo>
                <a:lnTo>
                  <a:pt x="206501" y="27050"/>
                </a:lnTo>
                <a:lnTo>
                  <a:pt x="309788" y="27050"/>
                </a:lnTo>
                <a:lnTo>
                  <a:pt x="297093" y="19540"/>
                </a:lnTo>
                <a:lnTo>
                  <a:pt x="253690" y="5078"/>
                </a:lnTo>
                <a:lnTo>
                  <a:pt x="206501" y="0"/>
                </a:lnTo>
                <a:close/>
              </a:path>
              <a:path w="413385" h="384175">
                <a:moveTo>
                  <a:pt x="309788" y="27050"/>
                </a:moveTo>
                <a:lnTo>
                  <a:pt x="206501" y="27050"/>
                </a:lnTo>
                <a:lnTo>
                  <a:pt x="253734" y="32947"/>
                </a:lnTo>
                <a:lnTo>
                  <a:pt x="296239" y="49586"/>
                </a:lnTo>
                <a:lnTo>
                  <a:pt x="332295" y="75390"/>
                </a:lnTo>
                <a:lnTo>
                  <a:pt x="360181" y="108782"/>
                </a:lnTo>
                <a:lnTo>
                  <a:pt x="378175" y="148186"/>
                </a:lnTo>
                <a:lnTo>
                  <a:pt x="384555" y="192024"/>
                </a:lnTo>
                <a:lnTo>
                  <a:pt x="378175" y="235861"/>
                </a:lnTo>
                <a:lnTo>
                  <a:pt x="360181" y="275265"/>
                </a:lnTo>
                <a:lnTo>
                  <a:pt x="332295" y="308657"/>
                </a:lnTo>
                <a:lnTo>
                  <a:pt x="296239" y="334461"/>
                </a:lnTo>
                <a:lnTo>
                  <a:pt x="253734" y="351100"/>
                </a:lnTo>
                <a:lnTo>
                  <a:pt x="206501" y="356997"/>
                </a:lnTo>
                <a:lnTo>
                  <a:pt x="309788" y="356997"/>
                </a:lnTo>
                <a:lnTo>
                  <a:pt x="367477" y="312068"/>
                </a:lnTo>
                <a:lnTo>
                  <a:pt x="391925" y="276412"/>
                </a:lnTo>
                <a:lnTo>
                  <a:pt x="407523" y="236011"/>
                </a:lnTo>
                <a:lnTo>
                  <a:pt x="413003" y="192024"/>
                </a:lnTo>
                <a:lnTo>
                  <a:pt x="407523" y="148036"/>
                </a:lnTo>
                <a:lnTo>
                  <a:pt x="391925" y="107635"/>
                </a:lnTo>
                <a:lnTo>
                  <a:pt x="367477" y="71979"/>
                </a:lnTo>
                <a:lnTo>
                  <a:pt x="335444" y="42227"/>
                </a:lnTo>
                <a:lnTo>
                  <a:pt x="309788" y="27050"/>
                </a:lnTo>
                <a:close/>
              </a:path>
            </a:pathLst>
          </a:custGeom>
          <a:solidFill>
            <a:srgbClr val="12ABDB"/>
          </a:solidFill>
        </p:spPr>
        <p:txBody>
          <a:bodyPr wrap="square" lIns="0" tIns="0" rIns="0" bIns="0" rtlCol="0"/>
          <a:lstStyle/>
          <a:p>
            <a:endParaRPr/>
          </a:p>
        </p:txBody>
      </p:sp>
      <p:sp>
        <p:nvSpPr>
          <p:cNvPr id="22" name="object 22"/>
          <p:cNvSpPr/>
          <p:nvPr/>
        </p:nvSpPr>
        <p:spPr>
          <a:xfrm>
            <a:off x="4495800" y="1709927"/>
            <a:ext cx="266700" cy="245745"/>
          </a:xfrm>
          <a:custGeom>
            <a:avLst/>
            <a:gdLst/>
            <a:ahLst/>
            <a:cxnLst/>
            <a:rect l="l" t="t" r="r" b="b"/>
            <a:pathLst>
              <a:path w="266700" h="245744">
                <a:moveTo>
                  <a:pt x="132079" y="0"/>
                </a:moveTo>
                <a:lnTo>
                  <a:pt x="80849" y="9507"/>
                </a:lnTo>
                <a:lnTo>
                  <a:pt x="38846" y="35575"/>
                </a:lnTo>
                <a:lnTo>
                  <a:pt x="10439" y="74527"/>
                </a:lnTo>
                <a:lnTo>
                  <a:pt x="0" y="122682"/>
                </a:lnTo>
                <a:lnTo>
                  <a:pt x="10439" y="170836"/>
                </a:lnTo>
                <a:lnTo>
                  <a:pt x="38846" y="209788"/>
                </a:lnTo>
                <a:lnTo>
                  <a:pt x="80849" y="235856"/>
                </a:lnTo>
                <a:lnTo>
                  <a:pt x="132079" y="245363"/>
                </a:lnTo>
                <a:lnTo>
                  <a:pt x="184779" y="235856"/>
                </a:lnTo>
                <a:lnTo>
                  <a:pt x="213554" y="218312"/>
                </a:lnTo>
                <a:lnTo>
                  <a:pt x="132079" y="218312"/>
                </a:lnTo>
                <a:lnTo>
                  <a:pt x="91830" y="210960"/>
                </a:lnTo>
                <a:lnTo>
                  <a:pt x="58880" y="190738"/>
                </a:lnTo>
                <a:lnTo>
                  <a:pt x="36621" y="160395"/>
                </a:lnTo>
                <a:lnTo>
                  <a:pt x="28448" y="122682"/>
                </a:lnTo>
                <a:lnTo>
                  <a:pt x="36621" y="84968"/>
                </a:lnTo>
                <a:lnTo>
                  <a:pt x="58880" y="54625"/>
                </a:lnTo>
                <a:lnTo>
                  <a:pt x="91830" y="34403"/>
                </a:lnTo>
                <a:lnTo>
                  <a:pt x="132079" y="27050"/>
                </a:lnTo>
                <a:lnTo>
                  <a:pt x="213554" y="27050"/>
                </a:lnTo>
                <a:lnTo>
                  <a:pt x="184779" y="9507"/>
                </a:lnTo>
                <a:lnTo>
                  <a:pt x="132079" y="0"/>
                </a:lnTo>
                <a:close/>
              </a:path>
              <a:path w="266700" h="245744">
                <a:moveTo>
                  <a:pt x="213554" y="27050"/>
                </a:moveTo>
                <a:lnTo>
                  <a:pt x="132079" y="27050"/>
                </a:lnTo>
                <a:lnTo>
                  <a:pt x="172255" y="34403"/>
                </a:lnTo>
                <a:lnTo>
                  <a:pt x="205168" y="54625"/>
                </a:lnTo>
                <a:lnTo>
                  <a:pt x="227413" y="84968"/>
                </a:lnTo>
                <a:lnTo>
                  <a:pt x="235585" y="122682"/>
                </a:lnTo>
                <a:lnTo>
                  <a:pt x="227413" y="160395"/>
                </a:lnTo>
                <a:lnTo>
                  <a:pt x="205168" y="190738"/>
                </a:lnTo>
                <a:lnTo>
                  <a:pt x="172255" y="210960"/>
                </a:lnTo>
                <a:lnTo>
                  <a:pt x="132079" y="218312"/>
                </a:lnTo>
                <a:lnTo>
                  <a:pt x="213554" y="218312"/>
                </a:lnTo>
                <a:lnTo>
                  <a:pt x="227536" y="209788"/>
                </a:lnTo>
                <a:lnTo>
                  <a:pt x="256220" y="170836"/>
                </a:lnTo>
                <a:lnTo>
                  <a:pt x="266700" y="122682"/>
                </a:lnTo>
                <a:lnTo>
                  <a:pt x="256220" y="74527"/>
                </a:lnTo>
                <a:lnTo>
                  <a:pt x="227536" y="35575"/>
                </a:lnTo>
                <a:lnTo>
                  <a:pt x="213554" y="27050"/>
                </a:lnTo>
                <a:close/>
              </a:path>
            </a:pathLst>
          </a:custGeom>
          <a:solidFill>
            <a:srgbClr val="12ABDB"/>
          </a:solidFill>
        </p:spPr>
        <p:txBody>
          <a:bodyPr wrap="square" lIns="0" tIns="0" rIns="0" bIns="0" rtlCol="0"/>
          <a:lstStyle/>
          <a:p>
            <a:endParaRPr/>
          </a:p>
        </p:txBody>
      </p:sp>
      <p:sp>
        <p:nvSpPr>
          <p:cNvPr id="23" name="object 23"/>
          <p:cNvSpPr/>
          <p:nvPr/>
        </p:nvSpPr>
        <p:spPr>
          <a:xfrm>
            <a:off x="4578096" y="1592580"/>
            <a:ext cx="306324" cy="284988"/>
          </a:xfrm>
          <a:prstGeom prst="rect">
            <a:avLst/>
          </a:prstGeom>
          <a:blipFill>
            <a:blip r:embed="rId8" cstate="print"/>
            <a:stretch>
              <a:fillRect/>
            </a:stretch>
          </a:blipFill>
        </p:spPr>
        <p:txBody>
          <a:bodyPr wrap="square" lIns="0" tIns="0" rIns="0" bIns="0" rtlCol="0"/>
          <a:lstStyle/>
          <a:p>
            <a:endParaRPr/>
          </a:p>
        </p:txBody>
      </p:sp>
      <p:sp>
        <p:nvSpPr>
          <p:cNvPr id="24" name="object 24"/>
          <p:cNvSpPr txBox="1"/>
          <p:nvPr/>
        </p:nvSpPr>
        <p:spPr>
          <a:xfrm>
            <a:off x="7243953" y="1694815"/>
            <a:ext cx="126619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2B093C"/>
                </a:solidFill>
                <a:latin typeface="Verdana"/>
                <a:cs typeface="Verdana"/>
              </a:rPr>
              <a:t>AUTONOMOUS</a:t>
            </a:r>
            <a:endParaRPr sz="1200">
              <a:latin typeface="Verdana"/>
              <a:cs typeface="Verdana"/>
            </a:endParaRPr>
          </a:p>
        </p:txBody>
      </p:sp>
      <p:sp>
        <p:nvSpPr>
          <p:cNvPr id="25" name="object 25"/>
          <p:cNvSpPr/>
          <p:nvPr/>
        </p:nvSpPr>
        <p:spPr>
          <a:xfrm>
            <a:off x="6422130" y="1444081"/>
            <a:ext cx="762635" cy="721360"/>
          </a:xfrm>
          <a:custGeom>
            <a:avLst/>
            <a:gdLst/>
            <a:ahLst/>
            <a:cxnLst/>
            <a:rect l="l" t="t" r="r" b="b"/>
            <a:pathLst>
              <a:path w="762634" h="721360">
                <a:moveTo>
                  <a:pt x="375744" y="0"/>
                </a:moveTo>
                <a:lnTo>
                  <a:pt x="330366" y="3835"/>
                </a:lnTo>
                <a:lnTo>
                  <a:pt x="285377" y="12822"/>
                </a:lnTo>
                <a:lnTo>
                  <a:pt x="241275" y="27032"/>
                </a:lnTo>
                <a:lnTo>
                  <a:pt x="198563" y="46538"/>
                </a:lnTo>
                <a:lnTo>
                  <a:pt x="157739" y="71409"/>
                </a:lnTo>
                <a:lnTo>
                  <a:pt x="120431" y="101648"/>
                </a:lnTo>
                <a:lnTo>
                  <a:pt x="87984" y="135143"/>
                </a:lnTo>
                <a:lnTo>
                  <a:pt x="60481" y="171434"/>
                </a:lnTo>
                <a:lnTo>
                  <a:pt x="38004" y="210061"/>
                </a:lnTo>
                <a:lnTo>
                  <a:pt x="20635" y="250566"/>
                </a:lnTo>
                <a:lnTo>
                  <a:pt x="8456" y="292488"/>
                </a:lnTo>
                <a:lnTo>
                  <a:pt x="1551" y="335368"/>
                </a:lnTo>
                <a:lnTo>
                  <a:pt x="0" y="378746"/>
                </a:lnTo>
                <a:lnTo>
                  <a:pt x="3885" y="422163"/>
                </a:lnTo>
                <a:lnTo>
                  <a:pt x="13291" y="465160"/>
                </a:lnTo>
                <a:lnTo>
                  <a:pt x="28297" y="507276"/>
                </a:lnTo>
                <a:lnTo>
                  <a:pt x="48987" y="548052"/>
                </a:lnTo>
                <a:lnTo>
                  <a:pt x="75443" y="587029"/>
                </a:lnTo>
                <a:lnTo>
                  <a:pt x="105715" y="621521"/>
                </a:lnTo>
                <a:lnTo>
                  <a:pt x="139257" y="650861"/>
                </a:lnTo>
                <a:lnTo>
                  <a:pt x="175620" y="675070"/>
                </a:lnTo>
                <a:lnTo>
                  <a:pt x="214352" y="694167"/>
                </a:lnTo>
                <a:lnTo>
                  <a:pt x="255005" y="708174"/>
                </a:lnTo>
                <a:lnTo>
                  <a:pt x="297128" y="717109"/>
                </a:lnTo>
                <a:lnTo>
                  <a:pt x="340272" y="720993"/>
                </a:lnTo>
                <a:lnTo>
                  <a:pt x="383987" y="719846"/>
                </a:lnTo>
                <a:lnTo>
                  <a:pt x="427823" y="713689"/>
                </a:lnTo>
                <a:lnTo>
                  <a:pt x="471331" y="702540"/>
                </a:lnTo>
                <a:lnTo>
                  <a:pt x="514059" y="686422"/>
                </a:lnTo>
                <a:lnTo>
                  <a:pt x="555560" y="665353"/>
                </a:lnTo>
                <a:lnTo>
                  <a:pt x="595381" y="639353"/>
                </a:lnTo>
                <a:lnTo>
                  <a:pt x="635902" y="607684"/>
                </a:lnTo>
                <a:lnTo>
                  <a:pt x="671220" y="572741"/>
                </a:lnTo>
                <a:lnTo>
                  <a:pt x="701129" y="534993"/>
                </a:lnTo>
                <a:lnTo>
                  <a:pt x="725420" y="494907"/>
                </a:lnTo>
                <a:lnTo>
                  <a:pt x="743887" y="452952"/>
                </a:lnTo>
                <a:lnTo>
                  <a:pt x="756322" y="409595"/>
                </a:lnTo>
                <a:lnTo>
                  <a:pt x="762519" y="365303"/>
                </a:lnTo>
                <a:lnTo>
                  <a:pt x="762269" y="320546"/>
                </a:lnTo>
                <a:lnTo>
                  <a:pt x="755366" y="275790"/>
                </a:lnTo>
                <a:lnTo>
                  <a:pt x="741602" y="231504"/>
                </a:lnTo>
                <a:lnTo>
                  <a:pt x="720770" y="188156"/>
                </a:lnTo>
                <a:lnTo>
                  <a:pt x="692663" y="146212"/>
                </a:lnTo>
                <a:lnTo>
                  <a:pt x="662201" y="111405"/>
                </a:lnTo>
                <a:lnTo>
                  <a:pt x="628123" y="81177"/>
                </a:lnTo>
                <a:lnTo>
                  <a:pt x="590930" y="55601"/>
                </a:lnTo>
                <a:lnTo>
                  <a:pt x="551121" y="34749"/>
                </a:lnTo>
                <a:lnTo>
                  <a:pt x="509197" y="18691"/>
                </a:lnTo>
                <a:lnTo>
                  <a:pt x="465660" y="7499"/>
                </a:lnTo>
                <a:lnTo>
                  <a:pt x="421008" y="1245"/>
                </a:lnTo>
                <a:lnTo>
                  <a:pt x="375744" y="0"/>
                </a:lnTo>
                <a:close/>
              </a:path>
            </a:pathLst>
          </a:custGeom>
          <a:solidFill>
            <a:srgbClr val="00D1D0"/>
          </a:solidFill>
        </p:spPr>
        <p:txBody>
          <a:bodyPr wrap="square" lIns="0" tIns="0" rIns="0" bIns="0" rtlCol="0"/>
          <a:lstStyle/>
          <a:p>
            <a:endParaRPr/>
          </a:p>
        </p:txBody>
      </p:sp>
      <p:sp>
        <p:nvSpPr>
          <p:cNvPr id="26" name="object 26"/>
          <p:cNvSpPr/>
          <p:nvPr/>
        </p:nvSpPr>
        <p:spPr>
          <a:xfrm>
            <a:off x="6713219" y="1630679"/>
            <a:ext cx="76200" cy="91440"/>
          </a:xfrm>
          <a:prstGeom prst="rect">
            <a:avLst/>
          </a:prstGeom>
          <a:blipFill>
            <a:blip r:embed="rId9" cstate="print"/>
            <a:stretch>
              <a:fillRect/>
            </a:stretch>
          </a:blipFill>
        </p:spPr>
        <p:txBody>
          <a:bodyPr wrap="square" lIns="0" tIns="0" rIns="0" bIns="0" rtlCol="0"/>
          <a:lstStyle/>
          <a:p>
            <a:endParaRPr/>
          </a:p>
        </p:txBody>
      </p:sp>
      <p:sp>
        <p:nvSpPr>
          <p:cNvPr id="27" name="object 27"/>
          <p:cNvSpPr/>
          <p:nvPr/>
        </p:nvSpPr>
        <p:spPr>
          <a:xfrm>
            <a:off x="6632447" y="1737360"/>
            <a:ext cx="276225" cy="250190"/>
          </a:xfrm>
          <a:custGeom>
            <a:avLst/>
            <a:gdLst/>
            <a:ahLst/>
            <a:cxnLst/>
            <a:rect l="l" t="t" r="r" b="b"/>
            <a:pathLst>
              <a:path w="276225" h="250189">
                <a:moveTo>
                  <a:pt x="151515" y="59943"/>
                </a:moveTo>
                <a:lnTo>
                  <a:pt x="61086" y="59943"/>
                </a:lnTo>
                <a:lnTo>
                  <a:pt x="61086" y="196214"/>
                </a:lnTo>
                <a:lnTo>
                  <a:pt x="60892" y="196963"/>
                </a:lnTo>
                <a:lnTo>
                  <a:pt x="58769" y="202199"/>
                </a:lnTo>
                <a:lnTo>
                  <a:pt x="52407" y="216413"/>
                </a:lnTo>
                <a:lnTo>
                  <a:pt x="39497" y="244093"/>
                </a:lnTo>
                <a:lnTo>
                  <a:pt x="39497" y="247014"/>
                </a:lnTo>
                <a:lnTo>
                  <a:pt x="36322" y="249936"/>
                </a:lnTo>
                <a:lnTo>
                  <a:pt x="41782" y="249936"/>
                </a:lnTo>
                <a:lnTo>
                  <a:pt x="85978" y="245999"/>
                </a:lnTo>
                <a:lnTo>
                  <a:pt x="88900" y="245999"/>
                </a:lnTo>
                <a:lnTo>
                  <a:pt x="89895" y="243712"/>
                </a:lnTo>
                <a:lnTo>
                  <a:pt x="48005" y="243712"/>
                </a:lnTo>
                <a:lnTo>
                  <a:pt x="48641" y="243077"/>
                </a:lnTo>
                <a:lnTo>
                  <a:pt x="90172" y="243077"/>
                </a:lnTo>
                <a:lnTo>
                  <a:pt x="106933" y="204597"/>
                </a:lnTo>
                <a:lnTo>
                  <a:pt x="107028" y="202691"/>
                </a:lnTo>
                <a:lnTo>
                  <a:pt x="115697" y="144652"/>
                </a:lnTo>
                <a:lnTo>
                  <a:pt x="197721" y="144652"/>
                </a:lnTo>
                <a:lnTo>
                  <a:pt x="195706" y="132334"/>
                </a:lnTo>
                <a:lnTo>
                  <a:pt x="195706" y="129412"/>
                </a:lnTo>
                <a:lnTo>
                  <a:pt x="194436" y="128015"/>
                </a:lnTo>
                <a:lnTo>
                  <a:pt x="149351" y="104901"/>
                </a:lnTo>
                <a:lnTo>
                  <a:pt x="151515" y="59943"/>
                </a:lnTo>
                <a:close/>
              </a:path>
              <a:path w="276225" h="250189">
                <a:moveTo>
                  <a:pt x="90172" y="243077"/>
                </a:moveTo>
                <a:lnTo>
                  <a:pt x="48641" y="243077"/>
                </a:lnTo>
                <a:lnTo>
                  <a:pt x="48386" y="243459"/>
                </a:lnTo>
                <a:lnTo>
                  <a:pt x="48005" y="243712"/>
                </a:lnTo>
                <a:lnTo>
                  <a:pt x="89895" y="243712"/>
                </a:lnTo>
                <a:lnTo>
                  <a:pt x="90172" y="243077"/>
                </a:lnTo>
                <a:close/>
              </a:path>
              <a:path w="276225" h="250189">
                <a:moveTo>
                  <a:pt x="197721" y="144652"/>
                </a:moveTo>
                <a:lnTo>
                  <a:pt x="115697" y="144652"/>
                </a:lnTo>
                <a:lnTo>
                  <a:pt x="154940" y="157352"/>
                </a:lnTo>
                <a:lnTo>
                  <a:pt x="159050" y="196963"/>
                </a:lnTo>
                <a:lnTo>
                  <a:pt x="159130" y="201040"/>
                </a:lnTo>
                <a:lnTo>
                  <a:pt x="162051" y="202691"/>
                </a:lnTo>
                <a:lnTo>
                  <a:pt x="163449" y="202691"/>
                </a:lnTo>
                <a:lnTo>
                  <a:pt x="201295" y="197103"/>
                </a:lnTo>
                <a:lnTo>
                  <a:pt x="204216" y="197103"/>
                </a:lnTo>
                <a:lnTo>
                  <a:pt x="205612" y="194182"/>
                </a:lnTo>
                <a:lnTo>
                  <a:pt x="205612" y="192912"/>
                </a:lnTo>
                <a:lnTo>
                  <a:pt x="197721" y="144652"/>
                </a:lnTo>
                <a:close/>
              </a:path>
              <a:path w="276225" h="250189">
                <a:moveTo>
                  <a:pt x="141858" y="0"/>
                </a:moveTo>
                <a:lnTo>
                  <a:pt x="87883" y="3301"/>
                </a:lnTo>
                <a:lnTo>
                  <a:pt x="53594" y="10794"/>
                </a:lnTo>
                <a:lnTo>
                  <a:pt x="52324" y="10794"/>
                </a:lnTo>
                <a:lnTo>
                  <a:pt x="52324" y="12064"/>
                </a:lnTo>
                <a:lnTo>
                  <a:pt x="50673" y="12064"/>
                </a:lnTo>
                <a:lnTo>
                  <a:pt x="1650" y="73025"/>
                </a:lnTo>
                <a:lnTo>
                  <a:pt x="0" y="74294"/>
                </a:lnTo>
                <a:lnTo>
                  <a:pt x="0" y="77215"/>
                </a:lnTo>
                <a:lnTo>
                  <a:pt x="10413" y="139826"/>
                </a:lnTo>
                <a:lnTo>
                  <a:pt x="10413" y="141097"/>
                </a:lnTo>
                <a:lnTo>
                  <a:pt x="12065" y="142748"/>
                </a:lnTo>
                <a:lnTo>
                  <a:pt x="16636" y="142748"/>
                </a:lnTo>
                <a:lnTo>
                  <a:pt x="40258" y="133985"/>
                </a:lnTo>
                <a:lnTo>
                  <a:pt x="41782" y="133985"/>
                </a:lnTo>
                <a:lnTo>
                  <a:pt x="43433" y="132334"/>
                </a:lnTo>
                <a:lnTo>
                  <a:pt x="43433" y="129412"/>
                </a:lnTo>
                <a:lnTo>
                  <a:pt x="38861" y="81787"/>
                </a:lnTo>
                <a:lnTo>
                  <a:pt x="61086" y="59943"/>
                </a:lnTo>
                <a:lnTo>
                  <a:pt x="151515" y="59943"/>
                </a:lnTo>
                <a:lnTo>
                  <a:pt x="151637" y="57403"/>
                </a:lnTo>
                <a:lnTo>
                  <a:pt x="243008" y="57403"/>
                </a:lnTo>
                <a:lnTo>
                  <a:pt x="246379" y="55372"/>
                </a:lnTo>
                <a:lnTo>
                  <a:pt x="272923" y="55372"/>
                </a:lnTo>
                <a:lnTo>
                  <a:pt x="275844" y="52197"/>
                </a:lnTo>
                <a:lnTo>
                  <a:pt x="275844" y="37211"/>
                </a:lnTo>
                <a:lnTo>
                  <a:pt x="197738" y="37211"/>
                </a:lnTo>
                <a:lnTo>
                  <a:pt x="141858" y="0"/>
                </a:lnTo>
                <a:close/>
              </a:path>
              <a:path w="276225" h="250189">
                <a:moveTo>
                  <a:pt x="243008" y="57403"/>
                </a:moveTo>
                <a:lnTo>
                  <a:pt x="151637" y="57403"/>
                </a:lnTo>
                <a:lnTo>
                  <a:pt x="158170" y="61279"/>
                </a:lnTo>
                <a:lnTo>
                  <a:pt x="194818" y="83692"/>
                </a:lnTo>
                <a:lnTo>
                  <a:pt x="199390" y="83692"/>
                </a:lnTo>
                <a:lnTo>
                  <a:pt x="243008" y="57403"/>
                </a:lnTo>
                <a:close/>
              </a:path>
              <a:path w="276225" h="250189">
                <a:moveTo>
                  <a:pt x="272923" y="14986"/>
                </a:moveTo>
                <a:lnTo>
                  <a:pt x="270001" y="14986"/>
                </a:lnTo>
                <a:lnTo>
                  <a:pt x="245109" y="16255"/>
                </a:lnTo>
                <a:lnTo>
                  <a:pt x="242188" y="16255"/>
                </a:lnTo>
                <a:lnTo>
                  <a:pt x="197738" y="37211"/>
                </a:lnTo>
                <a:lnTo>
                  <a:pt x="275844" y="37211"/>
                </a:lnTo>
                <a:lnTo>
                  <a:pt x="275844" y="19176"/>
                </a:lnTo>
                <a:lnTo>
                  <a:pt x="272923" y="14986"/>
                </a:lnTo>
                <a:close/>
              </a:path>
            </a:pathLst>
          </a:custGeom>
          <a:solidFill>
            <a:srgbClr val="4600A7"/>
          </a:solidFill>
        </p:spPr>
        <p:txBody>
          <a:bodyPr wrap="square" lIns="0" tIns="0" rIns="0" bIns="0" rtlCol="0"/>
          <a:lstStyle/>
          <a:p>
            <a:endParaRPr/>
          </a:p>
        </p:txBody>
      </p:sp>
      <p:sp>
        <p:nvSpPr>
          <p:cNvPr id="28" name="object 28"/>
          <p:cNvSpPr/>
          <p:nvPr/>
        </p:nvSpPr>
        <p:spPr>
          <a:xfrm>
            <a:off x="6777228" y="1543811"/>
            <a:ext cx="124968" cy="202691"/>
          </a:xfrm>
          <a:prstGeom prst="rect">
            <a:avLst/>
          </a:prstGeom>
          <a:blipFill>
            <a:blip r:embed="rId10" cstate="print"/>
            <a:stretch>
              <a:fillRect/>
            </a:stretch>
          </a:blipFill>
        </p:spPr>
        <p:txBody>
          <a:bodyPr wrap="square" lIns="0" tIns="0" rIns="0" bIns="0" rtlCol="0"/>
          <a:lstStyle/>
          <a:p>
            <a:endParaRPr/>
          </a:p>
        </p:txBody>
      </p:sp>
      <p:sp>
        <p:nvSpPr>
          <p:cNvPr id="29" name="object 29"/>
          <p:cNvSpPr/>
          <p:nvPr/>
        </p:nvSpPr>
        <p:spPr>
          <a:xfrm>
            <a:off x="6611111" y="1796795"/>
            <a:ext cx="345440" cy="264160"/>
          </a:xfrm>
          <a:custGeom>
            <a:avLst/>
            <a:gdLst/>
            <a:ahLst/>
            <a:cxnLst/>
            <a:rect l="l" t="t" r="r" b="b"/>
            <a:pathLst>
              <a:path w="345440" h="264160">
                <a:moveTo>
                  <a:pt x="291719" y="0"/>
                </a:moveTo>
                <a:lnTo>
                  <a:pt x="279908" y="1269"/>
                </a:lnTo>
                <a:lnTo>
                  <a:pt x="279908" y="137921"/>
                </a:lnTo>
                <a:lnTo>
                  <a:pt x="143129" y="161289"/>
                </a:lnTo>
                <a:lnTo>
                  <a:pt x="140081" y="161289"/>
                </a:lnTo>
                <a:lnTo>
                  <a:pt x="140081" y="162940"/>
                </a:lnTo>
                <a:lnTo>
                  <a:pt x="119888" y="198754"/>
                </a:lnTo>
                <a:lnTo>
                  <a:pt x="36576" y="204342"/>
                </a:lnTo>
                <a:lnTo>
                  <a:pt x="34925" y="204342"/>
                </a:lnTo>
                <a:lnTo>
                  <a:pt x="33655" y="205993"/>
                </a:lnTo>
                <a:lnTo>
                  <a:pt x="1651" y="257682"/>
                </a:lnTo>
                <a:lnTo>
                  <a:pt x="0" y="259333"/>
                </a:lnTo>
                <a:lnTo>
                  <a:pt x="1651" y="262000"/>
                </a:lnTo>
                <a:lnTo>
                  <a:pt x="2921" y="263651"/>
                </a:lnTo>
                <a:lnTo>
                  <a:pt x="343027" y="263651"/>
                </a:lnTo>
                <a:lnTo>
                  <a:pt x="344160" y="256857"/>
                </a:lnTo>
                <a:lnTo>
                  <a:pt x="344947" y="243395"/>
                </a:lnTo>
                <a:lnTo>
                  <a:pt x="345187" y="229933"/>
                </a:lnTo>
                <a:lnTo>
                  <a:pt x="344678" y="223138"/>
                </a:lnTo>
                <a:lnTo>
                  <a:pt x="309777" y="135636"/>
                </a:lnTo>
                <a:lnTo>
                  <a:pt x="291719" y="135636"/>
                </a:lnTo>
                <a:lnTo>
                  <a:pt x="291719" y="0"/>
                </a:lnTo>
                <a:close/>
              </a:path>
              <a:path w="345440" h="264160">
                <a:moveTo>
                  <a:pt x="307047" y="132930"/>
                </a:moveTo>
                <a:lnTo>
                  <a:pt x="291719" y="135636"/>
                </a:lnTo>
                <a:lnTo>
                  <a:pt x="309777" y="135636"/>
                </a:lnTo>
                <a:lnTo>
                  <a:pt x="309626" y="135254"/>
                </a:lnTo>
                <a:lnTo>
                  <a:pt x="308102" y="133984"/>
                </a:lnTo>
                <a:lnTo>
                  <a:pt x="307047" y="132930"/>
                </a:lnTo>
                <a:close/>
              </a:path>
              <a:path w="345440" h="264160">
                <a:moveTo>
                  <a:pt x="308991" y="132587"/>
                </a:moveTo>
                <a:lnTo>
                  <a:pt x="306705" y="132587"/>
                </a:lnTo>
                <a:lnTo>
                  <a:pt x="307047" y="132930"/>
                </a:lnTo>
                <a:lnTo>
                  <a:pt x="308991" y="132587"/>
                </a:lnTo>
                <a:close/>
              </a:path>
            </a:pathLst>
          </a:custGeom>
          <a:solidFill>
            <a:srgbClr val="FFFFFF"/>
          </a:solidFill>
        </p:spPr>
        <p:txBody>
          <a:bodyPr wrap="square" lIns="0" tIns="0" rIns="0" bIns="0" rtlCol="0"/>
          <a:lstStyle/>
          <a:p>
            <a:endParaRPr/>
          </a:p>
        </p:txBody>
      </p:sp>
      <p:sp>
        <p:nvSpPr>
          <p:cNvPr id="30" name="object 30"/>
          <p:cNvSpPr txBox="1"/>
          <p:nvPr/>
        </p:nvSpPr>
        <p:spPr>
          <a:xfrm>
            <a:off x="1224788" y="1694815"/>
            <a:ext cx="90805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2B093C"/>
                </a:solidFill>
                <a:latin typeface="Verdana"/>
                <a:cs typeface="Verdana"/>
              </a:rPr>
              <a:t>ADAPTIVE</a:t>
            </a:r>
            <a:endParaRPr sz="1200">
              <a:latin typeface="Verdana"/>
              <a:cs typeface="Verdana"/>
            </a:endParaRPr>
          </a:p>
        </p:txBody>
      </p:sp>
      <p:sp>
        <p:nvSpPr>
          <p:cNvPr id="31" name="object 31"/>
          <p:cNvSpPr/>
          <p:nvPr/>
        </p:nvSpPr>
        <p:spPr>
          <a:xfrm>
            <a:off x="403826" y="1444081"/>
            <a:ext cx="762635" cy="721360"/>
          </a:xfrm>
          <a:custGeom>
            <a:avLst/>
            <a:gdLst/>
            <a:ahLst/>
            <a:cxnLst/>
            <a:rect l="l" t="t" r="r" b="b"/>
            <a:pathLst>
              <a:path w="762635" h="721360">
                <a:moveTo>
                  <a:pt x="375761" y="0"/>
                </a:moveTo>
                <a:lnTo>
                  <a:pt x="330377" y="3835"/>
                </a:lnTo>
                <a:lnTo>
                  <a:pt x="285381" y="12822"/>
                </a:lnTo>
                <a:lnTo>
                  <a:pt x="241273" y="27032"/>
                </a:lnTo>
                <a:lnTo>
                  <a:pt x="198556" y="46538"/>
                </a:lnTo>
                <a:lnTo>
                  <a:pt x="157729" y="71409"/>
                </a:lnTo>
                <a:lnTo>
                  <a:pt x="120419" y="101648"/>
                </a:lnTo>
                <a:lnTo>
                  <a:pt x="87972" y="135143"/>
                </a:lnTo>
                <a:lnTo>
                  <a:pt x="60470" y="171434"/>
                </a:lnTo>
                <a:lnTo>
                  <a:pt x="37995" y="210061"/>
                </a:lnTo>
                <a:lnTo>
                  <a:pt x="20629" y="250566"/>
                </a:lnTo>
                <a:lnTo>
                  <a:pt x="8453" y="292488"/>
                </a:lnTo>
                <a:lnTo>
                  <a:pt x="1549" y="335368"/>
                </a:lnTo>
                <a:lnTo>
                  <a:pt x="0" y="378746"/>
                </a:lnTo>
                <a:lnTo>
                  <a:pt x="3885" y="422163"/>
                </a:lnTo>
                <a:lnTo>
                  <a:pt x="13289" y="465160"/>
                </a:lnTo>
                <a:lnTo>
                  <a:pt x="28291" y="507276"/>
                </a:lnTo>
                <a:lnTo>
                  <a:pt x="48974" y="548052"/>
                </a:lnTo>
                <a:lnTo>
                  <a:pt x="75420" y="587029"/>
                </a:lnTo>
                <a:lnTo>
                  <a:pt x="105698" y="621521"/>
                </a:lnTo>
                <a:lnTo>
                  <a:pt x="139245" y="650861"/>
                </a:lnTo>
                <a:lnTo>
                  <a:pt x="175611" y="675070"/>
                </a:lnTo>
                <a:lnTo>
                  <a:pt x="214348" y="694167"/>
                </a:lnTo>
                <a:lnTo>
                  <a:pt x="255006" y="708174"/>
                </a:lnTo>
                <a:lnTo>
                  <a:pt x="297134" y="717109"/>
                </a:lnTo>
                <a:lnTo>
                  <a:pt x="340284" y="720993"/>
                </a:lnTo>
                <a:lnTo>
                  <a:pt x="384006" y="719846"/>
                </a:lnTo>
                <a:lnTo>
                  <a:pt x="427851" y="713689"/>
                </a:lnTo>
                <a:lnTo>
                  <a:pt x="471368" y="702540"/>
                </a:lnTo>
                <a:lnTo>
                  <a:pt x="514108" y="686422"/>
                </a:lnTo>
                <a:lnTo>
                  <a:pt x="555622" y="665353"/>
                </a:lnTo>
                <a:lnTo>
                  <a:pt x="595460" y="639353"/>
                </a:lnTo>
                <a:lnTo>
                  <a:pt x="635959" y="607684"/>
                </a:lnTo>
                <a:lnTo>
                  <a:pt x="671260" y="572741"/>
                </a:lnTo>
                <a:lnTo>
                  <a:pt x="701157" y="534993"/>
                </a:lnTo>
                <a:lnTo>
                  <a:pt x="725442" y="494907"/>
                </a:lnTo>
                <a:lnTo>
                  <a:pt x="743907" y="452952"/>
                </a:lnTo>
                <a:lnTo>
                  <a:pt x="756344" y="409595"/>
                </a:lnTo>
                <a:lnTo>
                  <a:pt x="762545" y="365303"/>
                </a:lnTo>
                <a:lnTo>
                  <a:pt x="762302" y="320546"/>
                </a:lnTo>
                <a:lnTo>
                  <a:pt x="755409" y="275790"/>
                </a:lnTo>
                <a:lnTo>
                  <a:pt x="741656" y="231504"/>
                </a:lnTo>
                <a:lnTo>
                  <a:pt x="720836" y="188156"/>
                </a:lnTo>
                <a:lnTo>
                  <a:pt x="692742" y="146212"/>
                </a:lnTo>
                <a:lnTo>
                  <a:pt x="662274" y="111405"/>
                </a:lnTo>
                <a:lnTo>
                  <a:pt x="628189" y="81177"/>
                </a:lnTo>
                <a:lnTo>
                  <a:pt x="590987" y="55601"/>
                </a:lnTo>
                <a:lnTo>
                  <a:pt x="551171" y="34749"/>
                </a:lnTo>
                <a:lnTo>
                  <a:pt x="509239" y="18691"/>
                </a:lnTo>
                <a:lnTo>
                  <a:pt x="465693" y="7499"/>
                </a:lnTo>
                <a:lnTo>
                  <a:pt x="421034" y="1245"/>
                </a:lnTo>
                <a:lnTo>
                  <a:pt x="375761" y="0"/>
                </a:lnTo>
                <a:close/>
              </a:path>
            </a:pathLst>
          </a:custGeom>
          <a:solidFill>
            <a:srgbClr val="FF6227"/>
          </a:solidFill>
        </p:spPr>
        <p:txBody>
          <a:bodyPr wrap="square" lIns="0" tIns="0" rIns="0" bIns="0" rtlCol="0"/>
          <a:lstStyle/>
          <a:p>
            <a:endParaRPr/>
          </a:p>
        </p:txBody>
      </p:sp>
      <p:sp>
        <p:nvSpPr>
          <p:cNvPr id="32" name="object 32"/>
          <p:cNvSpPr/>
          <p:nvPr/>
        </p:nvSpPr>
        <p:spPr>
          <a:xfrm>
            <a:off x="713231" y="1726692"/>
            <a:ext cx="295910" cy="204470"/>
          </a:xfrm>
          <a:custGeom>
            <a:avLst/>
            <a:gdLst/>
            <a:ahLst/>
            <a:cxnLst/>
            <a:rect l="l" t="t" r="r" b="b"/>
            <a:pathLst>
              <a:path w="295909" h="204469">
                <a:moveTo>
                  <a:pt x="147828" y="0"/>
                </a:moveTo>
                <a:lnTo>
                  <a:pt x="90284" y="8024"/>
                </a:lnTo>
                <a:lnTo>
                  <a:pt x="43295" y="29908"/>
                </a:lnTo>
                <a:lnTo>
                  <a:pt x="11616" y="62364"/>
                </a:lnTo>
                <a:lnTo>
                  <a:pt x="0" y="102108"/>
                </a:lnTo>
                <a:lnTo>
                  <a:pt x="11616" y="141851"/>
                </a:lnTo>
                <a:lnTo>
                  <a:pt x="43295" y="174307"/>
                </a:lnTo>
                <a:lnTo>
                  <a:pt x="90284" y="196191"/>
                </a:lnTo>
                <a:lnTo>
                  <a:pt x="147828" y="204216"/>
                </a:lnTo>
                <a:lnTo>
                  <a:pt x="205371" y="196191"/>
                </a:lnTo>
                <a:lnTo>
                  <a:pt x="252360" y="174307"/>
                </a:lnTo>
                <a:lnTo>
                  <a:pt x="284039" y="141851"/>
                </a:lnTo>
                <a:lnTo>
                  <a:pt x="295656" y="102108"/>
                </a:lnTo>
                <a:lnTo>
                  <a:pt x="284039" y="62364"/>
                </a:lnTo>
                <a:lnTo>
                  <a:pt x="252360" y="29908"/>
                </a:lnTo>
                <a:lnTo>
                  <a:pt x="205371" y="8024"/>
                </a:lnTo>
                <a:lnTo>
                  <a:pt x="147828" y="0"/>
                </a:lnTo>
                <a:close/>
              </a:path>
            </a:pathLst>
          </a:custGeom>
          <a:solidFill>
            <a:srgbClr val="FFFFFF"/>
          </a:solidFill>
        </p:spPr>
        <p:txBody>
          <a:bodyPr wrap="square" lIns="0" tIns="0" rIns="0" bIns="0" rtlCol="0"/>
          <a:lstStyle/>
          <a:p>
            <a:endParaRPr/>
          </a:p>
        </p:txBody>
      </p:sp>
      <p:sp>
        <p:nvSpPr>
          <p:cNvPr id="33" name="object 33"/>
          <p:cNvSpPr/>
          <p:nvPr/>
        </p:nvSpPr>
        <p:spPr>
          <a:xfrm>
            <a:off x="521208" y="1612391"/>
            <a:ext cx="365760" cy="257810"/>
          </a:xfrm>
          <a:custGeom>
            <a:avLst/>
            <a:gdLst/>
            <a:ahLst/>
            <a:cxnLst/>
            <a:rect l="l" t="t" r="r" b="b"/>
            <a:pathLst>
              <a:path w="365759" h="257810">
                <a:moveTo>
                  <a:pt x="182879" y="0"/>
                </a:moveTo>
                <a:lnTo>
                  <a:pt x="125075" y="6565"/>
                </a:lnTo>
                <a:lnTo>
                  <a:pt x="74872" y="24847"/>
                </a:lnTo>
                <a:lnTo>
                  <a:pt x="35284" y="52724"/>
                </a:lnTo>
                <a:lnTo>
                  <a:pt x="9323" y="88075"/>
                </a:lnTo>
                <a:lnTo>
                  <a:pt x="0" y="128778"/>
                </a:lnTo>
                <a:lnTo>
                  <a:pt x="9323" y="169480"/>
                </a:lnTo>
                <a:lnTo>
                  <a:pt x="35284" y="204831"/>
                </a:lnTo>
                <a:lnTo>
                  <a:pt x="74872" y="232708"/>
                </a:lnTo>
                <a:lnTo>
                  <a:pt x="125075" y="250990"/>
                </a:lnTo>
                <a:lnTo>
                  <a:pt x="182879" y="257556"/>
                </a:lnTo>
                <a:lnTo>
                  <a:pt x="240684" y="250990"/>
                </a:lnTo>
                <a:lnTo>
                  <a:pt x="290887" y="232708"/>
                </a:lnTo>
                <a:lnTo>
                  <a:pt x="330475" y="204831"/>
                </a:lnTo>
                <a:lnTo>
                  <a:pt x="356436" y="169480"/>
                </a:lnTo>
                <a:lnTo>
                  <a:pt x="365760" y="128778"/>
                </a:lnTo>
                <a:lnTo>
                  <a:pt x="356436" y="88075"/>
                </a:lnTo>
                <a:lnTo>
                  <a:pt x="330475" y="52724"/>
                </a:lnTo>
                <a:lnTo>
                  <a:pt x="290887" y="24847"/>
                </a:lnTo>
                <a:lnTo>
                  <a:pt x="240684" y="6565"/>
                </a:lnTo>
                <a:lnTo>
                  <a:pt x="182879" y="0"/>
                </a:lnTo>
                <a:close/>
              </a:path>
            </a:pathLst>
          </a:custGeom>
          <a:solidFill>
            <a:srgbClr val="2B133C"/>
          </a:solidFill>
        </p:spPr>
        <p:txBody>
          <a:bodyPr wrap="square" lIns="0" tIns="0" rIns="0" bIns="0" rtlCol="0"/>
          <a:lstStyle/>
          <a:p>
            <a:endParaRPr/>
          </a:p>
        </p:txBody>
      </p:sp>
      <p:sp>
        <p:nvSpPr>
          <p:cNvPr id="34" name="object 34"/>
          <p:cNvSpPr/>
          <p:nvPr/>
        </p:nvSpPr>
        <p:spPr>
          <a:xfrm>
            <a:off x="580644" y="1716023"/>
            <a:ext cx="53340" cy="50800"/>
          </a:xfrm>
          <a:custGeom>
            <a:avLst/>
            <a:gdLst/>
            <a:ahLst/>
            <a:cxnLst/>
            <a:rect l="l" t="t" r="r" b="b"/>
            <a:pathLst>
              <a:path w="53340" h="50800">
                <a:moveTo>
                  <a:pt x="26670" y="0"/>
                </a:moveTo>
                <a:lnTo>
                  <a:pt x="16287" y="1982"/>
                </a:lnTo>
                <a:lnTo>
                  <a:pt x="7810" y="7381"/>
                </a:lnTo>
                <a:lnTo>
                  <a:pt x="2095" y="15376"/>
                </a:lnTo>
                <a:lnTo>
                  <a:pt x="0" y="25146"/>
                </a:lnTo>
                <a:lnTo>
                  <a:pt x="2095" y="34915"/>
                </a:lnTo>
                <a:lnTo>
                  <a:pt x="7810" y="42910"/>
                </a:lnTo>
                <a:lnTo>
                  <a:pt x="16287" y="48309"/>
                </a:lnTo>
                <a:lnTo>
                  <a:pt x="26670" y="50291"/>
                </a:lnTo>
                <a:lnTo>
                  <a:pt x="37052" y="48309"/>
                </a:lnTo>
                <a:lnTo>
                  <a:pt x="45529" y="42910"/>
                </a:lnTo>
                <a:lnTo>
                  <a:pt x="51244" y="34915"/>
                </a:lnTo>
                <a:lnTo>
                  <a:pt x="53340" y="25146"/>
                </a:lnTo>
                <a:lnTo>
                  <a:pt x="51244" y="15376"/>
                </a:lnTo>
                <a:lnTo>
                  <a:pt x="45529" y="7381"/>
                </a:lnTo>
                <a:lnTo>
                  <a:pt x="37052" y="1982"/>
                </a:lnTo>
                <a:lnTo>
                  <a:pt x="26670" y="0"/>
                </a:lnTo>
                <a:close/>
              </a:path>
            </a:pathLst>
          </a:custGeom>
          <a:solidFill>
            <a:srgbClr val="FFFFFF"/>
          </a:solidFill>
        </p:spPr>
        <p:txBody>
          <a:bodyPr wrap="square" lIns="0" tIns="0" rIns="0" bIns="0" rtlCol="0"/>
          <a:lstStyle/>
          <a:p>
            <a:endParaRPr/>
          </a:p>
        </p:txBody>
      </p:sp>
      <p:sp>
        <p:nvSpPr>
          <p:cNvPr id="35" name="object 35"/>
          <p:cNvSpPr/>
          <p:nvPr/>
        </p:nvSpPr>
        <p:spPr>
          <a:xfrm>
            <a:off x="681227" y="1716023"/>
            <a:ext cx="50800" cy="50800"/>
          </a:xfrm>
          <a:custGeom>
            <a:avLst/>
            <a:gdLst/>
            <a:ahLst/>
            <a:cxnLst/>
            <a:rect l="l" t="t" r="r" b="b"/>
            <a:pathLst>
              <a:path w="50800" h="50800">
                <a:moveTo>
                  <a:pt x="25145" y="0"/>
                </a:moveTo>
                <a:lnTo>
                  <a:pt x="15355" y="1982"/>
                </a:lnTo>
                <a:lnTo>
                  <a:pt x="7362" y="7381"/>
                </a:lnTo>
                <a:lnTo>
                  <a:pt x="1975" y="15376"/>
                </a:lnTo>
                <a:lnTo>
                  <a:pt x="0" y="25146"/>
                </a:lnTo>
                <a:lnTo>
                  <a:pt x="1975" y="34915"/>
                </a:lnTo>
                <a:lnTo>
                  <a:pt x="7362" y="42910"/>
                </a:lnTo>
                <a:lnTo>
                  <a:pt x="15355" y="48309"/>
                </a:lnTo>
                <a:lnTo>
                  <a:pt x="25145" y="50291"/>
                </a:lnTo>
                <a:lnTo>
                  <a:pt x="34936" y="48309"/>
                </a:lnTo>
                <a:lnTo>
                  <a:pt x="42929" y="42910"/>
                </a:lnTo>
                <a:lnTo>
                  <a:pt x="48316" y="34915"/>
                </a:lnTo>
                <a:lnTo>
                  <a:pt x="50292" y="25146"/>
                </a:lnTo>
                <a:lnTo>
                  <a:pt x="48316" y="15376"/>
                </a:lnTo>
                <a:lnTo>
                  <a:pt x="42929" y="7381"/>
                </a:lnTo>
                <a:lnTo>
                  <a:pt x="34936" y="1982"/>
                </a:lnTo>
                <a:lnTo>
                  <a:pt x="25145" y="0"/>
                </a:lnTo>
                <a:close/>
              </a:path>
            </a:pathLst>
          </a:custGeom>
          <a:solidFill>
            <a:srgbClr val="FFFFFF"/>
          </a:solidFill>
        </p:spPr>
        <p:txBody>
          <a:bodyPr wrap="square" lIns="0" tIns="0" rIns="0" bIns="0" rtlCol="0"/>
          <a:lstStyle/>
          <a:p>
            <a:endParaRPr/>
          </a:p>
        </p:txBody>
      </p:sp>
      <p:sp>
        <p:nvSpPr>
          <p:cNvPr id="36" name="object 36"/>
          <p:cNvSpPr/>
          <p:nvPr/>
        </p:nvSpPr>
        <p:spPr>
          <a:xfrm>
            <a:off x="778763" y="1716023"/>
            <a:ext cx="52069" cy="50800"/>
          </a:xfrm>
          <a:custGeom>
            <a:avLst/>
            <a:gdLst/>
            <a:ahLst/>
            <a:cxnLst/>
            <a:rect l="l" t="t" r="r" b="b"/>
            <a:pathLst>
              <a:path w="52069" h="50800">
                <a:moveTo>
                  <a:pt x="25907" y="0"/>
                </a:moveTo>
                <a:lnTo>
                  <a:pt x="15821" y="1982"/>
                </a:lnTo>
                <a:lnTo>
                  <a:pt x="7586" y="7381"/>
                </a:lnTo>
                <a:lnTo>
                  <a:pt x="2035" y="15376"/>
                </a:lnTo>
                <a:lnTo>
                  <a:pt x="0" y="25146"/>
                </a:lnTo>
                <a:lnTo>
                  <a:pt x="2035" y="34915"/>
                </a:lnTo>
                <a:lnTo>
                  <a:pt x="7586" y="42910"/>
                </a:lnTo>
                <a:lnTo>
                  <a:pt x="15821" y="48309"/>
                </a:lnTo>
                <a:lnTo>
                  <a:pt x="25907" y="50291"/>
                </a:lnTo>
                <a:lnTo>
                  <a:pt x="35994" y="48309"/>
                </a:lnTo>
                <a:lnTo>
                  <a:pt x="44229" y="42910"/>
                </a:lnTo>
                <a:lnTo>
                  <a:pt x="49780" y="34915"/>
                </a:lnTo>
                <a:lnTo>
                  <a:pt x="51816" y="25146"/>
                </a:lnTo>
                <a:lnTo>
                  <a:pt x="49780" y="15376"/>
                </a:lnTo>
                <a:lnTo>
                  <a:pt x="44229" y="7381"/>
                </a:lnTo>
                <a:lnTo>
                  <a:pt x="35994" y="1982"/>
                </a:lnTo>
                <a:lnTo>
                  <a:pt x="25907" y="0"/>
                </a:lnTo>
                <a:close/>
              </a:path>
            </a:pathLst>
          </a:custGeom>
          <a:solidFill>
            <a:srgbClr val="FFFFFF"/>
          </a:solidFill>
        </p:spPr>
        <p:txBody>
          <a:bodyPr wrap="square" lIns="0" tIns="0" rIns="0" bIns="0" rtlCol="0"/>
          <a:lstStyle/>
          <a:p>
            <a:endParaRPr/>
          </a:p>
        </p:txBody>
      </p:sp>
      <p:sp>
        <p:nvSpPr>
          <p:cNvPr id="37" name="object 37"/>
          <p:cNvSpPr/>
          <p:nvPr/>
        </p:nvSpPr>
        <p:spPr>
          <a:xfrm>
            <a:off x="559308" y="1812035"/>
            <a:ext cx="188976" cy="112775"/>
          </a:xfrm>
          <a:prstGeom prst="rect">
            <a:avLst/>
          </a:prstGeom>
          <a:blipFill>
            <a:blip r:embed="rId11" cstate="print"/>
            <a:stretch>
              <a:fillRect/>
            </a:stretch>
          </a:blipFill>
        </p:spPr>
        <p:txBody>
          <a:bodyPr wrap="square" lIns="0" tIns="0" rIns="0" bIns="0" rtlCol="0"/>
          <a:lstStyle/>
          <a:p>
            <a:endParaRPr/>
          </a:p>
        </p:txBody>
      </p:sp>
      <p:sp>
        <p:nvSpPr>
          <p:cNvPr id="38" name="object 38"/>
          <p:cNvSpPr/>
          <p:nvPr/>
        </p:nvSpPr>
        <p:spPr>
          <a:xfrm>
            <a:off x="826008" y="1895855"/>
            <a:ext cx="153923" cy="94488"/>
          </a:xfrm>
          <a:prstGeom prst="rect">
            <a:avLst/>
          </a:prstGeom>
          <a:blipFill>
            <a:blip r:embed="rId12" cstate="print"/>
            <a:stretch>
              <a:fillRect/>
            </a:stretch>
          </a:blipFill>
        </p:spPr>
        <p:txBody>
          <a:bodyPr wrap="square" lIns="0" tIns="0" rIns="0" bIns="0" rtlCol="0"/>
          <a:lstStyle/>
          <a:p>
            <a:endParaRPr/>
          </a:p>
        </p:txBody>
      </p:sp>
      <p:sp>
        <p:nvSpPr>
          <p:cNvPr id="39" name="object 39"/>
          <p:cNvSpPr/>
          <p:nvPr/>
        </p:nvSpPr>
        <p:spPr>
          <a:xfrm>
            <a:off x="408431" y="2305811"/>
            <a:ext cx="6708775" cy="4147185"/>
          </a:xfrm>
          <a:custGeom>
            <a:avLst/>
            <a:gdLst/>
            <a:ahLst/>
            <a:cxnLst/>
            <a:rect l="l" t="t" r="r" b="b"/>
            <a:pathLst>
              <a:path w="6708775" h="4147185">
                <a:moveTo>
                  <a:pt x="0" y="4146804"/>
                </a:moveTo>
                <a:lnTo>
                  <a:pt x="6708648" y="4146804"/>
                </a:lnTo>
                <a:lnTo>
                  <a:pt x="6708648" y="0"/>
                </a:lnTo>
                <a:lnTo>
                  <a:pt x="0" y="0"/>
                </a:lnTo>
                <a:lnTo>
                  <a:pt x="0" y="4146804"/>
                </a:lnTo>
                <a:close/>
              </a:path>
            </a:pathLst>
          </a:custGeom>
          <a:solidFill>
            <a:srgbClr val="006FAC"/>
          </a:solidFill>
        </p:spPr>
        <p:txBody>
          <a:bodyPr wrap="square" lIns="0" tIns="0" rIns="0" bIns="0" rtlCol="0"/>
          <a:lstStyle/>
          <a:p>
            <a:endParaRPr/>
          </a:p>
        </p:txBody>
      </p:sp>
      <p:sp>
        <p:nvSpPr>
          <p:cNvPr id="40" name="object 40"/>
          <p:cNvSpPr txBox="1"/>
          <p:nvPr/>
        </p:nvSpPr>
        <p:spPr>
          <a:xfrm>
            <a:off x="408431" y="2337561"/>
            <a:ext cx="6708775" cy="269240"/>
          </a:xfrm>
          <a:prstGeom prst="rect">
            <a:avLst/>
          </a:prstGeom>
        </p:spPr>
        <p:txBody>
          <a:bodyPr vert="horz" wrap="square" lIns="0" tIns="12065" rIns="0" bIns="0" rtlCol="0">
            <a:spAutoFit/>
          </a:bodyPr>
          <a:lstStyle/>
          <a:p>
            <a:pPr algn="ctr">
              <a:lnSpc>
                <a:spcPct val="100000"/>
              </a:lnSpc>
              <a:spcBef>
                <a:spcPts val="95"/>
              </a:spcBef>
            </a:pPr>
            <a:r>
              <a:rPr sz="1600" b="1" i="1" spc="-5">
                <a:solidFill>
                  <a:srgbClr val="FFFFFF"/>
                </a:solidFill>
                <a:latin typeface="Verdana"/>
                <a:cs typeface="Verdana"/>
              </a:rPr>
              <a:t>Capgemini ADMnext</a:t>
            </a:r>
            <a:r>
              <a:rPr sz="1600" b="1" i="1" spc="60">
                <a:solidFill>
                  <a:srgbClr val="FFFFFF"/>
                </a:solidFill>
                <a:latin typeface="Verdana"/>
                <a:cs typeface="Verdana"/>
              </a:rPr>
              <a:t> </a:t>
            </a:r>
            <a:r>
              <a:rPr sz="1600" b="1" i="1" spc="-10">
                <a:solidFill>
                  <a:srgbClr val="FFFFFF"/>
                </a:solidFill>
                <a:latin typeface="Verdana"/>
                <a:cs typeface="Verdana"/>
              </a:rPr>
              <a:t>Platform</a:t>
            </a:r>
            <a:endParaRPr sz="1600">
              <a:latin typeface="Verdana"/>
              <a:cs typeface="Verdana"/>
            </a:endParaRPr>
          </a:p>
        </p:txBody>
      </p:sp>
      <p:sp>
        <p:nvSpPr>
          <p:cNvPr id="41" name="object 41"/>
          <p:cNvSpPr txBox="1"/>
          <p:nvPr/>
        </p:nvSpPr>
        <p:spPr>
          <a:xfrm>
            <a:off x="10104881" y="1487550"/>
            <a:ext cx="1863089" cy="26924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Zero</a:t>
            </a:r>
            <a:r>
              <a:rPr sz="1600" b="1" spc="-60">
                <a:solidFill>
                  <a:srgbClr val="FFFFFF"/>
                </a:solidFill>
                <a:latin typeface="Verdana"/>
                <a:cs typeface="Verdana"/>
              </a:rPr>
              <a:t> </a:t>
            </a:r>
            <a:r>
              <a:rPr sz="1600" b="1" spc="-5">
                <a:solidFill>
                  <a:srgbClr val="FFFFFF"/>
                </a:solidFill>
                <a:latin typeface="Verdana"/>
                <a:cs typeface="Verdana"/>
              </a:rPr>
              <a:t>Innovation</a:t>
            </a:r>
            <a:endParaRPr sz="1600">
              <a:latin typeface="Verdana"/>
              <a:cs typeface="Verdana"/>
            </a:endParaRPr>
          </a:p>
        </p:txBody>
      </p:sp>
      <p:sp>
        <p:nvSpPr>
          <p:cNvPr id="42" name="object 42"/>
          <p:cNvSpPr txBox="1"/>
          <p:nvPr/>
        </p:nvSpPr>
        <p:spPr>
          <a:xfrm>
            <a:off x="10104881" y="1731644"/>
            <a:ext cx="913765" cy="269240"/>
          </a:xfrm>
          <a:prstGeom prst="rect">
            <a:avLst/>
          </a:prstGeom>
        </p:spPr>
        <p:txBody>
          <a:bodyPr vert="horz" wrap="square" lIns="0" tIns="12065" rIns="0" bIns="0" rtlCol="0">
            <a:spAutoFit/>
          </a:bodyPr>
          <a:lstStyle/>
          <a:p>
            <a:pPr marL="12700">
              <a:lnSpc>
                <a:spcPct val="100000"/>
              </a:lnSpc>
              <a:spcBef>
                <a:spcPts val="95"/>
              </a:spcBef>
            </a:pPr>
            <a:r>
              <a:rPr sz="1600" b="1" spc="-10">
                <a:solidFill>
                  <a:srgbClr val="FFFFFF"/>
                </a:solidFill>
                <a:latin typeface="Verdana"/>
                <a:cs typeface="Verdana"/>
              </a:rPr>
              <a:t>L</a:t>
            </a:r>
            <a:r>
              <a:rPr sz="1600" b="1" spc="-5">
                <a:solidFill>
                  <a:srgbClr val="FFFFFF"/>
                </a:solidFill>
                <a:latin typeface="Verdana"/>
                <a:cs typeface="Verdana"/>
              </a:rPr>
              <a:t>atency</a:t>
            </a:r>
            <a:endParaRPr sz="1600">
              <a:latin typeface="Verdana"/>
              <a:cs typeface="Verdana"/>
            </a:endParaRPr>
          </a:p>
        </p:txBody>
      </p:sp>
      <p:sp>
        <p:nvSpPr>
          <p:cNvPr id="43" name="object 43"/>
          <p:cNvSpPr/>
          <p:nvPr/>
        </p:nvSpPr>
        <p:spPr>
          <a:xfrm>
            <a:off x="9095588" y="1350989"/>
            <a:ext cx="855344" cy="809625"/>
          </a:xfrm>
          <a:custGeom>
            <a:avLst/>
            <a:gdLst/>
            <a:ahLst/>
            <a:cxnLst/>
            <a:rect l="l" t="t" r="r" b="b"/>
            <a:pathLst>
              <a:path w="855345" h="809625">
                <a:moveTo>
                  <a:pt x="449884" y="0"/>
                </a:moveTo>
                <a:lnTo>
                  <a:pt x="402665" y="776"/>
                </a:lnTo>
                <a:lnTo>
                  <a:pt x="355512" y="6493"/>
                </a:lnTo>
                <a:lnTo>
                  <a:pt x="308875" y="17214"/>
                </a:lnTo>
                <a:lnTo>
                  <a:pt x="263204" y="33005"/>
                </a:lnTo>
                <a:lnTo>
                  <a:pt x="218947" y="53927"/>
                </a:lnTo>
                <a:lnTo>
                  <a:pt x="176554" y="80046"/>
                </a:lnTo>
                <a:lnTo>
                  <a:pt x="137539" y="111437"/>
                </a:lnTo>
                <a:lnTo>
                  <a:pt x="103219" y="146008"/>
                </a:lnTo>
                <a:lnTo>
                  <a:pt x="73669" y="183345"/>
                </a:lnTo>
                <a:lnTo>
                  <a:pt x="48959" y="223037"/>
                </a:lnTo>
                <a:lnTo>
                  <a:pt x="29165" y="264671"/>
                </a:lnTo>
                <a:lnTo>
                  <a:pt x="14358" y="307833"/>
                </a:lnTo>
                <a:lnTo>
                  <a:pt x="4612" y="352112"/>
                </a:lnTo>
                <a:lnTo>
                  <a:pt x="0" y="397094"/>
                </a:lnTo>
                <a:lnTo>
                  <a:pt x="594" y="442368"/>
                </a:lnTo>
                <a:lnTo>
                  <a:pt x="6468" y="487520"/>
                </a:lnTo>
                <a:lnTo>
                  <a:pt x="17696" y="532138"/>
                </a:lnTo>
                <a:lnTo>
                  <a:pt x="34349" y="575808"/>
                </a:lnTo>
                <a:lnTo>
                  <a:pt x="56501" y="618119"/>
                </a:lnTo>
                <a:lnTo>
                  <a:pt x="84225" y="658658"/>
                </a:lnTo>
                <a:lnTo>
                  <a:pt x="115617" y="694802"/>
                </a:lnTo>
                <a:lnTo>
                  <a:pt x="150199" y="725957"/>
                </a:lnTo>
                <a:lnTo>
                  <a:pt x="187565" y="752141"/>
                </a:lnTo>
                <a:lnTo>
                  <a:pt x="227314" y="773374"/>
                </a:lnTo>
                <a:lnTo>
                  <a:pt x="269040" y="789674"/>
                </a:lnTo>
                <a:lnTo>
                  <a:pt x="312342" y="801060"/>
                </a:lnTo>
                <a:lnTo>
                  <a:pt x="356815" y="807550"/>
                </a:lnTo>
                <a:lnTo>
                  <a:pt x="402055" y="809162"/>
                </a:lnTo>
                <a:lnTo>
                  <a:pt x="447660" y="805916"/>
                </a:lnTo>
                <a:lnTo>
                  <a:pt x="493226" y="797831"/>
                </a:lnTo>
                <a:lnTo>
                  <a:pt x="538349" y="784923"/>
                </a:lnTo>
                <a:lnTo>
                  <a:pt x="582626" y="767213"/>
                </a:lnTo>
                <a:lnTo>
                  <a:pt x="625654" y="744719"/>
                </a:lnTo>
                <a:lnTo>
                  <a:pt x="667028" y="717459"/>
                </a:lnTo>
                <a:lnTo>
                  <a:pt x="706287" y="687209"/>
                </a:lnTo>
                <a:lnTo>
                  <a:pt x="741291" y="654210"/>
                </a:lnTo>
                <a:lnTo>
                  <a:pt x="771893" y="618793"/>
                </a:lnTo>
                <a:lnTo>
                  <a:pt x="797946" y="581286"/>
                </a:lnTo>
                <a:lnTo>
                  <a:pt x="819305" y="542022"/>
                </a:lnTo>
                <a:lnTo>
                  <a:pt x="835822" y="501329"/>
                </a:lnTo>
                <a:lnTo>
                  <a:pt x="847352" y="459538"/>
                </a:lnTo>
                <a:lnTo>
                  <a:pt x="853748" y="416979"/>
                </a:lnTo>
                <a:lnTo>
                  <a:pt x="854864" y="373983"/>
                </a:lnTo>
                <a:lnTo>
                  <a:pt x="850554" y="330879"/>
                </a:lnTo>
                <a:lnTo>
                  <a:pt x="840671" y="287998"/>
                </a:lnTo>
                <a:lnTo>
                  <a:pt x="825069" y="245670"/>
                </a:lnTo>
                <a:lnTo>
                  <a:pt x="803601" y="204225"/>
                </a:lnTo>
                <a:lnTo>
                  <a:pt x="776121" y="163993"/>
                </a:lnTo>
                <a:lnTo>
                  <a:pt x="744544" y="127542"/>
                </a:lnTo>
                <a:lnTo>
                  <a:pt x="709439" y="95522"/>
                </a:lnTo>
                <a:lnTo>
                  <a:pt x="671255" y="67994"/>
                </a:lnTo>
                <a:lnTo>
                  <a:pt x="630442" y="45025"/>
                </a:lnTo>
                <a:lnTo>
                  <a:pt x="587449" y="26677"/>
                </a:lnTo>
                <a:lnTo>
                  <a:pt x="542726" y="13014"/>
                </a:lnTo>
                <a:lnTo>
                  <a:pt x="496721" y="4100"/>
                </a:lnTo>
                <a:lnTo>
                  <a:pt x="449884" y="0"/>
                </a:lnTo>
                <a:close/>
              </a:path>
            </a:pathLst>
          </a:custGeom>
          <a:solidFill>
            <a:srgbClr val="006FAC"/>
          </a:solidFill>
        </p:spPr>
        <p:txBody>
          <a:bodyPr wrap="square" lIns="0" tIns="0" rIns="0" bIns="0" rtlCol="0"/>
          <a:lstStyle/>
          <a:p>
            <a:endParaRPr/>
          </a:p>
        </p:txBody>
      </p:sp>
      <p:sp>
        <p:nvSpPr>
          <p:cNvPr id="44" name="object 44"/>
          <p:cNvSpPr txBox="1"/>
          <p:nvPr/>
        </p:nvSpPr>
        <p:spPr>
          <a:xfrm>
            <a:off x="9423018" y="2520823"/>
            <a:ext cx="2405380" cy="51308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Zero Touch</a:t>
            </a:r>
            <a:r>
              <a:rPr sz="1600" b="1" spc="-20">
                <a:solidFill>
                  <a:srgbClr val="FFFFFF"/>
                </a:solidFill>
                <a:latin typeface="Verdana"/>
                <a:cs typeface="Verdana"/>
              </a:rPr>
              <a:t> </a:t>
            </a:r>
            <a:r>
              <a:rPr sz="1600" b="1" spc="-5">
                <a:solidFill>
                  <a:srgbClr val="FFFFFF"/>
                </a:solidFill>
                <a:latin typeface="Verdana"/>
                <a:cs typeface="Verdana"/>
              </a:rPr>
              <a:t>Testing,</a:t>
            </a:r>
            <a:endParaRPr sz="1600">
              <a:latin typeface="Verdana"/>
              <a:cs typeface="Verdana"/>
            </a:endParaRPr>
          </a:p>
          <a:p>
            <a:pPr marL="12700">
              <a:lnSpc>
                <a:spcPct val="100000"/>
              </a:lnSpc>
            </a:pPr>
            <a:r>
              <a:rPr sz="1600" b="1" spc="-10">
                <a:solidFill>
                  <a:srgbClr val="FFFFFF"/>
                </a:solidFill>
                <a:latin typeface="Verdana"/>
                <a:cs typeface="Verdana"/>
              </a:rPr>
              <a:t>Deployment </a:t>
            </a:r>
            <a:r>
              <a:rPr sz="1600" b="1" spc="-5">
                <a:solidFill>
                  <a:srgbClr val="FFFFFF"/>
                </a:solidFill>
                <a:latin typeface="Verdana"/>
                <a:cs typeface="Verdana"/>
              </a:rPr>
              <a:t>&amp;</a:t>
            </a:r>
            <a:r>
              <a:rPr sz="1600" b="1">
                <a:solidFill>
                  <a:srgbClr val="FFFFFF"/>
                </a:solidFill>
                <a:latin typeface="Verdana"/>
                <a:cs typeface="Verdana"/>
              </a:rPr>
              <a:t> </a:t>
            </a:r>
            <a:r>
              <a:rPr sz="1600" b="1" spc="-10">
                <a:solidFill>
                  <a:srgbClr val="FFFFFF"/>
                </a:solidFill>
                <a:latin typeface="Verdana"/>
                <a:cs typeface="Verdana"/>
              </a:rPr>
              <a:t>Fixing</a:t>
            </a:r>
            <a:endParaRPr sz="1600">
              <a:latin typeface="Verdana"/>
              <a:cs typeface="Verdana"/>
            </a:endParaRPr>
          </a:p>
        </p:txBody>
      </p:sp>
      <p:sp>
        <p:nvSpPr>
          <p:cNvPr id="45" name="object 45"/>
          <p:cNvSpPr/>
          <p:nvPr/>
        </p:nvSpPr>
        <p:spPr>
          <a:xfrm>
            <a:off x="9265919" y="1482852"/>
            <a:ext cx="520065" cy="538480"/>
          </a:xfrm>
          <a:custGeom>
            <a:avLst/>
            <a:gdLst/>
            <a:ahLst/>
            <a:cxnLst/>
            <a:rect l="l" t="t" r="r" b="b"/>
            <a:pathLst>
              <a:path w="520065" h="538480">
                <a:moveTo>
                  <a:pt x="409321" y="428371"/>
                </a:moveTo>
                <a:lnTo>
                  <a:pt x="110362" y="428371"/>
                </a:lnTo>
                <a:lnTo>
                  <a:pt x="115061" y="432688"/>
                </a:lnTo>
                <a:lnTo>
                  <a:pt x="150240" y="458088"/>
                </a:lnTo>
                <a:lnTo>
                  <a:pt x="166877" y="466725"/>
                </a:lnTo>
                <a:lnTo>
                  <a:pt x="172593" y="469392"/>
                </a:lnTo>
                <a:lnTo>
                  <a:pt x="178434" y="471805"/>
                </a:lnTo>
                <a:lnTo>
                  <a:pt x="184403" y="474090"/>
                </a:lnTo>
                <a:lnTo>
                  <a:pt x="190500" y="476250"/>
                </a:lnTo>
                <a:lnTo>
                  <a:pt x="196469" y="478027"/>
                </a:lnTo>
                <a:lnTo>
                  <a:pt x="205994" y="537972"/>
                </a:lnTo>
                <a:lnTo>
                  <a:pt x="313689" y="537972"/>
                </a:lnTo>
                <a:lnTo>
                  <a:pt x="323214" y="478027"/>
                </a:lnTo>
                <a:lnTo>
                  <a:pt x="329183" y="476250"/>
                </a:lnTo>
                <a:lnTo>
                  <a:pt x="335279" y="474090"/>
                </a:lnTo>
                <a:lnTo>
                  <a:pt x="341249" y="471805"/>
                </a:lnTo>
                <a:lnTo>
                  <a:pt x="347090" y="469392"/>
                </a:lnTo>
                <a:lnTo>
                  <a:pt x="352805" y="466725"/>
                </a:lnTo>
                <a:lnTo>
                  <a:pt x="358394" y="464185"/>
                </a:lnTo>
                <a:lnTo>
                  <a:pt x="395097" y="440563"/>
                </a:lnTo>
                <a:lnTo>
                  <a:pt x="404622" y="432688"/>
                </a:lnTo>
                <a:lnTo>
                  <a:pt x="409321" y="428371"/>
                </a:lnTo>
                <a:close/>
              </a:path>
              <a:path w="520065" h="538480">
                <a:moveTo>
                  <a:pt x="53848" y="88011"/>
                </a:moveTo>
                <a:lnTo>
                  <a:pt x="0" y="180975"/>
                </a:lnTo>
                <a:lnTo>
                  <a:pt x="46989" y="219328"/>
                </a:lnTo>
                <a:lnTo>
                  <a:pt x="45720" y="225425"/>
                </a:lnTo>
                <a:lnTo>
                  <a:pt x="41275" y="262636"/>
                </a:lnTo>
                <a:lnTo>
                  <a:pt x="41275" y="275336"/>
                </a:lnTo>
                <a:lnTo>
                  <a:pt x="45720" y="312547"/>
                </a:lnTo>
                <a:lnTo>
                  <a:pt x="46989" y="318643"/>
                </a:lnTo>
                <a:lnTo>
                  <a:pt x="0" y="356997"/>
                </a:lnTo>
                <a:lnTo>
                  <a:pt x="53848" y="449961"/>
                </a:lnTo>
                <a:lnTo>
                  <a:pt x="110362" y="428371"/>
                </a:lnTo>
                <a:lnTo>
                  <a:pt x="478341" y="428371"/>
                </a:lnTo>
                <a:lnTo>
                  <a:pt x="519683" y="356997"/>
                </a:lnTo>
                <a:lnTo>
                  <a:pt x="472694" y="318643"/>
                </a:lnTo>
                <a:lnTo>
                  <a:pt x="473963" y="312547"/>
                </a:lnTo>
                <a:lnTo>
                  <a:pt x="478408" y="275336"/>
                </a:lnTo>
                <a:lnTo>
                  <a:pt x="478408" y="262636"/>
                </a:lnTo>
                <a:lnTo>
                  <a:pt x="473963" y="225425"/>
                </a:lnTo>
                <a:lnTo>
                  <a:pt x="472694" y="219328"/>
                </a:lnTo>
                <a:lnTo>
                  <a:pt x="519683" y="180975"/>
                </a:lnTo>
                <a:lnTo>
                  <a:pt x="478341" y="109600"/>
                </a:lnTo>
                <a:lnTo>
                  <a:pt x="110362" y="109600"/>
                </a:lnTo>
                <a:lnTo>
                  <a:pt x="53848" y="88011"/>
                </a:lnTo>
                <a:close/>
              </a:path>
              <a:path w="520065" h="538480">
                <a:moveTo>
                  <a:pt x="478341" y="428371"/>
                </a:moveTo>
                <a:lnTo>
                  <a:pt x="409321" y="428371"/>
                </a:lnTo>
                <a:lnTo>
                  <a:pt x="465835" y="449961"/>
                </a:lnTo>
                <a:lnTo>
                  <a:pt x="478341" y="428371"/>
                </a:lnTo>
                <a:close/>
              </a:path>
              <a:path w="520065" h="538480">
                <a:moveTo>
                  <a:pt x="313689" y="0"/>
                </a:moveTo>
                <a:lnTo>
                  <a:pt x="205994" y="0"/>
                </a:lnTo>
                <a:lnTo>
                  <a:pt x="196469" y="59944"/>
                </a:lnTo>
                <a:lnTo>
                  <a:pt x="190500" y="61722"/>
                </a:lnTo>
                <a:lnTo>
                  <a:pt x="184403" y="63881"/>
                </a:lnTo>
                <a:lnTo>
                  <a:pt x="178434" y="66167"/>
                </a:lnTo>
                <a:lnTo>
                  <a:pt x="172593" y="68580"/>
                </a:lnTo>
                <a:lnTo>
                  <a:pt x="166877" y="71247"/>
                </a:lnTo>
                <a:lnTo>
                  <a:pt x="161289" y="73787"/>
                </a:lnTo>
                <a:lnTo>
                  <a:pt x="124586" y="97409"/>
                </a:lnTo>
                <a:lnTo>
                  <a:pt x="110362" y="109600"/>
                </a:lnTo>
                <a:lnTo>
                  <a:pt x="409321" y="109600"/>
                </a:lnTo>
                <a:lnTo>
                  <a:pt x="374650" y="83058"/>
                </a:lnTo>
                <a:lnTo>
                  <a:pt x="352805" y="71247"/>
                </a:lnTo>
                <a:lnTo>
                  <a:pt x="347090" y="68580"/>
                </a:lnTo>
                <a:lnTo>
                  <a:pt x="341249" y="66167"/>
                </a:lnTo>
                <a:lnTo>
                  <a:pt x="335279" y="63881"/>
                </a:lnTo>
                <a:lnTo>
                  <a:pt x="329183" y="61722"/>
                </a:lnTo>
                <a:lnTo>
                  <a:pt x="323214" y="59944"/>
                </a:lnTo>
                <a:lnTo>
                  <a:pt x="313689" y="0"/>
                </a:lnTo>
                <a:close/>
              </a:path>
              <a:path w="520065" h="538480">
                <a:moveTo>
                  <a:pt x="465835" y="88011"/>
                </a:moveTo>
                <a:lnTo>
                  <a:pt x="409321" y="109600"/>
                </a:lnTo>
                <a:lnTo>
                  <a:pt x="478341" y="109600"/>
                </a:lnTo>
                <a:lnTo>
                  <a:pt x="465835" y="88011"/>
                </a:lnTo>
                <a:close/>
              </a:path>
            </a:pathLst>
          </a:custGeom>
          <a:solidFill>
            <a:srgbClr val="9BC93A"/>
          </a:solidFill>
        </p:spPr>
        <p:txBody>
          <a:bodyPr wrap="square" lIns="0" tIns="0" rIns="0" bIns="0" rtlCol="0"/>
          <a:lstStyle/>
          <a:p>
            <a:endParaRPr/>
          </a:p>
        </p:txBody>
      </p:sp>
      <p:sp>
        <p:nvSpPr>
          <p:cNvPr id="46" name="object 46"/>
          <p:cNvSpPr/>
          <p:nvPr/>
        </p:nvSpPr>
        <p:spPr>
          <a:xfrm>
            <a:off x="9384792" y="1610867"/>
            <a:ext cx="281940" cy="281940"/>
          </a:xfrm>
          <a:custGeom>
            <a:avLst/>
            <a:gdLst/>
            <a:ahLst/>
            <a:cxnLst/>
            <a:rect l="l" t="t" r="r" b="b"/>
            <a:pathLst>
              <a:path w="281940" h="281939">
                <a:moveTo>
                  <a:pt x="140969" y="0"/>
                </a:moveTo>
                <a:lnTo>
                  <a:pt x="99186" y="6350"/>
                </a:lnTo>
                <a:lnTo>
                  <a:pt x="62102" y="24257"/>
                </a:lnTo>
                <a:lnTo>
                  <a:pt x="32130" y="51308"/>
                </a:lnTo>
                <a:lnTo>
                  <a:pt x="11049" y="85979"/>
                </a:lnTo>
                <a:lnTo>
                  <a:pt x="761" y="126492"/>
                </a:lnTo>
                <a:lnTo>
                  <a:pt x="0" y="140970"/>
                </a:lnTo>
                <a:lnTo>
                  <a:pt x="253" y="148336"/>
                </a:lnTo>
                <a:lnTo>
                  <a:pt x="8635" y="189357"/>
                </a:lnTo>
                <a:lnTo>
                  <a:pt x="27939" y="225425"/>
                </a:lnTo>
                <a:lnTo>
                  <a:pt x="56514" y="254000"/>
                </a:lnTo>
                <a:lnTo>
                  <a:pt x="92582" y="273304"/>
                </a:lnTo>
                <a:lnTo>
                  <a:pt x="133603" y="281686"/>
                </a:lnTo>
                <a:lnTo>
                  <a:pt x="140969" y="281940"/>
                </a:lnTo>
                <a:lnTo>
                  <a:pt x="148335" y="281686"/>
                </a:lnTo>
                <a:lnTo>
                  <a:pt x="189356" y="273304"/>
                </a:lnTo>
                <a:lnTo>
                  <a:pt x="225425" y="254000"/>
                </a:lnTo>
                <a:lnTo>
                  <a:pt x="254000" y="225425"/>
                </a:lnTo>
                <a:lnTo>
                  <a:pt x="273303" y="189357"/>
                </a:lnTo>
                <a:lnTo>
                  <a:pt x="281685" y="148336"/>
                </a:lnTo>
                <a:lnTo>
                  <a:pt x="281939" y="140970"/>
                </a:lnTo>
                <a:lnTo>
                  <a:pt x="281685" y="133604"/>
                </a:lnTo>
                <a:lnTo>
                  <a:pt x="273303" y="92583"/>
                </a:lnTo>
                <a:lnTo>
                  <a:pt x="254000" y="56515"/>
                </a:lnTo>
                <a:lnTo>
                  <a:pt x="225425" y="27940"/>
                </a:lnTo>
                <a:lnTo>
                  <a:pt x="189356" y="8636"/>
                </a:lnTo>
                <a:lnTo>
                  <a:pt x="148335" y="254"/>
                </a:lnTo>
                <a:lnTo>
                  <a:pt x="140969" y="0"/>
                </a:lnTo>
                <a:close/>
              </a:path>
            </a:pathLst>
          </a:custGeom>
          <a:solidFill>
            <a:srgbClr val="FFFFFF"/>
          </a:solidFill>
        </p:spPr>
        <p:txBody>
          <a:bodyPr wrap="square" lIns="0" tIns="0" rIns="0" bIns="0" rtlCol="0"/>
          <a:lstStyle/>
          <a:p>
            <a:endParaRPr/>
          </a:p>
        </p:txBody>
      </p:sp>
      <p:sp>
        <p:nvSpPr>
          <p:cNvPr id="47" name="object 47"/>
          <p:cNvSpPr/>
          <p:nvPr/>
        </p:nvSpPr>
        <p:spPr>
          <a:xfrm>
            <a:off x="9500616" y="1758950"/>
            <a:ext cx="100965" cy="0"/>
          </a:xfrm>
          <a:custGeom>
            <a:avLst/>
            <a:gdLst/>
            <a:ahLst/>
            <a:cxnLst/>
            <a:rect l="l" t="t" r="r" b="b"/>
            <a:pathLst>
              <a:path w="100965">
                <a:moveTo>
                  <a:pt x="0" y="0"/>
                </a:moveTo>
                <a:lnTo>
                  <a:pt x="100583" y="0"/>
                </a:lnTo>
              </a:path>
            </a:pathLst>
          </a:custGeom>
          <a:ln w="50800">
            <a:solidFill>
              <a:srgbClr val="12ABDB"/>
            </a:solidFill>
          </a:ln>
        </p:spPr>
        <p:txBody>
          <a:bodyPr wrap="square" lIns="0" tIns="0" rIns="0" bIns="0" rtlCol="0"/>
          <a:lstStyle/>
          <a:p>
            <a:endParaRPr/>
          </a:p>
        </p:txBody>
      </p:sp>
      <p:sp>
        <p:nvSpPr>
          <p:cNvPr id="48" name="object 48"/>
          <p:cNvSpPr/>
          <p:nvPr/>
        </p:nvSpPr>
        <p:spPr>
          <a:xfrm>
            <a:off x="9525761" y="1630679"/>
            <a:ext cx="0" cy="102870"/>
          </a:xfrm>
          <a:custGeom>
            <a:avLst/>
            <a:gdLst/>
            <a:ahLst/>
            <a:cxnLst/>
            <a:rect l="l" t="t" r="r" b="b"/>
            <a:pathLst>
              <a:path h="102869">
                <a:moveTo>
                  <a:pt x="0" y="0"/>
                </a:moveTo>
                <a:lnTo>
                  <a:pt x="0" y="102870"/>
                </a:lnTo>
              </a:path>
            </a:pathLst>
          </a:custGeom>
          <a:ln w="50291">
            <a:solidFill>
              <a:srgbClr val="12ABDB"/>
            </a:solidFill>
          </a:ln>
        </p:spPr>
        <p:txBody>
          <a:bodyPr wrap="square" lIns="0" tIns="0" rIns="0" bIns="0" rtlCol="0"/>
          <a:lstStyle/>
          <a:p>
            <a:endParaRPr/>
          </a:p>
        </p:txBody>
      </p:sp>
      <p:sp>
        <p:nvSpPr>
          <p:cNvPr id="49" name="object 49"/>
          <p:cNvSpPr/>
          <p:nvPr/>
        </p:nvSpPr>
        <p:spPr>
          <a:xfrm>
            <a:off x="5644896" y="2712720"/>
            <a:ext cx="361188" cy="374903"/>
          </a:xfrm>
          <a:prstGeom prst="rect">
            <a:avLst/>
          </a:prstGeom>
          <a:blipFill>
            <a:blip r:embed="rId13" cstate="print"/>
            <a:stretch>
              <a:fillRect/>
            </a:stretch>
          </a:blipFill>
        </p:spPr>
        <p:txBody>
          <a:bodyPr wrap="square" lIns="0" tIns="0" rIns="0" bIns="0" rtlCol="0"/>
          <a:lstStyle/>
          <a:p>
            <a:endParaRPr/>
          </a:p>
        </p:txBody>
      </p:sp>
      <p:sp>
        <p:nvSpPr>
          <p:cNvPr id="50" name="object 50"/>
          <p:cNvSpPr txBox="1"/>
          <p:nvPr/>
        </p:nvSpPr>
        <p:spPr>
          <a:xfrm>
            <a:off x="1228344" y="6004559"/>
            <a:ext cx="5074920" cy="338455"/>
          </a:xfrm>
          <a:prstGeom prst="rect">
            <a:avLst/>
          </a:prstGeom>
          <a:solidFill>
            <a:srgbClr val="00925C"/>
          </a:solidFill>
        </p:spPr>
        <p:txBody>
          <a:bodyPr vert="horz" wrap="square" lIns="0" tIns="77470" rIns="0" bIns="0" rtlCol="0">
            <a:spAutoFit/>
          </a:bodyPr>
          <a:lstStyle/>
          <a:p>
            <a:pPr algn="ctr">
              <a:lnSpc>
                <a:spcPct val="100000"/>
              </a:lnSpc>
              <a:spcBef>
                <a:spcPts val="610"/>
              </a:spcBef>
            </a:pPr>
            <a:r>
              <a:rPr sz="1200" spc="-10">
                <a:solidFill>
                  <a:srgbClr val="FFFFFF"/>
                </a:solidFill>
                <a:latin typeface="Verdana"/>
                <a:cs typeface="Verdana"/>
              </a:rPr>
              <a:t>Flexible </a:t>
            </a:r>
            <a:r>
              <a:rPr sz="1200" spc="-5">
                <a:solidFill>
                  <a:srgbClr val="FFFFFF"/>
                </a:solidFill>
                <a:latin typeface="Verdana"/>
                <a:cs typeface="Verdana"/>
              </a:rPr>
              <a:t>Commercial</a:t>
            </a:r>
            <a:r>
              <a:rPr sz="1200" spc="-10">
                <a:solidFill>
                  <a:srgbClr val="FFFFFF"/>
                </a:solidFill>
                <a:latin typeface="Verdana"/>
                <a:cs typeface="Verdana"/>
              </a:rPr>
              <a:t> </a:t>
            </a:r>
            <a:r>
              <a:rPr sz="1200" spc="-5">
                <a:solidFill>
                  <a:srgbClr val="FFFFFF"/>
                </a:solidFill>
                <a:latin typeface="Verdana"/>
                <a:cs typeface="Verdana"/>
              </a:rPr>
              <a:t>Models</a:t>
            </a:r>
            <a:endParaRPr sz="1200">
              <a:latin typeface="Verdana"/>
              <a:cs typeface="Verdana"/>
            </a:endParaRPr>
          </a:p>
        </p:txBody>
      </p:sp>
      <p:sp>
        <p:nvSpPr>
          <p:cNvPr id="51" name="object 51"/>
          <p:cNvSpPr/>
          <p:nvPr/>
        </p:nvSpPr>
        <p:spPr>
          <a:xfrm>
            <a:off x="542544" y="2673095"/>
            <a:ext cx="530860" cy="3655060"/>
          </a:xfrm>
          <a:custGeom>
            <a:avLst/>
            <a:gdLst/>
            <a:ahLst/>
            <a:cxnLst/>
            <a:rect l="l" t="t" r="r" b="b"/>
            <a:pathLst>
              <a:path w="530860" h="3655060">
                <a:moveTo>
                  <a:pt x="0" y="3654552"/>
                </a:moveTo>
                <a:lnTo>
                  <a:pt x="530351" y="3654552"/>
                </a:lnTo>
                <a:lnTo>
                  <a:pt x="530351" y="0"/>
                </a:lnTo>
                <a:lnTo>
                  <a:pt x="0" y="0"/>
                </a:lnTo>
                <a:lnTo>
                  <a:pt x="0" y="3654552"/>
                </a:lnTo>
                <a:close/>
              </a:path>
            </a:pathLst>
          </a:custGeom>
          <a:solidFill>
            <a:srgbClr val="94E616"/>
          </a:solidFill>
        </p:spPr>
        <p:txBody>
          <a:bodyPr wrap="square" lIns="0" tIns="0" rIns="0" bIns="0" rtlCol="0"/>
          <a:lstStyle/>
          <a:p>
            <a:endParaRPr/>
          </a:p>
        </p:txBody>
      </p:sp>
      <p:sp>
        <p:nvSpPr>
          <p:cNvPr id="52" name="object 52"/>
          <p:cNvSpPr txBox="1"/>
          <p:nvPr/>
        </p:nvSpPr>
        <p:spPr>
          <a:xfrm>
            <a:off x="701846" y="2823250"/>
            <a:ext cx="210820" cy="3360420"/>
          </a:xfrm>
          <a:prstGeom prst="rect">
            <a:avLst/>
          </a:prstGeom>
        </p:spPr>
        <p:txBody>
          <a:bodyPr vert="vert270" wrap="square" lIns="0" tIns="13335" rIns="0" bIns="0" rtlCol="0">
            <a:spAutoFit/>
          </a:bodyPr>
          <a:lstStyle/>
          <a:p>
            <a:pPr marL="12700">
              <a:lnSpc>
                <a:spcPct val="100000"/>
              </a:lnSpc>
              <a:spcBef>
                <a:spcPts val="105"/>
              </a:spcBef>
            </a:pPr>
            <a:r>
              <a:rPr sz="1200" b="1" spc="-5">
                <a:solidFill>
                  <a:srgbClr val="2B093C"/>
                </a:solidFill>
                <a:latin typeface="Verdana"/>
                <a:cs typeface="Verdana"/>
              </a:rPr>
              <a:t>eAPM </a:t>
            </a:r>
            <a:r>
              <a:rPr sz="1200">
                <a:solidFill>
                  <a:srgbClr val="2B093C"/>
                </a:solidFill>
                <a:latin typeface="Verdana"/>
                <a:cs typeface="Verdana"/>
              </a:rPr>
              <a:t>for </a:t>
            </a:r>
            <a:r>
              <a:rPr sz="1200" spc="-10">
                <a:solidFill>
                  <a:srgbClr val="2B093C"/>
                </a:solidFill>
                <a:latin typeface="Verdana"/>
                <a:cs typeface="Verdana"/>
              </a:rPr>
              <a:t>Portfolio </a:t>
            </a:r>
            <a:r>
              <a:rPr sz="1200" spc="-5">
                <a:solidFill>
                  <a:srgbClr val="2B093C"/>
                </a:solidFill>
                <a:latin typeface="Verdana"/>
                <a:cs typeface="Verdana"/>
              </a:rPr>
              <a:t>Planning </a:t>
            </a:r>
            <a:r>
              <a:rPr sz="1200">
                <a:solidFill>
                  <a:srgbClr val="2B093C"/>
                </a:solidFill>
                <a:latin typeface="Verdana"/>
                <a:cs typeface="Verdana"/>
              </a:rPr>
              <a:t>&amp;</a:t>
            </a:r>
            <a:r>
              <a:rPr sz="1200" spc="45">
                <a:solidFill>
                  <a:srgbClr val="2B093C"/>
                </a:solidFill>
                <a:latin typeface="Verdana"/>
                <a:cs typeface="Verdana"/>
              </a:rPr>
              <a:t> </a:t>
            </a:r>
            <a:r>
              <a:rPr sz="1200" spc="-5">
                <a:solidFill>
                  <a:srgbClr val="2B093C"/>
                </a:solidFill>
                <a:latin typeface="Verdana"/>
                <a:cs typeface="Verdana"/>
              </a:rPr>
              <a:t>Management</a:t>
            </a:r>
            <a:endParaRPr sz="1200">
              <a:latin typeface="Verdana"/>
              <a:cs typeface="Verdana"/>
            </a:endParaRPr>
          </a:p>
        </p:txBody>
      </p:sp>
      <p:sp>
        <p:nvSpPr>
          <p:cNvPr id="53" name="object 53"/>
          <p:cNvSpPr txBox="1"/>
          <p:nvPr/>
        </p:nvSpPr>
        <p:spPr>
          <a:xfrm>
            <a:off x="1228344" y="2734055"/>
            <a:ext cx="5074920" cy="338455"/>
          </a:xfrm>
          <a:prstGeom prst="rect">
            <a:avLst/>
          </a:prstGeom>
          <a:solidFill>
            <a:srgbClr val="00C37A"/>
          </a:solidFill>
        </p:spPr>
        <p:txBody>
          <a:bodyPr vert="horz" wrap="square" lIns="0" tIns="76835" rIns="0" bIns="0" rtlCol="0">
            <a:spAutoFit/>
          </a:bodyPr>
          <a:lstStyle/>
          <a:p>
            <a:pPr algn="ctr">
              <a:lnSpc>
                <a:spcPct val="100000"/>
              </a:lnSpc>
              <a:spcBef>
                <a:spcPts val="605"/>
              </a:spcBef>
            </a:pPr>
            <a:r>
              <a:rPr sz="1200" b="1" spc="-5">
                <a:solidFill>
                  <a:srgbClr val="FFFFFF"/>
                </a:solidFill>
                <a:latin typeface="Verdana"/>
                <a:cs typeface="Verdana"/>
              </a:rPr>
              <a:t>Business-focused Insights</a:t>
            </a:r>
            <a:r>
              <a:rPr sz="1200" b="1" spc="30">
                <a:solidFill>
                  <a:srgbClr val="FFFFFF"/>
                </a:solidFill>
                <a:latin typeface="Verdana"/>
                <a:cs typeface="Verdana"/>
              </a:rPr>
              <a:t> </a:t>
            </a:r>
            <a:r>
              <a:rPr sz="1200" b="1" spc="-5">
                <a:solidFill>
                  <a:srgbClr val="FFFFFF"/>
                </a:solidFill>
                <a:latin typeface="Verdana"/>
                <a:cs typeface="Verdana"/>
              </a:rPr>
              <a:t>Services</a:t>
            </a:r>
            <a:endParaRPr sz="1200">
              <a:latin typeface="Verdana"/>
              <a:cs typeface="Verdana"/>
            </a:endParaRPr>
          </a:p>
        </p:txBody>
      </p:sp>
      <p:sp>
        <p:nvSpPr>
          <p:cNvPr id="54" name="object 54"/>
          <p:cNvSpPr/>
          <p:nvPr/>
        </p:nvSpPr>
        <p:spPr>
          <a:xfrm>
            <a:off x="6452615" y="2695955"/>
            <a:ext cx="530860" cy="3653154"/>
          </a:xfrm>
          <a:custGeom>
            <a:avLst/>
            <a:gdLst/>
            <a:ahLst/>
            <a:cxnLst/>
            <a:rect l="l" t="t" r="r" b="b"/>
            <a:pathLst>
              <a:path w="530859" h="3653154">
                <a:moveTo>
                  <a:pt x="0" y="3653028"/>
                </a:moveTo>
                <a:lnTo>
                  <a:pt x="530352" y="3653028"/>
                </a:lnTo>
                <a:lnTo>
                  <a:pt x="530352" y="0"/>
                </a:lnTo>
                <a:lnTo>
                  <a:pt x="0" y="0"/>
                </a:lnTo>
                <a:lnTo>
                  <a:pt x="0" y="3653028"/>
                </a:lnTo>
                <a:close/>
              </a:path>
            </a:pathLst>
          </a:custGeom>
          <a:solidFill>
            <a:srgbClr val="94E616"/>
          </a:solidFill>
        </p:spPr>
        <p:txBody>
          <a:bodyPr wrap="square" lIns="0" tIns="0" rIns="0" bIns="0" rtlCol="0"/>
          <a:lstStyle/>
          <a:p>
            <a:endParaRPr/>
          </a:p>
        </p:txBody>
      </p:sp>
      <p:sp>
        <p:nvSpPr>
          <p:cNvPr id="55" name="object 55"/>
          <p:cNvSpPr txBox="1"/>
          <p:nvPr/>
        </p:nvSpPr>
        <p:spPr>
          <a:xfrm>
            <a:off x="6520504" y="2890882"/>
            <a:ext cx="393700" cy="3270250"/>
          </a:xfrm>
          <a:prstGeom prst="rect">
            <a:avLst/>
          </a:prstGeom>
        </p:spPr>
        <p:txBody>
          <a:bodyPr vert="vert270" wrap="square" lIns="0" tIns="13335" rIns="0" bIns="0" rtlCol="0">
            <a:spAutoFit/>
          </a:bodyPr>
          <a:lstStyle/>
          <a:p>
            <a:pPr marL="12700">
              <a:lnSpc>
                <a:spcPct val="100000"/>
              </a:lnSpc>
              <a:spcBef>
                <a:spcPts val="105"/>
              </a:spcBef>
            </a:pPr>
            <a:r>
              <a:rPr sz="1200" b="1">
                <a:solidFill>
                  <a:srgbClr val="2B093C"/>
                </a:solidFill>
                <a:latin typeface="Verdana"/>
                <a:cs typeface="Verdana"/>
              </a:rPr>
              <a:t>A </a:t>
            </a:r>
            <a:r>
              <a:rPr sz="1200" b="1" spc="-5">
                <a:solidFill>
                  <a:srgbClr val="2B093C"/>
                </a:solidFill>
                <a:latin typeface="Verdana"/>
                <a:cs typeface="Verdana"/>
              </a:rPr>
              <a:t>Cloud-enabled Automation</a:t>
            </a:r>
            <a:r>
              <a:rPr sz="1200" b="1" spc="-25">
                <a:solidFill>
                  <a:srgbClr val="2B093C"/>
                </a:solidFill>
                <a:latin typeface="Verdana"/>
                <a:cs typeface="Verdana"/>
              </a:rPr>
              <a:t> </a:t>
            </a:r>
            <a:r>
              <a:rPr sz="1200" b="1" spc="-5">
                <a:solidFill>
                  <a:srgbClr val="2B093C"/>
                </a:solidFill>
                <a:latin typeface="Verdana"/>
                <a:cs typeface="Verdana"/>
              </a:rPr>
              <a:t>platform</a:t>
            </a:r>
            <a:endParaRPr sz="1200">
              <a:latin typeface="Verdana"/>
              <a:cs typeface="Verdana"/>
            </a:endParaRPr>
          </a:p>
          <a:p>
            <a:pPr marL="600710">
              <a:lnSpc>
                <a:spcPct val="100000"/>
              </a:lnSpc>
            </a:pPr>
            <a:r>
              <a:rPr sz="1200" b="1">
                <a:solidFill>
                  <a:srgbClr val="2B093C"/>
                </a:solidFill>
                <a:latin typeface="Verdana"/>
                <a:cs typeface="Verdana"/>
              </a:rPr>
              <a:t>– </a:t>
            </a:r>
            <a:r>
              <a:rPr sz="1200" b="1" spc="-5">
                <a:solidFill>
                  <a:srgbClr val="2B093C"/>
                </a:solidFill>
                <a:latin typeface="Verdana"/>
                <a:cs typeface="Verdana"/>
              </a:rPr>
              <a:t>For Build, Deploy,</a:t>
            </a:r>
            <a:r>
              <a:rPr sz="1200" b="1" spc="10">
                <a:solidFill>
                  <a:srgbClr val="2B093C"/>
                </a:solidFill>
                <a:latin typeface="Verdana"/>
                <a:cs typeface="Verdana"/>
              </a:rPr>
              <a:t> </a:t>
            </a:r>
            <a:r>
              <a:rPr sz="1200" b="1" spc="-5">
                <a:solidFill>
                  <a:srgbClr val="2B093C"/>
                </a:solidFill>
                <a:latin typeface="Verdana"/>
                <a:cs typeface="Verdana"/>
              </a:rPr>
              <a:t>Run</a:t>
            </a:r>
            <a:endParaRPr sz="1200">
              <a:latin typeface="Verdana"/>
              <a:cs typeface="Verdana"/>
            </a:endParaRPr>
          </a:p>
        </p:txBody>
      </p:sp>
      <p:sp>
        <p:nvSpPr>
          <p:cNvPr id="56" name="object 56"/>
          <p:cNvSpPr/>
          <p:nvPr/>
        </p:nvSpPr>
        <p:spPr>
          <a:xfrm>
            <a:off x="1228344" y="3246120"/>
            <a:ext cx="5074920" cy="2585085"/>
          </a:xfrm>
          <a:custGeom>
            <a:avLst/>
            <a:gdLst/>
            <a:ahLst/>
            <a:cxnLst/>
            <a:rect l="l" t="t" r="r" b="b"/>
            <a:pathLst>
              <a:path w="5074920" h="2585085">
                <a:moveTo>
                  <a:pt x="0" y="2584704"/>
                </a:moveTo>
                <a:lnTo>
                  <a:pt x="5074920" y="2584704"/>
                </a:lnTo>
                <a:lnTo>
                  <a:pt x="5074920" y="0"/>
                </a:lnTo>
                <a:lnTo>
                  <a:pt x="0" y="0"/>
                </a:lnTo>
                <a:lnTo>
                  <a:pt x="0" y="2584704"/>
                </a:lnTo>
                <a:close/>
              </a:path>
            </a:pathLst>
          </a:custGeom>
          <a:solidFill>
            <a:srgbClr val="12ABDB"/>
          </a:solidFill>
        </p:spPr>
        <p:txBody>
          <a:bodyPr wrap="square" lIns="0" tIns="0" rIns="0" bIns="0" rtlCol="0"/>
          <a:lstStyle/>
          <a:p>
            <a:endParaRPr/>
          </a:p>
        </p:txBody>
      </p:sp>
      <p:sp>
        <p:nvSpPr>
          <p:cNvPr id="57" name="object 57"/>
          <p:cNvSpPr txBox="1"/>
          <p:nvPr/>
        </p:nvSpPr>
        <p:spPr>
          <a:xfrm>
            <a:off x="1228344" y="3278251"/>
            <a:ext cx="5074920" cy="208279"/>
          </a:xfrm>
          <a:prstGeom prst="rect">
            <a:avLst/>
          </a:prstGeom>
        </p:spPr>
        <p:txBody>
          <a:bodyPr vert="horz" wrap="square" lIns="0" tIns="12700" rIns="0" bIns="0" rtlCol="0">
            <a:spAutoFit/>
          </a:bodyPr>
          <a:lstStyle/>
          <a:p>
            <a:pPr algn="ctr">
              <a:lnSpc>
                <a:spcPct val="100000"/>
              </a:lnSpc>
              <a:spcBef>
                <a:spcPts val="100"/>
              </a:spcBef>
            </a:pPr>
            <a:r>
              <a:rPr sz="1200" b="1" spc="-5">
                <a:solidFill>
                  <a:srgbClr val="FFFFFF"/>
                </a:solidFill>
                <a:latin typeface="Verdana"/>
                <a:cs typeface="Verdana"/>
              </a:rPr>
              <a:t>Foundation </a:t>
            </a:r>
            <a:r>
              <a:rPr sz="1200" spc="-5">
                <a:solidFill>
                  <a:srgbClr val="FFFFFF"/>
                </a:solidFill>
                <a:latin typeface="Verdana"/>
                <a:cs typeface="Verdana"/>
              </a:rPr>
              <a:t>Services</a:t>
            </a:r>
            <a:endParaRPr sz="1200">
              <a:latin typeface="Verdana"/>
              <a:cs typeface="Verdana"/>
            </a:endParaRPr>
          </a:p>
        </p:txBody>
      </p:sp>
      <p:sp>
        <p:nvSpPr>
          <p:cNvPr id="58" name="object 58"/>
          <p:cNvSpPr/>
          <p:nvPr/>
        </p:nvSpPr>
        <p:spPr>
          <a:xfrm>
            <a:off x="1450847" y="3563111"/>
            <a:ext cx="4628515" cy="2268220"/>
          </a:xfrm>
          <a:custGeom>
            <a:avLst/>
            <a:gdLst/>
            <a:ahLst/>
            <a:cxnLst/>
            <a:rect l="l" t="t" r="r" b="b"/>
            <a:pathLst>
              <a:path w="4628515" h="2268220">
                <a:moveTo>
                  <a:pt x="0" y="2267712"/>
                </a:moveTo>
                <a:lnTo>
                  <a:pt x="4628388" y="2267712"/>
                </a:lnTo>
                <a:lnTo>
                  <a:pt x="4628388" y="0"/>
                </a:lnTo>
                <a:lnTo>
                  <a:pt x="0" y="0"/>
                </a:lnTo>
                <a:lnTo>
                  <a:pt x="0" y="2267712"/>
                </a:lnTo>
                <a:close/>
              </a:path>
            </a:pathLst>
          </a:custGeom>
          <a:solidFill>
            <a:srgbClr val="9AE0F7"/>
          </a:solidFill>
        </p:spPr>
        <p:txBody>
          <a:bodyPr wrap="square" lIns="0" tIns="0" rIns="0" bIns="0" rtlCol="0"/>
          <a:lstStyle/>
          <a:p>
            <a:endParaRPr/>
          </a:p>
        </p:txBody>
      </p:sp>
      <p:sp>
        <p:nvSpPr>
          <p:cNvPr id="59" name="object 59"/>
          <p:cNvSpPr/>
          <p:nvPr/>
        </p:nvSpPr>
        <p:spPr>
          <a:xfrm>
            <a:off x="1837944" y="4826508"/>
            <a:ext cx="3799840" cy="483234"/>
          </a:xfrm>
          <a:custGeom>
            <a:avLst/>
            <a:gdLst/>
            <a:ahLst/>
            <a:cxnLst/>
            <a:rect l="l" t="t" r="r" b="b"/>
            <a:pathLst>
              <a:path w="3799840" h="483235">
                <a:moveTo>
                  <a:pt x="0" y="483108"/>
                </a:moveTo>
                <a:lnTo>
                  <a:pt x="3799331" y="483108"/>
                </a:lnTo>
                <a:lnTo>
                  <a:pt x="3799331" y="0"/>
                </a:lnTo>
                <a:lnTo>
                  <a:pt x="0" y="0"/>
                </a:lnTo>
                <a:lnTo>
                  <a:pt x="0" y="483108"/>
                </a:lnTo>
                <a:close/>
              </a:path>
            </a:pathLst>
          </a:custGeom>
          <a:solidFill>
            <a:srgbClr val="FFFFFF"/>
          </a:solidFill>
        </p:spPr>
        <p:txBody>
          <a:bodyPr wrap="square" lIns="0" tIns="0" rIns="0" bIns="0" rtlCol="0"/>
          <a:lstStyle/>
          <a:p>
            <a:endParaRPr/>
          </a:p>
        </p:txBody>
      </p:sp>
      <p:sp>
        <p:nvSpPr>
          <p:cNvPr id="60" name="object 60"/>
          <p:cNvSpPr txBox="1"/>
          <p:nvPr/>
        </p:nvSpPr>
        <p:spPr>
          <a:xfrm>
            <a:off x="1450847" y="4963414"/>
            <a:ext cx="4628515" cy="834390"/>
          </a:xfrm>
          <a:prstGeom prst="rect">
            <a:avLst/>
          </a:prstGeom>
        </p:spPr>
        <p:txBody>
          <a:bodyPr vert="horz" wrap="square" lIns="0" tIns="12700" rIns="0" bIns="0" rtlCol="0">
            <a:spAutoFit/>
          </a:bodyPr>
          <a:lstStyle/>
          <a:p>
            <a:pPr marR="46990" algn="ctr">
              <a:lnSpc>
                <a:spcPct val="100000"/>
              </a:lnSpc>
              <a:spcBef>
                <a:spcPts val="100"/>
              </a:spcBef>
            </a:pPr>
            <a:r>
              <a:rPr sz="1200" b="1" spc="-5">
                <a:latin typeface="Verdana"/>
                <a:cs typeface="Verdana"/>
              </a:rPr>
              <a:t>Business Functional </a:t>
            </a:r>
            <a:r>
              <a:rPr sz="1200" spc="-10">
                <a:latin typeface="Verdana"/>
                <a:cs typeface="Verdana"/>
              </a:rPr>
              <a:t>Capabilities</a:t>
            </a:r>
            <a:endParaRPr sz="1200">
              <a:latin typeface="Verdana"/>
              <a:cs typeface="Verdana"/>
            </a:endParaRPr>
          </a:p>
          <a:p>
            <a:pPr>
              <a:lnSpc>
                <a:spcPct val="100000"/>
              </a:lnSpc>
              <a:spcBef>
                <a:spcPts val="35"/>
              </a:spcBef>
            </a:pPr>
            <a:endParaRPr sz="1750">
              <a:latin typeface="Times New Roman"/>
              <a:cs typeface="Times New Roman"/>
            </a:endParaRPr>
          </a:p>
          <a:p>
            <a:pPr marL="666115" marR="658495" algn="ctr">
              <a:lnSpc>
                <a:spcPct val="100000"/>
              </a:lnSpc>
            </a:pPr>
            <a:r>
              <a:rPr sz="1200" b="1">
                <a:latin typeface="Verdana"/>
                <a:cs typeface="Verdana"/>
              </a:rPr>
              <a:t>Catalog </a:t>
            </a:r>
            <a:r>
              <a:rPr sz="1200">
                <a:latin typeface="Verdana"/>
                <a:cs typeface="Verdana"/>
              </a:rPr>
              <a:t>of </a:t>
            </a:r>
            <a:r>
              <a:rPr sz="1200" spc="-5">
                <a:latin typeface="Verdana"/>
                <a:cs typeface="Verdana"/>
              </a:rPr>
              <a:t>Assets </a:t>
            </a:r>
            <a:r>
              <a:rPr sz="1200">
                <a:latin typeface="Verdana"/>
                <a:cs typeface="Verdana"/>
              </a:rPr>
              <a:t>&amp; </a:t>
            </a:r>
            <a:r>
              <a:rPr sz="1200" spc="-5">
                <a:latin typeface="Verdana"/>
                <a:cs typeface="Verdana"/>
              </a:rPr>
              <a:t>Services, </a:t>
            </a:r>
            <a:r>
              <a:rPr sz="1200" spc="-10">
                <a:latin typeface="Verdana"/>
                <a:cs typeface="Verdana"/>
              </a:rPr>
              <a:t>configurable  </a:t>
            </a:r>
            <a:r>
              <a:rPr sz="1200" spc="-5">
                <a:latin typeface="Verdana"/>
                <a:cs typeface="Verdana"/>
              </a:rPr>
              <a:t>based </a:t>
            </a:r>
            <a:r>
              <a:rPr sz="1200">
                <a:latin typeface="Verdana"/>
                <a:cs typeface="Verdana"/>
              </a:rPr>
              <a:t>on </a:t>
            </a:r>
            <a:r>
              <a:rPr sz="1200" spc="-5">
                <a:latin typeface="Verdana"/>
                <a:cs typeface="Verdana"/>
              </a:rPr>
              <a:t>client</a:t>
            </a:r>
            <a:r>
              <a:rPr sz="1200">
                <a:latin typeface="Verdana"/>
                <a:cs typeface="Verdana"/>
              </a:rPr>
              <a:t> </a:t>
            </a:r>
            <a:r>
              <a:rPr sz="1200" spc="-5">
                <a:latin typeface="Verdana"/>
                <a:cs typeface="Verdana"/>
              </a:rPr>
              <a:t>objectives</a:t>
            </a:r>
            <a:endParaRPr sz="1200">
              <a:latin typeface="Verdana"/>
              <a:cs typeface="Verdana"/>
            </a:endParaRPr>
          </a:p>
        </p:txBody>
      </p:sp>
      <p:sp>
        <p:nvSpPr>
          <p:cNvPr id="61" name="object 61"/>
          <p:cNvSpPr/>
          <p:nvPr/>
        </p:nvSpPr>
        <p:spPr>
          <a:xfrm>
            <a:off x="1837944" y="3718559"/>
            <a:ext cx="558165" cy="1108075"/>
          </a:xfrm>
          <a:custGeom>
            <a:avLst/>
            <a:gdLst/>
            <a:ahLst/>
            <a:cxnLst/>
            <a:rect l="l" t="t" r="r" b="b"/>
            <a:pathLst>
              <a:path w="558164" h="1108075">
                <a:moveTo>
                  <a:pt x="0" y="1107947"/>
                </a:moveTo>
                <a:lnTo>
                  <a:pt x="557783" y="1107947"/>
                </a:lnTo>
                <a:lnTo>
                  <a:pt x="557783" y="0"/>
                </a:lnTo>
                <a:lnTo>
                  <a:pt x="0" y="0"/>
                </a:lnTo>
                <a:lnTo>
                  <a:pt x="0" y="1107947"/>
                </a:lnTo>
                <a:close/>
              </a:path>
            </a:pathLst>
          </a:custGeom>
          <a:solidFill>
            <a:srgbClr val="FFFFFF"/>
          </a:solidFill>
        </p:spPr>
        <p:txBody>
          <a:bodyPr wrap="square" lIns="0" tIns="0" rIns="0" bIns="0" rtlCol="0"/>
          <a:lstStyle/>
          <a:p>
            <a:endParaRPr/>
          </a:p>
        </p:txBody>
      </p:sp>
      <p:sp>
        <p:nvSpPr>
          <p:cNvPr id="62" name="object 62"/>
          <p:cNvSpPr txBox="1"/>
          <p:nvPr/>
        </p:nvSpPr>
        <p:spPr>
          <a:xfrm>
            <a:off x="1919802" y="3890343"/>
            <a:ext cx="393700" cy="767715"/>
          </a:xfrm>
          <a:prstGeom prst="rect">
            <a:avLst/>
          </a:prstGeom>
        </p:spPr>
        <p:txBody>
          <a:bodyPr vert="vert270" wrap="square" lIns="0" tIns="13335" rIns="0" bIns="0" rtlCol="0">
            <a:spAutoFit/>
          </a:bodyPr>
          <a:lstStyle/>
          <a:p>
            <a:pPr marL="12700">
              <a:lnSpc>
                <a:spcPct val="100000"/>
              </a:lnSpc>
              <a:spcBef>
                <a:spcPts val="105"/>
              </a:spcBef>
            </a:pPr>
            <a:r>
              <a:rPr sz="1200" b="1" spc="-5">
                <a:latin typeface="Verdana"/>
                <a:cs typeface="Verdana"/>
              </a:rPr>
              <a:t>Industry</a:t>
            </a:r>
            <a:endParaRPr sz="1200">
              <a:latin typeface="Verdana"/>
              <a:cs typeface="Verdana"/>
            </a:endParaRPr>
          </a:p>
          <a:p>
            <a:pPr marL="32384">
              <a:lnSpc>
                <a:spcPct val="100000"/>
              </a:lnSpc>
            </a:pPr>
            <a:r>
              <a:rPr sz="1200" spc="-5">
                <a:latin typeface="Verdana"/>
                <a:cs typeface="Verdana"/>
              </a:rPr>
              <a:t>Solutions</a:t>
            </a:r>
            <a:endParaRPr sz="1200">
              <a:latin typeface="Verdana"/>
              <a:cs typeface="Verdana"/>
            </a:endParaRPr>
          </a:p>
        </p:txBody>
      </p:sp>
      <p:sp>
        <p:nvSpPr>
          <p:cNvPr id="63" name="object 63"/>
          <p:cNvSpPr/>
          <p:nvPr/>
        </p:nvSpPr>
        <p:spPr>
          <a:xfrm>
            <a:off x="2918460" y="3718559"/>
            <a:ext cx="558165" cy="1108075"/>
          </a:xfrm>
          <a:custGeom>
            <a:avLst/>
            <a:gdLst/>
            <a:ahLst/>
            <a:cxnLst/>
            <a:rect l="l" t="t" r="r" b="b"/>
            <a:pathLst>
              <a:path w="558164" h="1108075">
                <a:moveTo>
                  <a:pt x="0" y="1107947"/>
                </a:moveTo>
                <a:lnTo>
                  <a:pt x="557784" y="1107947"/>
                </a:lnTo>
                <a:lnTo>
                  <a:pt x="557784" y="0"/>
                </a:lnTo>
                <a:lnTo>
                  <a:pt x="0" y="0"/>
                </a:lnTo>
                <a:lnTo>
                  <a:pt x="0" y="1107947"/>
                </a:lnTo>
                <a:close/>
              </a:path>
            </a:pathLst>
          </a:custGeom>
          <a:solidFill>
            <a:srgbClr val="FFFFFF"/>
          </a:solidFill>
        </p:spPr>
        <p:txBody>
          <a:bodyPr wrap="square" lIns="0" tIns="0" rIns="0" bIns="0" rtlCol="0"/>
          <a:lstStyle/>
          <a:p>
            <a:endParaRPr/>
          </a:p>
        </p:txBody>
      </p:sp>
      <p:sp>
        <p:nvSpPr>
          <p:cNvPr id="64" name="object 64"/>
          <p:cNvSpPr txBox="1"/>
          <p:nvPr/>
        </p:nvSpPr>
        <p:spPr>
          <a:xfrm>
            <a:off x="3000318" y="3890343"/>
            <a:ext cx="393700" cy="767715"/>
          </a:xfrm>
          <a:prstGeom prst="rect">
            <a:avLst/>
          </a:prstGeom>
        </p:spPr>
        <p:txBody>
          <a:bodyPr vert="vert270" wrap="square" lIns="0" tIns="13335" rIns="0" bIns="0" rtlCol="0">
            <a:spAutoFit/>
          </a:bodyPr>
          <a:lstStyle/>
          <a:p>
            <a:pPr marL="12700">
              <a:lnSpc>
                <a:spcPct val="100000"/>
              </a:lnSpc>
              <a:spcBef>
                <a:spcPts val="105"/>
              </a:spcBef>
            </a:pPr>
            <a:r>
              <a:rPr sz="1200" b="1" spc="-5">
                <a:latin typeface="Verdana"/>
                <a:cs typeface="Verdana"/>
              </a:rPr>
              <a:t>Industry</a:t>
            </a:r>
            <a:endParaRPr sz="1200">
              <a:latin typeface="Verdana"/>
              <a:cs typeface="Verdana"/>
            </a:endParaRPr>
          </a:p>
          <a:p>
            <a:pPr marL="32384">
              <a:lnSpc>
                <a:spcPct val="100000"/>
              </a:lnSpc>
            </a:pPr>
            <a:r>
              <a:rPr sz="1200" spc="-5">
                <a:latin typeface="Verdana"/>
                <a:cs typeface="Verdana"/>
              </a:rPr>
              <a:t>Solutions</a:t>
            </a:r>
            <a:endParaRPr sz="1200">
              <a:latin typeface="Verdana"/>
              <a:cs typeface="Verdana"/>
            </a:endParaRPr>
          </a:p>
        </p:txBody>
      </p:sp>
      <p:sp>
        <p:nvSpPr>
          <p:cNvPr id="65" name="object 65"/>
          <p:cNvSpPr/>
          <p:nvPr/>
        </p:nvSpPr>
        <p:spPr>
          <a:xfrm>
            <a:off x="3998976" y="3718559"/>
            <a:ext cx="558165" cy="1108075"/>
          </a:xfrm>
          <a:custGeom>
            <a:avLst/>
            <a:gdLst/>
            <a:ahLst/>
            <a:cxnLst/>
            <a:rect l="l" t="t" r="r" b="b"/>
            <a:pathLst>
              <a:path w="558164" h="1108075">
                <a:moveTo>
                  <a:pt x="0" y="1107947"/>
                </a:moveTo>
                <a:lnTo>
                  <a:pt x="557784" y="1107947"/>
                </a:lnTo>
                <a:lnTo>
                  <a:pt x="557784" y="0"/>
                </a:lnTo>
                <a:lnTo>
                  <a:pt x="0" y="0"/>
                </a:lnTo>
                <a:lnTo>
                  <a:pt x="0" y="1107947"/>
                </a:lnTo>
                <a:close/>
              </a:path>
            </a:pathLst>
          </a:custGeom>
          <a:solidFill>
            <a:srgbClr val="FFFFFF"/>
          </a:solidFill>
        </p:spPr>
        <p:txBody>
          <a:bodyPr wrap="square" lIns="0" tIns="0" rIns="0" bIns="0" rtlCol="0"/>
          <a:lstStyle/>
          <a:p>
            <a:endParaRPr/>
          </a:p>
        </p:txBody>
      </p:sp>
      <p:sp>
        <p:nvSpPr>
          <p:cNvPr id="66" name="object 66"/>
          <p:cNvSpPr txBox="1"/>
          <p:nvPr/>
        </p:nvSpPr>
        <p:spPr>
          <a:xfrm>
            <a:off x="4080580" y="3890343"/>
            <a:ext cx="393700" cy="767715"/>
          </a:xfrm>
          <a:prstGeom prst="rect">
            <a:avLst/>
          </a:prstGeom>
        </p:spPr>
        <p:txBody>
          <a:bodyPr vert="vert270" wrap="square" lIns="0" tIns="13335" rIns="0" bIns="0" rtlCol="0">
            <a:spAutoFit/>
          </a:bodyPr>
          <a:lstStyle/>
          <a:p>
            <a:pPr marL="12700">
              <a:lnSpc>
                <a:spcPct val="100000"/>
              </a:lnSpc>
              <a:spcBef>
                <a:spcPts val="105"/>
              </a:spcBef>
            </a:pPr>
            <a:r>
              <a:rPr sz="1200" b="1" spc="-5">
                <a:latin typeface="Verdana"/>
                <a:cs typeface="Verdana"/>
              </a:rPr>
              <a:t>Industry</a:t>
            </a:r>
            <a:endParaRPr sz="1200">
              <a:latin typeface="Verdana"/>
              <a:cs typeface="Verdana"/>
            </a:endParaRPr>
          </a:p>
          <a:p>
            <a:pPr marL="32384">
              <a:lnSpc>
                <a:spcPct val="100000"/>
              </a:lnSpc>
            </a:pPr>
            <a:r>
              <a:rPr sz="1200" spc="-5">
                <a:latin typeface="Verdana"/>
                <a:cs typeface="Verdana"/>
              </a:rPr>
              <a:t>Solutions</a:t>
            </a:r>
            <a:endParaRPr sz="1200">
              <a:latin typeface="Verdana"/>
              <a:cs typeface="Verdana"/>
            </a:endParaRPr>
          </a:p>
        </p:txBody>
      </p:sp>
      <p:sp>
        <p:nvSpPr>
          <p:cNvPr id="67" name="object 67"/>
          <p:cNvSpPr/>
          <p:nvPr/>
        </p:nvSpPr>
        <p:spPr>
          <a:xfrm>
            <a:off x="5079491" y="3718559"/>
            <a:ext cx="558165" cy="1108075"/>
          </a:xfrm>
          <a:custGeom>
            <a:avLst/>
            <a:gdLst/>
            <a:ahLst/>
            <a:cxnLst/>
            <a:rect l="l" t="t" r="r" b="b"/>
            <a:pathLst>
              <a:path w="558164" h="1108075">
                <a:moveTo>
                  <a:pt x="0" y="1107947"/>
                </a:moveTo>
                <a:lnTo>
                  <a:pt x="557784" y="1107947"/>
                </a:lnTo>
                <a:lnTo>
                  <a:pt x="557784" y="0"/>
                </a:lnTo>
                <a:lnTo>
                  <a:pt x="0" y="0"/>
                </a:lnTo>
                <a:lnTo>
                  <a:pt x="0" y="1107947"/>
                </a:lnTo>
                <a:close/>
              </a:path>
            </a:pathLst>
          </a:custGeom>
          <a:solidFill>
            <a:srgbClr val="FFFFFF"/>
          </a:solidFill>
        </p:spPr>
        <p:txBody>
          <a:bodyPr wrap="square" lIns="0" tIns="0" rIns="0" bIns="0" rtlCol="0"/>
          <a:lstStyle/>
          <a:p>
            <a:endParaRPr/>
          </a:p>
        </p:txBody>
      </p:sp>
      <p:sp>
        <p:nvSpPr>
          <p:cNvPr id="68" name="object 68"/>
          <p:cNvSpPr txBox="1"/>
          <p:nvPr/>
        </p:nvSpPr>
        <p:spPr>
          <a:xfrm>
            <a:off x="5161096" y="3890343"/>
            <a:ext cx="393700" cy="767715"/>
          </a:xfrm>
          <a:prstGeom prst="rect">
            <a:avLst/>
          </a:prstGeom>
        </p:spPr>
        <p:txBody>
          <a:bodyPr vert="vert270" wrap="square" lIns="0" tIns="13335" rIns="0" bIns="0" rtlCol="0">
            <a:spAutoFit/>
          </a:bodyPr>
          <a:lstStyle/>
          <a:p>
            <a:pPr marL="12700">
              <a:lnSpc>
                <a:spcPct val="100000"/>
              </a:lnSpc>
              <a:spcBef>
                <a:spcPts val="105"/>
              </a:spcBef>
            </a:pPr>
            <a:r>
              <a:rPr sz="1200" b="1" spc="-5">
                <a:latin typeface="Verdana"/>
                <a:cs typeface="Verdana"/>
              </a:rPr>
              <a:t>Industry</a:t>
            </a:r>
            <a:endParaRPr sz="1200">
              <a:latin typeface="Verdana"/>
              <a:cs typeface="Verdana"/>
            </a:endParaRPr>
          </a:p>
          <a:p>
            <a:pPr marL="32384">
              <a:lnSpc>
                <a:spcPct val="100000"/>
              </a:lnSpc>
            </a:pPr>
            <a:r>
              <a:rPr sz="1200" spc="-5">
                <a:latin typeface="Verdana"/>
                <a:cs typeface="Verdana"/>
              </a:rPr>
              <a:t>Solutions</a:t>
            </a:r>
            <a:endParaRPr sz="1200">
              <a:latin typeface="Verdana"/>
              <a:cs typeface="Verdana"/>
            </a:endParaRPr>
          </a:p>
        </p:txBody>
      </p:sp>
      <p:sp>
        <p:nvSpPr>
          <p:cNvPr id="69" name="object 69"/>
          <p:cNvSpPr/>
          <p:nvPr/>
        </p:nvSpPr>
        <p:spPr>
          <a:xfrm>
            <a:off x="5463540" y="5399532"/>
            <a:ext cx="347472" cy="390144"/>
          </a:xfrm>
          <a:prstGeom prst="rect">
            <a:avLst/>
          </a:prstGeom>
          <a:blipFill>
            <a:blip r:embed="rId14" cstate="print"/>
            <a:stretch>
              <a:fillRect/>
            </a:stretch>
          </a:blipFill>
        </p:spPr>
        <p:txBody>
          <a:bodyPr wrap="square" lIns="0" tIns="0" rIns="0" bIns="0" rtlCol="0"/>
          <a:lstStyle/>
          <a:p>
            <a:endParaRPr/>
          </a:p>
        </p:txBody>
      </p:sp>
      <p:sp>
        <p:nvSpPr>
          <p:cNvPr id="70" name="object 70"/>
          <p:cNvSpPr txBox="1">
            <a:spLocks noGrp="1"/>
          </p:cNvSpPr>
          <p:nvPr>
            <p:ph type="title"/>
          </p:nvPr>
        </p:nvSpPr>
        <p:spPr>
          <a:xfrm>
            <a:off x="1060805" y="135407"/>
            <a:ext cx="9296400" cy="863600"/>
          </a:xfrm>
          <a:prstGeom prst="rect">
            <a:avLst/>
          </a:prstGeom>
        </p:spPr>
        <p:txBody>
          <a:bodyPr vert="horz" wrap="square" lIns="0" tIns="12700" rIns="0" bIns="0" rtlCol="0">
            <a:spAutoFit/>
          </a:bodyPr>
          <a:lstStyle/>
          <a:p>
            <a:pPr marL="12700" marR="5080">
              <a:lnSpc>
                <a:spcPct val="125000"/>
              </a:lnSpc>
              <a:spcBef>
                <a:spcPts val="100"/>
              </a:spcBef>
            </a:pPr>
            <a:r>
              <a:rPr sz="2200" spc="-10"/>
              <a:t>Capgemini’s </a:t>
            </a:r>
            <a:r>
              <a:rPr sz="2200" b="1" spc="-10">
                <a:latin typeface="Verdana"/>
                <a:cs typeface="Verdana"/>
              </a:rPr>
              <a:t>ADMnext </a:t>
            </a:r>
            <a:r>
              <a:rPr sz="2200" spc="-5"/>
              <a:t>Platform </a:t>
            </a:r>
            <a:r>
              <a:rPr sz="2200"/>
              <a:t>is </a:t>
            </a:r>
            <a:r>
              <a:rPr sz="2200" spc="-5"/>
              <a:t>industry </a:t>
            </a:r>
            <a:r>
              <a:rPr sz="2200"/>
              <a:t>aligned </a:t>
            </a:r>
            <a:r>
              <a:rPr sz="2200" spc="-5"/>
              <a:t>and insightful,  guided by a </a:t>
            </a:r>
            <a:r>
              <a:rPr sz="2200"/>
              <a:t>minimum </a:t>
            </a:r>
            <a:r>
              <a:rPr sz="2200" spc="-5"/>
              <a:t>disruption</a:t>
            </a:r>
            <a:r>
              <a:rPr sz="2200" spc="-10"/>
              <a:t> </a:t>
            </a:r>
            <a:r>
              <a:rPr sz="2200" spc="-5"/>
              <a:t>intent</a:t>
            </a:r>
            <a:endParaRPr sz="2200">
              <a:latin typeface="Verdana"/>
              <a:cs typeface="Verdana"/>
            </a:endParaRPr>
          </a:p>
        </p:txBody>
      </p:sp>
      <p:sp>
        <p:nvSpPr>
          <p:cNvPr id="71" name="object 71"/>
          <p:cNvSpPr/>
          <p:nvPr/>
        </p:nvSpPr>
        <p:spPr>
          <a:xfrm>
            <a:off x="220871" y="252630"/>
            <a:ext cx="751223" cy="752624"/>
          </a:xfrm>
          <a:prstGeom prst="rect">
            <a:avLst/>
          </a:prstGeom>
          <a:blipFill>
            <a:blip r:embed="rId15" cstate="print"/>
            <a:stretch>
              <a:fillRect/>
            </a:stretch>
          </a:blipFill>
        </p:spPr>
        <p:txBody>
          <a:bodyPr wrap="square" lIns="0" tIns="0" rIns="0" bIns="0" rtlCol="0"/>
          <a:lstStyle/>
          <a:p>
            <a:endParaRPr/>
          </a:p>
        </p:txBody>
      </p:sp>
      <p:sp>
        <p:nvSpPr>
          <p:cNvPr id="72" name="object 7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3" name="object 73"/>
          <p:cNvSpPr txBox="1"/>
          <p:nvPr/>
        </p:nvSpPr>
        <p:spPr>
          <a:xfrm>
            <a:off x="9568053" y="6638097"/>
            <a:ext cx="2374900" cy="149860"/>
          </a:xfrm>
          <a:prstGeom prst="rect">
            <a:avLst/>
          </a:prstGeom>
        </p:spPr>
        <p:txBody>
          <a:bodyPr vert="horz" wrap="square" lIns="0" tIns="13335" rIns="0" bIns="0" rtlCol="0">
            <a:spAutoFit/>
          </a:bodyPr>
          <a:lstStyle/>
          <a:p>
            <a:pPr marL="12700">
              <a:lnSpc>
                <a:spcPct val="100000"/>
              </a:lnSpc>
              <a:spcBef>
                <a:spcPts val="105"/>
              </a:spcBef>
            </a:pPr>
            <a:r>
              <a:rPr sz="800" spc="-240">
                <a:solidFill>
                  <a:srgbClr val="A6A6A6"/>
                </a:solidFill>
                <a:latin typeface="Verdana"/>
                <a:cs typeface="Verdana"/>
              </a:rPr>
              <a:t>©©CCaappggeemminini </a:t>
            </a:r>
            <a:r>
              <a:rPr sz="800" spc="-180">
                <a:solidFill>
                  <a:srgbClr val="A6A6A6"/>
                </a:solidFill>
                <a:latin typeface="Verdana"/>
                <a:cs typeface="Verdana"/>
              </a:rPr>
              <a:t>i22001290..AAllllrrigighhttssrreesseerrvveedd </a:t>
            </a:r>
            <a:r>
              <a:rPr sz="800">
                <a:solidFill>
                  <a:srgbClr val="12ABDB"/>
                </a:solidFill>
                <a:latin typeface="Verdana"/>
                <a:cs typeface="Verdana"/>
              </a:rPr>
              <a:t>|</a:t>
            </a:r>
            <a:r>
              <a:rPr sz="800" spc="95">
                <a:solidFill>
                  <a:srgbClr val="12ABDB"/>
                </a:solidFill>
                <a:latin typeface="Verdana"/>
                <a:cs typeface="Verdana"/>
              </a:rPr>
              <a:t> </a:t>
            </a:r>
            <a:r>
              <a:rPr sz="800" spc="-210">
                <a:solidFill>
                  <a:srgbClr val="A6A6A6"/>
                </a:solidFill>
                <a:latin typeface="Verdana"/>
                <a:cs typeface="Verdana"/>
              </a:rPr>
              <a:t>2299</a:t>
            </a:r>
            <a:endParaRPr sz="800">
              <a:latin typeface="Verdana"/>
              <a:cs typeface="Verdana"/>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75436" y="135407"/>
            <a:ext cx="9799320" cy="863600"/>
          </a:xfrm>
          <a:prstGeom prst="rect">
            <a:avLst/>
          </a:prstGeom>
        </p:spPr>
        <p:txBody>
          <a:bodyPr vert="horz" wrap="square" lIns="0" tIns="12700" rIns="0" bIns="0" rtlCol="0">
            <a:spAutoFit/>
          </a:bodyPr>
          <a:lstStyle/>
          <a:p>
            <a:pPr marL="12700" marR="5080">
              <a:lnSpc>
                <a:spcPct val="125000"/>
              </a:lnSpc>
              <a:spcBef>
                <a:spcPts val="100"/>
              </a:spcBef>
            </a:pPr>
            <a:r>
              <a:rPr sz="2200" spc="-10"/>
              <a:t>Our </a:t>
            </a:r>
            <a:r>
              <a:rPr sz="2200" b="1" spc="-10">
                <a:latin typeface="Verdana"/>
                <a:cs typeface="Verdana"/>
              </a:rPr>
              <a:t>ADMnext </a:t>
            </a:r>
            <a:r>
              <a:rPr sz="2200" spc="-5"/>
              <a:t>approach to business </a:t>
            </a:r>
            <a:r>
              <a:rPr sz="2200" spc="-10"/>
              <a:t>innovation </a:t>
            </a:r>
            <a:r>
              <a:rPr sz="2200" spc="-5"/>
              <a:t>and </a:t>
            </a:r>
            <a:r>
              <a:rPr sz="2200" spc="-10"/>
              <a:t>transformation </a:t>
            </a:r>
            <a:r>
              <a:rPr sz="2200"/>
              <a:t>is  </a:t>
            </a:r>
            <a:r>
              <a:rPr sz="2200" spc="-5"/>
              <a:t>achieved </a:t>
            </a:r>
            <a:r>
              <a:rPr sz="2200" spc="-10"/>
              <a:t>through the </a:t>
            </a:r>
            <a:r>
              <a:rPr sz="2200" spc="-5"/>
              <a:t>application of </a:t>
            </a:r>
            <a:r>
              <a:rPr sz="2200" spc="-10"/>
              <a:t>three </a:t>
            </a:r>
            <a:r>
              <a:rPr sz="2200"/>
              <a:t>pillars </a:t>
            </a:r>
            <a:r>
              <a:rPr sz="2200" spc="-5"/>
              <a:t>of</a:t>
            </a:r>
            <a:r>
              <a:rPr sz="2200" spc="105"/>
              <a:t> </a:t>
            </a:r>
            <a:r>
              <a:rPr sz="2200" spc="-10"/>
              <a:t>transformation</a:t>
            </a:r>
            <a:endParaRPr sz="2200">
              <a:latin typeface="Verdana"/>
              <a:cs typeface="Verdana"/>
            </a:endParaRPr>
          </a:p>
        </p:txBody>
      </p:sp>
      <p:sp>
        <p:nvSpPr>
          <p:cNvPr id="3" name="object 3"/>
          <p:cNvSpPr/>
          <p:nvPr/>
        </p:nvSpPr>
        <p:spPr>
          <a:xfrm>
            <a:off x="1295400" y="2112264"/>
            <a:ext cx="1805939" cy="266700"/>
          </a:xfrm>
          <a:custGeom>
            <a:avLst/>
            <a:gdLst/>
            <a:ahLst/>
            <a:cxnLst/>
            <a:rect l="l" t="t" r="r" b="b"/>
            <a:pathLst>
              <a:path w="1805939" h="266700">
                <a:moveTo>
                  <a:pt x="1046352" y="133350"/>
                </a:moveTo>
                <a:lnTo>
                  <a:pt x="759587" y="133350"/>
                </a:lnTo>
                <a:lnTo>
                  <a:pt x="804930" y="140147"/>
                </a:lnTo>
                <a:lnTo>
                  <a:pt x="844292" y="159075"/>
                </a:lnTo>
                <a:lnTo>
                  <a:pt x="875322" y="187939"/>
                </a:lnTo>
                <a:lnTo>
                  <a:pt x="895665" y="224546"/>
                </a:lnTo>
                <a:lnTo>
                  <a:pt x="902969" y="266700"/>
                </a:lnTo>
                <a:lnTo>
                  <a:pt x="910274" y="224546"/>
                </a:lnTo>
                <a:lnTo>
                  <a:pt x="930617" y="187939"/>
                </a:lnTo>
                <a:lnTo>
                  <a:pt x="961647" y="159075"/>
                </a:lnTo>
                <a:lnTo>
                  <a:pt x="1001009" y="140147"/>
                </a:lnTo>
                <a:lnTo>
                  <a:pt x="1046352" y="133350"/>
                </a:lnTo>
                <a:close/>
              </a:path>
              <a:path w="1805939" h="266700">
                <a:moveTo>
                  <a:pt x="1805939" y="0"/>
                </a:moveTo>
                <a:lnTo>
                  <a:pt x="0" y="0"/>
                </a:lnTo>
                <a:lnTo>
                  <a:pt x="7304" y="42153"/>
                </a:lnTo>
                <a:lnTo>
                  <a:pt x="27647" y="78760"/>
                </a:lnTo>
                <a:lnTo>
                  <a:pt x="58677" y="107624"/>
                </a:lnTo>
                <a:lnTo>
                  <a:pt x="98039" y="126552"/>
                </a:lnTo>
                <a:lnTo>
                  <a:pt x="143383" y="133350"/>
                </a:lnTo>
                <a:lnTo>
                  <a:pt x="1662557" y="133350"/>
                </a:lnTo>
                <a:lnTo>
                  <a:pt x="1707900" y="126552"/>
                </a:lnTo>
                <a:lnTo>
                  <a:pt x="1747262" y="107624"/>
                </a:lnTo>
                <a:lnTo>
                  <a:pt x="1778292" y="78760"/>
                </a:lnTo>
                <a:lnTo>
                  <a:pt x="1798635" y="42153"/>
                </a:lnTo>
                <a:lnTo>
                  <a:pt x="1805939" y="0"/>
                </a:lnTo>
                <a:close/>
              </a:path>
            </a:pathLst>
          </a:custGeom>
          <a:solidFill>
            <a:srgbClr val="49730A"/>
          </a:solidFill>
        </p:spPr>
        <p:txBody>
          <a:bodyPr wrap="square" lIns="0" tIns="0" rIns="0" bIns="0" rtlCol="0"/>
          <a:lstStyle/>
          <a:p>
            <a:endParaRPr/>
          </a:p>
        </p:txBody>
      </p:sp>
      <p:sp>
        <p:nvSpPr>
          <p:cNvPr id="4" name="object 4"/>
          <p:cNvSpPr/>
          <p:nvPr/>
        </p:nvSpPr>
        <p:spPr>
          <a:xfrm>
            <a:off x="635508" y="1274063"/>
            <a:ext cx="3217545" cy="902335"/>
          </a:xfrm>
          <a:custGeom>
            <a:avLst/>
            <a:gdLst/>
            <a:ahLst/>
            <a:cxnLst/>
            <a:rect l="l" t="t" r="r" b="b"/>
            <a:pathLst>
              <a:path w="3217545" h="902335">
                <a:moveTo>
                  <a:pt x="3153664" y="0"/>
                </a:moveTo>
                <a:lnTo>
                  <a:pt x="63550" y="0"/>
                </a:lnTo>
                <a:lnTo>
                  <a:pt x="38811" y="4992"/>
                </a:lnTo>
                <a:lnTo>
                  <a:pt x="18611" y="18605"/>
                </a:lnTo>
                <a:lnTo>
                  <a:pt x="4993" y="38790"/>
                </a:lnTo>
                <a:lnTo>
                  <a:pt x="0" y="63500"/>
                </a:lnTo>
                <a:lnTo>
                  <a:pt x="0" y="838708"/>
                </a:lnTo>
                <a:lnTo>
                  <a:pt x="4993" y="863417"/>
                </a:lnTo>
                <a:lnTo>
                  <a:pt x="18611" y="883602"/>
                </a:lnTo>
                <a:lnTo>
                  <a:pt x="38811" y="897215"/>
                </a:lnTo>
                <a:lnTo>
                  <a:pt x="63550" y="902208"/>
                </a:lnTo>
                <a:lnTo>
                  <a:pt x="3153664" y="902208"/>
                </a:lnTo>
                <a:lnTo>
                  <a:pt x="3178373" y="897215"/>
                </a:lnTo>
                <a:lnTo>
                  <a:pt x="3198558" y="883602"/>
                </a:lnTo>
                <a:lnTo>
                  <a:pt x="3212171" y="863417"/>
                </a:lnTo>
                <a:lnTo>
                  <a:pt x="3217164" y="838708"/>
                </a:lnTo>
                <a:lnTo>
                  <a:pt x="3217164" y="63500"/>
                </a:lnTo>
                <a:lnTo>
                  <a:pt x="3212171" y="38790"/>
                </a:lnTo>
                <a:lnTo>
                  <a:pt x="3198558" y="18605"/>
                </a:lnTo>
                <a:lnTo>
                  <a:pt x="3178373" y="4992"/>
                </a:lnTo>
                <a:lnTo>
                  <a:pt x="3153664" y="0"/>
                </a:lnTo>
                <a:close/>
              </a:path>
            </a:pathLst>
          </a:custGeom>
          <a:solidFill>
            <a:srgbClr val="6FAC0F"/>
          </a:solidFill>
        </p:spPr>
        <p:txBody>
          <a:bodyPr wrap="square" lIns="0" tIns="0" rIns="0" bIns="0" rtlCol="0"/>
          <a:lstStyle/>
          <a:p>
            <a:endParaRPr/>
          </a:p>
        </p:txBody>
      </p:sp>
      <p:sp>
        <p:nvSpPr>
          <p:cNvPr id="5" name="object 5"/>
          <p:cNvSpPr/>
          <p:nvPr/>
        </p:nvSpPr>
        <p:spPr>
          <a:xfrm>
            <a:off x="845819" y="1391411"/>
            <a:ext cx="2807335" cy="675640"/>
          </a:xfrm>
          <a:custGeom>
            <a:avLst/>
            <a:gdLst/>
            <a:ahLst/>
            <a:cxnLst/>
            <a:rect l="l" t="t" r="r" b="b"/>
            <a:pathLst>
              <a:path w="2807335" h="675639">
                <a:moveTo>
                  <a:pt x="2772283" y="0"/>
                </a:moveTo>
                <a:lnTo>
                  <a:pt x="34886" y="0"/>
                </a:lnTo>
                <a:lnTo>
                  <a:pt x="21308" y="2742"/>
                </a:lnTo>
                <a:lnTo>
                  <a:pt x="10218" y="10223"/>
                </a:lnTo>
                <a:lnTo>
                  <a:pt x="2741" y="21324"/>
                </a:lnTo>
                <a:lnTo>
                  <a:pt x="0" y="34925"/>
                </a:lnTo>
                <a:lnTo>
                  <a:pt x="0" y="640207"/>
                </a:lnTo>
                <a:lnTo>
                  <a:pt x="2741" y="653807"/>
                </a:lnTo>
                <a:lnTo>
                  <a:pt x="10218" y="664908"/>
                </a:lnTo>
                <a:lnTo>
                  <a:pt x="21308" y="672389"/>
                </a:lnTo>
                <a:lnTo>
                  <a:pt x="34886" y="675132"/>
                </a:lnTo>
                <a:lnTo>
                  <a:pt x="2772283" y="675132"/>
                </a:lnTo>
                <a:lnTo>
                  <a:pt x="2785883" y="672389"/>
                </a:lnTo>
                <a:lnTo>
                  <a:pt x="2796984" y="664908"/>
                </a:lnTo>
                <a:lnTo>
                  <a:pt x="2804465" y="653807"/>
                </a:lnTo>
                <a:lnTo>
                  <a:pt x="2807208" y="640207"/>
                </a:lnTo>
                <a:lnTo>
                  <a:pt x="2807208" y="34925"/>
                </a:lnTo>
                <a:lnTo>
                  <a:pt x="2804465" y="21324"/>
                </a:lnTo>
                <a:lnTo>
                  <a:pt x="2796984" y="10223"/>
                </a:lnTo>
                <a:lnTo>
                  <a:pt x="2785883" y="2742"/>
                </a:lnTo>
                <a:lnTo>
                  <a:pt x="2772283" y="0"/>
                </a:lnTo>
                <a:close/>
              </a:path>
            </a:pathLst>
          </a:custGeom>
          <a:solidFill>
            <a:srgbClr val="FFFFFF"/>
          </a:solidFill>
        </p:spPr>
        <p:txBody>
          <a:bodyPr wrap="square" lIns="0" tIns="0" rIns="0" bIns="0" rtlCol="0"/>
          <a:lstStyle/>
          <a:p>
            <a:endParaRPr/>
          </a:p>
        </p:txBody>
      </p:sp>
      <p:sp>
        <p:nvSpPr>
          <p:cNvPr id="6" name="object 6"/>
          <p:cNvSpPr txBox="1"/>
          <p:nvPr/>
        </p:nvSpPr>
        <p:spPr>
          <a:xfrm>
            <a:off x="1382649" y="1443990"/>
            <a:ext cx="1839595" cy="574040"/>
          </a:xfrm>
          <a:prstGeom prst="rect">
            <a:avLst/>
          </a:prstGeom>
        </p:spPr>
        <p:txBody>
          <a:bodyPr vert="horz" wrap="square" lIns="0" tIns="12700" rIns="0" bIns="0" rtlCol="0">
            <a:spAutoFit/>
          </a:bodyPr>
          <a:lstStyle/>
          <a:p>
            <a:pPr marL="12700" marR="5080" indent="154940">
              <a:lnSpc>
                <a:spcPct val="100000"/>
              </a:lnSpc>
              <a:spcBef>
                <a:spcPts val="100"/>
              </a:spcBef>
            </a:pPr>
            <a:r>
              <a:rPr sz="1800" b="1" spc="-5">
                <a:solidFill>
                  <a:srgbClr val="6FAC0F"/>
                </a:solidFill>
                <a:latin typeface="Verdana"/>
                <a:cs typeface="Verdana"/>
              </a:rPr>
              <a:t>Excel </a:t>
            </a:r>
            <a:r>
              <a:rPr sz="1800" b="1">
                <a:solidFill>
                  <a:srgbClr val="6FAC0F"/>
                </a:solidFill>
                <a:latin typeface="Verdana"/>
                <a:cs typeface="Verdana"/>
              </a:rPr>
              <a:t>at </a:t>
            </a:r>
            <a:r>
              <a:rPr sz="1800" b="1" spc="-10">
                <a:solidFill>
                  <a:srgbClr val="6FAC0F"/>
                </a:solidFill>
                <a:latin typeface="Verdana"/>
                <a:cs typeface="Verdana"/>
              </a:rPr>
              <a:t>the  </a:t>
            </a:r>
            <a:r>
              <a:rPr sz="1800" b="1">
                <a:solidFill>
                  <a:srgbClr val="6FAC0F"/>
                </a:solidFill>
                <a:latin typeface="Verdana"/>
                <a:cs typeface="Verdana"/>
              </a:rPr>
              <a:t>F</a:t>
            </a:r>
            <a:r>
              <a:rPr sz="1800" b="1" spc="-5">
                <a:solidFill>
                  <a:srgbClr val="6FAC0F"/>
                </a:solidFill>
                <a:latin typeface="Verdana"/>
                <a:cs typeface="Verdana"/>
              </a:rPr>
              <a:t>un</a:t>
            </a:r>
            <a:r>
              <a:rPr sz="1800" b="1">
                <a:solidFill>
                  <a:srgbClr val="6FAC0F"/>
                </a:solidFill>
                <a:latin typeface="Verdana"/>
                <a:cs typeface="Verdana"/>
              </a:rPr>
              <a:t>dame</a:t>
            </a:r>
            <a:r>
              <a:rPr sz="1800" b="1" spc="-5">
                <a:solidFill>
                  <a:srgbClr val="6FAC0F"/>
                </a:solidFill>
                <a:latin typeface="Verdana"/>
                <a:cs typeface="Verdana"/>
              </a:rPr>
              <a:t>nta</a:t>
            </a:r>
            <a:r>
              <a:rPr sz="1800" b="1" spc="-10">
                <a:solidFill>
                  <a:srgbClr val="6FAC0F"/>
                </a:solidFill>
                <a:latin typeface="Verdana"/>
                <a:cs typeface="Verdana"/>
              </a:rPr>
              <a:t>l</a:t>
            </a:r>
            <a:r>
              <a:rPr sz="1800" b="1">
                <a:solidFill>
                  <a:srgbClr val="6FAC0F"/>
                </a:solidFill>
                <a:latin typeface="Verdana"/>
                <a:cs typeface="Verdana"/>
              </a:rPr>
              <a:t>s</a:t>
            </a:r>
            <a:endParaRPr sz="1800">
              <a:latin typeface="Verdana"/>
              <a:cs typeface="Verdana"/>
            </a:endParaRPr>
          </a:p>
        </p:txBody>
      </p:sp>
      <p:sp>
        <p:nvSpPr>
          <p:cNvPr id="7" name="object 7"/>
          <p:cNvSpPr/>
          <p:nvPr/>
        </p:nvSpPr>
        <p:spPr>
          <a:xfrm>
            <a:off x="356615" y="1348739"/>
            <a:ext cx="731520" cy="718185"/>
          </a:xfrm>
          <a:custGeom>
            <a:avLst/>
            <a:gdLst/>
            <a:ahLst/>
            <a:cxnLst/>
            <a:rect l="l" t="t" r="r" b="b"/>
            <a:pathLst>
              <a:path w="731519" h="718185">
                <a:moveTo>
                  <a:pt x="611886" y="0"/>
                </a:moveTo>
                <a:lnTo>
                  <a:pt x="119634" y="0"/>
                </a:lnTo>
                <a:lnTo>
                  <a:pt x="73069" y="9405"/>
                </a:lnTo>
                <a:lnTo>
                  <a:pt x="35042" y="35052"/>
                </a:lnTo>
                <a:lnTo>
                  <a:pt x="9402" y="73080"/>
                </a:lnTo>
                <a:lnTo>
                  <a:pt x="0" y="119634"/>
                </a:lnTo>
                <a:lnTo>
                  <a:pt x="0" y="598170"/>
                </a:lnTo>
                <a:lnTo>
                  <a:pt x="9402" y="644723"/>
                </a:lnTo>
                <a:lnTo>
                  <a:pt x="35042" y="682751"/>
                </a:lnTo>
                <a:lnTo>
                  <a:pt x="73069" y="708398"/>
                </a:lnTo>
                <a:lnTo>
                  <a:pt x="119634" y="717804"/>
                </a:lnTo>
                <a:lnTo>
                  <a:pt x="611886" y="717804"/>
                </a:lnTo>
                <a:lnTo>
                  <a:pt x="658450" y="708398"/>
                </a:lnTo>
                <a:lnTo>
                  <a:pt x="696477" y="682751"/>
                </a:lnTo>
                <a:lnTo>
                  <a:pt x="722117" y="644723"/>
                </a:lnTo>
                <a:lnTo>
                  <a:pt x="731520" y="598170"/>
                </a:lnTo>
                <a:lnTo>
                  <a:pt x="731520" y="119634"/>
                </a:lnTo>
                <a:lnTo>
                  <a:pt x="722117" y="73080"/>
                </a:lnTo>
                <a:lnTo>
                  <a:pt x="696477" y="35052"/>
                </a:lnTo>
                <a:lnTo>
                  <a:pt x="658450" y="9405"/>
                </a:lnTo>
                <a:lnTo>
                  <a:pt x="611886" y="0"/>
                </a:lnTo>
                <a:close/>
              </a:path>
            </a:pathLst>
          </a:custGeom>
          <a:solidFill>
            <a:srgbClr val="FFFFFF"/>
          </a:solidFill>
        </p:spPr>
        <p:txBody>
          <a:bodyPr wrap="square" lIns="0" tIns="0" rIns="0" bIns="0" rtlCol="0"/>
          <a:lstStyle/>
          <a:p>
            <a:endParaRPr/>
          </a:p>
        </p:txBody>
      </p:sp>
      <p:sp>
        <p:nvSpPr>
          <p:cNvPr id="8" name="object 8"/>
          <p:cNvSpPr/>
          <p:nvPr/>
        </p:nvSpPr>
        <p:spPr>
          <a:xfrm>
            <a:off x="356615" y="1348739"/>
            <a:ext cx="731520" cy="718185"/>
          </a:xfrm>
          <a:custGeom>
            <a:avLst/>
            <a:gdLst/>
            <a:ahLst/>
            <a:cxnLst/>
            <a:rect l="l" t="t" r="r" b="b"/>
            <a:pathLst>
              <a:path w="731519" h="718185">
                <a:moveTo>
                  <a:pt x="0" y="119634"/>
                </a:moveTo>
                <a:lnTo>
                  <a:pt x="9402" y="73080"/>
                </a:lnTo>
                <a:lnTo>
                  <a:pt x="35042" y="35052"/>
                </a:lnTo>
                <a:lnTo>
                  <a:pt x="73069" y="9405"/>
                </a:lnTo>
                <a:lnTo>
                  <a:pt x="119634" y="0"/>
                </a:lnTo>
                <a:lnTo>
                  <a:pt x="611886" y="0"/>
                </a:lnTo>
                <a:lnTo>
                  <a:pt x="658450" y="9405"/>
                </a:lnTo>
                <a:lnTo>
                  <a:pt x="696477" y="35052"/>
                </a:lnTo>
                <a:lnTo>
                  <a:pt x="722117" y="73080"/>
                </a:lnTo>
                <a:lnTo>
                  <a:pt x="731520" y="119634"/>
                </a:lnTo>
                <a:lnTo>
                  <a:pt x="731520" y="598170"/>
                </a:lnTo>
                <a:lnTo>
                  <a:pt x="722117" y="644723"/>
                </a:lnTo>
                <a:lnTo>
                  <a:pt x="696477" y="682751"/>
                </a:lnTo>
                <a:lnTo>
                  <a:pt x="658450" y="708398"/>
                </a:lnTo>
                <a:lnTo>
                  <a:pt x="611886" y="717804"/>
                </a:lnTo>
                <a:lnTo>
                  <a:pt x="119634" y="717804"/>
                </a:lnTo>
                <a:lnTo>
                  <a:pt x="73069" y="708398"/>
                </a:lnTo>
                <a:lnTo>
                  <a:pt x="35042" y="682751"/>
                </a:lnTo>
                <a:lnTo>
                  <a:pt x="9402" y="644723"/>
                </a:lnTo>
                <a:lnTo>
                  <a:pt x="0" y="598170"/>
                </a:lnTo>
                <a:lnTo>
                  <a:pt x="0" y="119634"/>
                </a:lnTo>
                <a:close/>
              </a:path>
            </a:pathLst>
          </a:custGeom>
          <a:ln w="12192">
            <a:solidFill>
              <a:srgbClr val="6FAC0F"/>
            </a:solidFill>
          </a:ln>
        </p:spPr>
        <p:txBody>
          <a:bodyPr wrap="square" lIns="0" tIns="0" rIns="0" bIns="0" rtlCol="0"/>
          <a:lstStyle/>
          <a:p>
            <a:endParaRPr/>
          </a:p>
        </p:txBody>
      </p:sp>
      <p:sp>
        <p:nvSpPr>
          <p:cNvPr id="9" name="object 9"/>
          <p:cNvSpPr/>
          <p:nvPr/>
        </p:nvSpPr>
        <p:spPr>
          <a:xfrm>
            <a:off x="620268" y="2439923"/>
            <a:ext cx="3221990" cy="3874135"/>
          </a:xfrm>
          <a:custGeom>
            <a:avLst/>
            <a:gdLst/>
            <a:ahLst/>
            <a:cxnLst/>
            <a:rect l="l" t="t" r="r" b="b"/>
            <a:pathLst>
              <a:path w="3221990" h="3874135">
                <a:moveTo>
                  <a:pt x="0" y="3874007"/>
                </a:moveTo>
                <a:lnTo>
                  <a:pt x="3221735" y="3874007"/>
                </a:lnTo>
                <a:lnTo>
                  <a:pt x="3221735" y="0"/>
                </a:lnTo>
                <a:lnTo>
                  <a:pt x="0" y="0"/>
                </a:lnTo>
                <a:lnTo>
                  <a:pt x="0" y="3874007"/>
                </a:lnTo>
                <a:close/>
              </a:path>
            </a:pathLst>
          </a:custGeom>
          <a:solidFill>
            <a:srgbClr val="EBEBEB"/>
          </a:solidFill>
        </p:spPr>
        <p:txBody>
          <a:bodyPr wrap="square" lIns="0" tIns="0" rIns="0" bIns="0" rtlCol="0"/>
          <a:lstStyle/>
          <a:p>
            <a:endParaRPr/>
          </a:p>
        </p:txBody>
      </p:sp>
      <p:sp>
        <p:nvSpPr>
          <p:cNvPr id="10" name="object 10"/>
          <p:cNvSpPr/>
          <p:nvPr/>
        </p:nvSpPr>
        <p:spPr>
          <a:xfrm>
            <a:off x="775716" y="3563111"/>
            <a:ext cx="2910840" cy="76200"/>
          </a:xfrm>
          <a:custGeom>
            <a:avLst/>
            <a:gdLst/>
            <a:ahLst/>
            <a:cxnLst/>
            <a:rect l="l" t="t" r="r" b="b"/>
            <a:pathLst>
              <a:path w="2910840" h="76200">
                <a:moveTo>
                  <a:pt x="38100" y="0"/>
                </a:moveTo>
                <a:lnTo>
                  <a:pt x="23268" y="2988"/>
                </a:lnTo>
                <a:lnTo>
                  <a:pt x="11158" y="11144"/>
                </a:lnTo>
                <a:lnTo>
                  <a:pt x="2993" y="23252"/>
                </a:lnTo>
                <a:lnTo>
                  <a:pt x="0" y="38100"/>
                </a:lnTo>
                <a:lnTo>
                  <a:pt x="2993" y="52947"/>
                </a:lnTo>
                <a:lnTo>
                  <a:pt x="11158" y="65055"/>
                </a:lnTo>
                <a:lnTo>
                  <a:pt x="23268" y="73211"/>
                </a:lnTo>
                <a:lnTo>
                  <a:pt x="38100" y="76200"/>
                </a:lnTo>
                <a:lnTo>
                  <a:pt x="52931" y="73211"/>
                </a:lnTo>
                <a:lnTo>
                  <a:pt x="65041" y="65055"/>
                </a:lnTo>
                <a:lnTo>
                  <a:pt x="73206" y="52947"/>
                </a:lnTo>
                <a:lnTo>
                  <a:pt x="74919" y="44450"/>
                </a:lnTo>
                <a:lnTo>
                  <a:pt x="38100" y="44450"/>
                </a:lnTo>
                <a:lnTo>
                  <a:pt x="38100" y="31750"/>
                </a:lnTo>
                <a:lnTo>
                  <a:pt x="74919" y="31750"/>
                </a:lnTo>
                <a:lnTo>
                  <a:pt x="73206" y="23252"/>
                </a:lnTo>
                <a:lnTo>
                  <a:pt x="65041" y="11144"/>
                </a:lnTo>
                <a:lnTo>
                  <a:pt x="52931" y="2988"/>
                </a:lnTo>
                <a:lnTo>
                  <a:pt x="38100" y="0"/>
                </a:lnTo>
                <a:close/>
              </a:path>
              <a:path w="2910840" h="76200">
                <a:moveTo>
                  <a:pt x="2872740" y="0"/>
                </a:moveTo>
                <a:lnTo>
                  <a:pt x="2857892" y="2988"/>
                </a:lnTo>
                <a:lnTo>
                  <a:pt x="2845784" y="11144"/>
                </a:lnTo>
                <a:lnTo>
                  <a:pt x="2837628" y="23252"/>
                </a:lnTo>
                <a:lnTo>
                  <a:pt x="2834640" y="38100"/>
                </a:lnTo>
                <a:lnTo>
                  <a:pt x="2837628" y="52947"/>
                </a:lnTo>
                <a:lnTo>
                  <a:pt x="2845784" y="65055"/>
                </a:lnTo>
                <a:lnTo>
                  <a:pt x="2857892" y="73211"/>
                </a:lnTo>
                <a:lnTo>
                  <a:pt x="2872740" y="76200"/>
                </a:lnTo>
                <a:lnTo>
                  <a:pt x="2887587" y="73211"/>
                </a:lnTo>
                <a:lnTo>
                  <a:pt x="2899695" y="65055"/>
                </a:lnTo>
                <a:lnTo>
                  <a:pt x="2907851" y="52947"/>
                </a:lnTo>
                <a:lnTo>
                  <a:pt x="2909561" y="44450"/>
                </a:lnTo>
                <a:lnTo>
                  <a:pt x="2872740" y="44450"/>
                </a:lnTo>
                <a:lnTo>
                  <a:pt x="2872740" y="31750"/>
                </a:lnTo>
                <a:lnTo>
                  <a:pt x="2909561" y="31750"/>
                </a:lnTo>
                <a:lnTo>
                  <a:pt x="2907851" y="23252"/>
                </a:lnTo>
                <a:lnTo>
                  <a:pt x="2899695" y="11144"/>
                </a:lnTo>
                <a:lnTo>
                  <a:pt x="2887587" y="2988"/>
                </a:lnTo>
                <a:lnTo>
                  <a:pt x="2872740" y="0"/>
                </a:lnTo>
                <a:close/>
              </a:path>
              <a:path w="2910840" h="76200">
                <a:moveTo>
                  <a:pt x="74919" y="31750"/>
                </a:moveTo>
                <a:lnTo>
                  <a:pt x="38100" y="31750"/>
                </a:lnTo>
                <a:lnTo>
                  <a:pt x="38100" y="44450"/>
                </a:lnTo>
                <a:lnTo>
                  <a:pt x="74919" y="44450"/>
                </a:lnTo>
                <a:lnTo>
                  <a:pt x="76200" y="38100"/>
                </a:lnTo>
                <a:lnTo>
                  <a:pt x="74919" y="31750"/>
                </a:lnTo>
                <a:close/>
              </a:path>
              <a:path w="2910840" h="76200">
                <a:moveTo>
                  <a:pt x="2835918" y="31750"/>
                </a:moveTo>
                <a:lnTo>
                  <a:pt x="74919" y="31750"/>
                </a:lnTo>
                <a:lnTo>
                  <a:pt x="76200" y="38100"/>
                </a:lnTo>
                <a:lnTo>
                  <a:pt x="74919" y="44450"/>
                </a:lnTo>
                <a:lnTo>
                  <a:pt x="2835918" y="44450"/>
                </a:lnTo>
                <a:lnTo>
                  <a:pt x="2834640" y="38100"/>
                </a:lnTo>
                <a:lnTo>
                  <a:pt x="2835918" y="31750"/>
                </a:lnTo>
                <a:close/>
              </a:path>
              <a:path w="2910840" h="76200">
                <a:moveTo>
                  <a:pt x="2909561" y="31750"/>
                </a:moveTo>
                <a:lnTo>
                  <a:pt x="2872740" y="31750"/>
                </a:lnTo>
                <a:lnTo>
                  <a:pt x="2872740" y="44450"/>
                </a:lnTo>
                <a:lnTo>
                  <a:pt x="2909561" y="44450"/>
                </a:lnTo>
                <a:lnTo>
                  <a:pt x="2910840" y="38100"/>
                </a:lnTo>
                <a:lnTo>
                  <a:pt x="2909561" y="31750"/>
                </a:lnTo>
                <a:close/>
              </a:path>
            </a:pathLst>
          </a:custGeom>
          <a:solidFill>
            <a:srgbClr val="6FAC0F"/>
          </a:solidFill>
        </p:spPr>
        <p:txBody>
          <a:bodyPr wrap="square" lIns="0" tIns="0" rIns="0" bIns="0" rtlCol="0"/>
          <a:lstStyle/>
          <a:p>
            <a:endParaRPr/>
          </a:p>
        </p:txBody>
      </p:sp>
      <p:sp>
        <p:nvSpPr>
          <p:cNvPr id="11" name="object 11"/>
          <p:cNvSpPr/>
          <p:nvPr/>
        </p:nvSpPr>
        <p:spPr>
          <a:xfrm>
            <a:off x="775716" y="4844796"/>
            <a:ext cx="2910840" cy="76200"/>
          </a:xfrm>
          <a:custGeom>
            <a:avLst/>
            <a:gdLst/>
            <a:ahLst/>
            <a:cxnLst/>
            <a:rect l="l" t="t" r="r" b="b"/>
            <a:pathLst>
              <a:path w="2910840" h="76200">
                <a:moveTo>
                  <a:pt x="38100" y="0"/>
                </a:moveTo>
                <a:lnTo>
                  <a:pt x="23268" y="2988"/>
                </a:lnTo>
                <a:lnTo>
                  <a:pt x="11158" y="11144"/>
                </a:lnTo>
                <a:lnTo>
                  <a:pt x="2993" y="23252"/>
                </a:lnTo>
                <a:lnTo>
                  <a:pt x="0" y="38099"/>
                </a:lnTo>
                <a:lnTo>
                  <a:pt x="2993" y="52947"/>
                </a:lnTo>
                <a:lnTo>
                  <a:pt x="11158" y="65055"/>
                </a:lnTo>
                <a:lnTo>
                  <a:pt x="23268" y="73211"/>
                </a:lnTo>
                <a:lnTo>
                  <a:pt x="38100" y="76199"/>
                </a:lnTo>
                <a:lnTo>
                  <a:pt x="52931" y="73211"/>
                </a:lnTo>
                <a:lnTo>
                  <a:pt x="65041" y="65055"/>
                </a:lnTo>
                <a:lnTo>
                  <a:pt x="73206" y="52947"/>
                </a:lnTo>
                <a:lnTo>
                  <a:pt x="74919" y="44449"/>
                </a:lnTo>
                <a:lnTo>
                  <a:pt x="38100" y="44449"/>
                </a:lnTo>
                <a:lnTo>
                  <a:pt x="38100" y="31749"/>
                </a:lnTo>
                <a:lnTo>
                  <a:pt x="74919" y="31749"/>
                </a:lnTo>
                <a:lnTo>
                  <a:pt x="73206" y="23252"/>
                </a:lnTo>
                <a:lnTo>
                  <a:pt x="65041" y="11144"/>
                </a:lnTo>
                <a:lnTo>
                  <a:pt x="52931" y="2988"/>
                </a:lnTo>
                <a:lnTo>
                  <a:pt x="38100" y="0"/>
                </a:lnTo>
                <a:close/>
              </a:path>
              <a:path w="2910840" h="76200">
                <a:moveTo>
                  <a:pt x="2872740" y="0"/>
                </a:moveTo>
                <a:lnTo>
                  <a:pt x="2857892" y="2988"/>
                </a:lnTo>
                <a:lnTo>
                  <a:pt x="2845784" y="11144"/>
                </a:lnTo>
                <a:lnTo>
                  <a:pt x="2837628" y="23252"/>
                </a:lnTo>
                <a:lnTo>
                  <a:pt x="2834640" y="38099"/>
                </a:lnTo>
                <a:lnTo>
                  <a:pt x="2837628" y="52947"/>
                </a:lnTo>
                <a:lnTo>
                  <a:pt x="2845784" y="65055"/>
                </a:lnTo>
                <a:lnTo>
                  <a:pt x="2857892" y="73211"/>
                </a:lnTo>
                <a:lnTo>
                  <a:pt x="2872740" y="76199"/>
                </a:lnTo>
                <a:lnTo>
                  <a:pt x="2887587" y="73211"/>
                </a:lnTo>
                <a:lnTo>
                  <a:pt x="2899695" y="65055"/>
                </a:lnTo>
                <a:lnTo>
                  <a:pt x="2907851" y="52947"/>
                </a:lnTo>
                <a:lnTo>
                  <a:pt x="2909561" y="44449"/>
                </a:lnTo>
                <a:lnTo>
                  <a:pt x="2872740" y="44449"/>
                </a:lnTo>
                <a:lnTo>
                  <a:pt x="2872740" y="31749"/>
                </a:lnTo>
                <a:lnTo>
                  <a:pt x="2909561" y="31749"/>
                </a:lnTo>
                <a:lnTo>
                  <a:pt x="2907851" y="23252"/>
                </a:lnTo>
                <a:lnTo>
                  <a:pt x="2899695" y="11144"/>
                </a:lnTo>
                <a:lnTo>
                  <a:pt x="2887587" y="2988"/>
                </a:lnTo>
                <a:lnTo>
                  <a:pt x="2872740" y="0"/>
                </a:lnTo>
                <a:close/>
              </a:path>
              <a:path w="2910840" h="76200">
                <a:moveTo>
                  <a:pt x="74919" y="31749"/>
                </a:moveTo>
                <a:lnTo>
                  <a:pt x="38100" y="31749"/>
                </a:lnTo>
                <a:lnTo>
                  <a:pt x="38100" y="44449"/>
                </a:lnTo>
                <a:lnTo>
                  <a:pt x="74919" y="44449"/>
                </a:lnTo>
                <a:lnTo>
                  <a:pt x="76200" y="38099"/>
                </a:lnTo>
                <a:lnTo>
                  <a:pt x="74919" y="31749"/>
                </a:lnTo>
                <a:close/>
              </a:path>
              <a:path w="2910840" h="76200">
                <a:moveTo>
                  <a:pt x="2835918" y="31749"/>
                </a:moveTo>
                <a:lnTo>
                  <a:pt x="74919" y="31749"/>
                </a:lnTo>
                <a:lnTo>
                  <a:pt x="76200" y="38099"/>
                </a:lnTo>
                <a:lnTo>
                  <a:pt x="74919" y="44449"/>
                </a:lnTo>
                <a:lnTo>
                  <a:pt x="2835918" y="44449"/>
                </a:lnTo>
                <a:lnTo>
                  <a:pt x="2834640" y="38099"/>
                </a:lnTo>
                <a:lnTo>
                  <a:pt x="2835918" y="31749"/>
                </a:lnTo>
                <a:close/>
              </a:path>
              <a:path w="2910840" h="76200">
                <a:moveTo>
                  <a:pt x="2909561" y="31749"/>
                </a:moveTo>
                <a:lnTo>
                  <a:pt x="2872740" y="31749"/>
                </a:lnTo>
                <a:lnTo>
                  <a:pt x="2872740" y="44449"/>
                </a:lnTo>
                <a:lnTo>
                  <a:pt x="2909561" y="44449"/>
                </a:lnTo>
                <a:lnTo>
                  <a:pt x="2910840" y="38099"/>
                </a:lnTo>
                <a:lnTo>
                  <a:pt x="2909561" y="31749"/>
                </a:lnTo>
                <a:close/>
              </a:path>
            </a:pathLst>
          </a:custGeom>
          <a:solidFill>
            <a:srgbClr val="6FAC0F"/>
          </a:solidFill>
        </p:spPr>
        <p:txBody>
          <a:bodyPr wrap="square" lIns="0" tIns="0" rIns="0" bIns="0" rtlCol="0"/>
          <a:lstStyle/>
          <a:p>
            <a:endParaRPr/>
          </a:p>
        </p:txBody>
      </p:sp>
      <p:sp>
        <p:nvSpPr>
          <p:cNvPr id="12" name="object 12"/>
          <p:cNvSpPr/>
          <p:nvPr/>
        </p:nvSpPr>
        <p:spPr>
          <a:xfrm>
            <a:off x="443483" y="1483613"/>
            <a:ext cx="509270" cy="476250"/>
          </a:xfrm>
          <a:custGeom>
            <a:avLst/>
            <a:gdLst/>
            <a:ahLst/>
            <a:cxnLst/>
            <a:rect l="l" t="t" r="r" b="b"/>
            <a:pathLst>
              <a:path w="509269" h="476250">
                <a:moveTo>
                  <a:pt x="374688" y="276860"/>
                </a:moveTo>
                <a:lnTo>
                  <a:pt x="372922" y="276860"/>
                </a:lnTo>
                <a:lnTo>
                  <a:pt x="370268" y="278129"/>
                </a:lnTo>
                <a:lnTo>
                  <a:pt x="355168" y="287020"/>
                </a:lnTo>
                <a:lnTo>
                  <a:pt x="344208" y="294639"/>
                </a:lnTo>
                <a:lnTo>
                  <a:pt x="341109" y="295910"/>
                </a:lnTo>
                <a:lnTo>
                  <a:pt x="340410" y="295910"/>
                </a:lnTo>
                <a:lnTo>
                  <a:pt x="339699" y="297179"/>
                </a:lnTo>
                <a:lnTo>
                  <a:pt x="339344" y="297179"/>
                </a:lnTo>
                <a:lnTo>
                  <a:pt x="339344" y="298450"/>
                </a:lnTo>
                <a:lnTo>
                  <a:pt x="340189" y="303529"/>
                </a:lnTo>
                <a:lnTo>
                  <a:pt x="342725" y="311150"/>
                </a:lnTo>
                <a:lnTo>
                  <a:pt x="346952" y="321310"/>
                </a:lnTo>
                <a:lnTo>
                  <a:pt x="352869" y="335279"/>
                </a:lnTo>
                <a:lnTo>
                  <a:pt x="349859" y="339089"/>
                </a:lnTo>
                <a:lnTo>
                  <a:pt x="347205" y="344170"/>
                </a:lnTo>
                <a:lnTo>
                  <a:pt x="344906" y="349250"/>
                </a:lnTo>
                <a:lnTo>
                  <a:pt x="327628" y="351789"/>
                </a:lnTo>
                <a:lnTo>
                  <a:pt x="315285" y="354329"/>
                </a:lnTo>
                <a:lnTo>
                  <a:pt x="307878" y="355600"/>
                </a:lnTo>
                <a:lnTo>
                  <a:pt x="305409" y="358139"/>
                </a:lnTo>
                <a:lnTo>
                  <a:pt x="305409" y="396239"/>
                </a:lnTo>
                <a:lnTo>
                  <a:pt x="307878" y="397510"/>
                </a:lnTo>
                <a:lnTo>
                  <a:pt x="315285" y="400050"/>
                </a:lnTo>
                <a:lnTo>
                  <a:pt x="327628" y="402589"/>
                </a:lnTo>
                <a:lnTo>
                  <a:pt x="344906" y="403860"/>
                </a:lnTo>
                <a:lnTo>
                  <a:pt x="347027" y="408939"/>
                </a:lnTo>
                <a:lnTo>
                  <a:pt x="349681" y="414020"/>
                </a:lnTo>
                <a:lnTo>
                  <a:pt x="352869" y="417829"/>
                </a:lnTo>
                <a:lnTo>
                  <a:pt x="346952" y="431800"/>
                </a:lnTo>
                <a:lnTo>
                  <a:pt x="342725" y="443229"/>
                </a:lnTo>
                <a:lnTo>
                  <a:pt x="340189" y="450850"/>
                </a:lnTo>
                <a:lnTo>
                  <a:pt x="339344" y="455929"/>
                </a:lnTo>
                <a:lnTo>
                  <a:pt x="339699" y="457200"/>
                </a:lnTo>
                <a:lnTo>
                  <a:pt x="340410" y="457200"/>
                </a:lnTo>
                <a:lnTo>
                  <a:pt x="364793" y="472439"/>
                </a:lnTo>
                <a:lnTo>
                  <a:pt x="371023" y="476250"/>
                </a:lnTo>
                <a:lnTo>
                  <a:pt x="374688" y="476250"/>
                </a:lnTo>
                <a:lnTo>
                  <a:pt x="378752" y="472439"/>
                </a:lnTo>
                <a:lnTo>
                  <a:pt x="392188" y="455929"/>
                </a:lnTo>
                <a:lnTo>
                  <a:pt x="396786" y="449579"/>
                </a:lnTo>
                <a:lnTo>
                  <a:pt x="399262" y="445770"/>
                </a:lnTo>
                <a:lnTo>
                  <a:pt x="472545" y="445770"/>
                </a:lnTo>
                <a:lnTo>
                  <a:pt x="471700" y="443229"/>
                </a:lnTo>
                <a:lnTo>
                  <a:pt x="467473" y="431800"/>
                </a:lnTo>
                <a:lnTo>
                  <a:pt x="461556" y="417829"/>
                </a:lnTo>
                <a:lnTo>
                  <a:pt x="464743" y="414020"/>
                </a:lnTo>
                <a:lnTo>
                  <a:pt x="466070" y="411479"/>
                </a:lnTo>
                <a:lnTo>
                  <a:pt x="400442" y="411479"/>
                </a:lnTo>
                <a:lnTo>
                  <a:pt x="394188" y="408939"/>
                </a:lnTo>
                <a:lnTo>
                  <a:pt x="373278" y="377189"/>
                </a:lnTo>
                <a:lnTo>
                  <a:pt x="373907" y="369570"/>
                </a:lnTo>
                <a:lnTo>
                  <a:pt x="400549" y="342900"/>
                </a:lnTo>
                <a:lnTo>
                  <a:pt x="466556" y="342900"/>
                </a:lnTo>
                <a:lnTo>
                  <a:pt x="464566" y="339089"/>
                </a:lnTo>
                <a:lnTo>
                  <a:pt x="461556" y="335279"/>
                </a:lnTo>
                <a:lnTo>
                  <a:pt x="467473" y="321310"/>
                </a:lnTo>
                <a:lnTo>
                  <a:pt x="471700" y="311150"/>
                </a:lnTo>
                <a:lnTo>
                  <a:pt x="472545" y="308610"/>
                </a:lnTo>
                <a:lnTo>
                  <a:pt x="399262" y="308610"/>
                </a:lnTo>
                <a:lnTo>
                  <a:pt x="396786" y="304800"/>
                </a:lnTo>
                <a:lnTo>
                  <a:pt x="392188" y="298450"/>
                </a:lnTo>
                <a:lnTo>
                  <a:pt x="378752" y="281939"/>
                </a:lnTo>
                <a:lnTo>
                  <a:pt x="374688" y="276860"/>
                </a:lnTo>
                <a:close/>
              </a:path>
              <a:path w="509269" h="476250">
                <a:moveTo>
                  <a:pt x="472545" y="445770"/>
                </a:moveTo>
                <a:lnTo>
                  <a:pt x="415163" y="445770"/>
                </a:lnTo>
                <a:lnTo>
                  <a:pt x="417639" y="449579"/>
                </a:lnTo>
                <a:lnTo>
                  <a:pt x="422236" y="455929"/>
                </a:lnTo>
                <a:lnTo>
                  <a:pt x="435673" y="472439"/>
                </a:lnTo>
                <a:lnTo>
                  <a:pt x="439737" y="476250"/>
                </a:lnTo>
                <a:lnTo>
                  <a:pt x="443402" y="476250"/>
                </a:lnTo>
                <a:lnTo>
                  <a:pt x="449632" y="472439"/>
                </a:lnTo>
                <a:lnTo>
                  <a:pt x="474014" y="457200"/>
                </a:lnTo>
                <a:lnTo>
                  <a:pt x="474725" y="457200"/>
                </a:lnTo>
                <a:lnTo>
                  <a:pt x="475081" y="455929"/>
                </a:lnTo>
                <a:lnTo>
                  <a:pt x="474236" y="450850"/>
                </a:lnTo>
                <a:lnTo>
                  <a:pt x="472545" y="445770"/>
                </a:lnTo>
                <a:close/>
              </a:path>
              <a:path w="509269" h="476250">
                <a:moveTo>
                  <a:pt x="226610" y="355600"/>
                </a:moveTo>
                <a:lnTo>
                  <a:pt x="111086" y="355600"/>
                </a:lnTo>
                <a:lnTo>
                  <a:pt x="118325" y="358139"/>
                </a:lnTo>
                <a:lnTo>
                  <a:pt x="124955" y="361950"/>
                </a:lnTo>
                <a:lnTo>
                  <a:pt x="130962" y="363220"/>
                </a:lnTo>
                <a:lnTo>
                  <a:pt x="137236" y="406400"/>
                </a:lnTo>
                <a:lnTo>
                  <a:pt x="138125" y="407670"/>
                </a:lnTo>
                <a:lnTo>
                  <a:pt x="141300" y="411479"/>
                </a:lnTo>
                <a:lnTo>
                  <a:pt x="198386" y="411479"/>
                </a:lnTo>
                <a:lnTo>
                  <a:pt x="208381" y="363220"/>
                </a:lnTo>
                <a:lnTo>
                  <a:pt x="215442" y="360679"/>
                </a:lnTo>
                <a:lnTo>
                  <a:pt x="222250" y="358139"/>
                </a:lnTo>
                <a:lnTo>
                  <a:pt x="226610" y="355600"/>
                </a:lnTo>
                <a:close/>
              </a:path>
              <a:path w="509269" h="476250">
                <a:moveTo>
                  <a:pt x="466556" y="342900"/>
                </a:moveTo>
                <a:lnTo>
                  <a:pt x="413875" y="342900"/>
                </a:lnTo>
                <a:lnTo>
                  <a:pt x="420073" y="345439"/>
                </a:lnTo>
                <a:lnTo>
                  <a:pt x="425806" y="347979"/>
                </a:lnTo>
                <a:lnTo>
                  <a:pt x="441147" y="377189"/>
                </a:lnTo>
                <a:lnTo>
                  <a:pt x="440525" y="383539"/>
                </a:lnTo>
                <a:lnTo>
                  <a:pt x="413983" y="411479"/>
                </a:lnTo>
                <a:lnTo>
                  <a:pt x="466070" y="411479"/>
                </a:lnTo>
                <a:lnTo>
                  <a:pt x="467398" y="408939"/>
                </a:lnTo>
                <a:lnTo>
                  <a:pt x="469519" y="403860"/>
                </a:lnTo>
                <a:lnTo>
                  <a:pt x="486797" y="402589"/>
                </a:lnTo>
                <a:lnTo>
                  <a:pt x="499140" y="400050"/>
                </a:lnTo>
                <a:lnTo>
                  <a:pt x="506546" y="397510"/>
                </a:lnTo>
                <a:lnTo>
                  <a:pt x="509016" y="396239"/>
                </a:lnTo>
                <a:lnTo>
                  <a:pt x="509016" y="358139"/>
                </a:lnTo>
                <a:lnTo>
                  <a:pt x="506546" y="355600"/>
                </a:lnTo>
                <a:lnTo>
                  <a:pt x="499140" y="354329"/>
                </a:lnTo>
                <a:lnTo>
                  <a:pt x="486797" y="351789"/>
                </a:lnTo>
                <a:lnTo>
                  <a:pt x="469519" y="349250"/>
                </a:lnTo>
                <a:lnTo>
                  <a:pt x="467220" y="344170"/>
                </a:lnTo>
                <a:lnTo>
                  <a:pt x="466556" y="342900"/>
                </a:lnTo>
                <a:close/>
              </a:path>
              <a:path w="509269" h="476250">
                <a:moveTo>
                  <a:pt x="76441" y="95250"/>
                </a:moveTo>
                <a:lnTo>
                  <a:pt x="74498" y="95250"/>
                </a:lnTo>
                <a:lnTo>
                  <a:pt x="71297" y="96520"/>
                </a:lnTo>
                <a:lnTo>
                  <a:pt x="40165" y="125729"/>
                </a:lnTo>
                <a:lnTo>
                  <a:pt x="31813" y="135889"/>
                </a:lnTo>
                <a:lnTo>
                  <a:pt x="30581" y="137160"/>
                </a:lnTo>
                <a:lnTo>
                  <a:pt x="29959" y="138429"/>
                </a:lnTo>
                <a:lnTo>
                  <a:pt x="29959" y="142239"/>
                </a:lnTo>
                <a:lnTo>
                  <a:pt x="30581" y="144779"/>
                </a:lnTo>
                <a:lnTo>
                  <a:pt x="31813" y="146050"/>
                </a:lnTo>
                <a:lnTo>
                  <a:pt x="38871" y="154939"/>
                </a:lnTo>
                <a:lnTo>
                  <a:pt x="45202" y="163829"/>
                </a:lnTo>
                <a:lnTo>
                  <a:pt x="50805" y="170179"/>
                </a:lnTo>
                <a:lnTo>
                  <a:pt x="55676" y="177800"/>
                </a:lnTo>
                <a:lnTo>
                  <a:pt x="51955" y="185420"/>
                </a:lnTo>
                <a:lnTo>
                  <a:pt x="49136" y="191770"/>
                </a:lnTo>
                <a:lnTo>
                  <a:pt x="47193" y="198120"/>
                </a:lnTo>
                <a:lnTo>
                  <a:pt x="4508" y="204470"/>
                </a:lnTo>
                <a:lnTo>
                  <a:pt x="3086" y="205739"/>
                </a:lnTo>
                <a:lnTo>
                  <a:pt x="1854" y="207010"/>
                </a:lnTo>
                <a:lnTo>
                  <a:pt x="0" y="210820"/>
                </a:lnTo>
                <a:lnTo>
                  <a:pt x="0" y="265429"/>
                </a:lnTo>
                <a:lnTo>
                  <a:pt x="622" y="266700"/>
                </a:lnTo>
                <a:lnTo>
                  <a:pt x="3086" y="269239"/>
                </a:lnTo>
                <a:lnTo>
                  <a:pt x="4597" y="270510"/>
                </a:lnTo>
                <a:lnTo>
                  <a:pt x="6362" y="270510"/>
                </a:lnTo>
                <a:lnTo>
                  <a:pt x="46659" y="276860"/>
                </a:lnTo>
                <a:lnTo>
                  <a:pt x="48780" y="284479"/>
                </a:lnTo>
                <a:lnTo>
                  <a:pt x="51879" y="292100"/>
                </a:lnTo>
                <a:lnTo>
                  <a:pt x="55943" y="299720"/>
                </a:lnTo>
                <a:lnTo>
                  <a:pt x="53111" y="303529"/>
                </a:lnTo>
                <a:lnTo>
                  <a:pt x="48958" y="308610"/>
                </a:lnTo>
                <a:lnTo>
                  <a:pt x="43484" y="316229"/>
                </a:lnTo>
                <a:lnTo>
                  <a:pt x="34378" y="327660"/>
                </a:lnTo>
                <a:lnTo>
                  <a:pt x="31368" y="332739"/>
                </a:lnTo>
                <a:lnTo>
                  <a:pt x="30759" y="334010"/>
                </a:lnTo>
                <a:lnTo>
                  <a:pt x="30759" y="335279"/>
                </a:lnTo>
                <a:lnTo>
                  <a:pt x="68935" y="378460"/>
                </a:lnTo>
                <a:lnTo>
                  <a:pt x="72555" y="381000"/>
                </a:lnTo>
                <a:lnTo>
                  <a:pt x="78562" y="381000"/>
                </a:lnTo>
                <a:lnTo>
                  <a:pt x="79794" y="379729"/>
                </a:lnTo>
                <a:lnTo>
                  <a:pt x="111086" y="355600"/>
                </a:lnTo>
                <a:lnTo>
                  <a:pt x="226610" y="355600"/>
                </a:lnTo>
                <a:lnTo>
                  <a:pt x="228790" y="354329"/>
                </a:lnTo>
                <a:lnTo>
                  <a:pt x="295376" y="354329"/>
                </a:lnTo>
                <a:lnTo>
                  <a:pt x="303877" y="345439"/>
                </a:lnTo>
                <a:lnTo>
                  <a:pt x="307530" y="340360"/>
                </a:lnTo>
                <a:lnTo>
                  <a:pt x="308762" y="339089"/>
                </a:lnTo>
                <a:lnTo>
                  <a:pt x="309384" y="337820"/>
                </a:lnTo>
                <a:lnTo>
                  <a:pt x="309384" y="334010"/>
                </a:lnTo>
                <a:lnTo>
                  <a:pt x="308762" y="331470"/>
                </a:lnTo>
                <a:lnTo>
                  <a:pt x="307530" y="330200"/>
                </a:lnTo>
                <a:lnTo>
                  <a:pt x="300472" y="321310"/>
                </a:lnTo>
                <a:lnTo>
                  <a:pt x="294141" y="313689"/>
                </a:lnTo>
                <a:lnTo>
                  <a:pt x="289472" y="307339"/>
                </a:lnTo>
                <a:lnTo>
                  <a:pt x="169672" y="307339"/>
                </a:lnTo>
                <a:lnTo>
                  <a:pt x="132142" y="295910"/>
                </a:lnTo>
                <a:lnTo>
                  <a:pt x="106775" y="265429"/>
                </a:lnTo>
                <a:lnTo>
                  <a:pt x="101803" y="238760"/>
                </a:lnTo>
                <a:lnTo>
                  <a:pt x="103046" y="224789"/>
                </a:lnTo>
                <a:lnTo>
                  <a:pt x="121691" y="189229"/>
                </a:lnTo>
                <a:lnTo>
                  <a:pt x="156134" y="170179"/>
                </a:lnTo>
                <a:lnTo>
                  <a:pt x="169672" y="168910"/>
                </a:lnTo>
                <a:lnTo>
                  <a:pt x="289302" y="168910"/>
                </a:lnTo>
                <a:lnTo>
                  <a:pt x="290296" y="167639"/>
                </a:lnTo>
                <a:lnTo>
                  <a:pt x="304609" y="148589"/>
                </a:lnTo>
                <a:lnTo>
                  <a:pt x="306730" y="146050"/>
                </a:lnTo>
                <a:lnTo>
                  <a:pt x="307975" y="144779"/>
                </a:lnTo>
                <a:lnTo>
                  <a:pt x="308584" y="142239"/>
                </a:lnTo>
                <a:lnTo>
                  <a:pt x="308584" y="140970"/>
                </a:lnTo>
                <a:lnTo>
                  <a:pt x="306198" y="135889"/>
                </a:lnTo>
                <a:lnTo>
                  <a:pt x="299040" y="127000"/>
                </a:lnTo>
                <a:lnTo>
                  <a:pt x="294268" y="121920"/>
                </a:lnTo>
                <a:lnTo>
                  <a:pt x="110553" y="121920"/>
                </a:lnTo>
                <a:lnTo>
                  <a:pt x="80060" y="97789"/>
                </a:lnTo>
                <a:lnTo>
                  <a:pt x="78295" y="96520"/>
                </a:lnTo>
                <a:lnTo>
                  <a:pt x="76441" y="95250"/>
                </a:lnTo>
                <a:close/>
              </a:path>
              <a:path w="509269" h="476250">
                <a:moveTo>
                  <a:pt x="295376" y="354329"/>
                </a:moveTo>
                <a:lnTo>
                  <a:pt x="228790" y="354329"/>
                </a:lnTo>
                <a:lnTo>
                  <a:pt x="259283" y="379729"/>
                </a:lnTo>
                <a:lnTo>
                  <a:pt x="261048" y="381000"/>
                </a:lnTo>
                <a:lnTo>
                  <a:pt x="264845" y="381000"/>
                </a:lnTo>
                <a:lnTo>
                  <a:pt x="268033" y="379729"/>
                </a:lnTo>
                <a:lnTo>
                  <a:pt x="272567" y="377189"/>
                </a:lnTo>
                <a:lnTo>
                  <a:pt x="278443" y="372110"/>
                </a:lnTo>
                <a:lnTo>
                  <a:pt x="285661" y="364489"/>
                </a:lnTo>
                <a:lnTo>
                  <a:pt x="295376" y="354329"/>
                </a:lnTo>
                <a:close/>
              </a:path>
              <a:path w="509269" h="476250">
                <a:moveTo>
                  <a:pt x="411632" y="307339"/>
                </a:moveTo>
                <a:lnTo>
                  <a:pt x="402793" y="307339"/>
                </a:lnTo>
                <a:lnTo>
                  <a:pt x="399262" y="308610"/>
                </a:lnTo>
                <a:lnTo>
                  <a:pt x="415163" y="308610"/>
                </a:lnTo>
                <a:lnTo>
                  <a:pt x="411632" y="307339"/>
                </a:lnTo>
                <a:close/>
              </a:path>
              <a:path w="509269" h="476250">
                <a:moveTo>
                  <a:pt x="441147" y="276860"/>
                </a:moveTo>
                <a:lnTo>
                  <a:pt x="439559" y="278129"/>
                </a:lnTo>
                <a:lnTo>
                  <a:pt x="433956" y="284479"/>
                </a:lnTo>
                <a:lnTo>
                  <a:pt x="428023" y="290829"/>
                </a:lnTo>
                <a:lnTo>
                  <a:pt x="421759" y="298450"/>
                </a:lnTo>
                <a:lnTo>
                  <a:pt x="415163" y="308610"/>
                </a:lnTo>
                <a:lnTo>
                  <a:pt x="472545" y="308610"/>
                </a:lnTo>
                <a:lnTo>
                  <a:pt x="474236" y="303529"/>
                </a:lnTo>
                <a:lnTo>
                  <a:pt x="475081" y="298450"/>
                </a:lnTo>
                <a:lnTo>
                  <a:pt x="475081" y="297179"/>
                </a:lnTo>
                <a:lnTo>
                  <a:pt x="474725" y="297179"/>
                </a:lnTo>
                <a:lnTo>
                  <a:pt x="474014" y="295910"/>
                </a:lnTo>
                <a:lnTo>
                  <a:pt x="460031" y="288289"/>
                </a:lnTo>
                <a:lnTo>
                  <a:pt x="449894" y="281939"/>
                </a:lnTo>
                <a:lnTo>
                  <a:pt x="443600" y="278129"/>
                </a:lnTo>
                <a:lnTo>
                  <a:pt x="441147" y="276860"/>
                </a:lnTo>
                <a:close/>
              </a:path>
              <a:path w="509269" h="476250">
                <a:moveTo>
                  <a:pt x="289302" y="168910"/>
                </a:moveTo>
                <a:lnTo>
                  <a:pt x="169672" y="168910"/>
                </a:lnTo>
                <a:lnTo>
                  <a:pt x="183209" y="170179"/>
                </a:lnTo>
                <a:lnTo>
                  <a:pt x="195719" y="173989"/>
                </a:lnTo>
                <a:lnTo>
                  <a:pt x="226353" y="199389"/>
                </a:lnTo>
                <a:lnTo>
                  <a:pt x="237540" y="238760"/>
                </a:lnTo>
                <a:lnTo>
                  <a:pt x="236297" y="251460"/>
                </a:lnTo>
                <a:lnTo>
                  <a:pt x="217652" y="287020"/>
                </a:lnTo>
                <a:lnTo>
                  <a:pt x="183209" y="306070"/>
                </a:lnTo>
                <a:lnTo>
                  <a:pt x="169672" y="307339"/>
                </a:lnTo>
                <a:lnTo>
                  <a:pt x="289472" y="307339"/>
                </a:lnTo>
                <a:lnTo>
                  <a:pt x="288538" y="306070"/>
                </a:lnTo>
                <a:lnTo>
                  <a:pt x="283667" y="298450"/>
                </a:lnTo>
                <a:lnTo>
                  <a:pt x="287375" y="292100"/>
                </a:lnTo>
                <a:lnTo>
                  <a:pt x="290207" y="284479"/>
                </a:lnTo>
                <a:lnTo>
                  <a:pt x="292150" y="278129"/>
                </a:lnTo>
                <a:lnTo>
                  <a:pt x="333247" y="271779"/>
                </a:lnTo>
                <a:lnTo>
                  <a:pt x="334835" y="271779"/>
                </a:lnTo>
                <a:lnTo>
                  <a:pt x="336245" y="270510"/>
                </a:lnTo>
                <a:lnTo>
                  <a:pt x="337489" y="269239"/>
                </a:lnTo>
                <a:lnTo>
                  <a:pt x="339344" y="265429"/>
                </a:lnTo>
                <a:lnTo>
                  <a:pt x="339344" y="212089"/>
                </a:lnTo>
                <a:lnTo>
                  <a:pt x="338721" y="209550"/>
                </a:lnTo>
                <a:lnTo>
                  <a:pt x="336245" y="207010"/>
                </a:lnTo>
                <a:lnTo>
                  <a:pt x="334746" y="205739"/>
                </a:lnTo>
                <a:lnTo>
                  <a:pt x="332981" y="205739"/>
                </a:lnTo>
                <a:lnTo>
                  <a:pt x="292684" y="199389"/>
                </a:lnTo>
                <a:lnTo>
                  <a:pt x="290741" y="193039"/>
                </a:lnTo>
                <a:lnTo>
                  <a:pt x="287731" y="185420"/>
                </a:lnTo>
                <a:lnTo>
                  <a:pt x="283667" y="176529"/>
                </a:lnTo>
                <a:lnTo>
                  <a:pt x="286321" y="172720"/>
                </a:lnTo>
                <a:lnTo>
                  <a:pt x="289302" y="168910"/>
                </a:lnTo>
                <a:close/>
              </a:path>
              <a:path w="509269" h="476250">
                <a:moveTo>
                  <a:pt x="374688" y="0"/>
                </a:moveTo>
                <a:lnTo>
                  <a:pt x="372922" y="0"/>
                </a:lnTo>
                <a:lnTo>
                  <a:pt x="370268" y="1270"/>
                </a:lnTo>
                <a:lnTo>
                  <a:pt x="355168" y="10160"/>
                </a:lnTo>
                <a:lnTo>
                  <a:pt x="349681" y="13970"/>
                </a:lnTo>
                <a:lnTo>
                  <a:pt x="341109" y="19050"/>
                </a:lnTo>
                <a:lnTo>
                  <a:pt x="339699" y="19050"/>
                </a:lnTo>
                <a:lnTo>
                  <a:pt x="339344" y="20320"/>
                </a:lnTo>
                <a:lnTo>
                  <a:pt x="340189" y="25400"/>
                </a:lnTo>
                <a:lnTo>
                  <a:pt x="342725" y="33020"/>
                </a:lnTo>
                <a:lnTo>
                  <a:pt x="346952" y="44450"/>
                </a:lnTo>
                <a:lnTo>
                  <a:pt x="352869" y="58420"/>
                </a:lnTo>
                <a:lnTo>
                  <a:pt x="349859" y="62229"/>
                </a:lnTo>
                <a:lnTo>
                  <a:pt x="347205" y="67310"/>
                </a:lnTo>
                <a:lnTo>
                  <a:pt x="344906" y="72389"/>
                </a:lnTo>
                <a:lnTo>
                  <a:pt x="327628" y="73660"/>
                </a:lnTo>
                <a:lnTo>
                  <a:pt x="315285" y="76200"/>
                </a:lnTo>
                <a:lnTo>
                  <a:pt x="307878" y="78739"/>
                </a:lnTo>
                <a:lnTo>
                  <a:pt x="305409" y="81279"/>
                </a:lnTo>
                <a:lnTo>
                  <a:pt x="305409" y="118110"/>
                </a:lnTo>
                <a:lnTo>
                  <a:pt x="307878" y="120650"/>
                </a:lnTo>
                <a:lnTo>
                  <a:pt x="315285" y="123189"/>
                </a:lnTo>
                <a:lnTo>
                  <a:pt x="327628" y="124460"/>
                </a:lnTo>
                <a:lnTo>
                  <a:pt x="344906" y="127000"/>
                </a:lnTo>
                <a:lnTo>
                  <a:pt x="347027" y="132079"/>
                </a:lnTo>
                <a:lnTo>
                  <a:pt x="349681" y="135889"/>
                </a:lnTo>
                <a:lnTo>
                  <a:pt x="352869" y="140970"/>
                </a:lnTo>
                <a:lnTo>
                  <a:pt x="346952" y="154939"/>
                </a:lnTo>
                <a:lnTo>
                  <a:pt x="342725" y="165100"/>
                </a:lnTo>
                <a:lnTo>
                  <a:pt x="340189" y="173989"/>
                </a:lnTo>
                <a:lnTo>
                  <a:pt x="339344" y="177800"/>
                </a:lnTo>
                <a:lnTo>
                  <a:pt x="339344" y="179070"/>
                </a:lnTo>
                <a:lnTo>
                  <a:pt x="339699" y="180339"/>
                </a:lnTo>
                <a:lnTo>
                  <a:pt x="340410" y="180339"/>
                </a:lnTo>
                <a:lnTo>
                  <a:pt x="354588" y="189229"/>
                </a:lnTo>
                <a:lnTo>
                  <a:pt x="364793" y="194310"/>
                </a:lnTo>
                <a:lnTo>
                  <a:pt x="371023" y="198120"/>
                </a:lnTo>
                <a:lnTo>
                  <a:pt x="373278" y="199389"/>
                </a:lnTo>
                <a:lnTo>
                  <a:pt x="374688" y="199389"/>
                </a:lnTo>
                <a:lnTo>
                  <a:pt x="378752" y="195579"/>
                </a:lnTo>
                <a:lnTo>
                  <a:pt x="392188" y="177800"/>
                </a:lnTo>
                <a:lnTo>
                  <a:pt x="396786" y="172720"/>
                </a:lnTo>
                <a:lnTo>
                  <a:pt x="399262" y="168910"/>
                </a:lnTo>
                <a:lnTo>
                  <a:pt x="472787" y="168910"/>
                </a:lnTo>
                <a:lnTo>
                  <a:pt x="471700" y="165100"/>
                </a:lnTo>
                <a:lnTo>
                  <a:pt x="467473" y="154939"/>
                </a:lnTo>
                <a:lnTo>
                  <a:pt x="461556" y="140970"/>
                </a:lnTo>
                <a:lnTo>
                  <a:pt x="464743" y="135889"/>
                </a:lnTo>
                <a:lnTo>
                  <a:pt x="465628" y="134620"/>
                </a:lnTo>
                <a:lnTo>
                  <a:pt x="407212" y="134620"/>
                </a:lnTo>
                <a:lnTo>
                  <a:pt x="400442" y="133350"/>
                </a:lnTo>
                <a:lnTo>
                  <a:pt x="373278" y="99060"/>
                </a:lnTo>
                <a:lnTo>
                  <a:pt x="373907" y="92710"/>
                </a:lnTo>
                <a:lnTo>
                  <a:pt x="407212" y="64770"/>
                </a:lnTo>
                <a:lnTo>
                  <a:pt x="465893" y="64770"/>
                </a:lnTo>
                <a:lnTo>
                  <a:pt x="464566" y="62229"/>
                </a:lnTo>
                <a:lnTo>
                  <a:pt x="461556" y="58420"/>
                </a:lnTo>
                <a:lnTo>
                  <a:pt x="467473" y="44450"/>
                </a:lnTo>
                <a:lnTo>
                  <a:pt x="471700" y="33020"/>
                </a:lnTo>
                <a:lnTo>
                  <a:pt x="472545" y="30479"/>
                </a:lnTo>
                <a:lnTo>
                  <a:pt x="399262" y="30479"/>
                </a:lnTo>
                <a:lnTo>
                  <a:pt x="396786" y="26670"/>
                </a:lnTo>
                <a:lnTo>
                  <a:pt x="392188" y="20320"/>
                </a:lnTo>
                <a:lnTo>
                  <a:pt x="378752" y="3810"/>
                </a:lnTo>
                <a:lnTo>
                  <a:pt x="374688" y="0"/>
                </a:lnTo>
                <a:close/>
              </a:path>
              <a:path w="509269" h="476250">
                <a:moveTo>
                  <a:pt x="472787" y="168910"/>
                </a:moveTo>
                <a:lnTo>
                  <a:pt x="415163" y="168910"/>
                </a:lnTo>
                <a:lnTo>
                  <a:pt x="417639" y="172720"/>
                </a:lnTo>
                <a:lnTo>
                  <a:pt x="422236" y="177800"/>
                </a:lnTo>
                <a:lnTo>
                  <a:pt x="435673" y="195579"/>
                </a:lnTo>
                <a:lnTo>
                  <a:pt x="439737" y="199389"/>
                </a:lnTo>
                <a:lnTo>
                  <a:pt x="441147" y="199389"/>
                </a:lnTo>
                <a:lnTo>
                  <a:pt x="443402" y="198120"/>
                </a:lnTo>
                <a:lnTo>
                  <a:pt x="449632" y="194310"/>
                </a:lnTo>
                <a:lnTo>
                  <a:pt x="459837" y="189229"/>
                </a:lnTo>
                <a:lnTo>
                  <a:pt x="474014" y="180339"/>
                </a:lnTo>
                <a:lnTo>
                  <a:pt x="474725" y="180339"/>
                </a:lnTo>
                <a:lnTo>
                  <a:pt x="475081" y="179070"/>
                </a:lnTo>
                <a:lnTo>
                  <a:pt x="475081" y="177800"/>
                </a:lnTo>
                <a:lnTo>
                  <a:pt x="474236" y="173989"/>
                </a:lnTo>
                <a:lnTo>
                  <a:pt x="472787" y="168910"/>
                </a:lnTo>
                <a:close/>
              </a:path>
              <a:path w="509269" h="476250">
                <a:moveTo>
                  <a:pt x="465893" y="64770"/>
                </a:moveTo>
                <a:lnTo>
                  <a:pt x="407212" y="64770"/>
                </a:lnTo>
                <a:lnTo>
                  <a:pt x="413875" y="66039"/>
                </a:lnTo>
                <a:lnTo>
                  <a:pt x="420073" y="67310"/>
                </a:lnTo>
                <a:lnTo>
                  <a:pt x="441147" y="99060"/>
                </a:lnTo>
                <a:lnTo>
                  <a:pt x="440525" y="106679"/>
                </a:lnTo>
                <a:lnTo>
                  <a:pt x="407212" y="134620"/>
                </a:lnTo>
                <a:lnTo>
                  <a:pt x="465628" y="134620"/>
                </a:lnTo>
                <a:lnTo>
                  <a:pt x="467398" y="132079"/>
                </a:lnTo>
                <a:lnTo>
                  <a:pt x="469519" y="127000"/>
                </a:lnTo>
                <a:lnTo>
                  <a:pt x="486797" y="124460"/>
                </a:lnTo>
                <a:lnTo>
                  <a:pt x="499140" y="123189"/>
                </a:lnTo>
                <a:lnTo>
                  <a:pt x="506546" y="120650"/>
                </a:lnTo>
                <a:lnTo>
                  <a:pt x="509016" y="118110"/>
                </a:lnTo>
                <a:lnTo>
                  <a:pt x="509016" y="81279"/>
                </a:lnTo>
                <a:lnTo>
                  <a:pt x="506546" y="78739"/>
                </a:lnTo>
                <a:lnTo>
                  <a:pt x="499140" y="76200"/>
                </a:lnTo>
                <a:lnTo>
                  <a:pt x="486797" y="73660"/>
                </a:lnTo>
                <a:lnTo>
                  <a:pt x="469519" y="72389"/>
                </a:lnTo>
                <a:lnTo>
                  <a:pt x="467220" y="67310"/>
                </a:lnTo>
                <a:lnTo>
                  <a:pt x="465893" y="64770"/>
                </a:lnTo>
                <a:close/>
              </a:path>
              <a:path w="509269" h="476250">
                <a:moveTo>
                  <a:pt x="196265" y="64770"/>
                </a:moveTo>
                <a:lnTo>
                  <a:pt x="140957" y="64770"/>
                </a:lnTo>
                <a:lnTo>
                  <a:pt x="138303" y="67310"/>
                </a:lnTo>
                <a:lnTo>
                  <a:pt x="130962" y="113029"/>
                </a:lnTo>
                <a:lnTo>
                  <a:pt x="123367" y="115570"/>
                </a:lnTo>
                <a:lnTo>
                  <a:pt x="116560" y="118110"/>
                </a:lnTo>
                <a:lnTo>
                  <a:pt x="110553" y="121920"/>
                </a:lnTo>
                <a:lnTo>
                  <a:pt x="228257" y="121920"/>
                </a:lnTo>
                <a:lnTo>
                  <a:pt x="221018" y="118110"/>
                </a:lnTo>
                <a:lnTo>
                  <a:pt x="214388" y="114300"/>
                </a:lnTo>
                <a:lnTo>
                  <a:pt x="208381" y="113029"/>
                </a:lnTo>
                <a:lnTo>
                  <a:pt x="202107" y="69850"/>
                </a:lnTo>
                <a:lnTo>
                  <a:pt x="201218" y="68579"/>
                </a:lnTo>
                <a:lnTo>
                  <a:pt x="198043" y="66039"/>
                </a:lnTo>
                <a:lnTo>
                  <a:pt x="196265" y="64770"/>
                </a:lnTo>
                <a:close/>
              </a:path>
              <a:path w="509269" h="476250">
                <a:moveTo>
                  <a:pt x="266788" y="95250"/>
                </a:moveTo>
                <a:lnTo>
                  <a:pt x="262724" y="95250"/>
                </a:lnTo>
                <a:lnTo>
                  <a:pt x="260959" y="96520"/>
                </a:lnTo>
                <a:lnTo>
                  <a:pt x="259549" y="97789"/>
                </a:lnTo>
                <a:lnTo>
                  <a:pt x="228257" y="121920"/>
                </a:lnTo>
                <a:lnTo>
                  <a:pt x="294268" y="121920"/>
                </a:lnTo>
                <a:lnTo>
                  <a:pt x="287110" y="114300"/>
                </a:lnTo>
                <a:lnTo>
                  <a:pt x="270408" y="97789"/>
                </a:lnTo>
                <a:lnTo>
                  <a:pt x="268643" y="96520"/>
                </a:lnTo>
                <a:lnTo>
                  <a:pt x="266788" y="95250"/>
                </a:lnTo>
                <a:close/>
              </a:path>
              <a:path w="509269" h="476250">
                <a:moveTo>
                  <a:pt x="441147" y="0"/>
                </a:moveTo>
                <a:lnTo>
                  <a:pt x="439559" y="0"/>
                </a:lnTo>
                <a:lnTo>
                  <a:pt x="433956" y="6350"/>
                </a:lnTo>
                <a:lnTo>
                  <a:pt x="428023" y="13970"/>
                </a:lnTo>
                <a:lnTo>
                  <a:pt x="421759" y="21589"/>
                </a:lnTo>
                <a:lnTo>
                  <a:pt x="415163" y="30479"/>
                </a:lnTo>
                <a:lnTo>
                  <a:pt x="472545" y="30479"/>
                </a:lnTo>
                <a:lnTo>
                  <a:pt x="474236" y="25400"/>
                </a:lnTo>
                <a:lnTo>
                  <a:pt x="475081" y="20320"/>
                </a:lnTo>
                <a:lnTo>
                  <a:pt x="474725" y="19050"/>
                </a:lnTo>
                <a:lnTo>
                  <a:pt x="474014" y="19050"/>
                </a:lnTo>
                <a:lnTo>
                  <a:pt x="460031" y="10160"/>
                </a:lnTo>
                <a:lnTo>
                  <a:pt x="449894" y="5079"/>
                </a:lnTo>
                <a:lnTo>
                  <a:pt x="443600" y="1270"/>
                </a:lnTo>
                <a:lnTo>
                  <a:pt x="441147" y="0"/>
                </a:lnTo>
                <a:close/>
              </a:path>
            </a:pathLst>
          </a:custGeom>
          <a:solidFill>
            <a:srgbClr val="6FAC0F"/>
          </a:solidFill>
        </p:spPr>
        <p:txBody>
          <a:bodyPr wrap="square" lIns="0" tIns="0" rIns="0" bIns="0" rtlCol="0"/>
          <a:lstStyle/>
          <a:p>
            <a:endParaRPr/>
          </a:p>
        </p:txBody>
      </p:sp>
      <p:sp>
        <p:nvSpPr>
          <p:cNvPr id="13" name="object 13"/>
          <p:cNvSpPr/>
          <p:nvPr/>
        </p:nvSpPr>
        <p:spPr>
          <a:xfrm>
            <a:off x="5245608" y="2112264"/>
            <a:ext cx="1804670" cy="266700"/>
          </a:xfrm>
          <a:custGeom>
            <a:avLst/>
            <a:gdLst/>
            <a:ahLst/>
            <a:cxnLst/>
            <a:rect l="l" t="t" r="r" b="b"/>
            <a:pathLst>
              <a:path w="1804670" h="266700">
                <a:moveTo>
                  <a:pt x="1045590" y="133350"/>
                </a:moveTo>
                <a:lnTo>
                  <a:pt x="758825" y="133350"/>
                </a:lnTo>
                <a:lnTo>
                  <a:pt x="804168" y="140147"/>
                </a:lnTo>
                <a:lnTo>
                  <a:pt x="843530" y="159075"/>
                </a:lnTo>
                <a:lnTo>
                  <a:pt x="874560" y="187939"/>
                </a:lnTo>
                <a:lnTo>
                  <a:pt x="894903" y="224546"/>
                </a:lnTo>
                <a:lnTo>
                  <a:pt x="902207" y="266700"/>
                </a:lnTo>
                <a:lnTo>
                  <a:pt x="909512" y="224546"/>
                </a:lnTo>
                <a:lnTo>
                  <a:pt x="929855" y="187939"/>
                </a:lnTo>
                <a:lnTo>
                  <a:pt x="960885" y="159075"/>
                </a:lnTo>
                <a:lnTo>
                  <a:pt x="1000247" y="140147"/>
                </a:lnTo>
                <a:lnTo>
                  <a:pt x="1045590" y="133350"/>
                </a:lnTo>
                <a:close/>
              </a:path>
              <a:path w="1804670" h="266700">
                <a:moveTo>
                  <a:pt x="1804415" y="0"/>
                </a:moveTo>
                <a:lnTo>
                  <a:pt x="0" y="0"/>
                </a:lnTo>
                <a:lnTo>
                  <a:pt x="7304" y="42153"/>
                </a:lnTo>
                <a:lnTo>
                  <a:pt x="27647" y="78760"/>
                </a:lnTo>
                <a:lnTo>
                  <a:pt x="58677" y="107624"/>
                </a:lnTo>
                <a:lnTo>
                  <a:pt x="98039" y="126552"/>
                </a:lnTo>
                <a:lnTo>
                  <a:pt x="143382" y="133350"/>
                </a:lnTo>
                <a:lnTo>
                  <a:pt x="1661033" y="133350"/>
                </a:lnTo>
                <a:lnTo>
                  <a:pt x="1706376" y="126552"/>
                </a:lnTo>
                <a:lnTo>
                  <a:pt x="1745738" y="107624"/>
                </a:lnTo>
                <a:lnTo>
                  <a:pt x="1776768" y="78760"/>
                </a:lnTo>
                <a:lnTo>
                  <a:pt x="1797111" y="42153"/>
                </a:lnTo>
                <a:lnTo>
                  <a:pt x="1804415" y="0"/>
                </a:lnTo>
                <a:close/>
              </a:path>
            </a:pathLst>
          </a:custGeom>
          <a:solidFill>
            <a:srgbClr val="970013"/>
          </a:solidFill>
        </p:spPr>
        <p:txBody>
          <a:bodyPr wrap="square" lIns="0" tIns="0" rIns="0" bIns="0" rtlCol="0"/>
          <a:lstStyle/>
          <a:p>
            <a:endParaRPr/>
          </a:p>
        </p:txBody>
      </p:sp>
      <p:sp>
        <p:nvSpPr>
          <p:cNvPr id="14" name="object 14"/>
          <p:cNvSpPr/>
          <p:nvPr/>
        </p:nvSpPr>
        <p:spPr>
          <a:xfrm>
            <a:off x="4585715" y="1274063"/>
            <a:ext cx="3215640" cy="902335"/>
          </a:xfrm>
          <a:custGeom>
            <a:avLst/>
            <a:gdLst/>
            <a:ahLst/>
            <a:cxnLst/>
            <a:rect l="l" t="t" r="r" b="b"/>
            <a:pathLst>
              <a:path w="3215640" h="902335">
                <a:moveTo>
                  <a:pt x="3152140" y="0"/>
                </a:moveTo>
                <a:lnTo>
                  <a:pt x="63500" y="0"/>
                </a:lnTo>
                <a:lnTo>
                  <a:pt x="38790" y="4992"/>
                </a:lnTo>
                <a:lnTo>
                  <a:pt x="18605" y="18605"/>
                </a:lnTo>
                <a:lnTo>
                  <a:pt x="4992" y="38790"/>
                </a:lnTo>
                <a:lnTo>
                  <a:pt x="0" y="63500"/>
                </a:lnTo>
                <a:lnTo>
                  <a:pt x="0" y="838708"/>
                </a:lnTo>
                <a:lnTo>
                  <a:pt x="4992" y="863417"/>
                </a:lnTo>
                <a:lnTo>
                  <a:pt x="18605" y="883602"/>
                </a:lnTo>
                <a:lnTo>
                  <a:pt x="38790" y="897215"/>
                </a:lnTo>
                <a:lnTo>
                  <a:pt x="63500" y="902208"/>
                </a:lnTo>
                <a:lnTo>
                  <a:pt x="3152140" y="902208"/>
                </a:lnTo>
                <a:lnTo>
                  <a:pt x="3176849" y="897215"/>
                </a:lnTo>
                <a:lnTo>
                  <a:pt x="3197034" y="883602"/>
                </a:lnTo>
                <a:lnTo>
                  <a:pt x="3210647" y="863417"/>
                </a:lnTo>
                <a:lnTo>
                  <a:pt x="3215640" y="838708"/>
                </a:lnTo>
                <a:lnTo>
                  <a:pt x="3215640" y="63500"/>
                </a:lnTo>
                <a:lnTo>
                  <a:pt x="3210647" y="38790"/>
                </a:lnTo>
                <a:lnTo>
                  <a:pt x="3197034" y="18605"/>
                </a:lnTo>
                <a:lnTo>
                  <a:pt x="3176849" y="4992"/>
                </a:lnTo>
                <a:lnTo>
                  <a:pt x="3152140" y="0"/>
                </a:lnTo>
                <a:close/>
              </a:path>
            </a:pathLst>
          </a:custGeom>
          <a:solidFill>
            <a:srgbClr val="FF2F4B"/>
          </a:solidFill>
        </p:spPr>
        <p:txBody>
          <a:bodyPr wrap="square" lIns="0" tIns="0" rIns="0" bIns="0" rtlCol="0"/>
          <a:lstStyle/>
          <a:p>
            <a:endParaRPr/>
          </a:p>
        </p:txBody>
      </p:sp>
      <p:sp>
        <p:nvSpPr>
          <p:cNvPr id="15" name="object 15"/>
          <p:cNvSpPr/>
          <p:nvPr/>
        </p:nvSpPr>
        <p:spPr>
          <a:xfrm>
            <a:off x="4794503" y="1391411"/>
            <a:ext cx="2807335" cy="675640"/>
          </a:xfrm>
          <a:custGeom>
            <a:avLst/>
            <a:gdLst/>
            <a:ahLst/>
            <a:cxnLst/>
            <a:rect l="l" t="t" r="r" b="b"/>
            <a:pathLst>
              <a:path w="2807334" h="675639">
                <a:moveTo>
                  <a:pt x="2772282" y="0"/>
                </a:moveTo>
                <a:lnTo>
                  <a:pt x="34925" y="0"/>
                </a:lnTo>
                <a:lnTo>
                  <a:pt x="21324" y="2742"/>
                </a:lnTo>
                <a:lnTo>
                  <a:pt x="10223" y="10223"/>
                </a:lnTo>
                <a:lnTo>
                  <a:pt x="2742" y="21324"/>
                </a:lnTo>
                <a:lnTo>
                  <a:pt x="0" y="34925"/>
                </a:lnTo>
                <a:lnTo>
                  <a:pt x="0" y="640207"/>
                </a:lnTo>
                <a:lnTo>
                  <a:pt x="2742" y="653807"/>
                </a:lnTo>
                <a:lnTo>
                  <a:pt x="10223" y="664908"/>
                </a:lnTo>
                <a:lnTo>
                  <a:pt x="21324" y="672389"/>
                </a:lnTo>
                <a:lnTo>
                  <a:pt x="34925" y="675132"/>
                </a:lnTo>
                <a:lnTo>
                  <a:pt x="2772282" y="675132"/>
                </a:lnTo>
                <a:lnTo>
                  <a:pt x="2785883" y="672389"/>
                </a:lnTo>
                <a:lnTo>
                  <a:pt x="2796984" y="664908"/>
                </a:lnTo>
                <a:lnTo>
                  <a:pt x="2804465" y="653807"/>
                </a:lnTo>
                <a:lnTo>
                  <a:pt x="2807207" y="640207"/>
                </a:lnTo>
                <a:lnTo>
                  <a:pt x="2807207" y="34925"/>
                </a:lnTo>
                <a:lnTo>
                  <a:pt x="2804465" y="21324"/>
                </a:lnTo>
                <a:lnTo>
                  <a:pt x="2796984" y="10223"/>
                </a:lnTo>
                <a:lnTo>
                  <a:pt x="2785883" y="2742"/>
                </a:lnTo>
                <a:lnTo>
                  <a:pt x="2772282" y="0"/>
                </a:lnTo>
                <a:close/>
              </a:path>
            </a:pathLst>
          </a:custGeom>
          <a:solidFill>
            <a:srgbClr val="FFFFFF"/>
          </a:solidFill>
        </p:spPr>
        <p:txBody>
          <a:bodyPr wrap="square" lIns="0" tIns="0" rIns="0" bIns="0" rtlCol="0"/>
          <a:lstStyle/>
          <a:p>
            <a:endParaRPr/>
          </a:p>
        </p:txBody>
      </p:sp>
      <p:sp>
        <p:nvSpPr>
          <p:cNvPr id="16" name="object 16"/>
          <p:cNvSpPr txBox="1"/>
          <p:nvPr/>
        </p:nvSpPr>
        <p:spPr>
          <a:xfrm>
            <a:off x="5695569" y="1443990"/>
            <a:ext cx="1113155" cy="574040"/>
          </a:xfrm>
          <a:prstGeom prst="rect">
            <a:avLst/>
          </a:prstGeom>
        </p:spPr>
        <p:txBody>
          <a:bodyPr vert="horz" wrap="square" lIns="0" tIns="12700" rIns="0" bIns="0" rtlCol="0">
            <a:spAutoFit/>
          </a:bodyPr>
          <a:lstStyle/>
          <a:p>
            <a:pPr marL="12700" marR="5080" indent="2540">
              <a:lnSpc>
                <a:spcPct val="100000"/>
              </a:lnSpc>
              <a:spcBef>
                <a:spcPts val="100"/>
              </a:spcBef>
            </a:pPr>
            <a:r>
              <a:rPr sz="1800" b="1" spc="-10">
                <a:solidFill>
                  <a:srgbClr val="FF2F4B"/>
                </a:solidFill>
                <a:latin typeface="Verdana"/>
                <a:cs typeface="Verdana"/>
              </a:rPr>
              <a:t>E</a:t>
            </a:r>
            <a:r>
              <a:rPr sz="1800" b="1" spc="-5">
                <a:solidFill>
                  <a:srgbClr val="FF2F4B"/>
                </a:solidFill>
                <a:latin typeface="Verdana"/>
                <a:cs typeface="Verdana"/>
              </a:rPr>
              <a:t>nhance  </a:t>
            </a:r>
            <a:r>
              <a:rPr sz="1800" b="1">
                <a:solidFill>
                  <a:srgbClr val="FF2F4B"/>
                </a:solidFill>
                <a:latin typeface="Verdana"/>
                <a:cs typeface="Verdana"/>
              </a:rPr>
              <a:t>the</a:t>
            </a:r>
            <a:r>
              <a:rPr sz="1800" b="1" spc="-85">
                <a:solidFill>
                  <a:srgbClr val="FF2F4B"/>
                </a:solidFill>
                <a:latin typeface="Verdana"/>
                <a:cs typeface="Verdana"/>
              </a:rPr>
              <a:t> </a:t>
            </a:r>
            <a:r>
              <a:rPr sz="1800" b="1">
                <a:solidFill>
                  <a:srgbClr val="FF2F4B"/>
                </a:solidFill>
                <a:latin typeface="Verdana"/>
                <a:cs typeface="Verdana"/>
              </a:rPr>
              <a:t>Core</a:t>
            </a:r>
            <a:endParaRPr sz="1800">
              <a:latin typeface="Verdana"/>
              <a:cs typeface="Verdana"/>
            </a:endParaRPr>
          </a:p>
        </p:txBody>
      </p:sp>
      <p:sp>
        <p:nvSpPr>
          <p:cNvPr id="17" name="object 17"/>
          <p:cNvSpPr/>
          <p:nvPr/>
        </p:nvSpPr>
        <p:spPr>
          <a:xfrm>
            <a:off x="4306823" y="1348739"/>
            <a:ext cx="731520" cy="718185"/>
          </a:xfrm>
          <a:custGeom>
            <a:avLst/>
            <a:gdLst/>
            <a:ahLst/>
            <a:cxnLst/>
            <a:rect l="l" t="t" r="r" b="b"/>
            <a:pathLst>
              <a:path w="731520" h="718185">
                <a:moveTo>
                  <a:pt x="611886" y="0"/>
                </a:moveTo>
                <a:lnTo>
                  <a:pt x="119634" y="0"/>
                </a:lnTo>
                <a:lnTo>
                  <a:pt x="73080" y="9405"/>
                </a:lnTo>
                <a:lnTo>
                  <a:pt x="35051" y="35052"/>
                </a:lnTo>
                <a:lnTo>
                  <a:pt x="9405" y="73080"/>
                </a:lnTo>
                <a:lnTo>
                  <a:pt x="0" y="119634"/>
                </a:lnTo>
                <a:lnTo>
                  <a:pt x="0" y="598170"/>
                </a:lnTo>
                <a:lnTo>
                  <a:pt x="9405" y="644723"/>
                </a:lnTo>
                <a:lnTo>
                  <a:pt x="35051" y="682751"/>
                </a:lnTo>
                <a:lnTo>
                  <a:pt x="73080" y="708398"/>
                </a:lnTo>
                <a:lnTo>
                  <a:pt x="119634" y="717804"/>
                </a:lnTo>
                <a:lnTo>
                  <a:pt x="611886" y="717804"/>
                </a:lnTo>
                <a:lnTo>
                  <a:pt x="658439" y="708398"/>
                </a:lnTo>
                <a:lnTo>
                  <a:pt x="696467" y="682751"/>
                </a:lnTo>
                <a:lnTo>
                  <a:pt x="722114" y="644723"/>
                </a:lnTo>
                <a:lnTo>
                  <a:pt x="731520" y="598170"/>
                </a:lnTo>
                <a:lnTo>
                  <a:pt x="731520" y="119634"/>
                </a:lnTo>
                <a:lnTo>
                  <a:pt x="722114" y="73080"/>
                </a:lnTo>
                <a:lnTo>
                  <a:pt x="696467" y="35052"/>
                </a:lnTo>
                <a:lnTo>
                  <a:pt x="658439" y="9405"/>
                </a:lnTo>
                <a:lnTo>
                  <a:pt x="611886" y="0"/>
                </a:lnTo>
                <a:close/>
              </a:path>
            </a:pathLst>
          </a:custGeom>
          <a:solidFill>
            <a:srgbClr val="FFFFFF"/>
          </a:solidFill>
        </p:spPr>
        <p:txBody>
          <a:bodyPr wrap="square" lIns="0" tIns="0" rIns="0" bIns="0" rtlCol="0"/>
          <a:lstStyle/>
          <a:p>
            <a:endParaRPr/>
          </a:p>
        </p:txBody>
      </p:sp>
      <p:sp>
        <p:nvSpPr>
          <p:cNvPr id="18" name="object 18"/>
          <p:cNvSpPr/>
          <p:nvPr/>
        </p:nvSpPr>
        <p:spPr>
          <a:xfrm>
            <a:off x="4306823" y="1348739"/>
            <a:ext cx="731520" cy="718185"/>
          </a:xfrm>
          <a:custGeom>
            <a:avLst/>
            <a:gdLst/>
            <a:ahLst/>
            <a:cxnLst/>
            <a:rect l="l" t="t" r="r" b="b"/>
            <a:pathLst>
              <a:path w="731520" h="718185">
                <a:moveTo>
                  <a:pt x="0" y="119634"/>
                </a:moveTo>
                <a:lnTo>
                  <a:pt x="9405" y="73080"/>
                </a:lnTo>
                <a:lnTo>
                  <a:pt x="35051" y="35052"/>
                </a:lnTo>
                <a:lnTo>
                  <a:pt x="73080" y="9405"/>
                </a:lnTo>
                <a:lnTo>
                  <a:pt x="119634" y="0"/>
                </a:lnTo>
                <a:lnTo>
                  <a:pt x="611886" y="0"/>
                </a:lnTo>
                <a:lnTo>
                  <a:pt x="658439" y="9405"/>
                </a:lnTo>
                <a:lnTo>
                  <a:pt x="696467" y="35052"/>
                </a:lnTo>
                <a:lnTo>
                  <a:pt x="722114" y="73080"/>
                </a:lnTo>
                <a:lnTo>
                  <a:pt x="731520" y="119634"/>
                </a:lnTo>
                <a:lnTo>
                  <a:pt x="731520" y="598170"/>
                </a:lnTo>
                <a:lnTo>
                  <a:pt x="722114" y="644723"/>
                </a:lnTo>
                <a:lnTo>
                  <a:pt x="696467" y="682751"/>
                </a:lnTo>
                <a:lnTo>
                  <a:pt x="658439" y="708398"/>
                </a:lnTo>
                <a:lnTo>
                  <a:pt x="611886" y="717804"/>
                </a:lnTo>
                <a:lnTo>
                  <a:pt x="119634" y="717804"/>
                </a:lnTo>
                <a:lnTo>
                  <a:pt x="73080" y="708398"/>
                </a:lnTo>
                <a:lnTo>
                  <a:pt x="35051" y="682751"/>
                </a:lnTo>
                <a:lnTo>
                  <a:pt x="9405" y="644723"/>
                </a:lnTo>
                <a:lnTo>
                  <a:pt x="0" y="598170"/>
                </a:lnTo>
                <a:lnTo>
                  <a:pt x="0" y="119634"/>
                </a:lnTo>
                <a:close/>
              </a:path>
            </a:pathLst>
          </a:custGeom>
          <a:ln w="12192">
            <a:solidFill>
              <a:srgbClr val="FF2F4B"/>
            </a:solidFill>
          </a:ln>
        </p:spPr>
        <p:txBody>
          <a:bodyPr wrap="square" lIns="0" tIns="0" rIns="0" bIns="0" rtlCol="0"/>
          <a:lstStyle/>
          <a:p>
            <a:endParaRPr/>
          </a:p>
        </p:txBody>
      </p:sp>
      <p:sp>
        <p:nvSpPr>
          <p:cNvPr id="19" name="object 19"/>
          <p:cNvSpPr/>
          <p:nvPr/>
        </p:nvSpPr>
        <p:spPr>
          <a:xfrm>
            <a:off x="4568952" y="2439923"/>
            <a:ext cx="3223260" cy="3874135"/>
          </a:xfrm>
          <a:custGeom>
            <a:avLst/>
            <a:gdLst/>
            <a:ahLst/>
            <a:cxnLst/>
            <a:rect l="l" t="t" r="r" b="b"/>
            <a:pathLst>
              <a:path w="3223259" h="3874135">
                <a:moveTo>
                  <a:pt x="0" y="3874007"/>
                </a:moveTo>
                <a:lnTo>
                  <a:pt x="3223259" y="3874007"/>
                </a:lnTo>
                <a:lnTo>
                  <a:pt x="3223259" y="0"/>
                </a:lnTo>
                <a:lnTo>
                  <a:pt x="0" y="0"/>
                </a:lnTo>
                <a:lnTo>
                  <a:pt x="0" y="3874007"/>
                </a:lnTo>
                <a:close/>
              </a:path>
            </a:pathLst>
          </a:custGeom>
          <a:solidFill>
            <a:srgbClr val="EBEBEB"/>
          </a:solidFill>
        </p:spPr>
        <p:txBody>
          <a:bodyPr wrap="square" lIns="0" tIns="0" rIns="0" bIns="0" rtlCol="0"/>
          <a:lstStyle/>
          <a:p>
            <a:endParaRPr/>
          </a:p>
        </p:txBody>
      </p:sp>
      <p:sp>
        <p:nvSpPr>
          <p:cNvPr id="20" name="object 20"/>
          <p:cNvSpPr/>
          <p:nvPr/>
        </p:nvSpPr>
        <p:spPr>
          <a:xfrm>
            <a:off x="4724400" y="3616452"/>
            <a:ext cx="2910840" cy="76200"/>
          </a:xfrm>
          <a:custGeom>
            <a:avLst/>
            <a:gdLst/>
            <a:ahLst/>
            <a:cxnLst/>
            <a:rect l="l" t="t" r="r" b="b"/>
            <a:pathLst>
              <a:path w="291084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910840" h="76200">
                <a:moveTo>
                  <a:pt x="2872740" y="0"/>
                </a:moveTo>
                <a:lnTo>
                  <a:pt x="2857892" y="2988"/>
                </a:lnTo>
                <a:lnTo>
                  <a:pt x="2845784" y="11144"/>
                </a:lnTo>
                <a:lnTo>
                  <a:pt x="2837628" y="23252"/>
                </a:lnTo>
                <a:lnTo>
                  <a:pt x="2834640" y="38100"/>
                </a:lnTo>
                <a:lnTo>
                  <a:pt x="2837628" y="52947"/>
                </a:lnTo>
                <a:lnTo>
                  <a:pt x="2845784" y="65055"/>
                </a:lnTo>
                <a:lnTo>
                  <a:pt x="2857892" y="73211"/>
                </a:lnTo>
                <a:lnTo>
                  <a:pt x="2872740" y="76200"/>
                </a:lnTo>
                <a:lnTo>
                  <a:pt x="2887587" y="73211"/>
                </a:lnTo>
                <a:lnTo>
                  <a:pt x="2899695" y="65055"/>
                </a:lnTo>
                <a:lnTo>
                  <a:pt x="2907851" y="52947"/>
                </a:lnTo>
                <a:lnTo>
                  <a:pt x="2909561" y="44450"/>
                </a:lnTo>
                <a:lnTo>
                  <a:pt x="2872740" y="44450"/>
                </a:lnTo>
                <a:lnTo>
                  <a:pt x="2872740" y="31750"/>
                </a:lnTo>
                <a:lnTo>
                  <a:pt x="2909561" y="31750"/>
                </a:lnTo>
                <a:lnTo>
                  <a:pt x="2907851" y="23252"/>
                </a:lnTo>
                <a:lnTo>
                  <a:pt x="2899695" y="11144"/>
                </a:lnTo>
                <a:lnTo>
                  <a:pt x="2887587" y="2988"/>
                </a:lnTo>
                <a:lnTo>
                  <a:pt x="2872740" y="0"/>
                </a:lnTo>
                <a:close/>
              </a:path>
              <a:path w="2910840" h="76200">
                <a:moveTo>
                  <a:pt x="74921" y="31750"/>
                </a:moveTo>
                <a:lnTo>
                  <a:pt x="38100" y="31750"/>
                </a:lnTo>
                <a:lnTo>
                  <a:pt x="38100" y="44450"/>
                </a:lnTo>
                <a:lnTo>
                  <a:pt x="74921" y="44450"/>
                </a:lnTo>
                <a:lnTo>
                  <a:pt x="76200" y="38100"/>
                </a:lnTo>
                <a:lnTo>
                  <a:pt x="74921" y="31750"/>
                </a:lnTo>
                <a:close/>
              </a:path>
              <a:path w="2910840" h="76200">
                <a:moveTo>
                  <a:pt x="2835918" y="31750"/>
                </a:moveTo>
                <a:lnTo>
                  <a:pt x="74921" y="31750"/>
                </a:lnTo>
                <a:lnTo>
                  <a:pt x="76200" y="38100"/>
                </a:lnTo>
                <a:lnTo>
                  <a:pt x="74921" y="44450"/>
                </a:lnTo>
                <a:lnTo>
                  <a:pt x="2835918" y="44450"/>
                </a:lnTo>
                <a:lnTo>
                  <a:pt x="2834640" y="38100"/>
                </a:lnTo>
                <a:lnTo>
                  <a:pt x="2835918" y="31750"/>
                </a:lnTo>
                <a:close/>
              </a:path>
              <a:path w="2910840" h="76200">
                <a:moveTo>
                  <a:pt x="2909561" y="31750"/>
                </a:moveTo>
                <a:lnTo>
                  <a:pt x="2872740" y="31750"/>
                </a:lnTo>
                <a:lnTo>
                  <a:pt x="2872740" y="44450"/>
                </a:lnTo>
                <a:lnTo>
                  <a:pt x="2909561" y="44450"/>
                </a:lnTo>
                <a:lnTo>
                  <a:pt x="2910840" y="38100"/>
                </a:lnTo>
                <a:lnTo>
                  <a:pt x="2909561" y="31750"/>
                </a:lnTo>
                <a:close/>
              </a:path>
            </a:pathLst>
          </a:custGeom>
          <a:solidFill>
            <a:srgbClr val="FF2F4B"/>
          </a:solidFill>
        </p:spPr>
        <p:txBody>
          <a:bodyPr wrap="square" lIns="0" tIns="0" rIns="0" bIns="0" rtlCol="0"/>
          <a:lstStyle/>
          <a:p>
            <a:endParaRPr/>
          </a:p>
        </p:txBody>
      </p:sp>
      <p:sp>
        <p:nvSpPr>
          <p:cNvPr id="21" name="object 21"/>
          <p:cNvSpPr/>
          <p:nvPr/>
        </p:nvSpPr>
        <p:spPr>
          <a:xfrm>
            <a:off x="4724400" y="4882896"/>
            <a:ext cx="2910840" cy="76200"/>
          </a:xfrm>
          <a:custGeom>
            <a:avLst/>
            <a:gdLst/>
            <a:ahLst/>
            <a:cxnLst/>
            <a:rect l="l" t="t" r="r" b="b"/>
            <a:pathLst>
              <a:path w="2910840" h="76200">
                <a:moveTo>
                  <a:pt x="38100" y="0"/>
                </a:moveTo>
                <a:lnTo>
                  <a:pt x="23252" y="2988"/>
                </a:lnTo>
                <a:lnTo>
                  <a:pt x="11144" y="11144"/>
                </a:lnTo>
                <a:lnTo>
                  <a:pt x="2988" y="23252"/>
                </a:lnTo>
                <a:lnTo>
                  <a:pt x="0" y="38099"/>
                </a:lnTo>
                <a:lnTo>
                  <a:pt x="2988" y="52947"/>
                </a:lnTo>
                <a:lnTo>
                  <a:pt x="11144" y="65055"/>
                </a:lnTo>
                <a:lnTo>
                  <a:pt x="23252" y="73211"/>
                </a:lnTo>
                <a:lnTo>
                  <a:pt x="38100" y="76199"/>
                </a:lnTo>
                <a:lnTo>
                  <a:pt x="52947" y="73211"/>
                </a:lnTo>
                <a:lnTo>
                  <a:pt x="65055" y="65055"/>
                </a:lnTo>
                <a:lnTo>
                  <a:pt x="73211" y="52947"/>
                </a:lnTo>
                <a:lnTo>
                  <a:pt x="74921" y="44449"/>
                </a:lnTo>
                <a:lnTo>
                  <a:pt x="38100" y="44449"/>
                </a:lnTo>
                <a:lnTo>
                  <a:pt x="38100" y="31749"/>
                </a:lnTo>
                <a:lnTo>
                  <a:pt x="74921" y="31749"/>
                </a:lnTo>
                <a:lnTo>
                  <a:pt x="73211" y="23252"/>
                </a:lnTo>
                <a:lnTo>
                  <a:pt x="65055" y="11144"/>
                </a:lnTo>
                <a:lnTo>
                  <a:pt x="52947" y="2988"/>
                </a:lnTo>
                <a:lnTo>
                  <a:pt x="38100" y="0"/>
                </a:lnTo>
                <a:close/>
              </a:path>
              <a:path w="2910840" h="76200">
                <a:moveTo>
                  <a:pt x="2872740" y="0"/>
                </a:moveTo>
                <a:lnTo>
                  <a:pt x="2857892" y="2988"/>
                </a:lnTo>
                <a:lnTo>
                  <a:pt x="2845784" y="11144"/>
                </a:lnTo>
                <a:lnTo>
                  <a:pt x="2837628" y="23252"/>
                </a:lnTo>
                <a:lnTo>
                  <a:pt x="2834640" y="38099"/>
                </a:lnTo>
                <a:lnTo>
                  <a:pt x="2837628" y="52947"/>
                </a:lnTo>
                <a:lnTo>
                  <a:pt x="2845784" y="65055"/>
                </a:lnTo>
                <a:lnTo>
                  <a:pt x="2857892" y="73211"/>
                </a:lnTo>
                <a:lnTo>
                  <a:pt x="2872740" y="76199"/>
                </a:lnTo>
                <a:lnTo>
                  <a:pt x="2887587" y="73211"/>
                </a:lnTo>
                <a:lnTo>
                  <a:pt x="2899695" y="65055"/>
                </a:lnTo>
                <a:lnTo>
                  <a:pt x="2907851" y="52947"/>
                </a:lnTo>
                <a:lnTo>
                  <a:pt x="2909561" y="44449"/>
                </a:lnTo>
                <a:lnTo>
                  <a:pt x="2872740" y="44449"/>
                </a:lnTo>
                <a:lnTo>
                  <a:pt x="2872740" y="31749"/>
                </a:lnTo>
                <a:lnTo>
                  <a:pt x="2909561" y="31749"/>
                </a:lnTo>
                <a:lnTo>
                  <a:pt x="2907851" y="23252"/>
                </a:lnTo>
                <a:lnTo>
                  <a:pt x="2899695" y="11144"/>
                </a:lnTo>
                <a:lnTo>
                  <a:pt x="2887587" y="2988"/>
                </a:lnTo>
                <a:lnTo>
                  <a:pt x="2872740" y="0"/>
                </a:lnTo>
                <a:close/>
              </a:path>
              <a:path w="2910840" h="76200">
                <a:moveTo>
                  <a:pt x="74921" y="31749"/>
                </a:moveTo>
                <a:lnTo>
                  <a:pt x="38100" y="31749"/>
                </a:lnTo>
                <a:lnTo>
                  <a:pt x="38100" y="44449"/>
                </a:lnTo>
                <a:lnTo>
                  <a:pt x="74921" y="44449"/>
                </a:lnTo>
                <a:lnTo>
                  <a:pt x="76200" y="38099"/>
                </a:lnTo>
                <a:lnTo>
                  <a:pt x="74921" y="31749"/>
                </a:lnTo>
                <a:close/>
              </a:path>
              <a:path w="2910840" h="76200">
                <a:moveTo>
                  <a:pt x="2835918" y="31749"/>
                </a:moveTo>
                <a:lnTo>
                  <a:pt x="74921" y="31749"/>
                </a:lnTo>
                <a:lnTo>
                  <a:pt x="76200" y="38099"/>
                </a:lnTo>
                <a:lnTo>
                  <a:pt x="74921" y="44449"/>
                </a:lnTo>
                <a:lnTo>
                  <a:pt x="2835918" y="44449"/>
                </a:lnTo>
                <a:lnTo>
                  <a:pt x="2834640" y="38099"/>
                </a:lnTo>
                <a:lnTo>
                  <a:pt x="2835918" y="31749"/>
                </a:lnTo>
                <a:close/>
              </a:path>
              <a:path w="2910840" h="76200">
                <a:moveTo>
                  <a:pt x="2909561" y="31749"/>
                </a:moveTo>
                <a:lnTo>
                  <a:pt x="2872740" y="31749"/>
                </a:lnTo>
                <a:lnTo>
                  <a:pt x="2872740" y="44449"/>
                </a:lnTo>
                <a:lnTo>
                  <a:pt x="2909561" y="44449"/>
                </a:lnTo>
                <a:lnTo>
                  <a:pt x="2910840" y="38099"/>
                </a:lnTo>
                <a:lnTo>
                  <a:pt x="2909561" y="31749"/>
                </a:lnTo>
                <a:close/>
              </a:path>
            </a:pathLst>
          </a:custGeom>
          <a:solidFill>
            <a:srgbClr val="FF2F4B"/>
          </a:solidFill>
        </p:spPr>
        <p:txBody>
          <a:bodyPr wrap="square" lIns="0" tIns="0" rIns="0" bIns="0" rtlCol="0"/>
          <a:lstStyle/>
          <a:p>
            <a:endParaRPr/>
          </a:p>
        </p:txBody>
      </p:sp>
      <p:sp>
        <p:nvSpPr>
          <p:cNvPr id="22" name="object 22"/>
          <p:cNvSpPr/>
          <p:nvPr/>
        </p:nvSpPr>
        <p:spPr>
          <a:xfrm>
            <a:off x="4462271" y="1427988"/>
            <a:ext cx="391795" cy="523240"/>
          </a:xfrm>
          <a:custGeom>
            <a:avLst/>
            <a:gdLst/>
            <a:ahLst/>
            <a:cxnLst/>
            <a:rect l="l" t="t" r="r" b="b"/>
            <a:pathLst>
              <a:path w="391795" h="523239">
                <a:moveTo>
                  <a:pt x="368045" y="261365"/>
                </a:moveTo>
                <a:lnTo>
                  <a:pt x="23622" y="261365"/>
                </a:lnTo>
                <a:lnTo>
                  <a:pt x="15875" y="264540"/>
                </a:lnTo>
                <a:lnTo>
                  <a:pt x="3175" y="277240"/>
                </a:lnTo>
                <a:lnTo>
                  <a:pt x="0" y="284988"/>
                </a:lnTo>
                <a:lnTo>
                  <a:pt x="0" y="499110"/>
                </a:lnTo>
                <a:lnTo>
                  <a:pt x="3175" y="506857"/>
                </a:lnTo>
                <a:lnTo>
                  <a:pt x="15875" y="519557"/>
                </a:lnTo>
                <a:lnTo>
                  <a:pt x="23622" y="522732"/>
                </a:lnTo>
                <a:lnTo>
                  <a:pt x="368045" y="522732"/>
                </a:lnTo>
                <a:lnTo>
                  <a:pt x="375792" y="519557"/>
                </a:lnTo>
                <a:lnTo>
                  <a:pt x="388492" y="506857"/>
                </a:lnTo>
                <a:lnTo>
                  <a:pt x="391667" y="499110"/>
                </a:lnTo>
                <a:lnTo>
                  <a:pt x="391667" y="284988"/>
                </a:lnTo>
                <a:lnTo>
                  <a:pt x="388492" y="277240"/>
                </a:lnTo>
                <a:lnTo>
                  <a:pt x="375792" y="264540"/>
                </a:lnTo>
                <a:lnTo>
                  <a:pt x="368045" y="261365"/>
                </a:lnTo>
                <a:close/>
              </a:path>
              <a:path w="391795" h="523239">
                <a:moveTo>
                  <a:pt x="195833" y="0"/>
                </a:moveTo>
                <a:lnTo>
                  <a:pt x="137477" y="11160"/>
                </a:lnTo>
                <a:lnTo>
                  <a:pt x="88264" y="44703"/>
                </a:lnTo>
                <a:lnTo>
                  <a:pt x="54721" y="94027"/>
                </a:lnTo>
                <a:lnTo>
                  <a:pt x="43561" y="152400"/>
                </a:lnTo>
                <a:lnTo>
                  <a:pt x="43561" y="261365"/>
                </a:lnTo>
                <a:lnTo>
                  <a:pt x="108838" y="261365"/>
                </a:lnTo>
                <a:lnTo>
                  <a:pt x="108838" y="152400"/>
                </a:lnTo>
                <a:lnTo>
                  <a:pt x="110432" y="135042"/>
                </a:lnTo>
                <a:lnTo>
                  <a:pt x="134238" y="90804"/>
                </a:lnTo>
                <a:lnTo>
                  <a:pt x="178476" y="66873"/>
                </a:lnTo>
                <a:lnTo>
                  <a:pt x="195833" y="65277"/>
                </a:lnTo>
                <a:lnTo>
                  <a:pt x="320523" y="65277"/>
                </a:lnTo>
                <a:lnTo>
                  <a:pt x="303402" y="44703"/>
                </a:lnTo>
                <a:lnTo>
                  <a:pt x="279951" y="25128"/>
                </a:lnTo>
                <a:lnTo>
                  <a:pt x="254190" y="11160"/>
                </a:lnTo>
                <a:lnTo>
                  <a:pt x="226143" y="2788"/>
                </a:lnTo>
                <a:lnTo>
                  <a:pt x="195833" y="0"/>
                </a:lnTo>
                <a:close/>
              </a:path>
              <a:path w="391795" h="523239">
                <a:moveTo>
                  <a:pt x="320523" y="65277"/>
                </a:moveTo>
                <a:lnTo>
                  <a:pt x="195833" y="65277"/>
                </a:lnTo>
                <a:lnTo>
                  <a:pt x="213191" y="66873"/>
                </a:lnTo>
                <a:lnTo>
                  <a:pt x="229250" y="71659"/>
                </a:lnTo>
                <a:lnTo>
                  <a:pt x="268523" y="104233"/>
                </a:lnTo>
                <a:lnTo>
                  <a:pt x="282828" y="152400"/>
                </a:lnTo>
                <a:lnTo>
                  <a:pt x="282828" y="158369"/>
                </a:lnTo>
                <a:lnTo>
                  <a:pt x="284988" y="163449"/>
                </a:lnTo>
                <a:lnTo>
                  <a:pt x="293624" y="172085"/>
                </a:lnTo>
                <a:lnTo>
                  <a:pt x="298703" y="174244"/>
                </a:lnTo>
                <a:lnTo>
                  <a:pt x="332231" y="174244"/>
                </a:lnTo>
                <a:lnTo>
                  <a:pt x="337438" y="172085"/>
                </a:lnTo>
                <a:lnTo>
                  <a:pt x="341629" y="167766"/>
                </a:lnTo>
                <a:lnTo>
                  <a:pt x="345948" y="163449"/>
                </a:lnTo>
                <a:lnTo>
                  <a:pt x="348106" y="158369"/>
                </a:lnTo>
                <a:lnTo>
                  <a:pt x="348106" y="152400"/>
                </a:lnTo>
                <a:lnTo>
                  <a:pt x="345318" y="122088"/>
                </a:lnTo>
                <a:lnTo>
                  <a:pt x="336946" y="94027"/>
                </a:lnTo>
                <a:lnTo>
                  <a:pt x="322978" y="68228"/>
                </a:lnTo>
                <a:lnTo>
                  <a:pt x="320523" y="65277"/>
                </a:lnTo>
                <a:close/>
              </a:path>
            </a:pathLst>
          </a:custGeom>
          <a:solidFill>
            <a:srgbClr val="FF2F4B"/>
          </a:solidFill>
        </p:spPr>
        <p:txBody>
          <a:bodyPr wrap="square" lIns="0" tIns="0" rIns="0" bIns="0" rtlCol="0"/>
          <a:lstStyle/>
          <a:p>
            <a:endParaRPr/>
          </a:p>
        </p:txBody>
      </p:sp>
      <p:sp>
        <p:nvSpPr>
          <p:cNvPr id="23" name="object 23"/>
          <p:cNvSpPr/>
          <p:nvPr/>
        </p:nvSpPr>
        <p:spPr>
          <a:xfrm>
            <a:off x="9195816" y="2112264"/>
            <a:ext cx="1804670" cy="266700"/>
          </a:xfrm>
          <a:custGeom>
            <a:avLst/>
            <a:gdLst/>
            <a:ahLst/>
            <a:cxnLst/>
            <a:rect l="l" t="t" r="r" b="b"/>
            <a:pathLst>
              <a:path w="1804670" h="266700">
                <a:moveTo>
                  <a:pt x="1045590" y="133350"/>
                </a:moveTo>
                <a:lnTo>
                  <a:pt x="758825" y="133350"/>
                </a:lnTo>
                <a:lnTo>
                  <a:pt x="804168" y="140147"/>
                </a:lnTo>
                <a:lnTo>
                  <a:pt x="843530" y="159075"/>
                </a:lnTo>
                <a:lnTo>
                  <a:pt x="874560" y="187939"/>
                </a:lnTo>
                <a:lnTo>
                  <a:pt x="894903" y="224546"/>
                </a:lnTo>
                <a:lnTo>
                  <a:pt x="902207" y="266700"/>
                </a:lnTo>
                <a:lnTo>
                  <a:pt x="909512" y="224546"/>
                </a:lnTo>
                <a:lnTo>
                  <a:pt x="929855" y="187939"/>
                </a:lnTo>
                <a:lnTo>
                  <a:pt x="960885" y="159075"/>
                </a:lnTo>
                <a:lnTo>
                  <a:pt x="1000247" y="140147"/>
                </a:lnTo>
                <a:lnTo>
                  <a:pt x="1045590" y="133350"/>
                </a:lnTo>
                <a:close/>
              </a:path>
              <a:path w="1804670" h="266700">
                <a:moveTo>
                  <a:pt x="1804415" y="0"/>
                </a:moveTo>
                <a:lnTo>
                  <a:pt x="0" y="0"/>
                </a:lnTo>
                <a:lnTo>
                  <a:pt x="7304" y="42153"/>
                </a:lnTo>
                <a:lnTo>
                  <a:pt x="27647" y="78760"/>
                </a:lnTo>
                <a:lnTo>
                  <a:pt x="58677" y="107624"/>
                </a:lnTo>
                <a:lnTo>
                  <a:pt x="98039" y="126552"/>
                </a:lnTo>
                <a:lnTo>
                  <a:pt x="143382" y="133350"/>
                </a:lnTo>
                <a:lnTo>
                  <a:pt x="1661032" y="133350"/>
                </a:lnTo>
                <a:lnTo>
                  <a:pt x="1706376" y="126552"/>
                </a:lnTo>
                <a:lnTo>
                  <a:pt x="1745738" y="107624"/>
                </a:lnTo>
                <a:lnTo>
                  <a:pt x="1776768" y="78760"/>
                </a:lnTo>
                <a:lnTo>
                  <a:pt x="1797111" y="42153"/>
                </a:lnTo>
                <a:lnTo>
                  <a:pt x="1804415" y="0"/>
                </a:lnTo>
                <a:close/>
              </a:path>
            </a:pathLst>
          </a:custGeom>
          <a:solidFill>
            <a:srgbClr val="1F0E2D"/>
          </a:solidFill>
        </p:spPr>
        <p:txBody>
          <a:bodyPr wrap="square" lIns="0" tIns="0" rIns="0" bIns="0" rtlCol="0"/>
          <a:lstStyle/>
          <a:p>
            <a:endParaRPr/>
          </a:p>
        </p:txBody>
      </p:sp>
      <p:sp>
        <p:nvSpPr>
          <p:cNvPr id="24" name="object 24"/>
          <p:cNvSpPr/>
          <p:nvPr/>
        </p:nvSpPr>
        <p:spPr>
          <a:xfrm>
            <a:off x="8534400" y="1274063"/>
            <a:ext cx="3217545" cy="902335"/>
          </a:xfrm>
          <a:custGeom>
            <a:avLst/>
            <a:gdLst/>
            <a:ahLst/>
            <a:cxnLst/>
            <a:rect l="l" t="t" r="r" b="b"/>
            <a:pathLst>
              <a:path w="3217545" h="902335">
                <a:moveTo>
                  <a:pt x="3153664" y="0"/>
                </a:moveTo>
                <a:lnTo>
                  <a:pt x="63500" y="0"/>
                </a:lnTo>
                <a:lnTo>
                  <a:pt x="38790" y="4992"/>
                </a:lnTo>
                <a:lnTo>
                  <a:pt x="18605" y="18605"/>
                </a:lnTo>
                <a:lnTo>
                  <a:pt x="4992" y="38790"/>
                </a:lnTo>
                <a:lnTo>
                  <a:pt x="0" y="63500"/>
                </a:lnTo>
                <a:lnTo>
                  <a:pt x="0" y="838708"/>
                </a:lnTo>
                <a:lnTo>
                  <a:pt x="4992" y="863417"/>
                </a:lnTo>
                <a:lnTo>
                  <a:pt x="18605" y="883602"/>
                </a:lnTo>
                <a:lnTo>
                  <a:pt x="38790" y="897215"/>
                </a:lnTo>
                <a:lnTo>
                  <a:pt x="63500" y="902208"/>
                </a:lnTo>
                <a:lnTo>
                  <a:pt x="3153664" y="902208"/>
                </a:lnTo>
                <a:lnTo>
                  <a:pt x="3178373" y="897215"/>
                </a:lnTo>
                <a:lnTo>
                  <a:pt x="3198558" y="883602"/>
                </a:lnTo>
                <a:lnTo>
                  <a:pt x="3212171" y="863417"/>
                </a:lnTo>
                <a:lnTo>
                  <a:pt x="3217164" y="838708"/>
                </a:lnTo>
                <a:lnTo>
                  <a:pt x="3217164" y="63500"/>
                </a:lnTo>
                <a:lnTo>
                  <a:pt x="3212171" y="38790"/>
                </a:lnTo>
                <a:lnTo>
                  <a:pt x="3198558" y="18605"/>
                </a:lnTo>
                <a:lnTo>
                  <a:pt x="3178373" y="4992"/>
                </a:lnTo>
                <a:lnTo>
                  <a:pt x="3153664" y="0"/>
                </a:lnTo>
                <a:close/>
              </a:path>
            </a:pathLst>
          </a:custGeom>
          <a:solidFill>
            <a:srgbClr val="006FAC"/>
          </a:solidFill>
        </p:spPr>
        <p:txBody>
          <a:bodyPr wrap="square" lIns="0" tIns="0" rIns="0" bIns="0" rtlCol="0"/>
          <a:lstStyle/>
          <a:p>
            <a:endParaRPr/>
          </a:p>
        </p:txBody>
      </p:sp>
      <p:sp>
        <p:nvSpPr>
          <p:cNvPr id="25" name="object 25"/>
          <p:cNvSpPr/>
          <p:nvPr/>
        </p:nvSpPr>
        <p:spPr>
          <a:xfrm>
            <a:off x="8744711" y="1391411"/>
            <a:ext cx="2807335" cy="675640"/>
          </a:xfrm>
          <a:custGeom>
            <a:avLst/>
            <a:gdLst/>
            <a:ahLst/>
            <a:cxnLst/>
            <a:rect l="l" t="t" r="r" b="b"/>
            <a:pathLst>
              <a:path w="2807334" h="675639">
                <a:moveTo>
                  <a:pt x="2772283" y="0"/>
                </a:moveTo>
                <a:lnTo>
                  <a:pt x="34925" y="0"/>
                </a:lnTo>
                <a:lnTo>
                  <a:pt x="21324" y="2742"/>
                </a:lnTo>
                <a:lnTo>
                  <a:pt x="10223" y="10223"/>
                </a:lnTo>
                <a:lnTo>
                  <a:pt x="2742" y="21324"/>
                </a:lnTo>
                <a:lnTo>
                  <a:pt x="0" y="34925"/>
                </a:lnTo>
                <a:lnTo>
                  <a:pt x="0" y="640207"/>
                </a:lnTo>
                <a:lnTo>
                  <a:pt x="2742" y="653807"/>
                </a:lnTo>
                <a:lnTo>
                  <a:pt x="10223" y="664908"/>
                </a:lnTo>
                <a:lnTo>
                  <a:pt x="21324" y="672389"/>
                </a:lnTo>
                <a:lnTo>
                  <a:pt x="34925" y="675132"/>
                </a:lnTo>
                <a:lnTo>
                  <a:pt x="2772283" y="675132"/>
                </a:lnTo>
                <a:lnTo>
                  <a:pt x="2785883" y="672389"/>
                </a:lnTo>
                <a:lnTo>
                  <a:pt x="2796984" y="664908"/>
                </a:lnTo>
                <a:lnTo>
                  <a:pt x="2804465" y="653807"/>
                </a:lnTo>
                <a:lnTo>
                  <a:pt x="2807208" y="640207"/>
                </a:lnTo>
                <a:lnTo>
                  <a:pt x="2807208" y="34925"/>
                </a:lnTo>
                <a:lnTo>
                  <a:pt x="2804465" y="21324"/>
                </a:lnTo>
                <a:lnTo>
                  <a:pt x="2796984" y="10223"/>
                </a:lnTo>
                <a:lnTo>
                  <a:pt x="2785883" y="2742"/>
                </a:lnTo>
                <a:lnTo>
                  <a:pt x="2772283" y="0"/>
                </a:lnTo>
                <a:close/>
              </a:path>
            </a:pathLst>
          </a:custGeom>
          <a:solidFill>
            <a:srgbClr val="FFFFFF"/>
          </a:solidFill>
        </p:spPr>
        <p:txBody>
          <a:bodyPr wrap="square" lIns="0" tIns="0" rIns="0" bIns="0" rtlCol="0"/>
          <a:lstStyle/>
          <a:p>
            <a:endParaRPr/>
          </a:p>
        </p:txBody>
      </p:sp>
      <p:sp>
        <p:nvSpPr>
          <p:cNvPr id="26" name="object 26"/>
          <p:cNvSpPr txBox="1"/>
          <p:nvPr/>
        </p:nvSpPr>
        <p:spPr>
          <a:xfrm>
            <a:off x="9351644" y="1443990"/>
            <a:ext cx="1701164" cy="574040"/>
          </a:xfrm>
          <a:prstGeom prst="rect">
            <a:avLst/>
          </a:prstGeom>
        </p:spPr>
        <p:txBody>
          <a:bodyPr vert="horz" wrap="square" lIns="0" tIns="12700" rIns="0" bIns="0" rtlCol="0">
            <a:spAutoFit/>
          </a:bodyPr>
          <a:lstStyle/>
          <a:p>
            <a:pPr marL="12700" marR="5080" indent="255904">
              <a:lnSpc>
                <a:spcPct val="100000"/>
              </a:lnSpc>
              <a:spcBef>
                <a:spcPts val="100"/>
              </a:spcBef>
            </a:pPr>
            <a:r>
              <a:rPr sz="1800" b="1" spc="-5">
                <a:solidFill>
                  <a:srgbClr val="006FAC"/>
                </a:solidFill>
                <a:latin typeface="Verdana"/>
                <a:cs typeface="Verdana"/>
              </a:rPr>
              <a:t>Innovate  </a:t>
            </a:r>
            <a:r>
              <a:rPr sz="1800" b="1">
                <a:solidFill>
                  <a:srgbClr val="006FAC"/>
                </a:solidFill>
                <a:latin typeface="Verdana"/>
                <a:cs typeface="Verdana"/>
              </a:rPr>
              <a:t>Co</a:t>
            </a:r>
            <a:r>
              <a:rPr sz="1800" b="1" spc="5">
                <a:solidFill>
                  <a:srgbClr val="006FAC"/>
                </a:solidFill>
                <a:latin typeface="Verdana"/>
                <a:cs typeface="Verdana"/>
              </a:rPr>
              <a:t>n</a:t>
            </a:r>
            <a:r>
              <a:rPr sz="1800" b="1">
                <a:solidFill>
                  <a:srgbClr val="006FAC"/>
                </a:solidFill>
                <a:latin typeface="Verdana"/>
                <a:cs typeface="Verdana"/>
              </a:rPr>
              <a:t>t</a:t>
            </a:r>
            <a:r>
              <a:rPr sz="1800" b="1" spc="-10">
                <a:solidFill>
                  <a:srgbClr val="006FAC"/>
                </a:solidFill>
                <a:latin typeface="Verdana"/>
                <a:cs typeface="Verdana"/>
              </a:rPr>
              <a:t>i</a:t>
            </a:r>
            <a:r>
              <a:rPr sz="1800" b="1" spc="-5">
                <a:solidFill>
                  <a:srgbClr val="006FAC"/>
                </a:solidFill>
                <a:latin typeface="Verdana"/>
                <a:cs typeface="Verdana"/>
              </a:rPr>
              <a:t>nuo</a:t>
            </a:r>
            <a:r>
              <a:rPr sz="1800" b="1">
                <a:solidFill>
                  <a:srgbClr val="006FAC"/>
                </a:solidFill>
                <a:latin typeface="Verdana"/>
                <a:cs typeface="Verdana"/>
              </a:rPr>
              <a:t>u</a:t>
            </a:r>
            <a:r>
              <a:rPr sz="1800" b="1" spc="-5">
                <a:solidFill>
                  <a:srgbClr val="006FAC"/>
                </a:solidFill>
                <a:latin typeface="Verdana"/>
                <a:cs typeface="Verdana"/>
              </a:rPr>
              <a:t>sly</a:t>
            </a:r>
            <a:endParaRPr sz="1800">
              <a:latin typeface="Verdana"/>
              <a:cs typeface="Verdana"/>
            </a:endParaRPr>
          </a:p>
        </p:txBody>
      </p:sp>
      <p:sp>
        <p:nvSpPr>
          <p:cNvPr id="27" name="object 27"/>
          <p:cNvSpPr/>
          <p:nvPr/>
        </p:nvSpPr>
        <p:spPr>
          <a:xfrm>
            <a:off x="8257031" y="1348739"/>
            <a:ext cx="730250" cy="718185"/>
          </a:xfrm>
          <a:custGeom>
            <a:avLst/>
            <a:gdLst/>
            <a:ahLst/>
            <a:cxnLst/>
            <a:rect l="l" t="t" r="r" b="b"/>
            <a:pathLst>
              <a:path w="730250" h="718185">
                <a:moveTo>
                  <a:pt x="610362" y="0"/>
                </a:moveTo>
                <a:lnTo>
                  <a:pt x="119634" y="0"/>
                </a:lnTo>
                <a:lnTo>
                  <a:pt x="73080" y="9405"/>
                </a:lnTo>
                <a:lnTo>
                  <a:pt x="35051" y="35052"/>
                </a:lnTo>
                <a:lnTo>
                  <a:pt x="9405" y="73080"/>
                </a:lnTo>
                <a:lnTo>
                  <a:pt x="0" y="119634"/>
                </a:lnTo>
                <a:lnTo>
                  <a:pt x="0" y="598170"/>
                </a:lnTo>
                <a:lnTo>
                  <a:pt x="9405" y="644723"/>
                </a:lnTo>
                <a:lnTo>
                  <a:pt x="35052" y="682751"/>
                </a:lnTo>
                <a:lnTo>
                  <a:pt x="73080" y="708398"/>
                </a:lnTo>
                <a:lnTo>
                  <a:pt x="119634" y="717804"/>
                </a:lnTo>
                <a:lnTo>
                  <a:pt x="610362" y="717804"/>
                </a:lnTo>
                <a:lnTo>
                  <a:pt x="656915" y="708398"/>
                </a:lnTo>
                <a:lnTo>
                  <a:pt x="694944" y="682751"/>
                </a:lnTo>
                <a:lnTo>
                  <a:pt x="720590" y="644723"/>
                </a:lnTo>
                <a:lnTo>
                  <a:pt x="729996" y="598170"/>
                </a:lnTo>
                <a:lnTo>
                  <a:pt x="729996" y="119634"/>
                </a:lnTo>
                <a:lnTo>
                  <a:pt x="720590" y="73080"/>
                </a:lnTo>
                <a:lnTo>
                  <a:pt x="694944" y="35052"/>
                </a:lnTo>
                <a:lnTo>
                  <a:pt x="656915" y="9405"/>
                </a:lnTo>
                <a:lnTo>
                  <a:pt x="610362" y="0"/>
                </a:lnTo>
                <a:close/>
              </a:path>
            </a:pathLst>
          </a:custGeom>
          <a:solidFill>
            <a:srgbClr val="FFFFFF"/>
          </a:solidFill>
        </p:spPr>
        <p:txBody>
          <a:bodyPr wrap="square" lIns="0" tIns="0" rIns="0" bIns="0" rtlCol="0"/>
          <a:lstStyle/>
          <a:p>
            <a:endParaRPr/>
          </a:p>
        </p:txBody>
      </p:sp>
      <p:sp>
        <p:nvSpPr>
          <p:cNvPr id="28" name="object 28"/>
          <p:cNvSpPr/>
          <p:nvPr/>
        </p:nvSpPr>
        <p:spPr>
          <a:xfrm>
            <a:off x="8257031" y="1348739"/>
            <a:ext cx="730250" cy="718185"/>
          </a:xfrm>
          <a:custGeom>
            <a:avLst/>
            <a:gdLst/>
            <a:ahLst/>
            <a:cxnLst/>
            <a:rect l="l" t="t" r="r" b="b"/>
            <a:pathLst>
              <a:path w="730250" h="718185">
                <a:moveTo>
                  <a:pt x="0" y="119634"/>
                </a:moveTo>
                <a:lnTo>
                  <a:pt x="9405" y="73080"/>
                </a:lnTo>
                <a:lnTo>
                  <a:pt x="35051" y="35052"/>
                </a:lnTo>
                <a:lnTo>
                  <a:pt x="73080" y="9405"/>
                </a:lnTo>
                <a:lnTo>
                  <a:pt x="119634" y="0"/>
                </a:lnTo>
                <a:lnTo>
                  <a:pt x="610362" y="0"/>
                </a:lnTo>
                <a:lnTo>
                  <a:pt x="656915" y="9405"/>
                </a:lnTo>
                <a:lnTo>
                  <a:pt x="694944" y="35052"/>
                </a:lnTo>
                <a:lnTo>
                  <a:pt x="720590" y="73080"/>
                </a:lnTo>
                <a:lnTo>
                  <a:pt x="729996" y="119634"/>
                </a:lnTo>
                <a:lnTo>
                  <a:pt x="729996" y="598170"/>
                </a:lnTo>
                <a:lnTo>
                  <a:pt x="720590" y="644723"/>
                </a:lnTo>
                <a:lnTo>
                  <a:pt x="694944" y="682751"/>
                </a:lnTo>
                <a:lnTo>
                  <a:pt x="656915" y="708398"/>
                </a:lnTo>
                <a:lnTo>
                  <a:pt x="610362" y="717804"/>
                </a:lnTo>
                <a:lnTo>
                  <a:pt x="119634" y="717804"/>
                </a:lnTo>
                <a:lnTo>
                  <a:pt x="73080" y="708398"/>
                </a:lnTo>
                <a:lnTo>
                  <a:pt x="35052" y="682751"/>
                </a:lnTo>
                <a:lnTo>
                  <a:pt x="9405" y="644723"/>
                </a:lnTo>
                <a:lnTo>
                  <a:pt x="0" y="598170"/>
                </a:lnTo>
                <a:lnTo>
                  <a:pt x="0" y="119634"/>
                </a:lnTo>
                <a:close/>
              </a:path>
            </a:pathLst>
          </a:custGeom>
          <a:ln w="12192">
            <a:solidFill>
              <a:srgbClr val="006FAC"/>
            </a:solidFill>
          </a:ln>
        </p:spPr>
        <p:txBody>
          <a:bodyPr wrap="square" lIns="0" tIns="0" rIns="0" bIns="0" rtlCol="0"/>
          <a:lstStyle/>
          <a:p>
            <a:endParaRPr/>
          </a:p>
        </p:txBody>
      </p:sp>
      <p:sp>
        <p:nvSpPr>
          <p:cNvPr id="29" name="object 29"/>
          <p:cNvSpPr/>
          <p:nvPr/>
        </p:nvSpPr>
        <p:spPr>
          <a:xfrm>
            <a:off x="8519159" y="2439923"/>
            <a:ext cx="3221990" cy="3874135"/>
          </a:xfrm>
          <a:custGeom>
            <a:avLst/>
            <a:gdLst/>
            <a:ahLst/>
            <a:cxnLst/>
            <a:rect l="l" t="t" r="r" b="b"/>
            <a:pathLst>
              <a:path w="3221990" h="3874135">
                <a:moveTo>
                  <a:pt x="0" y="3874007"/>
                </a:moveTo>
                <a:lnTo>
                  <a:pt x="3221736" y="3874007"/>
                </a:lnTo>
                <a:lnTo>
                  <a:pt x="3221736" y="0"/>
                </a:lnTo>
                <a:lnTo>
                  <a:pt x="0" y="0"/>
                </a:lnTo>
                <a:lnTo>
                  <a:pt x="0" y="3874007"/>
                </a:lnTo>
                <a:close/>
              </a:path>
            </a:pathLst>
          </a:custGeom>
          <a:solidFill>
            <a:srgbClr val="EBEBEB"/>
          </a:solidFill>
        </p:spPr>
        <p:txBody>
          <a:bodyPr wrap="square" lIns="0" tIns="0" rIns="0" bIns="0" rtlCol="0"/>
          <a:lstStyle/>
          <a:p>
            <a:endParaRPr/>
          </a:p>
        </p:txBody>
      </p:sp>
      <p:sp>
        <p:nvSpPr>
          <p:cNvPr id="30" name="object 30"/>
          <p:cNvSpPr/>
          <p:nvPr/>
        </p:nvSpPr>
        <p:spPr>
          <a:xfrm>
            <a:off x="8375904" y="1424939"/>
            <a:ext cx="492759" cy="521334"/>
          </a:xfrm>
          <a:custGeom>
            <a:avLst/>
            <a:gdLst/>
            <a:ahLst/>
            <a:cxnLst/>
            <a:rect l="l" t="t" r="r" b="b"/>
            <a:pathLst>
              <a:path w="492759" h="521335">
                <a:moveTo>
                  <a:pt x="42418" y="306832"/>
                </a:moveTo>
                <a:lnTo>
                  <a:pt x="0" y="306832"/>
                </a:lnTo>
                <a:lnTo>
                  <a:pt x="0" y="520954"/>
                </a:lnTo>
                <a:lnTo>
                  <a:pt x="12573" y="521208"/>
                </a:lnTo>
                <a:lnTo>
                  <a:pt x="408940" y="521208"/>
                </a:lnTo>
                <a:lnTo>
                  <a:pt x="409321" y="510794"/>
                </a:lnTo>
                <a:lnTo>
                  <a:pt x="409321" y="486537"/>
                </a:lnTo>
                <a:lnTo>
                  <a:pt x="42418" y="486537"/>
                </a:lnTo>
                <a:lnTo>
                  <a:pt x="42418" y="306832"/>
                </a:lnTo>
                <a:close/>
              </a:path>
              <a:path w="492759" h="521335">
                <a:moveTo>
                  <a:pt x="409321" y="306832"/>
                </a:moveTo>
                <a:lnTo>
                  <a:pt x="367284" y="306832"/>
                </a:lnTo>
                <a:lnTo>
                  <a:pt x="367284" y="486537"/>
                </a:lnTo>
                <a:lnTo>
                  <a:pt x="409321" y="486537"/>
                </a:lnTo>
                <a:lnTo>
                  <a:pt x="409321" y="306832"/>
                </a:lnTo>
                <a:close/>
              </a:path>
              <a:path w="492759" h="521335">
                <a:moveTo>
                  <a:pt x="324866" y="407543"/>
                </a:moveTo>
                <a:lnTo>
                  <a:pt x="77343" y="407797"/>
                </a:lnTo>
                <a:lnTo>
                  <a:pt x="77343" y="451738"/>
                </a:lnTo>
                <a:lnTo>
                  <a:pt x="324866" y="451358"/>
                </a:lnTo>
                <a:lnTo>
                  <a:pt x="324866" y="407543"/>
                </a:lnTo>
                <a:close/>
              </a:path>
              <a:path w="492759" h="521335">
                <a:moveTo>
                  <a:pt x="84327" y="332486"/>
                </a:moveTo>
                <a:lnTo>
                  <a:pt x="79501" y="376047"/>
                </a:lnTo>
                <a:lnTo>
                  <a:pt x="326263" y="394970"/>
                </a:lnTo>
                <a:lnTo>
                  <a:pt x="330835" y="351409"/>
                </a:lnTo>
                <a:lnTo>
                  <a:pt x="84327" y="332486"/>
                </a:lnTo>
                <a:close/>
              </a:path>
              <a:path w="492759" h="521335">
                <a:moveTo>
                  <a:pt x="108203" y="240537"/>
                </a:moveTo>
                <a:lnTo>
                  <a:pt x="94488" y="282956"/>
                </a:lnTo>
                <a:lnTo>
                  <a:pt x="333628" y="336169"/>
                </a:lnTo>
                <a:lnTo>
                  <a:pt x="347345" y="293750"/>
                </a:lnTo>
                <a:lnTo>
                  <a:pt x="108203" y="240537"/>
                </a:lnTo>
                <a:close/>
              </a:path>
              <a:path w="492759" h="521335">
                <a:moveTo>
                  <a:pt x="165226" y="139064"/>
                </a:moveTo>
                <a:lnTo>
                  <a:pt x="138302" y="176784"/>
                </a:lnTo>
                <a:lnTo>
                  <a:pt x="351536" y="281559"/>
                </a:lnTo>
                <a:lnTo>
                  <a:pt x="378460" y="243712"/>
                </a:lnTo>
                <a:lnTo>
                  <a:pt x="165226" y="139064"/>
                </a:lnTo>
                <a:close/>
              </a:path>
              <a:path w="492759" h="521335">
                <a:moveTo>
                  <a:pt x="291338" y="42799"/>
                </a:moveTo>
                <a:lnTo>
                  <a:pt x="247523" y="67818"/>
                </a:lnTo>
                <a:lnTo>
                  <a:pt x="387223" y="237617"/>
                </a:lnTo>
                <a:lnTo>
                  <a:pt x="430656" y="212851"/>
                </a:lnTo>
                <a:lnTo>
                  <a:pt x="291338" y="42799"/>
                </a:lnTo>
                <a:close/>
              </a:path>
              <a:path w="492759" h="521335">
                <a:moveTo>
                  <a:pt x="449834" y="0"/>
                </a:moveTo>
                <a:lnTo>
                  <a:pt x="397764" y="7620"/>
                </a:lnTo>
                <a:lnTo>
                  <a:pt x="440054" y="210312"/>
                </a:lnTo>
                <a:lnTo>
                  <a:pt x="492251" y="202692"/>
                </a:lnTo>
                <a:lnTo>
                  <a:pt x="449834" y="0"/>
                </a:lnTo>
                <a:close/>
              </a:path>
            </a:pathLst>
          </a:custGeom>
          <a:solidFill>
            <a:srgbClr val="006FAC"/>
          </a:solidFill>
        </p:spPr>
        <p:txBody>
          <a:bodyPr wrap="square" lIns="0" tIns="0" rIns="0" bIns="0" rtlCol="0"/>
          <a:lstStyle/>
          <a:p>
            <a:endParaRPr/>
          </a:p>
        </p:txBody>
      </p:sp>
      <p:sp>
        <p:nvSpPr>
          <p:cNvPr id="31" name="object 31"/>
          <p:cNvSpPr/>
          <p:nvPr/>
        </p:nvSpPr>
        <p:spPr>
          <a:xfrm>
            <a:off x="8674607" y="3656076"/>
            <a:ext cx="2910840" cy="76200"/>
          </a:xfrm>
          <a:custGeom>
            <a:avLst/>
            <a:gdLst/>
            <a:ahLst/>
            <a:cxnLst/>
            <a:rect l="l" t="t" r="r" b="b"/>
            <a:pathLst>
              <a:path w="291084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910840" h="76200">
                <a:moveTo>
                  <a:pt x="2872740" y="0"/>
                </a:moveTo>
                <a:lnTo>
                  <a:pt x="2857892" y="2988"/>
                </a:lnTo>
                <a:lnTo>
                  <a:pt x="2845784" y="11144"/>
                </a:lnTo>
                <a:lnTo>
                  <a:pt x="2837628" y="23252"/>
                </a:lnTo>
                <a:lnTo>
                  <a:pt x="2834640" y="38100"/>
                </a:lnTo>
                <a:lnTo>
                  <a:pt x="2837628" y="52947"/>
                </a:lnTo>
                <a:lnTo>
                  <a:pt x="2845784" y="65055"/>
                </a:lnTo>
                <a:lnTo>
                  <a:pt x="2857892" y="73211"/>
                </a:lnTo>
                <a:lnTo>
                  <a:pt x="2872740" y="76200"/>
                </a:lnTo>
                <a:lnTo>
                  <a:pt x="2887587" y="73211"/>
                </a:lnTo>
                <a:lnTo>
                  <a:pt x="2899695" y="65055"/>
                </a:lnTo>
                <a:lnTo>
                  <a:pt x="2907851" y="52947"/>
                </a:lnTo>
                <a:lnTo>
                  <a:pt x="2909561" y="44450"/>
                </a:lnTo>
                <a:lnTo>
                  <a:pt x="2872740" y="44450"/>
                </a:lnTo>
                <a:lnTo>
                  <a:pt x="2872740" y="31750"/>
                </a:lnTo>
                <a:lnTo>
                  <a:pt x="2909561" y="31750"/>
                </a:lnTo>
                <a:lnTo>
                  <a:pt x="2907851" y="23252"/>
                </a:lnTo>
                <a:lnTo>
                  <a:pt x="2899695" y="11144"/>
                </a:lnTo>
                <a:lnTo>
                  <a:pt x="2887587" y="2988"/>
                </a:lnTo>
                <a:lnTo>
                  <a:pt x="2872740" y="0"/>
                </a:lnTo>
                <a:close/>
              </a:path>
              <a:path w="2910840" h="76200">
                <a:moveTo>
                  <a:pt x="74921" y="31750"/>
                </a:moveTo>
                <a:lnTo>
                  <a:pt x="38100" y="31750"/>
                </a:lnTo>
                <a:lnTo>
                  <a:pt x="38100" y="44450"/>
                </a:lnTo>
                <a:lnTo>
                  <a:pt x="74921" y="44450"/>
                </a:lnTo>
                <a:lnTo>
                  <a:pt x="76200" y="38100"/>
                </a:lnTo>
                <a:lnTo>
                  <a:pt x="74921" y="31750"/>
                </a:lnTo>
                <a:close/>
              </a:path>
              <a:path w="2910840" h="76200">
                <a:moveTo>
                  <a:pt x="2835918" y="31750"/>
                </a:moveTo>
                <a:lnTo>
                  <a:pt x="74921" y="31750"/>
                </a:lnTo>
                <a:lnTo>
                  <a:pt x="76200" y="38100"/>
                </a:lnTo>
                <a:lnTo>
                  <a:pt x="74921" y="44450"/>
                </a:lnTo>
                <a:lnTo>
                  <a:pt x="2835918" y="44450"/>
                </a:lnTo>
                <a:lnTo>
                  <a:pt x="2834640" y="38100"/>
                </a:lnTo>
                <a:lnTo>
                  <a:pt x="2835918" y="31750"/>
                </a:lnTo>
                <a:close/>
              </a:path>
              <a:path w="2910840" h="76200">
                <a:moveTo>
                  <a:pt x="2909561" y="31750"/>
                </a:moveTo>
                <a:lnTo>
                  <a:pt x="2872740" y="31750"/>
                </a:lnTo>
                <a:lnTo>
                  <a:pt x="2872740" y="44450"/>
                </a:lnTo>
                <a:lnTo>
                  <a:pt x="2909561" y="44450"/>
                </a:lnTo>
                <a:lnTo>
                  <a:pt x="2910840" y="38100"/>
                </a:lnTo>
                <a:lnTo>
                  <a:pt x="2909561" y="31750"/>
                </a:lnTo>
                <a:close/>
              </a:path>
            </a:pathLst>
          </a:custGeom>
          <a:solidFill>
            <a:srgbClr val="006FAC"/>
          </a:solidFill>
        </p:spPr>
        <p:txBody>
          <a:bodyPr wrap="square" lIns="0" tIns="0" rIns="0" bIns="0" rtlCol="0"/>
          <a:lstStyle/>
          <a:p>
            <a:endParaRPr/>
          </a:p>
        </p:txBody>
      </p:sp>
      <p:sp>
        <p:nvSpPr>
          <p:cNvPr id="32" name="object 32"/>
          <p:cNvSpPr/>
          <p:nvPr/>
        </p:nvSpPr>
        <p:spPr>
          <a:xfrm>
            <a:off x="739140" y="4011167"/>
            <a:ext cx="524510" cy="553720"/>
          </a:xfrm>
          <a:custGeom>
            <a:avLst/>
            <a:gdLst/>
            <a:ahLst/>
            <a:cxnLst/>
            <a:rect l="l" t="t" r="r" b="b"/>
            <a:pathLst>
              <a:path w="524510" h="553720">
                <a:moveTo>
                  <a:pt x="510514" y="493902"/>
                </a:moveTo>
                <a:lnTo>
                  <a:pt x="13741" y="493902"/>
                </a:lnTo>
                <a:lnTo>
                  <a:pt x="9321" y="495934"/>
                </a:lnTo>
                <a:lnTo>
                  <a:pt x="5600" y="499744"/>
                </a:lnTo>
                <a:lnTo>
                  <a:pt x="1866" y="503681"/>
                </a:lnTo>
                <a:lnTo>
                  <a:pt x="0" y="508380"/>
                </a:lnTo>
                <a:lnTo>
                  <a:pt x="0" y="553211"/>
                </a:lnTo>
                <a:lnTo>
                  <a:pt x="524256" y="553211"/>
                </a:lnTo>
                <a:lnTo>
                  <a:pt x="524256" y="508380"/>
                </a:lnTo>
                <a:lnTo>
                  <a:pt x="522389" y="503681"/>
                </a:lnTo>
                <a:lnTo>
                  <a:pt x="518655" y="499744"/>
                </a:lnTo>
                <a:lnTo>
                  <a:pt x="514921" y="495934"/>
                </a:lnTo>
                <a:lnTo>
                  <a:pt x="510514" y="493902"/>
                </a:lnTo>
                <a:close/>
              </a:path>
              <a:path w="524510" h="553720">
                <a:moveTo>
                  <a:pt x="475564" y="434720"/>
                </a:moveTo>
                <a:lnTo>
                  <a:pt x="48691" y="434720"/>
                </a:lnTo>
                <a:lnTo>
                  <a:pt x="44284" y="436625"/>
                </a:lnTo>
                <a:lnTo>
                  <a:pt x="36817" y="444499"/>
                </a:lnTo>
                <a:lnTo>
                  <a:pt x="34950" y="449071"/>
                </a:lnTo>
                <a:lnTo>
                  <a:pt x="34950" y="474217"/>
                </a:lnTo>
                <a:lnTo>
                  <a:pt x="489305" y="474217"/>
                </a:lnTo>
                <a:lnTo>
                  <a:pt x="489305" y="449071"/>
                </a:lnTo>
                <a:lnTo>
                  <a:pt x="487438" y="444499"/>
                </a:lnTo>
                <a:lnTo>
                  <a:pt x="479971" y="436625"/>
                </a:lnTo>
                <a:lnTo>
                  <a:pt x="475564" y="434720"/>
                </a:lnTo>
                <a:close/>
              </a:path>
              <a:path w="524510" h="553720">
                <a:moveTo>
                  <a:pt x="139801" y="197611"/>
                </a:moveTo>
                <a:lnTo>
                  <a:pt x="69900" y="197611"/>
                </a:lnTo>
                <a:lnTo>
                  <a:pt x="69900" y="434720"/>
                </a:lnTo>
                <a:lnTo>
                  <a:pt x="139801" y="434720"/>
                </a:lnTo>
                <a:lnTo>
                  <a:pt x="139801" y="197611"/>
                </a:lnTo>
                <a:close/>
              </a:path>
              <a:path w="524510" h="553720">
                <a:moveTo>
                  <a:pt x="244652" y="197611"/>
                </a:moveTo>
                <a:lnTo>
                  <a:pt x="174751" y="197611"/>
                </a:lnTo>
                <a:lnTo>
                  <a:pt x="174751" y="434720"/>
                </a:lnTo>
                <a:lnTo>
                  <a:pt x="244652" y="434720"/>
                </a:lnTo>
                <a:lnTo>
                  <a:pt x="244652" y="197611"/>
                </a:lnTo>
                <a:close/>
              </a:path>
              <a:path w="524510" h="553720">
                <a:moveTo>
                  <a:pt x="349503" y="197611"/>
                </a:moveTo>
                <a:lnTo>
                  <a:pt x="279603" y="197611"/>
                </a:lnTo>
                <a:lnTo>
                  <a:pt x="279603" y="434720"/>
                </a:lnTo>
                <a:lnTo>
                  <a:pt x="349503" y="434720"/>
                </a:lnTo>
                <a:lnTo>
                  <a:pt x="349503" y="197611"/>
                </a:lnTo>
                <a:close/>
              </a:path>
              <a:path w="524510" h="553720">
                <a:moveTo>
                  <a:pt x="454355" y="197611"/>
                </a:moveTo>
                <a:lnTo>
                  <a:pt x="384454" y="197611"/>
                </a:lnTo>
                <a:lnTo>
                  <a:pt x="384454" y="434720"/>
                </a:lnTo>
                <a:lnTo>
                  <a:pt x="454355" y="434720"/>
                </a:lnTo>
                <a:lnTo>
                  <a:pt x="454355" y="197611"/>
                </a:lnTo>
                <a:close/>
              </a:path>
              <a:path w="524510" h="553720">
                <a:moveTo>
                  <a:pt x="489305" y="158114"/>
                </a:moveTo>
                <a:lnTo>
                  <a:pt x="34950" y="158114"/>
                </a:lnTo>
                <a:lnTo>
                  <a:pt x="34950" y="163448"/>
                </a:lnTo>
                <a:lnTo>
                  <a:pt x="36817" y="168020"/>
                </a:lnTo>
                <a:lnTo>
                  <a:pt x="44284" y="175894"/>
                </a:lnTo>
                <a:lnTo>
                  <a:pt x="48691" y="177799"/>
                </a:lnTo>
                <a:lnTo>
                  <a:pt x="475564" y="177799"/>
                </a:lnTo>
                <a:lnTo>
                  <a:pt x="479971" y="175894"/>
                </a:lnTo>
                <a:lnTo>
                  <a:pt x="487438" y="168020"/>
                </a:lnTo>
                <a:lnTo>
                  <a:pt x="489305" y="163448"/>
                </a:lnTo>
                <a:lnTo>
                  <a:pt x="489305" y="158114"/>
                </a:lnTo>
                <a:close/>
              </a:path>
              <a:path w="524510" h="553720">
                <a:moveTo>
                  <a:pt x="262128" y="0"/>
                </a:moveTo>
                <a:lnTo>
                  <a:pt x="0" y="118490"/>
                </a:lnTo>
                <a:lnTo>
                  <a:pt x="0" y="158114"/>
                </a:lnTo>
                <a:lnTo>
                  <a:pt x="524256" y="158114"/>
                </a:lnTo>
                <a:lnTo>
                  <a:pt x="524256" y="118490"/>
                </a:lnTo>
                <a:lnTo>
                  <a:pt x="262128" y="0"/>
                </a:lnTo>
                <a:close/>
              </a:path>
            </a:pathLst>
          </a:custGeom>
          <a:solidFill>
            <a:srgbClr val="6FAC0F"/>
          </a:solidFill>
        </p:spPr>
        <p:txBody>
          <a:bodyPr wrap="square" lIns="0" tIns="0" rIns="0" bIns="0" rtlCol="0"/>
          <a:lstStyle/>
          <a:p>
            <a:endParaRPr/>
          </a:p>
        </p:txBody>
      </p:sp>
      <p:sp>
        <p:nvSpPr>
          <p:cNvPr id="33" name="object 33"/>
          <p:cNvSpPr/>
          <p:nvPr/>
        </p:nvSpPr>
        <p:spPr>
          <a:xfrm>
            <a:off x="4930140" y="4055364"/>
            <a:ext cx="329565" cy="172720"/>
          </a:xfrm>
          <a:custGeom>
            <a:avLst/>
            <a:gdLst/>
            <a:ahLst/>
            <a:cxnLst/>
            <a:rect l="l" t="t" r="r" b="b"/>
            <a:pathLst>
              <a:path w="329564" h="172720">
                <a:moveTo>
                  <a:pt x="257429" y="0"/>
                </a:moveTo>
                <a:lnTo>
                  <a:pt x="114046" y="0"/>
                </a:lnTo>
                <a:lnTo>
                  <a:pt x="97643" y="1714"/>
                </a:lnTo>
                <a:lnTo>
                  <a:pt x="82740" y="7048"/>
                </a:lnTo>
                <a:lnTo>
                  <a:pt x="69647" y="16287"/>
                </a:lnTo>
                <a:lnTo>
                  <a:pt x="58674" y="29718"/>
                </a:lnTo>
                <a:lnTo>
                  <a:pt x="0" y="118744"/>
                </a:lnTo>
                <a:lnTo>
                  <a:pt x="101092" y="172212"/>
                </a:lnTo>
                <a:lnTo>
                  <a:pt x="172720" y="71247"/>
                </a:lnTo>
                <a:lnTo>
                  <a:pt x="329184" y="59436"/>
                </a:lnTo>
                <a:lnTo>
                  <a:pt x="303149" y="20828"/>
                </a:lnTo>
                <a:lnTo>
                  <a:pt x="293701" y="8786"/>
                </a:lnTo>
                <a:lnTo>
                  <a:pt x="283956" y="2603"/>
                </a:lnTo>
                <a:lnTo>
                  <a:pt x="272377" y="325"/>
                </a:lnTo>
                <a:lnTo>
                  <a:pt x="257429" y="0"/>
                </a:lnTo>
                <a:close/>
              </a:path>
            </a:pathLst>
          </a:custGeom>
          <a:solidFill>
            <a:srgbClr val="FF2F4B"/>
          </a:solidFill>
        </p:spPr>
        <p:txBody>
          <a:bodyPr wrap="square" lIns="0" tIns="0" rIns="0" bIns="0" rtlCol="0"/>
          <a:lstStyle/>
          <a:p>
            <a:endParaRPr/>
          </a:p>
        </p:txBody>
      </p:sp>
      <p:sp>
        <p:nvSpPr>
          <p:cNvPr id="34" name="object 34"/>
          <p:cNvSpPr/>
          <p:nvPr/>
        </p:nvSpPr>
        <p:spPr>
          <a:xfrm>
            <a:off x="5058155" y="4061459"/>
            <a:ext cx="236220" cy="137159"/>
          </a:xfrm>
          <a:prstGeom prst="rect">
            <a:avLst/>
          </a:prstGeom>
          <a:blipFill>
            <a:blip r:embed="rId2" cstate="print"/>
            <a:stretch>
              <a:fillRect/>
            </a:stretch>
          </a:blipFill>
        </p:spPr>
        <p:txBody>
          <a:bodyPr wrap="square" lIns="0" tIns="0" rIns="0" bIns="0" rtlCol="0"/>
          <a:lstStyle/>
          <a:p>
            <a:endParaRPr/>
          </a:p>
        </p:txBody>
      </p:sp>
      <p:sp>
        <p:nvSpPr>
          <p:cNvPr id="35" name="object 35"/>
          <p:cNvSpPr/>
          <p:nvPr/>
        </p:nvSpPr>
        <p:spPr>
          <a:xfrm>
            <a:off x="5221223" y="4191000"/>
            <a:ext cx="169545" cy="295910"/>
          </a:xfrm>
          <a:custGeom>
            <a:avLst/>
            <a:gdLst/>
            <a:ahLst/>
            <a:cxnLst/>
            <a:rect l="l" t="t" r="r" b="b"/>
            <a:pathLst>
              <a:path w="169545" h="295910">
                <a:moveTo>
                  <a:pt x="96520" y="0"/>
                </a:moveTo>
                <a:lnTo>
                  <a:pt x="0" y="59181"/>
                </a:lnTo>
                <a:lnTo>
                  <a:pt x="64388" y="162560"/>
                </a:lnTo>
                <a:lnTo>
                  <a:pt x="6476" y="295656"/>
                </a:lnTo>
                <a:lnTo>
                  <a:pt x="57912" y="292735"/>
                </a:lnTo>
                <a:lnTo>
                  <a:pt x="99695" y="266064"/>
                </a:lnTo>
                <a:lnTo>
                  <a:pt x="160909" y="147827"/>
                </a:lnTo>
                <a:lnTo>
                  <a:pt x="168925" y="118236"/>
                </a:lnTo>
                <a:lnTo>
                  <a:pt x="165391" y="103715"/>
                </a:lnTo>
                <a:lnTo>
                  <a:pt x="157606" y="88645"/>
                </a:lnTo>
                <a:lnTo>
                  <a:pt x="96520" y="0"/>
                </a:lnTo>
                <a:close/>
              </a:path>
            </a:pathLst>
          </a:custGeom>
          <a:solidFill>
            <a:srgbClr val="FF2F4B"/>
          </a:solidFill>
        </p:spPr>
        <p:txBody>
          <a:bodyPr wrap="square" lIns="0" tIns="0" rIns="0" bIns="0" rtlCol="0"/>
          <a:lstStyle/>
          <a:p>
            <a:endParaRPr/>
          </a:p>
        </p:txBody>
      </p:sp>
      <p:sp>
        <p:nvSpPr>
          <p:cNvPr id="36" name="object 36"/>
          <p:cNvSpPr/>
          <p:nvPr/>
        </p:nvSpPr>
        <p:spPr>
          <a:xfrm>
            <a:off x="5152644" y="4344923"/>
            <a:ext cx="216407" cy="176783"/>
          </a:xfrm>
          <a:prstGeom prst="rect">
            <a:avLst/>
          </a:prstGeom>
          <a:blipFill>
            <a:blip r:embed="rId3" cstate="print"/>
            <a:stretch>
              <a:fillRect/>
            </a:stretch>
          </a:blipFill>
        </p:spPr>
        <p:txBody>
          <a:bodyPr wrap="square" lIns="0" tIns="0" rIns="0" bIns="0" rtlCol="0"/>
          <a:lstStyle/>
          <a:p>
            <a:endParaRPr/>
          </a:p>
        </p:txBody>
      </p:sp>
      <p:sp>
        <p:nvSpPr>
          <p:cNvPr id="37" name="object 37"/>
          <p:cNvSpPr/>
          <p:nvPr/>
        </p:nvSpPr>
        <p:spPr>
          <a:xfrm>
            <a:off x="4847764" y="4268723"/>
            <a:ext cx="259715" cy="226060"/>
          </a:xfrm>
          <a:custGeom>
            <a:avLst/>
            <a:gdLst/>
            <a:ahLst/>
            <a:cxnLst/>
            <a:rect l="l" t="t" r="r" b="b"/>
            <a:pathLst>
              <a:path w="259714" h="226060">
                <a:moveTo>
                  <a:pt x="31321" y="0"/>
                </a:moveTo>
                <a:lnTo>
                  <a:pt x="5286" y="41020"/>
                </a:lnTo>
                <a:lnTo>
                  <a:pt x="351" y="54504"/>
                </a:lnTo>
                <a:lnTo>
                  <a:pt x="0" y="65547"/>
                </a:lnTo>
                <a:lnTo>
                  <a:pt x="3911" y="76043"/>
                </a:lnTo>
                <a:lnTo>
                  <a:pt x="86693" y="199136"/>
                </a:lnTo>
                <a:lnTo>
                  <a:pt x="126930" y="223906"/>
                </a:lnTo>
                <a:lnTo>
                  <a:pt x="145240" y="225551"/>
                </a:lnTo>
                <a:lnTo>
                  <a:pt x="259159" y="225551"/>
                </a:lnTo>
                <a:lnTo>
                  <a:pt x="255857" y="120142"/>
                </a:lnTo>
                <a:lnTo>
                  <a:pt x="125682" y="114300"/>
                </a:lnTo>
                <a:lnTo>
                  <a:pt x="31321" y="0"/>
                </a:lnTo>
                <a:close/>
              </a:path>
            </a:pathLst>
          </a:custGeom>
          <a:solidFill>
            <a:srgbClr val="FF2F4B"/>
          </a:solidFill>
        </p:spPr>
        <p:txBody>
          <a:bodyPr wrap="square" lIns="0" tIns="0" rIns="0" bIns="0" rtlCol="0"/>
          <a:lstStyle/>
          <a:p>
            <a:endParaRPr/>
          </a:p>
        </p:txBody>
      </p:sp>
      <p:sp>
        <p:nvSpPr>
          <p:cNvPr id="38" name="object 38"/>
          <p:cNvSpPr/>
          <p:nvPr/>
        </p:nvSpPr>
        <p:spPr>
          <a:xfrm>
            <a:off x="4843271" y="4235196"/>
            <a:ext cx="176783" cy="217931"/>
          </a:xfrm>
          <a:prstGeom prst="rect">
            <a:avLst/>
          </a:prstGeom>
          <a:blipFill>
            <a:blip r:embed="rId4" cstate="print"/>
            <a:stretch>
              <a:fillRect/>
            </a:stretch>
          </a:blipFill>
        </p:spPr>
        <p:txBody>
          <a:bodyPr wrap="square" lIns="0" tIns="0" rIns="0" bIns="0" rtlCol="0"/>
          <a:lstStyle/>
          <a:p>
            <a:endParaRPr/>
          </a:p>
        </p:txBody>
      </p:sp>
      <p:sp>
        <p:nvSpPr>
          <p:cNvPr id="39" name="object 39"/>
          <p:cNvSpPr/>
          <p:nvPr/>
        </p:nvSpPr>
        <p:spPr>
          <a:xfrm>
            <a:off x="8852916" y="4099559"/>
            <a:ext cx="386080" cy="277495"/>
          </a:xfrm>
          <a:custGeom>
            <a:avLst/>
            <a:gdLst/>
            <a:ahLst/>
            <a:cxnLst/>
            <a:rect l="l" t="t" r="r" b="b"/>
            <a:pathLst>
              <a:path w="386079" h="277495">
                <a:moveTo>
                  <a:pt x="224916" y="0"/>
                </a:moveTo>
                <a:lnTo>
                  <a:pt x="17399" y="0"/>
                </a:lnTo>
                <a:lnTo>
                  <a:pt x="11683" y="1396"/>
                </a:lnTo>
                <a:lnTo>
                  <a:pt x="2285" y="7238"/>
                </a:lnTo>
                <a:lnTo>
                  <a:pt x="84" y="10540"/>
                </a:lnTo>
                <a:lnTo>
                  <a:pt x="0" y="266572"/>
                </a:lnTo>
                <a:lnTo>
                  <a:pt x="2285" y="270128"/>
                </a:lnTo>
                <a:lnTo>
                  <a:pt x="11683" y="275970"/>
                </a:lnTo>
                <a:lnTo>
                  <a:pt x="17399" y="277367"/>
                </a:lnTo>
                <a:lnTo>
                  <a:pt x="368173" y="277367"/>
                </a:lnTo>
                <a:lnTo>
                  <a:pt x="373887" y="275970"/>
                </a:lnTo>
                <a:lnTo>
                  <a:pt x="383285" y="270128"/>
                </a:lnTo>
                <a:lnTo>
                  <a:pt x="385572" y="266572"/>
                </a:lnTo>
                <a:lnTo>
                  <a:pt x="385572" y="217931"/>
                </a:lnTo>
                <a:lnTo>
                  <a:pt x="102107" y="217931"/>
                </a:lnTo>
                <a:lnTo>
                  <a:pt x="100202" y="217423"/>
                </a:lnTo>
                <a:lnTo>
                  <a:pt x="97154" y="215645"/>
                </a:lnTo>
                <a:lnTo>
                  <a:pt x="96392" y="214375"/>
                </a:lnTo>
                <a:lnTo>
                  <a:pt x="96392" y="201675"/>
                </a:lnTo>
                <a:lnTo>
                  <a:pt x="97154" y="200406"/>
                </a:lnTo>
                <a:lnTo>
                  <a:pt x="100202" y="198627"/>
                </a:lnTo>
                <a:lnTo>
                  <a:pt x="102107" y="198119"/>
                </a:lnTo>
                <a:lnTo>
                  <a:pt x="385572" y="198119"/>
                </a:lnTo>
                <a:lnTo>
                  <a:pt x="385572" y="178307"/>
                </a:lnTo>
                <a:lnTo>
                  <a:pt x="102107" y="178307"/>
                </a:lnTo>
                <a:lnTo>
                  <a:pt x="100202" y="177800"/>
                </a:lnTo>
                <a:lnTo>
                  <a:pt x="97154" y="176021"/>
                </a:lnTo>
                <a:lnTo>
                  <a:pt x="96392" y="174751"/>
                </a:lnTo>
                <a:lnTo>
                  <a:pt x="96392" y="162051"/>
                </a:lnTo>
                <a:lnTo>
                  <a:pt x="97154" y="160781"/>
                </a:lnTo>
                <a:lnTo>
                  <a:pt x="100202" y="159003"/>
                </a:lnTo>
                <a:lnTo>
                  <a:pt x="102107" y="158495"/>
                </a:lnTo>
                <a:lnTo>
                  <a:pt x="385572" y="158495"/>
                </a:lnTo>
                <a:lnTo>
                  <a:pt x="385572" y="138683"/>
                </a:lnTo>
                <a:lnTo>
                  <a:pt x="102107" y="138683"/>
                </a:lnTo>
                <a:lnTo>
                  <a:pt x="100202" y="138175"/>
                </a:lnTo>
                <a:lnTo>
                  <a:pt x="97154" y="136397"/>
                </a:lnTo>
                <a:lnTo>
                  <a:pt x="96392" y="135127"/>
                </a:lnTo>
                <a:lnTo>
                  <a:pt x="96392" y="122427"/>
                </a:lnTo>
                <a:lnTo>
                  <a:pt x="97154" y="121157"/>
                </a:lnTo>
                <a:lnTo>
                  <a:pt x="100202" y="119379"/>
                </a:lnTo>
                <a:lnTo>
                  <a:pt x="102107" y="118871"/>
                </a:lnTo>
                <a:lnTo>
                  <a:pt x="385572" y="118871"/>
                </a:lnTo>
                <a:lnTo>
                  <a:pt x="385572" y="99059"/>
                </a:lnTo>
                <a:lnTo>
                  <a:pt x="242315" y="99059"/>
                </a:lnTo>
                <a:lnTo>
                  <a:pt x="236600" y="97662"/>
                </a:lnTo>
                <a:lnTo>
                  <a:pt x="227202" y="91820"/>
                </a:lnTo>
                <a:lnTo>
                  <a:pt x="224916" y="88264"/>
                </a:lnTo>
                <a:lnTo>
                  <a:pt x="224916" y="0"/>
                </a:lnTo>
                <a:close/>
              </a:path>
              <a:path w="386079" h="277495">
                <a:moveTo>
                  <a:pt x="385572" y="198119"/>
                </a:moveTo>
                <a:lnTo>
                  <a:pt x="283463" y="198119"/>
                </a:lnTo>
                <a:lnTo>
                  <a:pt x="285368" y="198627"/>
                </a:lnTo>
                <a:lnTo>
                  <a:pt x="288416" y="200406"/>
                </a:lnTo>
                <a:lnTo>
                  <a:pt x="289178" y="201675"/>
                </a:lnTo>
                <a:lnTo>
                  <a:pt x="289178" y="214375"/>
                </a:lnTo>
                <a:lnTo>
                  <a:pt x="288416" y="215645"/>
                </a:lnTo>
                <a:lnTo>
                  <a:pt x="285368" y="217423"/>
                </a:lnTo>
                <a:lnTo>
                  <a:pt x="283463" y="217931"/>
                </a:lnTo>
                <a:lnTo>
                  <a:pt x="385572" y="217931"/>
                </a:lnTo>
                <a:lnTo>
                  <a:pt x="385572" y="198119"/>
                </a:lnTo>
                <a:close/>
              </a:path>
              <a:path w="386079" h="277495">
                <a:moveTo>
                  <a:pt x="385572" y="158495"/>
                </a:moveTo>
                <a:lnTo>
                  <a:pt x="283463" y="158495"/>
                </a:lnTo>
                <a:lnTo>
                  <a:pt x="285368" y="159003"/>
                </a:lnTo>
                <a:lnTo>
                  <a:pt x="288416" y="160781"/>
                </a:lnTo>
                <a:lnTo>
                  <a:pt x="289178" y="162051"/>
                </a:lnTo>
                <a:lnTo>
                  <a:pt x="289178" y="174751"/>
                </a:lnTo>
                <a:lnTo>
                  <a:pt x="288416" y="176021"/>
                </a:lnTo>
                <a:lnTo>
                  <a:pt x="285368" y="177800"/>
                </a:lnTo>
                <a:lnTo>
                  <a:pt x="283463" y="178307"/>
                </a:lnTo>
                <a:lnTo>
                  <a:pt x="385572" y="178307"/>
                </a:lnTo>
                <a:lnTo>
                  <a:pt x="385572" y="158495"/>
                </a:lnTo>
                <a:close/>
              </a:path>
              <a:path w="386079" h="277495">
                <a:moveTo>
                  <a:pt x="385572" y="118871"/>
                </a:moveTo>
                <a:lnTo>
                  <a:pt x="283463" y="118871"/>
                </a:lnTo>
                <a:lnTo>
                  <a:pt x="285368" y="119379"/>
                </a:lnTo>
                <a:lnTo>
                  <a:pt x="288416" y="121157"/>
                </a:lnTo>
                <a:lnTo>
                  <a:pt x="289178" y="122427"/>
                </a:lnTo>
                <a:lnTo>
                  <a:pt x="289178" y="135127"/>
                </a:lnTo>
                <a:lnTo>
                  <a:pt x="288416" y="136397"/>
                </a:lnTo>
                <a:lnTo>
                  <a:pt x="285368" y="138175"/>
                </a:lnTo>
                <a:lnTo>
                  <a:pt x="283463" y="138683"/>
                </a:lnTo>
                <a:lnTo>
                  <a:pt x="385572" y="138683"/>
                </a:lnTo>
                <a:lnTo>
                  <a:pt x="385572" y="118871"/>
                </a:lnTo>
                <a:close/>
              </a:path>
              <a:path w="386079" h="277495">
                <a:moveTo>
                  <a:pt x="257048" y="6222"/>
                </a:moveTo>
                <a:lnTo>
                  <a:pt x="257048" y="79247"/>
                </a:lnTo>
                <a:lnTo>
                  <a:pt x="375538" y="79247"/>
                </a:lnTo>
                <a:lnTo>
                  <a:pt x="373125" y="76962"/>
                </a:lnTo>
                <a:lnTo>
                  <a:pt x="370839" y="75056"/>
                </a:lnTo>
                <a:lnTo>
                  <a:pt x="266064" y="10540"/>
                </a:lnTo>
                <a:lnTo>
                  <a:pt x="263778" y="9016"/>
                </a:lnTo>
                <a:lnTo>
                  <a:pt x="260730" y="7619"/>
                </a:lnTo>
                <a:lnTo>
                  <a:pt x="257048" y="6222"/>
                </a:lnTo>
                <a:close/>
              </a:path>
            </a:pathLst>
          </a:custGeom>
          <a:solidFill>
            <a:srgbClr val="006FAC"/>
          </a:solidFill>
        </p:spPr>
        <p:txBody>
          <a:bodyPr wrap="square" lIns="0" tIns="0" rIns="0" bIns="0" rtlCol="0"/>
          <a:lstStyle/>
          <a:p>
            <a:endParaRPr/>
          </a:p>
        </p:txBody>
      </p:sp>
      <p:sp>
        <p:nvSpPr>
          <p:cNvPr id="40" name="object 40"/>
          <p:cNvSpPr/>
          <p:nvPr/>
        </p:nvSpPr>
        <p:spPr>
          <a:xfrm>
            <a:off x="8674607" y="4922520"/>
            <a:ext cx="2910840" cy="76200"/>
          </a:xfrm>
          <a:custGeom>
            <a:avLst/>
            <a:gdLst/>
            <a:ahLst/>
            <a:cxnLst/>
            <a:rect l="l" t="t" r="r" b="b"/>
            <a:pathLst>
              <a:path w="2910840" h="76200">
                <a:moveTo>
                  <a:pt x="38100" y="0"/>
                </a:moveTo>
                <a:lnTo>
                  <a:pt x="23252" y="2988"/>
                </a:lnTo>
                <a:lnTo>
                  <a:pt x="11144" y="11144"/>
                </a:lnTo>
                <a:lnTo>
                  <a:pt x="2988" y="23252"/>
                </a:lnTo>
                <a:lnTo>
                  <a:pt x="0" y="38099"/>
                </a:lnTo>
                <a:lnTo>
                  <a:pt x="2988" y="52947"/>
                </a:lnTo>
                <a:lnTo>
                  <a:pt x="11144" y="65055"/>
                </a:lnTo>
                <a:lnTo>
                  <a:pt x="23252" y="73211"/>
                </a:lnTo>
                <a:lnTo>
                  <a:pt x="38100" y="76199"/>
                </a:lnTo>
                <a:lnTo>
                  <a:pt x="52947" y="73211"/>
                </a:lnTo>
                <a:lnTo>
                  <a:pt x="65055" y="65055"/>
                </a:lnTo>
                <a:lnTo>
                  <a:pt x="73211" y="52947"/>
                </a:lnTo>
                <a:lnTo>
                  <a:pt x="74921" y="44449"/>
                </a:lnTo>
                <a:lnTo>
                  <a:pt x="38100" y="44449"/>
                </a:lnTo>
                <a:lnTo>
                  <a:pt x="38100" y="31749"/>
                </a:lnTo>
                <a:lnTo>
                  <a:pt x="74921" y="31749"/>
                </a:lnTo>
                <a:lnTo>
                  <a:pt x="73211" y="23252"/>
                </a:lnTo>
                <a:lnTo>
                  <a:pt x="65055" y="11144"/>
                </a:lnTo>
                <a:lnTo>
                  <a:pt x="52947" y="2988"/>
                </a:lnTo>
                <a:lnTo>
                  <a:pt x="38100" y="0"/>
                </a:lnTo>
                <a:close/>
              </a:path>
              <a:path w="2910840" h="76200">
                <a:moveTo>
                  <a:pt x="2872740" y="0"/>
                </a:moveTo>
                <a:lnTo>
                  <a:pt x="2857892" y="2988"/>
                </a:lnTo>
                <a:lnTo>
                  <a:pt x="2845784" y="11144"/>
                </a:lnTo>
                <a:lnTo>
                  <a:pt x="2837628" y="23252"/>
                </a:lnTo>
                <a:lnTo>
                  <a:pt x="2834640" y="38099"/>
                </a:lnTo>
                <a:lnTo>
                  <a:pt x="2837628" y="52947"/>
                </a:lnTo>
                <a:lnTo>
                  <a:pt x="2845784" y="65055"/>
                </a:lnTo>
                <a:lnTo>
                  <a:pt x="2857892" y="73211"/>
                </a:lnTo>
                <a:lnTo>
                  <a:pt x="2872740" y="76199"/>
                </a:lnTo>
                <a:lnTo>
                  <a:pt x="2887587" y="73211"/>
                </a:lnTo>
                <a:lnTo>
                  <a:pt x="2899695" y="65055"/>
                </a:lnTo>
                <a:lnTo>
                  <a:pt x="2907851" y="52947"/>
                </a:lnTo>
                <a:lnTo>
                  <a:pt x="2909561" y="44449"/>
                </a:lnTo>
                <a:lnTo>
                  <a:pt x="2872740" y="44449"/>
                </a:lnTo>
                <a:lnTo>
                  <a:pt x="2872740" y="31749"/>
                </a:lnTo>
                <a:lnTo>
                  <a:pt x="2909561" y="31749"/>
                </a:lnTo>
                <a:lnTo>
                  <a:pt x="2907851" y="23252"/>
                </a:lnTo>
                <a:lnTo>
                  <a:pt x="2899695" y="11144"/>
                </a:lnTo>
                <a:lnTo>
                  <a:pt x="2887587" y="2988"/>
                </a:lnTo>
                <a:lnTo>
                  <a:pt x="2872740" y="0"/>
                </a:lnTo>
                <a:close/>
              </a:path>
              <a:path w="2910840" h="76200">
                <a:moveTo>
                  <a:pt x="74921" y="31749"/>
                </a:moveTo>
                <a:lnTo>
                  <a:pt x="38100" y="31749"/>
                </a:lnTo>
                <a:lnTo>
                  <a:pt x="38100" y="44449"/>
                </a:lnTo>
                <a:lnTo>
                  <a:pt x="74921" y="44449"/>
                </a:lnTo>
                <a:lnTo>
                  <a:pt x="76200" y="38099"/>
                </a:lnTo>
                <a:lnTo>
                  <a:pt x="74921" y="31749"/>
                </a:lnTo>
                <a:close/>
              </a:path>
              <a:path w="2910840" h="76200">
                <a:moveTo>
                  <a:pt x="2835918" y="31749"/>
                </a:moveTo>
                <a:lnTo>
                  <a:pt x="74921" y="31749"/>
                </a:lnTo>
                <a:lnTo>
                  <a:pt x="76200" y="38099"/>
                </a:lnTo>
                <a:lnTo>
                  <a:pt x="74921" y="44449"/>
                </a:lnTo>
                <a:lnTo>
                  <a:pt x="2835918" y="44449"/>
                </a:lnTo>
                <a:lnTo>
                  <a:pt x="2834640" y="38099"/>
                </a:lnTo>
                <a:lnTo>
                  <a:pt x="2835918" y="31749"/>
                </a:lnTo>
                <a:close/>
              </a:path>
              <a:path w="2910840" h="76200">
                <a:moveTo>
                  <a:pt x="2909561" y="31749"/>
                </a:moveTo>
                <a:lnTo>
                  <a:pt x="2872740" y="31749"/>
                </a:lnTo>
                <a:lnTo>
                  <a:pt x="2872740" y="44449"/>
                </a:lnTo>
                <a:lnTo>
                  <a:pt x="2909561" y="44449"/>
                </a:lnTo>
                <a:lnTo>
                  <a:pt x="2910840" y="38099"/>
                </a:lnTo>
                <a:lnTo>
                  <a:pt x="2909561" y="31749"/>
                </a:lnTo>
                <a:close/>
              </a:path>
            </a:pathLst>
          </a:custGeom>
          <a:solidFill>
            <a:srgbClr val="006FAC"/>
          </a:solidFill>
        </p:spPr>
        <p:txBody>
          <a:bodyPr wrap="square" lIns="0" tIns="0" rIns="0" bIns="0" rtlCol="0"/>
          <a:lstStyle/>
          <a:p>
            <a:endParaRPr/>
          </a:p>
        </p:txBody>
      </p:sp>
      <p:sp>
        <p:nvSpPr>
          <p:cNvPr id="41" name="object 41"/>
          <p:cNvSpPr/>
          <p:nvPr/>
        </p:nvSpPr>
        <p:spPr>
          <a:xfrm>
            <a:off x="795527" y="5352288"/>
            <a:ext cx="439420" cy="464820"/>
          </a:xfrm>
          <a:custGeom>
            <a:avLst/>
            <a:gdLst/>
            <a:ahLst/>
            <a:cxnLst/>
            <a:rect l="l" t="t" r="r" b="b"/>
            <a:pathLst>
              <a:path w="439419" h="464820">
                <a:moveTo>
                  <a:pt x="356616" y="0"/>
                </a:moveTo>
                <a:lnTo>
                  <a:pt x="82296" y="0"/>
                </a:lnTo>
                <a:lnTo>
                  <a:pt x="65910" y="1595"/>
                </a:lnTo>
                <a:lnTo>
                  <a:pt x="24142" y="25527"/>
                </a:lnTo>
                <a:lnTo>
                  <a:pt x="1509" y="69782"/>
                </a:lnTo>
                <a:lnTo>
                  <a:pt x="0" y="87122"/>
                </a:lnTo>
                <a:lnTo>
                  <a:pt x="0" y="377659"/>
                </a:lnTo>
                <a:lnTo>
                  <a:pt x="13582" y="425806"/>
                </a:lnTo>
                <a:lnTo>
                  <a:pt x="50757" y="458427"/>
                </a:lnTo>
                <a:lnTo>
                  <a:pt x="82296" y="464820"/>
                </a:lnTo>
                <a:lnTo>
                  <a:pt x="356616" y="464820"/>
                </a:lnTo>
                <a:lnTo>
                  <a:pt x="402077" y="450434"/>
                </a:lnTo>
                <a:lnTo>
                  <a:pt x="432874" y="411065"/>
                </a:lnTo>
                <a:lnTo>
                  <a:pt x="438912" y="377659"/>
                </a:lnTo>
                <a:lnTo>
                  <a:pt x="438912" y="360108"/>
                </a:lnTo>
                <a:lnTo>
                  <a:pt x="177927" y="360108"/>
                </a:lnTo>
                <a:lnTo>
                  <a:pt x="173647" y="358203"/>
                </a:lnTo>
                <a:lnTo>
                  <a:pt x="64096" y="242189"/>
                </a:lnTo>
                <a:lnTo>
                  <a:pt x="62293" y="237655"/>
                </a:lnTo>
                <a:lnTo>
                  <a:pt x="62293" y="227203"/>
                </a:lnTo>
                <a:lnTo>
                  <a:pt x="64096" y="222631"/>
                </a:lnTo>
                <a:lnTo>
                  <a:pt x="100482" y="184150"/>
                </a:lnTo>
                <a:lnTo>
                  <a:pt x="104775" y="182118"/>
                </a:lnTo>
                <a:lnTo>
                  <a:pt x="248676" y="182118"/>
                </a:lnTo>
                <a:lnTo>
                  <a:pt x="319951" y="106680"/>
                </a:lnTo>
                <a:lnTo>
                  <a:pt x="324231" y="104648"/>
                </a:lnTo>
                <a:lnTo>
                  <a:pt x="438912" y="104648"/>
                </a:lnTo>
                <a:lnTo>
                  <a:pt x="438912" y="87122"/>
                </a:lnTo>
                <a:lnTo>
                  <a:pt x="425329" y="39008"/>
                </a:lnTo>
                <a:lnTo>
                  <a:pt x="388154" y="6381"/>
                </a:lnTo>
                <a:lnTo>
                  <a:pt x="373001" y="1595"/>
                </a:lnTo>
                <a:lnTo>
                  <a:pt x="356616" y="0"/>
                </a:lnTo>
                <a:close/>
              </a:path>
              <a:path w="439419" h="464820">
                <a:moveTo>
                  <a:pt x="438912" y="104648"/>
                </a:moveTo>
                <a:lnTo>
                  <a:pt x="334137" y="104648"/>
                </a:lnTo>
                <a:lnTo>
                  <a:pt x="338416" y="106680"/>
                </a:lnTo>
                <a:lnTo>
                  <a:pt x="374802" y="145161"/>
                </a:lnTo>
                <a:lnTo>
                  <a:pt x="376618" y="149733"/>
                </a:lnTo>
                <a:lnTo>
                  <a:pt x="376618" y="160147"/>
                </a:lnTo>
                <a:lnTo>
                  <a:pt x="374802" y="164719"/>
                </a:lnTo>
                <a:lnTo>
                  <a:pt x="192112" y="358203"/>
                </a:lnTo>
                <a:lnTo>
                  <a:pt x="187833" y="360108"/>
                </a:lnTo>
                <a:lnTo>
                  <a:pt x="438912" y="360108"/>
                </a:lnTo>
                <a:lnTo>
                  <a:pt x="438912" y="104648"/>
                </a:lnTo>
                <a:close/>
              </a:path>
              <a:path w="439419" h="464820">
                <a:moveTo>
                  <a:pt x="248676" y="182118"/>
                </a:moveTo>
                <a:lnTo>
                  <a:pt x="114681" y="182118"/>
                </a:lnTo>
                <a:lnTo>
                  <a:pt x="118960" y="184150"/>
                </a:lnTo>
                <a:lnTo>
                  <a:pt x="182880" y="251777"/>
                </a:lnTo>
                <a:lnTo>
                  <a:pt x="248676" y="182118"/>
                </a:lnTo>
                <a:close/>
              </a:path>
            </a:pathLst>
          </a:custGeom>
          <a:solidFill>
            <a:srgbClr val="6FAC0F"/>
          </a:solidFill>
        </p:spPr>
        <p:txBody>
          <a:bodyPr wrap="square" lIns="0" tIns="0" rIns="0" bIns="0" rtlCol="0"/>
          <a:lstStyle/>
          <a:p>
            <a:endParaRPr/>
          </a:p>
        </p:txBody>
      </p:sp>
      <p:sp>
        <p:nvSpPr>
          <p:cNvPr id="42" name="object 42"/>
          <p:cNvSpPr/>
          <p:nvPr/>
        </p:nvSpPr>
        <p:spPr>
          <a:xfrm>
            <a:off x="4858511" y="5367528"/>
            <a:ext cx="521334" cy="436245"/>
          </a:xfrm>
          <a:custGeom>
            <a:avLst/>
            <a:gdLst/>
            <a:ahLst/>
            <a:cxnLst/>
            <a:rect l="l" t="t" r="r" b="b"/>
            <a:pathLst>
              <a:path w="521335" h="436245">
                <a:moveTo>
                  <a:pt x="423417" y="0"/>
                </a:moveTo>
                <a:lnTo>
                  <a:pt x="311912" y="0"/>
                </a:lnTo>
                <a:lnTo>
                  <a:pt x="309625" y="762"/>
                </a:lnTo>
                <a:lnTo>
                  <a:pt x="303498" y="21717"/>
                </a:lnTo>
                <a:lnTo>
                  <a:pt x="303657" y="25908"/>
                </a:lnTo>
                <a:lnTo>
                  <a:pt x="303911" y="29464"/>
                </a:lnTo>
                <a:lnTo>
                  <a:pt x="304038" y="34544"/>
                </a:lnTo>
                <a:lnTo>
                  <a:pt x="308228" y="41148"/>
                </a:lnTo>
                <a:lnTo>
                  <a:pt x="309117" y="41783"/>
                </a:lnTo>
                <a:lnTo>
                  <a:pt x="309752" y="42164"/>
                </a:lnTo>
                <a:lnTo>
                  <a:pt x="310514" y="42672"/>
                </a:lnTo>
                <a:lnTo>
                  <a:pt x="311785" y="43053"/>
                </a:lnTo>
                <a:lnTo>
                  <a:pt x="313689" y="43307"/>
                </a:lnTo>
                <a:lnTo>
                  <a:pt x="315595" y="43434"/>
                </a:lnTo>
                <a:lnTo>
                  <a:pt x="316991" y="43561"/>
                </a:lnTo>
                <a:lnTo>
                  <a:pt x="423417" y="43561"/>
                </a:lnTo>
                <a:lnTo>
                  <a:pt x="434250" y="44561"/>
                </a:lnTo>
                <a:lnTo>
                  <a:pt x="468772" y="67968"/>
                </a:lnTo>
                <a:lnTo>
                  <a:pt x="477774" y="98044"/>
                </a:lnTo>
                <a:lnTo>
                  <a:pt x="477774" y="337794"/>
                </a:lnTo>
                <a:lnTo>
                  <a:pt x="461772" y="376275"/>
                </a:lnTo>
                <a:lnTo>
                  <a:pt x="423417" y="392277"/>
                </a:lnTo>
                <a:lnTo>
                  <a:pt x="311912" y="392277"/>
                </a:lnTo>
                <a:lnTo>
                  <a:pt x="309625" y="393014"/>
                </a:lnTo>
                <a:lnTo>
                  <a:pt x="307975" y="394487"/>
                </a:lnTo>
                <a:lnTo>
                  <a:pt x="306197" y="395960"/>
                </a:lnTo>
                <a:lnTo>
                  <a:pt x="305053" y="398183"/>
                </a:lnTo>
                <a:lnTo>
                  <a:pt x="304038" y="404075"/>
                </a:lnTo>
                <a:lnTo>
                  <a:pt x="303657" y="406755"/>
                </a:lnTo>
                <a:lnTo>
                  <a:pt x="303533" y="409079"/>
                </a:lnTo>
                <a:lnTo>
                  <a:pt x="303504" y="414185"/>
                </a:lnTo>
                <a:lnTo>
                  <a:pt x="303657" y="418160"/>
                </a:lnTo>
                <a:lnTo>
                  <a:pt x="303911" y="421792"/>
                </a:lnTo>
                <a:lnTo>
                  <a:pt x="304038" y="427913"/>
                </a:lnTo>
                <a:lnTo>
                  <a:pt x="305053" y="430466"/>
                </a:lnTo>
                <a:lnTo>
                  <a:pt x="309372" y="434784"/>
                </a:lnTo>
                <a:lnTo>
                  <a:pt x="311912" y="435864"/>
                </a:lnTo>
                <a:lnTo>
                  <a:pt x="423417" y="435864"/>
                </a:lnTo>
                <a:lnTo>
                  <a:pt x="460914" y="428671"/>
                </a:lnTo>
                <a:lnTo>
                  <a:pt x="492505" y="407085"/>
                </a:lnTo>
                <a:lnTo>
                  <a:pt x="514048" y="375378"/>
                </a:lnTo>
                <a:lnTo>
                  <a:pt x="521208" y="337794"/>
                </a:lnTo>
                <a:lnTo>
                  <a:pt x="521208" y="98044"/>
                </a:lnTo>
                <a:lnTo>
                  <a:pt x="514048" y="60483"/>
                </a:lnTo>
                <a:lnTo>
                  <a:pt x="492505" y="28829"/>
                </a:lnTo>
                <a:lnTo>
                  <a:pt x="460914" y="7223"/>
                </a:lnTo>
                <a:lnTo>
                  <a:pt x="442892" y="1807"/>
                </a:lnTo>
                <a:lnTo>
                  <a:pt x="423417" y="0"/>
                </a:lnTo>
                <a:close/>
              </a:path>
              <a:path w="521335" h="436245">
                <a:moveTo>
                  <a:pt x="201295" y="10922"/>
                </a:moveTo>
                <a:lnTo>
                  <a:pt x="189611" y="10922"/>
                </a:lnTo>
                <a:lnTo>
                  <a:pt x="184530" y="13081"/>
                </a:lnTo>
                <a:lnTo>
                  <a:pt x="175895" y="21717"/>
                </a:lnTo>
                <a:lnTo>
                  <a:pt x="173736" y="26797"/>
                </a:lnTo>
                <a:lnTo>
                  <a:pt x="173736" y="130810"/>
                </a:lnTo>
                <a:lnTo>
                  <a:pt x="15875" y="130810"/>
                </a:lnTo>
                <a:lnTo>
                  <a:pt x="10795" y="132969"/>
                </a:lnTo>
                <a:lnTo>
                  <a:pt x="2159" y="141605"/>
                </a:lnTo>
                <a:lnTo>
                  <a:pt x="0" y="146685"/>
                </a:lnTo>
                <a:lnTo>
                  <a:pt x="0" y="289217"/>
                </a:lnTo>
                <a:lnTo>
                  <a:pt x="2159" y="294322"/>
                </a:lnTo>
                <a:lnTo>
                  <a:pt x="10795" y="302945"/>
                </a:lnTo>
                <a:lnTo>
                  <a:pt x="15875" y="305104"/>
                </a:lnTo>
                <a:lnTo>
                  <a:pt x="173736" y="305104"/>
                </a:lnTo>
                <a:lnTo>
                  <a:pt x="173736" y="409079"/>
                </a:lnTo>
                <a:lnTo>
                  <a:pt x="175895" y="414185"/>
                </a:lnTo>
                <a:lnTo>
                  <a:pt x="184530" y="422808"/>
                </a:lnTo>
                <a:lnTo>
                  <a:pt x="189611" y="424967"/>
                </a:lnTo>
                <a:lnTo>
                  <a:pt x="201295" y="424967"/>
                </a:lnTo>
                <a:lnTo>
                  <a:pt x="206375" y="422808"/>
                </a:lnTo>
                <a:lnTo>
                  <a:pt x="399668" y="228942"/>
                </a:lnTo>
                <a:lnTo>
                  <a:pt x="401827" y="223837"/>
                </a:lnTo>
                <a:lnTo>
                  <a:pt x="401827" y="212090"/>
                </a:lnTo>
                <a:lnTo>
                  <a:pt x="399668" y="206883"/>
                </a:lnTo>
                <a:lnTo>
                  <a:pt x="206375" y="13081"/>
                </a:lnTo>
                <a:lnTo>
                  <a:pt x="201295" y="10922"/>
                </a:lnTo>
                <a:close/>
              </a:path>
            </a:pathLst>
          </a:custGeom>
          <a:solidFill>
            <a:srgbClr val="FF2F4B"/>
          </a:solidFill>
        </p:spPr>
        <p:txBody>
          <a:bodyPr wrap="square" lIns="0" tIns="0" rIns="0" bIns="0" rtlCol="0"/>
          <a:lstStyle/>
          <a:p>
            <a:endParaRPr/>
          </a:p>
        </p:txBody>
      </p:sp>
      <p:sp>
        <p:nvSpPr>
          <p:cNvPr id="43" name="object 43"/>
          <p:cNvSpPr/>
          <p:nvPr/>
        </p:nvSpPr>
        <p:spPr>
          <a:xfrm>
            <a:off x="8744711" y="5274564"/>
            <a:ext cx="601979" cy="601980"/>
          </a:xfrm>
          <a:prstGeom prst="rect">
            <a:avLst/>
          </a:prstGeom>
          <a:blipFill>
            <a:blip r:embed="rId5" cstate="print"/>
            <a:stretch>
              <a:fillRect/>
            </a:stretch>
          </a:blipFill>
        </p:spPr>
        <p:txBody>
          <a:bodyPr wrap="square" lIns="0" tIns="0" rIns="0" bIns="0" rtlCol="0"/>
          <a:lstStyle/>
          <a:p>
            <a:endParaRPr/>
          </a:p>
        </p:txBody>
      </p:sp>
      <p:sp>
        <p:nvSpPr>
          <p:cNvPr id="44" name="object 44"/>
          <p:cNvSpPr txBox="1"/>
          <p:nvPr/>
        </p:nvSpPr>
        <p:spPr>
          <a:xfrm>
            <a:off x="620268" y="2686557"/>
            <a:ext cx="3221990" cy="3492500"/>
          </a:xfrm>
          <a:prstGeom prst="rect">
            <a:avLst/>
          </a:prstGeom>
        </p:spPr>
        <p:txBody>
          <a:bodyPr vert="horz" wrap="square" lIns="0" tIns="12065" rIns="0" bIns="0" rtlCol="0">
            <a:spAutoFit/>
          </a:bodyPr>
          <a:lstStyle/>
          <a:p>
            <a:pPr marL="837565" marR="751840">
              <a:lnSpc>
                <a:spcPct val="100000"/>
              </a:lnSpc>
              <a:spcBef>
                <a:spcPts val="95"/>
              </a:spcBef>
            </a:pPr>
            <a:r>
              <a:rPr sz="1600" b="1" spc="-10">
                <a:solidFill>
                  <a:srgbClr val="006FAC"/>
                </a:solidFill>
                <a:latin typeface="Verdana"/>
                <a:cs typeface="Verdana"/>
              </a:rPr>
              <a:t>Risk</a:t>
            </a:r>
            <a:r>
              <a:rPr sz="1600" b="1" spc="-55">
                <a:solidFill>
                  <a:srgbClr val="006FAC"/>
                </a:solidFill>
                <a:latin typeface="Verdana"/>
                <a:cs typeface="Verdana"/>
              </a:rPr>
              <a:t> </a:t>
            </a:r>
            <a:r>
              <a:rPr sz="1600" b="1" spc="-5">
                <a:solidFill>
                  <a:srgbClr val="006FAC"/>
                </a:solidFill>
                <a:latin typeface="Verdana"/>
                <a:cs typeface="Verdana"/>
              </a:rPr>
              <a:t>Mitigated  Transition</a:t>
            </a:r>
            <a:endParaRPr sz="1600">
              <a:latin typeface="Verdana"/>
              <a:cs typeface="Verdana"/>
            </a:endParaRPr>
          </a:p>
          <a:p>
            <a:pPr marL="837565">
              <a:lnSpc>
                <a:spcPct val="100000"/>
              </a:lnSpc>
              <a:spcBef>
                <a:spcPts val="405"/>
              </a:spcBef>
            </a:pPr>
            <a:r>
              <a:rPr sz="1100" spc="-5">
                <a:latin typeface="Verdana"/>
                <a:cs typeface="Verdana"/>
              </a:rPr>
              <a:t>OCM, CAST, Transition</a:t>
            </a:r>
            <a:r>
              <a:rPr sz="1100" spc="-25">
                <a:latin typeface="Verdana"/>
                <a:cs typeface="Verdana"/>
              </a:rPr>
              <a:t> </a:t>
            </a:r>
            <a:r>
              <a:rPr sz="1100" spc="-5">
                <a:latin typeface="Verdana"/>
                <a:cs typeface="Verdana"/>
              </a:rPr>
              <a:t>Hub</a:t>
            </a:r>
            <a:endParaRPr sz="1100">
              <a:latin typeface="Verdana"/>
              <a:cs typeface="Verdana"/>
            </a:endParaRPr>
          </a:p>
          <a:p>
            <a:pPr>
              <a:lnSpc>
                <a:spcPct val="100000"/>
              </a:lnSpc>
            </a:pPr>
            <a:endParaRPr sz="1300">
              <a:latin typeface="Times New Roman"/>
              <a:cs typeface="Times New Roman"/>
            </a:endParaRPr>
          </a:p>
          <a:p>
            <a:pPr marL="837565" marR="492125">
              <a:lnSpc>
                <a:spcPct val="100000"/>
              </a:lnSpc>
              <a:spcBef>
                <a:spcPts val="1115"/>
              </a:spcBef>
            </a:pPr>
            <a:r>
              <a:rPr sz="1600" b="1" spc="-5">
                <a:solidFill>
                  <a:srgbClr val="006FAC"/>
                </a:solidFill>
                <a:latin typeface="Verdana"/>
                <a:cs typeface="Verdana"/>
              </a:rPr>
              <a:t>Integrated  </a:t>
            </a:r>
            <a:r>
              <a:rPr sz="1600" b="1" spc="-10">
                <a:solidFill>
                  <a:srgbClr val="006FAC"/>
                </a:solidFill>
                <a:latin typeface="Verdana"/>
                <a:cs typeface="Verdana"/>
              </a:rPr>
              <a:t>Operating</a:t>
            </a:r>
            <a:r>
              <a:rPr sz="1600" b="1">
                <a:solidFill>
                  <a:srgbClr val="006FAC"/>
                </a:solidFill>
                <a:latin typeface="Verdana"/>
                <a:cs typeface="Verdana"/>
              </a:rPr>
              <a:t> </a:t>
            </a:r>
            <a:r>
              <a:rPr sz="1600" b="1" spc="-10">
                <a:solidFill>
                  <a:srgbClr val="006FAC"/>
                </a:solidFill>
                <a:latin typeface="Verdana"/>
                <a:cs typeface="Verdana"/>
              </a:rPr>
              <a:t>Model</a:t>
            </a:r>
            <a:endParaRPr sz="1600">
              <a:latin typeface="Verdana"/>
              <a:cs typeface="Verdana"/>
            </a:endParaRPr>
          </a:p>
          <a:p>
            <a:pPr marL="837565" marR="309245">
              <a:lnSpc>
                <a:spcPct val="100000"/>
              </a:lnSpc>
              <a:spcBef>
                <a:spcPts val="509"/>
              </a:spcBef>
            </a:pPr>
            <a:r>
              <a:rPr sz="1200" spc="-5">
                <a:latin typeface="Verdana"/>
                <a:cs typeface="Verdana"/>
              </a:rPr>
              <a:t>Common Backlog, Delivery  Command</a:t>
            </a:r>
            <a:r>
              <a:rPr sz="1200">
                <a:latin typeface="Verdana"/>
                <a:cs typeface="Verdana"/>
              </a:rPr>
              <a:t> </a:t>
            </a:r>
            <a:r>
              <a:rPr sz="1200" spc="-5">
                <a:latin typeface="Verdana"/>
                <a:cs typeface="Verdana"/>
              </a:rPr>
              <a:t>Center</a:t>
            </a:r>
            <a:endParaRPr sz="1200">
              <a:latin typeface="Verdana"/>
              <a:cs typeface="Verdana"/>
            </a:endParaRPr>
          </a:p>
          <a:p>
            <a:pPr>
              <a:lnSpc>
                <a:spcPct val="100000"/>
              </a:lnSpc>
            </a:pPr>
            <a:endParaRPr sz="1400">
              <a:latin typeface="Times New Roman"/>
              <a:cs typeface="Times New Roman"/>
            </a:endParaRPr>
          </a:p>
          <a:p>
            <a:pPr marL="837565" marR="568960" algn="just">
              <a:lnSpc>
                <a:spcPct val="100000"/>
              </a:lnSpc>
              <a:spcBef>
                <a:spcPts val="1135"/>
              </a:spcBef>
            </a:pPr>
            <a:r>
              <a:rPr sz="1600" b="1" spc="-15">
                <a:solidFill>
                  <a:srgbClr val="006FAC"/>
                </a:solidFill>
                <a:latin typeface="Verdana"/>
                <a:cs typeface="Verdana"/>
              </a:rPr>
              <a:t>S</a:t>
            </a:r>
            <a:r>
              <a:rPr sz="1600" b="1" spc="-5">
                <a:solidFill>
                  <a:srgbClr val="006FAC"/>
                </a:solidFill>
                <a:latin typeface="Verdana"/>
                <a:cs typeface="Verdana"/>
              </a:rPr>
              <a:t>t</a:t>
            </a:r>
            <a:r>
              <a:rPr sz="1600" b="1">
                <a:solidFill>
                  <a:srgbClr val="006FAC"/>
                </a:solidFill>
                <a:latin typeface="Verdana"/>
                <a:cs typeface="Verdana"/>
              </a:rPr>
              <a:t>a</a:t>
            </a:r>
            <a:r>
              <a:rPr sz="1600" b="1" spc="-10">
                <a:solidFill>
                  <a:srgbClr val="006FAC"/>
                </a:solidFill>
                <a:latin typeface="Verdana"/>
                <a:cs typeface="Verdana"/>
              </a:rPr>
              <a:t>nd</a:t>
            </a:r>
            <a:r>
              <a:rPr sz="1600" b="1" spc="-5">
                <a:solidFill>
                  <a:srgbClr val="006FAC"/>
                </a:solidFill>
                <a:latin typeface="Verdana"/>
                <a:cs typeface="Verdana"/>
              </a:rPr>
              <a:t>a</a:t>
            </a:r>
            <a:r>
              <a:rPr sz="1600" b="1" spc="-10">
                <a:solidFill>
                  <a:srgbClr val="006FAC"/>
                </a:solidFill>
                <a:latin typeface="Verdana"/>
                <a:cs typeface="Verdana"/>
              </a:rPr>
              <a:t>rd</a:t>
            </a:r>
            <a:r>
              <a:rPr sz="1600" b="1" spc="-15">
                <a:solidFill>
                  <a:srgbClr val="006FAC"/>
                </a:solidFill>
                <a:latin typeface="Verdana"/>
                <a:cs typeface="Verdana"/>
              </a:rPr>
              <a:t>i</a:t>
            </a:r>
            <a:r>
              <a:rPr sz="1600" b="1" spc="-10">
                <a:solidFill>
                  <a:srgbClr val="006FAC"/>
                </a:solidFill>
                <a:latin typeface="Verdana"/>
                <a:cs typeface="Verdana"/>
              </a:rPr>
              <a:t>z</a:t>
            </a:r>
            <a:r>
              <a:rPr sz="1600" b="1" spc="-5">
                <a:solidFill>
                  <a:srgbClr val="006FAC"/>
                </a:solidFill>
                <a:latin typeface="Verdana"/>
                <a:cs typeface="Verdana"/>
              </a:rPr>
              <a:t>at</a:t>
            </a:r>
            <a:r>
              <a:rPr sz="1600" b="1">
                <a:solidFill>
                  <a:srgbClr val="006FAC"/>
                </a:solidFill>
                <a:latin typeface="Verdana"/>
                <a:cs typeface="Verdana"/>
              </a:rPr>
              <a:t>i</a:t>
            </a:r>
            <a:r>
              <a:rPr sz="1600" b="1" spc="-5">
                <a:solidFill>
                  <a:srgbClr val="006FAC"/>
                </a:solidFill>
                <a:latin typeface="Verdana"/>
                <a:cs typeface="Verdana"/>
              </a:rPr>
              <a:t>on  and Continuous  </a:t>
            </a:r>
            <a:r>
              <a:rPr sz="1600" b="1" spc="-10">
                <a:solidFill>
                  <a:srgbClr val="006FAC"/>
                </a:solidFill>
                <a:latin typeface="Verdana"/>
                <a:cs typeface="Verdana"/>
              </a:rPr>
              <a:t>Improvement</a:t>
            </a:r>
            <a:endParaRPr sz="1600">
              <a:latin typeface="Verdana"/>
              <a:cs typeface="Verdana"/>
            </a:endParaRPr>
          </a:p>
          <a:p>
            <a:pPr marL="837565">
              <a:lnSpc>
                <a:spcPct val="100000"/>
              </a:lnSpc>
              <a:spcBef>
                <a:spcPts val="505"/>
              </a:spcBef>
            </a:pPr>
            <a:r>
              <a:rPr sz="1200" spc="-5">
                <a:latin typeface="Verdana"/>
                <a:cs typeface="Verdana"/>
              </a:rPr>
              <a:t>Smart Analytics, </a:t>
            </a:r>
            <a:r>
              <a:rPr sz="1200">
                <a:latin typeface="Verdana"/>
                <a:cs typeface="Verdana"/>
              </a:rPr>
              <a:t>ITIL &amp;</a:t>
            </a:r>
            <a:r>
              <a:rPr sz="1200" spc="-5">
                <a:latin typeface="Verdana"/>
                <a:cs typeface="Verdana"/>
              </a:rPr>
              <a:t> </a:t>
            </a:r>
            <a:r>
              <a:rPr sz="1200">
                <a:latin typeface="Verdana"/>
                <a:cs typeface="Verdana"/>
              </a:rPr>
              <a:t>Lean</a:t>
            </a:r>
          </a:p>
          <a:p>
            <a:pPr marL="837565">
              <a:lnSpc>
                <a:spcPct val="100000"/>
              </a:lnSpc>
              <a:spcBef>
                <a:spcPts val="5"/>
              </a:spcBef>
            </a:pPr>
            <a:r>
              <a:rPr sz="1200">
                <a:latin typeface="Verdana"/>
                <a:cs typeface="Verdana"/>
              </a:rPr>
              <a:t>Processes, </a:t>
            </a:r>
            <a:r>
              <a:rPr sz="1200" spc="-5">
                <a:latin typeface="Verdana"/>
                <a:cs typeface="Verdana"/>
              </a:rPr>
              <a:t>FMA, “Shift</a:t>
            </a:r>
            <a:r>
              <a:rPr sz="1200" spc="-15">
                <a:latin typeface="Verdana"/>
                <a:cs typeface="Verdana"/>
              </a:rPr>
              <a:t> </a:t>
            </a:r>
            <a:r>
              <a:rPr sz="1200">
                <a:latin typeface="Verdana"/>
                <a:cs typeface="Verdana"/>
              </a:rPr>
              <a:t>Left”</a:t>
            </a:r>
          </a:p>
        </p:txBody>
      </p:sp>
      <p:sp>
        <p:nvSpPr>
          <p:cNvPr id="45" name="object 45"/>
          <p:cNvSpPr/>
          <p:nvPr/>
        </p:nvSpPr>
        <p:spPr>
          <a:xfrm>
            <a:off x="806195" y="2802635"/>
            <a:ext cx="567055" cy="535305"/>
          </a:xfrm>
          <a:custGeom>
            <a:avLst/>
            <a:gdLst/>
            <a:ahLst/>
            <a:cxnLst/>
            <a:rect l="l" t="t" r="r" b="b"/>
            <a:pathLst>
              <a:path w="567055" h="535304">
                <a:moveTo>
                  <a:pt x="0" y="174243"/>
                </a:moveTo>
                <a:lnTo>
                  <a:pt x="0" y="522859"/>
                </a:lnTo>
                <a:lnTo>
                  <a:pt x="228" y="522986"/>
                </a:lnTo>
                <a:lnTo>
                  <a:pt x="685" y="522986"/>
                </a:lnTo>
                <a:lnTo>
                  <a:pt x="1130" y="523239"/>
                </a:lnTo>
                <a:lnTo>
                  <a:pt x="1473" y="523366"/>
                </a:lnTo>
                <a:lnTo>
                  <a:pt x="1701" y="523366"/>
                </a:lnTo>
                <a:lnTo>
                  <a:pt x="6134" y="524001"/>
                </a:lnTo>
                <a:lnTo>
                  <a:pt x="8178" y="524510"/>
                </a:lnTo>
                <a:lnTo>
                  <a:pt x="22821" y="526288"/>
                </a:lnTo>
                <a:lnTo>
                  <a:pt x="24866" y="526796"/>
                </a:lnTo>
                <a:lnTo>
                  <a:pt x="49250" y="530369"/>
                </a:lnTo>
                <a:lnTo>
                  <a:pt x="71291" y="532907"/>
                </a:lnTo>
                <a:lnTo>
                  <a:pt x="90989" y="534421"/>
                </a:lnTo>
                <a:lnTo>
                  <a:pt x="108343" y="534924"/>
                </a:lnTo>
                <a:lnTo>
                  <a:pt x="121057" y="534183"/>
                </a:lnTo>
                <a:lnTo>
                  <a:pt x="155061" y="515512"/>
                </a:lnTo>
                <a:lnTo>
                  <a:pt x="163880" y="487679"/>
                </a:lnTo>
                <a:lnTo>
                  <a:pt x="162179" y="481964"/>
                </a:lnTo>
                <a:lnTo>
                  <a:pt x="143154" y="451992"/>
                </a:lnTo>
                <a:lnTo>
                  <a:pt x="139344" y="444626"/>
                </a:lnTo>
                <a:lnTo>
                  <a:pt x="130822" y="407288"/>
                </a:lnTo>
                <a:lnTo>
                  <a:pt x="132079" y="394146"/>
                </a:lnTo>
                <a:lnTo>
                  <a:pt x="161509" y="357167"/>
                </a:lnTo>
                <a:lnTo>
                  <a:pt x="199656" y="348488"/>
                </a:lnTo>
                <a:lnTo>
                  <a:pt x="563341" y="348488"/>
                </a:lnTo>
                <a:lnTo>
                  <a:pt x="563038" y="347170"/>
                </a:lnTo>
                <a:lnTo>
                  <a:pt x="559197" y="337947"/>
                </a:lnTo>
                <a:lnTo>
                  <a:pt x="422465" y="337947"/>
                </a:lnTo>
                <a:lnTo>
                  <a:pt x="414826" y="336968"/>
                </a:lnTo>
                <a:lnTo>
                  <a:pt x="383206" y="305990"/>
                </a:lnTo>
                <a:lnTo>
                  <a:pt x="380225" y="282448"/>
                </a:lnTo>
                <a:lnTo>
                  <a:pt x="380735" y="265088"/>
                </a:lnTo>
                <a:lnTo>
                  <a:pt x="382266" y="245395"/>
                </a:lnTo>
                <a:lnTo>
                  <a:pt x="384822" y="223369"/>
                </a:lnTo>
                <a:lnTo>
                  <a:pt x="388404" y="199009"/>
                </a:lnTo>
                <a:lnTo>
                  <a:pt x="388632" y="198374"/>
                </a:lnTo>
                <a:lnTo>
                  <a:pt x="389026" y="195961"/>
                </a:lnTo>
                <a:lnTo>
                  <a:pt x="390322" y="186436"/>
                </a:lnTo>
                <a:lnTo>
                  <a:pt x="108343" y="186436"/>
                </a:lnTo>
                <a:lnTo>
                  <a:pt x="90989" y="185933"/>
                </a:lnTo>
                <a:lnTo>
                  <a:pt x="71291" y="184419"/>
                </a:lnTo>
                <a:lnTo>
                  <a:pt x="49250" y="181881"/>
                </a:lnTo>
                <a:lnTo>
                  <a:pt x="24866" y="178308"/>
                </a:lnTo>
                <a:lnTo>
                  <a:pt x="24193" y="178053"/>
                </a:lnTo>
                <a:lnTo>
                  <a:pt x="21742" y="177673"/>
                </a:lnTo>
                <a:lnTo>
                  <a:pt x="17538" y="177164"/>
                </a:lnTo>
                <a:lnTo>
                  <a:pt x="13347" y="176529"/>
                </a:lnTo>
                <a:lnTo>
                  <a:pt x="9486" y="176022"/>
                </a:lnTo>
                <a:lnTo>
                  <a:pt x="5956" y="175387"/>
                </a:lnTo>
                <a:lnTo>
                  <a:pt x="2438" y="174878"/>
                </a:lnTo>
                <a:lnTo>
                  <a:pt x="457" y="174498"/>
                </a:lnTo>
                <a:lnTo>
                  <a:pt x="0" y="174243"/>
                </a:lnTo>
                <a:close/>
              </a:path>
              <a:path w="567055" h="535304">
                <a:moveTo>
                  <a:pt x="563341" y="348488"/>
                </a:moveTo>
                <a:lnTo>
                  <a:pt x="199656" y="348488"/>
                </a:lnTo>
                <a:lnTo>
                  <a:pt x="212875" y="349420"/>
                </a:lnTo>
                <a:lnTo>
                  <a:pt x="224945" y="352234"/>
                </a:lnTo>
                <a:lnTo>
                  <a:pt x="259445" y="381666"/>
                </a:lnTo>
                <a:lnTo>
                  <a:pt x="264045" y="405638"/>
                </a:lnTo>
                <a:lnTo>
                  <a:pt x="263672" y="412496"/>
                </a:lnTo>
                <a:lnTo>
                  <a:pt x="245135" y="452119"/>
                </a:lnTo>
                <a:lnTo>
                  <a:pt x="240474" y="457200"/>
                </a:lnTo>
                <a:lnTo>
                  <a:pt x="236169" y="463550"/>
                </a:lnTo>
                <a:lnTo>
                  <a:pt x="228206" y="479043"/>
                </a:lnTo>
                <a:lnTo>
                  <a:pt x="226225" y="487044"/>
                </a:lnTo>
                <a:lnTo>
                  <a:pt x="226225" y="495426"/>
                </a:lnTo>
                <a:lnTo>
                  <a:pt x="248096" y="527802"/>
                </a:lnTo>
                <a:lnTo>
                  <a:pt x="275628" y="532891"/>
                </a:lnTo>
                <a:lnTo>
                  <a:pt x="283593" y="532776"/>
                </a:lnTo>
                <a:lnTo>
                  <a:pt x="327712" y="529224"/>
                </a:lnTo>
                <a:lnTo>
                  <a:pt x="358552" y="525232"/>
                </a:lnTo>
                <a:lnTo>
                  <a:pt x="367487" y="524160"/>
                </a:lnTo>
                <a:lnTo>
                  <a:pt x="375164" y="523327"/>
                </a:lnTo>
                <a:lnTo>
                  <a:pt x="384086" y="522477"/>
                </a:lnTo>
                <a:lnTo>
                  <a:pt x="387832" y="522350"/>
                </a:lnTo>
                <a:lnTo>
                  <a:pt x="392823" y="522350"/>
                </a:lnTo>
                <a:lnTo>
                  <a:pt x="392776" y="518733"/>
                </a:lnTo>
                <a:lnTo>
                  <a:pt x="385298" y="469138"/>
                </a:lnTo>
                <a:lnTo>
                  <a:pt x="383632" y="458803"/>
                </a:lnTo>
                <a:lnTo>
                  <a:pt x="382610" y="449792"/>
                </a:lnTo>
                <a:lnTo>
                  <a:pt x="382270" y="442340"/>
                </a:lnTo>
                <a:lnTo>
                  <a:pt x="384611" y="423912"/>
                </a:lnTo>
                <a:lnTo>
                  <a:pt x="391636" y="410733"/>
                </a:lnTo>
                <a:lnTo>
                  <a:pt x="403347" y="402818"/>
                </a:lnTo>
                <a:lnTo>
                  <a:pt x="419747" y="400176"/>
                </a:lnTo>
                <a:lnTo>
                  <a:pt x="562583" y="400176"/>
                </a:lnTo>
                <a:lnTo>
                  <a:pt x="563133" y="398906"/>
                </a:lnTo>
                <a:lnTo>
                  <a:pt x="565977" y="386853"/>
                </a:lnTo>
                <a:lnTo>
                  <a:pt x="566928" y="373634"/>
                </a:lnTo>
                <a:lnTo>
                  <a:pt x="565953" y="359872"/>
                </a:lnTo>
                <a:lnTo>
                  <a:pt x="563341" y="348488"/>
                </a:lnTo>
                <a:close/>
              </a:path>
              <a:path w="567055" h="535304">
                <a:moveTo>
                  <a:pt x="562583" y="400176"/>
                </a:moveTo>
                <a:lnTo>
                  <a:pt x="428142" y="400176"/>
                </a:lnTo>
                <a:lnTo>
                  <a:pt x="436206" y="402209"/>
                </a:lnTo>
                <a:lnTo>
                  <a:pt x="451662" y="410083"/>
                </a:lnTo>
                <a:lnTo>
                  <a:pt x="458076" y="414400"/>
                </a:lnTo>
                <a:lnTo>
                  <a:pt x="463252" y="419163"/>
                </a:lnTo>
                <a:lnTo>
                  <a:pt x="468248" y="423672"/>
                </a:lnTo>
                <a:lnTo>
                  <a:pt x="509651" y="437896"/>
                </a:lnTo>
                <a:lnTo>
                  <a:pt x="522418" y="436752"/>
                </a:lnTo>
                <a:lnTo>
                  <a:pt x="533685" y="433324"/>
                </a:lnTo>
                <a:lnTo>
                  <a:pt x="543476" y="427609"/>
                </a:lnTo>
                <a:lnTo>
                  <a:pt x="551815" y="419608"/>
                </a:lnTo>
                <a:lnTo>
                  <a:pt x="558409" y="409817"/>
                </a:lnTo>
                <a:lnTo>
                  <a:pt x="562583" y="400176"/>
                </a:lnTo>
                <a:close/>
              </a:path>
              <a:path w="567055" h="535304">
                <a:moveTo>
                  <a:pt x="508000" y="304926"/>
                </a:moveTo>
                <a:lnTo>
                  <a:pt x="470662" y="313436"/>
                </a:lnTo>
                <a:lnTo>
                  <a:pt x="452170" y="325627"/>
                </a:lnTo>
                <a:lnTo>
                  <a:pt x="446151" y="329438"/>
                </a:lnTo>
                <a:lnTo>
                  <a:pt x="439673" y="332739"/>
                </a:lnTo>
                <a:lnTo>
                  <a:pt x="433197" y="336168"/>
                </a:lnTo>
                <a:lnTo>
                  <a:pt x="427469" y="337947"/>
                </a:lnTo>
                <a:lnTo>
                  <a:pt x="559197" y="337947"/>
                </a:lnTo>
                <a:lnTo>
                  <a:pt x="558194" y="335539"/>
                </a:lnTo>
                <a:lnTo>
                  <a:pt x="551434" y="324992"/>
                </a:lnTo>
                <a:lnTo>
                  <a:pt x="542932" y="316178"/>
                </a:lnTo>
                <a:lnTo>
                  <a:pt x="532860" y="309911"/>
                </a:lnTo>
                <a:lnTo>
                  <a:pt x="521215" y="306169"/>
                </a:lnTo>
                <a:lnTo>
                  <a:pt x="508000" y="304926"/>
                </a:lnTo>
                <a:close/>
              </a:path>
              <a:path w="567055" h="535304">
                <a:moveTo>
                  <a:pt x="199986" y="0"/>
                </a:moveTo>
                <a:lnTo>
                  <a:pt x="161530" y="8733"/>
                </a:lnTo>
                <a:lnTo>
                  <a:pt x="132079" y="45712"/>
                </a:lnTo>
                <a:lnTo>
                  <a:pt x="130822" y="58927"/>
                </a:lnTo>
                <a:lnTo>
                  <a:pt x="131143" y="66119"/>
                </a:lnTo>
                <a:lnTo>
                  <a:pt x="143154" y="103504"/>
                </a:lnTo>
                <a:lnTo>
                  <a:pt x="151549" y="114680"/>
                </a:lnTo>
                <a:lnTo>
                  <a:pt x="155359" y="120650"/>
                </a:lnTo>
                <a:lnTo>
                  <a:pt x="162179" y="133603"/>
                </a:lnTo>
                <a:lnTo>
                  <a:pt x="163880" y="139318"/>
                </a:lnTo>
                <a:lnTo>
                  <a:pt x="163880" y="144272"/>
                </a:lnTo>
                <a:lnTo>
                  <a:pt x="140988" y="179792"/>
                </a:lnTo>
                <a:lnTo>
                  <a:pt x="108343" y="186436"/>
                </a:lnTo>
                <a:lnTo>
                  <a:pt x="390322" y="186436"/>
                </a:lnTo>
                <a:lnTo>
                  <a:pt x="390617" y="184403"/>
                </a:lnTo>
                <a:lnTo>
                  <a:pt x="275628" y="184403"/>
                </a:lnTo>
                <a:lnTo>
                  <a:pt x="265641" y="183852"/>
                </a:lnTo>
                <a:lnTo>
                  <a:pt x="229804" y="163782"/>
                </a:lnTo>
                <a:lnTo>
                  <a:pt x="226225" y="146938"/>
                </a:lnTo>
                <a:lnTo>
                  <a:pt x="226225" y="138556"/>
                </a:lnTo>
                <a:lnTo>
                  <a:pt x="249796" y="98551"/>
                </a:lnTo>
                <a:lnTo>
                  <a:pt x="254101" y="91821"/>
                </a:lnTo>
                <a:lnTo>
                  <a:pt x="264045" y="57150"/>
                </a:lnTo>
                <a:lnTo>
                  <a:pt x="262895" y="44455"/>
                </a:lnTo>
                <a:lnTo>
                  <a:pt x="235889" y="8518"/>
                </a:lnTo>
                <a:lnTo>
                  <a:pt x="213062" y="950"/>
                </a:lnTo>
                <a:lnTo>
                  <a:pt x="199986" y="0"/>
                </a:lnTo>
                <a:close/>
              </a:path>
              <a:path w="567055" h="535304">
                <a:moveTo>
                  <a:pt x="392493" y="173481"/>
                </a:moveTo>
                <a:lnTo>
                  <a:pt x="383013" y="174126"/>
                </a:lnTo>
                <a:lnTo>
                  <a:pt x="370597" y="175307"/>
                </a:lnTo>
                <a:lnTo>
                  <a:pt x="318301" y="181564"/>
                </a:lnTo>
                <a:lnTo>
                  <a:pt x="301863" y="183149"/>
                </a:lnTo>
                <a:lnTo>
                  <a:pt x="287639" y="184092"/>
                </a:lnTo>
                <a:lnTo>
                  <a:pt x="275628" y="184403"/>
                </a:lnTo>
                <a:lnTo>
                  <a:pt x="390617" y="184403"/>
                </a:lnTo>
                <a:lnTo>
                  <a:pt x="391883" y="176529"/>
                </a:lnTo>
                <a:lnTo>
                  <a:pt x="392214" y="174878"/>
                </a:lnTo>
                <a:lnTo>
                  <a:pt x="392341" y="174498"/>
                </a:lnTo>
                <a:lnTo>
                  <a:pt x="392493" y="174243"/>
                </a:lnTo>
                <a:lnTo>
                  <a:pt x="392493" y="173481"/>
                </a:lnTo>
                <a:close/>
              </a:path>
            </a:pathLst>
          </a:custGeom>
          <a:solidFill>
            <a:srgbClr val="6FAC0F"/>
          </a:solidFill>
        </p:spPr>
        <p:txBody>
          <a:bodyPr wrap="square" lIns="0" tIns="0" rIns="0" bIns="0" rtlCol="0"/>
          <a:lstStyle/>
          <a:p>
            <a:endParaRPr/>
          </a:p>
        </p:txBody>
      </p:sp>
      <p:sp>
        <p:nvSpPr>
          <p:cNvPr id="46" name="object 46"/>
          <p:cNvSpPr txBox="1"/>
          <p:nvPr/>
        </p:nvSpPr>
        <p:spPr>
          <a:xfrm>
            <a:off x="4568952" y="2553080"/>
            <a:ext cx="3223260" cy="3484879"/>
          </a:xfrm>
          <a:prstGeom prst="rect">
            <a:avLst/>
          </a:prstGeom>
        </p:spPr>
        <p:txBody>
          <a:bodyPr vert="horz" wrap="square" lIns="0" tIns="12065" rIns="0" bIns="0" rtlCol="0">
            <a:spAutoFit/>
          </a:bodyPr>
          <a:lstStyle/>
          <a:p>
            <a:pPr marL="994410" marR="645795">
              <a:lnSpc>
                <a:spcPct val="100000"/>
              </a:lnSpc>
              <a:spcBef>
                <a:spcPts val="95"/>
              </a:spcBef>
            </a:pPr>
            <a:r>
              <a:rPr sz="1600" b="1" spc="-10">
                <a:solidFill>
                  <a:srgbClr val="006FAC"/>
                </a:solidFill>
                <a:latin typeface="Verdana"/>
                <a:cs typeface="Verdana"/>
              </a:rPr>
              <a:t>Intelligent  Automation </a:t>
            </a:r>
            <a:r>
              <a:rPr sz="1600" b="1" spc="-5">
                <a:solidFill>
                  <a:srgbClr val="006FAC"/>
                </a:solidFill>
                <a:latin typeface="Verdana"/>
                <a:cs typeface="Verdana"/>
              </a:rPr>
              <a:t>&amp;  </a:t>
            </a:r>
            <a:r>
              <a:rPr sz="1600" b="1" spc="-10">
                <a:solidFill>
                  <a:srgbClr val="006FAC"/>
                </a:solidFill>
                <a:latin typeface="Verdana"/>
                <a:cs typeface="Verdana"/>
              </a:rPr>
              <a:t>Analytics</a:t>
            </a:r>
            <a:endParaRPr sz="1600">
              <a:latin typeface="Verdana"/>
              <a:cs typeface="Verdana"/>
            </a:endParaRPr>
          </a:p>
          <a:p>
            <a:pPr marL="994410">
              <a:lnSpc>
                <a:spcPct val="100000"/>
              </a:lnSpc>
              <a:spcBef>
                <a:spcPts val="440"/>
              </a:spcBef>
            </a:pPr>
            <a:r>
              <a:rPr sz="1200" spc="-5">
                <a:latin typeface="Verdana"/>
                <a:cs typeface="Verdana"/>
              </a:rPr>
              <a:t>Automation</a:t>
            </a:r>
            <a:r>
              <a:rPr sz="1200">
                <a:latin typeface="Verdana"/>
                <a:cs typeface="Verdana"/>
              </a:rPr>
              <a:t> </a:t>
            </a:r>
            <a:r>
              <a:rPr sz="1200" spc="-5">
                <a:latin typeface="Verdana"/>
                <a:cs typeface="Verdana"/>
              </a:rPr>
              <a:t>Drive</a:t>
            </a:r>
            <a:endParaRPr sz="1200">
              <a:latin typeface="Verdana"/>
              <a:cs typeface="Verdana"/>
            </a:endParaRPr>
          </a:p>
          <a:p>
            <a:pPr>
              <a:lnSpc>
                <a:spcPct val="100000"/>
              </a:lnSpc>
              <a:spcBef>
                <a:spcPts val="55"/>
              </a:spcBef>
            </a:pPr>
            <a:endParaRPr sz="1550">
              <a:latin typeface="Times New Roman"/>
              <a:cs typeface="Times New Roman"/>
            </a:endParaRPr>
          </a:p>
          <a:p>
            <a:pPr marL="994410" marR="935990">
              <a:lnSpc>
                <a:spcPct val="100000"/>
              </a:lnSpc>
            </a:pPr>
            <a:r>
              <a:rPr sz="1600" b="1" spc="-5">
                <a:solidFill>
                  <a:srgbClr val="006FAC"/>
                </a:solidFill>
                <a:latin typeface="Verdana"/>
                <a:cs typeface="Verdana"/>
              </a:rPr>
              <a:t>C</a:t>
            </a:r>
            <a:r>
              <a:rPr sz="1600" b="1" spc="-15">
                <a:solidFill>
                  <a:srgbClr val="006FAC"/>
                </a:solidFill>
                <a:latin typeface="Verdana"/>
                <a:cs typeface="Verdana"/>
              </a:rPr>
              <a:t>o</a:t>
            </a:r>
            <a:r>
              <a:rPr sz="1600" b="1" spc="-10">
                <a:solidFill>
                  <a:srgbClr val="006FAC"/>
                </a:solidFill>
                <a:latin typeface="Verdana"/>
                <a:cs typeface="Verdana"/>
              </a:rPr>
              <a:t>n</a:t>
            </a:r>
            <a:r>
              <a:rPr sz="1600" b="1">
                <a:solidFill>
                  <a:srgbClr val="006FAC"/>
                </a:solidFill>
                <a:latin typeface="Verdana"/>
                <a:cs typeface="Verdana"/>
              </a:rPr>
              <a:t>t</a:t>
            </a:r>
            <a:r>
              <a:rPr sz="1600" b="1" spc="-15">
                <a:solidFill>
                  <a:srgbClr val="006FAC"/>
                </a:solidFill>
                <a:latin typeface="Verdana"/>
                <a:cs typeface="Verdana"/>
              </a:rPr>
              <a:t>i</a:t>
            </a:r>
            <a:r>
              <a:rPr sz="1600" b="1" spc="-10">
                <a:solidFill>
                  <a:srgbClr val="006FAC"/>
                </a:solidFill>
                <a:latin typeface="Verdana"/>
                <a:cs typeface="Verdana"/>
              </a:rPr>
              <a:t>n</a:t>
            </a:r>
            <a:r>
              <a:rPr sz="1600" b="1">
                <a:solidFill>
                  <a:srgbClr val="006FAC"/>
                </a:solidFill>
                <a:latin typeface="Verdana"/>
                <a:cs typeface="Verdana"/>
              </a:rPr>
              <a:t>u</a:t>
            </a:r>
            <a:r>
              <a:rPr sz="1600" b="1" spc="-5">
                <a:solidFill>
                  <a:srgbClr val="006FAC"/>
                </a:solidFill>
                <a:latin typeface="Verdana"/>
                <a:cs typeface="Verdana"/>
              </a:rPr>
              <a:t>ous  </a:t>
            </a:r>
            <a:r>
              <a:rPr sz="1600" b="1" spc="-10">
                <a:solidFill>
                  <a:srgbClr val="006FAC"/>
                </a:solidFill>
                <a:latin typeface="Verdana"/>
                <a:cs typeface="Verdana"/>
              </a:rPr>
              <a:t>Delivery</a:t>
            </a:r>
            <a:endParaRPr sz="1600">
              <a:latin typeface="Verdana"/>
              <a:cs typeface="Verdana"/>
            </a:endParaRPr>
          </a:p>
          <a:p>
            <a:pPr marL="994410" marR="601980">
              <a:lnSpc>
                <a:spcPct val="100000"/>
              </a:lnSpc>
              <a:spcBef>
                <a:spcPts val="5"/>
              </a:spcBef>
            </a:pPr>
            <a:r>
              <a:rPr sz="1200" spc="-5">
                <a:latin typeface="Verdana"/>
                <a:cs typeface="Verdana"/>
              </a:rPr>
              <a:t>Agile CoE, ADC, </a:t>
            </a:r>
            <a:r>
              <a:rPr sz="1200" spc="-10">
                <a:latin typeface="Verdana"/>
                <a:cs typeface="Verdana"/>
              </a:rPr>
              <a:t>Zero  </a:t>
            </a:r>
            <a:r>
              <a:rPr sz="1200" spc="-5">
                <a:latin typeface="Verdana"/>
                <a:cs typeface="Verdana"/>
              </a:rPr>
              <a:t>QA, pre-built CD  Pipelines</a:t>
            </a:r>
            <a:endParaRPr sz="1200">
              <a:latin typeface="Verdana"/>
              <a:cs typeface="Verdana"/>
            </a:endParaRPr>
          </a:p>
          <a:p>
            <a:pPr>
              <a:lnSpc>
                <a:spcPct val="100000"/>
              </a:lnSpc>
            </a:pPr>
            <a:endParaRPr sz="1400">
              <a:latin typeface="Times New Roman"/>
              <a:cs typeface="Times New Roman"/>
            </a:endParaRPr>
          </a:p>
          <a:p>
            <a:pPr marL="994410">
              <a:lnSpc>
                <a:spcPct val="100000"/>
              </a:lnSpc>
              <a:spcBef>
                <a:spcPts val="1055"/>
              </a:spcBef>
            </a:pPr>
            <a:r>
              <a:rPr sz="1600" b="1" spc="-10">
                <a:solidFill>
                  <a:srgbClr val="006FAC"/>
                </a:solidFill>
                <a:latin typeface="Verdana"/>
                <a:cs typeface="Verdana"/>
              </a:rPr>
              <a:t>Business</a:t>
            </a:r>
            <a:r>
              <a:rPr sz="1600" b="1" spc="15">
                <a:solidFill>
                  <a:srgbClr val="006FAC"/>
                </a:solidFill>
                <a:latin typeface="Verdana"/>
                <a:cs typeface="Verdana"/>
              </a:rPr>
              <a:t> </a:t>
            </a:r>
            <a:r>
              <a:rPr sz="1600" b="1" spc="-5">
                <a:solidFill>
                  <a:srgbClr val="006FAC"/>
                </a:solidFill>
                <a:latin typeface="Verdana"/>
                <a:cs typeface="Verdana"/>
              </a:rPr>
              <a:t>KPI</a:t>
            </a:r>
            <a:endParaRPr sz="1600">
              <a:latin typeface="Verdana"/>
              <a:cs typeface="Verdana"/>
            </a:endParaRPr>
          </a:p>
          <a:p>
            <a:pPr marL="994410">
              <a:lnSpc>
                <a:spcPct val="100000"/>
              </a:lnSpc>
              <a:spcBef>
                <a:spcPts val="5"/>
              </a:spcBef>
            </a:pPr>
            <a:r>
              <a:rPr sz="1600" b="1" spc="-10">
                <a:solidFill>
                  <a:srgbClr val="006FAC"/>
                </a:solidFill>
                <a:latin typeface="Verdana"/>
                <a:cs typeface="Verdana"/>
              </a:rPr>
              <a:t>Alignment</a:t>
            </a:r>
            <a:endParaRPr sz="1600">
              <a:latin typeface="Verdana"/>
              <a:cs typeface="Verdana"/>
            </a:endParaRPr>
          </a:p>
          <a:p>
            <a:pPr marL="994410" marR="434340">
              <a:lnSpc>
                <a:spcPct val="100000"/>
              </a:lnSpc>
              <a:spcBef>
                <a:spcPts val="204"/>
              </a:spcBef>
            </a:pPr>
            <a:r>
              <a:rPr sz="1200" spc="-5">
                <a:latin typeface="Verdana"/>
                <a:cs typeface="Verdana"/>
              </a:rPr>
              <a:t>Business </a:t>
            </a:r>
            <a:r>
              <a:rPr sz="1200">
                <a:latin typeface="Verdana"/>
                <a:cs typeface="Verdana"/>
              </a:rPr>
              <a:t>Process</a:t>
            </a:r>
            <a:r>
              <a:rPr sz="1200" spc="-55">
                <a:latin typeface="Verdana"/>
                <a:cs typeface="Verdana"/>
              </a:rPr>
              <a:t> </a:t>
            </a:r>
            <a:r>
              <a:rPr sz="1200" spc="-10">
                <a:latin typeface="Verdana"/>
                <a:cs typeface="Verdana"/>
              </a:rPr>
              <a:t>Focus  </a:t>
            </a:r>
            <a:r>
              <a:rPr sz="1200" spc="-5">
                <a:latin typeface="Verdana"/>
                <a:cs typeface="Verdana"/>
              </a:rPr>
              <a:t>(BPF)</a:t>
            </a:r>
            <a:endParaRPr sz="1200">
              <a:latin typeface="Verdana"/>
              <a:cs typeface="Verdana"/>
            </a:endParaRPr>
          </a:p>
        </p:txBody>
      </p:sp>
      <p:sp>
        <p:nvSpPr>
          <p:cNvPr id="47" name="object 47"/>
          <p:cNvSpPr/>
          <p:nvPr/>
        </p:nvSpPr>
        <p:spPr>
          <a:xfrm>
            <a:off x="4856988" y="2805683"/>
            <a:ext cx="524510" cy="527685"/>
          </a:xfrm>
          <a:custGeom>
            <a:avLst/>
            <a:gdLst/>
            <a:ahLst/>
            <a:cxnLst/>
            <a:rect l="l" t="t" r="r" b="b"/>
            <a:pathLst>
              <a:path w="524510" h="527685">
                <a:moveTo>
                  <a:pt x="486790" y="0"/>
                </a:moveTo>
                <a:lnTo>
                  <a:pt x="37464" y="0"/>
                </a:lnTo>
                <a:lnTo>
                  <a:pt x="29960" y="807"/>
                </a:lnTo>
                <a:lnTo>
                  <a:pt x="688" y="35151"/>
                </a:lnTo>
                <a:lnTo>
                  <a:pt x="0" y="43941"/>
                </a:lnTo>
                <a:lnTo>
                  <a:pt x="0" y="483362"/>
                </a:lnTo>
                <a:lnTo>
                  <a:pt x="16712" y="520070"/>
                </a:lnTo>
                <a:lnTo>
                  <a:pt x="37464" y="527303"/>
                </a:lnTo>
                <a:lnTo>
                  <a:pt x="486790" y="527303"/>
                </a:lnTo>
                <a:lnTo>
                  <a:pt x="521509" y="500252"/>
                </a:lnTo>
                <a:lnTo>
                  <a:pt x="524256" y="483362"/>
                </a:lnTo>
                <a:lnTo>
                  <a:pt x="37464" y="483362"/>
                </a:lnTo>
                <a:lnTo>
                  <a:pt x="37464" y="439419"/>
                </a:lnTo>
                <a:lnTo>
                  <a:pt x="524256" y="439419"/>
                </a:lnTo>
                <a:lnTo>
                  <a:pt x="524256" y="418083"/>
                </a:lnTo>
                <a:lnTo>
                  <a:pt x="262127" y="418083"/>
                </a:lnTo>
                <a:lnTo>
                  <a:pt x="239724" y="415676"/>
                </a:lnTo>
                <a:lnTo>
                  <a:pt x="200013" y="396384"/>
                </a:lnTo>
                <a:lnTo>
                  <a:pt x="168324" y="359213"/>
                </a:lnTo>
                <a:lnTo>
                  <a:pt x="151802" y="312592"/>
                </a:lnTo>
                <a:lnTo>
                  <a:pt x="149733" y="286257"/>
                </a:lnTo>
                <a:lnTo>
                  <a:pt x="151802" y="259996"/>
                </a:lnTo>
                <a:lnTo>
                  <a:pt x="168324" y="213427"/>
                </a:lnTo>
                <a:lnTo>
                  <a:pt x="200013" y="176238"/>
                </a:lnTo>
                <a:lnTo>
                  <a:pt x="239724" y="156858"/>
                </a:lnTo>
                <a:lnTo>
                  <a:pt x="262127" y="154431"/>
                </a:lnTo>
                <a:lnTo>
                  <a:pt x="524256" y="154431"/>
                </a:lnTo>
                <a:lnTo>
                  <a:pt x="524256" y="131825"/>
                </a:lnTo>
                <a:lnTo>
                  <a:pt x="37464" y="131825"/>
                </a:lnTo>
                <a:lnTo>
                  <a:pt x="37464" y="87883"/>
                </a:lnTo>
                <a:lnTo>
                  <a:pt x="225806" y="87883"/>
                </a:lnTo>
                <a:lnTo>
                  <a:pt x="235203" y="65912"/>
                </a:lnTo>
                <a:lnTo>
                  <a:pt x="74929" y="65912"/>
                </a:lnTo>
                <a:lnTo>
                  <a:pt x="74929" y="21970"/>
                </a:lnTo>
                <a:lnTo>
                  <a:pt x="519175" y="21970"/>
                </a:lnTo>
                <a:lnTo>
                  <a:pt x="518094" y="19617"/>
                </a:lnTo>
                <a:lnTo>
                  <a:pt x="513334" y="12826"/>
                </a:lnTo>
                <a:lnTo>
                  <a:pt x="507543" y="7233"/>
                </a:lnTo>
                <a:lnTo>
                  <a:pt x="501205" y="3222"/>
                </a:lnTo>
                <a:lnTo>
                  <a:pt x="494295" y="807"/>
                </a:lnTo>
                <a:lnTo>
                  <a:pt x="486790" y="0"/>
                </a:lnTo>
                <a:close/>
              </a:path>
              <a:path w="524510" h="527685">
                <a:moveTo>
                  <a:pt x="524256" y="439419"/>
                </a:moveTo>
                <a:lnTo>
                  <a:pt x="486790" y="439419"/>
                </a:lnTo>
                <a:lnTo>
                  <a:pt x="486790" y="483362"/>
                </a:lnTo>
                <a:lnTo>
                  <a:pt x="524256" y="483362"/>
                </a:lnTo>
                <a:lnTo>
                  <a:pt x="524256" y="439419"/>
                </a:lnTo>
                <a:close/>
              </a:path>
              <a:path w="524510" h="527685">
                <a:moveTo>
                  <a:pt x="524256" y="154431"/>
                </a:moveTo>
                <a:lnTo>
                  <a:pt x="262127" y="154431"/>
                </a:lnTo>
                <a:lnTo>
                  <a:pt x="284531" y="156858"/>
                </a:lnTo>
                <a:lnTo>
                  <a:pt x="305244" y="164131"/>
                </a:lnTo>
                <a:lnTo>
                  <a:pt x="341502" y="193166"/>
                </a:lnTo>
                <a:lnTo>
                  <a:pt x="366252" y="235711"/>
                </a:lnTo>
                <a:lnTo>
                  <a:pt x="374523" y="286257"/>
                </a:lnTo>
                <a:lnTo>
                  <a:pt x="372453" y="312592"/>
                </a:lnTo>
                <a:lnTo>
                  <a:pt x="355931" y="359213"/>
                </a:lnTo>
                <a:lnTo>
                  <a:pt x="324242" y="396384"/>
                </a:lnTo>
                <a:lnTo>
                  <a:pt x="284531" y="415676"/>
                </a:lnTo>
                <a:lnTo>
                  <a:pt x="262127" y="418083"/>
                </a:lnTo>
                <a:lnTo>
                  <a:pt x="524256" y="418083"/>
                </a:lnTo>
                <a:lnTo>
                  <a:pt x="524256" y="154431"/>
                </a:lnTo>
                <a:close/>
              </a:path>
              <a:path w="524510" h="527685">
                <a:moveTo>
                  <a:pt x="262127" y="198374"/>
                </a:moveTo>
                <a:lnTo>
                  <a:pt x="220694" y="212893"/>
                </a:lnTo>
                <a:lnTo>
                  <a:pt x="192690" y="252602"/>
                </a:lnTo>
                <a:lnTo>
                  <a:pt x="187198" y="286257"/>
                </a:lnTo>
                <a:lnTo>
                  <a:pt x="188577" y="303803"/>
                </a:lnTo>
                <a:lnTo>
                  <a:pt x="209169" y="348488"/>
                </a:lnTo>
                <a:lnTo>
                  <a:pt x="247173" y="372544"/>
                </a:lnTo>
                <a:lnTo>
                  <a:pt x="262127" y="374141"/>
                </a:lnTo>
                <a:lnTo>
                  <a:pt x="277082" y="372544"/>
                </a:lnTo>
                <a:lnTo>
                  <a:pt x="315087" y="348488"/>
                </a:lnTo>
                <a:lnTo>
                  <a:pt x="335678" y="303803"/>
                </a:lnTo>
                <a:lnTo>
                  <a:pt x="336239" y="296671"/>
                </a:lnTo>
                <a:lnTo>
                  <a:pt x="221996" y="296671"/>
                </a:lnTo>
                <a:lnTo>
                  <a:pt x="219710" y="295528"/>
                </a:lnTo>
                <a:lnTo>
                  <a:pt x="216153" y="291464"/>
                </a:lnTo>
                <a:lnTo>
                  <a:pt x="215264" y="288798"/>
                </a:lnTo>
                <a:lnTo>
                  <a:pt x="215264" y="285623"/>
                </a:lnTo>
                <a:lnTo>
                  <a:pt x="229108" y="246887"/>
                </a:lnTo>
                <a:lnTo>
                  <a:pt x="262127" y="230631"/>
                </a:lnTo>
                <a:lnTo>
                  <a:pt x="319681" y="230631"/>
                </a:lnTo>
                <a:lnTo>
                  <a:pt x="315087" y="224154"/>
                </a:lnTo>
                <a:lnTo>
                  <a:pt x="303561" y="212893"/>
                </a:lnTo>
                <a:lnTo>
                  <a:pt x="290893" y="204835"/>
                </a:lnTo>
                <a:lnTo>
                  <a:pt x="277082" y="199991"/>
                </a:lnTo>
                <a:lnTo>
                  <a:pt x="262127" y="198374"/>
                </a:lnTo>
                <a:close/>
              </a:path>
              <a:path w="524510" h="527685">
                <a:moveTo>
                  <a:pt x="319681" y="230631"/>
                </a:moveTo>
                <a:lnTo>
                  <a:pt x="264795" y="230631"/>
                </a:lnTo>
                <a:lnTo>
                  <a:pt x="267081" y="231775"/>
                </a:lnTo>
                <a:lnTo>
                  <a:pt x="270637" y="235838"/>
                </a:lnTo>
                <a:lnTo>
                  <a:pt x="271525" y="238505"/>
                </a:lnTo>
                <a:lnTo>
                  <a:pt x="271525" y="244855"/>
                </a:lnTo>
                <a:lnTo>
                  <a:pt x="270637" y="247523"/>
                </a:lnTo>
                <a:lnTo>
                  <a:pt x="267081" y="251587"/>
                </a:lnTo>
                <a:lnTo>
                  <a:pt x="264795" y="252602"/>
                </a:lnTo>
                <a:lnTo>
                  <a:pt x="254381" y="252602"/>
                </a:lnTo>
                <a:lnTo>
                  <a:pt x="247650" y="255904"/>
                </a:lnTo>
                <a:lnTo>
                  <a:pt x="242188" y="262254"/>
                </a:lnTo>
                <a:lnTo>
                  <a:pt x="236727" y="268731"/>
                </a:lnTo>
                <a:lnTo>
                  <a:pt x="234061" y="276478"/>
                </a:lnTo>
                <a:lnTo>
                  <a:pt x="234061" y="288798"/>
                </a:lnTo>
                <a:lnTo>
                  <a:pt x="233172" y="291464"/>
                </a:lnTo>
                <a:lnTo>
                  <a:pt x="229615" y="295528"/>
                </a:lnTo>
                <a:lnTo>
                  <a:pt x="227457" y="296671"/>
                </a:lnTo>
                <a:lnTo>
                  <a:pt x="336239" y="296671"/>
                </a:lnTo>
                <a:lnTo>
                  <a:pt x="337058" y="286257"/>
                </a:lnTo>
                <a:lnTo>
                  <a:pt x="335678" y="268731"/>
                </a:lnTo>
                <a:lnTo>
                  <a:pt x="331549" y="252539"/>
                </a:lnTo>
                <a:lnTo>
                  <a:pt x="324681" y="237680"/>
                </a:lnTo>
                <a:lnTo>
                  <a:pt x="319681" y="230631"/>
                </a:lnTo>
                <a:close/>
              </a:path>
              <a:path w="524510" h="527685">
                <a:moveTo>
                  <a:pt x="524256" y="43941"/>
                </a:moveTo>
                <a:lnTo>
                  <a:pt x="486790" y="43941"/>
                </a:lnTo>
                <a:lnTo>
                  <a:pt x="486790" y="131825"/>
                </a:lnTo>
                <a:lnTo>
                  <a:pt x="524256" y="131825"/>
                </a:lnTo>
                <a:lnTo>
                  <a:pt x="524256" y="43941"/>
                </a:lnTo>
                <a:close/>
              </a:path>
              <a:path w="524510" h="527685">
                <a:moveTo>
                  <a:pt x="519175" y="21970"/>
                </a:moveTo>
                <a:lnTo>
                  <a:pt x="187198" y="21970"/>
                </a:lnTo>
                <a:lnTo>
                  <a:pt x="187198" y="65912"/>
                </a:lnTo>
                <a:lnTo>
                  <a:pt x="235203" y="65912"/>
                </a:lnTo>
                <a:lnTo>
                  <a:pt x="244601" y="43941"/>
                </a:lnTo>
                <a:lnTo>
                  <a:pt x="524256" y="43941"/>
                </a:lnTo>
                <a:lnTo>
                  <a:pt x="523567" y="35151"/>
                </a:lnTo>
                <a:lnTo>
                  <a:pt x="521509" y="27050"/>
                </a:lnTo>
                <a:lnTo>
                  <a:pt x="519175" y="21970"/>
                </a:lnTo>
                <a:close/>
              </a:path>
            </a:pathLst>
          </a:custGeom>
          <a:solidFill>
            <a:srgbClr val="FF2F4B"/>
          </a:solidFill>
        </p:spPr>
        <p:txBody>
          <a:bodyPr wrap="square" lIns="0" tIns="0" rIns="0" bIns="0" rtlCol="0"/>
          <a:lstStyle/>
          <a:p>
            <a:endParaRPr/>
          </a:p>
        </p:txBody>
      </p:sp>
      <p:sp>
        <p:nvSpPr>
          <p:cNvPr id="48" name="object 48"/>
          <p:cNvSpPr txBox="1"/>
          <p:nvPr/>
        </p:nvSpPr>
        <p:spPr>
          <a:xfrm>
            <a:off x="8519159" y="2689098"/>
            <a:ext cx="3221990" cy="3245485"/>
          </a:xfrm>
          <a:prstGeom prst="rect">
            <a:avLst/>
          </a:prstGeom>
        </p:spPr>
        <p:txBody>
          <a:bodyPr vert="horz" wrap="square" lIns="0" tIns="12065" rIns="0" bIns="0" rtlCol="0">
            <a:spAutoFit/>
          </a:bodyPr>
          <a:lstStyle/>
          <a:p>
            <a:pPr marL="874394" marR="1088390">
              <a:lnSpc>
                <a:spcPct val="100000"/>
              </a:lnSpc>
              <a:spcBef>
                <a:spcPts val="95"/>
              </a:spcBef>
            </a:pPr>
            <a:r>
              <a:rPr sz="1600" b="1" spc="-5">
                <a:solidFill>
                  <a:srgbClr val="006FAC"/>
                </a:solidFill>
                <a:latin typeface="Verdana"/>
                <a:cs typeface="Verdana"/>
              </a:rPr>
              <a:t>I</a:t>
            </a:r>
            <a:r>
              <a:rPr sz="1600" b="1">
                <a:solidFill>
                  <a:srgbClr val="006FAC"/>
                </a:solidFill>
                <a:latin typeface="Verdana"/>
                <a:cs typeface="Verdana"/>
              </a:rPr>
              <a:t>n</a:t>
            </a:r>
            <a:r>
              <a:rPr sz="1600" b="1" spc="-10">
                <a:solidFill>
                  <a:srgbClr val="006FAC"/>
                </a:solidFill>
                <a:latin typeface="Verdana"/>
                <a:cs typeface="Verdana"/>
              </a:rPr>
              <a:t>no</a:t>
            </a:r>
            <a:r>
              <a:rPr sz="1600" b="1" spc="-15">
                <a:solidFill>
                  <a:srgbClr val="006FAC"/>
                </a:solidFill>
                <a:latin typeface="Verdana"/>
                <a:cs typeface="Verdana"/>
              </a:rPr>
              <a:t>v</a:t>
            </a:r>
            <a:r>
              <a:rPr sz="1600" b="1" spc="-5">
                <a:solidFill>
                  <a:srgbClr val="006FAC"/>
                </a:solidFill>
                <a:latin typeface="Verdana"/>
                <a:cs typeface="Verdana"/>
              </a:rPr>
              <a:t>at</a:t>
            </a:r>
            <a:r>
              <a:rPr sz="1600" b="1" spc="-15">
                <a:solidFill>
                  <a:srgbClr val="006FAC"/>
                </a:solidFill>
                <a:latin typeface="Verdana"/>
                <a:cs typeface="Verdana"/>
              </a:rPr>
              <a:t>i</a:t>
            </a:r>
            <a:r>
              <a:rPr sz="1600" b="1" spc="-5">
                <a:solidFill>
                  <a:srgbClr val="006FAC"/>
                </a:solidFill>
                <a:latin typeface="Verdana"/>
                <a:cs typeface="Verdana"/>
              </a:rPr>
              <a:t>on  Culture</a:t>
            </a:r>
            <a:endParaRPr sz="1600">
              <a:latin typeface="Verdana"/>
              <a:cs typeface="Verdana"/>
            </a:endParaRPr>
          </a:p>
          <a:p>
            <a:pPr marL="874394">
              <a:lnSpc>
                <a:spcPct val="100000"/>
              </a:lnSpc>
              <a:spcBef>
                <a:spcPts val="509"/>
              </a:spcBef>
            </a:pPr>
            <a:r>
              <a:rPr sz="1200" spc="-5">
                <a:latin typeface="Verdana"/>
                <a:cs typeface="Verdana"/>
              </a:rPr>
              <a:t>AIE and</a:t>
            </a:r>
            <a:r>
              <a:rPr sz="1200" spc="15">
                <a:latin typeface="Verdana"/>
                <a:cs typeface="Verdana"/>
              </a:rPr>
              <a:t> </a:t>
            </a:r>
            <a:r>
              <a:rPr sz="1200" spc="-5">
                <a:latin typeface="Verdana"/>
                <a:cs typeface="Verdana"/>
              </a:rPr>
              <a:t>ASE</a:t>
            </a:r>
            <a:endParaRPr sz="1200">
              <a:latin typeface="Verdana"/>
              <a:cs typeface="Verdana"/>
            </a:endParaRPr>
          </a:p>
          <a:p>
            <a:pPr>
              <a:lnSpc>
                <a:spcPct val="100000"/>
              </a:lnSpc>
            </a:pPr>
            <a:endParaRPr sz="1400">
              <a:latin typeface="Times New Roman"/>
              <a:cs typeface="Times New Roman"/>
            </a:endParaRPr>
          </a:p>
          <a:p>
            <a:pPr>
              <a:lnSpc>
                <a:spcPct val="100000"/>
              </a:lnSpc>
              <a:spcBef>
                <a:spcPts val="15"/>
              </a:spcBef>
            </a:pPr>
            <a:endParaRPr sz="1800">
              <a:latin typeface="Times New Roman"/>
              <a:cs typeface="Times New Roman"/>
            </a:endParaRPr>
          </a:p>
          <a:p>
            <a:pPr marL="874394" marR="626110">
              <a:lnSpc>
                <a:spcPct val="100000"/>
              </a:lnSpc>
            </a:pPr>
            <a:r>
              <a:rPr sz="1600" b="1" spc="-10">
                <a:solidFill>
                  <a:srgbClr val="006FAC"/>
                </a:solidFill>
                <a:latin typeface="Verdana"/>
                <a:cs typeface="Verdana"/>
              </a:rPr>
              <a:t>Portfolio  Rationalization</a:t>
            </a:r>
            <a:endParaRPr sz="1600">
              <a:latin typeface="Verdana"/>
              <a:cs typeface="Verdana"/>
            </a:endParaRPr>
          </a:p>
          <a:p>
            <a:pPr marL="874394">
              <a:lnSpc>
                <a:spcPct val="100000"/>
              </a:lnSpc>
              <a:spcBef>
                <a:spcPts val="439"/>
              </a:spcBef>
            </a:pPr>
            <a:r>
              <a:rPr sz="1200" spc="-5">
                <a:latin typeface="Verdana"/>
                <a:cs typeface="Verdana"/>
              </a:rPr>
              <a:t>eAPM,</a:t>
            </a:r>
            <a:r>
              <a:rPr sz="1200" spc="10">
                <a:latin typeface="Verdana"/>
                <a:cs typeface="Verdana"/>
              </a:rPr>
              <a:t> </a:t>
            </a:r>
            <a:r>
              <a:rPr sz="1200" spc="-5">
                <a:latin typeface="Verdana"/>
                <a:cs typeface="Verdana"/>
              </a:rPr>
              <a:t>Cap360</a:t>
            </a:r>
            <a:endParaRPr sz="1200">
              <a:latin typeface="Verdana"/>
              <a:cs typeface="Verdana"/>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15"/>
              </a:spcBef>
            </a:pPr>
            <a:endParaRPr sz="1400">
              <a:latin typeface="Times New Roman"/>
              <a:cs typeface="Times New Roman"/>
            </a:endParaRPr>
          </a:p>
          <a:p>
            <a:pPr marL="874394">
              <a:lnSpc>
                <a:spcPct val="100000"/>
              </a:lnSpc>
            </a:pPr>
            <a:r>
              <a:rPr sz="1600" b="1" spc="-5">
                <a:solidFill>
                  <a:srgbClr val="006FAC"/>
                </a:solidFill>
                <a:latin typeface="Verdana"/>
                <a:cs typeface="Verdana"/>
              </a:rPr>
              <a:t>Cloud</a:t>
            </a:r>
            <a:r>
              <a:rPr sz="1600" b="1" spc="25">
                <a:solidFill>
                  <a:srgbClr val="006FAC"/>
                </a:solidFill>
                <a:latin typeface="Verdana"/>
                <a:cs typeface="Verdana"/>
              </a:rPr>
              <a:t> </a:t>
            </a:r>
            <a:r>
              <a:rPr sz="1600" b="1" spc="-10">
                <a:solidFill>
                  <a:srgbClr val="006FAC"/>
                </a:solidFill>
                <a:latin typeface="Verdana"/>
                <a:cs typeface="Verdana"/>
              </a:rPr>
              <a:t>Enablement</a:t>
            </a:r>
            <a:endParaRPr sz="1600">
              <a:latin typeface="Verdana"/>
              <a:cs typeface="Verdana"/>
            </a:endParaRPr>
          </a:p>
          <a:p>
            <a:pPr marL="874394" marR="1009650">
              <a:lnSpc>
                <a:spcPct val="100000"/>
              </a:lnSpc>
              <a:spcBef>
                <a:spcPts val="505"/>
              </a:spcBef>
            </a:pPr>
            <a:r>
              <a:rPr sz="1200" spc="-5">
                <a:latin typeface="Verdana"/>
                <a:cs typeface="Verdana"/>
              </a:rPr>
              <a:t>Cloud Align </a:t>
            </a:r>
            <a:r>
              <a:rPr sz="1200">
                <a:latin typeface="Verdana"/>
                <a:cs typeface="Verdana"/>
              </a:rPr>
              <a:t>–</a:t>
            </a:r>
            <a:r>
              <a:rPr sz="1200" spc="-50">
                <a:latin typeface="Verdana"/>
                <a:cs typeface="Verdana"/>
              </a:rPr>
              <a:t> </a:t>
            </a:r>
            <a:r>
              <a:rPr sz="1200" spc="-5">
                <a:latin typeface="Verdana"/>
                <a:cs typeface="Verdana"/>
              </a:rPr>
              <a:t>API  Framework</a:t>
            </a:r>
            <a:endParaRPr sz="1200">
              <a:latin typeface="Verdana"/>
              <a:cs typeface="Verdana"/>
            </a:endParaRPr>
          </a:p>
        </p:txBody>
      </p:sp>
      <p:sp>
        <p:nvSpPr>
          <p:cNvPr id="49" name="object 49"/>
          <p:cNvSpPr/>
          <p:nvPr/>
        </p:nvSpPr>
        <p:spPr>
          <a:xfrm>
            <a:off x="8799576" y="2846832"/>
            <a:ext cx="493775" cy="493775"/>
          </a:xfrm>
          <a:prstGeom prst="rect">
            <a:avLst/>
          </a:prstGeom>
          <a:blipFill>
            <a:blip r:embed="rId6" cstate="print"/>
            <a:stretch>
              <a:fillRect/>
            </a:stretch>
          </a:blipFill>
        </p:spPr>
        <p:txBody>
          <a:bodyPr wrap="square" lIns="0" tIns="0" rIns="0" bIns="0" rtlCol="0"/>
          <a:lstStyle/>
          <a:p>
            <a:endParaRPr/>
          </a:p>
        </p:txBody>
      </p:sp>
      <p:sp>
        <p:nvSpPr>
          <p:cNvPr id="50" name="object 50"/>
          <p:cNvSpPr/>
          <p:nvPr/>
        </p:nvSpPr>
        <p:spPr>
          <a:xfrm>
            <a:off x="220871" y="252630"/>
            <a:ext cx="751223" cy="752624"/>
          </a:xfrm>
          <a:prstGeom prst="rect">
            <a:avLst/>
          </a:prstGeom>
          <a:blipFill>
            <a:blip r:embed="rId7" cstate="print"/>
            <a:stretch>
              <a:fillRect/>
            </a:stretch>
          </a:blipFill>
        </p:spPr>
        <p:txBody>
          <a:bodyPr wrap="square" lIns="0" tIns="0" rIns="0" bIns="0" rtlCol="0"/>
          <a:lstStyle/>
          <a:p>
            <a:endParaRPr/>
          </a:p>
        </p:txBody>
      </p:sp>
      <p:sp>
        <p:nvSpPr>
          <p:cNvPr id="51" name="object 5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2" name="object 52"/>
          <p:cNvSpPr txBox="1"/>
          <p:nvPr/>
        </p:nvSpPr>
        <p:spPr>
          <a:xfrm>
            <a:off x="9568053" y="6638097"/>
            <a:ext cx="2374900" cy="149860"/>
          </a:xfrm>
          <a:prstGeom prst="rect">
            <a:avLst/>
          </a:prstGeom>
        </p:spPr>
        <p:txBody>
          <a:bodyPr vert="horz" wrap="square" lIns="0" tIns="13335" rIns="0" bIns="0" rtlCol="0">
            <a:spAutoFit/>
          </a:bodyPr>
          <a:lstStyle/>
          <a:p>
            <a:pPr marL="12700">
              <a:lnSpc>
                <a:spcPct val="100000"/>
              </a:lnSpc>
              <a:spcBef>
                <a:spcPts val="105"/>
              </a:spcBef>
            </a:pPr>
            <a:r>
              <a:rPr sz="800" spc="-240">
                <a:solidFill>
                  <a:srgbClr val="A6A6A6"/>
                </a:solidFill>
                <a:latin typeface="Verdana"/>
                <a:cs typeface="Verdana"/>
              </a:rPr>
              <a:t>©©CCaappggeemminini </a:t>
            </a:r>
            <a:r>
              <a:rPr sz="800" spc="-180">
                <a:solidFill>
                  <a:srgbClr val="A6A6A6"/>
                </a:solidFill>
                <a:latin typeface="Verdana"/>
                <a:cs typeface="Verdana"/>
              </a:rPr>
              <a:t>i22001290..AAllllrrigighhttssrreesseerrvveedd </a:t>
            </a:r>
            <a:r>
              <a:rPr sz="800">
                <a:solidFill>
                  <a:srgbClr val="12ABDB"/>
                </a:solidFill>
                <a:latin typeface="Verdana"/>
                <a:cs typeface="Verdana"/>
              </a:rPr>
              <a:t>|</a:t>
            </a:r>
            <a:r>
              <a:rPr sz="800" spc="95">
                <a:solidFill>
                  <a:srgbClr val="12ABDB"/>
                </a:solidFill>
                <a:latin typeface="Verdana"/>
                <a:cs typeface="Verdana"/>
              </a:rPr>
              <a:t> </a:t>
            </a:r>
            <a:r>
              <a:rPr sz="800" spc="-210">
                <a:solidFill>
                  <a:srgbClr val="A6A6A6"/>
                </a:solidFill>
                <a:latin typeface="Verdana"/>
                <a:cs typeface="Verdana"/>
              </a:rPr>
              <a:t>3300</a:t>
            </a:r>
            <a:endParaRPr sz="800">
              <a:latin typeface="Verdana"/>
              <a:cs typeface="Verdan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46784" y="119888"/>
            <a:ext cx="10220960" cy="863600"/>
          </a:xfrm>
          <a:prstGeom prst="rect">
            <a:avLst/>
          </a:prstGeom>
        </p:spPr>
        <p:txBody>
          <a:bodyPr vert="horz" wrap="square" lIns="0" tIns="12700" rIns="0" bIns="0" rtlCol="0">
            <a:spAutoFit/>
          </a:bodyPr>
          <a:lstStyle/>
          <a:p>
            <a:pPr marL="12700" marR="5080">
              <a:lnSpc>
                <a:spcPct val="114599"/>
              </a:lnSpc>
              <a:spcBef>
                <a:spcPts val="100"/>
              </a:spcBef>
            </a:pPr>
            <a:r>
              <a:rPr spc="-10"/>
              <a:t>It </a:t>
            </a:r>
            <a:r>
              <a:t>helps </a:t>
            </a:r>
            <a:r>
              <a:rPr spc="-10"/>
              <a:t>in building </a:t>
            </a:r>
            <a:r>
              <a:t>a </a:t>
            </a:r>
            <a:r>
              <a:rPr spc="-5"/>
              <a:t>long-term partnership with </a:t>
            </a:r>
            <a:r>
              <a:t>our customers </a:t>
            </a:r>
            <a:r>
              <a:rPr spc="-5"/>
              <a:t>by  constantly </a:t>
            </a:r>
            <a:r>
              <a:rPr spc="-10"/>
              <a:t>increasing </a:t>
            </a:r>
            <a:r>
              <a:t>our </a:t>
            </a:r>
            <a:r>
              <a:rPr spc="-5"/>
              <a:t>relationship maturity to the </a:t>
            </a:r>
            <a:r>
              <a:t>next</a:t>
            </a:r>
            <a:r>
              <a:rPr spc="240"/>
              <a:t> </a:t>
            </a:r>
            <a:r>
              <a:rPr spc="-15"/>
              <a:t>level</a:t>
            </a:r>
          </a:p>
        </p:txBody>
      </p:sp>
      <p:sp>
        <p:nvSpPr>
          <p:cNvPr id="3" name="object 3"/>
          <p:cNvSpPr/>
          <p:nvPr/>
        </p:nvSpPr>
        <p:spPr>
          <a:xfrm>
            <a:off x="6914388" y="5355335"/>
            <a:ext cx="0" cy="175260"/>
          </a:xfrm>
          <a:custGeom>
            <a:avLst/>
            <a:gdLst/>
            <a:ahLst/>
            <a:cxnLst/>
            <a:rect l="l" t="t" r="r" b="b"/>
            <a:pathLst>
              <a:path h="175260">
                <a:moveTo>
                  <a:pt x="0" y="0"/>
                </a:moveTo>
                <a:lnTo>
                  <a:pt x="0" y="175005"/>
                </a:lnTo>
              </a:path>
            </a:pathLst>
          </a:custGeom>
          <a:ln w="57912">
            <a:solidFill>
              <a:srgbClr val="6FAC0F"/>
            </a:solidFill>
          </a:ln>
        </p:spPr>
        <p:txBody>
          <a:bodyPr wrap="square" lIns="0" tIns="0" rIns="0" bIns="0" rtlCol="0"/>
          <a:lstStyle/>
          <a:p>
            <a:endParaRPr/>
          </a:p>
        </p:txBody>
      </p:sp>
      <p:sp>
        <p:nvSpPr>
          <p:cNvPr id="4" name="object 4"/>
          <p:cNvSpPr/>
          <p:nvPr/>
        </p:nvSpPr>
        <p:spPr>
          <a:xfrm>
            <a:off x="7418831" y="4445508"/>
            <a:ext cx="637021" cy="556259"/>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8074280" y="4407442"/>
            <a:ext cx="616932" cy="600421"/>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7420356" y="5038344"/>
            <a:ext cx="1251203" cy="512064"/>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10477500" y="4439411"/>
            <a:ext cx="1127759" cy="496824"/>
          </a:xfrm>
          <a:prstGeom prst="rect">
            <a:avLst/>
          </a:prstGeom>
          <a:blipFill>
            <a:blip r:embed="rId5" cstate="print"/>
            <a:stretch>
              <a:fillRect/>
            </a:stretch>
          </a:blipFill>
        </p:spPr>
        <p:txBody>
          <a:bodyPr wrap="square" lIns="0" tIns="0" rIns="0" bIns="0" rtlCol="0"/>
          <a:lstStyle/>
          <a:p>
            <a:endParaRPr/>
          </a:p>
        </p:txBody>
      </p:sp>
      <p:sp>
        <p:nvSpPr>
          <p:cNvPr id="8" name="object 8"/>
          <p:cNvSpPr/>
          <p:nvPr/>
        </p:nvSpPr>
        <p:spPr>
          <a:xfrm>
            <a:off x="10477500" y="4977411"/>
            <a:ext cx="1123188" cy="496741"/>
          </a:xfrm>
          <a:prstGeom prst="rect">
            <a:avLst/>
          </a:prstGeom>
          <a:blipFill>
            <a:blip r:embed="rId6" cstate="print"/>
            <a:stretch>
              <a:fillRect/>
            </a:stretch>
          </a:blipFill>
        </p:spPr>
        <p:txBody>
          <a:bodyPr wrap="square" lIns="0" tIns="0" rIns="0" bIns="0" rtlCol="0"/>
          <a:lstStyle/>
          <a:p>
            <a:endParaRPr/>
          </a:p>
        </p:txBody>
      </p:sp>
      <p:sp>
        <p:nvSpPr>
          <p:cNvPr id="9" name="object 9"/>
          <p:cNvSpPr/>
          <p:nvPr/>
        </p:nvSpPr>
        <p:spPr>
          <a:xfrm>
            <a:off x="5835396" y="2791967"/>
            <a:ext cx="1132331" cy="563879"/>
          </a:xfrm>
          <a:prstGeom prst="rect">
            <a:avLst/>
          </a:prstGeom>
          <a:blipFill>
            <a:blip r:embed="rId7" cstate="print"/>
            <a:stretch>
              <a:fillRect/>
            </a:stretch>
          </a:blipFill>
        </p:spPr>
        <p:txBody>
          <a:bodyPr wrap="square" lIns="0" tIns="0" rIns="0" bIns="0" rtlCol="0"/>
          <a:lstStyle/>
          <a:p>
            <a:endParaRPr/>
          </a:p>
        </p:txBody>
      </p:sp>
      <p:sp>
        <p:nvSpPr>
          <p:cNvPr id="10" name="object 10"/>
          <p:cNvSpPr/>
          <p:nvPr/>
        </p:nvSpPr>
        <p:spPr>
          <a:xfrm>
            <a:off x="2846832" y="2769107"/>
            <a:ext cx="1271016" cy="466344"/>
          </a:xfrm>
          <a:prstGeom prst="rect">
            <a:avLst/>
          </a:prstGeom>
          <a:blipFill>
            <a:blip r:embed="rId8" cstate="print"/>
            <a:stretch>
              <a:fillRect/>
            </a:stretch>
          </a:blipFill>
        </p:spPr>
        <p:txBody>
          <a:bodyPr wrap="square" lIns="0" tIns="0" rIns="0" bIns="0" rtlCol="0"/>
          <a:lstStyle/>
          <a:p>
            <a:endParaRPr/>
          </a:p>
        </p:txBody>
      </p:sp>
      <p:sp>
        <p:nvSpPr>
          <p:cNvPr id="11" name="object 11"/>
          <p:cNvSpPr/>
          <p:nvPr/>
        </p:nvSpPr>
        <p:spPr>
          <a:xfrm>
            <a:off x="10206759" y="1765629"/>
            <a:ext cx="570865" cy="550545"/>
          </a:xfrm>
          <a:custGeom>
            <a:avLst/>
            <a:gdLst/>
            <a:ahLst/>
            <a:cxnLst/>
            <a:rect l="l" t="t" r="r" b="b"/>
            <a:pathLst>
              <a:path w="570865" h="550544">
                <a:moveTo>
                  <a:pt x="288080" y="0"/>
                </a:moveTo>
                <a:lnTo>
                  <a:pt x="243814" y="3577"/>
                </a:lnTo>
                <a:lnTo>
                  <a:pt x="200193" y="13943"/>
                </a:lnTo>
                <a:lnTo>
                  <a:pt x="158049" y="31225"/>
                </a:lnTo>
                <a:lnTo>
                  <a:pt x="118213" y="55550"/>
                </a:lnTo>
                <a:lnTo>
                  <a:pt x="82777" y="85773"/>
                </a:lnTo>
                <a:lnTo>
                  <a:pt x="53447" y="120121"/>
                </a:lnTo>
                <a:lnTo>
                  <a:pt x="30364" y="157783"/>
                </a:lnTo>
                <a:lnTo>
                  <a:pt x="13669" y="197945"/>
                </a:lnTo>
                <a:lnTo>
                  <a:pt x="3500" y="239796"/>
                </a:lnTo>
                <a:lnTo>
                  <a:pt x="0" y="282523"/>
                </a:lnTo>
                <a:lnTo>
                  <a:pt x="3306" y="325314"/>
                </a:lnTo>
                <a:lnTo>
                  <a:pt x="13561" y="367357"/>
                </a:lnTo>
                <a:lnTo>
                  <a:pt x="30904" y="407839"/>
                </a:lnTo>
                <a:lnTo>
                  <a:pt x="55475" y="445948"/>
                </a:lnTo>
                <a:lnTo>
                  <a:pt x="85861" y="479954"/>
                </a:lnTo>
                <a:lnTo>
                  <a:pt x="120084" y="507196"/>
                </a:lnTo>
                <a:lnTo>
                  <a:pt x="157440" y="527752"/>
                </a:lnTo>
                <a:lnTo>
                  <a:pt x="197225" y="541700"/>
                </a:lnTo>
                <a:lnTo>
                  <a:pt x="238736" y="549120"/>
                </a:lnTo>
                <a:lnTo>
                  <a:pt x="281268" y="550089"/>
                </a:lnTo>
                <a:lnTo>
                  <a:pt x="324117" y="544687"/>
                </a:lnTo>
                <a:lnTo>
                  <a:pt x="366578" y="532991"/>
                </a:lnTo>
                <a:lnTo>
                  <a:pt x="407949" y="515080"/>
                </a:lnTo>
                <a:lnTo>
                  <a:pt x="447524" y="491033"/>
                </a:lnTo>
                <a:lnTo>
                  <a:pt x="486759" y="457640"/>
                </a:lnTo>
                <a:lnTo>
                  <a:pt x="518920" y="420034"/>
                </a:lnTo>
                <a:lnTo>
                  <a:pt x="543705" y="379109"/>
                </a:lnTo>
                <a:lnTo>
                  <a:pt x="560814" y="335760"/>
                </a:lnTo>
                <a:lnTo>
                  <a:pt x="569946" y="290881"/>
                </a:lnTo>
                <a:lnTo>
                  <a:pt x="570799" y="245368"/>
                </a:lnTo>
                <a:lnTo>
                  <a:pt x="563072" y="200116"/>
                </a:lnTo>
                <a:lnTo>
                  <a:pt x="546465" y="156018"/>
                </a:lnTo>
                <a:lnTo>
                  <a:pt x="520676" y="113970"/>
                </a:lnTo>
                <a:lnTo>
                  <a:pt x="489996" y="79488"/>
                </a:lnTo>
                <a:lnTo>
                  <a:pt x="454972" y="51031"/>
                </a:lnTo>
                <a:lnTo>
                  <a:pt x="416438" y="28727"/>
                </a:lnTo>
                <a:lnTo>
                  <a:pt x="375224" y="12702"/>
                </a:lnTo>
                <a:lnTo>
                  <a:pt x="332161" y="3083"/>
                </a:lnTo>
                <a:lnTo>
                  <a:pt x="288080" y="0"/>
                </a:lnTo>
                <a:close/>
              </a:path>
            </a:pathLst>
          </a:custGeom>
          <a:solidFill>
            <a:srgbClr val="CA2980"/>
          </a:solidFill>
        </p:spPr>
        <p:txBody>
          <a:bodyPr wrap="square" lIns="0" tIns="0" rIns="0" bIns="0" rtlCol="0"/>
          <a:lstStyle/>
          <a:p>
            <a:endParaRPr/>
          </a:p>
        </p:txBody>
      </p:sp>
      <p:sp>
        <p:nvSpPr>
          <p:cNvPr id="12" name="object 12"/>
          <p:cNvSpPr/>
          <p:nvPr/>
        </p:nvSpPr>
        <p:spPr>
          <a:xfrm>
            <a:off x="10307066" y="1806433"/>
            <a:ext cx="352425" cy="443865"/>
          </a:xfrm>
          <a:custGeom>
            <a:avLst/>
            <a:gdLst/>
            <a:ahLst/>
            <a:cxnLst/>
            <a:rect l="l" t="t" r="r" b="b"/>
            <a:pathLst>
              <a:path w="352425" h="443864">
                <a:moveTo>
                  <a:pt x="279835" y="381141"/>
                </a:moveTo>
                <a:lnTo>
                  <a:pt x="81914" y="381141"/>
                </a:lnTo>
                <a:lnTo>
                  <a:pt x="95224" y="382557"/>
                </a:lnTo>
                <a:lnTo>
                  <a:pt x="104663" y="387618"/>
                </a:lnTo>
                <a:lnTo>
                  <a:pt x="110793" y="397536"/>
                </a:lnTo>
                <a:lnTo>
                  <a:pt x="114173" y="413526"/>
                </a:lnTo>
                <a:lnTo>
                  <a:pt x="114859" y="423467"/>
                </a:lnTo>
                <a:lnTo>
                  <a:pt x="117475" y="430099"/>
                </a:lnTo>
                <a:lnTo>
                  <a:pt x="122852" y="434921"/>
                </a:lnTo>
                <a:lnTo>
                  <a:pt x="131825" y="439434"/>
                </a:lnTo>
                <a:lnTo>
                  <a:pt x="159974" y="443353"/>
                </a:lnTo>
                <a:lnTo>
                  <a:pt x="187277" y="441831"/>
                </a:lnTo>
                <a:lnTo>
                  <a:pt x="214032" y="436665"/>
                </a:lnTo>
                <a:lnTo>
                  <a:pt x="240537" y="429655"/>
                </a:lnTo>
                <a:lnTo>
                  <a:pt x="261111" y="429655"/>
                </a:lnTo>
                <a:lnTo>
                  <a:pt x="268936" y="428416"/>
                </a:lnTo>
                <a:lnTo>
                  <a:pt x="286774" y="428416"/>
                </a:lnTo>
                <a:lnTo>
                  <a:pt x="286067" y="421177"/>
                </a:lnTo>
                <a:lnTo>
                  <a:pt x="285063" y="410200"/>
                </a:lnTo>
                <a:lnTo>
                  <a:pt x="284606" y="403747"/>
                </a:lnTo>
                <a:lnTo>
                  <a:pt x="284513" y="401520"/>
                </a:lnTo>
                <a:lnTo>
                  <a:pt x="283860" y="395650"/>
                </a:lnTo>
                <a:lnTo>
                  <a:pt x="282088" y="387352"/>
                </a:lnTo>
                <a:lnTo>
                  <a:pt x="279835" y="381141"/>
                </a:lnTo>
                <a:close/>
              </a:path>
              <a:path w="352425" h="443864">
                <a:moveTo>
                  <a:pt x="286774" y="428416"/>
                </a:moveTo>
                <a:lnTo>
                  <a:pt x="268936" y="428416"/>
                </a:lnTo>
                <a:lnTo>
                  <a:pt x="277606" y="429274"/>
                </a:lnTo>
                <a:lnTo>
                  <a:pt x="284632" y="431941"/>
                </a:lnTo>
                <a:lnTo>
                  <a:pt x="287527" y="436132"/>
                </a:lnTo>
                <a:lnTo>
                  <a:pt x="286774" y="428416"/>
                </a:lnTo>
                <a:close/>
              </a:path>
              <a:path w="352425" h="443864">
                <a:moveTo>
                  <a:pt x="179817" y="0"/>
                </a:moveTo>
                <a:lnTo>
                  <a:pt x="139809" y="10024"/>
                </a:lnTo>
                <a:lnTo>
                  <a:pt x="102488" y="31637"/>
                </a:lnTo>
                <a:lnTo>
                  <a:pt x="66468" y="69705"/>
                </a:lnTo>
                <a:lnTo>
                  <a:pt x="43687" y="112536"/>
                </a:lnTo>
                <a:lnTo>
                  <a:pt x="33829" y="164899"/>
                </a:lnTo>
                <a:lnTo>
                  <a:pt x="34925" y="183783"/>
                </a:lnTo>
                <a:lnTo>
                  <a:pt x="34925" y="190260"/>
                </a:lnTo>
                <a:lnTo>
                  <a:pt x="37845" y="193435"/>
                </a:lnTo>
                <a:lnTo>
                  <a:pt x="34925" y="196737"/>
                </a:lnTo>
                <a:lnTo>
                  <a:pt x="34925" y="203214"/>
                </a:lnTo>
                <a:lnTo>
                  <a:pt x="32003" y="206389"/>
                </a:lnTo>
                <a:lnTo>
                  <a:pt x="25356" y="217991"/>
                </a:lnTo>
                <a:lnTo>
                  <a:pt x="12108" y="240054"/>
                </a:lnTo>
                <a:lnTo>
                  <a:pt x="5460" y="251728"/>
                </a:lnTo>
                <a:lnTo>
                  <a:pt x="670" y="261669"/>
                </a:lnTo>
                <a:lnTo>
                  <a:pt x="0" y="268301"/>
                </a:lnTo>
                <a:lnTo>
                  <a:pt x="4282" y="273123"/>
                </a:lnTo>
                <a:lnTo>
                  <a:pt x="14350" y="277636"/>
                </a:lnTo>
                <a:lnTo>
                  <a:pt x="22038" y="281200"/>
                </a:lnTo>
                <a:lnTo>
                  <a:pt x="27558" y="286907"/>
                </a:lnTo>
                <a:lnTo>
                  <a:pt x="30888" y="294423"/>
                </a:lnTo>
                <a:lnTo>
                  <a:pt x="32003" y="303417"/>
                </a:lnTo>
                <a:lnTo>
                  <a:pt x="33692" y="310731"/>
                </a:lnTo>
                <a:lnTo>
                  <a:pt x="34559" y="318022"/>
                </a:lnTo>
                <a:lnTo>
                  <a:pt x="34879" y="325312"/>
                </a:lnTo>
                <a:lnTo>
                  <a:pt x="34804" y="334611"/>
                </a:lnTo>
                <a:lnTo>
                  <a:pt x="34514" y="339372"/>
                </a:lnTo>
                <a:lnTo>
                  <a:pt x="33829" y="345533"/>
                </a:lnTo>
                <a:lnTo>
                  <a:pt x="33692" y="351718"/>
                </a:lnTo>
                <a:lnTo>
                  <a:pt x="34925" y="358535"/>
                </a:lnTo>
                <a:lnTo>
                  <a:pt x="36068" y="367528"/>
                </a:lnTo>
                <a:lnTo>
                  <a:pt x="39687" y="375045"/>
                </a:lnTo>
                <a:lnTo>
                  <a:pt x="46069" y="380752"/>
                </a:lnTo>
                <a:lnTo>
                  <a:pt x="55499" y="384316"/>
                </a:lnTo>
                <a:lnTo>
                  <a:pt x="62073" y="384266"/>
                </a:lnTo>
                <a:lnTo>
                  <a:pt x="68659" y="383919"/>
                </a:lnTo>
                <a:lnTo>
                  <a:pt x="75269" y="382976"/>
                </a:lnTo>
                <a:lnTo>
                  <a:pt x="81914" y="381141"/>
                </a:lnTo>
                <a:lnTo>
                  <a:pt x="279835" y="381141"/>
                </a:lnTo>
                <a:lnTo>
                  <a:pt x="278637" y="377839"/>
                </a:lnTo>
                <a:lnTo>
                  <a:pt x="277681" y="356076"/>
                </a:lnTo>
                <a:lnTo>
                  <a:pt x="279749" y="334611"/>
                </a:lnTo>
                <a:lnTo>
                  <a:pt x="285674" y="313741"/>
                </a:lnTo>
                <a:lnTo>
                  <a:pt x="296290" y="293765"/>
                </a:lnTo>
                <a:lnTo>
                  <a:pt x="302480" y="286008"/>
                </a:lnTo>
                <a:lnTo>
                  <a:pt x="308086" y="277620"/>
                </a:lnTo>
                <a:lnTo>
                  <a:pt x="313668" y="269208"/>
                </a:lnTo>
                <a:lnTo>
                  <a:pt x="319785" y="261380"/>
                </a:lnTo>
                <a:lnTo>
                  <a:pt x="322706" y="254903"/>
                </a:lnTo>
                <a:lnTo>
                  <a:pt x="325627" y="251728"/>
                </a:lnTo>
                <a:lnTo>
                  <a:pt x="328675" y="245251"/>
                </a:lnTo>
                <a:lnTo>
                  <a:pt x="346727" y="203819"/>
                </a:lnTo>
                <a:lnTo>
                  <a:pt x="352123" y="159065"/>
                </a:lnTo>
                <a:lnTo>
                  <a:pt x="344302" y="113716"/>
                </a:lnTo>
                <a:lnTo>
                  <a:pt x="322706" y="70499"/>
                </a:lnTo>
                <a:lnTo>
                  <a:pt x="293959" y="36814"/>
                </a:lnTo>
                <a:lnTo>
                  <a:pt x="259094" y="13659"/>
                </a:lnTo>
                <a:lnTo>
                  <a:pt x="220313" y="1299"/>
                </a:lnTo>
                <a:lnTo>
                  <a:pt x="179817" y="0"/>
                </a:lnTo>
                <a:close/>
              </a:path>
            </a:pathLst>
          </a:custGeom>
          <a:solidFill>
            <a:srgbClr val="12ABDB"/>
          </a:solidFill>
        </p:spPr>
        <p:txBody>
          <a:bodyPr wrap="square" lIns="0" tIns="0" rIns="0" bIns="0" rtlCol="0"/>
          <a:lstStyle/>
          <a:p>
            <a:endParaRPr/>
          </a:p>
        </p:txBody>
      </p:sp>
      <p:sp>
        <p:nvSpPr>
          <p:cNvPr id="13" name="object 13"/>
          <p:cNvSpPr/>
          <p:nvPr/>
        </p:nvSpPr>
        <p:spPr>
          <a:xfrm>
            <a:off x="10363959" y="1856089"/>
            <a:ext cx="262890" cy="233045"/>
          </a:xfrm>
          <a:custGeom>
            <a:avLst/>
            <a:gdLst/>
            <a:ahLst/>
            <a:cxnLst/>
            <a:rect l="l" t="t" r="r" b="b"/>
            <a:pathLst>
              <a:path w="262890" h="233044">
                <a:moveTo>
                  <a:pt x="248286" y="170068"/>
                </a:moveTo>
                <a:lnTo>
                  <a:pt x="145035" y="170068"/>
                </a:lnTo>
                <a:lnTo>
                  <a:pt x="145035" y="179720"/>
                </a:lnTo>
                <a:lnTo>
                  <a:pt x="142114" y="183022"/>
                </a:lnTo>
                <a:lnTo>
                  <a:pt x="134516" y="191502"/>
                </a:lnTo>
                <a:lnTo>
                  <a:pt x="125239" y="197897"/>
                </a:lnTo>
                <a:lnTo>
                  <a:pt x="114843" y="202507"/>
                </a:lnTo>
                <a:lnTo>
                  <a:pt x="103887" y="205628"/>
                </a:lnTo>
                <a:lnTo>
                  <a:pt x="106808" y="215280"/>
                </a:lnTo>
                <a:lnTo>
                  <a:pt x="115571" y="215280"/>
                </a:lnTo>
                <a:lnTo>
                  <a:pt x="124461" y="218455"/>
                </a:lnTo>
                <a:lnTo>
                  <a:pt x="142114" y="218455"/>
                </a:lnTo>
                <a:lnTo>
                  <a:pt x="148083" y="221757"/>
                </a:lnTo>
                <a:lnTo>
                  <a:pt x="162815" y="221757"/>
                </a:lnTo>
                <a:lnTo>
                  <a:pt x="165736" y="224932"/>
                </a:lnTo>
                <a:lnTo>
                  <a:pt x="177196" y="231671"/>
                </a:lnTo>
                <a:lnTo>
                  <a:pt x="188930" y="232648"/>
                </a:lnTo>
                <a:lnTo>
                  <a:pt x="200116" y="228147"/>
                </a:lnTo>
                <a:lnTo>
                  <a:pt x="209932" y="218455"/>
                </a:lnTo>
                <a:lnTo>
                  <a:pt x="212853" y="215280"/>
                </a:lnTo>
                <a:lnTo>
                  <a:pt x="215774" y="208803"/>
                </a:lnTo>
                <a:lnTo>
                  <a:pt x="218822" y="202326"/>
                </a:lnTo>
                <a:lnTo>
                  <a:pt x="231266" y="201425"/>
                </a:lnTo>
                <a:lnTo>
                  <a:pt x="239031" y="197500"/>
                </a:lnTo>
                <a:lnTo>
                  <a:pt x="244058" y="188718"/>
                </a:lnTo>
                <a:lnTo>
                  <a:pt x="248286" y="173243"/>
                </a:lnTo>
                <a:lnTo>
                  <a:pt x="248286" y="170068"/>
                </a:lnTo>
                <a:close/>
              </a:path>
              <a:path w="262890" h="233044">
                <a:moveTo>
                  <a:pt x="218822" y="102250"/>
                </a:moveTo>
                <a:lnTo>
                  <a:pt x="47880" y="102250"/>
                </a:lnTo>
                <a:lnTo>
                  <a:pt x="47880" y="105425"/>
                </a:lnTo>
                <a:lnTo>
                  <a:pt x="50801" y="111902"/>
                </a:lnTo>
                <a:lnTo>
                  <a:pt x="47880" y="111902"/>
                </a:lnTo>
                <a:lnTo>
                  <a:pt x="43378" y="118596"/>
                </a:lnTo>
                <a:lnTo>
                  <a:pt x="38625" y="124396"/>
                </a:lnTo>
                <a:lnTo>
                  <a:pt x="33325" y="129601"/>
                </a:lnTo>
                <a:lnTo>
                  <a:pt x="27179" y="134508"/>
                </a:lnTo>
                <a:lnTo>
                  <a:pt x="36631" y="143833"/>
                </a:lnTo>
                <a:lnTo>
                  <a:pt x="47452" y="148621"/>
                </a:lnTo>
                <a:lnTo>
                  <a:pt x="59916" y="150385"/>
                </a:lnTo>
                <a:lnTo>
                  <a:pt x="74296" y="150637"/>
                </a:lnTo>
                <a:lnTo>
                  <a:pt x="74296" y="157114"/>
                </a:lnTo>
                <a:lnTo>
                  <a:pt x="77852" y="174460"/>
                </a:lnTo>
                <a:lnTo>
                  <a:pt x="87219" y="186626"/>
                </a:lnTo>
                <a:lnTo>
                  <a:pt x="100443" y="192101"/>
                </a:lnTo>
                <a:lnTo>
                  <a:pt x="115571" y="189372"/>
                </a:lnTo>
                <a:lnTo>
                  <a:pt x="121540" y="183022"/>
                </a:lnTo>
                <a:lnTo>
                  <a:pt x="127382" y="176545"/>
                </a:lnTo>
                <a:lnTo>
                  <a:pt x="133351" y="173243"/>
                </a:lnTo>
                <a:lnTo>
                  <a:pt x="136272" y="170068"/>
                </a:lnTo>
                <a:lnTo>
                  <a:pt x="248286" y="170068"/>
                </a:lnTo>
                <a:lnTo>
                  <a:pt x="251207" y="166766"/>
                </a:lnTo>
                <a:lnTo>
                  <a:pt x="251207" y="163591"/>
                </a:lnTo>
                <a:lnTo>
                  <a:pt x="258401" y="151425"/>
                </a:lnTo>
                <a:lnTo>
                  <a:pt x="262272" y="138937"/>
                </a:lnTo>
                <a:lnTo>
                  <a:pt x="262834" y="125855"/>
                </a:lnTo>
                <a:lnTo>
                  <a:pt x="260097" y="111902"/>
                </a:lnTo>
                <a:lnTo>
                  <a:pt x="258666" y="108600"/>
                </a:lnTo>
                <a:lnTo>
                  <a:pt x="218822" y="108600"/>
                </a:lnTo>
                <a:lnTo>
                  <a:pt x="218822" y="102250"/>
                </a:lnTo>
                <a:close/>
              </a:path>
              <a:path w="262890" h="233044">
                <a:moveTo>
                  <a:pt x="36069" y="37607"/>
                </a:moveTo>
                <a:lnTo>
                  <a:pt x="29241" y="41104"/>
                </a:lnTo>
                <a:lnTo>
                  <a:pt x="25735" y="46434"/>
                </a:lnTo>
                <a:lnTo>
                  <a:pt x="24443" y="53002"/>
                </a:lnTo>
                <a:lnTo>
                  <a:pt x="24258" y="60213"/>
                </a:lnTo>
                <a:lnTo>
                  <a:pt x="14763" y="64656"/>
                </a:lnTo>
                <a:lnTo>
                  <a:pt x="8018" y="69087"/>
                </a:lnTo>
                <a:lnTo>
                  <a:pt x="3488" y="74733"/>
                </a:lnTo>
                <a:lnTo>
                  <a:pt x="636" y="82819"/>
                </a:lnTo>
                <a:lnTo>
                  <a:pt x="0" y="92414"/>
                </a:lnTo>
                <a:lnTo>
                  <a:pt x="2113" y="101377"/>
                </a:lnTo>
                <a:lnTo>
                  <a:pt x="6441" y="109126"/>
                </a:lnTo>
                <a:lnTo>
                  <a:pt x="12447" y="115077"/>
                </a:lnTo>
                <a:lnTo>
                  <a:pt x="19095" y="118123"/>
                </a:lnTo>
                <a:lnTo>
                  <a:pt x="25719" y="117538"/>
                </a:lnTo>
                <a:lnTo>
                  <a:pt x="32343" y="113309"/>
                </a:lnTo>
                <a:lnTo>
                  <a:pt x="38990" y="105425"/>
                </a:lnTo>
                <a:lnTo>
                  <a:pt x="41911" y="102250"/>
                </a:lnTo>
                <a:lnTo>
                  <a:pt x="218822" y="102250"/>
                </a:lnTo>
                <a:lnTo>
                  <a:pt x="218822" y="98948"/>
                </a:lnTo>
                <a:lnTo>
                  <a:pt x="223726" y="92852"/>
                </a:lnTo>
                <a:lnTo>
                  <a:pt x="229475" y="88852"/>
                </a:lnTo>
                <a:lnTo>
                  <a:pt x="235771" y="86661"/>
                </a:lnTo>
                <a:lnTo>
                  <a:pt x="242317" y="85994"/>
                </a:lnTo>
                <a:lnTo>
                  <a:pt x="251207" y="85994"/>
                </a:lnTo>
                <a:lnTo>
                  <a:pt x="254128" y="79517"/>
                </a:lnTo>
                <a:lnTo>
                  <a:pt x="251207" y="73167"/>
                </a:lnTo>
                <a:lnTo>
                  <a:pt x="248286" y="66690"/>
                </a:lnTo>
                <a:lnTo>
                  <a:pt x="242317" y="60213"/>
                </a:lnTo>
                <a:lnTo>
                  <a:pt x="238638" y="56133"/>
                </a:lnTo>
                <a:lnTo>
                  <a:pt x="56691" y="56133"/>
                </a:lnTo>
                <a:lnTo>
                  <a:pt x="49033" y="53203"/>
                </a:lnTo>
                <a:lnTo>
                  <a:pt x="41911" y="47259"/>
                </a:lnTo>
                <a:lnTo>
                  <a:pt x="41911" y="44084"/>
                </a:lnTo>
                <a:lnTo>
                  <a:pt x="38990" y="40782"/>
                </a:lnTo>
                <a:lnTo>
                  <a:pt x="36069" y="37607"/>
                </a:lnTo>
                <a:close/>
              </a:path>
              <a:path w="262890" h="233044">
                <a:moveTo>
                  <a:pt x="248969" y="97361"/>
                </a:moveTo>
                <a:lnTo>
                  <a:pt x="240970" y="97365"/>
                </a:lnTo>
                <a:lnTo>
                  <a:pt x="233554" y="102250"/>
                </a:lnTo>
                <a:lnTo>
                  <a:pt x="230506" y="105425"/>
                </a:lnTo>
                <a:lnTo>
                  <a:pt x="230506" y="108600"/>
                </a:lnTo>
                <a:lnTo>
                  <a:pt x="258666" y="108600"/>
                </a:lnTo>
                <a:lnTo>
                  <a:pt x="255897" y="102215"/>
                </a:lnTo>
                <a:lnTo>
                  <a:pt x="248969" y="97361"/>
                </a:lnTo>
                <a:close/>
              </a:path>
              <a:path w="262890" h="233044">
                <a:moveTo>
                  <a:pt x="236475" y="40782"/>
                </a:moveTo>
                <a:lnTo>
                  <a:pt x="74296" y="40782"/>
                </a:lnTo>
                <a:lnTo>
                  <a:pt x="71375" y="44084"/>
                </a:lnTo>
                <a:lnTo>
                  <a:pt x="74296" y="50434"/>
                </a:lnTo>
                <a:lnTo>
                  <a:pt x="71375" y="50434"/>
                </a:lnTo>
                <a:lnTo>
                  <a:pt x="64325" y="55421"/>
                </a:lnTo>
                <a:lnTo>
                  <a:pt x="56691" y="56133"/>
                </a:lnTo>
                <a:lnTo>
                  <a:pt x="238638" y="56133"/>
                </a:lnTo>
                <a:lnTo>
                  <a:pt x="236475" y="53736"/>
                </a:lnTo>
                <a:lnTo>
                  <a:pt x="236475" y="40782"/>
                </a:lnTo>
                <a:close/>
              </a:path>
              <a:path w="262890" h="233044">
                <a:moveTo>
                  <a:pt x="109761" y="5478"/>
                </a:moveTo>
                <a:lnTo>
                  <a:pt x="100173" y="6064"/>
                </a:lnTo>
                <a:lnTo>
                  <a:pt x="91680" y="10292"/>
                </a:lnTo>
                <a:lnTo>
                  <a:pt x="83186" y="18176"/>
                </a:lnTo>
                <a:lnTo>
                  <a:pt x="65533" y="18176"/>
                </a:lnTo>
                <a:lnTo>
                  <a:pt x="47880" y="27828"/>
                </a:lnTo>
                <a:lnTo>
                  <a:pt x="50801" y="37607"/>
                </a:lnTo>
                <a:lnTo>
                  <a:pt x="53722" y="44084"/>
                </a:lnTo>
                <a:lnTo>
                  <a:pt x="59564" y="44084"/>
                </a:lnTo>
                <a:lnTo>
                  <a:pt x="65533" y="40782"/>
                </a:lnTo>
                <a:lnTo>
                  <a:pt x="68454" y="37607"/>
                </a:lnTo>
                <a:lnTo>
                  <a:pt x="218822" y="37607"/>
                </a:lnTo>
                <a:lnTo>
                  <a:pt x="215096" y="28283"/>
                </a:lnTo>
                <a:lnTo>
                  <a:pt x="211393" y="23494"/>
                </a:lnTo>
                <a:lnTo>
                  <a:pt x="205499" y="21730"/>
                </a:lnTo>
                <a:lnTo>
                  <a:pt x="195200" y="21478"/>
                </a:lnTo>
                <a:lnTo>
                  <a:pt x="189358" y="21478"/>
                </a:lnTo>
                <a:lnTo>
                  <a:pt x="189358" y="18176"/>
                </a:lnTo>
                <a:lnTo>
                  <a:pt x="184354" y="12132"/>
                </a:lnTo>
                <a:lnTo>
                  <a:pt x="178331" y="8524"/>
                </a:lnTo>
                <a:lnTo>
                  <a:pt x="121540" y="8524"/>
                </a:lnTo>
                <a:lnTo>
                  <a:pt x="109761" y="5478"/>
                </a:lnTo>
                <a:close/>
              </a:path>
              <a:path w="262890" h="233044">
                <a:moveTo>
                  <a:pt x="218822" y="37607"/>
                </a:moveTo>
                <a:lnTo>
                  <a:pt x="68454" y="37607"/>
                </a:lnTo>
                <a:lnTo>
                  <a:pt x="71375" y="40782"/>
                </a:lnTo>
                <a:lnTo>
                  <a:pt x="233554" y="40782"/>
                </a:lnTo>
                <a:lnTo>
                  <a:pt x="218822" y="37607"/>
                </a:lnTo>
                <a:close/>
              </a:path>
              <a:path w="262890" h="233044">
                <a:moveTo>
                  <a:pt x="139559" y="0"/>
                </a:moveTo>
                <a:lnTo>
                  <a:pt x="130425" y="2577"/>
                </a:lnTo>
                <a:lnTo>
                  <a:pt x="121540" y="8524"/>
                </a:lnTo>
                <a:lnTo>
                  <a:pt x="159767" y="8524"/>
                </a:lnTo>
                <a:lnTo>
                  <a:pt x="149240" y="1684"/>
                </a:lnTo>
                <a:lnTo>
                  <a:pt x="139559" y="0"/>
                </a:lnTo>
                <a:close/>
              </a:path>
              <a:path w="262890" h="233044">
                <a:moveTo>
                  <a:pt x="171106" y="7282"/>
                </a:moveTo>
                <a:lnTo>
                  <a:pt x="162815" y="8524"/>
                </a:lnTo>
                <a:lnTo>
                  <a:pt x="178331" y="8524"/>
                </a:lnTo>
                <a:lnTo>
                  <a:pt x="171106" y="7282"/>
                </a:lnTo>
                <a:close/>
              </a:path>
            </a:pathLst>
          </a:custGeom>
          <a:solidFill>
            <a:srgbClr val="FFFFFF"/>
          </a:solidFill>
        </p:spPr>
        <p:txBody>
          <a:bodyPr wrap="square" lIns="0" tIns="0" rIns="0" bIns="0" rtlCol="0"/>
          <a:lstStyle/>
          <a:p>
            <a:endParaRPr/>
          </a:p>
        </p:txBody>
      </p:sp>
      <p:sp>
        <p:nvSpPr>
          <p:cNvPr id="14" name="object 14"/>
          <p:cNvSpPr/>
          <p:nvPr/>
        </p:nvSpPr>
        <p:spPr>
          <a:xfrm>
            <a:off x="10498835" y="1941576"/>
            <a:ext cx="58419" cy="71755"/>
          </a:xfrm>
          <a:custGeom>
            <a:avLst/>
            <a:gdLst/>
            <a:ahLst/>
            <a:cxnLst/>
            <a:rect l="l" t="t" r="r" b="b"/>
            <a:pathLst>
              <a:path w="58420" h="71755">
                <a:moveTo>
                  <a:pt x="2921" y="0"/>
                </a:moveTo>
                <a:lnTo>
                  <a:pt x="2921" y="6476"/>
                </a:lnTo>
                <a:lnTo>
                  <a:pt x="0" y="9778"/>
                </a:lnTo>
                <a:lnTo>
                  <a:pt x="0" y="13081"/>
                </a:lnTo>
                <a:lnTo>
                  <a:pt x="26035" y="42290"/>
                </a:lnTo>
                <a:lnTo>
                  <a:pt x="28956" y="45593"/>
                </a:lnTo>
                <a:lnTo>
                  <a:pt x="31877" y="52070"/>
                </a:lnTo>
                <a:lnTo>
                  <a:pt x="35006" y="56947"/>
                </a:lnTo>
                <a:lnTo>
                  <a:pt x="39481" y="61849"/>
                </a:lnTo>
                <a:lnTo>
                  <a:pt x="44503" y="66750"/>
                </a:lnTo>
                <a:lnTo>
                  <a:pt x="49275" y="71627"/>
                </a:lnTo>
                <a:lnTo>
                  <a:pt x="52070" y="68325"/>
                </a:lnTo>
                <a:lnTo>
                  <a:pt x="57912" y="65150"/>
                </a:lnTo>
                <a:lnTo>
                  <a:pt x="57912" y="61849"/>
                </a:lnTo>
                <a:lnTo>
                  <a:pt x="54991" y="55372"/>
                </a:lnTo>
                <a:lnTo>
                  <a:pt x="52070" y="55372"/>
                </a:lnTo>
                <a:lnTo>
                  <a:pt x="43434" y="52070"/>
                </a:lnTo>
                <a:lnTo>
                  <a:pt x="43434" y="45593"/>
                </a:lnTo>
                <a:lnTo>
                  <a:pt x="40513" y="39115"/>
                </a:lnTo>
                <a:lnTo>
                  <a:pt x="40513" y="35813"/>
                </a:lnTo>
                <a:lnTo>
                  <a:pt x="37592" y="29337"/>
                </a:lnTo>
                <a:lnTo>
                  <a:pt x="34798" y="29337"/>
                </a:lnTo>
                <a:lnTo>
                  <a:pt x="26648" y="26211"/>
                </a:lnTo>
                <a:lnTo>
                  <a:pt x="19891" y="21574"/>
                </a:lnTo>
                <a:lnTo>
                  <a:pt x="14777" y="15103"/>
                </a:lnTo>
                <a:lnTo>
                  <a:pt x="11557" y="6476"/>
                </a:lnTo>
                <a:lnTo>
                  <a:pt x="11557" y="3301"/>
                </a:lnTo>
                <a:lnTo>
                  <a:pt x="5842" y="3301"/>
                </a:lnTo>
                <a:lnTo>
                  <a:pt x="2921" y="0"/>
                </a:lnTo>
                <a:close/>
              </a:path>
            </a:pathLst>
          </a:custGeom>
          <a:solidFill>
            <a:srgbClr val="2DB6E0"/>
          </a:solidFill>
        </p:spPr>
        <p:txBody>
          <a:bodyPr wrap="square" lIns="0" tIns="0" rIns="0" bIns="0" rtlCol="0"/>
          <a:lstStyle/>
          <a:p>
            <a:endParaRPr/>
          </a:p>
        </p:txBody>
      </p:sp>
      <p:sp>
        <p:nvSpPr>
          <p:cNvPr id="15" name="object 15"/>
          <p:cNvSpPr/>
          <p:nvPr/>
        </p:nvSpPr>
        <p:spPr>
          <a:xfrm>
            <a:off x="10527792" y="1877567"/>
            <a:ext cx="56515" cy="48895"/>
          </a:xfrm>
          <a:custGeom>
            <a:avLst/>
            <a:gdLst/>
            <a:ahLst/>
            <a:cxnLst/>
            <a:rect l="l" t="t" r="r" b="b"/>
            <a:pathLst>
              <a:path w="56515" h="48894">
                <a:moveTo>
                  <a:pt x="52741" y="34107"/>
                </a:moveTo>
                <a:lnTo>
                  <a:pt x="21931" y="34107"/>
                </a:lnTo>
                <a:lnTo>
                  <a:pt x="30384" y="34544"/>
                </a:lnTo>
                <a:lnTo>
                  <a:pt x="37742" y="38028"/>
                </a:lnTo>
                <a:lnTo>
                  <a:pt x="44576" y="45466"/>
                </a:lnTo>
                <a:lnTo>
                  <a:pt x="47498" y="48768"/>
                </a:lnTo>
                <a:lnTo>
                  <a:pt x="53466" y="48768"/>
                </a:lnTo>
                <a:lnTo>
                  <a:pt x="53466" y="45466"/>
                </a:lnTo>
                <a:lnTo>
                  <a:pt x="56387" y="42291"/>
                </a:lnTo>
                <a:lnTo>
                  <a:pt x="56387" y="38989"/>
                </a:lnTo>
                <a:lnTo>
                  <a:pt x="52741" y="34107"/>
                </a:lnTo>
                <a:close/>
              </a:path>
              <a:path w="56515" h="48894">
                <a:moveTo>
                  <a:pt x="32638" y="22733"/>
                </a:moveTo>
                <a:lnTo>
                  <a:pt x="8889" y="22733"/>
                </a:lnTo>
                <a:lnTo>
                  <a:pt x="8889" y="26035"/>
                </a:lnTo>
                <a:lnTo>
                  <a:pt x="2921" y="32512"/>
                </a:lnTo>
                <a:lnTo>
                  <a:pt x="0" y="35814"/>
                </a:lnTo>
                <a:lnTo>
                  <a:pt x="5968" y="35814"/>
                </a:lnTo>
                <a:lnTo>
                  <a:pt x="8889" y="38989"/>
                </a:lnTo>
                <a:lnTo>
                  <a:pt x="11810" y="35814"/>
                </a:lnTo>
                <a:lnTo>
                  <a:pt x="21931" y="34107"/>
                </a:lnTo>
                <a:lnTo>
                  <a:pt x="52741" y="34107"/>
                </a:lnTo>
                <a:lnTo>
                  <a:pt x="51409" y="32323"/>
                </a:lnTo>
                <a:lnTo>
                  <a:pt x="45608" y="27193"/>
                </a:lnTo>
                <a:lnTo>
                  <a:pt x="39260" y="23897"/>
                </a:lnTo>
                <a:lnTo>
                  <a:pt x="32638" y="22733"/>
                </a:lnTo>
                <a:close/>
              </a:path>
              <a:path w="56515" h="48894">
                <a:moveTo>
                  <a:pt x="11810" y="0"/>
                </a:moveTo>
                <a:lnTo>
                  <a:pt x="11810" y="3302"/>
                </a:lnTo>
                <a:lnTo>
                  <a:pt x="8889" y="3302"/>
                </a:lnTo>
                <a:lnTo>
                  <a:pt x="8889" y="12954"/>
                </a:lnTo>
                <a:lnTo>
                  <a:pt x="11810" y="16256"/>
                </a:lnTo>
                <a:lnTo>
                  <a:pt x="11810" y="22733"/>
                </a:lnTo>
                <a:lnTo>
                  <a:pt x="26669" y="22733"/>
                </a:lnTo>
                <a:lnTo>
                  <a:pt x="23749" y="19558"/>
                </a:lnTo>
                <a:lnTo>
                  <a:pt x="23749" y="12954"/>
                </a:lnTo>
                <a:lnTo>
                  <a:pt x="20827" y="9779"/>
                </a:lnTo>
                <a:lnTo>
                  <a:pt x="20827" y="6477"/>
                </a:lnTo>
                <a:lnTo>
                  <a:pt x="17779" y="3302"/>
                </a:lnTo>
                <a:lnTo>
                  <a:pt x="11810" y="0"/>
                </a:lnTo>
                <a:close/>
              </a:path>
            </a:pathLst>
          </a:custGeom>
          <a:solidFill>
            <a:srgbClr val="2DB6E0"/>
          </a:solidFill>
        </p:spPr>
        <p:txBody>
          <a:bodyPr wrap="square" lIns="0" tIns="0" rIns="0" bIns="0" rtlCol="0"/>
          <a:lstStyle/>
          <a:p>
            <a:endParaRPr/>
          </a:p>
        </p:txBody>
      </p:sp>
      <p:sp>
        <p:nvSpPr>
          <p:cNvPr id="16" name="object 16"/>
          <p:cNvSpPr/>
          <p:nvPr/>
        </p:nvSpPr>
        <p:spPr>
          <a:xfrm>
            <a:off x="10457688" y="1877567"/>
            <a:ext cx="41275" cy="47625"/>
          </a:xfrm>
          <a:custGeom>
            <a:avLst/>
            <a:gdLst/>
            <a:ahLst/>
            <a:cxnLst/>
            <a:rect l="l" t="t" r="r" b="b"/>
            <a:pathLst>
              <a:path w="41275" h="47625">
                <a:moveTo>
                  <a:pt x="35305" y="0"/>
                </a:moveTo>
                <a:lnTo>
                  <a:pt x="23494" y="0"/>
                </a:lnTo>
                <a:lnTo>
                  <a:pt x="26415" y="6223"/>
                </a:lnTo>
                <a:lnTo>
                  <a:pt x="26415" y="12573"/>
                </a:lnTo>
                <a:lnTo>
                  <a:pt x="29336" y="21971"/>
                </a:lnTo>
                <a:lnTo>
                  <a:pt x="23494" y="28321"/>
                </a:lnTo>
                <a:lnTo>
                  <a:pt x="17652" y="31369"/>
                </a:lnTo>
                <a:lnTo>
                  <a:pt x="11810" y="34544"/>
                </a:lnTo>
                <a:lnTo>
                  <a:pt x="8762" y="34544"/>
                </a:lnTo>
                <a:lnTo>
                  <a:pt x="5841" y="37719"/>
                </a:lnTo>
                <a:lnTo>
                  <a:pt x="2920" y="37719"/>
                </a:lnTo>
                <a:lnTo>
                  <a:pt x="0" y="40894"/>
                </a:lnTo>
                <a:lnTo>
                  <a:pt x="2920" y="43942"/>
                </a:lnTo>
                <a:lnTo>
                  <a:pt x="5841" y="47117"/>
                </a:lnTo>
                <a:lnTo>
                  <a:pt x="18805" y="45751"/>
                </a:lnTo>
                <a:lnTo>
                  <a:pt x="30114" y="38481"/>
                </a:lnTo>
                <a:lnTo>
                  <a:pt x="38113" y="27686"/>
                </a:lnTo>
                <a:lnTo>
                  <a:pt x="41147" y="15748"/>
                </a:lnTo>
                <a:lnTo>
                  <a:pt x="41147" y="12573"/>
                </a:lnTo>
                <a:lnTo>
                  <a:pt x="38226" y="12573"/>
                </a:lnTo>
                <a:lnTo>
                  <a:pt x="38226" y="6223"/>
                </a:lnTo>
                <a:lnTo>
                  <a:pt x="35305" y="0"/>
                </a:lnTo>
                <a:close/>
              </a:path>
            </a:pathLst>
          </a:custGeom>
          <a:solidFill>
            <a:srgbClr val="2DB6E0"/>
          </a:solidFill>
        </p:spPr>
        <p:txBody>
          <a:bodyPr wrap="square" lIns="0" tIns="0" rIns="0" bIns="0" rtlCol="0"/>
          <a:lstStyle/>
          <a:p>
            <a:endParaRPr/>
          </a:p>
        </p:txBody>
      </p:sp>
      <p:sp>
        <p:nvSpPr>
          <p:cNvPr id="17" name="object 17"/>
          <p:cNvSpPr/>
          <p:nvPr/>
        </p:nvSpPr>
        <p:spPr>
          <a:xfrm>
            <a:off x="10521695" y="2042160"/>
            <a:ext cx="52069" cy="32384"/>
          </a:xfrm>
          <a:custGeom>
            <a:avLst/>
            <a:gdLst/>
            <a:ahLst/>
            <a:cxnLst/>
            <a:rect l="l" t="t" r="r" b="b"/>
            <a:pathLst>
              <a:path w="52070" h="32385">
                <a:moveTo>
                  <a:pt x="2921" y="0"/>
                </a:moveTo>
                <a:lnTo>
                  <a:pt x="2921" y="6350"/>
                </a:lnTo>
                <a:lnTo>
                  <a:pt x="0" y="9651"/>
                </a:lnTo>
                <a:lnTo>
                  <a:pt x="2921" y="12826"/>
                </a:lnTo>
                <a:lnTo>
                  <a:pt x="6522" y="19841"/>
                </a:lnTo>
                <a:lnTo>
                  <a:pt x="12588" y="25987"/>
                </a:lnTo>
                <a:lnTo>
                  <a:pt x="20298" y="30347"/>
                </a:lnTo>
                <a:lnTo>
                  <a:pt x="28828" y="32003"/>
                </a:lnTo>
                <a:lnTo>
                  <a:pt x="34544" y="32003"/>
                </a:lnTo>
                <a:lnTo>
                  <a:pt x="40258" y="28828"/>
                </a:lnTo>
                <a:lnTo>
                  <a:pt x="51815" y="28828"/>
                </a:lnTo>
                <a:lnTo>
                  <a:pt x="48895" y="19176"/>
                </a:lnTo>
                <a:lnTo>
                  <a:pt x="34544" y="19176"/>
                </a:lnTo>
                <a:lnTo>
                  <a:pt x="27291" y="18976"/>
                </a:lnTo>
                <a:lnTo>
                  <a:pt x="21955" y="17573"/>
                </a:lnTo>
                <a:lnTo>
                  <a:pt x="17166" y="13765"/>
                </a:lnTo>
                <a:lnTo>
                  <a:pt x="11556" y="6350"/>
                </a:lnTo>
                <a:lnTo>
                  <a:pt x="11556" y="3175"/>
                </a:lnTo>
                <a:lnTo>
                  <a:pt x="5714" y="3175"/>
                </a:lnTo>
                <a:lnTo>
                  <a:pt x="2921" y="0"/>
                </a:lnTo>
                <a:close/>
              </a:path>
              <a:path w="52070" h="32385">
                <a:moveTo>
                  <a:pt x="40258" y="16001"/>
                </a:moveTo>
                <a:lnTo>
                  <a:pt x="34544" y="19176"/>
                </a:lnTo>
                <a:lnTo>
                  <a:pt x="46100" y="19176"/>
                </a:lnTo>
                <a:lnTo>
                  <a:pt x="40258" y="16001"/>
                </a:lnTo>
                <a:close/>
              </a:path>
            </a:pathLst>
          </a:custGeom>
          <a:solidFill>
            <a:srgbClr val="2DB6E0"/>
          </a:solidFill>
        </p:spPr>
        <p:txBody>
          <a:bodyPr wrap="square" lIns="0" tIns="0" rIns="0" bIns="0" rtlCol="0"/>
          <a:lstStyle/>
          <a:p>
            <a:endParaRPr/>
          </a:p>
        </p:txBody>
      </p:sp>
      <p:sp>
        <p:nvSpPr>
          <p:cNvPr id="18" name="object 18"/>
          <p:cNvSpPr/>
          <p:nvPr/>
        </p:nvSpPr>
        <p:spPr>
          <a:xfrm>
            <a:off x="10459211" y="1938527"/>
            <a:ext cx="21590" cy="48895"/>
          </a:xfrm>
          <a:custGeom>
            <a:avLst/>
            <a:gdLst/>
            <a:ahLst/>
            <a:cxnLst/>
            <a:rect l="l" t="t" r="r" b="b"/>
            <a:pathLst>
              <a:path w="21590" h="48894">
                <a:moveTo>
                  <a:pt x="18288" y="0"/>
                </a:moveTo>
                <a:lnTo>
                  <a:pt x="12192" y="0"/>
                </a:lnTo>
                <a:lnTo>
                  <a:pt x="12192" y="3301"/>
                </a:lnTo>
                <a:lnTo>
                  <a:pt x="9144" y="3301"/>
                </a:lnTo>
                <a:lnTo>
                  <a:pt x="9144" y="9779"/>
                </a:lnTo>
                <a:lnTo>
                  <a:pt x="6096" y="9779"/>
                </a:lnTo>
                <a:lnTo>
                  <a:pt x="0" y="22733"/>
                </a:lnTo>
                <a:lnTo>
                  <a:pt x="0" y="38988"/>
                </a:lnTo>
                <a:lnTo>
                  <a:pt x="3048" y="48768"/>
                </a:lnTo>
                <a:lnTo>
                  <a:pt x="12192" y="48768"/>
                </a:lnTo>
                <a:lnTo>
                  <a:pt x="15240" y="45466"/>
                </a:lnTo>
                <a:lnTo>
                  <a:pt x="15240" y="42291"/>
                </a:lnTo>
                <a:lnTo>
                  <a:pt x="13573" y="35008"/>
                </a:lnTo>
                <a:lnTo>
                  <a:pt x="13334" y="28035"/>
                </a:lnTo>
                <a:lnTo>
                  <a:pt x="14811" y="21681"/>
                </a:lnTo>
                <a:lnTo>
                  <a:pt x="18288" y="16256"/>
                </a:lnTo>
                <a:lnTo>
                  <a:pt x="21336" y="9779"/>
                </a:lnTo>
                <a:lnTo>
                  <a:pt x="21336" y="6476"/>
                </a:lnTo>
                <a:lnTo>
                  <a:pt x="18288" y="0"/>
                </a:lnTo>
                <a:close/>
              </a:path>
            </a:pathLst>
          </a:custGeom>
          <a:solidFill>
            <a:srgbClr val="2DB6E0"/>
          </a:solidFill>
        </p:spPr>
        <p:txBody>
          <a:bodyPr wrap="square" lIns="0" tIns="0" rIns="0" bIns="0" rtlCol="0"/>
          <a:lstStyle/>
          <a:p>
            <a:endParaRPr/>
          </a:p>
        </p:txBody>
      </p:sp>
      <p:sp>
        <p:nvSpPr>
          <p:cNvPr id="19" name="object 19"/>
          <p:cNvSpPr/>
          <p:nvPr/>
        </p:nvSpPr>
        <p:spPr>
          <a:xfrm>
            <a:off x="652041" y="4745520"/>
            <a:ext cx="553085" cy="534670"/>
          </a:xfrm>
          <a:custGeom>
            <a:avLst/>
            <a:gdLst/>
            <a:ahLst/>
            <a:cxnLst/>
            <a:rect l="l" t="t" r="r" b="b"/>
            <a:pathLst>
              <a:path w="553085" h="534670">
                <a:moveTo>
                  <a:pt x="296981" y="0"/>
                </a:moveTo>
                <a:lnTo>
                  <a:pt x="249518" y="1034"/>
                </a:lnTo>
                <a:lnTo>
                  <a:pt x="202548" y="10046"/>
                </a:lnTo>
                <a:lnTo>
                  <a:pt x="157205" y="27201"/>
                </a:lnTo>
                <a:lnTo>
                  <a:pt x="114618" y="52666"/>
                </a:lnTo>
                <a:lnTo>
                  <a:pt x="76592" y="85183"/>
                </a:lnTo>
                <a:lnTo>
                  <a:pt x="45953" y="122670"/>
                </a:lnTo>
                <a:lnTo>
                  <a:pt x="22865" y="164055"/>
                </a:lnTo>
                <a:lnTo>
                  <a:pt x="7492" y="208268"/>
                </a:lnTo>
                <a:lnTo>
                  <a:pt x="0" y="254240"/>
                </a:lnTo>
                <a:lnTo>
                  <a:pt x="552" y="300900"/>
                </a:lnTo>
                <a:lnTo>
                  <a:pt x="9313" y="347177"/>
                </a:lnTo>
                <a:lnTo>
                  <a:pt x="26448" y="392001"/>
                </a:lnTo>
                <a:lnTo>
                  <a:pt x="52122" y="434301"/>
                </a:lnTo>
                <a:lnTo>
                  <a:pt x="85398" y="470139"/>
                </a:lnTo>
                <a:lnTo>
                  <a:pt x="122975" y="497952"/>
                </a:lnTo>
                <a:lnTo>
                  <a:pt x="163968" y="517825"/>
                </a:lnTo>
                <a:lnTo>
                  <a:pt x="207492" y="529843"/>
                </a:lnTo>
                <a:lnTo>
                  <a:pt x="252662" y="534090"/>
                </a:lnTo>
                <a:lnTo>
                  <a:pt x="298593" y="530652"/>
                </a:lnTo>
                <a:lnTo>
                  <a:pt x="344401" y="519612"/>
                </a:lnTo>
                <a:lnTo>
                  <a:pt x="389200" y="501056"/>
                </a:lnTo>
                <a:lnTo>
                  <a:pt x="432106" y="475068"/>
                </a:lnTo>
                <a:lnTo>
                  <a:pt x="470468" y="442994"/>
                </a:lnTo>
                <a:lnTo>
                  <a:pt x="502000" y="406710"/>
                </a:lnTo>
                <a:lnTo>
                  <a:pt x="526352" y="367095"/>
                </a:lnTo>
                <a:lnTo>
                  <a:pt x="543175" y="325027"/>
                </a:lnTo>
                <a:lnTo>
                  <a:pt x="552118" y="281386"/>
                </a:lnTo>
                <a:lnTo>
                  <a:pt x="552832" y="237052"/>
                </a:lnTo>
                <a:lnTo>
                  <a:pt x="544966" y="192902"/>
                </a:lnTo>
                <a:lnTo>
                  <a:pt x="528170" y="149816"/>
                </a:lnTo>
                <a:lnTo>
                  <a:pt x="502095" y="108673"/>
                </a:lnTo>
                <a:lnTo>
                  <a:pt x="469138" y="72313"/>
                </a:lnTo>
                <a:lnTo>
                  <a:pt x="431017" y="43100"/>
                </a:lnTo>
                <a:lnTo>
                  <a:pt x="388862" y="21199"/>
                </a:lnTo>
                <a:lnTo>
                  <a:pt x="343806" y="6776"/>
                </a:lnTo>
                <a:lnTo>
                  <a:pt x="296981" y="0"/>
                </a:lnTo>
                <a:close/>
              </a:path>
            </a:pathLst>
          </a:custGeom>
          <a:solidFill>
            <a:srgbClr val="FF2F4B"/>
          </a:solidFill>
        </p:spPr>
        <p:txBody>
          <a:bodyPr wrap="square" lIns="0" tIns="0" rIns="0" bIns="0" rtlCol="0"/>
          <a:lstStyle/>
          <a:p>
            <a:endParaRPr/>
          </a:p>
        </p:txBody>
      </p:sp>
      <p:sp>
        <p:nvSpPr>
          <p:cNvPr id="20" name="object 20"/>
          <p:cNvSpPr/>
          <p:nvPr/>
        </p:nvSpPr>
        <p:spPr>
          <a:xfrm>
            <a:off x="806195" y="4887049"/>
            <a:ext cx="330835" cy="267335"/>
          </a:xfrm>
          <a:custGeom>
            <a:avLst/>
            <a:gdLst/>
            <a:ahLst/>
            <a:cxnLst/>
            <a:rect l="l" t="t" r="r" b="b"/>
            <a:pathLst>
              <a:path w="330834" h="267335">
                <a:moveTo>
                  <a:pt x="132778" y="210984"/>
                </a:moveTo>
                <a:lnTo>
                  <a:pt x="120256" y="210984"/>
                </a:lnTo>
                <a:lnTo>
                  <a:pt x="115252" y="216191"/>
                </a:lnTo>
                <a:lnTo>
                  <a:pt x="95199" y="236511"/>
                </a:lnTo>
                <a:lnTo>
                  <a:pt x="90977" y="242643"/>
                </a:lnTo>
                <a:lnTo>
                  <a:pt x="89569" y="249275"/>
                </a:lnTo>
                <a:lnTo>
                  <a:pt x="90977" y="255906"/>
                </a:lnTo>
                <a:lnTo>
                  <a:pt x="95199" y="262038"/>
                </a:lnTo>
                <a:lnTo>
                  <a:pt x="100215" y="267118"/>
                </a:lnTo>
                <a:lnTo>
                  <a:pt x="112737" y="267118"/>
                </a:lnTo>
                <a:lnTo>
                  <a:pt x="137795" y="241591"/>
                </a:lnTo>
                <a:lnTo>
                  <a:pt x="142024" y="235479"/>
                </a:lnTo>
                <a:lnTo>
                  <a:pt x="143433" y="228891"/>
                </a:lnTo>
                <a:lnTo>
                  <a:pt x="142024" y="222303"/>
                </a:lnTo>
                <a:lnTo>
                  <a:pt x="137795" y="216191"/>
                </a:lnTo>
                <a:lnTo>
                  <a:pt x="132778" y="210984"/>
                </a:lnTo>
                <a:close/>
              </a:path>
              <a:path w="330834" h="267335">
                <a:moveTo>
                  <a:pt x="97707" y="184949"/>
                </a:moveTo>
                <a:lnTo>
                  <a:pt x="60134" y="216191"/>
                </a:lnTo>
                <a:lnTo>
                  <a:pt x="54495" y="228891"/>
                </a:lnTo>
                <a:lnTo>
                  <a:pt x="55905" y="235479"/>
                </a:lnTo>
                <a:lnTo>
                  <a:pt x="60134" y="241591"/>
                </a:lnTo>
                <a:lnTo>
                  <a:pt x="66156" y="244449"/>
                </a:lnTo>
                <a:lnTo>
                  <a:pt x="72651" y="245401"/>
                </a:lnTo>
                <a:lnTo>
                  <a:pt x="79149" y="244449"/>
                </a:lnTo>
                <a:lnTo>
                  <a:pt x="85178" y="241591"/>
                </a:lnTo>
                <a:lnTo>
                  <a:pt x="110236" y="216191"/>
                </a:lnTo>
                <a:lnTo>
                  <a:pt x="113057" y="210006"/>
                </a:lnTo>
                <a:lnTo>
                  <a:pt x="113996" y="203364"/>
                </a:lnTo>
                <a:lnTo>
                  <a:pt x="113057" y="196778"/>
                </a:lnTo>
                <a:lnTo>
                  <a:pt x="110236" y="190664"/>
                </a:lnTo>
                <a:lnTo>
                  <a:pt x="104206" y="186378"/>
                </a:lnTo>
                <a:lnTo>
                  <a:pt x="97707" y="184949"/>
                </a:lnTo>
                <a:close/>
              </a:path>
              <a:path w="330834" h="267335">
                <a:moveTo>
                  <a:pt x="67640" y="154977"/>
                </a:moveTo>
                <a:lnTo>
                  <a:pt x="60134" y="160057"/>
                </a:lnTo>
                <a:lnTo>
                  <a:pt x="25057" y="198284"/>
                </a:lnTo>
                <a:lnTo>
                  <a:pt x="17538" y="203364"/>
                </a:lnTo>
                <a:lnTo>
                  <a:pt x="22542" y="213524"/>
                </a:lnTo>
                <a:lnTo>
                  <a:pt x="30060" y="213524"/>
                </a:lnTo>
                <a:lnTo>
                  <a:pt x="72656" y="198284"/>
                </a:lnTo>
                <a:lnTo>
                  <a:pt x="83299" y="180441"/>
                </a:lnTo>
                <a:lnTo>
                  <a:pt x="81889" y="173809"/>
                </a:lnTo>
                <a:lnTo>
                  <a:pt x="77660" y="167677"/>
                </a:lnTo>
                <a:lnTo>
                  <a:pt x="77597" y="157501"/>
                </a:lnTo>
                <a:lnTo>
                  <a:pt x="67640" y="154977"/>
                </a:lnTo>
                <a:close/>
              </a:path>
              <a:path w="330834" h="267335">
                <a:moveTo>
                  <a:pt x="32569" y="138975"/>
                </a:moveTo>
                <a:lnTo>
                  <a:pt x="5949" y="166725"/>
                </a:lnTo>
                <a:lnTo>
                  <a:pt x="0" y="188124"/>
                </a:lnTo>
                <a:lnTo>
                  <a:pt x="2034" y="194673"/>
                </a:lnTo>
                <a:lnTo>
                  <a:pt x="6888" y="198602"/>
                </a:lnTo>
                <a:lnTo>
                  <a:pt x="12681" y="199197"/>
                </a:lnTo>
                <a:lnTo>
                  <a:pt x="17538" y="195744"/>
                </a:lnTo>
                <a:lnTo>
                  <a:pt x="45097" y="170217"/>
                </a:lnTo>
                <a:lnTo>
                  <a:pt x="49326" y="164103"/>
                </a:lnTo>
                <a:lnTo>
                  <a:pt x="50736" y="157501"/>
                </a:lnTo>
                <a:lnTo>
                  <a:pt x="49326" y="150875"/>
                </a:lnTo>
                <a:lnTo>
                  <a:pt x="45097" y="144690"/>
                </a:lnTo>
                <a:lnTo>
                  <a:pt x="39067" y="140404"/>
                </a:lnTo>
                <a:lnTo>
                  <a:pt x="32569" y="138975"/>
                </a:lnTo>
                <a:close/>
              </a:path>
              <a:path w="330834" h="267335">
                <a:moveTo>
                  <a:pt x="235504" y="65696"/>
                </a:moveTo>
                <a:lnTo>
                  <a:pt x="130276" y="65696"/>
                </a:lnTo>
                <a:lnTo>
                  <a:pt x="167855" y="78396"/>
                </a:lnTo>
                <a:lnTo>
                  <a:pt x="248031" y="157517"/>
                </a:lnTo>
                <a:lnTo>
                  <a:pt x="270573" y="147230"/>
                </a:lnTo>
                <a:lnTo>
                  <a:pt x="235504" y="65696"/>
                </a:lnTo>
                <a:close/>
              </a:path>
              <a:path w="330834" h="267335">
                <a:moveTo>
                  <a:pt x="253079" y="0"/>
                </a:moveTo>
                <a:lnTo>
                  <a:pt x="243014" y="4482"/>
                </a:lnTo>
                <a:lnTo>
                  <a:pt x="222973" y="14769"/>
                </a:lnTo>
                <a:lnTo>
                  <a:pt x="280606" y="154977"/>
                </a:lnTo>
                <a:lnTo>
                  <a:pt x="330708" y="142150"/>
                </a:lnTo>
                <a:lnTo>
                  <a:pt x="278091" y="14769"/>
                </a:lnTo>
                <a:lnTo>
                  <a:pt x="272262" y="6322"/>
                </a:lnTo>
                <a:lnTo>
                  <a:pt x="263377" y="1006"/>
                </a:lnTo>
                <a:lnTo>
                  <a:pt x="253079" y="0"/>
                </a:lnTo>
                <a:close/>
              </a:path>
              <a:path w="330834" h="267335">
                <a:moveTo>
                  <a:pt x="150317" y="9562"/>
                </a:moveTo>
                <a:lnTo>
                  <a:pt x="111488" y="21421"/>
                </a:lnTo>
                <a:lnTo>
                  <a:pt x="70070" y="47309"/>
                </a:lnTo>
                <a:lnTo>
                  <a:pt x="59499" y="59981"/>
                </a:lnTo>
                <a:lnTo>
                  <a:pt x="49871" y="71701"/>
                </a:lnTo>
                <a:lnTo>
                  <a:pt x="42595" y="81063"/>
                </a:lnTo>
                <a:lnTo>
                  <a:pt x="65455" y="87631"/>
                </a:lnTo>
                <a:lnTo>
                  <a:pt x="86437" y="82270"/>
                </a:lnTo>
                <a:lnTo>
                  <a:pt x="101783" y="73098"/>
                </a:lnTo>
                <a:lnTo>
                  <a:pt x="107734" y="68236"/>
                </a:lnTo>
                <a:lnTo>
                  <a:pt x="130276" y="65696"/>
                </a:lnTo>
                <a:lnTo>
                  <a:pt x="235504" y="65696"/>
                </a:lnTo>
                <a:lnTo>
                  <a:pt x="217970" y="24929"/>
                </a:lnTo>
                <a:lnTo>
                  <a:pt x="209162" y="22171"/>
                </a:lnTo>
                <a:lnTo>
                  <a:pt x="188844" y="16293"/>
                </a:lnTo>
                <a:lnTo>
                  <a:pt x="166176" y="10892"/>
                </a:lnTo>
                <a:lnTo>
                  <a:pt x="150317" y="9562"/>
                </a:lnTo>
                <a:close/>
              </a:path>
            </a:pathLst>
          </a:custGeom>
          <a:solidFill>
            <a:srgbClr val="2DB6E0"/>
          </a:solidFill>
        </p:spPr>
        <p:txBody>
          <a:bodyPr wrap="square" lIns="0" tIns="0" rIns="0" bIns="0" rtlCol="0"/>
          <a:lstStyle/>
          <a:p>
            <a:endParaRPr/>
          </a:p>
        </p:txBody>
      </p:sp>
      <p:sp>
        <p:nvSpPr>
          <p:cNvPr id="21" name="object 21"/>
          <p:cNvSpPr/>
          <p:nvPr/>
        </p:nvSpPr>
        <p:spPr>
          <a:xfrm>
            <a:off x="724338" y="4873752"/>
            <a:ext cx="329565" cy="273050"/>
          </a:xfrm>
          <a:custGeom>
            <a:avLst/>
            <a:gdLst/>
            <a:ahLst/>
            <a:cxnLst/>
            <a:rect l="l" t="t" r="r" b="b"/>
            <a:pathLst>
              <a:path w="329565" h="273050">
                <a:moveTo>
                  <a:pt x="232085" y="242189"/>
                </a:moveTo>
                <a:lnTo>
                  <a:pt x="232085" y="247269"/>
                </a:lnTo>
                <a:lnTo>
                  <a:pt x="229583" y="254889"/>
                </a:lnTo>
                <a:lnTo>
                  <a:pt x="227081" y="257556"/>
                </a:lnTo>
                <a:lnTo>
                  <a:pt x="212044" y="272796"/>
                </a:lnTo>
                <a:lnTo>
                  <a:pt x="218227" y="272516"/>
                </a:lnTo>
                <a:lnTo>
                  <a:pt x="227702" y="270557"/>
                </a:lnTo>
                <a:lnTo>
                  <a:pt x="238117" y="265241"/>
                </a:lnTo>
                <a:lnTo>
                  <a:pt x="247122" y="254889"/>
                </a:lnTo>
                <a:lnTo>
                  <a:pt x="232085" y="242189"/>
                </a:lnTo>
                <a:close/>
              </a:path>
              <a:path w="329565" h="273050">
                <a:moveTo>
                  <a:pt x="231589" y="191262"/>
                </a:moveTo>
                <a:lnTo>
                  <a:pt x="184473" y="191262"/>
                </a:lnTo>
                <a:lnTo>
                  <a:pt x="191991" y="193802"/>
                </a:lnTo>
                <a:lnTo>
                  <a:pt x="202011" y="203962"/>
                </a:lnTo>
                <a:lnTo>
                  <a:pt x="204526" y="211581"/>
                </a:lnTo>
                <a:lnTo>
                  <a:pt x="202011" y="219202"/>
                </a:lnTo>
                <a:lnTo>
                  <a:pt x="219563" y="219202"/>
                </a:lnTo>
                <a:lnTo>
                  <a:pt x="222065" y="221869"/>
                </a:lnTo>
                <a:lnTo>
                  <a:pt x="222065" y="224409"/>
                </a:lnTo>
                <a:lnTo>
                  <a:pt x="224566" y="224409"/>
                </a:lnTo>
                <a:lnTo>
                  <a:pt x="252138" y="252349"/>
                </a:lnTo>
                <a:lnTo>
                  <a:pt x="258443" y="250999"/>
                </a:lnTo>
                <a:lnTo>
                  <a:pt x="264984" y="247269"/>
                </a:lnTo>
                <a:lnTo>
                  <a:pt x="270115" y="241633"/>
                </a:lnTo>
                <a:lnTo>
                  <a:pt x="272191" y="234569"/>
                </a:lnTo>
                <a:lnTo>
                  <a:pt x="231589" y="191262"/>
                </a:lnTo>
                <a:close/>
              </a:path>
              <a:path w="329565" h="273050">
                <a:moveTo>
                  <a:pt x="267196" y="173355"/>
                </a:moveTo>
                <a:lnTo>
                  <a:pt x="224566" y="173355"/>
                </a:lnTo>
                <a:lnTo>
                  <a:pt x="277195" y="229489"/>
                </a:lnTo>
                <a:lnTo>
                  <a:pt x="285306" y="227683"/>
                </a:lnTo>
                <a:lnTo>
                  <a:pt x="293178" y="222758"/>
                </a:lnTo>
                <a:lnTo>
                  <a:pt x="298698" y="215451"/>
                </a:lnTo>
                <a:lnTo>
                  <a:pt x="299750" y="206502"/>
                </a:lnTo>
                <a:lnTo>
                  <a:pt x="267196" y="173355"/>
                </a:lnTo>
                <a:close/>
              </a:path>
              <a:path w="329565" h="273050">
                <a:moveTo>
                  <a:pt x="293700" y="145287"/>
                </a:moveTo>
                <a:lnTo>
                  <a:pt x="249636" y="145287"/>
                </a:lnTo>
                <a:lnTo>
                  <a:pt x="307269" y="203962"/>
                </a:lnTo>
                <a:lnTo>
                  <a:pt x="316748" y="202134"/>
                </a:lnTo>
                <a:lnTo>
                  <a:pt x="324815" y="196961"/>
                </a:lnTo>
                <a:lnTo>
                  <a:pt x="329123" y="188906"/>
                </a:lnTo>
                <a:lnTo>
                  <a:pt x="327322" y="178435"/>
                </a:lnTo>
                <a:lnTo>
                  <a:pt x="293700" y="145287"/>
                </a:lnTo>
                <a:close/>
              </a:path>
              <a:path w="329565" h="273050">
                <a:moveTo>
                  <a:pt x="262207" y="168275"/>
                </a:moveTo>
                <a:lnTo>
                  <a:pt x="154399" y="168275"/>
                </a:lnTo>
                <a:lnTo>
                  <a:pt x="159415" y="170815"/>
                </a:lnTo>
                <a:lnTo>
                  <a:pt x="169436" y="180975"/>
                </a:lnTo>
                <a:lnTo>
                  <a:pt x="171938" y="186055"/>
                </a:lnTo>
                <a:lnTo>
                  <a:pt x="171938" y="193802"/>
                </a:lnTo>
                <a:lnTo>
                  <a:pt x="174452" y="193802"/>
                </a:lnTo>
                <a:lnTo>
                  <a:pt x="176954" y="191262"/>
                </a:lnTo>
                <a:lnTo>
                  <a:pt x="231589" y="191262"/>
                </a:lnTo>
                <a:lnTo>
                  <a:pt x="219563" y="178435"/>
                </a:lnTo>
                <a:lnTo>
                  <a:pt x="217048" y="178435"/>
                </a:lnTo>
                <a:lnTo>
                  <a:pt x="217048" y="175895"/>
                </a:lnTo>
                <a:lnTo>
                  <a:pt x="219563" y="173355"/>
                </a:lnTo>
                <a:lnTo>
                  <a:pt x="267196" y="173355"/>
                </a:lnTo>
                <a:lnTo>
                  <a:pt x="262207" y="168275"/>
                </a:lnTo>
                <a:close/>
              </a:path>
              <a:path w="329565" h="273050">
                <a:moveTo>
                  <a:pt x="154399" y="20447"/>
                </a:moveTo>
                <a:lnTo>
                  <a:pt x="111047" y="35448"/>
                </a:lnTo>
                <a:lnTo>
                  <a:pt x="54158" y="163195"/>
                </a:lnTo>
                <a:lnTo>
                  <a:pt x="74198" y="175895"/>
                </a:lnTo>
                <a:lnTo>
                  <a:pt x="76713" y="175895"/>
                </a:lnTo>
                <a:lnTo>
                  <a:pt x="76713" y="173355"/>
                </a:lnTo>
                <a:lnTo>
                  <a:pt x="79215" y="173355"/>
                </a:lnTo>
                <a:lnTo>
                  <a:pt x="96754" y="152908"/>
                </a:lnTo>
                <a:lnTo>
                  <a:pt x="111790" y="145287"/>
                </a:lnTo>
                <a:lnTo>
                  <a:pt x="293700" y="145287"/>
                </a:lnTo>
                <a:lnTo>
                  <a:pt x="254925" y="107061"/>
                </a:lnTo>
                <a:lnTo>
                  <a:pt x="136860" y="107061"/>
                </a:lnTo>
                <a:lnTo>
                  <a:pt x="129342" y="104521"/>
                </a:lnTo>
                <a:lnTo>
                  <a:pt x="121823" y="99441"/>
                </a:lnTo>
                <a:lnTo>
                  <a:pt x="116807" y="96900"/>
                </a:lnTo>
                <a:lnTo>
                  <a:pt x="141243" y="62753"/>
                </a:lnTo>
                <a:lnTo>
                  <a:pt x="159415" y="43306"/>
                </a:lnTo>
                <a:lnTo>
                  <a:pt x="159415" y="40767"/>
                </a:lnTo>
                <a:lnTo>
                  <a:pt x="164502" y="39497"/>
                </a:lnTo>
                <a:lnTo>
                  <a:pt x="171941" y="36322"/>
                </a:lnTo>
                <a:lnTo>
                  <a:pt x="181261" y="32194"/>
                </a:lnTo>
                <a:lnTo>
                  <a:pt x="191991" y="28067"/>
                </a:lnTo>
                <a:lnTo>
                  <a:pt x="180831" y="24733"/>
                </a:lnTo>
                <a:lnTo>
                  <a:pt x="170376" y="22352"/>
                </a:lnTo>
                <a:lnTo>
                  <a:pt x="161330" y="20923"/>
                </a:lnTo>
                <a:lnTo>
                  <a:pt x="154399" y="20447"/>
                </a:lnTo>
                <a:close/>
              </a:path>
              <a:path w="329565" h="273050">
                <a:moveTo>
                  <a:pt x="247122" y="145287"/>
                </a:moveTo>
                <a:lnTo>
                  <a:pt x="119309" y="145287"/>
                </a:lnTo>
                <a:lnTo>
                  <a:pt x="126827" y="147828"/>
                </a:lnTo>
                <a:lnTo>
                  <a:pt x="131844" y="152908"/>
                </a:lnTo>
                <a:lnTo>
                  <a:pt x="136860" y="158115"/>
                </a:lnTo>
                <a:lnTo>
                  <a:pt x="139362" y="163195"/>
                </a:lnTo>
                <a:lnTo>
                  <a:pt x="139362" y="170815"/>
                </a:lnTo>
                <a:lnTo>
                  <a:pt x="141864" y="168275"/>
                </a:lnTo>
                <a:lnTo>
                  <a:pt x="262207" y="168275"/>
                </a:lnTo>
                <a:lnTo>
                  <a:pt x="244682" y="150431"/>
                </a:lnTo>
                <a:lnTo>
                  <a:pt x="244620" y="147828"/>
                </a:lnTo>
                <a:lnTo>
                  <a:pt x="247122" y="147828"/>
                </a:lnTo>
                <a:lnTo>
                  <a:pt x="247122" y="145287"/>
                </a:lnTo>
                <a:close/>
              </a:path>
              <a:path w="329565" h="273050">
                <a:moveTo>
                  <a:pt x="56660" y="0"/>
                </a:moveTo>
                <a:lnTo>
                  <a:pt x="1529" y="132587"/>
                </a:lnTo>
                <a:lnTo>
                  <a:pt x="0" y="141974"/>
                </a:lnTo>
                <a:lnTo>
                  <a:pt x="2466" y="150431"/>
                </a:lnTo>
                <a:lnTo>
                  <a:pt x="8223" y="156983"/>
                </a:lnTo>
                <a:lnTo>
                  <a:pt x="16566" y="160655"/>
                </a:lnTo>
                <a:lnTo>
                  <a:pt x="44125" y="168275"/>
                </a:lnTo>
                <a:lnTo>
                  <a:pt x="99268" y="28067"/>
                </a:lnTo>
                <a:lnTo>
                  <a:pt x="56660" y="0"/>
                </a:lnTo>
                <a:close/>
              </a:path>
              <a:path w="329565" h="273050">
                <a:moveTo>
                  <a:pt x="212044" y="86741"/>
                </a:moveTo>
                <a:lnTo>
                  <a:pt x="191991" y="86741"/>
                </a:lnTo>
                <a:lnTo>
                  <a:pt x="185607" y="92059"/>
                </a:lnTo>
                <a:lnTo>
                  <a:pt x="174762" y="98806"/>
                </a:lnTo>
                <a:lnTo>
                  <a:pt x="160628" y="104600"/>
                </a:lnTo>
                <a:lnTo>
                  <a:pt x="144379" y="107061"/>
                </a:lnTo>
                <a:lnTo>
                  <a:pt x="254925" y="107061"/>
                </a:lnTo>
                <a:lnTo>
                  <a:pt x="244620" y="96900"/>
                </a:lnTo>
                <a:lnTo>
                  <a:pt x="212044" y="86741"/>
                </a:lnTo>
                <a:close/>
              </a:path>
            </a:pathLst>
          </a:custGeom>
          <a:solidFill>
            <a:srgbClr val="FFFFFF"/>
          </a:solidFill>
        </p:spPr>
        <p:txBody>
          <a:bodyPr wrap="square" lIns="0" tIns="0" rIns="0" bIns="0" rtlCol="0"/>
          <a:lstStyle/>
          <a:p>
            <a:endParaRPr/>
          </a:p>
        </p:txBody>
      </p:sp>
      <p:sp>
        <p:nvSpPr>
          <p:cNvPr id="22" name="object 22"/>
          <p:cNvSpPr/>
          <p:nvPr/>
        </p:nvSpPr>
        <p:spPr>
          <a:xfrm>
            <a:off x="8752331" y="2746291"/>
            <a:ext cx="1377696" cy="960076"/>
          </a:xfrm>
          <a:prstGeom prst="rect">
            <a:avLst/>
          </a:prstGeom>
          <a:blipFill>
            <a:blip r:embed="rId9" cstate="print"/>
            <a:stretch>
              <a:fillRect/>
            </a:stretch>
          </a:blipFill>
        </p:spPr>
        <p:txBody>
          <a:bodyPr wrap="square" lIns="0" tIns="0" rIns="0" bIns="0" rtlCol="0"/>
          <a:lstStyle/>
          <a:p>
            <a:endParaRPr/>
          </a:p>
        </p:txBody>
      </p:sp>
      <p:sp>
        <p:nvSpPr>
          <p:cNvPr id="23" name="object 23"/>
          <p:cNvSpPr/>
          <p:nvPr/>
        </p:nvSpPr>
        <p:spPr>
          <a:xfrm>
            <a:off x="613968" y="3557778"/>
            <a:ext cx="2113280" cy="1765300"/>
          </a:xfrm>
          <a:custGeom>
            <a:avLst/>
            <a:gdLst/>
            <a:ahLst/>
            <a:cxnLst/>
            <a:rect l="l" t="t" r="r" b="b"/>
            <a:pathLst>
              <a:path w="2113280" h="1765300">
                <a:moveTo>
                  <a:pt x="2112848" y="68834"/>
                </a:moveTo>
                <a:lnTo>
                  <a:pt x="2112848" y="582041"/>
                </a:lnTo>
                <a:lnTo>
                  <a:pt x="2110578" y="619382"/>
                </a:lnTo>
                <a:lnTo>
                  <a:pt x="2086400" y="702468"/>
                </a:lnTo>
                <a:lnTo>
                  <a:pt x="2014264" y="787888"/>
                </a:lnTo>
                <a:lnTo>
                  <a:pt x="1868119" y="832231"/>
                </a:lnTo>
                <a:lnTo>
                  <a:pt x="1023061" y="832231"/>
                </a:lnTo>
                <a:lnTo>
                  <a:pt x="965627" y="835181"/>
                </a:lnTo>
                <a:lnTo>
                  <a:pt x="838861" y="869838"/>
                </a:lnTo>
                <a:lnTo>
                  <a:pt x="711070" y="974909"/>
                </a:lnTo>
                <a:lnTo>
                  <a:pt x="650557" y="1189101"/>
                </a:lnTo>
                <a:lnTo>
                  <a:pt x="650557" y="1589532"/>
                </a:lnTo>
                <a:lnTo>
                  <a:pt x="646724" y="1614862"/>
                </a:lnTo>
                <a:lnTo>
                  <a:pt x="626900" y="1671685"/>
                </a:lnTo>
                <a:lnTo>
                  <a:pt x="578602" y="1731246"/>
                </a:lnTo>
                <a:lnTo>
                  <a:pt x="489343" y="1764792"/>
                </a:lnTo>
                <a:lnTo>
                  <a:pt x="150164" y="1764792"/>
                </a:lnTo>
                <a:lnTo>
                  <a:pt x="128015" y="1761660"/>
                </a:lnTo>
                <a:lnTo>
                  <a:pt x="78587" y="1742884"/>
                </a:lnTo>
                <a:lnTo>
                  <a:pt x="27406" y="1694390"/>
                </a:lnTo>
                <a:lnTo>
                  <a:pt x="0" y="1602105"/>
                </a:lnTo>
                <a:lnTo>
                  <a:pt x="0" y="1195324"/>
                </a:lnTo>
                <a:lnTo>
                  <a:pt x="1404" y="1175385"/>
                </a:lnTo>
                <a:lnTo>
                  <a:pt x="13939" y="1129633"/>
                </a:lnTo>
                <a:lnTo>
                  <a:pt x="50090" y="1079166"/>
                </a:lnTo>
                <a:lnTo>
                  <a:pt x="122339" y="1045083"/>
                </a:lnTo>
                <a:lnTo>
                  <a:pt x="355752" y="1045083"/>
                </a:lnTo>
                <a:lnTo>
                  <a:pt x="393468" y="1037764"/>
                </a:lnTo>
                <a:lnTo>
                  <a:pt x="478116" y="1000537"/>
                </a:lnTo>
                <a:lnTo>
                  <a:pt x="566946" y="910494"/>
                </a:lnTo>
                <a:lnTo>
                  <a:pt x="617207" y="744728"/>
                </a:lnTo>
                <a:lnTo>
                  <a:pt x="617207" y="0"/>
                </a:lnTo>
              </a:path>
            </a:pathLst>
          </a:custGeom>
          <a:ln w="28956">
            <a:solidFill>
              <a:srgbClr val="FF2F4B"/>
            </a:solidFill>
          </a:ln>
        </p:spPr>
        <p:txBody>
          <a:bodyPr wrap="square" lIns="0" tIns="0" rIns="0" bIns="0" rtlCol="0"/>
          <a:lstStyle/>
          <a:p>
            <a:endParaRPr/>
          </a:p>
        </p:txBody>
      </p:sp>
      <p:sp>
        <p:nvSpPr>
          <p:cNvPr id="24" name="object 24"/>
          <p:cNvSpPr/>
          <p:nvPr/>
        </p:nvSpPr>
        <p:spPr>
          <a:xfrm>
            <a:off x="2727579" y="1727454"/>
            <a:ext cx="2113280" cy="1896110"/>
          </a:xfrm>
          <a:custGeom>
            <a:avLst/>
            <a:gdLst/>
            <a:ahLst/>
            <a:cxnLst/>
            <a:rect l="l" t="t" r="r" b="b"/>
            <a:pathLst>
              <a:path w="2113279" h="1896110">
                <a:moveTo>
                  <a:pt x="0" y="1821942"/>
                </a:moveTo>
                <a:lnTo>
                  <a:pt x="0" y="1270635"/>
                </a:lnTo>
                <a:lnTo>
                  <a:pt x="2270" y="1230518"/>
                </a:lnTo>
                <a:lnTo>
                  <a:pt x="26447" y="1141253"/>
                </a:lnTo>
                <a:lnTo>
                  <a:pt x="98583" y="1049464"/>
                </a:lnTo>
                <a:lnTo>
                  <a:pt x="244728" y="1001776"/>
                </a:lnTo>
                <a:lnTo>
                  <a:pt x="1089786" y="1001776"/>
                </a:lnTo>
                <a:lnTo>
                  <a:pt x="1147220" y="998608"/>
                </a:lnTo>
                <a:lnTo>
                  <a:pt x="1273984" y="961390"/>
                </a:lnTo>
                <a:lnTo>
                  <a:pt x="1401772" y="848542"/>
                </a:lnTo>
                <a:lnTo>
                  <a:pt x="1462278" y="618490"/>
                </a:lnTo>
                <a:lnTo>
                  <a:pt x="1462278" y="188213"/>
                </a:lnTo>
                <a:lnTo>
                  <a:pt x="1466117" y="161020"/>
                </a:lnTo>
                <a:lnTo>
                  <a:pt x="1485947" y="100012"/>
                </a:lnTo>
                <a:lnTo>
                  <a:pt x="1534233" y="36052"/>
                </a:lnTo>
                <a:lnTo>
                  <a:pt x="1623441" y="0"/>
                </a:lnTo>
                <a:lnTo>
                  <a:pt x="1962658" y="0"/>
                </a:lnTo>
                <a:lnTo>
                  <a:pt x="1984811" y="3373"/>
                </a:lnTo>
                <a:lnTo>
                  <a:pt x="2034254" y="23558"/>
                </a:lnTo>
                <a:lnTo>
                  <a:pt x="2085459" y="75652"/>
                </a:lnTo>
                <a:lnTo>
                  <a:pt x="2112898" y="174751"/>
                </a:lnTo>
                <a:lnTo>
                  <a:pt x="2112898" y="611759"/>
                </a:lnTo>
                <a:lnTo>
                  <a:pt x="2111486" y="633194"/>
                </a:lnTo>
                <a:lnTo>
                  <a:pt x="2098929" y="682371"/>
                </a:lnTo>
                <a:lnTo>
                  <a:pt x="2062749" y="736596"/>
                </a:lnTo>
                <a:lnTo>
                  <a:pt x="1990470" y="773176"/>
                </a:lnTo>
                <a:lnTo>
                  <a:pt x="1757045" y="773176"/>
                </a:lnTo>
                <a:lnTo>
                  <a:pt x="1719331" y="781038"/>
                </a:lnTo>
                <a:lnTo>
                  <a:pt x="1634696" y="821023"/>
                </a:lnTo>
                <a:lnTo>
                  <a:pt x="1545893" y="917729"/>
                </a:lnTo>
                <a:lnTo>
                  <a:pt x="1495679" y="1095756"/>
                </a:lnTo>
                <a:lnTo>
                  <a:pt x="1495679" y="1895856"/>
                </a:lnTo>
              </a:path>
            </a:pathLst>
          </a:custGeom>
          <a:ln w="28956">
            <a:solidFill>
              <a:srgbClr val="2B133C"/>
            </a:solidFill>
          </a:ln>
        </p:spPr>
        <p:txBody>
          <a:bodyPr wrap="square" lIns="0" tIns="0" rIns="0" bIns="0" rtlCol="0"/>
          <a:lstStyle/>
          <a:p>
            <a:endParaRPr/>
          </a:p>
        </p:txBody>
      </p:sp>
      <p:sp>
        <p:nvSpPr>
          <p:cNvPr id="25" name="object 25"/>
          <p:cNvSpPr/>
          <p:nvPr/>
        </p:nvSpPr>
        <p:spPr>
          <a:xfrm>
            <a:off x="3605529" y="3582161"/>
            <a:ext cx="2113280" cy="1765300"/>
          </a:xfrm>
          <a:custGeom>
            <a:avLst/>
            <a:gdLst/>
            <a:ahLst/>
            <a:cxnLst/>
            <a:rect l="l" t="t" r="r" b="b"/>
            <a:pathLst>
              <a:path w="2113279" h="1765300">
                <a:moveTo>
                  <a:pt x="2112899" y="68833"/>
                </a:moveTo>
                <a:lnTo>
                  <a:pt x="2112899" y="582040"/>
                </a:lnTo>
                <a:lnTo>
                  <a:pt x="2110628" y="619382"/>
                </a:lnTo>
                <a:lnTo>
                  <a:pt x="2086451" y="702468"/>
                </a:lnTo>
                <a:lnTo>
                  <a:pt x="2014315" y="787888"/>
                </a:lnTo>
                <a:lnTo>
                  <a:pt x="1868170" y="832231"/>
                </a:lnTo>
                <a:lnTo>
                  <a:pt x="1023112" y="832231"/>
                </a:lnTo>
                <a:lnTo>
                  <a:pt x="965678" y="835181"/>
                </a:lnTo>
                <a:lnTo>
                  <a:pt x="838914" y="869838"/>
                </a:lnTo>
                <a:lnTo>
                  <a:pt x="711126" y="974909"/>
                </a:lnTo>
                <a:lnTo>
                  <a:pt x="650621" y="1189101"/>
                </a:lnTo>
                <a:lnTo>
                  <a:pt x="650621" y="1589532"/>
                </a:lnTo>
                <a:lnTo>
                  <a:pt x="646781" y="1614862"/>
                </a:lnTo>
                <a:lnTo>
                  <a:pt x="626951" y="1671685"/>
                </a:lnTo>
                <a:lnTo>
                  <a:pt x="578665" y="1731246"/>
                </a:lnTo>
                <a:lnTo>
                  <a:pt x="489458" y="1764791"/>
                </a:lnTo>
                <a:lnTo>
                  <a:pt x="150241" y="1764791"/>
                </a:lnTo>
                <a:lnTo>
                  <a:pt x="128087" y="1761660"/>
                </a:lnTo>
                <a:lnTo>
                  <a:pt x="78644" y="1742884"/>
                </a:lnTo>
                <a:lnTo>
                  <a:pt x="27439" y="1694390"/>
                </a:lnTo>
                <a:lnTo>
                  <a:pt x="0" y="1602105"/>
                </a:lnTo>
                <a:lnTo>
                  <a:pt x="0" y="1195324"/>
                </a:lnTo>
                <a:lnTo>
                  <a:pt x="1412" y="1175385"/>
                </a:lnTo>
                <a:lnTo>
                  <a:pt x="13970" y="1129633"/>
                </a:lnTo>
                <a:lnTo>
                  <a:pt x="50149" y="1079166"/>
                </a:lnTo>
                <a:lnTo>
                  <a:pt x="122428" y="1045082"/>
                </a:lnTo>
                <a:lnTo>
                  <a:pt x="355854" y="1045082"/>
                </a:lnTo>
                <a:lnTo>
                  <a:pt x="393567" y="1037764"/>
                </a:lnTo>
                <a:lnTo>
                  <a:pt x="478202" y="1000537"/>
                </a:lnTo>
                <a:lnTo>
                  <a:pt x="567005" y="910494"/>
                </a:lnTo>
                <a:lnTo>
                  <a:pt x="617220" y="744727"/>
                </a:lnTo>
                <a:lnTo>
                  <a:pt x="617220" y="0"/>
                </a:lnTo>
              </a:path>
            </a:pathLst>
          </a:custGeom>
          <a:ln w="28956">
            <a:solidFill>
              <a:srgbClr val="12ABDB"/>
            </a:solidFill>
          </a:ln>
        </p:spPr>
        <p:txBody>
          <a:bodyPr wrap="square" lIns="0" tIns="0" rIns="0" bIns="0" rtlCol="0"/>
          <a:lstStyle/>
          <a:p>
            <a:endParaRPr/>
          </a:p>
        </p:txBody>
      </p:sp>
      <p:sp>
        <p:nvSpPr>
          <p:cNvPr id="26" name="object 26"/>
          <p:cNvSpPr/>
          <p:nvPr/>
        </p:nvSpPr>
        <p:spPr>
          <a:xfrm>
            <a:off x="5720715" y="1727454"/>
            <a:ext cx="2111375" cy="1896110"/>
          </a:xfrm>
          <a:custGeom>
            <a:avLst/>
            <a:gdLst/>
            <a:ahLst/>
            <a:cxnLst/>
            <a:rect l="l" t="t" r="r" b="b"/>
            <a:pathLst>
              <a:path w="2111375" h="1896110">
                <a:moveTo>
                  <a:pt x="0" y="1821942"/>
                </a:moveTo>
                <a:lnTo>
                  <a:pt x="0" y="1270635"/>
                </a:lnTo>
                <a:lnTo>
                  <a:pt x="2266" y="1230518"/>
                </a:lnTo>
                <a:lnTo>
                  <a:pt x="26415" y="1141253"/>
                </a:lnTo>
                <a:lnTo>
                  <a:pt x="98476" y="1049464"/>
                </a:lnTo>
                <a:lnTo>
                  <a:pt x="244475" y="1001776"/>
                </a:lnTo>
                <a:lnTo>
                  <a:pt x="1089025" y="1001776"/>
                </a:lnTo>
                <a:lnTo>
                  <a:pt x="1146401" y="998608"/>
                </a:lnTo>
                <a:lnTo>
                  <a:pt x="1273048" y="961390"/>
                </a:lnTo>
                <a:lnTo>
                  <a:pt x="1400742" y="848542"/>
                </a:lnTo>
                <a:lnTo>
                  <a:pt x="1461262" y="618490"/>
                </a:lnTo>
                <a:lnTo>
                  <a:pt x="1461262" y="188213"/>
                </a:lnTo>
                <a:lnTo>
                  <a:pt x="1465081" y="161020"/>
                </a:lnTo>
                <a:lnTo>
                  <a:pt x="1484868" y="100012"/>
                </a:lnTo>
                <a:lnTo>
                  <a:pt x="1533110" y="36052"/>
                </a:lnTo>
                <a:lnTo>
                  <a:pt x="1622298" y="0"/>
                </a:lnTo>
                <a:lnTo>
                  <a:pt x="1961261" y="0"/>
                </a:lnTo>
                <a:lnTo>
                  <a:pt x="1983394" y="3373"/>
                </a:lnTo>
                <a:lnTo>
                  <a:pt x="2032793" y="23558"/>
                </a:lnTo>
                <a:lnTo>
                  <a:pt x="2083954" y="75652"/>
                </a:lnTo>
                <a:lnTo>
                  <a:pt x="2111375" y="174751"/>
                </a:lnTo>
                <a:lnTo>
                  <a:pt x="2111375" y="611759"/>
                </a:lnTo>
                <a:lnTo>
                  <a:pt x="2109964" y="633194"/>
                </a:lnTo>
                <a:lnTo>
                  <a:pt x="2097420" y="682371"/>
                </a:lnTo>
                <a:lnTo>
                  <a:pt x="2061279" y="736596"/>
                </a:lnTo>
                <a:lnTo>
                  <a:pt x="1989074" y="773176"/>
                </a:lnTo>
                <a:lnTo>
                  <a:pt x="1755775" y="773176"/>
                </a:lnTo>
                <a:lnTo>
                  <a:pt x="1718099" y="781038"/>
                </a:lnTo>
                <a:lnTo>
                  <a:pt x="1633537" y="821023"/>
                </a:lnTo>
                <a:lnTo>
                  <a:pt x="1544784" y="917729"/>
                </a:lnTo>
                <a:lnTo>
                  <a:pt x="1494536" y="1095756"/>
                </a:lnTo>
                <a:lnTo>
                  <a:pt x="1494536" y="1895856"/>
                </a:lnTo>
              </a:path>
            </a:pathLst>
          </a:custGeom>
          <a:ln w="28956">
            <a:solidFill>
              <a:srgbClr val="FF6227"/>
            </a:solidFill>
          </a:ln>
        </p:spPr>
        <p:txBody>
          <a:bodyPr wrap="square" lIns="0" tIns="0" rIns="0" bIns="0" rtlCol="0"/>
          <a:lstStyle/>
          <a:p>
            <a:endParaRPr/>
          </a:p>
        </p:txBody>
      </p:sp>
      <p:sp>
        <p:nvSpPr>
          <p:cNvPr id="27" name="object 27"/>
          <p:cNvSpPr/>
          <p:nvPr/>
        </p:nvSpPr>
        <p:spPr>
          <a:xfrm>
            <a:off x="2644139" y="3512820"/>
            <a:ext cx="165100" cy="158750"/>
          </a:xfrm>
          <a:custGeom>
            <a:avLst/>
            <a:gdLst/>
            <a:ahLst/>
            <a:cxnLst/>
            <a:rect l="l" t="t" r="r" b="b"/>
            <a:pathLst>
              <a:path w="165100" h="158750">
                <a:moveTo>
                  <a:pt x="82296" y="0"/>
                </a:moveTo>
                <a:lnTo>
                  <a:pt x="0" y="158495"/>
                </a:lnTo>
                <a:lnTo>
                  <a:pt x="164592" y="158495"/>
                </a:lnTo>
                <a:lnTo>
                  <a:pt x="82296" y="0"/>
                </a:lnTo>
                <a:close/>
              </a:path>
            </a:pathLst>
          </a:custGeom>
          <a:solidFill>
            <a:srgbClr val="2B133C"/>
          </a:solidFill>
        </p:spPr>
        <p:txBody>
          <a:bodyPr wrap="square" lIns="0" tIns="0" rIns="0" bIns="0" rtlCol="0"/>
          <a:lstStyle/>
          <a:p>
            <a:endParaRPr/>
          </a:p>
        </p:txBody>
      </p:sp>
      <p:sp>
        <p:nvSpPr>
          <p:cNvPr id="28" name="object 28"/>
          <p:cNvSpPr/>
          <p:nvPr/>
        </p:nvSpPr>
        <p:spPr>
          <a:xfrm>
            <a:off x="5635752" y="3512820"/>
            <a:ext cx="165100" cy="158750"/>
          </a:xfrm>
          <a:custGeom>
            <a:avLst/>
            <a:gdLst/>
            <a:ahLst/>
            <a:cxnLst/>
            <a:rect l="l" t="t" r="r" b="b"/>
            <a:pathLst>
              <a:path w="165100" h="158750">
                <a:moveTo>
                  <a:pt x="82296" y="0"/>
                </a:moveTo>
                <a:lnTo>
                  <a:pt x="0" y="158495"/>
                </a:lnTo>
                <a:lnTo>
                  <a:pt x="164592" y="158495"/>
                </a:lnTo>
                <a:lnTo>
                  <a:pt x="82296" y="0"/>
                </a:lnTo>
                <a:close/>
              </a:path>
            </a:pathLst>
          </a:custGeom>
          <a:solidFill>
            <a:srgbClr val="FF6227"/>
          </a:solidFill>
        </p:spPr>
        <p:txBody>
          <a:bodyPr wrap="square" lIns="0" tIns="0" rIns="0" bIns="0" rtlCol="0"/>
          <a:lstStyle/>
          <a:p>
            <a:endParaRPr/>
          </a:p>
        </p:txBody>
      </p:sp>
      <p:sp>
        <p:nvSpPr>
          <p:cNvPr id="29" name="object 29"/>
          <p:cNvSpPr/>
          <p:nvPr/>
        </p:nvSpPr>
        <p:spPr>
          <a:xfrm>
            <a:off x="4140708" y="3512820"/>
            <a:ext cx="165100" cy="158750"/>
          </a:xfrm>
          <a:custGeom>
            <a:avLst/>
            <a:gdLst/>
            <a:ahLst/>
            <a:cxnLst/>
            <a:rect l="l" t="t" r="r" b="b"/>
            <a:pathLst>
              <a:path w="165100" h="158750">
                <a:moveTo>
                  <a:pt x="164591" y="0"/>
                </a:moveTo>
                <a:lnTo>
                  <a:pt x="0" y="0"/>
                </a:lnTo>
                <a:lnTo>
                  <a:pt x="82295" y="158495"/>
                </a:lnTo>
                <a:lnTo>
                  <a:pt x="164591" y="0"/>
                </a:lnTo>
                <a:close/>
              </a:path>
            </a:pathLst>
          </a:custGeom>
          <a:solidFill>
            <a:srgbClr val="12ABDB"/>
          </a:solidFill>
        </p:spPr>
        <p:txBody>
          <a:bodyPr wrap="square" lIns="0" tIns="0" rIns="0" bIns="0" rtlCol="0"/>
          <a:lstStyle/>
          <a:p>
            <a:endParaRPr/>
          </a:p>
        </p:txBody>
      </p:sp>
      <p:sp>
        <p:nvSpPr>
          <p:cNvPr id="30" name="object 30"/>
          <p:cNvSpPr/>
          <p:nvPr/>
        </p:nvSpPr>
        <p:spPr>
          <a:xfrm>
            <a:off x="1149096" y="3512820"/>
            <a:ext cx="165100" cy="158750"/>
          </a:xfrm>
          <a:custGeom>
            <a:avLst/>
            <a:gdLst/>
            <a:ahLst/>
            <a:cxnLst/>
            <a:rect l="l" t="t" r="r" b="b"/>
            <a:pathLst>
              <a:path w="165100" h="158750">
                <a:moveTo>
                  <a:pt x="164591" y="0"/>
                </a:moveTo>
                <a:lnTo>
                  <a:pt x="0" y="0"/>
                </a:lnTo>
                <a:lnTo>
                  <a:pt x="82295" y="158495"/>
                </a:lnTo>
                <a:lnTo>
                  <a:pt x="164591" y="0"/>
                </a:lnTo>
                <a:close/>
              </a:path>
            </a:pathLst>
          </a:custGeom>
          <a:solidFill>
            <a:srgbClr val="FF2F4B"/>
          </a:solidFill>
        </p:spPr>
        <p:txBody>
          <a:bodyPr wrap="square" lIns="0" tIns="0" rIns="0" bIns="0" rtlCol="0"/>
          <a:lstStyle/>
          <a:p>
            <a:endParaRPr/>
          </a:p>
        </p:txBody>
      </p:sp>
      <p:sp>
        <p:nvSpPr>
          <p:cNvPr id="31" name="object 31"/>
          <p:cNvSpPr/>
          <p:nvPr/>
        </p:nvSpPr>
        <p:spPr>
          <a:xfrm>
            <a:off x="8712327" y="1727454"/>
            <a:ext cx="2113280" cy="1896110"/>
          </a:xfrm>
          <a:custGeom>
            <a:avLst/>
            <a:gdLst/>
            <a:ahLst/>
            <a:cxnLst/>
            <a:rect l="l" t="t" r="r" b="b"/>
            <a:pathLst>
              <a:path w="2113279" h="1896110">
                <a:moveTo>
                  <a:pt x="0" y="1821942"/>
                </a:moveTo>
                <a:lnTo>
                  <a:pt x="0" y="1270635"/>
                </a:lnTo>
                <a:lnTo>
                  <a:pt x="2270" y="1230518"/>
                </a:lnTo>
                <a:lnTo>
                  <a:pt x="26447" y="1141253"/>
                </a:lnTo>
                <a:lnTo>
                  <a:pt x="98583" y="1049464"/>
                </a:lnTo>
                <a:lnTo>
                  <a:pt x="244728" y="1001776"/>
                </a:lnTo>
                <a:lnTo>
                  <a:pt x="1089787" y="1001776"/>
                </a:lnTo>
                <a:lnTo>
                  <a:pt x="1147220" y="998608"/>
                </a:lnTo>
                <a:lnTo>
                  <a:pt x="1273984" y="961390"/>
                </a:lnTo>
                <a:lnTo>
                  <a:pt x="1401772" y="848542"/>
                </a:lnTo>
                <a:lnTo>
                  <a:pt x="1462277" y="618490"/>
                </a:lnTo>
                <a:lnTo>
                  <a:pt x="1462277" y="188213"/>
                </a:lnTo>
                <a:lnTo>
                  <a:pt x="1466117" y="161020"/>
                </a:lnTo>
                <a:lnTo>
                  <a:pt x="1485947" y="100012"/>
                </a:lnTo>
                <a:lnTo>
                  <a:pt x="1534233" y="36052"/>
                </a:lnTo>
                <a:lnTo>
                  <a:pt x="1623441" y="0"/>
                </a:lnTo>
                <a:lnTo>
                  <a:pt x="1962657" y="0"/>
                </a:lnTo>
                <a:lnTo>
                  <a:pt x="1984811" y="3373"/>
                </a:lnTo>
                <a:lnTo>
                  <a:pt x="2034254" y="23558"/>
                </a:lnTo>
                <a:lnTo>
                  <a:pt x="2085459" y="75652"/>
                </a:lnTo>
                <a:lnTo>
                  <a:pt x="2112899" y="174751"/>
                </a:lnTo>
                <a:lnTo>
                  <a:pt x="2112899" y="611759"/>
                </a:lnTo>
                <a:lnTo>
                  <a:pt x="2111486" y="633194"/>
                </a:lnTo>
                <a:lnTo>
                  <a:pt x="2098929" y="682371"/>
                </a:lnTo>
                <a:lnTo>
                  <a:pt x="2062749" y="736596"/>
                </a:lnTo>
                <a:lnTo>
                  <a:pt x="1990471" y="773176"/>
                </a:lnTo>
                <a:lnTo>
                  <a:pt x="1757045" y="773176"/>
                </a:lnTo>
                <a:lnTo>
                  <a:pt x="1719331" y="781038"/>
                </a:lnTo>
                <a:lnTo>
                  <a:pt x="1634696" y="821023"/>
                </a:lnTo>
                <a:lnTo>
                  <a:pt x="1545893" y="917729"/>
                </a:lnTo>
                <a:lnTo>
                  <a:pt x="1495678" y="1095756"/>
                </a:lnTo>
                <a:lnTo>
                  <a:pt x="1495678" y="1895856"/>
                </a:lnTo>
              </a:path>
            </a:pathLst>
          </a:custGeom>
          <a:ln w="28956">
            <a:solidFill>
              <a:srgbClr val="CA2980"/>
            </a:solidFill>
          </a:ln>
        </p:spPr>
        <p:txBody>
          <a:bodyPr wrap="square" lIns="0" tIns="0" rIns="0" bIns="0" rtlCol="0"/>
          <a:lstStyle/>
          <a:p>
            <a:endParaRPr/>
          </a:p>
        </p:txBody>
      </p:sp>
      <p:sp>
        <p:nvSpPr>
          <p:cNvPr id="32" name="object 32"/>
          <p:cNvSpPr/>
          <p:nvPr/>
        </p:nvSpPr>
        <p:spPr>
          <a:xfrm>
            <a:off x="6597142" y="3582161"/>
            <a:ext cx="2113280" cy="1765300"/>
          </a:xfrm>
          <a:custGeom>
            <a:avLst/>
            <a:gdLst/>
            <a:ahLst/>
            <a:cxnLst/>
            <a:rect l="l" t="t" r="r" b="b"/>
            <a:pathLst>
              <a:path w="2113279" h="1765300">
                <a:moveTo>
                  <a:pt x="2112899" y="68833"/>
                </a:moveTo>
                <a:lnTo>
                  <a:pt x="2112899" y="582040"/>
                </a:lnTo>
                <a:lnTo>
                  <a:pt x="2110628" y="619382"/>
                </a:lnTo>
                <a:lnTo>
                  <a:pt x="2086451" y="702468"/>
                </a:lnTo>
                <a:lnTo>
                  <a:pt x="2014315" y="787888"/>
                </a:lnTo>
                <a:lnTo>
                  <a:pt x="1868169" y="832231"/>
                </a:lnTo>
                <a:lnTo>
                  <a:pt x="1023111" y="832231"/>
                </a:lnTo>
                <a:lnTo>
                  <a:pt x="965678" y="835181"/>
                </a:lnTo>
                <a:lnTo>
                  <a:pt x="838914" y="869838"/>
                </a:lnTo>
                <a:lnTo>
                  <a:pt x="711126" y="974909"/>
                </a:lnTo>
                <a:lnTo>
                  <a:pt x="650621" y="1189101"/>
                </a:lnTo>
                <a:lnTo>
                  <a:pt x="650621" y="1589532"/>
                </a:lnTo>
                <a:lnTo>
                  <a:pt x="646781" y="1614862"/>
                </a:lnTo>
                <a:lnTo>
                  <a:pt x="626951" y="1671685"/>
                </a:lnTo>
                <a:lnTo>
                  <a:pt x="578665" y="1731246"/>
                </a:lnTo>
                <a:lnTo>
                  <a:pt x="489457" y="1764791"/>
                </a:lnTo>
                <a:lnTo>
                  <a:pt x="150240" y="1764791"/>
                </a:lnTo>
                <a:lnTo>
                  <a:pt x="128087" y="1761660"/>
                </a:lnTo>
                <a:lnTo>
                  <a:pt x="78644" y="1742884"/>
                </a:lnTo>
                <a:lnTo>
                  <a:pt x="27439" y="1694390"/>
                </a:lnTo>
                <a:lnTo>
                  <a:pt x="0" y="1602105"/>
                </a:lnTo>
                <a:lnTo>
                  <a:pt x="0" y="1195324"/>
                </a:lnTo>
                <a:lnTo>
                  <a:pt x="1412" y="1175385"/>
                </a:lnTo>
                <a:lnTo>
                  <a:pt x="13970" y="1129633"/>
                </a:lnTo>
                <a:lnTo>
                  <a:pt x="50149" y="1079166"/>
                </a:lnTo>
                <a:lnTo>
                  <a:pt x="122427" y="1045082"/>
                </a:lnTo>
                <a:lnTo>
                  <a:pt x="355853" y="1045082"/>
                </a:lnTo>
                <a:lnTo>
                  <a:pt x="393567" y="1037764"/>
                </a:lnTo>
                <a:lnTo>
                  <a:pt x="478202" y="1000537"/>
                </a:lnTo>
                <a:lnTo>
                  <a:pt x="567005" y="910494"/>
                </a:lnTo>
                <a:lnTo>
                  <a:pt x="617219" y="744727"/>
                </a:lnTo>
                <a:lnTo>
                  <a:pt x="617219" y="0"/>
                </a:lnTo>
              </a:path>
            </a:pathLst>
          </a:custGeom>
          <a:ln w="28956">
            <a:solidFill>
              <a:srgbClr val="6FAC0F"/>
            </a:solidFill>
          </a:ln>
        </p:spPr>
        <p:txBody>
          <a:bodyPr wrap="square" lIns="0" tIns="0" rIns="0" bIns="0" rtlCol="0"/>
          <a:lstStyle/>
          <a:p>
            <a:endParaRPr/>
          </a:p>
        </p:txBody>
      </p:sp>
      <p:sp>
        <p:nvSpPr>
          <p:cNvPr id="33" name="object 33"/>
          <p:cNvSpPr/>
          <p:nvPr/>
        </p:nvSpPr>
        <p:spPr>
          <a:xfrm>
            <a:off x="8625840" y="3512820"/>
            <a:ext cx="165100" cy="158750"/>
          </a:xfrm>
          <a:custGeom>
            <a:avLst/>
            <a:gdLst/>
            <a:ahLst/>
            <a:cxnLst/>
            <a:rect l="l" t="t" r="r" b="b"/>
            <a:pathLst>
              <a:path w="165100" h="158750">
                <a:moveTo>
                  <a:pt x="82295" y="0"/>
                </a:moveTo>
                <a:lnTo>
                  <a:pt x="0" y="158495"/>
                </a:lnTo>
                <a:lnTo>
                  <a:pt x="164591" y="158495"/>
                </a:lnTo>
                <a:lnTo>
                  <a:pt x="82295" y="0"/>
                </a:lnTo>
                <a:close/>
              </a:path>
            </a:pathLst>
          </a:custGeom>
          <a:solidFill>
            <a:srgbClr val="CA2980"/>
          </a:solidFill>
        </p:spPr>
        <p:txBody>
          <a:bodyPr wrap="square" lIns="0" tIns="0" rIns="0" bIns="0" rtlCol="0"/>
          <a:lstStyle/>
          <a:p>
            <a:endParaRPr/>
          </a:p>
        </p:txBody>
      </p:sp>
      <p:sp>
        <p:nvSpPr>
          <p:cNvPr id="34" name="object 34"/>
          <p:cNvSpPr txBox="1"/>
          <p:nvPr/>
        </p:nvSpPr>
        <p:spPr>
          <a:xfrm>
            <a:off x="1318005" y="3303778"/>
            <a:ext cx="1260475" cy="848994"/>
          </a:xfrm>
          <a:prstGeom prst="rect">
            <a:avLst/>
          </a:prstGeom>
        </p:spPr>
        <p:txBody>
          <a:bodyPr vert="horz" wrap="square" lIns="0" tIns="12700" rIns="0" bIns="0" rtlCol="0">
            <a:spAutoFit/>
          </a:bodyPr>
          <a:lstStyle/>
          <a:p>
            <a:pPr marL="12700" marR="5080">
              <a:lnSpc>
                <a:spcPct val="100000"/>
              </a:lnSpc>
              <a:spcBef>
                <a:spcPts val="100"/>
              </a:spcBef>
            </a:pPr>
            <a:r>
              <a:rPr sz="900" spc="-5">
                <a:latin typeface="Verdana"/>
                <a:cs typeface="Verdana"/>
              </a:rPr>
              <a:t>Transition </a:t>
            </a:r>
            <a:r>
              <a:rPr sz="900">
                <a:latin typeface="Verdana"/>
                <a:cs typeface="Verdana"/>
              </a:rPr>
              <a:t>– </a:t>
            </a:r>
            <a:r>
              <a:rPr sz="900" spc="-5">
                <a:latin typeface="Verdana"/>
                <a:cs typeface="Verdana"/>
              </a:rPr>
              <a:t>Focus </a:t>
            </a:r>
            <a:r>
              <a:rPr sz="900">
                <a:latin typeface="Verdana"/>
                <a:cs typeface="Verdana"/>
              </a:rPr>
              <a:t>on  </a:t>
            </a:r>
            <a:r>
              <a:rPr sz="900" spc="-5">
                <a:latin typeface="Verdana"/>
                <a:cs typeface="Verdana"/>
              </a:rPr>
              <a:t>zero knowledge </a:t>
            </a:r>
            <a:r>
              <a:rPr sz="900">
                <a:latin typeface="Verdana"/>
                <a:cs typeface="Verdana"/>
              </a:rPr>
              <a:t>loss  </a:t>
            </a:r>
            <a:r>
              <a:rPr sz="900" spc="-5">
                <a:latin typeface="Verdana"/>
                <a:cs typeface="Verdana"/>
              </a:rPr>
              <a:t>and</a:t>
            </a:r>
            <a:r>
              <a:rPr sz="900">
                <a:latin typeface="Verdana"/>
                <a:cs typeface="Verdana"/>
              </a:rPr>
              <a:t> </a:t>
            </a:r>
            <a:r>
              <a:rPr sz="900" spc="-5">
                <a:latin typeface="Verdana"/>
                <a:cs typeface="Verdana"/>
              </a:rPr>
              <a:t>risks</a:t>
            </a:r>
            <a:endParaRPr sz="900">
              <a:latin typeface="Verdana"/>
              <a:cs typeface="Verdana"/>
            </a:endParaRPr>
          </a:p>
          <a:p>
            <a:pPr marL="12700" marR="64135">
              <a:lnSpc>
                <a:spcPct val="100000"/>
              </a:lnSpc>
            </a:pPr>
            <a:r>
              <a:rPr sz="900" spc="-5">
                <a:latin typeface="Verdana"/>
                <a:cs typeface="Verdana"/>
              </a:rPr>
              <a:t>Cutover </a:t>
            </a:r>
            <a:r>
              <a:rPr sz="900">
                <a:latin typeface="Verdana"/>
                <a:cs typeface="Verdana"/>
              </a:rPr>
              <a:t>– </a:t>
            </a:r>
            <a:r>
              <a:rPr sz="900" spc="-5">
                <a:latin typeface="Verdana"/>
                <a:cs typeface="Verdana"/>
              </a:rPr>
              <a:t>Focus </a:t>
            </a:r>
            <a:r>
              <a:rPr sz="900">
                <a:latin typeface="Verdana"/>
                <a:cs typeface="Verdana"/>
              </a:rPr>
              <a:t>on  service </a:t>
            </a:r>
            <a:r>
              <a:rPr sz="900" spc="-5">
                <a:latin typeface="Verdana"/>
                <a:cs typeface="Verdana"/>
              </a:rPr>
              <a:t>continuity,  </a:t>
            </a:r>
            <a:r>
              <a:rPr sz="900">
                <a:latin typeface="Verdana"/>
                <a:cs typeface="Verdana"/>
              </a:rPr>
              <a:t>stability, </a:t>
            </a:r>
            <a:r>
              <a:rPr sz="900" spc="-5">
                <a:latin typeface="Verdana"/>
                <a:cs typeface="Verdana"/>
              </a:rPr>
              <a:t>and</a:t>
            </a:r>
            <a:r>
              <a:rPr sz="900" spc="-80">
                <a:latin typeface="Verdana"/>
                <a:cs typeface="Verdana"/>
              </a:rPr>
              <a:t> </a:t>
            </a:r>
            <a:r>
              <a:rPr sz="900" spc="-5">
                <a:latin typeface="Verdana"/>
                <a:cs typeface="Verdana"/>
              </a:rPr>
              <a:t>quality</a:t>
            </a:r>
            <a:endParaRPr sz="900">
              <a:latin typeface="Verdana"/>
              <a:cs typeface="Verdana"/>
            </a:endParaRPr>
          </a:p>
        </p:txBody>
      </p:sp>
      <p:sp>
        <p:nvSpPr>
          <p:cNvPr id="35" name="object 35"/>
          <p:cNvSpPr txBox="1"/>
          <p:nvPr/>
        </p:nvSpPr>
        <p:spPr>
          <a:xfrm>
            <a:off x="2758185" y="1775205"/>
            <a:ext cx="1205230" cy="711200"/>
          </a:xfrm>
          <a:prstGeom prst="rect">
            <a:avLst/>
          </a:prstGeom>
        </p:spPr>
        <p:txBody>
          <a:bodyPr vert="horz" wrap="square" lIns="0" tIns="12700" rIns="0" bIns="0" rtlCol="0">
            <a:spAutoFit/>
          </a:bodyPr>
          <a:lstStyle/>
          <a:p>
            <a:pPr marL="12700" marR="5080">
              <a:lnSpc>
                <a:spcPct val="100000"/>
              </a:lnSpc>
              <a:spcBef>
                <a:spcPts val="100"/>
              </a:spcBef>
            </a:pPr>
            <a:r>
              <a:rPr sz="900">
                <a:latin typeface="Verdana"/>
                <a:cs typeface="Verdana"/>
              </a:rPr>
              <a:t>Decrease </a:t>
            </a:r>
            <a:r>
              <a:rPr sz="900" spc="-5">
                <a:latin typeface="Verdana"/>
                <a:cs typeface="Verdana"/>
              </a:rPr>
              <a:t>the </a:t>
            </a:r>
            <a:r>
              <a:rPr sz="900">
                <a:latin typeface="Verdana"/>
                <a:cs typeface="Verdana"/>
              </a:rPr>
              <a:t>cost</a:t>
            </a:r>
            <a:r>
              <a:rPr sz="900" spc="-105">
                <a:latin typeface="Verdana"/>
                <a:cs typeface="Verdana"/>
              </a:rPr>
              <a:t> </a:t>
            </a:r>
            <a:r>
              <a:rPr sz="900">
                <a:latin typeface="Verdana"/>
                <a:cs typeface="Verdana"/>
              </a:rPr>
              <a:t>of  </a:t>
            </a:r>
            <a:r>
              <a:rPr sz="900" spc="-5">
                <a:latin typeface="Verdana"/>
                <a:cs typeface="Verdana"/>
              </a:rPr>
              <a:t>operations through  locations, shared  </a:t>
            </a:r>
            <a:r>
              <a:rPr sz="900">
                <a:latin typeface="Verdana"/>
                <a:cs typeface="Verdana"/>
              </a:rPr>
              <a:t>services, </a:t>
            </a:r>
            <a:r>
              <a:rPr sz="900" spc="-5">
                <a:latin typeface="Verdana"/>
                <a:cs typeface="Verdana"/>
              </a:rPr>
              <a:t>LEAN,  productivity,</a:t>
            </a:r>
            <a:r>
              <a:rPr sz="900" spc="-10">
                <a:latin typeface="Verdana"/>
                <a:cs typeface="Verdana"/>
              </a:rPr>
              <a:t> </a:t>
            </a:r>
            <a:r>
              <a:rPr sz="900">
                <a:latin typeface="Verdana"/>
                <a:cs typeface="Verdana"/>
              </a:rPr>
              <a:t>etc.</a:t>
            </a:r>
          </a:p>
        </p:txBody>
      </p:sp>
      <p:sp>
        <p:nvSpPr>
          <p:cNvPr id="36" name="object 36"/>
          <p:cNvSpPr txBox="1"/>
          <p:nvPr/>
        </p:nvSpPr>
        <p:spPr>
          <a:xfrm>
            <a:off x="4307585" y="3290696"/>
            <a:ext cx="1303020" cy="848360"/>
          </a:xfrm>
          <a:prstGeom prst="rect">
            <a:avLst/>
          </a:prstGeom>
        </p:spPr>
        <p:txBody>
          <a:bodyPr vert="horz" wrap="square" lIns="0" tIns="12700" rIns="0" bIns="0" rtlCol="0">
            <a:spAutoFit/>
          </a:bodyPr>
          <a:lstStyle/>
          <a:p>
            <a:pPr marL="12700" marR="5080">
              <a:lnSpc>
                <a:spcPct val="100000"/>
              </a:lnSpc>
              <a:spcBef>
                <a:spcPts val="100"/>
              </a:spcBef>
            </a:pPr>
            <a:r>
              <a:rPr sz="900" spc="-5">
                <a:latin typeface="Verdana"/>
                <a:cs typeface="Verdana"/>
              </a:rPr>
              <a:t>Enhance </a:t>
            </a:r>
            <a:r>
              <a:rPr sz="900">
                <a:latin typeface="Verdana"/>
                <a:cs typeface="Verdana"/>
              </a:rPr>
              <a:t>services </a:t>
            </a:r>
            <a:r>
              <a:rPr sz="900" spc="-5">
                <a:latin typeface="Verdana"/>
                <a:cs typeface="Verdana"/>
              </a:rPr>
              <a:t>with  automation (reduce  errors/volume/work)  and Business </a:t>
            </a:r>
            <a:r>
              <a:rPr sz="900">
                <a:latin typeface="Verdana"/>
                <a:cs typeface="Verdana"/>
              </a:rPr>
              <a:t>process  </a:t>
            </a:r>
            <a:r>
              <a:rPr sz="900" spc="-5">
                <a:latin typeface="Verdana"/>
                <a:cs typeface="Verdana"/>
              </a:rPr>
              <a:t>performance and  analytics</a:t>
            </a:r>
            <a:endParaRPr sz="900">
              <a:latin typeface="Verdana"/>
              <a:cs typeface="Verdana"/>
            </a:endParaRPr>
          </a:p>
        </p:txBody>
      </p:sp>
      <p:sp>
        <p:nvSpPr>
          <p:cNvPr id="37" name="object 37"/>
          <p:cNvSpPr txBox="1"/>
          <p:nvPr/>
        </p:nvSpPr>
        <p:spPr>
          <a:xfrm>
            <a:off x="5648325" y="1984375"/>
            <a:ext cx="1379220" cy="574040"/>
          </a:xfrm>
          <a:prstGeom prst="rect">
            <a:avLst/>
          </a:prstGeom>
        </p:spPr>
        <p:txBody>
          <a:bodyPr vert="horz" wrap="square" lIns="0" tIns="12700" rIns="0" bIns="0" rtlCol="0">
            <a:spAutoFit/>
          </a:bodyPr>
          <a:lstStyle/>
          <a:p>
            <a:pPr marL="12700" marR="5080">
              <a:lnSpc>
                <a:spcPct val="100000"/>
              </a:lnSpc>
              <a:spcBef>
                <a:spcPts val="100"/>
              </a:spcBef>
            </a:pPr>
            <a:r>
              <a:rPr sz="900" spc="-5">
                <a:latin typeface="Verdana"/>
                <a:cs typeface="Verdana"/>
              </a:rPr>
              <a:t>Landscape assessment  </a:t>
            </a:r>
            <a:r>
              <a:rPr sz="900">
                <a:latin typeface="Verdana"/>
                <a:cs typeface="Verdana"/>
              </a:rPr>
              <a:t>to </a:t>
            </a:r>
            <a:r>
              <a:rPr sz="900" spc="-5">
                <a:latin typeface="Verdana"/>
                <a:cs typeface="Verdana"/>
              </a:rPr>
              <a:t>reduce risks and  complexity, Cloud  </a:t>
            </a:r>
            <a:r>
              <a:rPr sz="900">
                <a:latin typeface="Verdana"/>
                <a:cs typeface="Verdana"/>
              </a:rPr>
              <a:t>roadmap </a:t>
            </a:r>
            <a:r>
              <a:rPr sz="900" spc="-5">
                <a:latin typeface="Verdana"/>
                <a:cs typeface="Verdana"/>
              </a:rPr>
              <a:t>and</a:t>
            </a:r>
            <a:r>
              <a:rPr sz="900" spc="-95">
                <a:latin typeface="Verdana"/>
                <a:cs typeface="Verdana"/>
              </a:rPr>
              <a:t> </a:t>
            </a:r>
            <a:r>
              <a:rPr sz="900">
                <a:latin typeface="Verdana"/>
                <a:cs typeface="Verdana"/>
              </a:rPr>
              <a:t>migration</a:t>
            </a:r>
          </a:p>
        </p:txBody>
      </p:sp>
      <p:sp>
        <p:nvSpPr>
          <p:cNvPr id="38" name="object 38"/>
          <p:cNvSpPr txBox="1"/>
          <p:nvPr/>
        </p:nvSpPr>
        <p:spPr>
          <a:xfrm>
            <a:off x="7276845" y="3109721"/>
            <a:ext cx="1316990" cy="985519"/>
          </a:xfrm>
          <a:prstGeom prst="rect">
            <a:avLst/>
          </a:prstGeom>
        </p:spPr>
        <p:txBody>
          <a:bodyPr vert="horz" wrap="square" lIns="0" tIns="12700" rIns="0" bIns="0" rtlCol="0">
            <a:spAutoFit/>
          </a:bodyPr>
          <a:lstStyle/>
          <a:p>
            <a:pPr marL="12700" marR="5080">
              <a:lnSpc>
                <a:spcPct val="100000"/>
              </a:lnSpc>
              <a:spcBef>
                <a:spcPts val="100"/>
              </a:spcBef>
            </a:pPr>
            <a:r>
              <a:rPr sz="900" spc="-5">
                <a:latin typeface="Verdana"/>
                <a:cs typeface="Verdana"/>
              </a:rPr>
              <a:t>Problem definition  (ROI), identification </a:t>
            </a:r>
            <a:r>
              <a:rPr sz="900">
                <a:latin typeface="Verdana"/>
                <a:cs typeface="Verdana"/>
              </a:rPr>
              <a:t>of  areas </a:t>
            </a:r>
            <a:r>
              <a:rPr sz="900" spc="-5">
                <a:latin typeface="Verdana"/>
                <a:cs typeface="Verdana"/>
              </a:rPr>
              <a:t>for </a:t>
            </a:r>
            <a:r>
              <a:rPr sz="900">
                <a:latin typeface="Verdana"/>
                <a:cs typeface="Verdana"/>
              </a:rPr>
              <a:t>speed </a:t>
            </a:r>
            <a:r>
              <a:rPr sz="900" spc="-5">
                <a:latin typeface="Verdana"/>
                <a:cs typeface="Verdana"/>
              </a:rPr>
              <a:t>and  </a:t>
            </a:r>
            <a:r>
              <a:rPr sz="900">
                <a:latin typeface="Verdana"/>
                <a:cs typeface="Verdana"/>
              </a:rPr>
              <a:t>agility, </a:t>
            </a:r>
            <a:r>
              <a:rPr sz="900" spc="-5">
                <a:latin typeface="Verdana"/>
                <a:cs typeface="Verdana"/>
              </a:rPr>
              <a:t>improving the  readiness, </a:t>
            </a:r>
            <a:r>
              <a:rPr sz="900">
                <a:latin typeface="Verdana"/>
                <a:cs typeface="Verdana"/>
              </a:rPr>
              <a:t>pilots </a:t>
            </a:r>
            <a:r>
              <a:rPr sz="900" spc="-5">
                <a:latin typeface="Verdana"/>
                <a:cs typeface="Verdana"/>
              </a:rPr>
              <a:t>for  Agile/DevOps, and  change</a:t>
            </a:r>
            <a:r>
              <a:rPr sz="900">
                <a:latin typeface="Verdana"/>
                <a:cs typeface="Verdana"/>
              </a:rPr>
              <a:t> </a:t>
            </a:r>
            <a:r>
              <a:rPr sz="900" spc="-5">
                <a:latin typeface="Verdana"/>
                <a:cs typeface="Verdana"/>
              </a:rPr>
              <a:t>management</a:t>
            </a:r>
            <a:endParaRPr sz="900">
              <a:latin typeface="Verdana"/>
              <a:cs typeface="Verdana"/>
            </a:endParaRPr>
          </a:p>
        </p:txBody>
      </p:sp>
      <p:sp>
        <p:nvSpPr>
          <p:cNvPr id="39" name="object 39"/>
          <p:cNvSpPr/>
          <p:nvPr/>
        </p:nvSpPr>
        <p:spPr>
          <a:xfrm>
            <a:off x="950975" y="5334000"/>
            <a:ext cx="0" cy="197485"/>
          </a:xfrm>
          <a:custGeom>
            <a:avLst/>
            <a:gdLst/>
            <a:ahLst/>
            <a:cxnLst/>
            <a:rect l="l" t="t" r="r" b="b"/>
            <a:pathLst>
              <a:path h="197485">
                <a:moveTo>
                  <a:pt x="0" y="0"/>
                </a:moveTo>
                <a:lnTo>
                  <a:pt x="0" y="197231"/>
                </a:lnTo>
              </a:path>
            </a:pathLst>
          </a:custGeom>
          <a:ln w="57912">
            <a:solidFill>
              <a:srgbClr val="FF2F4B"/>
            </a:solidFill>
          </a:ln>
        </p:spPr>
        <p:txBody>
          <a:bodyPr wrap="square" lIns="0" tIns="0" rIns="0" bIns="0" rtlCol="0"/>
          <a:lstStyle/>
          <a:p>
            <a:endParaRPr/>
          </a:p>
        </p:txBody>
      </p:sp>
      <p:sp>
        <p:nvSpPr>
          <p:cNvPr id="40" name="object 40"/>
          <p:cNvSpPr/>
          <p:nvPr/>
        </p:nvSpPr>
        <p:spPr>
          <a:xfrm>
            <a:off x="3928871" y="5355335"/>
            <a:ext cx="0" cy="175260"/>
          </a:xfrm>
          <a:custGeom>
            <a:avLst/>
            <a:gdLst/>
            <a:ahLst/>
            <a:cxnLst/>
            <a:rect l="l" t="t" r="r" b="b"/>
            <a:pathLst>
              <a:path h="175260">
                <a:moveTo>
                  <a:pt x="0" y="175005"/>
                </a:moveTo>
                <a:lnTo>
                  <a:pt x="0" y="0"/>
                </a:lnTo>
              </a:path>
            </a:pathLst>
          </a:custGeom>
          <a:ln w="57912">
            <a:solidFill>
              <a:srgbClr val="4AACC5"/>
            </a:solidFill>
          </a:ln>
        </p:spPr>
        <p:txBody>
          <a:bodyPr wrap="square" lIns="0" tIns="0" rIns="0" bIns="0" rtlCol="0"/>
          <a:lstStyle/>
          <a:p>
            <a:endParaRPr/>
          </a:p>
        </p:txBody>
      </p:sp>
      <p:sp>
        <p:nvSpPr>
          <p:cNvPr id="41" name="object 41"/>
          <p:cNvSpPr/>
          <p:nvPr/>
        </p:nvSpPr>
        <p:spPr>
          <a:xfrm>
            <a:off x="7485888" y="1549908"/>
            <a:ext cx="635" cy="175260"/>
          </a:xfrm>
          <a:custGeom>
            <a:avLst/>
            <a:gdLst/>
            <a:ahLst/>
            <a:cxnLst/>
            <a:rect l="l" t="t" r="r" b="b"/>
            <a:pathLst>
              <a:path w="634" h="175260">
                <a:moveTo>
                  <a:pt x="253" y="-28955"/>
                </a:moveTo>
                <a:lnTo>
                  <a:pt x="253" y="203961"/>
                </a:lnTo>
              </a:path>
            </a:pathLst>
          </a:custGeom>
          <a:ln w="58419">
            <a:solidFill>
              <a:srgbClr val="FF6227"/>
            </a:solidFill>
          </a:ln>
        </p:spPr>
        <p:txBody>
          <a:bodyPr wrap="square" lIns="0" tIns="0" rIns="0" bIns="0" rtlCol="0"/>
          <a:lstStyle/>
          <a:p>
            <a:endParaRPr/>
          </a:p>
        </p:txBody>
      </p:sp>
      <p:sp>
        <p:nvSpPr>
          <p:cNvPr id="42" name="object 42"/>
          <p:cNvSpPr/>
          <p:nvPr/>
        </p:nvSpPr>
        <p:spPr>
          <a:xfrm>
            <a:off x="4520184" y="1549908"/>
            <a:ext cx="0" cy="175260"/>
          </a:xfrm>
          <a:custGeom>
            <a:avLst/>
            <a:gdLst/>
            <a:ahLst/>
            <a:cxnLst/>
            <a:rect l="l" t="t" r="r" b="b"/>
            <a:pathLst>
              <a:path h="175260">
                <a:moveTo>
                  <a:pt x="0" y="0"/>
                </a:moveTo>
                <a:lnTo>
                  <a:pt x="0" y="175005"/>
                </a:lnTo>
              </a:path>
            </a:pathLst>
          </a:custGeom>
          <a:ln w="57912">
            <a:solidFill>
              <a:srgbClr val="2B133C"/>
            </a:solidFill>
          </a:ln>
        </p:spPr>
        <p:txBody>
          <a:bodyPr wrap="square" lIns="0" tIns="0" rIns="0" bIns="0" rtlCol="0"/>
          <a:lstStyle/>
          <a:p>
            <a:endParaRPr/>
          </a:p>
        </p:txBody>
      </p:sp>
      <p:sp>
        <p:nvSpPr>
          <p:cNvPr id="43" name="object 43"/>
          <p:cNvSpPr/>
          <p:nvPr/>
        </p:nvSpPr>
        <p:spPr>
          <a:xfrm>
            <a:off x="10501883" y="1549908"/>
            <a:ext cx="0" cy="175260"/>
          </a:xfrm>
          <a:custGeom>
            <a:avLst/>
            <a:gdLst/>
            <a:ahLst/>
            <a:cxnLst/>
            <a:rect l="l" t="t" r="r" b="b"/>
            <a:pathLst>
              <a:path h="175260">
                <a:moveTo>
                  <a:pt x="0" y="0"/>
                </a:moveTo>
                <a:lnTo>
                  <a:pt x="0" y="175005"/>
                </a:lnTo>
              </a:path>
            </a:pathLst>
          </a:custGeom>
          <a:ln w="57912">
            <a:solidFill>
              <a:srgbClr val="D3A0EF"/>
            </a:solidFill>
          </a:ln>
        </p:spPr>
        <p:txBody>
          <a:bodyPr wrap="square" lIns="0" tIns="0" rIns="0" bIns="0" rtlCol="0"/>
          <a:lstStyle/>
          <a:p>
            <a:endParaRPr/>
          </a:p>
        </p:txBody>
      </p:sp>
      <p:sp>
        <p:nvSpPr>
          <p:cNvPr id="44" name="object 44"/>
          <p:cNvSpPr/>
          <p:nvPr/>
        </p:nvSpPr>
        <p:spPr>
          <a:xfrm>
            <a:off x="9582022" y="3588003"/>
            <a:ext cx="2169795" cy="1778000"/>
          </a:xfrm>
          <a:custGeom>
            <a:avLst/>
            <a:gdLst/>
            <a:ahLst/>
            <a:cxnLst/>
            <a:rect l="l" t="t" r="r" b="b"/>
            <a:pathLst>
              <a:path w="2169795" h="1778000">
                <a:moveTo>
                  <a:pt x="559180" y="1765300"/>
                </a:moveTo>
                <a:lnTo>
                  <a:pt x="100456" y="1765300"/>
                </a:lnTo>
                <a:lnTo>
                  <a:pt x="114553" y="1778000"/>
                </a:lnTo>
                <a:lnTo>
                  <a:pt x="546734" y="1778000"/>
                </a:lnTo>
                <a:lnTo>
                  <a:pt x="559180" y="1765300"/>
                </a:lnTo>
                <a:close/>
              </a:path>
              <a:path w="2169795" h="1778000">
                <a:moveTo>
                  <a:pt x="111886" y="1739900"/>
                </a:moveTo>
                <a:lnTo>
                  <a:pt x="63500" y="1739900"/>
                </a:lnTo>
                <a:lnTo>
                  <a:pt x="71120" y="1752600"/>
                </a:lnTo>
                <a:lnTo>
                  <a:pt x="85725" y="1765300"/>
                </a:lnTo>
                <a:lnTo>
                  <a:pt x="581786" y="1765300"/>
                </a:lnTo>
                <a:lnTo>
                  <a:pt x="591947" y="1752600"/>
                </a:lnTo>
                <a:lnTo>
                  <a:pt x="124841" y="1752600"/>
                </a:lnTo>
                <a:lnTo>
                  <a:pt x="111886" y="1739900"/>
                </a:lnTo>
                <a:close/>
              </a:path>
              <a:path w="2169795" h="1778000">
                <a:moveTo>
                  <a:pt x="618235" y="1727200"/>
                </a:moveTo>
                <a:lnTo>
                  <a:pt x="576326" y="1727200"/>
                </a:lnTo>
                <a:lnTo>
                  <a:pt x="567054" y="1739900"/>
                </a:lnTo>
                <a:lnTo>
                  <a:pt x="549148" y="1739900"/>
                </a:lnTo>
                <a:lnTo>
                  <a:pt x="537718" y="1752600"/>
                </a:lnTo>
                <a:lnTo>
                  <a:pt x="601345" y="1752600"/>
                </a:lnTo>
                <a:lnTo>
                  <a:pt x="610107" y="1739900"/>
                </a:lnTo>
                <a:lnTo>
                  <a:pt x="618235" y="1727200"/>
                </a:lnTo>
                <a:close/>
              </a:path>
              <a:path w="2169795" h="1778000">
                <a:moveTo>
                  <a:pt x="87249" y="1727200"/>
                </a:moveTo>
                <a:lnTo>
                  <a:pt x="49149" y="1727200"/>
                </a:lnTo>
                <a:lnTo>
                  <a:pt x="56260" y="1739900"/>
                </a:lnTo>
                <a:lnTo>
                  <a:pt x="100837" y="1739900"/>
                </a:lnTo>
                <a:lnTo>
                  <a:pt x="87249" y="1727200"/>
                </a:lnTo>
                <a:close/>
              </a:path>
              <a:path w="2169795" h="1778000">
                <a:moveTo>
                  <a:pt x="64134" y="1701800"/>
                </a:moveTo>
                <a:lnTo>
                  <a:pt x="29718" y="1701800"/>
                </a:lnTo>
                <a:lnTo>
                  <a:pt x="35813" y="1714500"/>
                </a:lnTo>
                <a:lnTo>
                  <a:pt x="42291" y="1727200"/>
                </a:lnTo>
                <a:lnTo>
                  <a:pt x="82169" y="1727200"/>
                </a:lnTo>
                <a:lnTo>
                  <a:pt x="75565" y="1714500"/>
                </a:lnTo>
                <a:lnTo>
                  <a:pt x="70357" y="1714500"/>
                </a:lnTo>
                <a:lnTo>
                  <a:pt x="64134" y="1701800"/>
                </a:lnTo>
                <a:close/>
              </a:path>
              <a:path w="2169795" h="1778000">
                <a:moveTo>
                  <a:pt x="628269" y="1663700"/>
                </a:moveTo>
                <a:lnTo>
                  <a:pt x="619378" y="1689100"/>
                </a:lnTo>
                <a:lnTo>
                  <a:pt x="620013" y="1689100"/>
                </a:lnTo>
                <a:lnTo>
                  <a:pt x="609219" y="1701800"/>
                </a:lnTo>
                <a:lnTo>
                  <a:pt x="604138" y="1701800"/>
                </a:lnTo>
                <a:lnTo>
                  <a:pt x="597407" y="1714500"/>
                </a:lnTo>
                <a:lnTo>
                  <a:pt x="591438" y="1714500"/>
                </a:lnTo>
                <a:lnTo>
                  <a:pt x="583437" y="1727200"/>
                </a:lnTo>
                <a:lnTo>
                  <a:pt x="625601" y="1727200"/>
                </a:lnTo>
                <a:lnTo>
                  <a:pt x="632586" y="1714500"/>
                </a:lnTo>
                <a:lnTo>
                  <a:pt x="644144" y="1701800"/>
                </a:lnTo>
                <a:lnTo>
                  <a:pt x="653796" y="1689100"/>
                </a:lnTo>
                <a:lnTo>
                  <a:pt x="657605" y="1676400"/>
                </a:lnTo>
                <a:lnTo>
                  <a:pt x="627760" y="1676400"/>
                </a:lnTo>
                <a:lnTo>
                  <a:pt x="628269" y="1663700"/>
                </a:lnTo>
                <a:close/>
              </a:path>
              <a:path w="2169795" h="1778000">
                <a:moveTo>
                  <a:pt x="30225" y="1181100"/>
                </a:moveTo>
                <a:lnTo>
                  <a:pt x="507" y="1181100"/>
                </a:lnTo>
                <a:lnTo>
                  <a:pt x="0" y="1193800"/>
                </a:lnTo>
                <a:lnTo>
                  <a:pt x="0" y="1612900"/>
                </a:lnTo>
                <a:lnTo>
                  <a:pt x="1270" y="1625600"/>
                </a:lnTo>
                <a:lnTo>
                  <a:pt x="9778" y="1663700"/>
                </a:lnTo>
                <a:lnTo>
                  <a:pt x="23875" y="1701800"/>
                </a:lnTo>
                <a:lnTo>
                  <a:pt x="59435" y="1701800"/>
                </a:lnTo>
                <a:lnTo>
                  <a:pt x="53848" y="1689100"/>
                </a:lnTo>
                <a:lnTo>
                  <a:pt x="49402" y="1689100"/>
                </a:lnTo>
                <a:lnTo>
                  <a:pt x="44703" y="1676400"/>
                </a:lnTo>
                <a:lnTo>
                  <a:pt x="45084" y="1676400"/>
                </a:lnTo>
                <a:lnTo>
                  <a:pt x="40767" y="1663700"/>
                </a:lnTo>
                <a:lnTo>
                  <a:pt x="41021" y="1663700"/>
                </a:lnTo>
                <a:lnTo>
                  <a:pt x="37210" y="1651000"/>
                </a:lnTo>
                <a:lnTo>
                  <a:pt x="34544" y="1651000"/>
                </a:lnTo>
                <a:lnTo>
                  <a:pt x="31876" y="1638300"/>
                </a:lnTo>
                <a:lnTo>
                  <a:pt x="29972" y="1625600"/>
                </a:lnTo>
                <a:lnTo>
                  <a:pt x="29464" y="1612900"/>
                </a:lnTo>
                <a:lnTo>
                  <a:pt x="28955" y="1612900"/>
                </a:lnTo>
                <a:lnTo>
                  <a:pt x="28955" y="1193800"/>
                </a:lnTo>
                <a:lnTo>
                  <a:pt x="29209" y="1193800"/>
                </a:lnTo>
                <a:lnTo>
                  <a:pt x="30225" y="1181100"/>
                </a:lnTo>
                <a:close/>
              </a:path>
              <a:path w="2169795" h="1778000">
                <a:moveTo>
                  <a:pt x="676021" y="1612900"/>
                </a:moveTo>
                <a:lnTo>
                  <a:pt x="646556" y="1612900"/>
                </a:lnTo>
                <a:lnTo>
                  <a:pt x="643635" y="1625600"/>
                </a:lnTo>
                <a:lnTo>
                  <a:pt x="643890" y="1625600"/>
                </a:lnTo>
                <a:lnTo>
                  <a:pt x="639699" y="1638300"/>
                </a:lnTo>
                <a:lnTo>
                  <a:pt x="639952" y="1638300"/>
                </a:lnTo>
                <a:lnTo>
                  <a:pt x="634492" y="1651000"/>
                </a:lnTo>
                <a:lnTo>
                  <a:pt x="634873" y="1651000"/>
                </a:lnTo>
                <a:lnTo>
                  <a:pt x="627760" y="1676400"/>
                </a:lnTo>
                <a:lnTo>
                  <a:pt x="657605" y="1676400"/>
                </a:lnTo>
                <a:lnTo>
                  <a:pt x="661416" y="1663700"/>
                </a:lnTo>
                <a:lnTo>
                  <a:pt x="667257" y="1651000"/>
                </a:lnTo>
                <a:lnTo>
                  <a:pt x="671702" y="1638300"/>
                </a:lnTo>
                <a:lnTo>
                  <a:pt x="674877" y="1625600"/>
                </a:lnTo>
                <a:lnTo>
                  <a:pt x="676021" y="1612900"/>
                </a:lnTo>
                <a:close/>
              </a:path>
              <a:path w="2169795" h="1778000">
                <a:moveTo>
                  <a:pt x="34290" y="1638300"/>
                </a:moveTo>
                <a:lnTo>
                  <a:pt x="34544" y="1651000"/>
                </a:lnTo>
                <a:lnTo>
                  <a:pt x="37465" y="1651000"/>
                </a:lnTo>
                <a:lnTo>
                  <a:pt x="34290" y="1638300"/>
                </a:lnTo>
                <a:close/>
              </a:path>
              <a:path w="2169795" h="1778000">
                <a:moveTo>
                  <a:pt x="28955" y="1602739"/>
                </a:moveTo>
                <a:lnTo>
                  <a:pt x="28955" y="1612900"/>
                </a:lnTo>
                <a:lnTo>
                  <a:pt x="29464" y="1612900"/>
                </a:lnTo>
                <a:lnTo>
                  <a:pt x="28955" y="1602739"/>
                </a:lnTo>
                <a:close/>
              </a:path>
              <a:path w="2169795" h="1778000">
                <a:moveTo>
                  <a:pt x="678179" y="1600200"/>
                </a:moveTo>
                <a:lnTo>
                  <a:pt x="648970" y="1600200"/>
                </a:lnTo>
                <a:lnTo>
                  <a:pt x="648334" y="1612900"/>
                </a:lnTo>
                <a:lnTo>
                  <a:pt x="677545" y="1612900"/>
                </a:lnTo>
                <a:lnTo>
                  <a:pt x="678179" y="1600200"/>
                </a:lnTo>
                <a:close/>
              </a:path>
              <a:path w="2169795" h="1778000">
                <a:moveTo>
                  <a:pt x="28955" y="1600200"/>
                </a:moveTo>
                <a:lnTo>
                  <a:pt x="28955" y="1602739"/>
                </a:lnTo>
                <a:lnTo>
                  <a:pt x="28955" y="1600200"/>
                </a:lnTo>
                <a:close/>
              </a:path>
              <a:path w="2169795" h="1778000">
                <a:moveTo>
                  <a:pt x="875792" y="876300"/>
                </a:moveTo>
                <a:lnTo>
                  <a:pt x="810768" y="876300"/>
                </a:lnTo>
                <a:lnTo>
                  <a:pt x="792987" y="889000"/>
                </a:lnTo>
                <a:lnTo>
                  <a:pt x="775716" y="901700"/>
                </a:lnTo>
                <a:lnTo>
                  <a:pt x="758951" y="914400"/>
                </a:lnTo>
                <a:lnTo>
                  <a:pt x="742696" y="939800"/>
                </a:lnTo>
                <a:lnTo>
                  <a:pt x="727455" y="952500"/>
                </a:lnTo>
                <a:lnTo>
                  <a:pt x="712977" y="977900"/>
                </a:lnTo>
                <a:lnTo>
                  <a:pt x="699897" y="990600"/>
                </a:lnTo>
                <a:lnTo>
                  <a:pt x="687831" y="1016000"/>
                </a:lnTo>
                <a:lnTo>
                  <a:pt x="668274" y="1066800"/>
                </a:lnTo>
                <a:lnTo>
                  <a:pt x="655193" y="1130300"/>
                </a:lnTo>
                <a:lnTo>
                  <a:pt x="650494" y="1181100"/>
                </a:lnTo>
                <a:lnTo>
                  <a:pt x="649985" y="1193800"/>
                </a:lnTo>
                <a:lnTo>
                  <a:pt x="649985" y="1600200"/>
                </a:lnTo>
                <a:lnTo>
                  <a:pt x="678942" y="1600200"/>
                </a:lnTo>
                <a:lnTo>
                  <a:pt x="678942" y="1193800"/>
                </a:lnTo>
                <a:lnTo>
                  <a:pt x="680466" y="1155700"/>
                </a:lnTo>
                <a:lnTo>
                  <a:pt x="683895" y="1130300"/>
                </a:lnTo>
                <a:lnTo>
                  <a:pt x="689228" y="1104900"/>
                </a:lnTo>
                <a:lnTo>
                  <a:pt x="688975" y="1104900"/>
                </a:lnTo>
                <a:lnTo>
                  <a:pt x="696086" y="1079500"/>
                </a:lnTo>
                <a:lnTo>
                  <a:pt x="695832" y="1079500"/>
                </a:lnTo>
                <a:lnTo>
                  <a:pt x="704469" y="1054100"/>
                </a:lnTo>
                <a:lnTo>
                  <a:pt x="704087" y="1054100"/>
                </a:lnTo>
                <a:lnTo>
                  <a:pt x="714248" y="1028700"/>
                </a:lnTo>
                <a:lnTo>
                  <a:pt x="713740" y="1028700"/>
                </a:lnTo>
                <a:lnTo>
                  <a:pt x="725170" y="1003300"/>
                </a:lnTo>
                <a:lnTo>
                  <a:pt x="724661" y="1003300"/>
                </a:lnTo>
                <a:lnTo>
                  <a:pt x="737234" y="990600"/>
                </a:lnTo>
                <a:lnTo>
                  <a:pt x="736600" y="990600"/>
                </a:lnTo>
                <a:lnTo>
                  <a:pt x="750316" y="965200"/>
                </a:lnTo>
                <a:lnTo>
                  <a:pt x="749553" y="965200"/>
                </a:lnTo>
                <a:lnTo>
                  <a:pt x="764158" y="952500"/>
                </a:lnTo>
                <a:lnTo>
                  <a:pt x="763397" y="952500"/>
                </a:lnTo>
                <a:lnTo>
                  <a:pt x="778891" y="939800"/>
                </a:lnTo>
                <a:lnTo>
                  <a:pt x="778128" y="939800"/>
                </a:lnTo>
                <a:lnTo>
                  <a:pt x="794130" y="927100"/>
                </a:lnTo>
                <a:lnTo>
                  <a:pt x="793369" y="927100"/>
                </a:lnTo>
                <a:lnTo>
                  <a:pt x="809878" y="914400"/>
                </a:lnTo>
                <a:lnTo>
                  <a:pt x="809117" y="914400"/>
                </a:lnTo>
                <a:lnTo>
                  <a:pt x="826134" y="901700"/>
                </a:lnTo>
                <a:lnTo>
                  <a:pt x="841882" y="901700"/>
                </a:lnTo>
                <a:lnTo>
                  <a:pt x="859154" y="889000"/>
                </a:lnTo>
                <a:lnTo>
                  <a:pt x="858393" y="889000"/>
                </a:lnTo>
                <a:lnTo>
                  <a:pt x="875792" y="876300"/>
                </a:lnTo>
                <a:close/>
              </a:path>
              <a:path w="2169795" h="1778000">
                <a:moveTo>
                  <a:pt x="110490" y="1066800"/>
                </a:moveTo>
                <a:lnTo>
                  <a:pt x="62483" y="1066800"/>
                </a:lnTo>
                <a:lnTo>
                  <a:pt x="54736" y="1079500"/>
                </a:lnTo>
                <a:lnTo>
                  <a:pt x="41655" y="1092200"/>
                </a:lnTo>
                <a:lnTo>
                  <a:pt x="14985" y="1130300"/>
                </a:lnTo>
                <a:lnTo>
                  <a:pt x="3301" y="1168400"/>
                </a:lnTo>
                <a:lnTo>
                  <a:pt x="1524" y="1181100"/>
                </a:lnTo>
                <a:lnTo>
                  <a:pt x="30099" y="1181100"/>
                </a:lnTo>
                <a:lnTo>
                  <a:pt x="31750" y="1168400"/>
                </a:lnTo>
                <a:lnTo>
                  <a:pt x="33781" y="1168400"/>
                </a:lnTo>
                <a:lnTo>
                  <a:pt x="37337" y="1155700"/>
                </a:lnTo>
                <a:lnTo>
                  <a:pt x="36956" y="1155700"/>
                </a:lnTo>
                <a:lnTo>
                  <a:pt x="41782" y="1143000"/>
                </a:lnTo>
                <a:lnTo>
                  <a:pt x="41275" y="1143000"/>
                </a:lnTo>
                <a:lnTo>
                  <a:pt x="47751" y="1130300"/>
                </a:lnTo>
                <a:lnTo>
                  <a:pt x="46990" y="1130300"/>
                </a:lnTo>
                <a:lnTo>
                  <a:pt x="54991" y="1117600"/>
                </a:lnTo>
                <a:lnTo>
                  <a:pt x="54101" y="1117600"/>
                </a:lnTo>
                <a:lnTo>
                  <a:pt x="63880" y="1104900"/>
                </a:lnTo>
                <a:lnTo>
                  <a:pt x="62737" y="1104900"/>
                </a:lnTo>
                <a:lnTo>
                  <a:pt x="74675" y="1092200"/>
                </a:lnTo>
                <a:lnTo>
                  <a:pt x="79628" y="1092200"/>
                </a:lnTo>
                <a:lnTo>
                  <a:pt x="86995" y="1079500"/>
                </a:lnTo>
                <a:lnTo>
                  <a:pt x="101219" y="1079500"/>
                </a:lnTo>
                <a:lnTo>
                  <a:pt x="110490" y="1066800"/>
                </a:lnTo>
                <a:close/>
              </a:path>
              <a:path w="2169795" h="1778000">
                <a:moveTo>
                  <a:pt x="119506" y="1066800"/>
                </a:moveTo>
                <a:lnTo>
                  <a:pt x="110490" y="1066800"/>
                </a:lnTo>
                <a:lnTo>
                  <a:pt x="109600" y="1079500"/>
                </a:lnTo>
                <a:lnTo>
                  <a:pt x="119506" y="1066800"/>
                </a:lnTo>
                <a:close/>
              </a:path>
              <a:path w="2169795" h="1778000">
                <a:moveTo>
                  <a:pt x="402844" y="1054100"/>
                </a:moveTo>
                <a:lnTo>
                  <a:pt x="79501" y="1054100"/>
                </a:lnTo>
                <a:lnTo>
                  <a:pt x="70738" y="1066800"/>
                </a:lnTo>
                <a:lnTo>
                  <a:pt x="395224" y="1066800"/>
                </a:lnTo>
                <a:lnTo>
                  <a:pt x="402844" y="1054100"/>
                </a:lnTo>
                <a:close/>
              </a:path>
              <a:path w="2169795" h="1778000">
                <a:moveTo>
                  <a:pt x="441325" y="1041400"/>
                </a:moveTo>
                <a:lnTo>
                  <a:pt x="99186" y="1041400"/>
                </a:lnTo>
                <a:lnTo>
                  <a:pt x="88900" y="1054100"/>
                </a:lnTo>
                <a:lnTo>
                  <a:pt x="430783" y="1054100"/>
                </a:lnTo>
                <a:lnTo>
                  <a:pt x="441325" y="1041400"/>
                </a:lnTo>
                <a:close/>
              </a:path>
              <a:path w="2169795" h="1778000">
                <a:moveTo>
                  <a:pt x="475742" y="1028700"/>
                </a:moveTo>
                <a:lnTo>
                  <a:pt x="378078" y="1028700"/>
                </a:lnTo>
                <a:lnTo>
                  <a:pt x="373760" y="1041400"/>
                </a:lnTo>
                <a:lnTo>
                  <a:pt x="463803" y="1041400"/>
                </a:lnTo>
                <a:lnTo>
                  <a:pt x="475742" y="1028700"/>
                </a:lnTo>
                <a:close/>
              </a:path>
              <a:path w="2169795" h="1778000">
                <a:moveTo>
                  <a:pt x="512445" y="1003300"/>
                </a:moveTo>
                <a:lnTo>
                  <a:pt x="462660" y="1003300"/>
                </a:lnTo>
                <a:lnTo>
                  <a:pt x="451230" y="1016000"/>
                </a:lnTo>
                <a:lnTo>
                  <a:pt x="431292" y="1016000"/>
                </a:lnTo>
                <a:lnTo>
                  <a:pt x="421258" y="1028700"/>
                </a:lnTo>
                <a:lnTo>
                  <a:pt x="487806" y="1028700"/>
                </a:lnTo>
                <a:lnTo>
                  <a:pt x="512445" y="1003300"/>
                </a:lnTo>
                <a:close/>
              </a:path>
              <a:path w="2169795" h="1778000">
                <a:moveTo>
                  <a:pt x="568959" y="901700"/>
                </a:moveTo>
                <a:lnTo>
                  <a:pt x="559053" y="927100"/>
                </a:lnTo>
                <a:lnTo>
                  <a:pt x="559561" y="927100"/>
                </a:lnTo>
                <a:lnTo>
                  <a:pt x="549148" y="939800"/>
                </a:lnTo>
                <a:lnTo>
                  <a:pt x="549782" y="939800"/>
                </a:lnTo>
                <a:lnTo>
                  <a:pt x="538987" y="952500"/>
                </a:lnTo>
                <a:lnTo>
                  <a:pt x="528827" y="952500"/>
                </a:lnTo>
                <a:lnTo>
                  <a:pt x="517398" y="965200"/>
                </a:lnTo>
                <a:lnTo>
                  <a:pt x="518032" y="965200"/>
                </a:lnTo>
                <a:lnTo>
                  <a:pt x="506475" y="977900"/>
                </a:lnTo>
                <a:lnTo>
                  <a:pt x="506983" y="977900"/>
                </a:lnTo>
                <a:lnTo>
                  <a:pt x="495300" y="990600"/>
                </a:lnTo>
                <a:lnTo>
                  <a:pt x="484758" y="990600"/>
                </a:lnTo>
                <a:lnTo>
                  <a:pt x="473075" y="1003300"/>
                </a:lnTo>
                <a:lnTo>
                  <a:pt x="524763" y="1003300"/>
                </a:lnTo>
                <a:lnTo>
                  <a:pt x="536955" y="990600"/>
                </a:lnTo>
                <a:lnTo>
                  <a:pt x="572134" y="952500"/>
                </a:lnTo>
                <a:lnTo>
                  <a:pt x="598233" y="914400"/>
                </a:lnTo>
                <a:lnTo>
                  <a:pt x="568451" y="914400"/>
                </a:lnTo>
                <a:lnTo>
                  <a:pt x="568959" y="901700"/>
                </a:lnTo>
                <a:close/>
              </a:path>
              <a:path w="2169795" h="1778000">
                <a:moveTo>
                  <a:pt x="605662" y="812800"/>
                </a:moveTo>
                <a:lnTo>
                  <a:pt x="599694" y="838200"/>
                </a:lnTo>
                <a:lnTo>
                  <a:pt x="599948" y="838200"/>
                </a:lnTo>
                <a:lnTo>
                  <a:pt x="592962" y="863600"/>
                </a:lnTo>
                <a:lnTo>
                  <a:pt x="593344" y="863600"/>
                </a:lnTo>
                <a:lnTo>
                  <a:pt x="585470" y="876300"/>
                </a:lnTo>
                <a:lnTo>
                  <a:pt x="585851" y="876300"/>
                </a:lnTo>
                <a:lnTo>
                  <a:pt x="577342" y="889000"/>
                </a:lnTo>
                <a:lnTo>
                  <a:pt x="577723" y="889000"/>
                </a:lnTo>
                <a:lnTo>
                  <a:pt x="568451" y="914400"/>
                </a:lnTo>
                <a:lnTo>
                  <a:pt x="598233" y="914400"/>
                </a:lnTo>
                <a:lnTo>
                  <a:pt x="603123" y="901700"/>
                </a:lnTo>
                <a:lnTo>
                  <a:pt x="612012" y="889000"/>
                </a:lnTo>
                <a:lnTo>
                  <a:pt x="620141" y="863600"/>
                </a:lnTo>
                <a:lnTo>
                  <a:pt x="627506" y="850900"/>
                </a:lnTo>
                <a:lnTo>
                  <a:pt x="633729" y="825500"/>
                </a:lnTo>
                <a:lnTo>
                  <a:pt x="605535" y="825500"/>
                </a:lnTo>
                <a:lnTo>
                  <a:pt x="605662" y="812800"/>
                </a:lnTo>
                <a:close/>
              </a:path>
              <a:path w="2169795" h="1778000">
                <a:moveTo>
                  <a:pt x="968375" y="850900"/>
                </a:moveTo>
                <a:lnTo>
                  <a:pt x="864616" y="850900"/>
                </a:lnTo>
                <a:lnTo>
                  <a:pt x="828801" y="876300"/>
                </a:lnTo>
                <a:lnTo>
                  <a:pt x="891540" y="876300"/>
                </a:lnTo>
                <a:lnTo>
                  <a:pt x="908430" y="863600"/>
                </a:lnTo>
                <a:lnTo>
                  <a:pt x="953897" y="863600"/>
                </a:lnTo>
                <a:lnTo>
                  <a:pt x="968375" y="850900"/>
                </a:lnTo>
                <a:close/>
              </a:path>
              <a:path w="2169795" h="1778000">
                <a:moveTo>
                  <a:pt x="1949830" y="838200"/>
                </a:moveTo>
                <a:lnTo>
                  <a:pt x="899922" y="838200"/>
                </a:lnTo>
                <a:lnTo>
                  <a:pt x="882523" y="850900"/>
                </a:lnTo>
                <a:lnTo>
                  <a:pt x="1928622" y="850900"/>
                </a:lnTo>
                <a:lnTo>
                  <a:pt x="1949830" y="838200"/>
                </a:lnTo>
                <a:close/>
              </a:path>
              <a:path w="2169795" h="1778000">
                <a:moveTo>
                  <a:pt x="1987930" y="825500"/>
                </a:moveTo>
                <a:lnTo>
                  <a:pt x="948944" y="825500"/>
                </a:lnTo>
                <a:lnTo>
                  <a:pt x="933323" y="838200"/>
                </a:lnTo>
                <a:lnTo>
                  <a:pt x="1969516" y="838200"/>
                </a:lnTo>
                <a:lnTo>
                  <a:pt x="1987930" y="825500"/>
                </a:lnTo>
                <a:close/>
              </a:path>
              <a:path w="2169795" h="1778000">
                <a:moveTo>
                  <a:pt x="645795" y="0"/>
                </a:moveTo>
                <a:lnTo>
                  <a:pt x="616838" y="0"/>
                </a:lnTo>
                <a:lnTo>
                  <a:pt x="616838" y="749300"/>
                </a:lnTo>
                <a:lnTo>
                  <a:pt x="614172" y="774700"/>
                </a:lnTo>
                <a:lnTo>
                  <a:pt x="610361" y="800100"/>
                </a:lnTo>
                <a:lnTo>
                  <a:pt x="605535" y="825500"/>
                </a:lnTo>
                <a:lnTo>
                  <a:pt x="633729" y="825500"/>
                </a:lnTo>
                <a:lnTo>
                  <a:pt x="638936" y="800100"/>
                </a:lnTo>
                <a:lnTo>
                  <a:pt x="643001" y="774700"/>
                </a:lnTo>
                <a:lnTo>
                  <a:pt x="645795" y="749300"/>
                </a:lnTo>
                <a:lnTo>
                  <a:pt x="645795" y="0"/>
                </a:lnTo>
                <a:close/>
              </a:path>
              <a:path w="2169795" h="1778000">
                <a:moveTo>
                  <a:pt x="2035555" y="800100"/>
                </a:moveTo>
                <a:lnTo>
                  <a:pt x="1977771" y="800100"/>
                </a:lnTo>
                <a:lnTo>
                  <a:pt x="1960245" y="812800"/>
                </a:lnTo>
                <a:lnTo>
                  <a:pt x="1924177" y="812800"/>
                </a:lnTo>
                <a:lnTo>
                  <a:pt x="1902459" y="825500"/>
                </a:lnTo>
                <a:lnTo>
                  <a:pt x="2005076" y="825500"/>
                </a:lnTo>
                <a:lnTo>
                  <a:pt x="2020951" y="812800"/>
                </a:lnTo>
                <a:lnTo>
                  <a:pt x="2035555" y="800100"/>
                </a:lnTo>
                <a:close/>
              </a:path>
              <a:path w="2169795" h="1778000">
                <a:moveTo>
                  <a:pt x="2126487" y="673100"/>
                </a:moveTo>
                <a:lnTo>
                  <a:pt x="2098929" y="673100"/>
                </a:lnTo>
                <a:lnTo>
                  <a:pt x="2095119" y="685800"/>
                </a:lnTo>
                <a:lnTo>
                  <a:pt x="2091308" y="685800"/>
                </a:lnTo>
                <a:lnTo>
                  <a:pt x="2086102" y="698500"/>
                </a:lnTo>
                <a:lnTo>
                  <a:pt x="2086482" y="698500"/>
                </a:lnTo>
                <a:lnTo>
                  <a:pt x="2080641" y="711200"/>
                </a:lnTo>
                <a:lnTo>
                  <a:pt x="2081022" y="711200"/>
                </a:lnTo>
                <a:lnTo>
                  <a:pt x="2074418" y="723900"/>
                </a:lnTo>
                <a:lnTo>
                  <a:pt x="2074799" y="723900"/>
                </a:lnTo>
                <a:lnTo>
                  <a:pt x="2067305" y="736600"/>
                </a:lnTo>
                <a:lnTo>
                  <a:pt x="2067813" y="736600"/>
                </a:lnTo>
                <a:lnTo>
                  <a:pt x="2059431" y="749300"/>
                </a:lnTo>
                <a:lnTo>
                  <a:pt x="2051430" y="749300"/>
                </a:lnTo>
                <a:lnTo>
                  <a:pt x="2041017" y="762000"/>
                </a:lnTo>
                <a:lnTo>
                  <a:pt x="2041778" y="762000"/>
                </a:lnTo>
                <a:lnTo>
                  <a:pt x="2030349" y="774700"/>
                </a:lnTo>
                <a:lnTo>
                  <a:pt x="2031110" y="774700"/>
                </a:lnTo>
                <a:lnTo>
                  <a:pt x="2018665" y="787400"/>
                </a:lnTo>
                <a:lnTo>
                  <a:pt x="2006727" y="787400"/>
                </a:lnTo>
                <a:lnTo>
                  <a:pt x="1991868" y="800100"/>
                </a:lnTo>
                <a:lnTo>
                  <a:pt x="2048891" y="800100"/>
                </a:lnTo>
                <a:lnTo>
                  <a:pt x="2061082" y="787400"/>
                </a:lnTo>
                <a:lnTo>
                  <a:pt x="2091181" y="749300"/>
                </a:lnTo>
                <a:lnTo>
                  <a:pt x="2112391" y="711200"/>
                </a:lnTo>
                <a:lnTo>
                  <a:pt x="2122424" y="685800"/>
                </a:lnTo>
                <a:lnTo>
                  <a:pt x="2126487" y="673100"/>
                </a:lnTo>
                <a:close/>
              </a:path>
              <a:path w="2169795" h="1778000">
                <a:moveTo>
                  <a:pt x="2019553" y="774700"/>
                </a:moveTo>
                <a:lnTo>
                  <a:pt x="2005837" y="787400"/>
                </a:lnTo>
                <a:lnTo>
                  <a:pt x="2018665" y="787400"/>
                </a:lnTo>
                <a:lnTo>
                  <a:pt x="2019553" y="774700"/>
                </a:lnTo>
                <a:close/>
              </a:path>
              <a:path w="2169795" h="1778000">
                <a:moveTo>
                  <a:pt x="2139569" y="609600"/>
                </a:moveTo>
                <a:lnTo>
                  <a:pt x="2110104" y="609600"/>
                </a:lnTo>
                <a:lnTo>
                  <a:pt x="2109216" y="622300"/>
                </a:lnTo>
                <a:lnTo>
                  <a:pt x="2107946" y="635000"/>
                </a:lnTo>
                <a:lnTo>
                  <a:pt x="2106422" y="635000"/>
                </a:lnTo>
                <a:lnTo>
                  <a:pt x="2101723" y="660400"/>
                </a:lnTo>
                <a:lnTo>
                  <a:pt x="2101977" y="660400"/>
                </a:lnTo>
                <a:lnTo>
                  <a:pt x="2098802" y="673100"/>
                </a:lnTo>
                <a:lnTo>
                  <a:pt x="2129790" y="673100"/>
                </a:lnTo>
                <a:lnTo>
                  <a:pt x="2134743" y="647700"/>
                </a:lnTo>
                <a:lnTo>
                  <a:pt x="2136648" y="635000"/>
                </a:lnTo>
                <a:lnTo>
                  <a:pt x="2137918" y="622300"/>
                </a:lnTo>
                <a:lnTo>
                  <a:pt x="2138933" y="622300"/>
                </a:lnTo>
                <a:lnTo>
                  <a:pt x="2139569" y="609600"/>
                </a:lnTo>
                <a:close/>
              </a:path>
              <a:path w="2169795" h="1778000">
                <a:moveTo>
                  <a:pt x="2140330" y="596900"/>
                </a:moveTo>
                <a:lnTo>
                  <a:pt x="2111121" y="596900"/>
                </a:lnTo>
                <a:lnTo>
                  <a:pt x="2110740" y="609600"/>
                </a:lnTo>
                <a:lnTo>
                  <a:pt x="2139950" y="609600"/>
                </a:lnTo>
                <a:lnTo>
                  <a:pt x="2140330" y="596900"/>
                </a:lnTo>
                <a:close/>
              </a:path>
              <a:path w="2169795" h="1778000">
                <a:moveTo>
                  <a:pt x="2140330" y="76200"/>
                </a:moveTo>
                <a:lnTo>
                  <a:pt x="2111375" y="76200"/>
                </a:lnTo>
                <a:lnTo>
                  <a:pt x="2111502" y="596900"/>
                </a:lnTo>
                <a:lnTo>
                  <a:pt x="2111502" y="584200"/>
                </a:lnTo>
                <a:lnTo>
                  <a:pt x="2140330" y="584200"/>
                </a:lnTo>
                <a:lnTo>
                  <a:pt x="2140330" y="76200"/>
                </a:lnTo>
                <a:close/>
              </a:path>
              <a:path w="2169795" h="1778000">
                <a:moveTo>
                  <a:pt x="2140457" y="584200"/>
                </a:moveTo>
                <a:lnTo>
                  <a:pt x="2111502" y="584200"/>
                </a:lnTo>
                <a:lnTo>
                  <a:pt x="2111502" y="596900"/>
                </a:lnTo>
                <a:lnTo>
                  <a:pt x="2140457" y="596900"/>
                </a:lnTo>
                <a:lnTo>
                  <a:pt x="2140457" y="584200"/>
                </a:lnTo>
                <a:close/>
              </a:path>
              <a:path w="2169795" h="1778000">
                <a:moveTo>
                  <a:pt x="2156571" y="38100"/>
                </a:moveTo>
                <a:lnTo>
                  <a:pt x="2095134" y="38100"/>
                </a:lnTo>
                <a:lnTo>
                  <a:pt x="2085830" y="50800"/>
                </a:lnTo>
                <a:lnTo>
                  <a:pt x="2082419" y="76200"/>
                </a:lnTo>
                <a:lnTo>
                  <a:pt x="2085830" y="88900"/>
                </a:lnTo>
                <a:lnTo>
                  <a:pt x="2095134" y="101600"/>
                </a:lnTo>
                <a:lnTo>
                  <a:pt x="2108940" y="114300"/>
                </a:lnTo>
                <a:lnTo>
                  <a:pt x="2111375" y="114300"/>
                </a:lnTo>
                <a:lnTo>
                  <a:pt x="2111375" y="76200"/>
                </a:lnTo>
                <a:lnTo>
                  <a:pt x="2169286" y="76200"/>
                </a:lnTo>
                <a:lnTo>
                  <a:pt x="2165875" y="50800"/>
                </a:lnTo>
                <a:lnTo>
                  <a:pt x="2156571" y="38100"/>
                </a:lnTo>
                <a:close/>
              </a:path>
              <a:path w="2169795" h="1778000">
                <a:moveTo>
                  <a:pt x="2169286" y="76200"/>
                </a:moveTo>
                <a:lnTo>
                  <a:pt x="2140330" y="76200"/>
                </a:lnTo>
                <a:lnTo>
                  <a:pt x="2140330" y="114300"/>
                </a:lnTo>
                <a:lnTo>
                  <a:pt x="2142765" y="114300"/>
                </a:lnTo>
                <a:lnTo>
                  <a:pt x="2156571" y="101600"/>
                </a:lnTo>
                <a:lnTo>
                  <a:pt x="2165875" y="88900"/>
                </a:lnTo>
                <a:lnTo>
                  <a:pt x="2169286" y="76200"/>
                </a:lnTo>
                <a:close/>
              </a:path>
              <a:path w="2169795" h="1778000">
                <a:moveTo>
                  <a:pt x="2125853" y="25400"/>
                </a:moveTo>
                <a:lnTo>
                  <a:pt x="2108940" y="38100"/>
                </a:lnTo>
                <a:lnTo>
                  <a:pt x="2142765" y="38100"/>
                </a:lnTo>
                <a:lnTo>
                  <a:pt x="2125853" y="25400"/>
                </a:lnTo>
                <a:close/>
              </a:path>
            </a:pathLst>
          </a:custGeom>
          <a:solidFill>
            <a:srgbClr val="15626B"/>
          </a:solidFill>
        </p:spPr>
        <p:txBody>
          <a:bodyPr wrap="square" lIns="0" tIns="0" rIns="0" bIns="0" rtlCol="0"/>
          <a:lstStyle/>
          <a:p>
            <a:endParaRPr/>
          </a:p>
        </p:txBody>
      </p:sp>
      <p:sp>
        <p:nvSpPr>
          <p:cNvPr id="45" name="object 45"/>
          <p:cNvSpPr txBox="1"/>
          <p:nvPr/>
        </p:nvSpPr>
        <p:spPr>
          <a:xfrm>
            <a:off x="10327385" y="3454146"/>
            <a:ext cx="1199515" cy="711835"/>
          </a:xfrm>
          <a:prstGeom prst="rect">
            <a:avLst/>
          </a:prstGeom>
        </p:spPr>
        <p:txBody>
          <a:bodyPr vert="horz" wrap="square" lIns="0" tIns="12700" rIns="0" bIns="0" rtlCol="0">
            <a:spAutoFit/>
          </a:bodyPr>
          <a:lstStyle/>
          <a:p>
            <a:pPr marL="12700" marR="5080">
              <a:lnSpc>
                <a:spcPct val="100000"/>
              </a:lnSpc>
              <a:spcBef>
                <a:spcPts val="100"/>
              </a:spcBef>
            </a:pPr>
            <a:r>
              <a:rPr sz="900">
                <a:latin typeface="Verdana"/>
                <a:cs typeface="Verdana"/>
              </a:rPr>
              <a:t>Digital </a:t>
            </a:r>
            <a:r>
              <a:rPr sz="900" spc="-5">
                <a:latin typeface="Verdana"/>
                <a:cs typeface="Verdana"/>
              </a:rPr>
              <a:t>readiness  assessment, helping  </a:t>
            </a:r>
            <a:r>
              <a:rPr sz="900">
                <a:latin typeface="Verdana"/>
                <a:cs typeface="Verdana"/>
              </a:rPr>
              <a:t>customers in Digital  </a:t>
            </a:r>
            <a:r>
              <a:rPr sz="900" spc="-5">
                <a:latin typeface="Verdana"/>
                <a:cs typeface="Verdana"/>
              </a:rPr>
              <a:t>strategy, </a:t>
            </a:r>
            <a:r>
              <a:rPr sz="900">
                <a:latin typeface="Verdana"/>
                <a:cs typeface="Verdana"/>
              </a:rPr>
              <a:t>roadmap,  </a:t>
            </a:r>
            <a:r>
              <a:rPr sz="900" spc="-5">
                <a:latin typeface="Verdana"/>
                <a:cs typeface="Verdana"/>
              </a:rPr>
              <a:t>and execution</a:t>
            </a:r>
            <a:endParaRPr sz="900">
              <a:latin typeface="Verdana"/>
              <a:cs typeface="Verdana"/>
            </a:endParaRPr>
          </a:p>
        </p:txBody>
      </p:sp>
      <p:sp>
        <p:nvSpPr>
          <p:cNvPr id="46" name="object 46"/>
          <p:cNvSpPr/>
          <p:nvPr/>
        </p:nvSpPr>
        <p:spPr>
          <a:xfrm>
            <a:off x="9919716" y="5355335"/>
            <a:ext cx="0" cy="175260"/>
          </a:xfrm>
          <a:custGeom>
            <a:avLst/>
            <a:gdLst/>
            <a:ahLst/>
            <a:cxnLst/>
            <a:rect l="l" t="t" r="r" b="b"/>
            <a:pathLst>
              <a:path h="175260">
                <a:moveTo>
                  <a:pt x="0" y="0"/>
                </a:moveTo>
                <a:lnTo>
                  <a:pt x="0" y="175005"/>
                </a:lnTo>
              </a:path>
            </a:pathLst>
          </a:custGeom>
          <a:ln w="57912">
            <a:solidFill>
              <a:srgbClr val="15626B"/>
            </a:solidFill>
          </a:ln>
        </p:spPr>
        <p:txBody>
          <a:bodyPr wrap="square" lIns="0" tIns="0" rIns="0" bIns="0" rtlCol="0"/>
          <a:lstStyle/>
          <a:p>
            <a:endParaRPr/>
          </a:p>
        </p:txBody>
      </p:sp>
      <p:sp>
        <p:nvSpPr>
          <p:cNvPr id="47" name="object 47"/>
          <p:cNvSpPr/>
          <p:nvPr/>
        </p:nvSpPr>
        <p:spPr>
          <a:xfrm>
            <a:off x="10130028" y="3550920"/>
            <a:ext cx="165100" cy="158750"/>
          </a:xfrm>
          <a:custGeom>
            <a:avLst/>
            <a:gdLst/>
            <a:ahLst/>
            <a:cxnLst/>
            <a:rect l="l" t="t" r="r" b="b"/>
            <a:pathLst>
              <a:path w="165100" h="158750">
                <a:moveTo>
                  <a:pt x="164592" y="0"/>
                </a:moveTo>
                <a:lnTo>
                  <a:pt x="0" y="0"/>
                </a:lnTo>
                <a:lnTo>
                  <a:pt x="82296" y="158495"/>
                </a:lnTo>
                <a:lnTo>
                  <a:pt x="164592" y="0"/>
                </a:lnTo>
                <a:close/>
              </a:path>
            </a:pathLst>
          </a:custGeom>
          <a:solidFill>
            <a:srgbClr val="15626B"/>
          </a:solidFill>
        </p:spPr>
        <p:txBody>
          <a:bodyPr wrap="square" lIns="0" tIns="0" rIns="0" bIns="0" rtlCol="0"/>
          <a:lstStyle/>
          <a:p>
            <a:endParaRPr/>
          </a:p>
        </p:txBody>
      </p:sp>
      <p:sp>
        <p:nvSpPr>
          <p:cNvPr id="48" name="object 48"/>
          <p:cNvSpPr/>
          <p:nvPr/>
        </p:nvSpPr>
        <p:spPr>
          <a:xfrm>
            <a:off x="9057131" y="5522976"/>
            <a:ext cx="1725295" cy="370840"/>
          </a:xfrm>
          <a:custGeom>
            <a:avLst/>
            <a:gdLst/>
            <a:ahLst/>
            <a:cxnLst/>
            <a:rect l="l" t="t" r="r" b="b"/>
            <a:pathLst>
              <a:path w="1725295" h="370839">
                <a:moveTo>
                  <a:pt x="1663446" y="0"/>
                </a:moveTo>
                <a:lnTo>
                  <a:pt x="61722" y="0"/>
                </a:lnTo>
                <a:lnTo>
                  <a:pt x="37719" y="4857"/>
                </a:lnTo>
                <a:lnTo>
                  <a:pt x="18097" y="18097"/>
                </a:lnTo>
                <a:lnTo>
                  <a:pt x="4857" y="37719"/>
                </a:lnTo>
                <a:lnTo>
                  <a:pt x="0" y="61721"/>
                </a:lnTo>
                <a:lnTo>
                  <a:pt x="0" y="308610"/>
                </a:lnTo>
                <a:lnTo>
                  <a:pt x="4857" y="332634"/>
                </a:lnTo>
                <a:lnTo>
                  <a:pt x="18097" y="352253"/>
                </a:lnTo>
                <a:lnTo>
                  <a:pt x="37719" y="365481"/>
                </a:lnTo>
                <a:lnTo>
                  <a:pt x="61722" y="370332"/>
                </a:lnTo>
                <a:lnTo>
                  <a:pt x="1663446" y="370332"/>
                </a:lnTo>
                <a:lnTo>
                  <a:pt x="1687449" y="365481"/>
                </a:lnTo>
                <a:lnTo>
                  <a:pt x="1707070" y="352253"/>
                </a:lnTo>
                <a:lnTo>
                  <a:pt x="1720310" y="332634"/>
                </a:lnTo>
                <a:lnTo>
                  <a:pt x="1725168" y="308610"/>
                </a:lnTo>
                <a:lnTo>
                  <a:pt x="1725168" y="61721"/>
                </a:lnTo>
                <a:lnTo>
                  <a:pt x="1720310" y="37719"/>
                </a:lnTo>
                <a:lnTo>
                  <a:pt x="1707070" y="18097"/>
                </a:lnTo>
                <a:lnTo>
                  <a:pt x="1687449" y="4857"/>
                </a:lnTo>
                <a:lnTo>
                  <a:pt x="1663446" y="0"/>
                </a:lnTo>
                <a:close/>
              </a:path>
            </a:pathLst>
          </a:custGeom>
          <a:solidFill>
            <a:srgbClr val="15626B"/>
          </a:solidFill>
        </p:spPr>
        <p:txBody>
          <a:bodyPr wrap="square" lIns="0" tIns="0" rIns="0" bIns="0" rtlCol="0"/>
          <a:lstStyle/>
          <a:p>
            <a:endParaRPr/>
          </a:p>
        </p:txBody>
      </p:sp>
      <p:sp>
        <p:nvSpPr>
          <p:cNvPr id="49" name="object 49"/>
          <p:cNvSpPr txBox="1"/>
          <p:nvPr/>
        </p:nvSpPr>
        <p:spPr>
          <a:xfrm>
            <a:off x="9480550" y="5626709"/>
            <a:ext cx="880744" cy="162560"/>
          </a:xfrm>
          <a:prstGeom prst="rect">
            <a:avLst/>
          </a:prstGeom>
        </p:spPr>
        <p:txBody>
          <a:bodyPr vert="horz" wrap="square" lIns="0" tIns="12700" rIns="0" bIns="0" rtlCol="0">
            <a:spAutoFit/>
          </a:bodyPr>
          <a:lstStyle/>
          <a:p>
            <a:pPr marL="12700">
              <a:lnSpc>
                <a:spcPct val="100000"/>
              </a:lnSpc>
              <a:spcBef>
                <a:spcPts val="100"/>
              </a:spcBef>
            </a:pPr>
            <a:r>
              <a:rPr sz="900" b="1" spc="-5">
                <a:solidFill>
                  <a:srgbClr val="FFFFFF"/>
                </a:solidFill>
                <a:latin typeface="Verdana"/>
                <a:cs typeface="Verdana"/>
              </a:rPr>
              <a:t>Digitalization</a:t>
            </a:r>
            <a:endParaRPr sz="900">
              <a:latin typeface="Verdana"/>
              <a:cs typeface="Verdana"/>
            </a:endParaRPr>
          </a:p>
        </p:txBody>
      </p:sp>
      <p:sp>
        <p:nvSpPr>
          <p:cNvPr id="50" name="object 50"/>
          <p:cNvSpPr/>
          <p:nvPr/>
        </p:nvSpPr>
        <p:spPr>
          <a:xfrm>
            <a:off x="390143" y="5522976"/>
            <a:ext cx="1724025" cy="370840"/>
          </a:xfrm>
          <a:custGeom>
            <a:avLst/>
            <a:gdLst/>
            <a:ahLst/>
            <a:cxnLst/>
            <a:rect l="l" t="t" r="r" b="b"/>
            <a:pathLst>
              <a:path w="1724025" h="370839">
                <a:moveTo>
                  <a:pt x="1661922" y="0"/>
                </a:moveTo>
                <a:lnTo>
                  <a:pt x="61721" y="0"/>
                </a:lnTo>
                <a:lnTo>
                  <a:pt x="37697" y="4857"/>
                </a:lnTo>
                <a:lnTo>
                  <a:pt x="18078" y="18097"/>
                </a:lnTo>
                <a:lnTo>
                  <a:pt x="4850" y="37719"/>
                </a:lnTo>
                <a:lnTo>
                  <a:pt x="0" y="61721"/>
                </a:lnTo>
                <a:lnTo>
                  <a:pt x="0" y="308610"/>
                </a:lnTo>
                <a:lnTo>
                  <a:pt x="4850" y="332634"/>
                </a:lnTo>
                <a:lnTo>
                  <a:pt x="18078" y="352253"/>
                </a:lnTo>
                <a:lnTo>
                  <a:pt x="37697" y="365481"/>
                </a:lnTo>
                <a:lnTo>
                  <a:pt x="61721" y="370332"/>
                </a:lnTo>
                <a:lnTo>
                  <a:pt x="1661922" y="370332"/>
                </a:lnTo>
                <a:lnTo>
                  <a:pt x="1685925" y="365481"/>
                </a:lnTo>
                <a:lnTo>
                  <a:pt x="1705546" y="352253"/>
                </a:lnTo>
                <a:lnTo>
                  <a:pt x="1718786" y="332634"/>
                </a:lnTo>
                <a:lnTo>
                  <a:pt x="1723644" y="308610"/>
                </a:lnTo>
                <a:lnTo>
                  <a:pt x="1723644" y="61721"/>
                </a:lnTo>
                <a:lnTo>
                  <a:pt x="1718786" y="37719"/>
                </a:lnTo>
                <a:lnTo>
                  <a:pt x="1705546" y="18097"/>
                </a:lnTo>
                <a:lnTo>
                  <a:pt x="1685925" y="4857"/>
                </a:lnTo>
                <a:lnTo>
                  <a:pt x="1661922" y="0"/>
                </a:lnTo>
                <a:close/>
              </a:path>
            </a:pathLst>
          </a:custGeom>
          <a:solidFill>
            <a:srgbClr val="FF2F4B"/>
          </a:solidFill>
        </p:spPr>
        <p:txBody>
          <a:bodyPr wrap="square" lIns="0" tIns="0" rIns="0" bIns="0" rtlCol="0"/>
          <a:lstStyle/>
          <a:p>
            <a:endParaRPr/>
          </a:p>
        </p:txBody>
      </p:sp>
      <p:sp>
        <p:nvSpPr>
          <p:cNvPr id="51" name="object 51"/>
          <p:cNvSpPr txBox="1"/>
          <p:nvPr/>
        </p:nvSpPr>
        <p:spPr>
          <a:xfrm>
            <a:off x="589280" y="5558129"/>
            <a:ext cx="1324610" cy="299720"/>
          </a:xfrm>
          <a:prstGeom prst="rect">
            <a:avLst/>
          </a:prstGeom>
        </p:spPr>
        <p:txBody>
          <a:bodyPr vert="horz" wrap="square" lIns="0" tIns="12700" rIns="0" bIns="0" rtlCol="0">
            <a:spAutoFit/>
          </a:bodyPr>
          <a:lstStyle/>
          <a:p>
            <a:pPr marL="478790" marR="5080" indent="-466725">
              <a:lnSpc>
                <a:spcPct val="100000"/>
              </a:lnSpc>
              <a:spcBef>
                <a:spcPts val="100"/>
              </a:spcBef>
            </a:pPr>
            <a:r>
              <a:rPr sz="900" b="1" spc="-5">
                <a:solidFill>
                  <a:srgbClr val="FFFFFF"/>
                </a:solidFill>
                <a:latin typeface="Verdana"/>
                <a:cs typeface="Verdana"/>
              </a:rPr>
              <a:t>Transition </a:t>
            </a:r>
            <a:r>
              <a:rPr sz="900" b="1">
                <a:solidFill>
                  <a:srgbClr val="FFFFFF"/>
                </a:solidFill>
                <a:latin typeface="Verdana"/>
                <a:cs typeface="Verdana"/>
              </a:rPr>
              <a:t>&amp; </a:t>
            </a:r>
            <a:r>
              <a:rPr sz="900" b="1" spc="-5">
                <a:solidFill>
                  <a:srgbClr val="FFFFFF"/>
                </a:solidFill>
                <a:latin typeface="Verdana"/>
                <a:cs typeface="Verdana"/>
              </a:rPr>
              <a:t>Service  Setup</a:t>
            </a:r>
            <a:endParaRPr sz="900">
              <a:latin typeface="Verdana"/>
              <a:cs typeface="Verdana"/>
            </a:endParaRPr>
          </a:p>
        </p:txBody>
      </p:sp>
      <p:sp>
        <p:nvSpPr>
          <p:cNvPr id="52" name="object 52"/>
          <p:cNvSpPr/>
          <p:nvPr/>
        </p:nvSpPr>
        <p:spPr>
          <a:xfrm>
            <a:off x="3607308" y="1185672"/>
            <a:ext cx="1849120" cy="368935"/>
          </a:xfrm>
          <a:custGeom>
            <a:avLst/>
            <a:gdLst/>
            <a:ahLst/>
            <a:cxnLst/>
            <a:rect l="l" t="t" r="r" b="b"/>
            <a:pathLst>
              <a:path w="1849120" h="368934">
                <a:moveTo>
                  <a:pt x="1787143" y="0"/>
                </a:moveTo>
                <a:lnTo>
                  <a:pt x="61467" y="0"/>
                </a:lnTo>
                <a:lnTo>
                  <a:pt x="37558" y="4835"/>
                </a:lnTo>
                <a:lnTo>
                  <a:pt x="18018" y="18018"/>
                </a:lnTo>
                <a:lnTo>
                  <a:pt x="4835" y="37558"/>
                </a:lnTo>
                <a:lnTo>
                  <a:pt x="0" y="61467"/>
                </a:lnTo>
                <a:lnTo>
                  <a:pt x="0" y="307339"/>
                </a:lnTo>
                <a:lnTo>
                  <a:pt x="4835" y="331249"/>
                </a:lnTo>
                <a:lnTo>
                  <a:pt x="18018" y="350789"/>
                </a:lnTo>
                <a:lnTo>
                  <a:pt x="37558" y="363972"/>
                </a:lnTo>
                <a:lnTo>
                  <a:pt x="61467" y="368807"/>
                </a:lnTo>
                <a:lnTo>
                  <a:pt x="1787143" y="368807"/>
                </a:lnTo>
                <a:lnTo>
                  <a:pt x="1811053" y="363972"/>
                </a:lnTo>
                <a:lnTo>
                  <a:pt x="1830593" y="350789"/>
                </a:lnTo>
                <a:lnTo>
                  <a:pt x="1843776" y="331249"/>
                </a:lnTo>
                <a:lnTo>
                  <a:pt x="1848612" y="307339"/>
                </a:lnTo>
                <a:lnTo>
                  <a:pt x="1848612" y="61467"/>
                </a:lnTo>
                <a:lnTo>
                  <a:pt x="1843776" y="37558"/>
                </a:lnTo>
                <a:lnTo>
                  <a:pt x="1830593" y="18018"/>
                </a:lnTo>
                <a:lnTo>
                  <a:pt x="1811053" y="4835"/>
                </a:lnTo>
                <a:lnTo>
                  <a:pt x="1787143" y="0"/>
                </a:lnTo>
                <a:close/>
              </a:path>
            </a:pathLst>
          </a:custGeom>
          <a:solidFill>
            <a:srgbClr val="2B133C"/>
          </a:solidFill>
        </p:spPr>
        <p:txBody>
          <a:bodyPr wrap="square" lIns="0" tIns="0" rIns="0" bIns="0" rtlCol="0"/>
          <a:lstStyle/>
          <a:p>
            <a:endParaRPr/>
          </a:p>
        </p:txBody>
      </p:sp>
      <p:sp>
        <p:nvSpPr>
          <p:cNvPr id="53" name="object 53"/>
          <p:cNvSpPr txBox="1"/>
          <p:nvPr/>
        </p:nvSpPr>
        <p:spPr>
          <a:xfrm>
            <a:off x="3764660" y="1219327"/>
            <a:ext cx="1535430" cy="299720"/>
          </a:xfrm>
          <a:prstGeom prst="rect">
            <a:avLst/>
          </a:prstGeom>
        </p:spPr>
        <p:txBody>
          <a:bodyPr vert="horz" wrap="square" lIns="0" tIns="12700" rIns="0" bIns="0" rtlCol="0">
            <a:spAutoFit/>
          </a:bodyPr>
          <a:lstStyle/>
          <a:p>
            <a:pPr marL="227329" marR="5080" indent="-215265">
              <a:lnSpc>
                <a:spcPct val="100000"/>
              </a:lnSpc>
              <a:spcBef>
                <a:spcPts val="100"/>
              </a:spcBef>
            </a:pPr>
            <a:r>
              <a:rPr sz="900" b="1" spc="-5">
                <a:solidFill>
                  <a:srgbClr val="FFFFFF"/>
                </a:solidFill>
                <a:latin typeface="Verdana"/>
                <a:cs typeface="Verdana"/>
              </a:rPr>
              <a:t>Service Improvement </a:t>
            </a:r>
            <a:r>
              <a:rPr sz="900" b="1">
                <a:solidFill>
                  <a:srgbClr val="FFFFFF"/>
                </a:solidFill>
                <a:latin typeface="Verdana"/>
                <a:cs typeface="Verdana"/>
              </a:rPr>
              <a:t>–  </a:t>
            </a:r>
            <a:r>
              <a:rPr sz="900" b="1" spc="-5">
                <a:solidFill>
                  <a:srgbClr val="FFFFFF"/>
                </a:solidFill>
                <a:latin typeface="Verdana"/>
                <a:cs typeface="Verdana"/>
              </a:rPr>
              <a:t>Cost </a:t>
            </a:r>
            <a:r>
              <a:rPr sz="900" b="1">
                <a:solidFill>
                  <a:srgbClr val="FFFFFF"/>
                </a:solidFill>
                <a:latin typeface="Verdana"/>
                <a:cs typeface="Verdana"/>
              </a:rPr>
              <a:t>&amp;</a:t>
            </a:r>
            <a:r>
              <a:rPr sz="900" b="1" spc="-10">
                <a:solidFill>
                  <a:srgbClr val="FFFFFF"/>
                </a:solidFill>
                <a:latin typeface="Verdana"/>
                <a:cs typeface="Verdana"/>
              </a:rPr>
              <a:t> </a:t>
            </a:r>
            <a:r>
              <a:rPr sz="900" b="1" spc="-5">
                <a:solidFill>
                  <a:srgbClr val="FFFFFF"/>
                </a:solidFill>
                <a:latin typeface="Verdana"/>
                <a:cs typeface="Verdana"/>
              </a:rPr>
              <a:t>Efficiency</a:t>
            </a:r>
            <a:endParaRPr sz="900">
              <a:latin typeface="Verdana"/>
              <a:cs typeface="Verdana"/>
            </a:endParaRPr>
          </a:p>
        </p:txBody>
      </p:sp>
      <p:sp>
        <p:nvSpPr>
          <p:cNvPr id="54" name="object 54"/>
          <p:cNvSpPr/>
          <p:nvPr/>
        </p:nvSpPr>
        <p:spPr>
          <a:xfrm>
            <a:off x="6626352" y="1185672"/>
            <a:ext cx="1725295" cy="368935"/>
          </a:xfrm>
          <a:custGeom>
            <a:avLst/>
            <a:gdLst/>
            <a:ahLst/>
            <a:cxnLst/>
            <a:rect l="l" t="t" r="r" b="b"/>
            <a:pathLst>
              <a:path w="1725295" h="368934">
                <a:moveTo>
                  <a:pt x="1663700" y="0"/>
                </a:moveTo>
                <a:lnTo>
                  <a:pt x="61468" y="0"/>
                </a:lnTo>
                <a:lnTo>
                  <a:pt x="37558" y="4835"/>
                </a:lnTo>
                <a:lnTo>
                  <a:pt x="18018" y="18018"/>
                </a:lnTo>
                <a:lnTo>
                  <a:pt x="4835" y="37558"/>
                </a:lnTo>
                <a:lnTo>
                  <a:pt x="0" y="61467"/>
                </a:lnTo>
                <a:lnTo>
                  <a:pt x="0" y="307339"/>
                </a:lnTo>
                <a:lnTo>
                  <a:pt x="4835" y="331249"/>
                </a:lnTo>
                <a:lnTo>
                  <a:pt x="18018" y="350789"/>
                </a:lnTo>
                <a:lnTo>
                  <a:pt x="37558" y="363972"/>
                </a:lnTo>
                <a:lnTo>
                  <a:pt x="61468" y="368807"/>
                </a:lnTo>
                <a:lnTo>
                  <a:pt x="1663700" y="368807"/>
                </a:lnTo>
                <a:lnTo>
                  <a:pt x="1687609" y="363972"/>
                </a:lnTo>
                <a:lnTo>
                  <a:pt x="1707149" y="350789"/>
                </a:lnTo>
                <a:lnTo>
                  <a:pt x="1720332" y="331249"/>
                </a:lnTo>
                <a:lnTo>
                  <a:pt x="1725168" y="307339"/>
                </a:lnTo>
                <a:lnTo>
                  <a:pt x="1725168" y="61467"/>
                </a:lnTo>
                <a:lnTo>
                  <a:pt x="1720332" y="37558"/>
                </a:lnTo>
                <a:lnTo>
                  <a:pt x="1707149" y="18018"/>
                </a:lnTo>
                <a:lnTo>
                  <a:pt x="1687609" y="4835"/>
                </a:lnTo>
                <a:lnTo>
                  <a:pt x="1663700" y="0"/>
                </a:lnTo>
                <a:close/>
              </a:path>
            </a:pathLst>
          </a:custGeom>
          <a:solidFill>
            <a:srgbClr val="FF6227"/>
          </a:solidFill>
        </p:spPr>
        <p:txBody>
          <a:bodyPr wrap="square" lIns="0" tIns="0" rIns="0" bIns="0" rtlCol="0"/>
          <a:lstStyle/>
          <a:p>
            <a:endParaRPr/>
          </a:p>
        </p:txBody>
      </p:sp>
      <p:sp>
        <p:nvSpPr>
          <p:cNvPr id="55" name="object 55"/>
          <p:cNvSpPr txBox="1"/>
          <p:nvPr/>
        </p:nvSpPr>
        <p:spPr>
          <a:xfrm>
            <a:off x="6758178" y="1219327"/>
            <a:ext cx="1463675" cy="286385"/>
          </a:xfrm>
          <a:prstGeom prst="rect">
            <a:avLst/>
          </a:prstGeom>
        </p:spPr>
        <p:txBody>
          <a:bodyPr vert="horz" wrap="square" lIns="0" tIns="28575" rIns="0" bIns="0" rtlCol="0">
            <a:spAutoFit/>
          </a:bodyPr>
          <a:lstStyle/>
          <a:p>
            <a:pPr marL="320040" marR="5080" indent="-307975">
              <a:lnSpc>
                <a:spcPts val="969"/>
              </a:lnSpc>
              <a:spcBef>
                <a:spcPts val="225"/>
              </a:spcBef>
            </a:pPr>
            <a:r>
              <a:rPr sz="900" b="1" spc="-5">
                <a:solidFill>
                  <a:srgbClr val="FFFFFF"/>
                </a:solidFill>
                <a:latin typeface="Verdana"/>
                <a:cs typeface="Verdana"/>
              </a:rPr>
              <a:t>Continuous</a:t>
            </a:r>
            <a:r>
              <a:rPr sz="900" b="1" spc="-60">
                <a:solidFill>
                  <a:srgbClr val="FFFFFF"/>
                </a:solidFill>
                <a:latin typeface="Verdana"/>
                <a:cs typeface="Verdana"/>
              </a:rPr>
              <a:t> </a:t>
            </a:r>
            <a:r>
              <a:rPr sz="900" b="1" spc="-5">
                <a:solidFill>
                  <a:srgbClr val="FFFFFF"/>
                </a:solidFill>
                <a:latin typeface="Verdana"/>
                <a:cs typeface="Verdana"/>
              </a:rPr>
              <a:t>Landscape  Optimization</a:t>
            </a:r>
            <a:endParaRPr sz="900">
              <a:latin typeface="Verdana"/>
              <a:cs typeface="Verdana"/>
            </a:endParaRPr>
          </a:p>
        </p:txBody>
      </p:sp>
      <p:sp>
        <p:nvSpPr>
          <p:cNvPr id="56" name="object 56"/>
          <p:cNvSpPr/>
          <p:nvPr/>
        </p:nvSpPr>
        <p:spPr>
          <a:xfrm>
            <a:off x="9639300" y="1185672"/>
            <a:ext cx="1724025" cy="368935"/>
          </a:xfrm>
          <a:custGeom>
            <a:avLst/>
            <a:gdLst/>
            <a:ahLst/>
            <a:cxnLst/>
            <a:rect l="l" t="t" r="r" b="b"/>
            <a:pathLst>
              <a:path w="1724025" h="368934">
                <a:moveTo>
                  <a:pt x="1662176" y="0"/>
                </a:moveTo>
                <a:lnTo>
                  <a:pt x="61468" y="0"/>
                </a:lnTo>
                <a:lnTo>
                  <a:pt x="37558" y="4835"/>
                </a:lnTo>
                <a:lnTo>
                  <a:pt x="18018" y="18018"/>
                </a:lnTo>
                <a:lnTo>
                  <a:pt x="4835" y="37558"/>
                </a:lnTo>
                <a:lnTo>
                  <a:pt x="0" y="61467"/>
                </a:lnTo>
                <a:lnTo>
                  <a:pt x="0" y="307339"/>
                </a:lnTo>
                <a:lnTo>
                  <a:pt x="4835" y="331249"/>
                </a:lnTo>
                <a:lnTo>
                  <a:pt x="18018" y="350789"/>
                </a:lnTo>
                <a:lnTo>
                  <a:pt x="37558" y="363972"/>
                </a:lnTo>
                <a:lnTo>
                  <a:pt x="61468" y="368807"/>
                </a:lnTo>
                <a:lnTo>
                  <a:pt x="1662176" y="368807"/>
                </a:lnTo>
                <a:lnTo>
                  <a:pt x="1686085" y="363972"/>
                </a:lnTo>
                <a:lnTo>
                  <a:pt x="1705625" y="350789"/>
                </a:lnTo>
                <a:lnTo>
                  <a:pt x="1718808" y="331249"/>
                </a:lnTo>
                <a:lnTo>
                  <a:pt x="1723644" y="307339"/>
                </a:lnTo>
                <a:lnTo>
                  <a:pt x="1723644" y="61467"/>
                </a:lnTo>
                <a:lnTo>
                  <a:pt x="1718808" y="37558"/>
                </a:lnTo>
                <a:lnTo>
                  <a:pt x="1705625" y="18018"/>
                </a:lnTo>
                <a:lnTo>
                  <a:pt x="1686085" y="4835"/>
                </a:lnTo>
                <a:lnTo>
                  <a:pt x="1662176" y="0"/>
                </a:lnTo>
                <a:close/>
              </a:path>
            </a:pathLst>
          </a:custGeom>
          <a:solidFill>
            <a:srgbClr val="CA2980"/>
          </a:solidFill>
        </p:spPr>
        <p:txBody>
          <a:bodyPr wrap="square" lIns="0" tIns="0" rIns="0" bIns="0" rtlCol="0"/>
          <a:lstStyle/>
          <a:p>
            <a:endParaRPr/>
          </a:p>
        </p:txBody>
      </p:sp>
      <p:sp>
        <p:nvSpPr>
          <p:cNvPr id="57" name="object 57"/>
          <p:cNvSpPr txBox="1"/>
          <p:nvPr/>
        </p:nvSpPr>
        <p:spPr>
          <a:xfrm>
            <a:off x="8778367" y="1219327"/>
            <a:ext cx="2357755" cy="1244600"/>
          </a:xfrm>
          <a:prstGeom prst="rect">
            <a:avLst/>
          </a:prstGeom>
        </p:spPr>
        <p:txBody>
          <a:bodyPr vert="horz" wrap="square" lIns="0" tIns="12700" rIns="0" bIns="0" rtlCol="0">
            <a:spAutoFit/>
          </a:bodyPr>
          <a:lstStyle/>
          <a:p>
            <a:pPr marL="1171575" marR="5080" indent="-67310">
              <a:lnSpc>
                <a:spcPct val="100000"/>
              </a:lnSpc>
              <a:spcBef>
                <a:spcPts val="100"/>
              </a:spcBef>
            </a:pPr>
            <a:r>
              <a:rPr sz="900" b="1" spc="-5">
                <a:solidFill>
                  <a:srgbClr val="FFFFFF"/>
                </a:solidFill>
                <a:latin typeface="Verdana"/>
                <a:cs typeface="Verdana"/>
              </a:rPr>
              <a:t>Design Office</a:t>
            </a:r>
            <a:r>
              <a:rPr sz="900" b="1" spc="-65">
                <a:solidFill>
                  <a:srgbClr val="FFFFFF"/>
                </a:solidFill>
                <a:latin typeface="Verdana"/>
                <a:cs typeface="Verdana"/>
              </a:rPr>
              <a:t> </a:t>
            </a:r>
            <a:r>
              <a:rPr sz="900" b="1" spc="-5">
                <a:solidFill>
                  <a:srgbClr val="FFFFFF"/>
                </a:solidFill>
                <a:latin typeface="Verdana"/>
                <a:cs typeface="Verdana"/>
              </a:rPr>
              <a:t>(New  </a:t>
            </a:r>
            <a:r>
              <a:rPr sz="900" b="1">
                <a:solidFill>
                  <a:srgbClr val="FFFFFF"/>
                </a:solidFill>
                <a:latin typeface="Verdana"/>
                <a:cs typeface="Verdana"/>
              </a:rPr>
              <a:t>Tech</a:t>
            </a:r>
            <a:r>
              <a:rPr sz="900" b="1" spc="-35">
                <a:solidFill>
                  <a:srgbClr val="FFFFFF"/>
                </a:solidFill>
                <a:latin typeface="Verdana"/>
                <a:cs typeface="Verdana"/>
              </a:rPr>
              <a:t> </a:t>
            </a:r>
            <a:r>
              <a:rPr sz="900" b="1" spc="-5">
                <a:solidFill>
                  <a:srgbClr val="FFFFFF"/>
                </a:solidFill>
                <a:latin typeface="Verdana"/>
                <a:cs typeface="Verdana"/>
              </a:rPr>
              <a:t>Innovation)</a:t>
            </a:r>
            <a:endParaRPr sz="900">
              <a:latin typeface="Verdana"/>
              <a:cs typeface="Verdana"/>
            </a:endParaRPr>
          </a:p>
          <a:p>
            <a:pPr marL="12700" marR="1010919">
              <a:lnSpc>
                <a:spcPct val="100000"/>
              </a:lnSpc>
              <a:spcBef>
                <a:spcPts val="960"/>
              </a:spcBef>
            </a:pPr>
            <a:r>
              <a:rPr sz="900" spc="-5">
                <a:latin typeface="Verdana"/>
                <a:cs typeface="Verdana"/>
              </a:rPr>
              <a:t>Setup </a:t>
            </a:r>
            <a:r>
              <a:rPr sz="900">
                <a:latin typeface="Verdana"/>
                <a:cs typeface="Verdana"/>
              </a:rPr>
              <a:t>Design </a:t>
            </a:r>
            <a:r>
              <a:rPr sz="900" spc="-5">
                <a:latin typeface="Verdana"/>
                <a:cs typeface="Verdana"/>
              </a:rPr>
              <a:t>Office,  </a:t>
            </a:r>
            <a:r>
              <a:rPr sz="900">
                <a:latin typeface="Verdana"/>
                <a:cs typeface="Verdana"/>
              </a:rPr>
              <a:t>collaborate </a:t>
            </a:r>
            <a:r>
              <a:rPr sz="900" spc="-5">
                <a:latin typeface="Verdana"/>
                <a:cs typeface="Verdana"/>
              </a:rPr>
              <a:t>with  Business </a:t>
            </a:r>
            <a:r>
              <a:rPr sz="900">
                <a:latin typeface="Verdana"/>
                <a:cs typeface="Verdana"/>
              </a:rPr>
              <a:t>&amp; </a:t>
            </a:r>
            <a:r>
              <a:rPr sz="900" spc="-5">
                <a:latin typeface="Verdana"/>
                <a:cs typeface="Verdana"/>
              </a:rPr>
              <a:t>IT,</a:t>
            </a:r>
            <a:r>
              <a:rPr sz="900" spc="-60">
                <a:latin typeface="Verdana"/>
                <a:cs typeface="Verdana"/>
              </a:rPr>
              <a:t> </a:t>
            </a:r>
            <a:r>
              <a:rPr sz="900">
                <a:latin typeface="Verdana"/>
                <a:cs typeface="Verdana"/>
              </a:rPr>
              <a:t>ideation  </a:t>
            </a:r>
            <a:r>
              <a:rPr sz="900" spc="-5">
                <a:latin typeface="Verdana"/>
                <a:cs typeface="Verdana"/>
              </a:rPr>
              <a:t>and POCs, explore AIE  and Innovation  </a:t>
            </a:r>
            <a:r>
              <a:rPr sz="900">
                <a:latin typeface="Verdana"/>
                <a:cs typeface="Verdana"/>
              </a:rPr>
              <a:t>Network</a:t>
            </a:r>
          </a:p>
        </p:txBody>
      </p:sp>
      <p:sp>
        <p:nvSpPr>
          <p:cNvPr id="58" name="object 58"/>
          <p:cNvSpPr/>
          <p:nvPr/>
        </p:nvSpPr>
        <p:spPr>
          <a:xfrm>
            <a:off x="582168" y="3983735"/>
            <a:ext cx="588263" cy="537971"/>
          </a:xfrm>
          <a:prstGeom prst="rect">
            <a:avLst/>
          </a:prstGeom>
          <a:blipFill>
            <a:blip r:embed="rId10" cstate="print"/>
            <a:stretch>
              <a:fillRect/>
            </a:stretch>
          </a:blipFill>
        </p:spPr>
        <p:txBody>
          <a:bodyPr wrap="square" lIns="0" tIns="0" rIns="0" bIns="0" rtlCol="0"/>
          <a:lstStyle/>
          <a:p>
            <a:endParaRPr/>
          </a:p>
        </p:txBody>
      </p:sp>
      <p:sp>
        <p:nvSpPr>
          <p:cNvPr id="59" name="object 59"/>
          <p:cNvSpPr/>
          <p:nvPr/>
        </p:nvSpPr>
        <p:spPr>
          <a:xfrm>
            <a:off x="2843783" y="3279647"/>
            <a:ext cx="1277112" cy="774191"/>
          </a:xfrm>
          <a:prstGeom prst="rect">
            <a:avLst/>
          </a:prstGeom>
          <a:blipFill>
            <a:blip r:embed="rId11" cstate="print"/>
            <a:stretch>
              <a:fillRect/>
            </a:stretch>
          </a:blipFill>
        </p:spPr>
        <p:txBody>
          <a:bodyPr wrap="square" lIns="0" tIns="0" rIns="0" bIns="0" rtlCol="0"/>
          <a:lstStyle/>
          <a:p>
            <a:endParaRPr/>
          </a:p>
        </p:txBody>
      </p:sp>
      <p:sp>
        <p:nvSpPr>
          <p:cNvPr id="60" name="object 60"/>
          <p:cNvSpPr/>
          <p:nvPr/>
        </p:nvSpPr>
        <p:spPr>
          <a:xfrm>
            <a:off x="4343400" y="4440935"/>
            <a:ext cx="1522476" cy="553212"/>
          </a:xfrm>
          <a:prstGeom prst="rect">
            <a:avLst/>
          </a:prstGeom>
          <a:blipFill>
            <a:blip r:embed="rId12" cstate="print"/>
            <a:stretch>
              <a:fillRect/>
            </a:stretch>
          </a:blipFill>
        </p:spPr>
        <p:txBody>
          <a:bodyPr wrap="square" lIns="0" tIns="0" rIns="0" bIns="0" rtlCol="0"/>
          <a:lstStyle/>
          <a:p>
            <a:endParaRPr/>
          </a:p>
        </p:txBody>
      </p:sp>
      <p:sp>
        <p:nvSpPr>
          <p:cNvPr id="61" name="object 61"/>
          <p:cNvSpPr/>
          <p:nvPr/>
        </p:nvSpPr>
        <p:spPr>
          <a:xfrm>
            <a:off x="6668689" y="4779922"/>
            <a:ext cx="518159" cy="530225"/>
          </a:xfrm>
          <a:custGeom>
            <a:avLst/>
            <a:gdLst/>
            <a:ahLst/>
            <a:cxnLst/>
            <a:rect l="l" t="t" r="r" b="b"/>
            <a:pathLst>
              <a:path w="518159" h="530225">
                <a:moveTo>
                  <a:pt x="267118" y="0"/>
                </a:moveTo>
                <a:lnTo>
                  <a:pt x="222645" y="2540"/>
                </a:lnTo>
                <a:lnTo>
                  <a:pt x="178641" y="13398"/>
                </a:lnTo>
                <a:lnTo>
                  <a:pt x="136096" y="32869"/>
                </a:lnTo>
                <a:lnTo>
                  <a:pt x="96816" y="59979"/>
                </a:lnTo>
                <a:lnTo>
                  <a:pt x="63762" y="92870"/>
                </a:lnTo>
                <a:lnTo>
                  <a:pt x="37243" y="130513"/>
                </a:lnTo>
                <a:lnTo>
                  <a:pt x="17571" y="171878"/>
                </a:lnTo>
                <a:lnTo>
                  <a:pt x="5053" y="215936"/>
                </a:lnTo>
                <a:lnTo>
                  <a:pt x="0" y="261657"/>
                </a:lnTo>
                <a:lnTo>
                  <a:pt x="2720" y="308011"/>
                </a:lnTo>
                <a:lnTo>
                  <a:pt x="13523" y="353970"/>
                </a:lnTo>
                <a:lnTo>
                  <a:pt x="32718" y="398502"/>
                </a:lnTo>
                <a:lnTo>
                  <a:pt x="58309" y="439125"/>
                </a:lnTo>
                <a:lnTo>
                  <a:pt x="89106" y="472321"/>
                </a:lnTo>
                <a:lnTo>
                  <a:pt x="124220" y="498046"/>
                </a:lnTo>
                <a:lnTo>
                  <a:pt x="162761" y="516258"/>
                </a:lnTo>
                <a:lnTo>
                  <a:pt x="203840" y="526914"/>
                </a:lnTo>
                <a:lnTo>
                  <a:pt x="246568" y="529971"/>
                </a:lnTo>
                <a:lnTo>
                  <a:pt x="290054" y="525385"/>
                </a:lnTo>
                <a:lnTo>
                  <a:pt x="333410" y="513115"/>
                </a:lnTo>
                <a:lnTo>
                  <a:pt x="375745" y="493117"/>
                </a:lnTo>
                <a:lnTo>
                  <a:pt x="415269" y="466534"/>
                </a:lnTo>
                <a:lnTo>
                  <a:pt x="448988" y="435055"/>
                </a:lnTo>
                <a:lnTo>
                  <a:pt x="476499" y="399457"/>
                </a:lnTo>
                <a:lnTo>
                  <a:pt x="497396" y="360516"/>
                </a:lnTo>
                <a:lnTo>
                  <a:pt x="511275" y="319009"/>
                </a:lnTo>
                <a:lnTo>
                  <a:pt x="517731" y="275712"/>
                </a:lnTo>
                <a:lnTo>
                  <a:pt x="516361" y="231402"/>
                </a:lnTo>
                <a:lnTo>
                  <a:pt x="506759" y="186856"/>
                </a:lnTo>
                <a:lnTo>
                  <a:pt x="488521" y="142851"/>
                </a:lnTo>
                <a:lnTo>
                  <a:pt x="461969" y="101701"/>
                </a:lnTo>
                <a:lnTo>
                  <a:pt x="429960" y="67092"/>
                </a:lnTo>
                <a:lnTo>
                  <a:pt x="393483" y="39322"/>
                </a:lnTo>
                <a:lnTo>
                  <a:pt x="353525" y="18686"/>
                </a:lnTo>
                <a:lnTo>
                  <a:pt x="311074" y="5480"/>
                </a:lnTo>
                <a:lnTo>
                  <a:pt x="267118" y="0"/>
                </a:lnTo>
                <a:close/>
              </a:path>
            </a:pathLst>
          </a:custGeom>
          <a:solidFill>
            <a:srgbClr val="6FAC0F"/>
          </a:solidFill>
        </p:spPr>
        <p:txBody>
          <a:bodyPr wrap="square" lIns="0" tIns="0" rIns="0" bIns="0" rtlCol="0"/>
          <a:lstStyle/>
          <a:p>
            <a:endParaRPr/>
          </a:p>
        </p:txBody>
      </p:sp>
      <p:sp>
        <p:nvSpPr>
          <p:cNvPr id="62" name="object 62"/>
          <p:cNvSpPr/>
          <p:nvPr/>
        </p:nvSpPr>
        <p:spPr>
          <a:xfrm>
            <a:off x="6757377" y="4878673"/>
            <a:ext cx="330835" cy="337820"/>
          </a:xfrm>
          <a:custGeom>
            <a:avLst/>
            <a:gdLst/>
            <a:ahLst/>
            <a:cxnLst/>
            <a:rect l="l" t="t" r="r" b="b"/>
            <a:pathLst>
              <a:path w="330834" h="337820">
                <a:moveTo>
                  <a:pt x="158292" y="0"/>
                </a:moveTo>
                <a:lnTo>
                  <a:pt x="116045" y="7270"/>
                </a:lnTo>
                <a:lnTo>
                  <a:pt x="77651" y="25336"/>
                </a:lnTo>
                <a:lnTo>
                  <a:pt x="45024" y="52863"/>
                </a:lnTo>
                <a:lnTo>
                  <a:pt x="20081" y="88518"/>
                </a:lnTo>
                <a:lnTo>
                  <a:pt x="4737" y="130968"/>
                </a:lnTo>
                <a:lnTo>
                  <a:pt x="0" y="176044"/>
                </a:lnTo>
                <a:lnTo>
                  <a:pt x="7140" y="219158"/>
                </a:lnTo>
                <a:lnTo>
                  <a:pt x="24850" y="258349"/>
                </a:lnTo>
                <a:lnTo>
                  <a:pt x="51821" y="291656"/>
                </a:lnTo>
                <a:lnTo>
                  <a:pt x="86743" y="317117"/>
                </a:lnTo>
                <a:lnTo>
                  <a:pt x="128308" y="332771"/>
                </a:lnTo>
                <a:lnTo>
                  <a:pt x="172491" y="337629"/>
                </a:lnTo>
                <a:lnTo>
                  <a:pt x="214738" y="330358"/>
                </a:lnTo>
                <a:lnTo>
                  <a:pt x="253133" y="312292"/>
                </a:lnTo>
                <a:lnTo>
                  <a:pt x="285759" y="284765"/>
                </a:lnTo>
                <a:lnTo>
                  <a:pt x="310703" y="249110"/>
                </a:lnTo>
                <a:lnTo>
                  <a:pt x="326047" y="206660"/>
                </a:lnTo>
                <a:lnTo>
                  <a:pt x="330784" y="161585"/>
                </a:lnTo>
                <a:lnTo>
                  <a:pt x="323643" y="118471"/>
                </a:lnTo>
                <a:lnTo>
                  <a:pt x="305933" y="79279"/>
                </a:lnTo>
                <a:lnTo>
                  <a:pt x="278963" y="45972"/>
                </a:lnTo>
                <a:lnTo>
                  <a:pt x="244041" y="20511"/>
                </a:lnTo>
                <a:lnTo>
                  <a:pt x="202476" y="4857"/>
                </a:lnTo>
                <a:lnTo>
                  <a:pt x="158292" y="0"/>
                </a:lnTo>
                <a:close/>
              </a:path>
            </a:pathLst>
          </a:custGeom>
          <a:solidFill>
            <a:srgbClr val="D4F6A0"/>
          </a:solidFill>
        </p:spPr>
        <p:txBody>
          <a:bodyPr wrap="square" lIns="0" tIns="0" rIns="0" bIns="0" rtlCol="0"/>
          <a:lstStyle/>
          <a:p>
            <a:endParaRPr/>
          </a:p>
        </p:txBody>
      </p:sp>
      <p:sp>
        <p:nvSpPr>
          <p:cNvPr id="63" name="object 63"/>
          <p:cNvSpPr/>
          <p:nvPr/>
        </p:nvSpPr>
        <p:spPr>
          <a:xfrm>
            <a:off x="6757377" y="4878673"/>
            <a:ext cx="330835" cy="337820"/>
          </a:xfrm>
          <a:custGeom>
            <a:avLst/>
            <a:gdLst/>
            <a:ahLst/>
            <a:cxnLst/>
            <a:rect l="l" t="t" r="r" b="b"/>
            <a:pathLst>
              <a:path w="330834" h="337820">
                <a:moveTo>
                  <a:pt x="4737" y="130968"/>
                </a:moveTo>
                <a:lnTo>
                  <a:pt x="20081" y="88518"/>
                </a:lnTo>
                <a:lnTo>
                  <a:pt x="45024" y="52863"/>
                </a:lnTo>
                <a:lnTo>
                  <a:pt x="77651" y="25336"/>
                </a:lnTo>
                <a:lnTo>
                  <a:pt x="116045" y="7270"/>
                </a:lnTo>
                <a:lnTo>
                  <a:pt x="158292" y="0"/>
                </a:lnTo>
                <a:lnTo>
                  <a:pt x="202476" y="4857"/>
                </a:lnTo>
                <a:lnTo>
                  <a:pt x="244041" y="20511"/>
                </a:lnTo>
                <a:lnTo>
                  <a:pt x="278963" y="45972"/>
                </a:lnTo>
                <a:lnTo>
                  <a:pt x="305933" y="79279"/>
                </a:lnTo>
                <a:lnTo>
                  <a:pt x="323643" y="118471"/>
                </a:lnTo>
                <a:lnTo>
                  <a:pt x="330784" y="161585"/>
                </a:lnTo>
                <a:lnTo>
                  <a:pt x="326047" y="206660"/>
                </a:lnTo>
                <a:lnTo>
                  <a:pt x="310703" y="249110"/>
                </a:lnTo>
                <a:lnTo>
                  <a:pt x="285759" y="284765"/>
                </a:lnTo>
                <a:lnTo>
                  <a:pt x="253133" y="312292"/>
                </a:lnTo>
                <a:lnTo>
                  <a:pt x="214738" y="330358"/>
                </a:lnTo>
                <a:lnTo>
                  <a:pt x="172491" y="337629"/>
                </a:lnTo>
                <a:lnTo>
                  <a:pt x="128308" y="332771"/>
                </a:lnTo>
                <a:lnTo>
                  <a:pt x="86743" y="317117"/>
                </a:lnTo>
                <a:lnTo>
                  <a:pt x="51821" y="291656"/>
                </a:lnTo>
                <a:lnTo>
                  <a:pt x="24850" y="258349"/>
                </a:lnTo>
                <a:lnTo>
                  <a:pt x="7140" y="219158"/>
                </a:lnTo>
                <a:lnTo>
                  <a:pt x="0" y="176044"/>
                </a:lnTo>
                <a:lnTo>
                  <a:pt x="4737" y="130968"/>
                </a:lnTo>
                <a:close/>
              </a:path>
            </a:pathLst>
          </a:custGeom>
          <a:ln w="28955">
            <a:solidFill>
              <a:srgbClr val="94E616"/>
            </a:solidFill>
          </a:ln>
        </p:spPr>
        <p:txBody>
          <a:bodyPr wrap="square" lIns="0" tIns="0" rIns="0" bIns="0" rtlCol="0"/>
          <a:lstStyle/>
          <a:p>
            <a:endParaRPr/>
          </a:p>
        </p:txBody>
      </p:sp>
      <p:sp>
        <p:nvSpPr>
          <p:cNvPr id="64" name="object 64"/>
          <p:cNvSpPr/>
          <p:nvPr/>
        </p:nvSpPr>
        <p:spPr>
          <a:xfrm>
            <a:off x="6907656" y="4920996"/>
            <a:ext cx="14604" cy="35560"/>
          </a:xfrm>
          <a:custGeom>
            <a:avLst/>
            <a:gdLst/>
            <a:ahLst/>
            <a:cxnLst/>
            <a:rect l="l" t="t" r="r" b="b"/>
            <a:pathLst>
              <a:path w="14604" h="35560">
                <a:moveTo>
                  <a:pt x="14224" y="2539"/>
                </a:moveTo>
                <a:lnTo>
                  <a:pt x="0" y="2539"/>
                </a:lnTo>
                <a:lnTo>
                  <a:pt x="698" y="10798"/>
                </a:lnTo>
                <a:lnTo>
                  <a:pt x="539" y="19748"/>
                </a:lnTo>
                <a:lnTo>
                  <a:pt x="1285" y="28221"/>
                </a:lnTo>
                <a:lnTo>
                  <a:pt x="4699" y="35051"/>
                </a:lnTo>
                <a:lnTo>
                  <a:pt x="11848" y="31722"/>
                </a:lnTo>
                <a:lnTo>
                  <a:pt x="13890" y="23463"/>
                </a:lnTo>
                <a:lnTo>
                  <a:pt x="13830" y="19748"/>
                </a:lnTo>
                <a:lnTo>
                  <a:pt x="13819" y="10798"/>
                </a:lnTo>
                <a:lnTo>
                  <a:pt x="14224" y="2539"/>
                </a:lnTo>
                <a:close/>
              </a:path>
              <a:path w="14604" h="35560">
                <a:moveTo>
                  <a:pt x="9398" y="0"/>
                </a:moveTo>
                <a:lnTo>
                  <a:pt x="4699" y="0"/>
                </a:lnTo>
                <a:lnTo>
                  <a:pt x="4699" y="2539"/>
                </a:lnTo>
                <a:lnTo>
                  <a:pt x="11811" y="2539"/>
                </a:lnTo>
                <a:lnTo>
                  <a:pt x="9398" y="0"/>
                </a:lnTo>
                <a:close/>
              </a:path>
            </a:pathLst>
          </a:custGeom>
          <a:solidFill>
            <a:srgbClr val="006CA9"/>
          </a:solidFill>
        </p:spPr>
        <p:txBody>
          <a:bodyPr wrap="square" lIns="0" tIns="0" rIns="0" bIns="0" rtlCol="0"/>
          <a:lstStyle/>
          <a:p>
            <a:endParaRPr/>
          </a:p>
        </p:txBody>
      </p:sp>
      <p:sp>
        <p:nvSpPr>
          <p:cNvPr id="65" name="object 65"/>
          <p:cNvSpPr/>
          <p:nvPr/>
        </p:nvSpPr>
        <p:spPr>
          <a:xfrm>
            <a:off x="6957879" y="4936235"/>
            <a:ext cx="23495" cy="30480"/>
          </a:xfrm>
          <a:custGeom>
            <a:avLst/>
            <a:gdLst/>
            <a:ahLst/>
            <a:cxnLst/>
            <a:rect l="l" t="t" r="r" b="b"/>
            <a:pathLst>
              <a:path w="23495" h="30479">
                <a:moveTo>
                  <a:pt x="20770" y="0"/>
                </a:moveTo>
                <a:lnTo>
                  <a:pt x="10783" y="4048"/>
                </a:lnTo>
                <a:lnTo>
                  <a:pt x="3546" y="11430"/>
                </a:lnTo>
                <a:lnTo>
                  <a:pt x="0" y="20716"/>
                </a:lnTo>
                <a:lnTo>
                  <a:pt x="1085" y="30480"/>
                </a:lnTo>
                <a:lnTo>
                  <a:pt x="11412" y="27146"/>
                </a:lnTo>
                <a:lnTo>
                  <a:pt x="19214" y="19049"/>
                </a:lnTo>
                <a:lnTo>
                  <a:pt x="22873" y="9048"/>
                </a:lnTo>
                <a:lnTo>
                  <a:pt x="20770" y="0"/>
                </a:lnTo>
                <a:close/>
              </a:path>
            </a:pathLst>
          </a:custGeom>
          <a:solidFill>
            <a:srgbClr val="006CA9"/>
          </a:solidFill>
        </p:spPr>
        <p:txBody>
          <a:bodyPr wrap="square" lIns="0" tIns="0" rIns="0" bIns="0" rtlCol="0"/>
          <a:lstStyle/>
          <a:p>
            <a:endParaRPr/>
          </a:p>
        </p:txBody>
      </p:sp>
      <p:sp>
        <p:nvSpPr>
          <p:cNvPr id="66" name="object 66"/>
          <p:cNvSpPr/>
          <p:nvPr/>
        </p:nvSpPr>
        <p:spPr>
          <a:xfrm>
            <a:off x="6848856" y="4938140"/>
            <a:ext cx="21590" cy="28575"/>
          </a:xfrm>
          <a:custGeom>
            <a:avLst/>
            <a:gdLst/>
            <a:ahLst/>
            <a:cxnLst/>
            <a:rect l="l" t="t" r="r" b="b"/>
            <a:pathLst>
              <a:path w="21590" h="28575">
                <a:moveTo>
                  <a:pt x="8957" y="0"/>
                </a:moveTo>
                <a:lnTo>
                  <a:pt x="0" y="3174"/>
                </a:lnTo>
                <a:lnTo>
                  <a:pt x="2974" y="11429"/>
                </a:lnTo>
                <a:lnTo>
                  <a:pt x="6175" y="19684"/>
                </a:lnTo>
                <a:lnTo>
                  <a:pt x="11590" y="26034"/>
                </a:lnTo>
                <a:lnTo>
                  <a:pt x="21209" y="28574"/>
                </a:lnTo>
                <a:lnTo>
                  <a:pt x="21538" y="17462"/>
                </a:lnTo>
                <a:lnTo>
                  <a:pt x="16795" y="6349"/>
                </a:lnTo>
                <a:lnTo>
                  <a:pt x="8957" y="0"/>
                </a:lnTo>
                <a:close/>
              </a:path>
            </a:pathLst>
          </a:custGeom>
          <a:solidFill>
            <a:srgbClr val="006CA9"/>
          </a:solidFill>
        </p:spPr>
        <p:txBody>
          <a:bodyPr wrap="square" lIns="0" tIns="0" rIns="0" bIns="0" rtlCol="0"/>
          <a:lstStyle/>
          <a:p>
            <a:endParaRPr/>
          </a:p>
        </p:txBody>
      </p:sp>
      <p:sp>
        <p:nvSpPr>
          <p:cNvPr id="67" name="object 67"/>
          <p:cNvSpPr/>
          <p:nvPr/>
        </p:nvSpPr>
        <p:spPr>
          <a:xfrm>
            <a:off x="6892543" y="4972811"/>
            <a:ext cx="92075" cy="93345"/>
          </a:xfrm>
          <a:custGeom>
            <a:avLst/>
            <a:gdLst/>
            <a:ahLst/>
            <a:cxnLst/>
            <a:rect l="l" t="t" r="r" b="b"/>
            <a:pathLst>
              <a:path w="92075" h="93345">
                <a:moveTo>
                  <a:pt x="89407" y="0"/>
                </a:moveTo>
                <a:lnTo>
                  <a:pt x="89407" y="5080"/>
                </a:lnTo>
                <a:lnTo>
                  <a:pt x="77094" y="10779"/>
                </a:lnTo>
                <a:lnTo>
                  <a:pt x="65484" y="16954"/>
                </a:lnTo>
                <a:lnTo>
                  <a:pt x="26860" y="40719"/>
                </a:lnTo>
                <a:lnTo>
                  <a:pt x="0" y="75437"/>
                </a:lnTo>
                <a:lnTo>
                  <a:pt x="3099" y="82409"/>
                </a:lnTo>
                <a:lnTo>
                  <a:pt x="8318" y="87963"/>
                </a:lnTo>
                <a:lnTo>
                  <a:pt x="14966" y="91636"/>
                </a:lnTo>
                <a:lnTo>
                  <a:pt x="22351" y="92963"/>
                </a:lnTo>
                <a:lnTo>
                  <a:pt x="41638" y="80585"/>
                </a:lnTo>
                <a:lnTo>
                  <a:pt x="60912" y="54324"/>
                </a:lnTo>
                <a:lnTo>
                  <a:pt x="78305" y="24776"/>
                </a:lnTo>
                <a:lnTo>
                  <a:pt x="91948" y="2539"/>
                </a:lnTo>
                <a:lnTo>
                  <a:pt x="89407" y="0"/>
                </a:lnTo>
                <a:close/>
              </a:path>
            </a:pathLst>
          </a:custGeom>
          <a:solidFill>
            <a:srgbClr val="006CA9"/>
          </a:solidFill>
        </p:spPr>
        <p:txBody>
          <a:bodyPr wrap="square" lIns="0" tIns="0" rIns="0" bIns="0" rtlCol="0"/>
          <a:lstStyle/>
          <a:p>
            <a:endParaRPr/>
          </a:p>
        </p:txBody>
      </p:sp>
      <p:sp>
        <p:nvSpPr>
          <p:cNvPr id="68" name="object 68"/>
          <p:cNvSpPr/>
          <p:nvPr/>
        </p:nvSpPr>
        <p:spPr>
          <a:xfrm>
            <a:off x="6993635" y="4979634"/>
            <a:ext cx="32384" cy="21590"/>
          </a:xfrm>
          <a:custGeom>
            <a:avLst/>
            <a:gdLst/>
            <a:ahLst/>
            <a:cxnLst/>
            <a:rect l="l" t="t" r="r" b="b"/>
            <a:pathLst>
              <a:path w="32384" h="21589">
                <a:moveTo>
                  <a:pt x="22842" y="0"/>
                </a:moveTo>
                <a:lnTo>
                  <a:pt x="14144" y="2797"/>
                </a:lnTo>
                <a:lnTo>
                  <a:pt x="6375" y="7929"/>
                </a:lnTo>
                <a:lnTo>
                  <a:pt x="0" y="13751"/>
                </a:lnTo>
                <a:lnTo>
                  <a:pt x="7090" y="21306"/>
                </a:lnTo>
                <a:lnTo>
                  <a:pt x="17859" y="19704"/>
                </a:lnTo>
                <a:lnTo>
                  <a:pt x="27699" y="11983"/>
                </a:lnTo>
                <a:lnTo>
                  <a:pt x="32004" y="1178"/>
                </a:lnTo>
                <a:lnTo>
                  <a:pt x="22842" y="0"/>
                </a:lnTo>
                <a:close/>
              </a:path>
            </a:pathLst>
          </a:custGeom>
          <a:solidFill>
            <a:srgbClr val="006CA9"/>
          </a:solidFill>
        </p:spPr>
        <p:txBody>
          <a:bodyPr wrap="square" lIns="0" tIns="0" rIns="0" bIns="0" rtlCol="0"/>
          <a:lstStyle/>
          <a:p>
            <a:endParaRPr/>
          </a:p>
        </p:txBody>
      </p:sp>
      <p:sp>
        <p:nvSpPr>
          <p:cNvPr id="69" name="object 69"/>
          <p:cNvSpPr/>
          <p:nvPr/>
        </p:nvSpPr>
        <p:spPr>
          <a:xfrm>
            <a:off x="6803135" y="4979672"/>
            <a:ext cx="32384" cy="24130"/>
          </a:xfrm>
          <a:custGeom>
            <a:avLst/>
            <a:gdLst/>
            <a:ahLst/>
            <a:cxnLst/>
            <a:rect l="l" t="t" r="r" b="b"/>
            <a:pathLst>
              <a:path w="32384" h="24129">
                <a:moveTo>
                  <a:pt x="10519" y="0"/>
                </a:moveTo>
                <a:lnTo>
                  <a:pt x="0" y="1141"/>
                </a:lnTo>
                <a:lnTo>
                  <a:pt x="3512" y="10279"/>
                </a:lnTo>
                <a:lnTo>
                  <a:pt x="9810" y="16142"/>
                </a:lnTo>
                <a:lnTo>
                  <a:pt x="17966" y="20125"/>
                </a:lnTo>
                <a:lnTo>
                  <a:pt x="27050" y="23620"/>
                </a:lnTo>
                <a:lnTo>
                  <a:pt x="29591" y="18667"/>
                </a:lnTo>
                <a:lnTo>
                  <a:pt x="32004" y="18667"/>
                </a:lnTo>
                <a:lnTo>
                  <a:pt x="32004" y="16127"/>
                </a:lnTo>
                <a:lnTo>
                  <a:pt x="26985" y="8909"/>
                </a:lnTo>
                <a:lnTo>
                  <a:pt x="19669" y="3061"/>
                </a:lnTo>
                <a:lnTo>
                  <a:pt x="10519" y="0"/>
                </a:lnTo>
                <a:close/>
              </a:path>
            </a:pathLst>
          </a:custGeom>
          <a:solidFill>
            <a:srgbClr val="006CA9"/>
          </a:solidFill>
        </p:spPr>
        <p:txBody>
          <a:bodyPr wrap="square" lIns="0" tIns="0" rIns="0" bIns="0" rtlCol="0"/>
          <a:lstStyle/>
          <a:p>
            <a:endParaRPr/>
          </a:p>
        </p:txBody>
      </p:sp>
      <p:sp>
        <p:nvSpPr>
          <p:cNvPr id="70" name="object 70"/>
          <p:cNvSpPr/>
          <p:nvPr/>
        </p:nvSpPr>
        <p:spPr>
          <a:xfrm>
            <a:off x="7005319" y="5035391"/>
            <a:ext cx="35560" cy="16510"/>
          </a:xfrm>
          <a:custGeom>
            <a:avLst/>
            <a:gdLst/>
            <a:ahLst/>
            <a:cxnLst/>
            <a:rect l="l" t="t" r="r" b="b"/>
            <a:pathLst>
              <a:path w="35559" h="16510">
                <a:moveTo>
                  <a:pt x="18478" y="0"/>
                </a:moveTo>
                <a:lnTo>
                  <a:pt x="5119" y="3500"/>
                </a:lnTo>
                <a:lnTo>
                  <a:pt x="0" y="14001"/>
                </a:lnTo>
                <a:lnTo>
                  <a:pt x="7584" y="15501"/>
                </a:lnTo>
                <a:lnTo>
                  <a:pt x="17525" y="16001"/>
                </a:lnTo>
                <a:lnTo>
                  <a:pt x="27467" y="15501"/>
                </a:lnTo>
                <a:lnTo>
                  <a:pt x="35051" y="14001"/>
                </a:lnTo>
                <a:lnTo>
                  <a:pt x="31361" y="3500"/>
                </a:lnTo>
                <a:lnTo>
                  <a:pt x="18478" y="0"/>
                </a:lnTo>
                <a:close/>
              </a:path>
            </a:pathLst>
          </a:custGeom>
          <a:solidFill>
            <a:srgbClr val="006CA9"/>
          </a:solidFill>
        </p:spPr>
        <p:txBody>
          <a:bodyPr wrap="square" lIns="0" tIns="0" rIns="0" bIns="0" rtlCol="0"/>
          <a:lstStyle/>
          <a:p>
            <a:endParaRPr/>
          </a:p>
        </p:txBody>
      </p:sp>
      <p:sp>
        <p:nvSpPr>
          <p:cNvPr id="71" name="object 71"/>
          <p:cNvSpPr/>
          <p:nvPr/>
        </p:nvSpPr>
        <p:spPr>
          <a:xfrm>
            <a:off x="6788784" y="5035391"/>
            <a:ext cx="33655" cy="16510"/>
          </a:xfrm>
          <a:custGeom>
            <a:avLst/>
            <a:gdLst/>
            <a:ahLst/>
            <a:cxnLst/>
            <a:rect l="l" t="t" r="r" b="b"/>
            <a:pathLst>
              <a:path w="33654" h="16510">
                <a:moveTo>
                  <a:pt x="16637" y="0"/>
                </a:moveTo>
                <a:lnTo>
                  <a:pt x="4520" y="3500"/>
                </a:lnTo>
                <a:lnTo>
                  <a:pt x="0" y="14001"/>
                </a:lnTo>
                <a:lnTo>
                  <a:pt x="7199" y="15501"/>
                </a:lnTo>
                <a:lnTo>
                  <a:pt x="16636" y="16001"/>
                </a:lnTo>
                <a:lnTo>
                  <a:pt x="26074" y="15501"/>
                </a:lnTo>
                <a:lnTo>
                  <a:pt x="33274" y="14001"/>
                </a:lnTo>
                <a:lnTo>
                  <a:pt x="28753" y="3500"/>
                </a:lnTo>
                <a:lnTo>
                  <a:pt x="16637" y="0"/>
                </a:lnTo>
                <a:close/>
              </a:path>
            </a:pathLst>
          </a:custGeom>
          <a:solidFill>
            <a:srgbClr val="006CA9"/>
          </a:solidFill>
        </p:spPr>
        <p:txBody>
          <a:bodyPr wrap="square" lIns="0" tIns="0" rIns="0" bIns="0" rtlCol="0"/>
          <a:lstStyle/>
          <a:p>
            <a:endParaRPr/>
          </a:p>
        </p:txBody>
      </p:sp>
      <p:sp>
        <p:nvSpPr>
          <p:cNvPr id="72" name="object 72"/>
          <p:cNvSpPr/>
          <p:nvPr/>
        </p:nvSpPr>
        <p:spPr>
          <a:xfrm>
            <a:off x="3666382" y="4738215"/>
            <a:ext cx="556260" cy="573405"/>
          </a:xfrm>
          <a:custGeom>
            <a:avLst/>
            <a:gdLst/>
            <a:ahLst/>
            <a:cxnLst/>
            <a:rect l="l" t="t" r="r" b="b"/>
            <a:pathLst>
              <a:path w="556260" h="573404">
                <a:moveTo>
                  <a:pt x="281197" y="0"/>
                </a:moveTo>
                <a:lnTo>
                  <a:pt x="238109" y="3715"/>
                </a:lnTo>
                <a:lnTo>
                  <a:pt x="195561" y="14379"/>
                </a:lnTo>
                <a:lnTo>
                  <a:pt x="154356" y="32116"/>
                </a:lnTo>
                <a:lnTo>
                  <a:pt x="115296" y="57050"/>
                </a:lnTo>
                <a:lnTo>
                  <a:pt x="80552" y="88161"/>
                </a:lnTo>
                <a:lnTo>
                  <a:pt x="51844" y="123760"/>
                </a:lnTo>
                <a:lnTo>
                  <a:pt x="29304" y="162972"/>
                </a:lnTo>
                <a:lnTo>
                  <a:pt x="13062" y="204919"/>
                </a:lnTo>
                <a:lnTo>
                  <a:pt x="3250" y="248725"/>
                </a:lnTo>
                <a:lnTo>
                  <a:pt x="0" y="293514"/>
                </a:lnTo>
                <a:lnTo>
                  <a:pt x="3440" y="338410"/>
                </a:lnTo>
                <a:lnTo>
                  <a:pt x="13704" y="382536"/>
                </a:lnTo>
                <a:lnTo>
                  <a:pt x="30922" y="425016"/>
                </a:lnTo>
                <a:lnTo>
                  <a:pt x="55225" y="464974"/>
                </a:lnTo>
                <a:lnTo>
                  <a:pt x="87861" y="504162"/>
                </a:lnTo>
                <a:lnTo>
                  <a:pt x="125039" y="534448"/>
                </a:lnTo>
                <a:lnTo>
                  <a:pt x="165837" y="555981"/>
                </a:lnTo>
                <a:lnTo>
                  <a:pt x="209332" y="568910"/>
                </a:lnTo>
                <a:lnTo>
                  <a:pt x="254601" y="573382"/>
                </a:lnTo>
                <a:lnTo>
                  <a:pt x="300721" y="569547"/>
                </a:lnTo>
                <a:lnTo>
                  <a:pt x="346768" y="557552"/>
                </a:lnTo>
                <a:lnTo>
                  <a:pt x="391821" y="537546"/>
                </a:lnTo>
                <a:lnTo>
                  <a:pt x="434955" y="509678"/>
                </a:lnTo>
                <a:lnTo>
                  <a:pt x="469934" y="479065"/>
                </a:lnTo>
                <a:lnTo>
                  <a:pt x="499288" y="444805"/>
                </a:lnTo>
                <a:lnTo>
                  <a:pt x="522806" y="407542"/>
                </a:lnTo>
                <a:lnTo>
                  <a:pt x="540274" y="367917"/>
                </a:lnTo>
                <a:lnTo>
                  <a:pt x="551478" y="326576"/>
                </a:lnTo>
                <a:lnTo>
                  <a:pt x="556205" y="284159"/>
                </a:lnTo>
                <a:lnTo>
                  <a:pt x="554241" y="241312"/>
                </a:lnTo>
                <a:lnTo>
                  <a:pt x="545374" y="198676"/>
                </a:lnTo>
                <a:lnTo>
                  <a:pt x="529390" y="156896"/>
                </a:lnTo>
                <a:lnTo>
                  <a:pt x="506075" y="116613"/>
                </a:lnTo>
                <a:lnTo>
                  <a:pt x="476617" y="81266"/>
                </a:lnTo>
                <a:lnTo>
                  <a:pt x="442879" y="52116"/>
                </a:lnTo>
                <a:lnTo>
                  <a:pt x="405665" y="29290"/>
                </a:lnTo>
                <a:lnTo>
                  <a:pt x="365778" y="12912"/>
                </a:lnTo>
                <a:lnTo>
                  <a:pt x="324021" y="3107"/>
                </a:lnTo>
                <a:lnTo>
                  <a:pt x="281197" y="0"/>
                </a:lnTo>
                <a:close/>
              </a:path>
            </a:pathLst>
          </a:custGeom>
          <a:solidFill>
            <a:srgbClr val="12ABDB"/>
          </a:solidFill>
        </p:spPr>
        <p:txBody>
          <a:bodyPr wrap="square" lIns="0" tIns="0" rIns="0" bIns="0" rtlCol="0"/>
          <a:lstStyle/>
          <a:p>
            <a:endParaRPr/>
          </a:p>
        </p:txBody>
      </p:sp>
      <p:sp>
        <p:nvSpPr>
          <p:cNvPr id="73" name="object 73"/>
          <p:cNvSpPr/>
          <p:nvPr/>
        </p:nvSpPr>
        <p:spPr>
          <a:xfrm>
            <a:off x="3825240" y="4867655"/>
            <a:ext cx="274320" cy="295656"/>
          </a:xfrm>
          <a:prstGeom prst="rect">
            <a:avLst/>
          </a:prstGeom>
          <a:blipFill>
            <a:blip r:embed="rId13" cstate="print"/>
            <a:stretch>
              <a:fillRect/>
            </a:stretch>
          </a:blipFill>
        </p:spPr>
        <p:txBody>
          <a:bodyPr wrap="square" lIns="0" tIns="0" rIns="0" bIns="0" rtlCol="0"/>
          <a:lstStyle/>
          <a:p>
            <a:endParaRPr/>
          </a:p>
        </p:txBody>
      </p:sp>
      <p:sp>
        <p:nvSpPr>
          <p:cNvPr id="74" name="object 74"/>
          <p:cNvSpPr/>
          <p:nvPr/>
        </p:nvSpPr>
        <p:spPr>
          <a:xfrm>
            <a:off x="7216841" y="1767248"/>
            <a:ext cx="568960" cy="543560"/>
          </a:xfrm>
          <a:custGeom>
            <a:avLst/>
            <a:gdLst/>
            <a:ahLst/>
            <a:cxnLst/>
            <a:rect l="l" t="t" r="r" b="b"/>
            <a:pathLst>
              <a:path w="568959" h="543560">
                <a:moveTo>
                  <a:pt x="266928" y="0"/>
                </a:moveTo>
                <a:lnTo>
                  <a:pt x="220913" y="5417"/>
                </a:lnTo>
                <a:lnTo>
                  <a:pt x="176941" y="18070"/>
                </a:lnTo>
                <a:lnTo>
                  <a:pt x="136768" y="37058"/>
                </a:lnTo>
                <a:lnTo>
                  <a:pt x="100846" y="61697"/>
                </a:lnTo>
                <a:lnTo>
                  <a:pt x="69630" y="91303"/>
                </a:lnTo>
                <a:lnTo>
                  <a:pt x="43573" y="125193"/>
                </a:lnTo>
                <a:lnTo>
                  <a:pt x="23128" y="162684"/>
                </a:lnTo>
                <a:lnTo>
                  <a:pt x="8749" y="203092"/>
                </a:lnTo>
                <a:lnTo>
                  <a:pt x="888" y="245733"/>
                </a:lnTo>
                <a:lnTo>
                  <a:pt x="0" y="289924"/>
                </a:lnTo>
                <a:lnTo>
                  <a:pt x="6537" y="334982"/>
                </a:lnTo>
                <a:lnTo>
                  <a:pt x="22629" y="383086"/>
                </a:lnTo>
                <a:lnTo>
                  <a:pt x="46114" y="425503"/>
                </a:lnTo>
                <a:lnTo>
                  <a:pt x="76123" y="461920"/>
                </a:lnTo>
                <a:lnTo>
                  <a:pt x="111790" y="492022"/>
                </a:lnTo>
                <a:lnTo>
                  <a:pt x="152245" y="515493"/>
                </a:lnTo>
                <a:lnTo>
                  <a:pt x="196623" y="532020"/>
                </a:lnTo>
                <a:lnTo>
                  <a:pt x="244055" y="541287"/>
                </a:lnTo>
                <a:lnTo>
                  <a:pt x="293673" y="542980"/>
                </a:lnTo>
                <a:lnTo>
                  <a:pt x="344611" y="536785"/>
                </a:lnTo>
                <a:lnTo>
                  <a:pt x="393782" y="523359"/>
                </a:lnTo>
                <a:lnTo>
                  <a:pt x="438172" y="503085"/>
                </a:lnTo>
                <a:lnTo>
                  <a:pt x="477152" y="476634"/>
                </a:lnTo>
                <a:lnTo>
                  <a:pt x="510089" y="444672"/>
                </a:lnTo>
                <a:lnTo>
                  <a:pt x="536351" y="407870"/>
                </a:lnTo>
                <a:lnTo>
                  <a:pt x="555309" y="366896"/>
                </a:lnTo>
                <a:lnTo>
                  <a:pt x="566329" y="322420"/>
                </a:lnTo>
                <a:lnTo>
                  <a:pt x="568782" y="275110"/>
                </a:lnTo>
                <a:lnTo>
                  <a:pt x="562035" y="225635"/>
                </a:lnTo>
                <a:lnTo>
                  <a:pt x="548183" y="181605"/>
                </a:lnTo>
                <a:lnTo>
                  <a:pt x="527972" y="141260"/>
                </a:lnTo>
                <a:lnTo>
                  <a:pt x="502098" y="105050"/>
                </a:lnTo>
                <a:lnTo>
                  <a:pt x="471257" y="73430"/>
                </a:lnTo>
                <a:lnTo>
                  <a:pt x="436146" y="46850"/>
                </a:lnTo>
                <a:lnTo>
                  <a:pt x="397461" y="25765"/>
                </a:lnTo>
                <a:lnTo>
                  <a:pt x="355899" y="10626"/>
                </a:lnTo>
                <a:lnTo>
                  <a:pt x="312156" y="1887"/>
                </a:lnTo>
                <a:lnTo>
                  <a:pt x="266928" y="0"/>
                </a:lnTo>
                <a:close/>
              </a:path>
            </a:pathLst>
          </a:custGeom>
          <a:solidFill>
            <a:srgbClr val="FF6227"/>
          </a:solidFill>
        </p:spPr>
        <p:txBody>
          <a:bodyPr wrap="square" lIns="0" tIns="0" rIns="0" bIns="0" rtlCol="0"/>
          <a:lstStyle/>
          <a:p>
            <a:endParaRPr/>
          </a:p>
        </p:txBody>
      </p:sp>
      <p:sp>
        <p:nvSpPr>
          <p:cNvPr id="75" name="object 75"/>
          <p:cNvSpPr/>
          <p:nvPr/>
        </p:nvSpPr>
        <p:spPr>
          <a:xfrm>
            <a:off x="7336535" y="1877567"/>
            <a:ext cx="306705" cy="222885"/>
          </a:xfrm>
          <a:custGeom>
            <a:avLst/>
            <a:gdLst/>
            <a:ahLst/>
            <a:cxnLst/>
            <a:rect l="l" t="t" r="r" b="b"/>
            <a:pathLst>
              <a:path w="306704" h="222885">
                <a:moveTo>
                  <a:pt x="281940" y="0"/>
                </a:moveTo>
                <a:lnTo>
                  <a:pt x="22352" y="0"/>
                </a:lnTo>
                <a:lnTo>
                  <a:pt x="13716" y="1843"/>
                </a:lnTo>
                <a:lnTo>
                  <a:pt x="6603" y="6842"/>
                </a:lnTo>
                <a:lnTo>
                  <a:pt x="1777" y="14198"/>
                </a:lnTo>
                <a:lnTo>
                  <a:pt x="0" y="23114"/>
                </a:lnTo>
                <a:lnTo>
                  <a:pt x="0" y="222504"/>
                </a:lnTo>
                <a:lnTo>
                  <a:pt x="28448" y="222504"/>
                </a:lnTo>
                <a:lnTo>
                  <a:pt x="28448" y="48260"/>
                </a:lnTo>
                <a:lnTo>
                  <a:pt x="29874" y="40909"/>
                </a:lnTo>
                <a:lnTo>
                  <a:pt x="33766" y="34893"/>
                </a:lnTo>
                <a:lnTo>
                  <a:pt x="39538" y="30829"/>
                </a:lnTo>
                <a:lnTo>
                  <a:pt x="46609" y="29337"/>
                </a:lnTo>
                <a:lnTo>
                  <a:pt x="306324" y="29337"/>
                </a:lnTo>
                <a:lnTo>
                  <a:pt x="306324" y="23114"/>
                </a:lnTo>
                <a:lnTo>
                  <a:pt x="304228" y="14198"/>
                </a:lnTo>
                <a:lnTo>
                  <a:pt x="298704" y="6842"/>
                </a:lnTo>
                <a:lnTo>
                  <a:pt x="290893" y="1843"/>
                </a:lnTo>
                <a:lnTo>
                  <a:pt x="281940" y="0"/>
                </a:lnTo>
                <a:close/>
              </a:path>
              <a:path w="306704" h="222885">
                <a:moveTo>
                  <a:pt x="306324" y="29337"/>
                </a:moveTo>
                <a:lnTo>
                  <a:pt x="257683" y="29337"/>
                </a:lnTo>
                <a:lnTo>
                  <a:pt x="265928" y="30829"/>
                </a:lnTo>
                <a:lnTo>
                  <a:pt x="272303" y="34893"/>
                </a:lnTo>
                <a:lnTo>
                  <a:pt x="276417" y="40909"/>
                </a:lnTo>
                <a:lnTo>
                  <a:pt x="277875" y="48260"/>
                </a:lnTo>
                <a:lnTo>
                  <a:pt x="277875" y="113411"/>
                </a:lnTo>
                <a:lnTo>
                  <a:pt x="306324" y="113411"/>
                </a:lnTo>
                <a:lnTo>
                  <a:pt x="306324" y="29337"/>
                </a:lnTo>
                <a:close/>
              </a:path>
            </a:pathLst>
          </a:custGeom>
          <a:solidFill>
            <a:srgbClr val="FFFFFF"/>
          </a:solidFill>
        </p:spPr>
        <p:txBody>
          <a:bodyPr wrap="square" lIns="0" tIns="0" rIns="0" bIns="0" rtlCol="0"/>
          <a:lstStyle/>
          <a:p>
            <a:endParaRPr/>
          </a:p>
        </p:txBody>
      </p:sp>
      <p:sp>
        <p:nvSpPr>
          <p:cNvPr id="76" name="object 76"/>
          <p:cNvSpPr/>
          <p:nvPr/>
        </p:nvSpPr>
        <p:spPr>
          <a:xfrm>
            <a:off x="7336535" y="1999488"/>
            <a:ext cx="306705" cy="193675"/>
          </a:xfrm>
          <a:custGeom>
            <a:avLst/>
            <a:gdLst/>
            <a:ahLst/>
            <a:cxnLst/>
            <a:rect l="l" t="t" r="r" b="b"/>
            <a:pathLst>
              <a:path w="306704" h="193675">
                <a:moveTo>
                  <a:pt x="28448" y="111506"/>
                </a:moveTo>
                <a:lnTo>
                  <a:pt x="0" y="111506"/>
                </a:lnTo>
                <a:lnTo>
                  <a:pt x="0" y="170434"/>
                </a:lnTo>
                <a:lnTo>
                  <a:pt x="1777" y="179349"/>
                </a:lnTo>
                <a:lnTo>
                  <a:pt x="6603" y="186705"/>
                </a:lnTo>
                <a:lnTo>
                  <a:pt x="13716" y="191704"/>
                </a:lnTo>
                <a:lnTo>
                  <a:pt x="22352" y="193548"/>
                </a:lnTo>
                <a:lnTo>
                  <a:pt x="281940" y="193548"/>
                </a:lnTo>
                <a:lnTo>
                  <a:pt x="290893" y="191704"/>
                </a:lnTo>
                <a:lnTo>
                  <a:pt x="298704" y="186705"/>
                </a:lnTo>
                <a:lnTo>
                  <a:pt x="304228" y="179349"/>
                </a:lnTo>
                <a:lnTo>
                  <a:pt x="306324" y="170434"/>
                </a:lnTo>
                <a:lnTo>
                  <a:pt x="306324" y="164084"/>
                </a:lnTo>
                <a:lnTo>
                  <a:pt x="46609" y="164084"/>
                </a:lnTo>
                <a:lnTo>
                  <a:pt x="39538" y="162609"/>
                </a:lnTo>
                <a:lnTo>
                  <a:pt x="33766" y="158575"/>
                </a:lnTo>
                <a:lnTo>
                  <a:pt x="29874" y="152564"/>
                </a:lnTo>
                <a:lnTo>
                  <a:pt x="28448" y="145161"/>
                </a:lnTo>
                <a:lnTo>
                  <a:pt x="28448" y="111506"/>
                </a:lnTo>
                <a:close/>
              </a:path>
              <a:path w="306704" h="193675">
                <a:moveTo>
                  <a:pt x="306324" y="0"/>
                </a:moveTo>
                <a:lnTo>
                  <a:pt x="277875" y="0"/>
                </a:lnTo>
                <a:lnTo>
                  <a:pt x="277875" y="145161"/>
                </a:lnTo>
                <a:lnTo>
                  <a:pt x="276417" y="152564"/>
                </a:lnTo>
                <a:lnTo>
                  <a:pt x="272303" y="158575"/>
                </a:lnTo>
                <a:lnTo>
                  <a:pt x="265928" y="162609"/>
                </a:lnTo>
                <a:lnTo>
                  <a:pt x="257683" y="164084"/>
                </a:lnTo>
                <a:lnTo>
                  <a:pt x="306324" y="164084"/>
                </a:lnTo>
                <a:lnTo>
                  <a:pt x="306324" y="0"/>
                </a:lnTo>
                <a:close/>
              </a:path>
            </a:pathLst>
          </a:custGeom>
          <a:solidFill>
            <a:srgbClr val="FFFFFF"/>
          </a:solidFill>
        </p:spPr>
        <p:txBody>
          <a:bodyPr wrap="square" lIns="0" tIns="0" rIns="0" bIns="0" rtlCol="0"/>
          <a:lstStyle/>
          <a:p>
            <a:endParaRPr/>
          </a:p>
        </p:txBody>
      </p:sp>
      <p:sp>
        <p:nvSpPr>
          <p:cNvPr id="77" name="object 77"/>
          <p:cNvSpPr/>
          <p:nvPr/>
        </p:nvSpPr>
        <p:spPr>
          <a:xfrm>
            <a:off x="7531607" y="1965960"/>
            <a:ext cx="173736" cy="79248"/>
          </a:xfrm>
          <a:prstGeom prst="rect">
            <a:avLst/>
          </a:prstGeom>
          <a:blipFill>
            <a:blip r:embed="rId14" cstate="print"/>
            <a:stretch>
              <a:fillRect/>
            </a:stretch>
          </a:blipFill>
        </p:spPr>
        <p:txBody>
          <a:bodyPr wrap="square" lIns="0" tIns="0" rIns="0" bIns="0" rtlCol="0"/>
          <a:lstStyle/>
          <a:p>
            <a:endParaRPr/>
          </a:p>
        </p:txBody>
      </p:sp>
      <p:sp>
        <p:nvSpPr>
          <p:cNvPr id="78" name="object 78"/>
          <p:cNvSpPr/>
          <p:nvPr/>
        </p:nvSpPr>
        <p:spPr>
          <a:xfrm>
            <a:off x="7269480" y="1999488"/>
            <a:ext cx="288290" cy="129539"/>
          </a:xfrm>
          <a:custGeom>
            <a:avLst/>
            <a:gdLst/>
            <a:ahLst/>
            <a:cxnLst/>
            <a:rect l="l" t="t" r="r" b="b"/>
            <a:pathLst>
              <a:path w="288290" h="129539">
                <a:moveTo>
                  <a:pt x="148081" y="0"/>
                </a:moveTo>
                <a:lnTo>
                  <a:pt x="120542" y="4802"/>
                </a:lnTo>
                <a:lnTo>
                  <a:pt x="96837" y="18034"/>
                </a:lnTo>
                <a:lnTo>
                  <a:pt x="78466" y="37933"/>
                </a:lnTo>
                <a:lnTo>
                  <a:pt x="66928" y="62737"/>
                </a:lnTo>
                <a:lnTo>
                  <a:pt x="54737" y="62737"/>
                </a:lnTo>
                <a:lnTo>
                  <a:pt x="33379" y="66817"/>
                </a:lnTo>
                <a:lnTo>
                  <a:pt x="15986" y="78136"/>
                </a:lnTo>
                <a:lnTo>
                  <a:pt x="4284" y="95313"/>
                </a:lnTo>
                <a:lnTo>
                  <a:pt x="0" y="116966"/>
                </a:lnTo>
                <a:lnTo>
                  <a:pt x="0" y="129539"/>
                </a:lnTo>
                <a:lnTo>
                  <a:pt x="286003" y="129539"/>
                </a:lnTo>
                <a:lnTo>
                  <a:pt x="288036" y="125349"/>
                </a:lnTo>
                <a:lnTo>
                  <a:pt x="288036" y="116966"/>
                </a:lnTo>
                <a:lnTo>
                  <a:pt x="284513" y="99566"/>
                </a:lnTo>
                <a:lnTo>
                  <a:pt x="275097" y="85677"/>
                </a:lnTo>
                <a:lnTo>
                  <a:pt x="261514" y="76479"/>
                </a:lnTo>
                <a:lnTo>
                  <a:pt x="255275" y="75184"/>
                </a:lnTo>
                <a:lnTo>
                  <a:pt x="231267" y="75184"/>
                </a:lnTo>
                <a:lnTo>
                  <a:pt x="221394" y="45809"/>
                </a:lnTo>
                <a:lnTo>
                  <a:pt x="202580" y="21923"/>
                </a:lnTo>
                <a:lnTo>
                  <a:pt x="177313" y="5871"/>
                </a:lnTo>
                <a:lnTo>
                  <a:pt x="148081" y="0"/>
                </a:lnTo>
                <a:close/>
              </a:path>
              <a:path w="288290" h="129539">
                <a:moveTo>
                  <a:pt x="245491" y="73151"/>
                </a:moveTo>
                <a:lnTo>
                  <a:pt x="235330" y="73151"/>
                </a:lnTo>
                <a:lnTo>
                  <a:pt x="231267" y="75184"/>
                </a:lnTo>
                <a:lnTo>
                  <a:pt x="255275" y="75184"/>
                </a:lnTo>
                <a:lnTo>
                  <a:pt x="245491" y="73151"/>
                </a:lnTo>
                <a:close/>
              </a:path>
            </a:pathLst>
          </a:custGeom>
          <a:solidFill>
            <a:srgbClr val="12ABDB"/>
          </a:solidFill>
        </p:spPr>
        <p:txBody>
          <a:bodyPr wrap="square" lIns="0" tIns="0" rIns="0" bIns="0" rtlCol="0"/>
          <a:lstStyle/>
          <a:p>
            <a:endParaRPr/>
          </a:p>
        </p:txBody>
      </p:sp>
      <p:sp>
        <p:nvSpPr>
          <p:cNvPr id="79" name="object 79"/>
          <p:cNvSpPr/>
          <p:nvPr/>
        </p:nvSpPr>
        <p:spPr>
          <a:xfrm>
            <a:off x="9639026" y="4759983"/>
            <a:ext cx="561340" cy="543560"/>
          </a:xfrm>
          <a:custGeom>
            <a:avLst/>
            <a:gdLst/>
            <a:ahLst/>
            <a:cxnLst/>
            <a:rect l="l" t="t" r="r" b="b"/>
            <a:pathLst>
              <a:path w="561340" h="543560">
                <a:moveTo>
                  <a:pt x="283015" y="0"/>
                </a:moveTo>
                <a:lnTo>
                  <a:pt x="239896" y="3445"/>
                </a:lnTo>
                <a:lnTo>
                  <a:pt x="197473" y="13571"/>
                </a:lnTo>
                <a:lnTo>
                  <a:pt x="156537" y="30527"/>
                </a:lnTo>
                <a:lnTo>
                  <a:pt x="117875" y="54459"/>
                </a:lnTo>
                <a:lnTo>
                  <a:pt x="82868" y="84244"/>
                </a:lnTo>
                <a:lnTo>
                  <a:pt x="53829" y="118136"/>
                </a:lnTo>
                <a:lnTo>
                  <a:pt x="30891" y="155348"/>
                </a:lnTo>
                <a:lnTo>
                  <a:pt x="14186" y="195096"/>
                </a:lnTo>
                <a:lnTo>
                  <a:pt x="3845" y="236593"/>
                </a:lnTo>
                <a:lnTo>
                  <a:pt x="0" y="279054"/>
                </a:lnTo>
                <a:lnTo>
                  <a:pt x="2782" y="321693"/>
                </a:lnTo>
                <a:lnTo>
                  <a:pt x="12325" y="363725"/>
                </a:lnTo>
                <a:lnTo>
                  <a:pt x="28759" y="404365"/>
                </a:lnTo>
                <a:lnTo>
                  <a:pt x="52216" y="442825"/>
                </a:lnTo>
                <a:lnTo>
                  <a:pt x="86308" y="479142"/>
                </a:lnTo>
                <a:lnTo>
                  <a:pt x="124736" y="507290"/>
                </a:lnTo>
                <a:lnTo>
                  <a:pt x="166596" y="527351"/>
                </a:lnTo>
                <a:lnTo>
                  <a:pt x="210983" y="539406"/>
                </a:lnTo>
                <a:lnTo>
                  <a:pt x="256993" y="543537"/>
                </a:lnTo>
                <a:lnTo>
                  <a:pt x="303723" y="539825"/>
                </a:lnTo>
                <a:lnTo>
                  <a:pt x="350267" y="528352"/>
                </a:lnTo>
                <a:lnTo>
                  <a:pt x="395723" y="509200"/>
                </a:lnTo>
                <a:lnTo>
                  <a:pt x="439185" y="482449"/>
                </a:lnTo>
                <a:lnTo>
                  <a:pt x="477333" y="450348"/>
                </a:lnTo>
                <a:lnTo>
                  <a:pt x="508816" y="413966"/>
                </a:lnTo>
                <a:lnTo>
                  <a:pt x="533273" y="374160"/>
                </a:lnTo>
                <a:lnTo>
                  <a:pt x="550342" y="331786"/>
                </a:lnTo>
                <a:lnTo>
                  <a:pt x="559661" y="287700"/>
                </a:lnTo>
                <a:lnTo>
                  <a:pt x="560870" y="242758"/>
                </a:lnTo>
                <a:lnTo>
                  <a:pt x="553605" y="197815"/>
                </a:lnTo>
                <a:lnTo>
                  <a:pt x="537505" y="153729"/>
                </a:lnTo>
                <a:lnTo>
                  <a:pt x="512210" y="111355"/>
                </a:lnTo>
                <a:lnTo>
                  <a:pt x="481469" y="77817"/>
                </a:lnTo>
                <a:lnTo>
                  <a:pt x="446693" y="50074"/>
                </a:lnTo>
                <a:lnTo>
                  <a:pt x="408671" y="28273"/>
                </a:lnTo>
                <a:lnTo>
                  <a:pt x="368192" y="12561"/>
                </a:lnTo>
                <a:lnTo>
                  <a:pt x="326044" y="3088"/>
                </a:lnTo>
                <a:lnTo>
                  <a:pt x="283015" y="0"/>
                </a:lnTo>
                <a:close/>
              </a:path>
            </a:pathLst>
          </a:custGeom>
          <a:solidFill>
            <a:srgbClr val="15626B"/>
          </a:solidFill>
        </p:spPr>
        <p:txBody>
          <a:bodyPr wrap="square" lIns="0" tIns="0" rIns="0" bIns="0" rtlCol="0"/>
          <a:lstStyle/>
          <a:p>
            <a:endParaRPr/>
          </a:p>
        </p:txBody>
      </p:sp>
      <p:sp>
        <p:nvSpPr>
          <p:cNvPr id="80" name="object 80"/>
          <p:cNvSpPr/>
          <p:nvPr/>
        </p:nvSpPr>
        <p:spPr>
          <a:xfrm>
            <a:off x="9783556" y="4895088"/>
            <a:ext cx="244417" cy="295656"/>
          </a:xfrm>
          <a:prstGeom prst="rect">
            <a:avLst/>
          </a:prstGeom>
          <a:blipFill>
            <a:blip r:embed="rId15" cstate="print"/>
            <a:stretch>
              <a:fillRect/>
            </a:stretch>
          </a:blipFill>
        </p:spPr>
        <p:txBody>
          <a:bodyPr wrap="square" lIns="0" tIns="0" rIns="0" bIns="0" rtlCol="0"/>
          <a:lstStyle/>
          <a:p>
            <a:endParaRPr/>
          </a:p>
        </p:txBody>
      </p:sp>
      <p:sp>
        <p:nvSpPr>
          <p:cNvPr id="81" name="object 81"/>
          <p:cNvSpPr/>
          <p:nvPr/>
        </p:nvSpPr>
        <p:spPr>
          <a:xfrm>
            <a:off x="4231236" y="1765493"/>
            <a:ext cx="567055" cy="546735"/>
          </a:xfrm>
          <a:custGeom>
            <a:avLst/>
            <a:gdLst/>
            <a:ahLst/>
            <a:cxnLst/>
            <a:rect l="l" t="t" r="r" b="b"/>
            <a:pathLst>
              <a:path w="567054" h="546735">
                <a:moveTo>
                  <a:pt x="286296" y="0"/>
                </a:moveTo>
                <a:lnTo>
                  <a:pt x="242338" y="3687"/>
                </a:lnTo>
                <a:lnTo>
                  <a:pt x="198957" y="14123"/>
                </a:lnTo>
                <a:lnTo>
                  <a:pt x="156950" y="31450"/>
                </a:lnTo>
                <a:lnTo>
                  <a:pt x="117116" y="55812"/>
                </a:lnTo>
                <a:lnTo>
                  <a:pt x="81748" y="85278"/>
                </a:lnTo>
                <a:lnTo>
                  <a:pt x="52594" y="118902"/>
                </a:lnTo>
                <a:lnTo>
                  <a:pt x="29747" y="155903"/>
                </a:lnTo>
                <a:lnTo>
                  <a:pt x="13303" y="195500"/>
                </a:lnTo>
                <a:lnTo>
                  <a:pt x="3356" y="236914"/>
                </a:lnTo>
                <a:lnTo>
                  <a:pt x="0" y="279365"/>
                </a:lnTo>
                <a:lnTo>
                  <a:pt x="3329" y="322072"/>
                </a:lnTo>
                <a:lnTo>
                  <a:pt x="13439" y="364254"/>
                </a:lnTo>
                <a:lnTo>
                  <a:pt x="30424" y="405132"/>
                </a:lnTo>
                <a:lnTo>
                  <a:pt x="54378" y="443924"/>
                </a:lnTo>
                <a:lnTo>
                  <a:pt x="88344" y="480571"/>
                </a:lnTo>
                <a:lnTo>
                  <a:pt x="126804" y="509036"/>
                </a:lnTo>
                <a:lnTo>
                  <a:pt x="168833" y="529405"/>
                </a:lnTo>
                <a:lnTo>
                  <a:pt x="213505" y="541765"/>
                </a:lnTo>
                <a:lnTo>
                  <a:pt x="259896" y="546203"/>
                </a:lnTo>
                <a:lnTo>
                  <a:pt x="307080" y="542806"/>
                </a:lnTo>
                <a:lnTo>
                  <a:pt x="354132" y="531660"/>
                </a:lnTo>
                <a:lnTo>
                  <a:pt x="400127" y="512852"/>
                </a:lnTo>
                <a:lnTo>
                  <a:pt x="444141" y="486469"/>
                </a:lnTo>
                <a:lnTo>
                  <a:pt x="482749" y="453209"/>
                </a:lnTo>
                <a:lnTo>
                  <a:pt x="514594" y="416013"/>
                </a:lnTo>
                <a:lnTo>
                  <a:pt x="539311" y="375669"/>
                </a:lnTo>
                <a:lnTo>
                  <a:pt x="556533" y="332964"/>
                </a:lnTo>
                <a:lnTo>
                  <a:pt x="565894" y="288684"/>
                </a:lnTo>
                <a:lnTo>
                  <a:pt x="567030" y="243617"/>
                </a:lnTo>
                <a:lnTo>
                  <a:pt x="559573" y="198551"/>
                </a:lnTo>
                <a:lnTo>
                  <a:pt x="543158" y="154271"/>
                </a:lnTo>
                <a:lnTo>
                  <a:pt x="517420" y="111565"/>
                </a:lnTo>
                <a:lnTo>
                  <a:pt x="486776" y="77772"/>
                </a:lnTo>
                <a:lnTo>
                  <a:pt x="451916" y="49867"/>
                </a:lnTo>
                <a:lnTo>
                  <a:pt x="413640" y="27994"/>
                </a:lnTo>
                <a:lnTo>
                  <a:pt x="372746" y="12296"/>
                </a:lnTo>
                <a:lnTo>
                  <a:pt x="330031" y="2917"/>
                </a:lnTo>
                <a:lnTo>
                  <a:pt x="286296" y="0"/>
                </a:lnTo>
                <a:close/>
              </a:path>
            </a:pathLst>
          </a:custGeom>
          <a:solidFill>
            <a:srgbClr val="2B133C"/>
          </a:solidFill>
        </p:spPr>
        <p:txBody>
          <a:bodyPr wrap="square" lIns="0" tIns="0" rIns="0" bIns="0" rtlCol="0"/>
          <a:lstStyle/>
          <a:p>
            <a:endParaRPr/>
          </a:p>
        </p:txBody>
      </p:sp>
      <p:sp>
        <p:nvSpPr>
          <p:cNvPr id="82" name="object 82"/>
          <p:cNvSpPr/>
          <p:nvPr/>
        </p:nvSpPr>
        <p:spPr>
          <a:xfrm>
            <a:off x="4319714" y="1873820"/>
            <a:ext cx="349250" cy="351155"/>
          </a:xfrm>
          <a:custGeom>
            <a:avLst/>
            <a:gdLst/>
            <a:ahLst/>
            <a:cxnLst/>
            <a:rect l="l" t="t" r="r" b="b"/>
            <a:pathLst>
              <a:path w="349250" h="351155">
                <a:moveTo>
                  <a:pt x="155826" y="0"/>
                </a:moveTo>
                <a:lnTo>
                  <a:pt x="111381" y="10892"/>
                </a:lnTo>
                <a:lnTo>
                  <a:pt x="71882" y="32544"/>
                </a:lnTo>
                <a:lnTo>
                  <a:pt x="39155" y="63489"/>
                </a:lnTo>
                <a:lnTo>
                  <a:pt x="15030" y="102258"/>
                </a:lnTo>
                <a:lnTo>
                  <a:pt x="1333" y="147384"/>
                </a:lnTo>
                <a:lnTo>
                  <a:pt x="0" y="194558"/>
                </a:lnTo>
                <a:lnTo>
                  <a:pt x="10773" y="239153"/>
                </a:lnTo>
                <a:lnTo>
                  <a:pt x="32194" y="279036"/>
                </a:lnTo>
                <a:lnTo>
                  <a:pt x="62801" y="312070"/>
                </a:lnTo>
                <a:lnTo>
                  <a:pt x="101134" y="336123"/>
                </a:lnTo>
                <a:lnTo>
                  <a:pt x="145732" y="349060"/>
                </a:lnTo>
                <a:lnTo>
                  <a:pt x="193296" y="350580"/>
                </a:lnTo>
                <a:lnTo>
                  <a:pt x="237741" y="340095"/>
                </a:lnTo>
                <a:lnTo>
                  <a:pt x="277240" y="318850"/>
                </a:lnTo>
                <a:lnTo>
                  <a:pt x="309967" y="288091"/>
                </a:lnTo>
                <a:lnTo>
                  <a:pt x="334092" y="249062"/>
                </a:lnTo>
                <a:lnTo>
                  <a:pt x="347789" y="203010"/>
                </a:lnTo>
                <a:lnTo>
                  <a:pt x="349123" y="156021"/>
                </a:lnTo>
                <a:lnTo>
                  <a:pt x="338349" y="111834"/>
                </a:lnTo>
                <a:lnTo>
                  <a:pt x="316928" y="72359"/>
                </a:lnTo>
                <a:lnTo>
                  <a:pt x="286321" y="39509"/>
                </a:lnTo>
                <a:lnTo>
                  <a:pt x="247988" y="15197"/>
                </a:lnTo>
                <a:lnTo>
                  <a:pt x="203390" y="1334"/>
                </a:lnTo>
                <a:lnTo>
                  <a:pt x="155826" y="0"/>
                </a:lnTo>
                <a:close/>
              </a:path>
            </a:pathLst>
          </a:custGeom>
          <a:solidFill>
            <a:srgbClr val="9A5DC9"/>
          </a:solidFill>
        </p:spPr>
        <p:txBody>
          <a:bodyPr wrap="square" lIns="0" tIns="0" rIns="0" bIns="0" rtlCol="0"/>
          <a:lstStyle/>
          <a:p>
            <a:endParaRPr/>
          </a:p>
        </p:txBody>
      </p:sp>
      <p:sp>
        <p:nvSpPr>
          <p:cNvPr id="83" name="object 83"/>
          <p:cNvSpPr/>
          <p:nvPr/>
        </p:nvSpPr>
        <p:spPr>
          <a:xfrm>
            <a:off x="4507745" y="1828800"/>
            <a:ext cx="200540" cy="213812"/>
          </a:xfrm>
          <a:prstGeom prst="rect">
            <a:avLst/>
          </a:prstGeom>
          <a:blipFill>
            <a:blip r:embed="rId16" cstate="print"/>
            <a:stretch>
              <a:fillRect/>
            </a:stretch>
          </a:blipFill>
        </p:spPr>
        <p:txBody>
          <a:bodyPr wrap="square" lIns="0" tIns="0" rIns="0" bIns="0" rtlCol="0"/>
          <a:lstStyle/>
          <a:p>
            <a:endParaRPr/>
          </a:p>
        </p:txBody>
      </p:sp>
      <p:sp>
        <p:nvSpPr>
          <p:cNvPr id="84" name="object 84"/>
          <p:cNvSpPr/>
          <p:nvPr/>
        </p:nvSpPr>
        <p:spPr>
          <a:xfrm>
            <a:off x="4346447" y="1967483"/>
            <a:ext cx="141731" cy="183056"/>
          </a:xfrm>
          <a:prstGeom prst="rect">
            <a:avLst/>
          </a:prstGeom>
          <a:blipFill>
            <a:blip r:embed="rId17" cstate="print"/>
            <a:stretch>
              <a:fillRect/>
            </a:stretch>
          </a:blipFill>
        </p:spPr>
        <p:txBody>
          <a:bodyPr wrap="square" lIns="0" tIns="0" rIns="0" bIns="0" rtlCol="0"/>
          <a:lstStyle/>
          <a:p>
            <a:endParaRPr/>
          </a:p>
        </p:txBody>
      </p:sp>
      <p:sp>
        <p:nvSpPr>
          <p:cNvPr id="85" name="object 85"/>
          <p:cNvSpPr/>
          <p:nvPr/>
        </p:nvSpPr>
        <p:spPr>
          <a:xfrm>
            <a:off x="5835396" y="3392423"/>
            <a:ext cx="1121663" cy="525780"/>
          </a:xfrm>
          <a:prstGeom prst="rect">
            <a:avLst/>
          </a:prstGeom>
          <a:blipFill>
            <a:blip r:embed="rId18" cstate="print"/>
            <a:stretch>
              <a:fillRect/>
            </a:stretch>
          </a:blipFill>
        </p:spPr>
        <p:txBody>
          <a:bodyPr wrap="square" lIns="0" tIns="0" rIns="0" bIns="0" rtlCol="0"/>
          <a:lstStyle/>
          <a:p>
            <a:endParaRPr/>
          </a:p>
        </p:txBody>
      </p:sp>
      <p:sp>
        <p:nvSpPr>
          <p:cNvPr id="86" name="object 86"/>
          <p:cNvSpPr/>
          <p:nvPr/>
        </p:nvSpPr>
        <p:spPr>
          <a:xfrm>
            <a:off x="3063239" y="5522976"/>
            <a:ext cx="1724025" cy="370840"/>
          </a:xfrm>
          <a:custGeom>
            <a:avLst/>
            <a:gdLst/>
            <a:ahLst/>
            <a:cxnLst/>
            <a:rect l="l" t="t" r="r" b="b"/>
            <a:pathLst>
              <a:path w="1724025" h="370839">
                <a:moveTo>
                  <a:pt x="1661922" y="0"/>
                </a:moveTo>
                <a:lnTo>
                  <a:pt x="61722" y="0"/>
                </a:lnTo>
                <a:lnTo>
                  <a:pt x="37718" y="4857"/>
                </a:lnTo>
                <a:lnTo>
                  <a:pt x="18097" y="18097"/>
                </a:lnTo>
                <a:lnTo>
                  <a:pt x="4857" y="37719"/>
                </a:lnTo>
                <a:lnTo>
                  <a:pt x="0" y="61721"/>
                </a:lnTo>
                <a:lnTo>
                  <a:pt x="0" y="308610"/>
                </a:lnTo>
                <a:lnTo>
                  <a:pt x="4857" y="332634"/>
                </a:lnTo>
                <a:lnTo>
                  <a:pt x="18097" y="352253"/>
                </a:lnTo>
                <a:lnTo>
                  <a:pt x="37719" y="365481"/>
                </a:lnTo>
                <a:lnTo>
                  <a:pt x="61722" y="370332"/>
                </a:lnTo>
                <a:lnTo>
                  <a:pt x="1661922" y="370332"/>
                </a:lnTo>
                <a:lnTo>
                  <a:pt x="1685925" y="365481"/>
                </a:lnTo>
                <a:lnTo>
                  <a:pt x="1705546" y="352253"/>
                </a:lnTo>
                <a:lnTo>
                  <a:pt x="1718786" y="332634"/>
                </a:lnTo>
                <a:lnTo>
                  <a:pt x="1723644" y="308610"/>
                </a:lnTo>
                <a:lnTo>
                  <a:pt x="1723644" y="61721"/>
                </a:lnTo>
                <a:lnTo>
                  <a:pt x="1718786" y="37719"/>
                </a:lnTo>
                <a:lnTo>
                  <a:pt x="1705546" y="18097"/>
                </a:lnTo>
                <a:lnTo>
                  <a:pt x="1685925" y="4857"/>
                </a:lnTo>
                <a:lnTo>
                  <a:pt x="1661922" y="0"/>
                </a:lnTo>
                <a:close/>
              </a:path>
            </a:pathLst>
          </a:custGeom>
          <a:solidFill>
            <a:srgbClr val="12ABDB"/>
          </a:solidFill>
        </p:spPr>
        <p:txBody>
          <a:bodyPr wrap="square" lIns="0" tIns="0" rIns="0" bIns="0" rtlCol="0"/>
          <a:lstStyle/>
          <a:p>
            <a:endParaRPr/>
          </a:p>
        </p:txBody>
      </p:sp>
      <p:sp>
        <p:nvSpPr>
          <p:cNvPr id="87" name="object 87"/>
          <p:cNvSpPr txBox="1"/>
          <p:nvPr/>
        </p:nvSpPr>
        <p:spPr>
          <a:xfrm>
            <a:off x="3165094" y="5558129"/>
            <a:ext cx="1519555" cy="286385"/>
          </a:xfrm>
          <a:prstGeom prst="rect">
            <a:avLst/>
          </a:prstGeom>
        </p:spPr>
        <p:txBody>
          <a:bodyPr vert="horz" wrap="square" lIns="0" tIns="27940" rIns="0" bIns="0" rtlCol="0">
            <a:spAutoFit/>
          </a:bodyPr>
          <a:lstStyle/>
          <a:p>
            <a:pPr marL="576580" marR="5080" indent="-563880">
              <a:lnSpc>
                <a:spcPts val="969"/>
              </a:lnSpc>
              <a:spcBef>
                <a:spcPts val="220"/>
              </a:spcBef>
            </a:pPr>
            <a:r>
              <a:rPr sz="900" b="1" spc="-5">
                <a:solidFill>
                  <a:srgbClr val="FFFFFF"/>
                </a:solidFill>
                <a:latin typeface="Verdana"/>
                <a:cs typeface="Verdana"/>
              </a:rPr>
              <a:t>Automation </a:t>
            </a:r>
            <a:r>
              <a:rPr sz="900" b="1">
                <a:solidFill>
                  <a:srgbClr val="FFFFFF"/>
                </a:solidFill>
                <a:latin typeface="Verdana"/>
                <a:cs typeface="Verdana"/>
              </a:rPr>
              <a:t>&amp;</a:t>
            </a:r>
            <a:r>
              <a:rPr sz="900" b="1" spc="-45">
                <a:solidFill>
                  <a:srgbClr val="FFFFFF"/>
                </a:solidFill>
                <a:latin typeface="Verdana"/>
                <a:cs typeface="Verdana"/>
              </a:rPr>
              <a:t> </a:t>
            </a:r>
            <a:r>
              <a:rPr sz="900" b="1" spc="-5">
                <a:solidFill>
                  <a:srgbClr val="FFFFFF"/>
                </a:solidFill>
                <a:latin typeface="Verdana"/>
                <a:cs typeface="Verdana"/>
              </a:rPr>
              <a:t>Business  Focus</a:t>
            </a:r>
            <a:endParaRPr sz="900">
              <a:latin typeface="Verdana"/>
              <a:cs typeface="Verdana"/>
            </a:endParaRPr>
          </a:p>
        </p:txBody>
      </p:sp>
      <p:sp>
        <p:nvSpPr>
          <p:cNvPr id="88" name="object 88"/>
          <p:cNvSpPr/>
          <p:nvPr/>
        </p:nvSpPr>
        <p:spPr>
          <a:xfrm>
            <a:off x="7130795" y="3512820"/>
            <a:ext cx="165100" cy="158750"/>
          </a:xfrm>
          <a:custGeom>
            <a:avLst/>
            <a:gdLst/>
            <a:ahLst/>
            <a:cxnLst/>
            <a:rect l="l" t="t" r="r" b="b"/>
            <a:pathLst>
              <a:path w="165100" h="158750">
                <a:moveTo>
                  <a:pt x="164592" y="0"/>
                </a:moveTo>
                <a:lnTo>
                  <a:pt x="0" y="0"/>
                </a:lnTo>
                <a:lnTo>
                  <a:pt x="82296" y="158495"/>
                </a:lnTo>
                <a:lnTo>
                  <a:pt x="164592" y="0"/>
                </a:lnTo>
                <a:close/>
              </a:path>
            </a:pathLst>
          </a:custGeom>
          <a:solidFill>
            <a:srgbClr val="6FAC0F"/>
          </a:solidFill>
        </p:spPr>
        <p:txBody>
          <a:bodyPr wrap="square" lIns="0" tIns="0" rIns="0" bIns="0" rtlCol="0"/>
          <a:lstStyle/>
          <a:p>
            <a:endParaRPr/>
          </a:p>
        </p:txBody>
      </p:sp>
      <p:sp>
        <p:nvSpPr>
          <p:cNvPr id="89" name="object 89"/>
          <p:cNvSpPr/>
          <p:nvPr/>
        </p:nvSpPr>
        <p:spPr>
          <a:xfrm>
            <a:off x="1371600" y="4529328"/>
            <a:ext cx="1240536" cy="534924"/>
          </a:xfrm>
          <a:prstGeom prst="rect">
            <a:avLst/>
          </a:prstGeom>
          <a:blipFill>
            <a:blip r:embed="rId19" cstate="print"/>
            <a:stretch>
              <a:fillRect/>
            </a:stretch>
          </a:blipFill>
        </p:spPr>
        <p:txBody>
          <a:bodyPr wrap="square" lIns="0" tIns="0" rIns="0" bIns="0" rtlCol="0"/>
          <a:lstStyle/>
          <a:p>
            <a:endParaRPr/>
          </a:p>
        </p:txBody>
      </p:sp>
      <p:sp>
        <p:nvSpPr>
          <p:cNvPr id="90" name="object 90"/>
          <p:cNvSpPr/>
          <p:nvPr/>
        </p:nvSpPr>
        <p:spPr>
          <a:xfrm>
            <a:off x="6053328" y="5522976"/>
            <a:ext cx="1724025" cy="370840"/>
          </a:xfrm>
          <a:custGeom>
            <a:avLst/>
            <a:gdLst/>
            <a:ahLst/>
            <a:cxnLst/>
            <a:rect l="l" t="t" r="r" b="b"/>
            <a:pathLst>
              <a:path w="1724025" h="370839">
                <a:moveTo>
                  <a:pt x="1661922" y="0"/>
                </a:moveTo>
                <a:lnTo>
                  <a:pt x="61722" y="0"/>
                </a:lnTo>
                <a:lnTo>
                  <a:pt x="37719" y="4857"/>
                </a:lnTo>
                <a:lnTo>
                  <a:pt x="18097" y="18097"/>
                </a:lnTo>
                <a:lnTo>
                  <a:pt x="4857" y="37719"/>
                </a:lnTo>
                <a:lnTo>
                  <a:pt x="0" y="61721"/>
                </a:lnTo>
                <a:lnTo>
                  <a:pt x="0" y="308610"/>
                </a:lnTo>
                <a:lnTo>
                  <a:pt x="4857" y="332634"/>
                </a:lnTo>
                <a:lnTo>
                  <a:pt x="18097" y="352253"/>
                </a:lnTo>
                <a:lnTo>
                  <a:pt x="37719" y="365481"/>
                </a:lnTo>
                <a:lnTo>
                  <a:pt x="61722" y="370332"/>
                </a:lnTo>
                <a:lnTo>
                  <a:pt x="1661922" y="370332"/>
                </a:lnTo>
                <a:lnTo>
                  <a:pt x="1685925" y="365481"/>
                </a:lnTo>
                <a:lnTo>
                  <a:pt x="1705546" y="352253"/>
                </a:lnTo>
                <a:lnTo>
                  <a:pt x="1718786" y="332634"/>
                </a:lnTo>
                <a:lnTo>
                  <a:pt x="1723644" y="308610"/>
                </a:lnTo>
                <a:lnTo>
                  <a:pt x="1723644" y="61721"/>
                </a:lnTo>
                <a:lnTo>
                  <a:pt x="1718786" y="37719"/>
                </a:lnTo>
                <a:lnTo>
                  <a:pt x="1705546" y="18097"/>
                </a:lnTo>
                <a:lnTo>
                  <a:pt x="1685925" y="4857"/>
                </a:lnTo>
                <a:lnTo>
                  <a:pt x="1661922" y="0"/>
                </a:lnTo>
                <a:close/>
              </a:path>
            </a:pathLst>
          </a:custGeom>
          <a:solidFill>
            <a:srgbClr val="6FAC0F"/>
          </a:solidFill>
        </p:spPr>
        <p:txBody>
          <a:bodyPr wrap="square" lIns="0" tIns="0" rIns="0" bIns="0" rtlCol="0"/>
          <a:lstStyle/>
          <a:p>
            <a:endParaRPr/>
          </a:p>
        </p:txBody>
      </p:sp>
      <p:sp>
        <p:nvSpPr>
          <p:cNvPr id="91" name="object 91"/>
          <p:cNvSpPr txBox="1"/>
          <p:nvPr/>
        </p:nvSpPr>
        <p:spPr>
          <a:xfrm>
            <a:off x="6274689" y="5620003"/>
            <a:ext cx="1281430" cy="162560"/>
          </a:xfrm>
          <a:prstGeom prst="rect">
            <a:avLst/>
          </a:prstGeom>
        </p:spPr>
        <p:txBody>
          <a:bodyPr vert="horz" wrap="square" lIns="0" tIns="12700" rIns="0" bIns="0" rtlCol="0">
            <a:spAutoFit/>
          </a:bodyPr>
          <a:lstStyle/>
          <a:p>
            <a:pPr marL="12700">
              <a:lnSpc>
                <a:spcPct val="100000"/>
              </a:lnSpc>
              <a:spcBef>
                <a:spcPts val="100"/>
              </a:spcBef>
            </a:pPr>
            <a:r>
              <a:rPr sz="900" b="1" spc="-5">
                <a:solidFill>
                  <a:srgbClr val="FFFFFF"/>
                </a:solidFill>
                <a:latin typeface="Verdana"/>
                <a:cs typeface="Verdana"/>
              </a:rPr>
              <a:t>Multi-Speed</a:t>
            </a:r>
            <a:r>
              <a:rPr sz="900" b="1" spc="-40">
                <a:solidFill>
                  <a:srgbClr val="FFFFFF"/>
                </a:solidFill>
                <a:latin typeface="Verdana"/>
                <a:cs typeface="Verdana"/>
              </a:rPr>
              <a:t> </a:t>
            </a:r>
            <a:r>
              <a:rPr sz="900" b="1" spc="-5">
                <a:solidFill>
                  <a:srgbClr val="FFFFFF"/>
                </a:solidFill>
                <a:latin typeface="Verdana"/>
                <a:cs typeface="Verdana"/>
              </a:rPr>
              <a:t>Models</a:t>
            </a:r>
            <a:endParaRPr sz="900">
              <a:latin typeface="Verdana"/>
              <a:cs typeface="Verdana"/>
            </a:endParaRPr>
          </a:p>
        </p:txBody>
      </p:sp>
      <p:sp>
        <p:nvSpPr>
          <p:cNvPr id="92" name="object 92"/>
          <p:cNvSpPr/>
          <p:nvPr/>
        </p:nvSpPr>
        <p:spPr>
          <a:xfrm>
            <a:off x="5847588" y="3962400"/>
            <a:ext cx="1115567" cy="524256"/>
          </a:xfrm>
          <a:prstGeom prst="rect">
            <a:avLst/>
          </a:prstGeom>
          <a:blipFill>
            <a:blip r:embed="rId20" cstate="print"/>
            <a:stretch>
              <a:fillRect/>
            </a:stretch>
          </a:blipFill>
        </p:spPr>
        <p:txBody>
          <a:bodyPr wrap="square" lIns="0" tIns="0" rIns="0" bIns="0" rtlCol="0"/>
          <a:lstStyle/>
          <a:p>
            <a:endParaRPr/>
          </a:p>
        </p:txBody>
      </p:sp>
      <p:sp>
        <p:nvSpPr>
          <p:cNvPr id="93" name="object 93"/>
          <p:cNvSpPr/>
          <p:nvPr/>
        </p:nvSpPr>
        <p:spPr>
          <a:xfrm>
            <a:off x="8968740" y="4204715"/>
            <a:ext cx="1095755" cy="263651"/>
          </a:xfrm>
          <a:prstGeom prst="rect">
            <a:avLst/>
          </a:prstGeom>
          <a:blipFill>
            <a:blip r:embed="rId21" cstate="print"/>
            <a:stretch>
              <a:fillRect/>
            </a:stretch>
          </a:blipFill>
        </p:spPr>
        <p:txBody>
          <a:bodyPr wrap="square" lIns="0" tIns="0" rIns="0" bIns="0" rtlCol="0"/>
          <a:lstStyle/>
          <a:p>
            <a:endParaRPr/>
          </a:p>
        </p:txBody>
      </p:sp>
      <p:sp>
        <p:nvSpPr>
          <p:cNvPr id="94" name="object 94"/>
          <p:cNvSpPr/>
          <p:nvPr/>
        </p:nvSpPr>
        <p:spPr>
          <a:xfrm>
            <a:off x="10351007" y="2631948"/>
            <a:ext cx="1095755" cy="202691"/>
          </a:xfrm>
          <a:prstGeom prst="rect">
            <a:avLst/>
          </a:prstGeom>
          <a:blipFill>
            <a:blip r:embed="rId22" cstate="print"/>
            <a:stretch>
              <a:fillRect/>
            </a:stretch>
          </a:blipFill>
        </p:spPr>
        <p:txBody>
          <a:bodyPr wrap="square" lIns="0" tIns="0" rIns="0" bIns="0" rtlCol="0"/>
          <a:lstStyle/>
          <a:p>
            <a:endParaRPr/>
          </a:p>
        </p:txBody>
      </p:sp>
      <p:sp>
        <p:nvSpPr>
          <p:cNvPr id="95" name="object 95"/>
          <p:cNvSpPr/>
          <p:nvPr/>
        </p:nvSpPr>
        <p:spPr>
          <a:xfrm>
            <a:off x="4372355" y="5018532"/>
            <a:ext cx="1464564" cy="496824"/>
          </a:xfrm>
          <a:prstGeom prst="rect">
            <a:avLst/>
          </a:prstGeom>
          <a:blipFill>
            <a:blip r:embed="rId23" cstate="print"/>
            <a:stretch>
              <a:fillRect/>
            </a:stretch>
          </a:blipFill>
        </p:spPr>
        <p:txBody>
          <a:bodyPr wrap="square" lIns="0" tIns="0" rIns="0" bIns="0" rtlCol="0"/>
          <a:lstStyle/>
          <a:p>
            <a:endParaRPr/>
          </a:p>
        </p:txBody>
      </p:sp>
      <p:sp>
        <p:nvSpPr>
          <p:cNvPr id="96" name="object 96"/>
          <p:cNvSpPr/>
          <p:nvPr/>
        </p:nvSpPr>
        <p:spPr>
          <a:xfrm>
            <a:off x="9060180" y="5920742"/>
            <a:ext cx="1725241" cy="291081"/>
          </a:xfrm>
          <a:prstGeom prst="rect">
            <a:avLst/>
          </a:prstGeom>
          <a:blipFill>
            <a:blip r:embed="rId24" cstate="print"/>
            <a:stretch>
              <a:fillRect/>
            </a:stretch>
          </a:blipFill>
        </p:spPr>
        <p:txBody>
          <a:bodyPr wrap="square" lIns="0" tIns="0" rIns="0" bIns="0" rtlCol="0"/>
          <a:lstStyle/>
          <a:p>
            <a:endParaRPr/>
          </a:p>
        </p:txBody>
      </p:sp>
      <p:sp>
        <p:nvSpPr>
          <p:cNvPr id="97" name="object 97"/>
          <p:cNvSpPr/>
          <p:nvPr/>
        </p:nvSpPr>
        <p:spPr>
          <a:xfrm>
            <a:off x="1059180" y="6059423"/>
            <a:ext cx="10285730" cy="599440"/>
          </a:xfrm>
          <a:custGeom>
            <a:avLst/>
            <a:gdLst/>
            <a:ahLst/>
            <a:cxnLst/>
            <a:rect l="l" t="t" r="r" b="b"/>
            <a:pathLst>
              <a:path w="10285730" h="599440">
                <a:moveTo>
                  <a:pt x="9986010" y="0"/>
                </a:moveTo>
                <a:lnTo>
                  <a:pt x="9986010" y="149732"/>
                </a:lnTo>
                <a:lnTo>
                  <a:pt x="0" y="149732"/>
                </a:lnTo>
                <a:lnTo>
                  <a:pt x="0" y="449198"/>
                </a:lnTo>
                <a:lnTo>
                  <a:pt x="9986010" y="449198"/>
                </a:lnTo>
                <a:lnTo>
                  <a:pt x="9986010" y="598932"/>
                </a:lnTo>
                <a:lnTo>
                  <a:pt x="10285476" y="299466"/>
                </a:lnTo>
                <a:lnTo>
                  <a:pt x="9986010" y="0"/>
                </a:lnTo>
                <a:close/>
              </a:path>
            </a:pathLst>
          </a:custGeom>
          <a:solidFill>
            <a:srgbClr val="12ABDB"/>
          </a:solidFill>
        </p:spPr>
        <p:txBody>
          <a:bodyPr wrap="square" lIns="0" tIns="0" rIns="0" bIns="0" rtlCol="0"/>
          <a:lstStyle/>
          <a:p>
            <a:endParaRPr/>
          </a:p>
        </p:txBody>
      </p:sp>
      <p:sp>
        <p:nvSpPr>
          <p:cNvPr id="98" name="object 98"/>
          <p:cNvSpPr/>
          <p:nvPr/>
        </p:nvSpPr>
        <p:spPr>
          <a:xfrm>
            <a:off x="1648967" y="6196584"/>
            <a:ext cx="9105900" cy="280670"/>
          </a:xfrm>
          <a:custGeom>
            <a:avLst/>
            <a:gdLst/>
            <a:ahLst/>
            <a:cxnLst/>
            <a:rect l="l" t="t" r="r" b="b"/>
            <a:pathLst>
              <a:path w="9105900" h="280670">
                <a:moveTo>
                  <a:pt x="0" y="280415"/>
                </a:moveTo>
                <a:lnTo>
                  <a:pt x="9105900" y="280415"/>
                </a:lnTo>
                <a:lnTo>
                  <a:pt x="9105900" y="0"/>
                </a:lnTo>
                <a:lnTo>
                  <a:pt x="0" y="0"/>
                </a:lnTo>
                <a:lnTo>
                  <a:pt x="0" y="280415"/>
                </a:lnTo>
                <a:close/>
              </a:path>
            </a:pathLst>
          </a:custGeom>
          <a:solidFill>
            <a:srgbClr val="12ABDB"/>
          </a:solidFill>
        </p:spPr>
        <p:txBody>
          <a:bodyPr wrap="square" lIns="0" tIns="0" rIns="0" bIns="0" rtlCol="0"/>
          <a:lstStyle/>
          <a:p>
            <a:endParaRPr/>
          </a:p>
        </p:txBody>
      </p:sp>
      <p:sp>
        <p:nvSpPr>
          <p:cNvPr id="99" name="object 99"/>
          <p:cNvSpPr txBox="1"/>
          <p:nvPr/>
        </p:nvSpPr>
        <p:spPr>
          <a:xfrm>
            <a:off x="1709673" y="6232042"/>
            <a:ext cx="8982710" cy="208279"/>
          </a:xfrm>
          <a:prstGeom prst="rect">
            <a:avLst/>
          </a:prstGeom>
        </p:spPr>
        <p:txBody>
          <a:bodyPr vert="horz" wrap="square" lIns="0" tIns="12700" rIns="0" bIns="0" rtlCol="0">
            <a:spAutoFit/>
          </a:bodyPr>
          <a:lstStyle/>
          <a:p>
            <a:pPr marL="12700">
              <a:lnSpc>
                <a:spcPct val="100000"/>
              </a:lnSpc>
              <a:spcBef>
                <a:spcPts val="100"/>
              </a:spcBef>
            </a:pPr>
            <a:r>
              <a:rPr sz="1200" spc="-20">
                <a:solidFill>
                  <a:srgbClr val="FFFFFF"/>
                </a:solidFill>
                <a:latin typeface="Verdana"/>
                <a:cs typeface="Verdana"/>
              </a:rPr>
              <a:t>Transform </a:t>
            </a:r>
            <a:r>
              <a:rPr sz="1200" spc="-5">
                <a:solidFill>
                  <a:srgbClr val="FFFFFF"/>
                </a:solidFill>
                <a:latin typeface="Verdana"/>
                <a:cs typeface="Verdana"/>
              </a:rPr>
              <a:t>application </a:t>
            </a:r>
            <a:r>
              <a:rPr sz="1200">
                <a:solidFill>
                  <a:srgbClr val="FFFFFF"/>
                </a:solidFill>
                <a:latin typeface="Verdana"/>
                <a:cs typeface="Verdana"/>
              </a:rPr>
              <a:t>services from a </a:t>
            </a:r>
            <a:r>
              <a:rPr sz="1200" spc="-5">
                <a:solidFill>
                  <a:srgbClr val="FFFFFF"/>
                </a:solidFill>
                <a:latin typeface="Verdana"/>
                <a:cs typeface="Verdana"/>
              </a:rPr>
              <a:t>passive </a:t>
            </a:r>
            <a:r>
              <a:rPr sz="1200">
                <a:solidFill>
                  <a:srgbClr val="FFFFFF"/>
                </a:solidFill>
                <a:latin typeface="Verdana"/>
                <a:cs typeface="Verdana"/>
              </a:rPr>
              <a:t>IT </a:t>
            </a:r>
            <a:r>
              <a:rPr sz="1200" spc="-5">
                <a:solidFill>
                  <a:srgbClr val="FFFFFF"/>
                </a:solidFill>
                <a:latin typeface="Verdana"/>
                <a:cs typeface="Verdana"/>
              </a:rPr>
              <a:t>role to </a:t>
            </a:r>
            <a:r>
              <a:rPr sz="1200">
                <a:solidFill>
                  <a:srgbClr val="FFFFFF"/>
                </a:solidFill>
                <a:latin typeface="Verdana"/>
                <a:cs typeface="Verdana"/>
              </a:rPr>
              <a:t>an </a:t>
            </a:r>
            <a:r>
              <a:rPr sz="1200" b="1">
                <a:solidFill>
                  <a:srgbClr val="FFFFFF"/>
                </a:solidFill>
                <a:latin typeface="Verdana"/>
                <a:cs typeface="Verdana"/>
              </a:rPr>
              <a:t>active </a:t>
            </a:r>
            <a:r>
              <a:rPr sz="1200" b="1" spc="-10">
                <a:solidFill>
                  <a:srgbClr val="FFFFFF"/>
                </a:solidFill>
                <a:latin typeface="Verdana"/>
                <a:cs typeface="Verdana"/>
              </a:rPr>
              <a:t>enabler </a:t>
            </a:r>
            <a:r>
              <a:rPr sz="1200" b="1">
                <a:solidFill>
                  <a:srgbClr val="FFFFFF"/>
                </a:solidFill>
                <a:latin typeface="Verdana"/>
                <a:cs typeface="Verdana"/>
              </a:rPr>
              <a:t>of </a:t>
            </a:r>
            <a:r>
              <a:rPr sz="1200" b="1" spc="-5">
                <a:solidFill>
                  <a:srgbClr val="FFFFFF"/>
                </a:solidFill>
                <a:latin typeface="Verdana"/>
                <a:cs typeface="Verdana"/>
              </a:rPr>
              <a:t>business growth </a:t>
            </a:r>
            <a:r>
              <a:rPr sz="1200" b="1">
                <a:solidFill>
                  <a:srgbClr val="FFFFFF"/>
                </a:solidFill>
                <a:latin typeface="Verdana"/>
                <a:cs typeface="Verdana"/>
              </a:rPr>
              <a:t>in </a:t>
            </a:r>
            <a:r>
              <a:rPr sz="1200" b="1" spc="-5">
                <a:solidFill>
                  <a:srgbClr val="FFFFFF"/>
                </a:solidFill>
                <a:latin typeface="Verdana"/>
                <a:cs typeface="Verdana"/>
              </a:rPr>
              <a:t>the digital</a:t>
            </a:r>
            <a:r>
              <a:rPr sz="1200" b="1" spc="125">
                <a:solidFill>
                  <a:srgbClr val="FFFFFF"/>
                </a:solidFill>
                <a:latin typeface="Verdana"/>
                <a:cs typeface="Verdana"/>
              </a:rPr>
              <a:t> </a:t>
            </a:r>
            <a:r>
              <a:rPr sz="1200" b="1">
                <a:solidFill>
                  <a:srgbClr val="FFFFFF"/>
                </a:solidFill>
                <a:latin typeface="Verdana"/>
                <a:cs typeface="Verdana"/>
              </a:rPr>
              <a:t>age</a:t>
            </a:r>
            <a:endParaRPr sz="1200">
              <a:latin typeface="Verdana"/>
              <a:cs typeface="Verdana"/>
            </a:endParaRPr>
          </a:p>
        </p:txBody>
      </p:sp>
      <p:sp>
        <p:nvSpPr>
          <p:cNvPr id="100" name="object 100"/>
          <p:cNvSpPr/>
          <p:nvPr/>
        </p:nvSpPr>
        <p:spPr>
          <a:xfrm>
            <a:off x="220871" y="252630"/>
            <a:ext cx="751223" cy="752624"/>
          </a:xfrm>
          <a:prstGeom prst="rect">
            <a:avLst/>
          </a:prstGeom>
          <a:blipFill>
            <a:blip r:embed="rId25" cstate="print"/>
            <a:stretch>
              <a:fillRect/>
            </a:stretch>
          </a:blipFill>
        </p:spPr>
        <p:txBody>
          <a:bodyPr wrap="square" lIns="0" tIns="0" rIns="0" bIns="0" rtlCol="0"/>
          <a:lstStyle/>
          <a:p>
            <a:endParaRPr/>
          </a:p>
        </p:txBody>
      </p:sp>
      <p:sp>
        <p:nvSpPr>
          <p:cNvPr id="101" name="object 10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02" name="object 10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33</a:t>
            </a:fld>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9" name="object 9"/>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0" name="object 10"/>
          <p:cNvSpPr txBox="1"/>
          <p:nvPr/>
        </p:nvSpPr>
        <p:spPr>
          <a:xfrm>
            <a:off x="521614" y="1876755"/>
            <a:ext cx="736600" cy="697230"/>
          </a:xfrm>
          <a:prstGeom prst="rect">
            <a:avLst/>
          </a:prstGeom>
        </p:spPr>
        <p:txBody>
          <a:bodyPr vert="horz" wrap="square" lIns="0" tIns="13335" rIns="0" bIns="0" rtlCol="0">
            <a:spAutoFit/>
          </a:bodyPr>
          <a:lstStyle/>
          <a:p>
            <a:pPr marL="12700">
              <a:lnSpc>
                <a:spcPct val="100000"/>
              </a:lnSpc>
              <a:spcBef>
                <a:spcPts val="105"/>
              </a:spcBef>
            </a:pPr>
            <a:r>
              <a:rPr sz="4400" spc="-5">
                <a:solidFill>
                  <a:srgbClr val="FFFFFF"/>
                </a:solidFill>
                <a:latin typeface="Verdana"/>
                <a:cs typeface="Verdana"/>
              </a:rPr>
              <a:t>03</a:t>
            </a:r>
            <a:endParaRPr sz="4400">
              <a:latin typeface="Verdana"/>
              <a:cs typeface="Verdana"/>
            </a:endParaRPr>
          </a:p>
        </p:txBody>
      </p:sp>
      <p:sp>
        <p:nvSpPr>
          <p:cNvPr id="11" name="object 11"/>
          <p:cNvSpPr/>
          <p:nvPr/>
        </p:nvSpPr>
        <p:spPr>
          <a:xfrm>
            <a:off x="464819" y="2657855"/>
            <a:ext cx="914400" cy="0"/>
          </a:xfrm>
          <a:custGeom>
            <a:avLst/>
            <a:gdLst/>
            <a:ahLst/>
            <a:cxnLst/>
            <a:rect l="l" t="t" r="r" b="b"/>
            <a:pathLst>
              <a:path w="914400">
                <a:moveTo>
                  <a:pt x="0" y="0"/>
                </a:moveTo>
                <a:lnTo>
                  <a:pt x="914400" y="0"/>
                </a:lnTo>
              </a:path>
            </a:pathLst>
          </a:custGeom>
          <a:ln w="6096">
            <a:solidFill>
              <a:srgbClr val="FFFFFF"/>
            </a:solidFill>
          </a:ln>
        </p:spPr>
        <p:txBody>
          <a:bodyPr wrap="square" lIns="0" tIns="0" rIns="0" bIns="0" rtlCol="0"/>
          <a:lstStyle/>
          <a:p>
            <a:endParaRPr/>
          </a:p>
        </p:txBody>
      </p:sp>
      <p:sp>
        <p:nvSpPr>
          <p:cNvPr id="12" name="object 12"/>
          <p:cNvSpPr txBox="1">
            <a:spLocks noGrp="1"/>
          </p:cNvSpPr>
          <p:nvPr>
            <p:ph type="title"/>
          </p:nvPr>
        </p:nvSpPr>
        <p:spPr>
          <a:xfrm>
            <a:off x="540207" y="2902153"/>
            <a:ext cx="1618615" cy="3314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Re</a:t>
            </a:r>
            <a:r>
              <a:rPr sz="2000" b="1" spc="5">
                <a:solidFill>
                  <a:srgbClr val="FFFFFF"/>
                </a:solidFill>
                <a:latin typeface="Verdana"/>
                <a:cs typeface="Verdana"/>
              </a:rPr>
              <a:t>f</a:t>
            </a:r>
            <a:r>
              <a:rPr sz="2000" b="1" spc="-5">
                <a:solidFill>
                  <a:srgbClr val="FFFFFF"/>
                </a:solidFill>
                <a:latin typeface="Verdana"/>
                <a:cs typeface="Verdana"/>
              </a:rPr>
              <a:t>erenc</a:t>
            </a:r>
            <a:r>
              <a:rPr sz="2000" b="1" spc="-10">
                <a:solidFill>
                  <a:srgbClr val="FFFFFF"/>
                </a:solidFill>
                <a:latin typeface="Verdana"/>
                <a:cs typeface="Verdana"/>
              </a:rPr>
              <a:t>e</a:t>
            </a:r>
            <a:r>
              <a:rPr sz="2000" b="1">
                <a:solidFill>
                  <a:srgbClr val="FFFFFF"/>
                </a:solidFill>
                <a:latin typeface="Verdana"/>
                <a:cs typeface="Verdana"/>
              </a:rPr>
              <a:t>s</a:t>
            </a:r>
            <a:endParaRPr sz="2000">
              <a:latin typeface="Verdana"/>
              <a:cs typeface="Verdana"/>
            </a:endParaRPr>
          </a:p>
        </p:txBody>
      </p:sp>
      <p:sp>
        <p:nvSpPr>
          <p:cNvPr id="13" name="object 1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4" name="object 1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34</a:t>
            </a:fld>
            <a:endParaRPr/>
          </a:p>
        </p:txBody>
      </p:sp>
      <p:pic>
        <p:nvPicPr>
          <p:cNvPr id="15" name="Picture 14">
            <a:extLst>
              <a:ext uri="{FF2B5EF4-FFF2-40B4-BE49-F238E27FC236}">
                <a16:creationId xmlns:a16="http://schemas.microsoft.com/office/drawing/2014/main" id="{AB8BABFF-9240-4FDA-9A92-FE973CD46847}"/>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2571750" cy="422275"/>
          </a:xfrm>
          <a:prstGeom prst="rect">
            <a:avLst/>
          </a:prstGeom>
        </p:spPr>
        <p:txBody>
          <a:bodyPr vert="horz" wrap="square" lIns="0" tIns="12700" rIns="0" bIns="0" rtlCol="0">
            <a:spAutoFit/>
          </a:bodyPr>
          <a:lstStyle/>
          <a:p>
            <a:pPr marL="12700">
              <a:lnSpc>
                <a:spcPct val="100000"/>
              </a:lnSpc>
              <a:spcBef>
                <a:spcPts val="100"/>
              </a:spcBef>
            </a:pPr>
            <a:r>
              <a:rPr sz="2600" spc="-30"/>
              <a:t>Key</a:t>
            </a:r>
            <a:r>
              <a:rPr sz="2600" spc="-60"/>
              <a:t> </a:t>
            </a:r>
            <a:r>
              <a:rPr sz="2600" spc="-10"/>
              <a:t>References</a:t>
            </a:r>
            <a:endParaRPr sz="2600"/>
          </a:p>
        </p:txBody>
      </p:sp>
      <p:sp>
        <p:nvSpPr>
          <p:cNvPr id="3" name="object 3"/>
          <p:cNvSpPr txBox="1"/>
          <p:nvPr/>
        </p:nvSpPr>
        <p:spPr>
          <a:xfrm>
            <a:off x="306120" y="6307327"/>
            <a:ext cx="3660140" cy="177800"/>
          </a:xfrm>
          <a:prstGeom prst="rect">
            <a:avLst/>
          </a:prstGeom>
        </p:spPr>
        <p:txBody>
          <a:bodyPr vert="horz" wrap="square" lIns="0" tIns="12065" rIns="0" bIns="0" rtlCol="0">
            <a:spAutoFit/>
          </a:bodyPr>
          <a:lstStyle/>
          <a:p>
            <a:pPr marL="12700">
              <a:lnSpc>
                <a:spcPct val="100000"/>
              </a:lnSpc>
              <a:spcBef>
                <a:spcPts val="95"/>
              </a:spcBef>
            </a:pPr>
            <a:r>
              <a:rPr sz="1000">
                <a:latin typeface="Verdana"/>
                <a:cs typeface="Verdana"/>
              </a:rPr>
              <a:t>*(Additional </a:t>
            </a:r>
            <a:r>
              <a:rPr sz="1000" spc="-5">
                <a:latin typeface="Verdana"/>
                <a:cs typeface="Verdana"/>
              </a:rPr>
              <a:t>references can be provided </a:t>
            </a:r>
            <a:r>
              <a:rPr sz="1000">
                <a:latin typeface="Verdana"/>
                <a:cs typeface="Verdana"/>
              </a:rPr>
              <a:t>if it is</a:t>
            </a:r>
            <a:r>
              <a:rPr sz="1000" spc="65">
                <a:latin typeface="Verdana"/>
                <a:cs typeface="Verdana"/>
              </a:rPr>
              <a:t> </a:t>
            </a:r>
            <a:r>
              <a:rPr sz="1000" spc="-10">
                <a:latin typeface="Verdana"/>
                <a:cs typeface="Verdana"/>
              </a:rPr>
              <a:t>necessary</a:t>
            </a:r>
            <a:endParaRPr sz="1000">
              <a:latin typeface="Verdana"/>
              <a:cs typeface="Verdana"/>
            </a:endParaRPr>
          </a:p>
        </p:txBody>
      </p:sp>
      <p:sp>
        <p:nvSpPr>
          <p:cNvPr id="4" name="object 4"/>
          <p:cNvSpPr/>
          <p:nvPr/>
        </p:nvSpPr>
        <p:spPr>
          <a:xfrm>
            <a:off x="6924511" y="1131439"/>
            <a:ext cx="640715" cy="610870"/>
          </a:xfrm>
          <a:custGeom>
            <a:avLst/>
            <a:gdLst/>
            <a:ahLst/>
            <a:cxnLst/>
            <a:rect l="l" t="t" r="r" b="b"/>
            <a:pathLst>
              <a:path w="640715" h="610869">
                <a:moveTo>
                  <a:pt x="61123" y="495049"/>
                </a:moveTo>
                <a:lnTo>
                  <a:pt x="36075" y="456419"/>
                </a:lnTo>
                <a:lnTo>
                  <a:pt x="17601" y="415587"/>
                </a:lnTo>
                <a:lnTo>
                  <a:pt x="5607" y="373228"/>
                </a:lnTo>
                <a:lnTo>
                  <a:pt x="0" y="330017"/>
                </a:lnTo>
                <a:lnTo>
                  <a:pt x="683" y="286631"/>
                </a:lnTo>
                <a:lnTo>
                  <a:pt x="7563" y="243745"/>
                </a:lnTo>
                <a:lnTo>
                  <a:pt x="20545" y="202034"/>
                </a:lnTo>
                <a:lnTo>
                  <a:pt x="39535" y="162174"/>
                </a:lnTo>
                <a:lnTo>
                  <a:pt x="64439" y="124840"/>
                </a:lnTo>
                <a:lnTo>
                  <a:pt x="95161" y="90709"/>
                </a:lnTo>
                <a:lnTo>
                  <a:pt x="131608" y="60455"/>
                </a:lnTo>
                <a:lnTo>
                  <a:pt x="172203" y="35960"/>
                </a:lnTo>
                <a:lnTo>
                  <a:pt x="214969" y="17772"/>
                </a:lnTo>
                <a:lnTo>
                  <a:pt x="259213" y="5811"/>
                </a:lnTo>
                <a:lnTo>
                  <a:pt x="304240" y="0"/>
                </a:lnTo>
                <a:lnTo>
                  <a:pt x="349358" y="257"/>
                </a:lnTo>
                <a:lnTo>
                  <a:pt x="393871" y="6506"/>
                </a:lnTo>
                <a:lnTo>
                  <a:pt x="437087" y="18666"/>
                </a:lnTo>
                <a:lnTo>
                  <a:pt x="478311" y="36659"/>
                </a:lnTo>
                <a:lnTo>
                  <a:pt x="516849" y="60406"/>
                </a:lnTo>
                <a:lnTo>
                  <a:pt x="552008" y="89827"/>
                </a:lnTo>
                <a:lnTo>
                  <a:pt x="583093" y="124844"/>
                </a:lnTo>
                <a:lnTo>
                  <a:pt x="609929" y="167418"/>
                </a:lnTo>
                <a:lnTo>
                  <a:pt x="628221" y="211633"/>
                </a:lnTo>
                <a:lnTo>
                  <a:pt x="638256" y="256813"/>
                </a:lnTo>
                <a:lnTo>
                  <a:pt x="640320" y="302282"/>
                </a:lnTo>
                <a:lnTo>
                  <a:pt x="634703" y="347363"/>
                </a:lnTo>
                <a:lnTo>
                  <a:pt x="621690" y="391382"/>
                </a:lnTo>
                <a:lnTo>
                  <a:pt x="601569" y="433662"/>
                </a:lnTo>
                <a:lnTo>
                  <a:pt x="574628" y="473527"/>
                </a:lnTo>
                <a:lnTo>
                  <a:pt x="541153" y="510301"/>
                </a:lnTo>
                <a:lnTo>
                  <a:pt x="501432" y="543309"/>
                </a:lnTo>
                <a:lnTo>
                  <a:pt x="461069" y="568176"/>
                </a:lnTo>
                <a:lnTo>
                  <a:pt x="418999" y="587387"/>
                </a:lnTo>
                <a:lnTo>
                  <a:pt x="375813" y="600876"/>
                </a:lnTo>
                <a:lnTo>
                  <a:pt x="332103" y="608579"/>
                </a:lnTo>
                <a:lnTo>
                  <a:pt x="288459" y="610431"/>
                </a:lnTo>
                <a:lnTo>
                  <a:pt x="245474" y="606367"/>
                </a:lnTo>
                <a:lnTo>
                  <a:pt x="203739" y="596323"/>
                </a:lnTo>
                <a:lnTo>
                  <a:pt x="163845" y="580233"/>
                </a:lnTo>
                <a:lnTo>
                  <a:pt x="126383" y="558034"/>
                </a:lnTo>
                <a:lnTo>
                  <a:pt x="91945" y="529661"/>
                </a:lnTo>
                <a:lnTo>
                  <a:pt x="61123" y="495049"/>
                </a:lnTo>
              </a:path>
            </a:pathLst>
          </a:custGeom>
          <a:ln w="19811">
            <a:solidFill>
              <a:srgbClr val="12ABDB"/>
            </a:solidFill>
          </a:ln>
        </p:spPr>
        <p:txBody>
          <a:bodyPr wrap="square" lIns="0" tIns="0" rIns="0" bIns="0" rtlCol="0"/>
          <a:lstStyle/>
          <a:p>
            <a:endParaRPr/>
          </a:p>
        </p:txBody>
      </p:sp>
      <p:sp>
        <p:nvSpPr>
          <p:cNvPr id="5" name="object 5"/>
          <p:cNvSpPr/>
          <p:nvPr/>
        </p:nvSpPr>
        <p:spPr>
          <a:xfrm>
            <a:off x="220979" y="1773935"/>
            <a:ext cx="1028700" cy="662939"/>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246888" y="1876044"/>
            <a:ext cx="1028700" cy="505967"/>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227075" y="1751076"/>
            <a:ext cx="1026160" cy="660400"/>
          </a:xfrm>
          <a:custGeom>
            <a:avLst/>
            <a:gdLst/>
            <a:ahLst/>
            <a:cxnLst/>
            <a:rect l="l" t="t" r="r" b="b"/>
            <a:pathLst>
              <a:path w="1026160" h="660400">
                <a:moveTo>
                  <a:pt x="967943" y="0"/>
                </a:moveTo>
                <a:lnTo>
                  <a:pt x="57708" y="0"/>
                </a:lnTo>
                <a:lnTo>
                  <a:pt x="35249" y="4526"/>
                </a:lnTo>
                <a:lnTo>
                  <a:pt x="16905" y="16875"/>
                </a:lnTo>
                <a:lnTo>
                  <a:pt x="4536" y="35200"/>
                </a:lnTo>
                <a:lnTo>
                  <a:pt x="0" y="57658"/>
                </a:lnTo>
                <a:lnTo>
                  <a:pt x="0" y="602234"/>
                </a:lnTo>
                <a:lnTo>
                  <a:pt x="4536" y="624691"/>
                </a:lnTo>
                <a:lnTo>
                  <a:pt x="16905" y="643016"/>
                </a:lnTo>
                <a:lnTo>
                  <a:pt x="35249" y="655365"/>
                </a:lnTo>
                <a:lnTo>
                  <a:pt x="57708" y="659891"/>
                </a:lnTo>
                <a:lnTo>
                  <a:pt x="967943" y="659891"/>
                </a:lnTo>
                <a:lnTo>
                  <a:pt x="990402" y="655365"/>
                </a:lnTo>
                <a:lnTo>
                  <a:pt x="1008746" y="643016"/>
                </a:lnTo>
                <a:lnTo>
                  <a:pt x="1021115" y="624691"/>
                </a:lnTo>
                <a:lnTo>
                  <a:pt x="1025652" y="602234"/>
                </a:lnTo>
                <a:lnTo>
                  <a:pt x="1025652" y="57658"/>
                </a:lnTo>
                <a:lnTo>
                  <a:pt x="1021115" y="35200"/>
                </a:lnTo>
                <a:lnTo>
                  <a:pt x="1008746" y="16875"/>
                </a:lnTo>
                <a:lnTo>
                  <a:pt x="990402" y="4526"/>
                </a:lnTo>
                <a:lnTo>
                  <a:pt x="967943" y="0"/>
                </a:lnTo>
                <a:close/>
              </a:path>
            </a:pathLst>
          </a:custGeom>
          <a:solidFill>
            <a:srgbClr val="F1F1F1"/>
          </a:solidFill>
        </p:spPr>
        <p:txBody>
          <a:bodyPr wrap="square" lIns="0" tIns="0" rIns="0" bIns="0" rtlCol="0"/>
          <a:lstStyle/>
          <a:p>
            <a:endParaRPr/>
          </a:p>
        </p:txBody>
      </p:sp>
      <p:sp>
        <p:nvSpPr>
          <p:cNvPr id="8" name="object 8"/>
          <p:cNvSpPr txBox="1"/>
          <p:nvPr/>
        </p:nvSpPr>
        <p:spPr>
          <a:xfrm>
            <a:off x="331419" y="1884045"/>
            <a:ext cx="817880" cy="391160"/>
          </a:xfrm>
          <a:prstGeom prst="rect">
            <a:avLst/>
          </a:prstGeom>
        </p:spPr>
        <p:txBody>
          <a:bodyPr vert="horz" wrap="square" lIns="0" tIns="12700" rIns="0" bIns="0" rtlCol="0">
            <a:spAutoFit/>
          </a:bodyPr>
          <a:lstStyle/>
          <a:p>
            <a:pPr marL="161925" marR="5080" indent="-149860">
              <a:lnSpc>
                <a:spcPct val="100000"/>
              </a:lnSpc>
              <a:spcBef>
                <a:spcPts val="100"/>
              </a:spcBef>
            </a:pPr>
            <a:r>
              <a:rPr sz="1200" b="1" spc="-5">
                <a:latin typeface="Verdana"/>
                <a:cs typeface="Verdana"/>
              </a:rPr>
              <a:t>C</a:t>
            </a:r>
            <a:r>
              <a:rPr sz="1200" b="1">
                <a:latin typeface="Verdana"/>
                <a:cs typeface="Verdana"/>
              </a:rPr>
              <a:t>o</a:t>
            </a:r>
            <a:r>
              <a:rPr sz="1200" b="1" spc="-5">
                <a:latin typeface="Verdana"/>
                <a:cs typeface="Verdana"/>
              </a:rPr>
              <a:t>m</a:t>
            </a:r>
            <a:r>
              <a:rPr sz="1200" b="1">
                <a:latin typeface="Verdana"/>
                <a:cs typeface="Verdana"/>
              </a:rPr>
              <a:t>pany  </a:t>
            </a:r>
            <a:r>
              <a:rPr sz="1200" b="1" spc="-5">
                <a:latin typeface="Verdana"/>
                <a:cs typeface="Verdana"/>
              </a:rPr>
              <a:t>Name</a:t>
            </a:r>
            <a:endParaRPr sz="1200">
              <a:latin typeface="Verdana"/>
              <a:cs typeface="Verdana"/>
            </a:endParaRPr>
          </a:p>
        </p:txBody>
      </p:sp>
      <p:sp>
        <p:nvSpPr>
          <p:cNvPr id="9" name="object 9"/>
          <p:cNvSpPr/>
          <p:nvPr/>
        </p:nvSpPr>
        <p:spPr>
          <a:xfrm>
            <a:off x="418549" y="1131439"/>
            <a:ext cx="640715" cy="610870"/>
          </a:xfrm>
          <a:custGeom>
            <a:avLst/>
            <a:gdLst/>
            <a:ahLst/>
            <a:cxnLst/>
            <a:rect l="l" t="t" r="r" b="b"/>
            <a:pathLst>
              <a:path w="640715" h="610869">
                <a:moveTo>
                  <a:pt x="61168" y="495049"/>
                </a:moveTo>
                <a:lnTo>
                  <a:pt x="36108" y="456419"/>
                </a:lnTo>
                <a:lnTo>
                  <a:pt x="17623" y="415587"/>
                </a:lnTo>
                <a:lnTo>
                  <a:pt x="5618" y="373228"/>
                </a:lnTo>
                <a:lnTo>
                  <a:pt x="0" y="330017"/>
                </a:lnTo>
                <a:lnTo>
                  <a:pt x="674" y="286631"/>
                </a:lnTo>
                <a:lnTo>
                  <a:pt x="7547" y="243745"/>
                </a:lnTo>
                <a:lnTo>
                  <a:pt x="20525" y="202034"/>
                </a:lnTo>
                <a:lnTo>
                  <a:pt x="39515" y="162174"/>
                </a:lnTo>
                <a:lnTo>
                  <a:pt x="64422" y="124840"/>
                </a:lnTo>
                <a:lnTo>
                  <a:pt x="95153" y="90709"/>
                </a:lnTo>
                <a:lnTo>
                  <a:pt x="131614" y="60455"/>
                </a:lnTo>
                <a:lnTo>
                  <a:pt x="172220" y="35960"/>
                </a:lnTo>
                <a:lnTo>
                  <a:pt x="214991" y="17772"/>
                </a:lnTo>
                <a:lnTo>
                  <a:pt x="259234" y="5811"/>
                </a:lnTo>
                <a:lnTo>
                  <a:pt x="304258" y="0"/>
                </a:lnTo>
                <a:lnTo>
                  <a:pt x="349368" y="257"/>
                </a:lnTo>
                <a:lnTo>
                  <a:pt x="393873" y="6506"/>
                </a:lnTo>
                <a:lnTo>
                  <a:pt x="437079" y="18666"/>
                </a:lnTo>
                <a:lnTo>
                  <a:pt x="478294" y="36659"/>
                </a:lnTo>
                <a:lnTo>
                  <a:pt x="516825" y="60406"/>
                </a:lnTo>
                <a:lnTo>
                  <a:pt x="551978" y="89827"/>
                </a:lnTo>
                <a:lnTo>
                  <a:pt x="583061" y="124844"/>
                </a:lnTo>
                <a:lnTo>
                  <a:pt x="609907" y="167418"/>
                </a:lnTo>
                <a:lnTo>
                  <a:pt x="628204" y="211633"/>
                </a:lnTo>
                <a:lnTo>
                  <a:pt x="638241" y="256813"/>
                </a:lnTo>
                <a:lnTo>
                  <a:pt x="640306" y="302282"/>
                </a:lnTo>
                <a:lnTo>
                  <a:pt x="634687" y="347363"/>
                </a:lnTo>
                <a:lnTo>
                  <a:pt x="621672" y="391382"/>
                </a:lnTo>
                <a:lnTo>
                  <a:pt x="601549" y="433662"/>
                </a:lnTo>
                <a:lnTo>
                  <a:pt x="574606" y="473527"/>
                </a:lnTo>
                <a:lnTo>
                  <a:pt x="541132" y="510301"/>
                </a:lnTo>
                <a:lnTo>
                  <a:pt x="501413" y="543309"/>
                </a:lnTo>
                <a:lnTo>
                  <a:pt x="461066" y="568176"/>
                </a:lnTo>
                <a:lnTo>
                  <a:pt x="419009" y="587387"/>
                </a:lnTo>
                <a:lnTo>
                  <a:pt x="375833" y="600876"/>
                </a:lnTo>
                <a:lnTo>
                  <a:pt x="332131" y="608579"/>
                </a:lnTo>
                <a:lnTo>
                  <a:pt x="288493" y="610431"/>
                </a:lnTo>
                <a:lnTo>
                  <a:pt x="245512" y="606367"/>
                </a:lnTo>
                <a:lnTo>
                  <a:pt x="203780" y="596323"/>
                </a:lnTo>
                <a:lnTo>
                  <a:pt x="163888" y="580233"/>
                </a:lnTo>
                <a:lnTo>
                  <a:pt x="126427" y="558034"/>
                </a:lnTo>
                <a:lnTo>
                  <a:pt x="91990" y="529661"/>
                </a:lnTo>
                <a:lnTo>
                  <a:pt x="61168" y="495049"/>
                </a:lnTo>
              </a:path>
            </a:pathLst>
          </a:custGeom>
          <a:ln w="19812">
            <a:solidFill>
              <a:srgbClr val="12ABDB"/>
            </a:solidFill>
          </a:ln>
        </p:spPr>
        <p:txBody>
          <a:bodyPr wrap="square" lIns="0" tIns="0" rIns="0" bIns="0" rtlCol="0"/>
          <a:lstStyle/>
          <a:p>
            <a:endParaRPr/>
          </a:p>
        </p:txBody>
      </p:sp>
      <p:sp>
        <p:nvSpPr>
          <p:cNvPr id="10" name="object 10"/>
          <p:cNvSpPr/>
          <p:nvPr/>
        </p:nvSpPr>
        <p:spPr>
          <a:xfrm>
            <a:off x="1319783" y="1773935"/>
            <a:ext cx="2948940" cy="662939"/>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1347216" y="1738883"/>
            <a:ext cx="2933700" cy="765048"/>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1325880" y="1751076"/>
            <a:ext cx="2946400" cy="660400"/>
          </a:xfrm>
          <a:custGeom>
            <a:avLst/>
            <a:gdLst/>
            <a:ahLst/>
            <a:cxnLst/>
            <a:rect l="l" t="t" r="r" b="b"/>
            <a:pathLst>
              <a:path w="2946400" h="660400">
                <a:moveTo>
                  <a:pt x="2888234" y="0"/>
                </a:moveTo>
                <a:lnTo>
                  <a:pt x="57657" y="0"/>
                </a:lnTo>
                <a:lnTo>
                  <a:pt x="35200" y="4526"/>
                </a:lnTo>
                <a:lnTo>
                  <a:pt x="16875" y="16875"/>
                </a:lnTo>
                <a:lnTo>
                  <a:pt x="4526" y="35200"/>
                </a:lnTo>
                <a:lnTo>
                  <a:pt x="0" y="57658"/>
                </a:lnTo>
                <a:lnTo>
                  <a:pt x="0" y="602234"/>
                </a:lnTo>
                <a:lnTo>
                  <a:pt x="4526" y="624691"/>
                </a:lnTo>
                <a:lnTo>
                  <a:pt x="16875" y="643016"/>
                </a:lnTo>
                <a:lnTo>
                  <a:pt x="35200" y="655365"/>
                </a:lnTo>
                <a:lnTo>
                  <a:pt x="57657" y="659891"/>
                </a:lnTo>
                <a:lnTo>
                  <a:pt x="2888234" y="659891"/>
                </a:lnTo>
                <a:lnTo>
                  <a:pt x="2910691" y="655365"/>
                </a:lnTo>
                <a:lnTo>
                  <a:pt x="2929016" y="643016"/>
                </a:lnTo>
                <a:lnTo>
                  <a:pt x="2941365" y="624691"/>
                </a:lnTo>
                <a:lnTo>
                  <a:pt x="2945892" y="602234"/>
                </a:lnTo>
                <a:lnTo>
                  <a:pt x="2945892" y="57658"/>
                </a:lnTo>
                <a:lnTo>
                  <a:pt x="2941365" y="35200"/>
                </a:lnTo>
                <a:lnTo>
                  <a:pt x="2929016" y="16875"/>
                </a:lnTo>
                <a:lnTo>
                  <a:pt x="2910691" y="4526"/>
                </a:lnTo>
                <a:lnTo>
                  <a:pt x="2888234" y="0"/>
                </a:lnTo>
                <a:close/>
              </a:path>
            </a:pathLst>
          </a:custGeom>
          <a:solidFill>
            <a:srgbClr val="F1F1F1"/>
          </a:solidFill>
        </p:spPr>
        <p:txBody>
          <a:bodyPr wrap="square" lIns="0" tIns="0" rIns="0" bIns="0" rtlCol="0"/>
          <a:lstStyle/>
          <a:p>
            <a:endParaRPr/>
          </a:p>
        </p:txBody>
      </p:sp>
      <p:sp>
        <p:nvSpPr>
          <p:cNvPr id="13" name="object 13"/>
          <p:cNvSpPr txBox="1"/>
          <p:nvPr/>
        </p:nvSpPr>
        <p:spPr>
          <a:xfrm>
            <a:off x="1417447" y="1746884"/>
            <a:ext cx="2757805" cy="666750"/>
          </a:xfrm>
          <a:prstGeom prst="rect">
            <a:avLst/>
          </a:prstGeom>
        </p:spPr>
        <p:txBody>
          <a:bodyPr vert="horz" wrap="square" lIns="0" tIns="12700" rIns="0" bIns="0" rtlCol="0">
            <a:spAutoFit/>
          </a:bodyPr>
          <a:lstStyle/>
          <a:p>
            <a:pPr marL="4445" algn="ctr">
              <a:lnSpc>
                <a:spcPct val="100000"/>
              </a:lnSpc>
              <a:spcBef>
                <a:spcPts val="100"/>
              </a:spcBef>
            </a:pPr>
            <a:r>
              <a:rPr sz="1200" b="1" spc="-5">
                <a:latin typeface="Verdana"/>
                <a:cs typeface="Verdana"/>
              </a:rPr>
              <a:t>Contact</a:t>
            </a:r>
            <a:r>
              <a:rPr sz="1200" b="1" spc="-30">
                <a:latin typeface="Verdana"/>
                <a:cs typeface="Verdana"/>
              </a:rPr>
              <a:t> </a:t>
            </a:r>
            <a:r>
              <a:rPr sz="1200" b="1" spc="-5">
                <a:latin typeface="Verdana"/>
                <a:cs typeface="Verdana"/>
              </a:rPr>
              <a:t>name</a:t>
            </a:r>
            <a:endParaRPr sz="1200">
              <a:latin typeface="Verdana"/>
              <a:cs typeface="Verdana"/>
            </a:endParaRPr>
          </a:p>
          <a:p>
            <a:pPr marL="12700" marR="5080" indent="1270" algn="ctr">
              <a:lnSpc>
                <a:spcPct val="100000"/>
              </a:lnSpc>
              <a:spcBef>
                <a:spcPts val="5"/>
              </a:spcBef>
            </a:pPr>
            <a:r>
              <a:rPr sz="1000">
                <a:latin typeface="Verdana"/>
                <a:cs typeface="Verdana"/>
              </a:rPr>
              <a:t>(this is </a:t>
            </a:r>
            <a:r>
              <a:rPr sz="1000" spc="-5">
                <a:latin typeface="Verdana"/>
                <a:cs typeface="Verdana"/>
              </a:rPr>
              <a:t>the dedicated AE that </a:t>
            </a:r>
            <a:r>
              <a:rPr sz="1000">
                <a:latin typeface="Verdana"/>
                <a:cs typeface="Verdana"/>
              </a:rPr>
              <a:t>will </a:t>
            </a:r>
            <a:r>
              <a:rPr sz="1000" spc="-5">
                <a:latin typeface="Verdana"/>
                <a:cs typeface="Verdana"/>
              </a:rPr>
              <a:t>be the  bridge to organize the meeting or </a:t>
            </a:r>
            <a:r>
              <a:rPr sz="1000">
                <a:latin typeface="Verdana"/>
                <a:cs typeface="Verdana"/>
              </a:rPr>
              <a:t>call with  </a:t>
            </a:r>
            <a:r>
              <a:rPr sz="1000" spc="-5">
                <a:latin typeface="Verdana"/>
                <a:cs typeface="Verdana"/>
              </a:rPr>
              <a:t>the</a:t>
            </a:r>
            <a:r>
              <a:rPr sz="1000" spc="5">
                <a:latin typeface="Verdana"/>
                <a:cs typeface="Verdana"/>
              </a:rPr>
              <a:t> </a:t>
            </a:r>
            <a:r>
              <a:rPr sz="1000" spc="-5">
                <a:latin typeface="Verdana"/>
                <a:cs typeface="Verdana"/>
              </a:rPr>
              <a:t>customer)</a:t>
            </a:r>
            <a:endParaRPr sz="1000">
              <a:latin typeface="Verdana"/>
              <a:cs typeface="Verdana"/>
            </a:endParaRPr>
          </a:p>
        </p:txBody>
      </p:sp>
      <p:sp>
        <p:nvSpPr>
          <p:cNvPr id="14" name="object 14"/>
          <p:cNvSpPr/>
          <p:nvPr/>
        </p:nvSpPr>
        <p:spPr>
          <a:xfrm>
            <a:off x="2477447" y="1131439"/>
            <a:ext cx="640715" cy="610870"/>
          </a:xfrm>
          <a:custGeom>
            <a:avLst/>
            <a:gdLst/>
            <a:ahLst/>
            <a:cxnLst/>
            <a:rect l="l" t="t" r="r" b="b"/>
            <a:pathLst>
              <a:path w="640714" h="610869">
                <a:moveTo>
                  <a:pt x="61155" y="495049"/>
                </a:moveTo>
                <a:lnTo>
                  <a:pt x="36104" y="456419"/>
                </a:lnTo>
                <a:lnTo>
                  <a:pt x="17623" y="415587"/>
                </a:lnTo>
                <a:lnTo>
                  <a:pt x="5619" y="373228"/>
                </a:lnTo>
                <a:lnTo>
                  <a:pt x="0" y="330017"/>
                </a:lnTo>
                <a:lnTo>
                  <a:pt x="672" y="286631"/>
                </a:lnTo>
                <a:lnTo>
                  <a:pt x="7543" y="243745"/>
                </a:lnTo>
                <a:lnTo>
                  <a:pt x="20521" y="202034"/>
                </a:lnTo>
                <a:lnTo>
                  <a:pt x="39512" y="162174"/>
                </a:lnTo>
                <a:lnTo>
                  <a:pt x="64425" y="124840"/>
                </a:lnTo>
                <a:lnTo>
                  <a:pt x="95165" y="90709"/>
                </a:lnTo>
                <a:lnTo>
                  <a:pt x="131640" y="60455"/>
                </a:lnTo>
                <a:lnTo>
                  <a:pt x="172235" y="35960"/>
                </a:lnTo>
                <a:lnTo>
                  <a:pt x="215001" y="17772"/>
                </a:lnTo>
                <a:lnTo>
                  <a:pt x="259245" y="5811"/>
                </a:lnTo>
                <a:lnTo>
                  <a:pt x="304273" y="0"/>
                </a:lnTo>
                <a:lnTo>
                  <a:pt x="349390" y="257"/>
                </a:lnTo>
                <a:lnTo>
                  <a:pt x="393903" y="6506"/>
                </a:lnTo>
                <a:lnTo>
                  <a:pt x="437119" y="18666"/>
                </a:lnTo>
                <a:lnTo>
                  <a:pt x="478343" y="36659"/>
                </a:lnTo>
                <a:lnTo>
                  <a:pt x="516881" y="60406"/>
                </a:lnTo>
                <a:lnTo>
                  <a:pt x="552040" y="89827"/>
                </a:lnTo>
                <a:lnTo>
                  <a:pt x="583125" y="124844"/>
                </a:lnTo>
                <a:lnTo>
                  <a:pt x="609961" y="167418"/>
                </a:lnTo>
                <a:lnTo>
                  <a:pt x="628253" y="211633"/>
                </a:lnTo>
                <a:lnTo>
                  <a:pt x="638288" y="256813"/>
                </a:lnTo>
                <a:lnTo>
                  <a:pt x="640353" y="302282"/>
                </a:lnTo>
                <a:lnTo>
                  <a:pt x="634735" y="347363"/>
                </a:lnTo>
                <a:lnTo>
                  <a:pt x="621722" y="391382"/>
                </a:lnTo>
                <a:lnTo>
                  <a:pt x="601601" y="433662"/>
                </a:lnTo>
                <a:lnTo>
                  <a:pt x="574660" y="473527"/>
                </a:lnTo>
                <a:lnTo>
                  <a:pt x="541185" y="510301"/>
                </a:lnTo>
                <a:lnTo>
                  <a:pt x="501464" y="543309"/>
                </a:lnTo>
                <a:lnTo>
                  <a:pt x="461101" y="568176"/>
                </a:lnTo>
                <a:lnTo>
                  <a:pt x="419031" y="587387"/>
                </a:lnTo>
                <a:lnTo>
                  <a:pt x="375845" y="600876"/>
                </a:lnTo>
                <a:lnTo>
                  <a:pt x="332135" y="608579"/>
                </a:lnTo>
                <a:lnTo>
                  <a:pt x="288491" y="610431"/>
                </a:lnTo>
                <a:lnTo>
                  <a:pt x="245506" y="606367"/>
                </a:lnTo>
                <a:lnTo>
                  <a:pt x="203771" y="596323"/>
                </a:lnTo>
                <a:lnTo>
                  <a:pt x="163877" y="580233"/>
                </a:lnTo>
                <a:lnTo>
                  <a:pt x="126415" y="558034"/>
                </a:lnTo>
                <a:lnTo>
                  <a:pt x="91978" y="529661"/>
                </a:lnTo>
                <a:lnTo>
                  <a:pt x="61155" y="495049"/>
                </a:lnTo>
              </a:path>
            </a:pathLst>
          </a:custGeom>
          <a:ln w="19812">
            <a:solidFill>
              <a:srgbClr val="12ABDB"/>
            </a:solidFill>
          </a:ln>
        </p:spPr>
        <p:txBody>
          <a:bodyPr wrap="square" lIns="0" tIns="0" rIns="0" bIns="0" rtlCol="0"/>
          <a:lstStyle/>
          <a:p>
            <a:endParaRPr/>
          </a:p>
        </p:txBody>
      </p:sp>
      <p:sp>
        <p:nvSpPr>
          <p:cNvPr id="15" name="object 15"/>
          <p:cNvSpPr/>
          <p:nvPr/>
        </p:nvSpPr>
        <p:spPr>
          <a:xfrm>
            <a:off x="4338828" y="1773935"/>
            <a:ext cx="896112" cy="662939"/>
          </a:xfrm>
          <a:prstGeom prst="rect">
            <a:avLst/>
          </a:prstGeom>
          <a:blipFill>
            <a:blip r:embed="rId6" cstate="print"/>
            <a:stretch>
              <a:fillRect/>
            </a:stretch>
          </a:blipFill>
        </p:spPr>
        <p:txBody>
          <a:bodyPr wrap="square" lIns="0" tIns="0" rIns="0" bIns="0" rtlCol="0"/>
          <a:lstStyle/>
          <a:p>
            <a:endParaRPr/>
          </a:p>
        </p:txBody>
      </p:sp>
      <p:sp>
        <p:nvSpPr>
          <p:cNvPr id="16" name="object 16"/>
          <p:cNvSpPr/>
          <p:nvPr/>
        </p:nvSpPr>
        <p:spPr>
          <a:xfrm>
            <a:off x="4315967" y="1876044"/>
            <a:ext cx="995172" cy="505967"/>
          </a:xfrm>
          <a:prstGeom prst="rect">
            <a:avLst/>
          </a:prstGeom>
          <a:blipFill>
            <a:blip r:embed="rId7" cstate="print"/>
            <a:stretch>
              <a:fillRect/>
            </a:stretch>
          </a:blipFill>
        </p:spPr>
        <p:txBody>
          <a:bodyPr wrap="square" lIns="0" tIns="0" rIns="0" bIns="0" rtlCol="0"/>
          <a:lstStyle/>
          <a:p>
            <a:endParaRPr/>
          </a:p>
        </p:txBody>
      </p:sp>
      <p:sp>
        <p:nvSpPr>
          <p:cNvPr id="17" name="object 17"/>
          <p:cNvSpPr/>
          <p:nvPr/>
        </p:nvSpPr>
        <p:spPr>
          <a:xfrm>
            <a:off x="4344923" y="1751076"/>
            <a:ext cx="893444" cy="660400"/>
          </a:xfrm>
          <a:custGeom>
            <a:avLst/>
            <a:gdLst/>
            <a:ahLst/>
            <a:cxnLst/>
            <a:rect l="l" t="t" r="r" b="b"/>
            <a:pathLst>
              <a:path w="893445" h="660400">
                <a:moveTo>
                  <a:pt x="835405" y="0"/>
                </a:moveTo>
                <a:lnTo>
                  <a:pt x="57658" y="0"/>
                </a:lnTo>
                <a:lnTo>
                  <a:pt x="35200" y="4526"/>
                </a:lnTo>
                <a:lnTo>
                  <a:pt x="16875" y="16875"/>
                </a:lnTo>
                <a:lnTo>
                  <a:pt x="4526" y="35200"/>
                </a:lnTo>
                <a:lnTo>
                  <a:pt x="0" y="57658"/>
                </a:lnTo>
                <a:lnTo>
                  <a:pt x="0" y="602234"/>
                </a:lnTo>
                <a:lnTo>
                  <a:pt x="4526" y="624691"/>
                </a:lnTo>
                <a:lnTo>
                  <a:pt x="16875" y="643016"/>
                </a:lnTo>
                <a:lnTo>
                  <a:pt x="35200" y="655365"/>
                </a:lnTo>
                <a:lnTo>
                  <a:pt x="57658" y="659891"/>
                </a:lnTo>
                <a:lnTo>
                  <a:pt x="835405" y="659891"/>
                </a:lnTo>
                <a:lnTo>
                  <a:pt x="857863" y="655365"/>
                </a:lnTo>
                <a:lnTo>
                  <a:pt x="876188" y="643016"/>
                </a:lnTo>
                <a:lnTo>
                  <a:pt x="888537" y="624691"/>
                </a:lnTo>
                <a:lnTo>
                  <a:pt x="893063" y="602234"/>
                </a:lnTo>
                <a:lnTo>
                  <a:pt x="893063" y="57658"/>
                </a:lnTo>
                <a:lnTo>
                  <a:pt x="888537" y="35200"/>
                </a:lnTo>
                <a:lnTo>
                  <a:pt x="876188" y="16875"/>
                </a:lnTo>
                <a:lnTo>
                  <a:pt x="857863" y="4526"/>
                </a:lnTo>
                <a:lnTo>
                  <a:pt x="835405" y="0"/>
                </a:lnTo>
                <a:close/>
              </a:path>
            </a:pathLst>
          </a:custGeom>
          <a:solidFill>
            <a:srgbClr val="F1F1F1"/>
          </a:solidFill>
        </p:spPr>
        <p:txBody>
          <a:bodyPr wrap="square" lIns="0" tIns="0" rIns="0" bIns="0" rtlCol="0"/>
          <a:lstStyle/>
          <a:p>
            <a:endParaRPr/>
          </a:p>
        </p:txBody>
      </p:sp>
      <p:sp>
        <p:nvSpPr>
          <p:cNvPr id="18" name="object 18"/>
          <p:cNvSpPr txBox="1"/>
          <p:nvPr/>
        </p:nvSpPr>
        <p:spPr>
          <a:xfrm>
            <a:off x="4402073" y="1884045"/>
            <a:ext cx="781050" cy="391160"/>
          </a:xfrm>
          <a:prstGeom prst="rect">
            <a:avLst/>
          </a:prstGeom>
        </p:spPr>
        <p:txBody>
          <a:bodyPr vert="horz" wrap="square" lIns="0" tIns="12700" rIns="0" bIns="0" rtlCol="0">
            <a:spAutoFit/>
          </a:bodyPr>
          <a:lstStyle/>
          <a:p>
            <a:pPr marL="151130" marR="5080" indent="-139065">
              <a:lnSpc>
                <a:spcPct val="100000"/>
              </a:lnSpc>
              <a:spcBef>
                <a:spcPts val="100"/>
              </a:spcBef>
            </a:pPr>
            <a:r>
              <a:rPr sz="1200" b="1">
                <a:latin typeface="Verdana"/>
                <a:cs typeface="Verdana"/>
              </a:rPr>
              <a:t>B</a:t>
            </a:r>
            <a:r>
              <a:rPr sz="1200" b="1" spc="-5">
                <a:latin typeface="Verdana"/>
                <a:cs typeface="Verdana"/>
              </a:rPr>
              <a:t>us</a:t>
            </a:r>
            <a:r>
              <a:rPr sz="1200" b="1" spc="-10">
                <a:latin typeface="Verdana"/>
                <a:cs typeface="Verdana"/>
              </a:rPr>
              <a:t>i</a:t>
            </a:r>
            <a:r>
              <a:rPr sz="1200" b="1" spc="-5">
                <a:latin typeface="Verdana"/>
                <a:cs typeface="Verdana"/>
              </a:rPr>
              <a:t>n</a:t>
            </a:r>
            <a:r>
              <a:rPr sz="1200" b="1" spc="-10">
                <a:latin typeface="Verdana"/>
                <a:cs typeface="Verdana"/>
              </a:rPr>
              <a:t>e</a:t>
            </a:r>
            <a:r>
              <a:rPr sz="1200" b="1" spc="-5">
                <a:latin typeface="Verdana"/>
                <a:cs typeface="Verdana"/>
              </a:rPr>
              <a:t>ss  Value</a:t>
            </a:r>
            <a:endParaRPr sz="1200">
              <a:latin typeface="Verdana"/>
              <a:cs typeface="Verdana"/>
            </a:endParaRPr>
          </a:p>
        </p:txBody>
      </p:sp>
      <p:sp>
        <p:nvSpPr>
          <p:cNvPr id="19" name="object 19"/>
          <p:cNvSpPr/>
          <p:nvPr/>
        </p:nvSpPr>
        <p:spPr>
          <a:xfrm>
            <a:off x="4470839" y="1131439"/>
            <a:ext cx="640715" cy="610870"/>
          </a:xfrm>
          <a:custGeom>
            <a:avLst/>
            <a:gdLst/>
            <a:ahLst/>
            <a:cxnLst/>
            <a:rect l="l" t="t" r="r" b="b"/>
            <a:pathLst>
              <a:path w="640714" h="610869">
                <a:moveTo>
                  <a:pt x="61155" y="495049"/>
                </a:moveTo>
                <a:lnTo>
                  <a:pt x="36104" y="456419"/>
                </a:lnTo>
                <a:lnTo>
                  <a:pt x="17623" y="415587"/>
                </a:lnTo>
                <a:lnTo>
                  <a:pt x="5619" y="373228"/>
                </a:lnTo>
                <a:lnTo>
                  <a:pt x="0" y="330017"/>
                </a:lnTo>
                <a:lnTo>
                  <a:pt x="672" y="286631"/>
                </a:lnTo>
                <a:lnTo>
                  <a:pt x="7543" y="243745"/>
                </a:lnTo>
                <a:lnTo>
                  <a:pt x="20521" y="202034"/>
                </a:lnTo>
                <a:lnTo>
                  <a:pt x="39512" y="162174"/>
                </a:lnTo>
                <a:lnTo>
                  <a:pt x="64425" y="124840"/>
                </a:lnTo>
                <a:lnTo>
                  <a:pt x="95165" y="90709"/>
                </a:lnTo>
                <a:lnTo>
                  <a:pt x="131640" y="60455"/>
                </a:lnTo>
                <a:lnTo>
                  <a:pt x="172235" y="35960"/>
                </a:lnTo>
                <a:lnTo>
                  <a:pt x="215001" y="17772"/>
                </a:lnTo>
                <a:lnTo>
                  <a:pt x="259245" y="5811"/>
                </a:lnTo>
                <a:lnTo>
                  <a:pt x="304273" y="0"/>
                </a:lnTo>
                <a:lnTo>
                  <a:pt x="349390" y="257"/>
                </a:lnTo>
                <a:lnTo>
                  <a:pt x="393903" y="6506"/>
                </a:lnTo>
                <a:lnTo>
                  <a:pt x="437119" y="18666"/>
                </a:lnTo>
                <a:lnTo>
                  <a:pt x="478343" y="36659"/>
                </a:lnTo>
                <a:lnTo>
                  <a:pt x="516881" y="60406"/>
                </a:lnTo>
                <a:lnTo>
                  <a:pt x="552040" y="89827"/>
                </a:lnTo>
                <a:lnTo>
                  <a:pt x="583125" y="124844"/>
                </a:lnTo>
                <a:lnTo>
                  <a:pt x="609961" y="167418"/>
                </a:lnTo>
                <a:lnTo>
                  <a:pt x="628253" y="211633"/>
                </a:lnTo>
                <a:lnTo>
                  <a:pt x="638288" y="256813"/>
                </a:lnTo>
                <a:lnTo>
                  <a:pt x="640353" y="302282"/>
                </a:lnTo>
                <a:lnTo>
                  <a:pt x="634735" y="347363"/>
                </a:lnTo>
                <a:lnTo>
                  <a:pt x="621722" y="391382"/>
                </a:lnTo>
                <a:lnTo>
                  <a:pt x="601601" y="433662"/>
                </a:lnTo>
                <a:lnTo>
                  <a:pt x="574660" y="473527"/>
                </a:lnTo>
                <a:lnTo>
                  <a:pt x="541185" y="510301"/>
                </a:lnTo>
                <a:lnTo>
                  <a:pt x="501464" y="543309"/>
                </a:lnTo>
                <a:lnTo>
                  <a:pt x="461101" y="568176"/>
                </a:lnTo>
                <a:lnTo>
                  <a:pt x="419031" y="587387"/>
                </a:lnTo>
                <a:lnTo>
                  <a:pt x="375845" y="600876"/>
                </a:lnTo>
                <a:lnTo>
                  <a:pt x="332135" y="608579"/>
                </a:lnTo>
                <a:lnTo>
                  <a:pt x="288491" y="610431"/>
                </a:lnTo>
                <a:lnTo>
                  <a:pt x="245506" y="606367"/>
                </a:lnTo>
                <a:lnTo>
                  <a:pt x="203771" y="596323"/>
                </a:lnTo>
                <a:lnTo>
                  <a:pt x="163877" y="580233"/>
                </a:lnTo>
                <a:lnTo>
                  <a:pt x="126415" y="558034"/>
                </a:lnTo>
                <a:lnTo>
                  <a:pt x="91978" y="529661"/>
                </a:lnTo>
                <a:lnTo>
                  <a:pt x="61155" y="495049"/>
                </a:lnTo>
              </a:path>
            </a:pathLst>
          </a:custGeom>
          <a:ln w="19812">
            <a:solidFill>
              <a:srgbClr val="12ABDB"/>
            </a:solidFill>
          </a:ln>
        </p:spPr>
        <p:txBody>
          <a:bodyPr wrap="square" lIns="0" tIns="0" rIns="0" bIns="0" rtlCol="0"/>
          <a:lstStyle/>
          <a:p>
            <a:endParaRPr/>
          </a:p>
        </p:txBody>
      </p:sp>
      <p:sp>
        <p:nvSpPr>
          <p:cNvPr id="20" name="object 20"/>
          <p:cNvSpPr/>
          <p:nvPr/>
        </p:nvSpPr>
        <p:spPr>
          <a:xfrm>
            <a:off x="5305044" y="1773935"/>
            <a:ext cx="3870959" cy="662939"/>
          </a:xfrm>
          <a:prstGeom prst="rect">
            <a:avLst/>
          </a:prstGeom>
          <a:blipFill>
            <a:blip r:embed="rId8" cstate="print"/>
            <a:stretch>
              <a:fillRect/>
            </a:stretch>
          </a:blipFill>
        </p:spPr>
        <p:txBody>
          <a:bodyPr wrap="square" lIns="0" tIns="0" rIns="0" bIns="0" rtlCol="0"/>
          <a:lstStyle/>
          <a:p>
            <a:endParaRPr/>
          </a:p>
        </p:txBody>
      </p:sp>
      <p:sp>
        <p:nvSpPr>
          <p:cNvPr id="21" name="object 21"/>
          <p:cNvSpPr/>
          <p:nvPr/>
        </p:nvSpPr>
        <p:spPr>
          <a:xfrm>
            <a:off x="6667500" y="1967483"/>
            <a:ext cx="1147572" cy="323088"/>
          </a:xfrm>
          <a:prstGeom prst="rect">
            <a:avLst/>
          </a:prstGeom>
          <a:blipFill>
            <a:blip r:embed="rId9" cstate="print"/>
            <a:stretch>
              <a:fillRect/>
            </a:stretch>
          </a:blipFill>
        </p:spPr>
        <p:txBody>
          <a:bodyPr wrap="square" lIns="0" tIns="0" rIns="0" bIns="0" rtlCol="0"/>
          <a:lstStyle/>
          <a:p>
            <a:endParaRPr/>
          </a:p>
        </p:txBody>
      </p:sp>
      <p:sp>
        <p:nvSpPr>
          <p:cNvPr id="22" name="object 22"/>
          <p:cNvSpPr/>
          <p:nvPr/>
        </p:nvSpPr>
        <p:spPr>
          <a:xfrm>
            <a:off x="5311140" y="1751076"/>
            <a:ext cx="3868420" cy="660400"/>
          </a:xfrm>
          <a:custGeom>
            <a:avLst/>
            <a:gdLst/>
            <a:ahLst/>
            <a:cxnLst/>
            <a:rect l="l" t="t" r="r" b="b"/>
            <a:pathLst>
              <a:path w="3868420" h="660400">
                <a:moveTo>
                  <a:pt x="3810254" y="0"/>
                </a:moveTo>
                <a:lnTo>
                  <a:pt x="57658" y="0"/>
                </a:lnTo>
                <a:lnTo>
                  <a:pt x="35200" y="4526"/>
                </a:lnTo>
                <a:lnTo>
                  <a:pt x="16875" y="16875"/>
                </a:lnTo>
                <a:lnTo>
                  <a:pt x="4526" y="35200"/>
                </a:lnTo>
                <a:lnTo>
                  <a:pt x="0" y="57658"/>
                </a:lnTo>
                <a:lnTo>
                  <a:pt x="0" y="602234"/>
                </a:lnTo>
                <a:lnTo>
                  <a:pt x="4526" y="624691"/>
                </a:lnTo>
                <a:lnTo>
                  <a:pt x="16875" y="643016"/>
                </a:lnTo>
                <a:lnTo>
                  <a:pt x="35200" y="655365"/>
                </a:lnTo>
                <a:lnTo>
                  <a:pt x="57658" y="659891"/>
                </a:lnTo>
                <a:lnTo>
                  <a:pt x="3810254" y="659891"/>
                </a:lnTo>
                <a:lnTo>
                  <a:pt x="3832711" y="655365"/>
                </a:lnTo>
                <a:lnTo>
                  <a:pt x="3851036" y="643016"/>
                </a:lnTo>
                <a:lnTo>
                  <a:pt x="3863385" y="624691"/>
                </a:lnTo>
                <a:lnTo>
                  <a:pt x="3867912" y="602234"/>
                </a:lnTo>
                <a:lnTo>
                  <a:pt x="3867912" y="57658"/>
                </a:lnTo>
                <a:lnTo>
                  <a:pt x="3863385" y="35200"/>
                </a:lnTo>
                <a:lnTo>
                  <a:pt x="3851036" y="16875"/>
                </a:lnTo>
                <a:lnTo>
                  <a:pt x="3832711" y="4526"/>
                </a:lnTo>
                <a:lnTo>
                  <a:pt x="3810254" y="0"/>
                </a:lnTo>
                <a:close/>
              </a:path>
            </a:pathLst>
          </a:custGeom>
          <a:solidFill>
            <a:srgbClr val="F1F1F1"/>
          </a:solidFill>
        </p:spPr>
        <p:txBody>
          <a:bodyPr wrap="square" lIns="0" tIns="0" rIns="0" bIns="0" rtlCol="0"/>
          <a:lstStyle/>
          <a:p>
            <a:endParaRPr/>
          </a:p>
        </p:txBody>
      </p:sp>
      <p:sp>
        <p:nvSpPr>
          <p:cNvPr id="23" name="object 23"/>
          <p:cNvSpPr txBox="1"/>
          <p:nvPr/>
        </p:nvSpPr>
        <p:spPr>
          <a:xfrm>
            <a:off x="6753225" y="1975484"/>
            <a:ext cx="987425"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Multi</a:t>
            </a:r>
            <a:r>
              <a:rPr sz="1200" b="1" spc="-60">
                <a:latin typeface="Verdana"/>
                <a:cs typeface="Verdana"/>
              </a:rPr>
              <a:t> </a:t>
            </a:r>
            <a:r>
              <a:rPr sz="1200" b="1" spc="-5">
                <a:latin typeface="Verdana"/>
                <a:cs typeface="Verdana"/>
              </a:rPr>
              <a:t>Cloud</a:t>
            </a:r>
            <a:endParaRPr sz="1200">
              <a:latin typeface="Verdana"/>
              <a:cs typeface="Verdana"/>
            </a:endParaRPr>
          </a:p>
        </p:txBody>
      </p:sp>
      <p:sp>
        <p:nvSpPr>
          <p:cNvPr id="24" name="object 24"/>
          <p:cNvSpPr/>
          <p:nvPr/>
        </p:nvSpPr>
        <p:spPr>
          <a:xfrm>
            <a:off x="9246107" y="1773935"/>
            <a:ext cx="1706879" cy="662939"/>
          </a:xfrm>
          <a:prstGeom prst="rect">
            <a:avLst/>
          </a:prstGeom>
          <a:blipFill>
            <a:blip r:embed="rId10" cstate="print"/>
            <a:stretch>
              <a:fillRect/>
            </a:stretch>
          </a:blipFill>
        </p:spPr>
        <p:txBody>
          <a:bodyPr wrap="square" lIns="0" tIns="0" rIns="0" bIns="0" rtlCol="0"/>
          <a:lstStyle/>
          <a:p>
            <a:endParaRPr/>
          </a:p>
        </p:txBody>
      </p:sp>
      <p:sp>
        <p:nvSpPr>
          <p:cNvPr id="25" name="object 25"/>
          <p:cNvSpPr/>
          <p:nvPr/>
        </p:nvSpPr>
        <p:spPr>
          <a:xfrm>
            <a:off x="9428988" y="1967483"/>
            <a:ext cx="1342644" cy="323088"/>
          </a:xfrm>
          <a:prstGeom prst="rect">
            <a:avLst/>
          </a:prstGeom>
          <a:blipFill>
            <a:blip r:embed="rId11" cstate="print"/>
            <a:stretch>
              <a:fillRect/>
            </a:stretch>
          </a:blipFill>
        </p:spPr>
        <p:txBody>
          <a:bodyPr wrap="square" lIns="0" tIns="0" rIns="0" bIns="0" rtlCol="0"/>
          <a:lstStyle/>
          <a:p>
            <a:endParaRPr/>
          </a:p>
        </p:txBody>
      </p:sp>
      <p:sp>
        <p:nvSpPr>
          <p:cNvPr id="26" name="object 26"/>
          <p:cNvSpPr/>
          <p:nvPr/>
        </p:nvSpPr>
        <p:spPr>
          <a:xfrm>
            <a:off x="9252204" y="1751076"/>
            <a:ext cx="1704339" cy="660400"/>
          </a:xfrm>
          <a:custGeom>
            <a:avLst/>
            <a:gdLst/>
            <a:ahLst/>
            <a:cxnLst/>
            <a:rect l="l" t="t" r="r" b="b"/>
            <a:pathLst>
              <a:path w="1704340" h="660400">
                <a:moveTo>
                  <a:pt x="1646174" y="0"/>
                </a:moveTo>
                <a:lnTo>
                  <a:pt x="57657" y="0"/>
                </a:lnTo>
                <a:lnTo>
                  <a:pt x="35200" y="4526"/>
                </a:lnTo>
                <a:lnTo>
                  <a:pt x="16875" y="16875"/>
                </a:lnTo>
                <a:lnTo>
                  <a:pt x="4526" y="35200"/>
                </a:lnTo>
                <a:lnTo>
                  <a:pt x="0" y="57658"/>
                </a:lnTo>
                <a:lnTo>
                  <a:pt x="0" y="602234"/>
                </a:lnTo>
                <a:lnTo>
                  <a:pt x="4526" y="624691"/>
                </a:lnTo>
                <a:lnTo>
                  <a:pt x="16875" y="643016"/>
                </a:lnTo>
                <a:lnTo>
                  <a:pt x="35200" y="655365"/>
                </a:lnTo>
                <a:lnTo>
                  <a:pt x="57657" y="659891"/>
                </a:lnTo>
                <a:lnTo>
                  <a:pt x="1646174" y="659891"/>
                </a:lnTo>
                <a:lnTo>
                  <a:pt x="1668631" y="655365"/>
                </a:lnTo>
                <a:lnTo>
                  <a:pt x="1686956" y="643016"/>
                </a:lnTo>
                <a:lnTo>
                  <a:pt x="1699305" y="624691"/>
                </a:lnTo>
                <a:lnTo>
                  <a:pt x="1703831" y="602234"/>
                </a:lnTo>
                <a:lnTo>
                  <a:pt x="1703831" y="57658"/>
                </a:lnTo>
                <a:lnTo>
                  <a:pt x="1699305" y="35200"/>
                </a:lnTo>
                <a:lnTo>
                  <a:pt x="1686956" y="16875"/>
                </a:lnTo>
                <a:lnTo>
                  <a:pt x="1668631" y="4526"/>
                </a:lnTo>
                <a:lnTo>
                  <a:pt x="1646174" y="0"/>
                </a:lnTo>
                <a:close/>
              </a:path>
            </a:pathLst>
          </a:custGeom>
          <a:solidFill>
            <a:srgbClr val="F1F1F1"/>
          </a:solidFill>
        </p:spPr>
        <p:txBody>
          <a:bodyPr wrap="square" lIns="0" tIns="0" rIns="0" bIns="0" rtlCol="0"/>
          <a:lstStyle/>
          <a:p>
            <a:endParaRPr/>
          </a:p>
        </p:txBody>
      </p:sp>
      <p:sp>
        <p:nvSpPr>
          <p:cNvPr id="27" name="object 27"/>
          <p:cNvSpPr txBox="1"/>
          <p:nvPr/>
        </p:nvSpPr>
        <p:spPr>
          <a:xfrm>
            <a:off x="9514458" y="1975484"/>
            <a:ext cx="1181735"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Multi</a:t>
            </a:r>
            <a:r>
              <a:rPr sz="1200" b="1" spc="-70">
                <a:latin typeface="Verdana"/>
                <a:cs typeface="Verdana"/>
              </a:rPr>
              <a:t> </a:t>
            </a:r>
            <a:r>
              <a:rPr sz="1200" b="1" spc="-5">
                <a:latin typeface="Verdana"/>
                <a:cs typeface="Verdana"/>
              </a:rPr>
              <a:t>Country</a:t>
            </a:r>
            <a:endParaRPr sz="1200">
              <a:latin typeface="Verdana"/>
              <a:cs typeface="Verdana"/>
            </a:endParaRPr>
          </a:p>
        </p:txBody>
      </p:sp>
      <p:sp>
        <p:nvSpPr>
          <p:cNvPr id="28" name="object 28"/>
          <p:cNvSpPr/>
          <p:nvPr/>
        </p:nvSpPr>
        <p:spPr>
          <a:xfrm>
            <a:off x="9783452" y="1131439"/>
            <a:ext cx="639445" cy="610870"/>
          </a:xfrm>
          <a:custGeom>
            <a:avLst/>
            <a:gdLst/>
            <a:ahLst/>
            <a:cxnLst/>
            <a:rect l="l" t="t" r="r" b="b"/>
            <a:pathLst>
              <a:path w="639445" h="610869">
                <a:moveTo>
                  <a:pt x="61079" y="495049"/>
                </a:moveTo>
                <a:lnTo>
                  <a:pt x="36059" y="456419"/>
                </a:lnTo>
                <a:lnTo>
                  <a:pt x="17602" y="415587"/>
                </a:lnTo>
                <a:lnTo>
                  <a:pt x="5613" y="373228"/>
                </a:lnTo>
                <a:lnTo>
                  <a:pt x="0" y="330017"/>
                </a:lnTo>
                <a:lnTo>
                  <a:pt x="667" y="286631"/>
                </a:lnTo>
                <a:lnTo>
                  <a:pt x="7521" y="243745"/>
                </a:lnTo>
                <a:lnTo>
                  <a:pt x="20468" y="202034"/>
                </a:lnTo>
                <a:lnTo>
                  <a:pt x="39414" y="162174"/>
                </a:lnTo>
                <a:lnTo>
                  <a:pt x="64266" y="124840"/>
                </a:lnTo>
                <a:lnTo>
                  <a:pt x="94929" y="90709"/>
                </a:lnTo>
                <a:lnTo>
                  <a:pt x="131310" y="60455"/>
                </a:lnTo>
                <a:lnTo>
                  <a:pt x="171830" y="35960"/>
                </a:lnTo>
                <a:lnTo>
                  <a:pt x="214511" y="17772"/>
                </a:lnTo>
                <a:lnTo>
                  <a:pt x="258661" y="5811"/>
                </a:lnTo>
                <a:lnTo>
                  <a:pt x="303589" y="0"/>
                </a:lnTo>
                <a:lnTo>
                  <a:pt x="348604" y="257"/>
                </a:lnTo>
                <a:lnTo>
                  <a:pt x="393014" y="6506"/>
                </a:lnTo>
                <a:lnTo>
                  <a:pt x="436126" y="18666"/>
                </a:lnTo>
                <a:lnTo>
                  <a:pt x="477251" y="36659"/>
                </a:lnTo>
                <a:lnTo>
                  <a:pt x="515696" y="60406"/>
                </a:lnTo>
                <a:lnTo>
                  <a:pt x="550769" y="89827"/>
                </a:lnTo>
                <a:lnTo>
                  <a:pt x="581779" y="124844"/>
                </a:lnTo>
                <a:lnTo>
                  <a:pt x="608581" y="167418"/>
                </a:lnTo>
                <a:lnTo>
                  <a:pt x="626848" y="211633"/>
                </a:lnTo>
                <a:lnTo>
                  <a:pt x="636869" y="256813"/>
                </a:lnTo>
                <a:lnTo>
                  <a:pt x="638931" y="302282"/>
                </a:lnTo>
                <a:lnTo>
                  <a:pt x="633325" y="347363"/>
                </a:lnTo>
                <a:lnTo>
                  <a:pt x="620340" y="391382"/>
                </a:lnTo>
                <a:lnTo>
                  <a:pt x="600263" y="433662"/>
                </a:lnTo>
                <a:lnTo>
                  <a:pt x="573383" y="473527"/>
                </a:lnTo>
                <a:lnTo>
                  <a:pt x="539990" y="510301"/>
                </a:lnTo>
                <a:lnTo>
                  <a:pt x="500372" y="543309"/>
                </a:lnTo>
                <a:lnTo>
                  <a:pt x="460113" y="568176"/>
                </a:lnTo>
                <a:lnTo>
                  <a:pt x="418146" y="587387"/>
                </a:lnTo>
                <a:lnTo>
                  <a:pt x="375062" y="600876"/>
                </a:lnTo>
                <a:lnTo>
                  <a:pt x="331452" y="608579"/>
                </a:lnTo>
                <a:lnTo>
                  <a:pt x="287907" y="610431"/>
                </a:lnTo>
                <a:lnTo>
                  <a:pt x="245017" y="606367"/>
                </a:lnTo>
                <a:lnTo>
                  <a:pt x="203374" y="596323"/>
                </a:lnTo>
                <a:lnTo>
                  <a:pt x="163567" y="580233"/>
                </a:lnTo>
                <a:lnTo>
                  <a:pt x="126189" y="558034"/>
                </a:lnTo>
                <a:lnTo>
                  <a:pt x="91829" y="529661"/>
                </a:lnTo>
                <a:lnTo>
                  <a:pt x="61079" y="495049"/>
                </a:lnTo>
              </a:path>
            </a:pathLst>
          </a:custGeom>
          <a:ln w="19812">
            <a:solidFill>
              <a:srgbClr val="12ABDB"/>
            </a:solidFill>
          </a:ln>
        </p:spPr>
        <p:txBody>
          <a:bodyPr wrap="square" lIns="0" tIns="0" rIns="0" bIns="0" rtlCol="0"/>
          <a:lstStyle/>
          <a:p>
            <a:endParaRPr/>
          </a:p>
        </p:txBody>
      </p:sp>
      <p:sp>
        <p:nvSpPr>
          <p:cNvPr id="29" name="object 29"/>
          <p:cNvSpPr/>
          <p:nvPr/>
        </p:nvSpPr>
        <p:spPr>
          <a:xfrm>
            <a:off x="11023092" y="1773935"/>
            <a:ext cx="897636" cy="662939"/>
          </a:xfrm>
          <a:prstGeom prst="rect">
            <a:avLst/>
          </a:prstGeom>
          <a:blipFill>
            <a:blip r:embed="rId6" cstate="print"/>
            <a:stretch>
              <a:fillRect/>
            </a:stretch>
          </a:blipFill>
        </p:spPr>
        <p:txBody>
          <a:bodyPr wrap="square" lIns="0" tIns="0" rIns="0" bIns="0" rtlCol="0"/>
          <a:lstStyle/>
          <a:p>
            <a:endParaRPr/>
          </a:p>
        </p:txBody>
      </p:sp>
      <p:sp>
        <p:nvSpPr>
          <p:cNvPr id="30" name="object 30"/>
          <p:cNvSpPr/>
          <p:nvPr/>
        </p:nvSpPr>
        <p:spPr>
          <a:xfrm>
            <a:off x="11047476" y="1967483"/>
            <a:ext cx="850392" cy="323088"/>
          </a:xfrm>
          <a:prstGeom prst="rect">
            <a:avLst/>
          </a:prstGeom>
          <a:blipFill>
            <a:blip r:embed="rId12" cstate="print"/>
            <a:stretch>
              <a:fillRect/>
            </a:stretch>
          </a:blipFill>
        </p:spPr>
        <p:txBody>
          <a:bodyPr wrap="square" lIns="0" tIns="0" rIns="0" bIns="0" rtlCol="0"/>
          <a:lstStyle/>
          <a:p>
            <a:endParaRPr/>
          </a:p>
        </p:txBody>
      </p:sp>
      <p:sp>
        <p:nvSpPr>
          <p:cNvPr id="31" name="object 31"/>
          <p:cNvSpPr/>
          <p:nvPr/>
        </p:nvSpPr>
        <p:spPr>
          <a:xfrm>
            <a:off x="11029188" y="1751076"/>
            <a:ext cx="894715" cy="660400"/>
          </a:xfrm>
          <a:custGeom>
            <a:avLst/>
            <a:gdLst/>
            <a:ahLst/>
            <a:cxnLst/>
            <a:rect l="l" t="t" r="r" b="b"/>
            <a:pathLst>
              <a:path w="894715" h="660400">
                <a:moveTo>
                  <a:pt x="836929" y="0"/>
                </a:moveTo>
                <a:lnTo>
                  <a:pt x="57657" y="0"/>
                </a:lnTo>
                <a:lnTo>
                  <a:pt x="35200" y="4526"/>
                </a:lnTo>
                <a:lnTo>
                  <a:pt x="16875" y="16875"/>
                </a:lnTo>
                <a:lnTo>
                  <a:pt x="4526" y="35200"/>
                </a:lnTo>
                <a:lnTo>
                  <a:pt x="0" y="57658"/>
                </a:lnTo>
                <a:lnTo>
                  <a:pt x="0" y="602234"/>
                </a:lnTo>
                <a:lnTo>
                  <a:pt x="4526" y="624691"/>
                </a:lnTo>
                <a:lnTo>
                  <a:pt x="16875" y="643016"/>
                </a:lnTo>
                <a:lnTo>
                  <a:pt x="35200" y="655365"/>
                </a:lnTo>
                <a:lnTo>
                  <a:pt x="57657" y="659891"/>
                </a:lnTo>
                <a:lnTo>
                  <a:pt x="836929" y="659891"/>
                </a:lnTo>
                <a:lnTo>
                  <a:pt x="859387" y="655365"/>
                </a:lnTo>
                <a:lnTo>
                  <a:pt x="877712" y="643016"/>
                </a:lnTo>
                <a:lnTo>
                  <a:pt x="890061" y="624691"/>
                </a:lnTo>
                <a:lnTo>
                  <a:pt x="894587" y="602234"/>
                </a:lnTo>
                <a:lnTo>
                  <a:pt x="894587" y="57658"/>
                </a:lnTo>
                <a:lnTo>
                  <a:pt x="890061" y="35200"/>
                </a:lnTo>
                <a:lnTo>
                  <a:pt x="877712" y="16875"/>
                </a:lnTo>
                <a:lnTo>
                  <a:pt x="859387" y="4526"/>
                </a:lnTo>
                <a:lnTo>
                  <a:pt x="836929" y="0"/>
                </a:lnTo>
                <a:close/>
              </a:path>
            </a:pathLst>
          </a:custGeom>
          <a:solidFill>
            <a:srgbClr val="F1F1F1"/>
          </a:solidFill>
        </p:spPr>
        <p:txBody>
          <a:bodyPr wrap="square" lIns="0" tIns="0" rIns="0" bIns="0" rtlCol="0"/>
          <a:lstStyle/>
          <a:p>
            <a:endParaRPr/>
          </a:p>
        </p:txBody>
      </p:sp>
      <p:sp>
        <p:nvSpPr>
          <p:cNvPr id="32" name="object 32"/>
          <p:cNvSpPr txBox="1"/>
          <p:nvPr/>
        </p:nvSpPr>
        <p:spPr>
          <a:xfrm>
            <a:off x="11132946" y="1975484"/>
            <a:ext cx="690245"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a:t>
            </a:r>
            <a:r>
              <a:rPr sz="1200" b="1" spc="-80">
                <a:latin typeface="Verdana"/>
                <a:cs typeface="Verdana"/>
              </a:rPr>
              <a:t> </a:t>
            </a:r>
            <a:r>
              <a:rPr sz="1200" b="1" spc="-5">
                <a:latin typeface="Verdana"/>
                <a:cs typeface="Verdana"/>
              </a:rPr>
              <a:t>Users</a:t>
            </a:r>
            <a:endParaRPr sz="1200">
              <a:latin typeface="Verdana"/>
              <a:cs typeface="Verdana"/>
            </a:endParaRPr>
          </a:p>
        </p:txBody>
      </p:sp>
      <p:sp>
        <p:nvSpPr>
          <p:cNvPr id="33" name="object 33"/>
          <p:cNvSpPr/>
          <p:nvPr/>
        </p:nvSpPr>
        <p:spPr>
          <a:xfrm>
            <a:off x="11155102" y="1131439"/>
            <a:ext cx="640715" cy="610870"/>
          </a:xfrm>
          <a:custGeom>
            <a:avLst/>
            <a:gdLst/>
            <a:ahLst/>
            <a:cxnLst/>
            <a:rect l="l" t="t" r="r" b="b"/>
            <a:pathLst>
              <a:path w="640715" h="610869">
                <a:moveTo>
                  <a:pt x="61155" y="495049"/>
                </a:moveTo>
                <a:lnTo>
                  <a:pt x="36104" y="456419"/>
                </a:lnTo>
                <a:lnTo>
                  <a:pt x="17623" y="415587"/>
                </a:lnTo>
                <a:lnTo>
                  <a:pt x="5619" y="373228"/>
                </a:lnTo>
                <a:lnTo>
                  <a:pt x="0" y="330017"/>
                </a:lnTo>
                <a:lnTo>
                  <a:pt x="672" y="286631"/>
                </a:lnTo>
                <a:lnTo>
                  <a:pt x="7543" y="243745"/>
                </a:lnTo>
                <a:lnTo>
                  <a:pt x="20521" y="202034"/>
                </a:lnTo>
                <a:lnTo>
                  <a:pt x="39512" y="162174"/>
                </a:lnTo>
                <a:lnTo>
                  <a:pt x="64425" y="124840"/>
                </a:lnTo>
                <a:lnTo>
                  <a:pt x="95165" y="90709"/>
                </a:lnTo>
                <a:lnTo>
                  <a:pt x="131640" y="60455"/>
                </a:lnTo>
                <a:lnTo>
                  <a:pt x="172235" y="35960"/>
                </a:lnTo>
                <a:lnTo>
                  <a:pt x="215001" y="17772"/>
                </a:lnTo>
                <a:lnTo>
                  <a:pt x="259245" y="5811"/>
                </a:lnTo>
                <a:lnTo>
                  <a:pt x="304273" y="0"/>
                </a:lnTo>
                <a:lnTo>
                  <a:pt x="349390" y="257"/>
                </a:lnTo>
                <a:lnTo>
                  <a:pt x="393903" y="6506"/>
                </a:lnTo>
                <a:lnTo>
                  <a:pt x="437119" y="18666"/>
                </a:lnTo>
                <a:lnTo>
                  <a:pt x="478343" y="36659"/>
                </a:lnTo>
                <a:lnTo>
                  <a:pt x="516881" y="60406"/>
                </a:lnTo>
                <a:lnTo>
                  <a:pt x="552040" y="89827"/>
                </a:lnTo>
                <a:lnTo>
                  <a:pt x="583125" y="124844"/>
                </a:lnTo>
                <a:lnTo>
                  <a:pt x="609961" y="167418"/>
                </a:lnTo>
                <a:lnTo>
                  <a:pt x="628253" y="211633"/>
                </a:lnTo>
                <a:lnTo>
                  <a:pt x="638288" y="256813"/>
                </a:lnTo>
                <a:lnTo>
                  <a:pt x="640353" y="302282"/>
                </a:lnTo>
                <a:lnTo>
                  <a:pt x="634735" y="347363"/>
                </a:lnTo>
                <a:lnTo>
                  <a:pt x="621722" y="391382"/>
                </a:lnTo>
                <a:lnTo>
                  <a:pt x="601601" y="433662"/>
                </a:lnTo>
                <a:lnTo>
                  <a:pt x="574660" y="473527"/>
                </a:lnTo>
                <a:lnTo>
                  <a:pt x="541185" y="510301"/>
                </a:lnTo>
                <a:lnTo>
                  <a:pt x="501464" y="543309"/>
                </a:lnTo>
                <a:lnTo>
                  <a:pt x="461101" y="568176"/>
                </a:lnTo>
                <a:lnTo>
                  <a:pt x="419031" y="587387"/>
                </a:lnTo>
                <a:lnTo>
                  <a:pt x="375845" y="600876"/>
                </a:lnTo>
                <a:lnTo>
                  <a:pt x="332135" y="608579"/>
                </a:lnTo>
                <a:lnTo>
                  <a:pt x="288491" y="610431"/>
                </a:lnTo>
                <a:lnTo>
                  <a:pt x="245506" y="606367"/>
                </a:lnTo>
                <a:lnTo>
                  <a:pt x="203771" y="596323"/>
                </a:lnTo>
                <a:lnTo>
                  <a:pt x="163877" y="580233"/>
                </a:lnTo>
                <a:lnTo>
                  <a:pt x="126415" y="558034"/>
                </a:lnTo>
                <a:lnTo>
                  <a:pt x="91978" y="529661"/>
                </a:lnTo>
                <a:lnTo>
                  <a:pt x="61155" y="495049"/>
                </a:lnTo>
              </a:path>
            </a:pathLst>
          </a:custGeom>
          <a:ln w="19811">
            <a:solidFill>
              <a:srgbClr val="12ABDB"/>
            </a:solidFill>
          </a:ln>
        </p:spPr>
        <p:txBody>
          <a:bodyPr wrap="square" lIns="0" tIns="0" rIns="0" bIns="0" rtlCol="0"/>
          <a:lstStyle/>
          <a:p>
            <a:endParaRPr/>
          </a:p>
        </p:txBody>
      </p:sp>
      <p:sp>
        <p:nvSpPr>
          <p:cNvPr id="34" name="object 34"/>
          <p:cNvSpPr txBox="1"/>
          <p:nvPr/>
        </p:nvSpPr>
        <p:spPr>
          <a:xfrm>
            <a:off x="407009" y="2798826"/>
            <a:ext cx="664845" cy="361950"/>
          </a:xfrm>
          <a:prstGeom prst="rect">
            <a:avLst/>
          </a:prstGeom>
        </p:spPr>
        <p:txBody>
          <a:bodyPr vert="horz" wrap="square" lIns="0" tIns="13335" rIns="0" bIns="0" rtlCol="0">
            <a:spAutoFit/>
          </a:bodyPr>
          <a:lstStyle/>
          <a:p>
            <a:pPr marL="12700" marR="5080" indent="13335">
              <a:lnSpc>
                <a:spcPct val="100000"/>
              </a:lnSpc>
              <a:spcBef>
                <a:spcPts val="105"/>
              </a:spcBef>
            </a:pPr>
            <a:r>
              <a:rPr sz="1100" b="1" spc="-5">
                <a:latin typeface="Verdana"/>
                <a:cs typeface="Verdana"/>
              </a:rPr>
              <a:t>Wolters  </a:t>
            </a:r>
            <a:r>
              <a:rPr sz="1100" b="1">
                <a:latin typeface="Verdana"/>
                <a:cs typeface="Verdana"/>
              </a:rPr>
              <a:t>K</a:t>
            </a:r>
            <a:r>
              <a:rPr sz="1100" b="1" spc="-5">
                <a:latin typeface="Verdana"/>
                <a:cs typeface="Verdana"/>
              </a:rPr>
              <a:t>l</a:t>
            </a:r>
            <a:r>
              <a:rPr sz="1100" b="1">
                <a:latin typeface="Verdana"/>
                <a:cs typeface="Verdana"/>
              </a:rPr>
              <a:t>uwers</a:t>
            </a:r>
            <a:endParaRPr sz="1100">
              <a:latin typeface="Verdana"/>
              <a:cs typeface="Verdana"/>
            </a:endParaRPr>
          </a:p>
        </p:txBody>
      </p:sp>
      <p:sp>
        <p:nvSpPr>
          <p:cNvPr id="35" name="object 35"/>
          <p:cNvSpPr txBox="1"/>
          <p:nvPr/>
        </p:nvSpPr>
        <p:spPr>
          <a:xfrm>
            <a:off x="1542414" y="2882341"/>
            <a:ext cx="2658110" cy="194310"/>
          </a:xfrm>
          <a:prstGeom prst="rect">
            <a:avLst/>
          </a:prstGeom>
        </p:spPr>
        <p:txBody>
          <a:bodyPr vert="horz" wrap="square" lIns="0" tIns="13335" rIns="0" bIns="0" rtlCol="0">
            <a:spAutoFit/>
          </a:bodyPr>
          <a:lstStyle/>
          <a:p>
            <a:pPr marL="12700">
              <a:lnSpc>
                <a:spcPct val="100000"/>
              </a:lnSpc>
              <a:spcBef>
                <a:spcPts val="105"/>
              </a:spcBef>
            </a:pPr>
            <a:r>
              <a:rPr sz="1100" b="1" u="heavy" spc="-5">
                <a:solidFill>
                  <a:srgbClr val="87D4EC"/>
                </a:solidFill>
                <a:uFill>
                  <a:solidFill>
                    <a:srgbClr val="87D4EC"/>
                  </a:solidFill>
                </a:uFill>
                <a:latin typeface="Verdana"/>
                <a:cs typeface="Verdana"/>
                <a:hlinkClick r:id="rId13"/>
              </a:rPr>
              <a:t>Melissa.breemer@Capgemini.com</a:t>
            </a:r>
            <a:endParaRPr sz="1100">
              <a:latin typeface="Verdana"/>
              <a:cs typeface="Verdana"/>
            </a:endParaRPr>
          </a:p>
        </p:txBody>
      </p:sp>
      <p:sp>
        <p:nvSpPr>
          <p:cNvPr id="36" name="object 36"/>
          <p:cNvSpPr txBox="1"/>
          <p:nvPr/>
        </p:nvSpPr>
        <p:spPr>
          <a:xfrm>
            <a:off x="4605654" y="2882341"/>
            <a:ext cx="371475" cy="194310"/>
          </a:xfrm>
          <a:prstGeom prst="rect">
            <a:avLst/>
          </a:prstGeom>
        </p:spPr>
        <p:txBody>
          <a:bodyPr vert="horz" wrap="square" lIns="0" tIns="13335" rIns="0" bIns="0" rtlCol="0">
            <a:spAutoFit/>
          </a:bodyPr>
          <a:lstStyle/>
          <a:p>
            <a:pPr marL="12700">
              <a:lnSpc>
                <a:spcPct val="100000"/>
              </a:lnSpc>
              <a:spcBef>
                <a:spcPts val="105"/>
              </a:spcBef>
            </a:pPr>
            <a:r>
              <a:rPr sz="1100">
                <a:latin typeface="Verdana"/>
                <a:cs typeface="Verdana"/>
              </a:rPr>
              <a:t>4</a:t>
            </a:r>
            <a:r>
              <a:rPr sz="1100" spc="-70">
                <a:latin typeface="Verdana"/>
                <a:cs typeface="Verdana"/>
              </a:rPr>
              <a:t> </a:t>
            </a:r>
            <a:r>
              <a:rPr sz="1100" spc="-5">
                <a:latin typeface="Verdana"/>
                <a:cs typeface="Verdana"/>
              </a:rPr>
              <a:t>€M</a:t>
            </a:r>
            <a:endParaRPr sz="1100">
              <a:latin typeface="Verdana"/>
              <a:cs typeface="Verdana"/>
            </a:endParaRPr>
          </a:p>
        </p:txBody>
      </p:sp>
      <p:sp>
        <p:nvSpPr>
          <p:cNvPr id="37" name="object 37"/>
          <p:cNvSpPr txBox="1"/>
          <p:nvPr/>
        </p:nvSpPr>
        <p:spPr>
          <a:xfrm>
            <a:off x="5299709" y="2547366"/>
            <a:ext cx="1449705" cy="864869"/>
          </a:xfrm>
          <a:prstGeom prst="rect">
            <a:avLst/>
          </a:prstGeom>
        </p:spPr>
        <p:txBody>
          <a:bodyPr vert="horz" wrap="square" lIns="0" tIns="13335" rIns="0" bIns="0" rtlCol="0">
            <a:spAutoFit/>
          </a:bodyPr>
          <a:lstStyle/>
          <a:p>
            <a:pPr marL="184785" indent="-172720">
              <a:lnSpc>
                <a:spcPct val="100000"/>
              </a:lnSpc>
              <a:spcBef>
                <a:spcPts val="105"/>
              </a:spcBef>
              <a:buClr>
                <a:srgbClr val="006FAC"/>
              </a:buClr>
              <a:buFont typeface="Wingdings"/>
              <a:buChar char=""/>
              <a:tabLst>
                <a:tab pos="185420" algn="l"/>
              </a:tabLst>
            </a:pPr>
            <a:r>
              <a:rPr sz="1100" spc="-5">
                <a:latin typeface="Verdana"/>
                <a:cs typeface="Verdana"/>
              </a:rPr>
              <a:t>Sales</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Service</a:t>
            </a:r>
            <a:r>
              <a:rPr sz="1100" spc="-10">
                <a:latin typeface="Verdana"/>
                <a:cs typeface="Verdana"/>
              </a:rPr>
              <a:t> </a:t>
            </a:r>
            <a:r>
              <a:rPr sz="1100" spc="-5">
                <a:latin typeface="Verdana"/>
                <a:cs typeface="Verdana"/>
              </a:rPr>
              <a:t>Cloud</a:t>
            </a:r>
            <a:endParaRPr sz="1100">
              <a:latin typeface="Verdana"/>
              <a:cs typeface="Verdana"/>
            </a:endParaRPr>
          </a:p>
          <a:p>
            <a:pPr marL="184785" indent="-172720">
              <a:lnSpc>
                <a:spcPct val="100000"/>
              </a:lnSpc>
              <a:buClr>
                <a:srgbClr val="006FAC"/>
              </a:buClr>
              <a:buFont typeface="Wingdings"/>
              <a:buChar char=""/>
              <a:tabLst>
                <a:tab pos="185420" algn="l"/>
              </a:tabLst>
            </a:pPr>
            <a:r>
              <a:rPr sz="1100">
                <a:latin typeface="Verdana"/>
                <a:cs typeface="Verdana"/>
              </a:rPr>
              <a:t>FSL</a:t>
            </a:r>
          </a:p>
          <a:p>
            <a:pPr marL="184785" indent="-172720">
              <a:lnSpc>
                <a:spcPct val="100000"/>
              </a:lnSpc>
              <a:buClr>
                <a:srgbClr val="006FAC"/>
              </a:buClr>
              <a:buFont typeface="Wingdings"/>
              <a:buChar char=""/>
              <a:tabLst>
                <a:tab pos="185420" algn="l"/>
              </a:tabLst>
            </a:pPr>
            <a:r>
              <a:rPr sz="1100" spc="-5">
                <a:latin typeface="Verdana"/>
                <a:cs typeface="Verdana"/>
              </a:rPr>
              <a:t>Pardot</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Community</a:t>
            </a:r>
            <a:r>
              <a:rPr sz="1100" spc="-45">
                <a:latin typeface="Verdana"/>
                <a:cs typeface="Verdana"/>
              </a:rPr>
              <a:t> </a:t>
            </a:r>
            <a:r>
              <a:rPr sz="1100" spc="-5">
                <a:latin typeface="Verdana"/>
                <a:cs typeface="Verdana"/>
              </a:rPr>
              <a:t>Cloud</a:t>
            </a:r>
            <a:endParaRPr sz="1100">
              <a:latin typeface="Verdana"/>
              <a:cs typeface="Verdana"/>
            </a:endParaRPr>
          </a:p>
        </p:txBody>
      </p:sp>
      <p:sp>
        <p:nvSpPr>
          <p:cNvPr id="38" name="object 38"/>
          <p:cNvSpPr txBox="1"/>
          <p:nvPr/>
        </p:nvSpPr>
        <p:spPr>
          <a:xfrm>
            <a:off x="9489440" y="2547366"/>
            <a:ext cx="1233805" cy="864869"/>
          </a:xfrm>
          <a:prstGeom prst="rect">
            <a:avLst/>
          </a:prstGeom>
        </p:spPr>
        <p:txBody>
          <a:bodyPr vert="horz" wrap="square" lIns="0" tIns="13335" rIns="0" bIns="0" rtlCol="0">
            <a:spAutoFit/>
          </a:bodyPr>
          <a:lstStyle/>
          <a:p>
            <a:pPr marL="12065" marR="5080" indent="-1905" algn="ctr">
              <a:lnSpc>
                <a:spcPct val="100000"/>
              </a:lnSpc>
              <a:spcBef>
                <a:spcPts val="105"/>
              </a:spcBef>
            </a:pPr>
            <a:r>
              <a:rPr sz="1100" spc="-5">
                <a:latin typeface="Verdana"/>
                <a:cs typeface="Verdana"/>
              </a:rPr>
              <a:t>Spain, </a:t>
            </a:r>
            <a:r>
              <a:rPr sz="1100" b="1" spc="-5">
                <a:latin typeface="Verdana"/>
                <a:cs typeface="Verdana"/>
              </a:rPr>
              <a:t>Italy</a:t>
            </a:r>
            <a:r>
              <a:rPr sz="1100" spc="-5">
                <a:latin typeface="Verdana"/>
                <a:cs typeface="Verdana"/>
              </a:rPr>
              <a:t>,  Scandinavia,  Belgium, </a:t>
            </a:r>
            <a:r>
              <a:rPr sz="1100">
                <a:latin typeface="Verdana"/>
                <a:cs typeface="Verdana"/>
              </a:rPr>
              <a:t>UK,  </a:t>
            </a:r>
            <a:r>
              <a:rPr sz="1100" spc="-5">
                <a:latin typeface="Verdana"/>
                <a:cs typeface="Verdana"/>
              </a:rPr>
              <a:t>Germany,</a:t>
            </a:r>
            <a:r>
              <a:rPr sz="1100" spc="-50">
                <a:latin typeface="Verdana"/>
                <a:cs typeface="Verdana"/>
              </a:rPr>
              <a:t> </a:t>
            </a:r>
            <a:r>
              <a:rPr sz="1100" spc="-5">
                <a:latin typeface="Verdana"/>
                <a:cs typeface="Verdana"/>
              </a:rPr>
              <a:t>Poland  </a:t>
            </a:r>
            <a:r>
              <a:rPr sz="1100">
                <a:latin typeface="Verdana"/>
                <a:cs typeface="Verdana"/>
              </a:rPr>
              <a:t>and</a:t>
            </a:r>
            <a:r>
              <a:rPr sz="1100" spc="-25">
                <a:latin typeface="Verdana"/>
                <a:cs typeface="Verdana"/>
              </a:rPr>
              <a:t> </a:t>
            </a:r>
            <a:r>
              <a:rPr sz="1100" spc="-5">
                <a:latin typeface="Verdana"/>
                <a:cs typeface="Verdana"/>
              </a:rPr>
              <a:t>Nederland</a:t>
            </a:r>
            <a:endParaRPr sz="1100">
              <a:latin typeface="Verdana"/>
              <a:cs typeface="Verdana"/>
            </a:endParaRPr>
          </a:p>
        </p:txBody>
      </p:sp>
      <p:sp>
        <p:nvSpPr>
          <p:cNvPr id="39" name="object 39"/>
          <p:cNvSpPr txBox="1"/>
          <p:nvPr/>
        </p:nvSpPr>
        <p:spPr>
          <a:xfrm>
            <a:off x="11109452" y="2798826"/>
            <a:ext cx="734695" cy="361950"/>
          </a:xfrm>
          <a:prstGeom prst="rect">
            <a:avLst/>
          </a:prstGeom>
        </p:spPr>
        <p:txBody>
          <a:bodyPr vert="horz" wrap="square" lIns="0" tIns="13335" rIns="0" bIns="0" rtlCol="0">
            <a:spAutoFit/>
          </a:bodyPr>
          <a:lstStyle/>
          <a:p>
            <a:pPr marL="177165" marR="5080" indent="-165100">
              <a:lnSpc>
                <a:spcPct val="100000"/>
              </a:lnSpc>
              <a:spcBef>
                <a:spcPts val="105"/>
              </a:spcBef>
            </a:pPr>
            <a:r>
              <a:rPr sz="1100">
                <a:latin typeface="Verdana"/>
                <a:cs typeface="Verdana"/>
              </a:rPr>
              <a:t>More</a:t>
            </a:r>
            <a:r>
              <a:rPr sz="1100" spc="-100">
                <a:latin typeface="Verdana"/>
                <a:cs typeface="Verdana"/>
              </a:rPr>
              <a:t> </a:t>
            </a:r>
            <a:r>
              <a:rPr sz="1100" spc="-5">
                <a:latin typeface="Verdana"/>
                <a:cs typeface="Verdana"/>
              </a:rPr>
              <a:t>than  </a:t>
            </a:r>
            <a:r>
              <a:rPr sz="1100" spc="-10">
                <a:latin typeface="Verdana"/>
                <a:cs typeface="Verdana"/>
              </a:rPr>
              <a:t>500+</a:t>
            </a:r>
            <a:endParaRPr sz="1100">
              <a:latin typeface="Verdana"/>
              <a:cs typeface="Verdana"/>
            </a:endParaRPr>
          </a:p>
        </p:txBody>
      </p:sp>
      <p:sp>
        <p:nvSpPr>
          <p:cNvPr id="40" name="object 40"/>
          <p:cNvSpPr txBox="1"/>
          <p:nvPr/>
        </p:nvSpPr>
        <p:spPr>
          <a:xfrm>
            <a:off x="573125" y="3872610"/>
            <a:ext cx="335915" cy="193675"/>
          </a:xfrm>
          <a:prstGeom prst="rect">
            <a:avLst/>
          </a:prstGeom>
        </p:spPr>
        <p:txBody>
          <a:bodyPr vert="horz" wrap="square" lIns="0" tIns="12700" rIns="0" bIns="0" rtlCol="0">
            <a:spAutoFit/>
          </a:bodyPr>
          <a:lstStyle/>
          <a:p>
            <a:pPr marL="12700">
              <a:lnSpc>
                <a:spcPct val="100000"/>
              </a:lnSpc>
              <a:spcBef>
                <a:spcPts val="100"/>
              </a:spcBef>
            </a:pPr>
            <a:r>
              <a:rPr sz="1100" b="1" spc="-10">
                <a:latin typeface="Verdana"/>
                <a:cs typeface="Verdana"/>
              </a:rPr>
              <a:t>P</a:t>
            </a:r>
            <a:r>
              <a:rPr sz="1100" b="1" spc="-5">
                <a:latin typeface="Verdana"/>
                <a:cs typeface="Verdana"/>
              </a:rPr>
              <a:t>S</a:t>
            </a:r>
            <a:r>
              <a:rPr sz="1100" b="1">
                <a:latin typeface="Verdana"/>
                <a:cs typeface="Verdana"/>
              </a:rPr>
              <a:t>A</a:t>
            </a:r>
            <a:endParaRPr sz="1100">
              <a:latin typeface="Verdana"/>
              <a:cs typeface="Verdana"/>
            </a:endParaRPr>
          </a:p>
        </p:txBody>
      </p:sp>
      <p:sp>
        <p:nvSpPr>
          <p:cNvPr id="41" name="object 41"/>
          <p:cNvSpPr txBox="1"/>
          <p:nvPr/>
        </p:nvSpPr>
        <p:spPr>
          <a:xfrm>
            <a:off x="1358264" y="3872610"/>
            <a:ext cx="2879725" cy="193675"/>
          </a:xfrm>
          <a:prstGeom prst="rect">
            <a:avLst/>
          </a:prstGeom>
        </p:spPr>
        <p:txBody>
          <a:bodyPr vert="horz" wrap="square" lIns="0" tIns="12700" rIns="0" bIns="0" rtlCol="0">
            <a:spAutoFit/>
          </a:bodyPr>
          <a:lstStyle/>
          <a:p>
            <a:pPr marL="12700">
              <a:lnSpc>
                <a:spcPct val="100000"/>
              </a:lnSpc>
              <a:spcBef>
                <a:spcPts val="100"/>
              </a:spcBef>
            </a:pPr>
            <a:r>
              <a:rPr sz="1100" b="1" u="heavy" spc="-5">
                <a:solidFill>
                  <a:srgbClr val="87D4EC"/>
                </a:solidFill>
                <a:uFill>
                  <a:solidFill>
                    <a:srgbClr val="87D4EC"/>
                  </a:solidFill>
                </a:uFill>
                <a:latin typeface="Verdana"/>
                <a:cs typeface="Verdana"/>
                <a:hlinkClick r:id="rId14"/>
              </a:rPr>
              <a:t>agustin.a.rodriguez@capgemini.com</a:t>
            </a:r>
            <a:endParaRPr sz="1100">
              <a:latin typeface="Verdana"/>
              <a:cs typeface="Verdana"/>
            </a:endParaRPr>
          </a:p>
        </p:txBody>
      </p:sp>
      <p:sp>
        <p:nvSpPr>
          <p:cNvPr id="42" name="object 42"/>
          <p:cNvSpPr txBox="1"/>
          <p:nvPr/>
        </p:nvSpPr>
        <p:spPr>
          <a:xfrm>
            <a:off x="4537075" y="3872610"/>
            <a:ext cx="509905" cy="193675"/>
          </a:xfrm>
          <a:prstGeom prst="rect">
            <a:avLst/>
          </a:prstGeom>
        </p:spPr>
        <p:txBody>
          <a:bodyPr vert="horz" wrap="square" lIns="0" tIns="12700" rIns="0" bIns="0" rtlCol="0">
            <a:spAutoFit/>
          </a:bodyPr>
          <a:lstStyle/>
          <a:p>
            <a:pPr marL="12700">
              <a:lnSpc>
                <a:spcPct val="100000"/>
              </a:lnSpc>
              <a:spcBef>
                <a:spcPts val="100"/>
              </a:spcBef>
            </a:pPr>
            <a:r>
              <a:rPr sz="1100" spc="-5">
                <a:latin typeface="Verdana"/>
                <a:cs typeface="Verdana"/>
              </a:rPr>
              <a:t>8,5</a:t>
            </a:r>
            <a:r>
              <a:rPr sz="1100" spc="-75">
                <a:latin typeface="Verdana"/>
                <a:cs typeface="Verdana"/>
              </a:rPr>
              <a:t> </a:t>
            </a:r>
            <a:r>
              <a:rPr sz="1100" spc="-5">
                <a:latin typeface="Verdana"/>
                <a:cs typeface="Verdana"/>
              </a:rPr>
              <a:t>€M</a:t>
            </a:r>
            <a:endParaRPr sz="1100">
              <a:latin typeface="Verdana"/>
              <a:cs typeface="Verdana"/>
            </a:endParaRPr>
          </a:p>
        </p:txBody>
      </p:sp>
      <p:sp>
        <p:nvSpPr>
          <p:cNvPr id="43" name="object 43"/>
          <p:cNvSpPr txBox="1"/>
          <p:nvPr/>
        </p:nvSpPr>
        <p:spPr>
          <a:xfrm>
            <a:off x="5299709" y="3537330"/>
            <a:ext cx="1449705" cy="864235"/>
          </a:xfrm>
          <a:prstGeom prst="rect">
            <a:avLst/>
          </a:prstGeom>
        </p:spPr>
        <p:txBody>
          <a:bodyPr vert="horz" wrap="square" lIns="0" tIns="13335" rIns="0" bIns="0" rtlCol="0">
            <a:spAutoFit/>
          </a:bodyPr>
          <a:lstStyle/>
          <a:p>
            <a:pPr marL="184785" indent="-172720">
              <a:lnSpc>
                <a:spcPct val="100000"/>
              </a:lnSpc>
              <a:spcBef>
                <a:spcPts val="105"/>
              </a:spcBef>
              <a:buClr>
                <a:srgbClr val="006FAC"/>
              </a:buClr>
              <a:buFont typeface="Wingdings"/>
              <a:buChar char=""/>
              <a:tabLst>
                <a:tab pos="185420" algn="l"/>
              </a:tabLst>
            </a:pPr>
            <a:r>
              <a:rPr sz="1100" spc="-5">
                <a:latin typeface="Verdana"/>
                <a:cs typeface="Verdana"/>
              </a:rPr>
              <a:t>Sales</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Service</a:t>
            </a:r>
            <a:r>
              <a:rPr sz="1100" spc="-10">
                <a:latin typeface="Verdana"/>
                <a:cs typeface="Verdana"/>
              </a:rPr>
              <a:t> </a:t>
            </a:r>
            <a:r>
              <a:rPr sz="1100" spc="-5">
                <a:latin typeface="Verdana"/>
                <a:cs typeface="Verdana"/>
              </a:rPr>
              <a:t>Cloud</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Wave</a:t>
            </a:r>
            <a:r>
              <a:rPr sz="1100" spc="-30">
                <a:latin typeface="Verdana"/>
                <a:cs typeface="Verdana"/>
              </a:rPr>
              <a:t> </a:t>
            </a:r>
            <a:r>
              <a:rPr sz="1100" spc="-5">
                <a:latin typeface="Verdana"/>
                <a:cs typeface="Verdana"/>
              </a:rPr>
              <a:t>Analytics</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Marketing</a:t>
            </a:r>
            <a:r>
              <a:rPr sz="1100" spc="-45">
                <a:latin typeface="Verdana"/>
                <a:cs typeface="Verdana"/>
              </a:rPr>
              <a:t> </a:t>
            </a:r>
            <a:r>
              <a:rPr sz="1100" spc="-5">
                <a:latin typeface="Verdana"/>
                <a:cs typeface="Verdana"/>
              </a:rPr>
              <a:t>Cloud</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Community</a:t>
            </a:r>
            <a:r>
              <a:rPr sz="1100" spc="-65">
                <a:latin typeface="Verdana"/>
                <a:cs typeface="Verdana"/>
              </a:rPr>
              <a:t> </a:t>
            </a:r>
            <a:r>
              <a:rPr sz="1100" spc="-5">
                <a:latin typeface="Verdana"/>
                <a:cs typeface="Verdana"/>
              </a:rPr>
              <a:t>Cloud</a:t>
            </a:r>
            <a:endParaRPr sz="1100">
              <a:latin typeface="Verdana"/>
              <a:cs typeface="Verdana"/>
            </a:endParaRPr>
          </a:p>
        </p:txBody>
      </p:sp>
      <p:sp>
        <p:nvSpPr>
          <p:cNvPr id="44" name="object 44"/>
          <p:cNvSpPr txBox="1"/>
          <p:nvPr/>
        </p:nvSpPr>
        <p:spPr>
          <a:xfrm>
            <a:off x="9644888" y="3872610"/>
            <a:ext cx="919480" cy="193675"/>
          </a:xfrm>
          <a:prstGeom prst="rect">
            <a:avLst/>
          </a:prstGeom>
        </p:spPr>
        <p:txBody>
          <a:bodyPr vert="horz" wrap="square" lIns="0" tIns="12700" rIns="0" bIns="0" rtlCol="0">
            <a:spAutoFit/>
          </a:bodyPr>
          <a:lstStyle/>
          <a:p>
            <a:pPr marL="12700">
              <a:lnSpc>
                <a:spcPct val="100000"/>
              </a:lnSpc>
              <a:spcBef>
                <a:spcPts val="100"/>
              </a:spcBef>
            </a:pPr>
            <a:r>
              <a:rPr sz="1100" spc="-5">
                <a:latin typeface="Verdana"/>
                <a:cs typeface="Verdana"/>
              </a:rPr>
              <a:t>48</a:t>
            </a:r>
            <a:r>
              <a:rPr sz="1100" spc="-60">
                <a:latin typeface="Verdana"/>
                <a:cs typeface="Verdana"/>
              </a:rPr>
              <a:t> </a:t>
            </a:r>
            <a:r>
              <a:rPr sz="1100" spc="-5">
                <a:latin typeface="Verdana"/>
                <a:cs typeface="Verdana"/>
              </a:rPr>
              <a:t>Countries</a:t>
            </a:r>
            <a:endParaRPr sz="1100">
              <a:latin typeface="Verdana"/>
              <a:cs typeface="Verdana"/>
            </a:endParaRPr>
          </a:p>
        </p:txBody>
      </p:sp>
      <p:sp>
        <p:nvSpPr>
          <p:cNvPr id="45" name="object 45"/>
          <p:cNvSpPr txBox="1"/>
          <p:nvPr/>
        </p:nvSpPr>
        <p:spPr>
          <a:xfrm>
            <a:off x="11109452" y="3788790"/>
            <a:ext cx="734695" cy="361315"/>
          </a:xfrm>
          <a:prstGeom prst="rect">
            <a:avLst/>
          </a:prstGeom>
        </p:spPr>
        <p:txBody>
          <a:bodyPr vert="horz" wrap="square" lIns="0" tIns="12700" rIns="0" bIns="0" rtlCol="0">
            <a:spAutoFit/>
          </a:bodyPr>
          <a:lstStyle/>
          <a:p>
            <a:pPr marL="128270" marR="5080" indent="-116205">
              <a:lnSpc>
                <a:spcPct val="100000"/>
              </a:lnSpc>
              <a:spcBef>
                <a:spcPts val="100"/>
              </a:spcBef>
            </a:pPr>
            <a:r>
              <a:rPr sz="1100">
                <a:latin typeface="Verdana"/>
                <a:cs typeface="Verdana"/>
              </a:rPr>
              <a:t>More</a:t>
            </a:r>
            <a:r>
              <a:rPr sz="1100" spc="-100">
                <a:latin typeface="Verdana"/>
                <a:cs typeface="Verdana"/>
              </a:rPr>
              <a:t> </a:t>
            </a:r>
            <a:r>
              <a:rPr sz="1100" spc="-5">
                <a:latin typeface="Verdana"/>
                <a:cs typeface="Verdana"/>
              </a:rPr>
              <a:t>than  110K+</a:t>
            </a:r>
            <a:endParaRPr sz="1100">
              <a:latin typeface="Verdana"/>
              <a:cs typeface="Verdana"/>
            </a:endParaRPr>
          </a:p>
        </p:txBody>
      </p:sp>
      <p:sp>
        <p:nvSpPr>
          <p:cNvPr id="46" name="object 46"/>
          <p:cNvSpPr txBox="1"/>
          <p:nvPr/>
        </p:nvSpPr>
        <p:spPr>
          <a:xfrm>
            <a:off x="446633" y="4908296"/>
            <a:ext cx="586105" cy="193675"/>
          </a:xfrm>
          <a:prstGeom prst="rect">
            <a:avLst/>
          </a:prstGeom>
        </p:spPr>
        <p:txBody>
          <a:bodyPr vert="horz" wrap="square" lIns="0" tIns="12700" rIns="0" bIns="0" rtlCol="0">
            <a:spAutoFit/>
          </a:bodyPr>
          <a:lstStyle/>
          <a:p>
            <a:pPr marL="12700">
              <a:lnSpc>
                <a:spcPct val="100000"/>
              </a:lnSpc>
              <a:spcBef>
                <a:spcPts val="100"/>
              </a:spcBef>
            </a:pPr>
            <a:r>
              <a:rPr sz="1100" b="1" spc="-5">
                <a:latin typeface="Verdana"/>
                <a:cs typeface="Verdana"/>
              </a:rPr>
              <a:t>JetStar</a:t>
            </a:r>
            <a:endParaRPr sz="1100">
              <a:latin typeface="Verdana"/>
              <a:cs typeface="Verdana"/>
            </a:endParaRPr>
          </a:p>
        </p:txBody>
      </p:sp>
      <p:sp>
        <p:nvSpPr>
          <p:cNvPr id="47" name="object 47"/>
          <p:cNvSpPr txBox="1"/>
          <p:nvPr/>
        </p:nvSpPr>
        <p:spPr>
          <a:xfrm>
            <a:off x="1685925" y="4908296"/>
            <a:ext cx="2225040" cy="193675"/>
          </a:xfrm>
          <a:prstGeom prst="rect">
            <a:avLst/>
          </a:prstGeom>
        </p:spPr>
        <p:txBody>
          <a:bodyPr vert="horz" wrap="square" lIns="0" tIns="12700" rIns="0" bIns="0" rtlCol="0">
            <a:spAutoFit/>
          </a:bodyPr>
          <a:lstStyle/>
          <a:p>
            <a:pPr marL="12700">
              <a:lnSpc>
                <a:spcPct val="100000"/>
              </a:lnSpc>
              <a:spcBef>
                <a:spcPts val="100"/>
              </a:spcBef>
            </a:pPr>
            <a:r>
              <a:rPr sz="1100" b="1" u="heavy" spc="-5">
                <a:solidFill>
                  <a:srgbClr val="87D4EC"/>
                </a:solidFill>
                <a:uFill>
                  <a:solidFill>
                    <a:srgbClr val="87D4EC"/>
                  </a:solidFill>
                </a:uFill>
                <a:latin typeface="Verdana"/>
                <a:cs typeface="Verdana"/>
                <a:hlinkClick r:id="rId15"/>
              </a:rPr>
              <a:t>Joyal.jacob@capgemini.com</a:t>
            </a:r>
            <a:endParaRPr sz="1100">
              <a:latin typeface="Verdana"/>
              <a:cs typeface="Verdana"/>
            </a:endParaRPr>
          </a:p>
        </p:txBody>
      </p:sp>
      <p:sp>
        <p:nvSpPr>
          <p:cNvPr id="48" name="object 48"/>
          <p:cNvSpPr txBox="1"/>
          <p:nvPr/>
        </p:nvSpPr>
        <p:spPr>
          <a:xfrm>
            <a:off x="4459351" y="4908296"/>
            <a:ext cx="664845" cy="193675"/>
          </a:xfrm>
          <a:prstGeom prst="rect">
            <a:avLst/>
          </a:prstGeom>
        </p:spPr>
        <p:txBody>
          <a:bodyPr vert="horz" wrap="square" lIns="0" tIns="12700" rIns="0" bIns="0" rtlCol="0">
            <a:spAutoFit/>
          </a:bodyPr>
          <a:lstStyle/>
          <a:p>
            <a:pPr marL="12700">
              <a:lnSpc>
                <a:spcPct val="100000"/>
              </a:lnSpc>
              <a:spcBef>
                <a:spcPts val="100"/>
              </a:spcBef>
            </a:pPr>
            <a:r>
              <a:rPr sz="1100">
                <a:latin typeface="Verdana"/>
                <a:cs typeface="Verdana"/>
              </a:rPr>
              <a:t>5</a:t>
            </a:r>
            <a:r>
              <a:rPr sz="1100" spc="-75">
                <a:latin typeface="Verdana"/>
                <a:cs typeface="Verdana"/>
              </a:rPr>
              <a:t> </a:t>
            </a:r>
            <a:r>
              <a:rPr sz="1100">
                <a:latin typeface="Verdana"/>
                <a:cs typeface="Verdana"/>
              </a:rPr>
              <a:t>AUS$M</a:t>
            </a:r>
          </a:p>
        </p:txBody>
      </p:sp>
      <p:sp>
        <p:nvSpPr>
          <p:cNvPr id="49" name="object 49"/>
          <p:cNvSpPr txBox="1"/>
          <p:nvPr/>
        </p:nvSpPr>
        <p:spPr>
          <a:xfrm>
            <a:off x="5299709" y="4488637"/>
            <a:ext cx="3756660" cy="1032510"/>
          </a:xfrm>
          <a:prstGeom prst="rect">
            <a:avLst/>
          </a:prstGeom>
        </p:spPr>
        <p:txBody>
          <a:bodyPr vert="horz" wrap="square" lIns="0" tIns="13335" rIns="0" bIns="0" rtlCol="0">
            <a:spAutoFit/>
          </a:bodyPr>
          <a:lstStyle/>
          <a:p>
            <a:pPr marL="184785" indent="-172720">
              <a:lnSpc>
                <a:spcPct val="100000"/>
              </a:lnSpc>
              <a:spcBef>
                <a:spcPts val="105"/>
              </a:spcBef>
              <a:buClr>
                <a:srgbClr val="006FAC"/>
              </a:buClr>
              <a:buFont typeface="Wingdings"/>
              <a:buChar char=""/>
              <a:tabLst>
                <a:tab pos="185420" algn="l"/>
              </a:tabLst>
            </a:pPr>
            <a:r>
              <a:rPr sz="1100" spc="-5">
                <a:latin typeface="Verdana"/>
                <a:cs typeface="Verdana"/>
              </a:rPr>
              <a:t>Service Cloud (Live </a:t>
            </a:r>
            <a:r>
              <a:rPr sz="1100">
                <a:latin typeface="Verdana"/>
                <a:cs typeface="Verdana"/>
              </a:rPr>
              <a:t>Agent </a:t>
            </a:r>
            <a:r>
              <a:rPr sz="1100" spc="-10">
                <a:latin typeface="Verdana"/>
                <a:cs typeface="Verdana"/>
              </a:rPr>
              <a:t>with </a:t>
            </a:r>
            <a:r>
              <a:rPr sz="1100">
                <a:latin typeface="Verdana"/>
                <a:cs typeface="Verdana"/>
              </a:rPr>
              <a:t>Inbound</a:t>
            </a:r>
            <a:r>
              <a:rPr sz="1100" spc="5">
                <a:latin typeface="Verdana"/>
                <a:cs typeface="Verdana"/>
              </a:rPr>
              <a:t> </a:t>
            </a:r>
            <a:r>
              <a:rPr sz="1100">
                <a:latin typeface="Verdana"/>
                <a:cs typeface="Verdana"/>
              </a:rPr>
              <a:t>Voice</a:t>
            </a:r>
          </a:p>
          <a:p>
            <a:pPr marL="184785">
              <a:lnSpc>
                <a:spcPct val="100000"/>
              </a:lnSpc>
            </a:pPr>
            <a:r>
              <a:rPr sz="1100" spc="-5">
                <a:latin typeface="Verdana"/>
                <a:cs typeface="Verdana"/>
              </a:rPr>
              <a:t>through </a:t>
            </a:r>
            <a:r>
              <a:rPr sz="1100">
                <a:latin typeface="Verdana"/>
                <a:cs typeface="Verdana"/>
              </a:rPr>
              <a:t>softphone </a:t>
            </a:r>
            <a:r>
              <a:rPr sz="1100" spc="-5">
                <a:latin typeface="Verdana"/>
                <a:cs typeface="Verdana"/>
              </a:rPr>
              <a:t>integration)</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360 Customer View</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Social media Integration </a:t>
            </a:r>
            <a:r>
              <a:rPr sz="1100">
                <a:latin typeface="Verdana"/>
                <a:cs typeface="Verdana"/>
              </a:rPr>
              <a:t>(Facebook </a:t>
            </a:r>
            <a:r>
              <a:rPr sz="1100" spc="-10">
                <a:latin typeface="Verdana"/>
                <a:cs typeface="Verdana"/>
              </a:rPr>
              <a:t>Live</a:t>
            </a:r>
            <a:r>
              <a:rPr sz="1100" spc="45">
                <a:latin typeface="Verdana"/>
                <a:cs typeface="Verdana"/>
              </a:rPr>
              <a:t> </a:t>
            </a:r>
            <a:r>
              <a:rPr sz="1100" spc="-5">
                <a:latin typeface="Verdana"/>
                <a:cs typeface="Verdana"/>
              </a:rPr>
              <a:t>message)</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Sales Cloud</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Einstein</a:t>
            </a:r>
            <a:r>
              <a:rPr sz="1100" spc="20">
                <a:latin typeface="Verdana"/>
                <a:cs typeface="Verdana"/>
              </a:rPr>
              <a:t> </a:t>
            </a:r>
            <a:r>
              <a:rPr sz="1100" spc="-5">
                <a:latin typeface="Verdana"/>
                <a:cs typeface="Verdana"/>
              </a:rPr>
              <a:t>Analytics</a:t>
            </a:r>
            <a:endParaRPr sz="1100">
              <a:latin typeface="Verdana"/>
              <a:cs typeface="Verdana"/>
            </a:endParaRPr>
          </a:p>
        </p:txBody>
      </p:sp>
      <p:sp>
        <p:nvSpPr>
          <p:cNvPr id="50" name="object 50"/>
          <p:cNvSpPr txBox="1"/>
          <p:nvPr/>
        </p:nvSpPr>
        <p:spPr>
          <a:xfrm>
            <a:off x="9330943" y="4740655"/>
            <a:ext cx="1550670" cy="528955"/>
          </a:xfrm>
          <a:prstGeom prst="rect">
            <a:avLst/>
          </a:prstGeom>
        </p:spPr>
        <p:txBody>
          <a:bodyPr vert="horz" wrap="square" lIns="0" tIns="12700" rIns="0" bIns="0" rtlCol="0">
            <a:spAutoFit/>
          </a:bodyPr>
          <a:lstStyle/>
          <a:p>
            <a:pPr marL="12700" marR="5080" algn="ctr">
              <a:lnSpc>
                <a:spcPct val="100000"/>
              </a:lnSpc>
              <a:spcBef>
                <a:spcPts val="100"/>
              </a:spcBef>
            </a:pPr>
            <a:r>
              <a:rPr sz="1100" spc="-5">
                <a:latin typeface="Verdana"/>
                <a:cs typeface="Verdana"/>
              </a:rPr>
              <a:t>Australia, </a:t>
            </a:r>
            <a:r>
              <a:rPr sz="1100" spc="-10">
                <a:latin typeface="Verdana"/>
                <a:cs typeface="Verdana"/>
              </a:rPr>
              <a:t>Philippines,  </a:t>
            </a:r>
            <a:r>
              <a:rPr sz="1100" spc="-5">
                <a:latin typeface="Verdana"/>
                <a:cs typeface="Verdana"/>
              </a:rPr>
              <a:t>Singapore, Japan</a:t>
            </a:r>
            <a:r>
              <a:rPr sz="1100" spc="-30">
                <a:latin typeface="Verdana"/>
                <a:cs typeface="Verdana"/>
              </a:rPr>
              <a:t> </a:t>
            </a:r>
            <a:r>
              <a:rPr sz="1100">
                <a:latin typeface="Verdana"/>
                <a:cs typeface="Verdana"/>
              </a:rPr>
              <a:t>and  </a:t>
            </a:r>
            <a:r>
              <a:rPr sz="1100" spc="-5">
                <a:latin typeface="Verdana"/>
                <a:cs typeface="Verdana"/>
              </a:rPr>
              <a:t>China.</a:t>
            </a:r>
            <a:endParaRPr sz="1100">
              <a:latin typeface="Verdana"/>
              <a:cs typeface="Verdana"/>
            </a:endParaRPr>
          </a:p>
        </p:txBody>
      </p:sp>
      <p:sp>
        <p:nvSpPr>
          <p:cNvPr id="51" name="object 51"/>
          <p:cNvSpPr txBox="1"/>
          <p:nvPr/>
        </p:nvSpPr>
        <p:spPr>
          <a:xfrm>
            <a:off x="11109452" y="4824476"/>
            <a:ext cx="734695" cy="361315"/>
          </a:xfrm>
          <a:prstGeom prst="rect">
            <a:avLst/>
          </a:prstGeom>
        </p:spPr>
        <p:txBody>
          <a:bodyPr vert="horz" wrap="square" lIns="0" tIns="12700" rIns="0" bIns="0" rtlCol="0">
            <a:spAutoFit/>
          </a:bodyPr>
          <a:lstStyle/>
          <a:p>
            <a:pPr marL="177165" marR="5080" indent="-165100">
              <a:lnSpc>
                <a:spcPct val="100000"/>
              </a:lnSpc>
              <a:spcBef>
                <a:spcPts val="100"/>
              </a:spcBef>
            </a:pPr>
            <a:r>
              <a:rPr sz="1100">
                <a:latin typeface="Verdana"/>
                <a:cs typeface="Verdana"/>
              </a:rPr>
              <a:t>More</a:t>
            </a:r>
            <a:r>
              <a:rPr sz="1100" spc="-100">
                <a:latin typeface="Verdana"/>
                <a:cs typeface="Verdana"/>
              </a:rPr>
              <a:t> </a:t>
            </a:r>
            <a:r>
              <a:rPr sz="1100" spc="-5">
                <a:latin typeface="Verdana"/>
                <a:cs typeface="Verdana"/>
              </a:rPr>
              <a:t>than  </a:t>
            </a:r>
            <a:r>
              <a:rPr sz="1100" spc="-10">
                <a:latin typeface="Verdana"/>
                <a:cs typeface="Verdana"/>
              </a:rPr>
              <a:t>770+</a:t>
            </a:r>
            <a:endParaRPr sz="1100">
              <a:latin typeface="Verdana"/>
              <a:cs typeface="Verdana"/>
            </a:endParaRPr>
          </a:p>
        </p:txBody>
      </p:sp>
      <p:sp>
        <p:nvSpPr>
          <p:cNvPr id="52" name="object 52"/>
          <p:cNvSpPr txBox="1"/>
          <p:nvPr/>
        </p:nvSpPr>
        <p:spPr>
          <a:xfrm>
            <a:off x="528929" y="5799226"/>
            <a:ext cx="423545" cy="193675"/>
          </a:xfrm>
          <a:prstGeom prst="rect">
            <a:avLst/>
          </a:prstGeom>
        </p:spPr>
        <p:txBody>
          <a:bodyPr vert="horz" wrap="square" lIns="0" tIns="12700" rIns="0" bIns="0" rtlCol="0">
            <a:spAutoFit/>
          </a:bodyPr>
          <a:lstStyle/>
          <a:p>
            <a:pPr marL="12700">
              <a:lnSpc>
                <a:spcPct val="100000"/>
              </a:lnSpc>
              <a:spcBef>
                <a:spcPts val="100"/>
              </a:spcBef>
            </a:pPr>
            <a:r>
              <a:rPr sz="1100" b="1">
                <a:latin typeface="Verdana"/>
                <a:cs typeface="Verdana"/>
              </a:rPr>
              <a:t>B</a:t>
            </a:r>
            <a:r>
              <a:rPr sz="1100" b="1" spc="-5">
                <a:latin typeface="Verdana"/>
                <a:cs typeface="Verdana"/>
              </a:rPr>
              <a:t>M</a:t>
            </a:r>
            <a:r>
              <a:rPr sz="1100" b="1">
                <a:latin typeface="Verdana"/>
                <a:cs typeface="Verdana"/>
              </a:rPr>
              <a:t>W</a:t>
            </a:r>
            <a:endParaRPr sz="1100">
              <a:latin typeface="Verdana"/>
              <a:cs typeface="Verdana"/>
            </a:endParaRPr>
          </a:p>
        </p:txBody>
      </p:sp>
      <p:sp>
        <p:nvSpPr>
          <p:cNvPr id="53" name="object 53"/>
          <p:cNvSpPr txBox="1"/>
          <p:nvPr/>
        </p:nvSpPr>
        <p:spPr>
          <a:xfrm>
            <a:off x="1313433" y="5631586"/>
            <a:ext cx="2909570" cy="528955"/>
          </a:xfrm>
          <a:prstGeom prst="rect">
            <a:avLst/>
          </a:prstGeom>
        </p:spPr>
        <p:txBody>
          <a:bodyPr vert="horz" wrap="square" lIns="0" tIns="12700" rIns="0" bIns="0" rtlCol="0">
            <a:spAutoFit/>
          </a:bodyPr>
          <a:lstStyle/>
          <a:p>
            <a:pPr marL="12700" marR="5080">
              <a:lnSpc>
                <a:spcPct val="100000"/>
              </a:lnSpc>
              <a:spcBef>
                <a:spcPts val="100"/>
              </a:spcBef>
            </a:pPr>
            <a:r>
              <a:rPr sz="1100">
                <a:latin typeface="Verdana"/>
                <a:cs typeface="Verdana"/>
              </a:rPr>
              <a:t>Our </a:t>
            </a:r>
            <a:r>
              <a:rPr sz="1100" spc="-5">
                <a:latin typeface="Verdana"/>
                <a:cs typeface="Verdana"/>
              </a:rPr>
              <a:t>dedicated </a:t>
            </a:r>
            <a:r>
              <a:rPr sz="1100">
                <a:latin typeface="Verdana"/>
                <a:cs typeface="Verdana"/>
              </a:rPr>
              <a:t>AE can </a:t>
            </a:r>
            <a:r>
              <a:rPr sz="1100" spc="-5">
                <a:latin typeface="Verdana"/>
                <a:cs typeface="Verdana"/>
              </a:rPr>
              <a:t>explain the </a:t>
            </a:r>
            <a:r>
              <a:rPr sz="1100">
                <a:latin typeface="Verdana"/>
                <a:cs typeface="Verdana"/>
              </a:rPr>
              <a:t>project  </a:t>
            </a:r>
            <a:r>
              <a:rPr sz="1100" spc="-10">
                <a:latin typeface="Verdana"/>
                <a:cs typeface="Verdana"/>
              </a:rPr>
              <a:t>in </a:t>
            </a:r>
            <a:r>
              <a:rPr sz="1100" spc="-5">
                <a:latin typeface="Verdana"/>
                <a:cs typeface="Verdana"/>
              </a:rPr>
              <a:t>details that </a:t>
            </a:r>
            <a:r>
              <a:rPr sz="1100" spc="-10">
                <a:latin typeface="Verdana"/>
                <a:cs typeface="Verdana"/>
              </a:rPr>
              <a:t>will </a:t>
            </a:r>
            <a:r>
              <a:rPr sz="1100" spc="-5">
                <a:latin typeface="Verdana"/>
                <a:cs typeface="Verdana"/>
              </a:rPr>
              <a:t>be also </a:t>
            </a:r>
            <a:r>
              <a:rPr sz="1100">
                <a:latin typeface="Verdana"/>
                <a:cs typeface="Verdana"/>
              </a:rPr>
              <a:t>the </a:t>
            </a:r>
            <a:r>
              <a:rPr sz="1100" spc="-5">
                <a:latin typeface="Verdana"/>
                <a:cs typeface="Verdana"/>
              </a:rPr>
              <a:t>potential  next </a:t>
            </a:r>
            <a:r>
              <a:rPr sz="1100">
                <a:latin typeface="Verdana"/>
                <a:cs typeface="Verdana"/>
              </a:rPr>
              <a:t>Dreamforce </a:t>
            </a:r>
            <a:r>
              <a:rPr sz="1100" spc="-5">
                <a:latin typeface="Verdana"/>
                <a:cs typeface="Verdana"/>
              </a:rPr>
              <a:t>Case</a:t>
            </a:r>
            <a:r>
              <a:rPr sz="1100" spc="-35">
                <a:latin typeface="Verdana"/>
                <a:cs typeface="Verdana"/>
              </a:rPr>
              <a:t> </a:t>
            </a:r>
            <a:r>
              <a:rPr sz="1100">
                <a:latin typeface="Verdana"/>
                <a:cs typeface="Verdana"/>
              </a:rPr>
              <a:t>Study</a:t>
            </a:r>
          </a:p>
        </p:txBody>
      </p:sp>
      <p:sp>
        <p:nvSpPr>
          <p:cNvPr id="54" name="object 54"/>
          <p:cNvSpPr txBox="1"/>
          <p:nvPr/>
        </p:nvSpPr>
        <p:spPr>
          <a:xfrm>
            <a:off x="4537075" y="5799226"/>
            <a:ext cx="509270" cy="193675"/>
          </a:xfrm>
          <a:prstGeom prst="rect">
            <a:avLst/>
          </a:prstGeom>
        </p:spPr>
        <p:txBody>
          <a:bodyPr vert="horz" wrap="square" lIns="0" tIns="12700" rIns="0" bIns="0" rtlCol="0">
            <a:spAutoFit/>
          </a:bodyPr>
          <a:lstStyle/>
          <a:p>
            <a:pPr marL="12700">
              <a:lnSpc>
                <a:spcPct val="100000"/>
              </a:lnSpc>
              <a:spcBef>
                <a:spcPts val="100"/>
              </a:spcBef>
            </a:pPr>
            <a:r>
              <a:rPr sz="1100" spc="-5">
                <a:latin typeface="Verdana"/>
                <a:cs typeface="Verdana"/>
              </a:rPr>
              <a:t>1.6</a:t>
            </a:r>
            <a:r>
              <a:rPr sz="1100" spc="-75">
                <a:latin typeface="Verdana"/>
                <a:cs typeface="Verdana"/>
              </a:rPr>
              <a:t> </a:t>
            </a:r>
            <a:r>
              <a:rPr sz="1100" spc="-5">
                <a:latin typeface="Verdana"/>
                <a:cs typeface="Verdana"/>
              </a:rPr>
              <a:t>$M</a:t>
            </a:r>
            <a:endParaRPr sz="1100">
              <a:latin typeface="Verdana"/>
              <a:cs typeface="Verdana"/>
            </a:endParaRPr>
          </a:p>
        </p:txBody>
      </p:sp>
      <p:sp>
        <p:nvSpPr>
          <p:cNvPr id="55" name="object 55"/>
          <p:cNvSpPr txBox="1"/>
          <p:nvPr/>
        </p:nvSpPr>
        <p:spPr>
          <a:xfrm>
            <a:off x="5299709" y="5631586"/>
            <a:ext cx="1449705" cy="52895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1100" spc="-5">
                <a:latin typeface="Verdana"/>
                <a:cs typeface="Verdana"/>
              </a:rPr>
              <a:t>Sales</a:t>
            </a:r>
            <a:r>
              <a:rPr sz="1100" spc="-10">
                <a:latin typeface="Verdana"/>
                <a:cs typeface="Verdana"/>
              </a:rPr>
              <a:t> </a:t>
            </a:r>
            <a:r>
              <a:rPr sz="1100" spc="-5">
                <a:latin typeface="Verdana"/>
                <a:cs typeface="Verdana"/>
              </a:rPr>
              <a:t>Cloud</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CPQ</a:t>
            </a:r>
            <a:endParaRPr sz="1100">
              <a:latin typeface="Verdana"/>
              <a:cs typeface="Verdana"/>
            </a:endParaRPr>
          </a:p>
          <a:p>
            <a:pPr marL="184785" indent="-172720">
              <a:lnSpc>
                <a:spcPct val="100000"/>
              </a:lnSpc>
              <a:spcBef>
                <a:spcPts val="5"/>
              </a:spcBef>
              <a:buClr>
                <a:srgbClr val="006FAC"/>
              </a:buClr>
              <a:buFont typeface="Wingdings"/>
              <a:buChar char=""/>
              <a:tabLst>
                <a:tab pos="185420" algn="l"/>
              </a:tabLst>
            </a:pPr>
            <a:r>
              <a:rPr sz="1100" spc="-5">
                <a:latin typeface="Verdana"/>
                <a:cs typeface="Verdana"/>
              </a:rPr>
              <a:t>Community</a:t>
            </a:r>
            <a:r>
              <a:rPr sz="1100" spc="-45">
                <a:latin typeface="Verdana"/>
                <a:cs typeface="Verdana"/>
              </a:rPr>
              <a:t> </a:t>
            </a:r>
            <a:r>
              <a:rPr sz="1100" spc="-5">
                <a:latin typeface="Verdana"/>
                <a:cs typeface="Verdana"/>
              </a:rPr>
              <a:t>Cloud</a:t>
            </a:r>
            <a:endParaRPr sz="1100">
              <a:latin typeface="Verdana"/>
              <a:cs typeface="Verdana"/>
            </a:endParaRPr>
          </a:p>
        </p:txBody>
      </p:sp>
      <p:sp>
        <p:nvSpPr>
          <p:cNvPr id="56" name="object 56"/>
          <p:cNvSpPr txBox="1"/>
          <p:nvPr/>
        </p:nvSpPr>
        <p:spPr>
          <a:xfrm>
            <a:off x="9315704" y="5715406"/>
            <a:ext cx="1579880" cy="361315"/>
          </a:xfrm>
          <a:prstGeom prst="rect">
            <a:avLst/>
          </a:prstGeom>
        </p:spPr>
        <p:txBody>
          <a:bodyPr vert="horz" wrap="square" lIns="0" tIns="12700" rIns="0" bIns="0" rtlCol="0">
            <a:spAutoFit/>
          </a:bodyPr>
          <a:lstStyle/>
          <a:p>
            <a:pPr marL="248920" marR="5080" indent="-236220">
              <a:lnSpc>
                <a:spcPct val="100000"/>
              </a:lnSpc>
              <a:spcBef>
                <a:spcPts val="100"/>
              </a:spcBef>
            </a:pPr>
            <a:r>
              <a:rPr sz="1100">
                <a:latin typeface="Verdana"/>
                <a:cs typeface="Verdana"/>
              </a:rPr>
              <a:t>NA </a:t>
            </a:r>
            <a:r>
              <a:rPr sz="1100" spc="-5">
                <a:latin typeface="Verdana"/>
                <a:cs typeface="Verdana"/>
              </a:rPr>
              <a:t>with </a:t>
            </a:r>
            <a:r>
              <a:rPr sz="1100">
                <a:latin typeface="Verdana"/>
                <a:cs typeface="Verdana"/>
              </a:rPr>
              <a:t>a</a:t>
            </a:r>
            <a:r>
              <a:rPr sz="1100" spc="-40">
                <a:latin typeface="Verdana"/>
                <a:cs typeface="Verdana"/>
              </a:rPr>
              <a:t> </a:t>
            </a:r>
            <a:r>
              <a:rPr sz="1100" spc="-5">
                <a:latin typeface="Verdana"/>
                <a:cs typeface="Verdana"/>
              </a:rPr>
              <a:t>deployment  </a:t>
            </a:r>
            <a:r>
              <a:rPr sz="1100">
                <a:latin typeface="Verdana"/>
                <a:cs typeface="Verdana"/>
              </a:rPr>
              <a:t>over </a:t>
            </a:r>
            <a:r>
              <a:rPr sz="1100" spc="-5">
                <a:latin typeface="Verdana"/>
                <a:cs typeface="Verdana"/>
              </a:rPr>
              <a:t>50</a:t>
            </a:r>
            <a:r>
              <a:rPr sz="1100" spc="-45">
                <a:latin typeface="Verdana"/>
                <a:cs typeface="Verdana"/>
              </a:rPr>
              <a:t> </a:t>
            </a:r>
            <a:r>
              <a:rPr sz="1100">
                <a:latin typeface="Verdana"/>
                <a:cs typeface="Verdana"/>
              </a:rPr>
              <a:t>States.</a:t>
            </a:r>
          </a:p>
        </p:txBody>
      </p:sp>
      <p:sp>
        <p:nvSpPr>
          <p:cNvPr id="57" name="object 57"/>
          <p:cNvSpPr txBox="1"/>
          <p:nvPr/>
        </p:nvSpPr>
        <p:spPr>
          <a:xfrm>
            <a:off x="11109452" y="5715406"/>
            <a:ext cx="734695" cy="361315"/>
          </a:xfrm>
          <a:prstGeom prst="rect">
            <a:avLst/>
          </a:prstGeom>
        </p:spPr>
        <p:txBody>
          <a:bodyPr vert="horz" wrap="square" lIns="0" tIns="12700" rIns="0" bIns="0" rtlCol="0">
            <a:spAutoFit/>
          </a:bodyPr>
          <a:lstStyle/>
          <a:p>
            <a:pPr marL="108585" marR="5080" indent="-96520">
              <a:lnSpc>
                <a:spcPct val="100000"/>
              </a:lnSpc>
              <a:spcBef>
                <a:spcPts val="100"/>
              </a:spcBef>
            </a:pPr>
            <a:r>
              <a:rPr sz="1100">
                <a:latin typeface="Verdana"/>
                <a:cs typeface="Verdana"/>
              </a:rPr>
              <a:t>More</a:t>
            </a:r>
            <a:r>
              <a:rPr sz="1100" spc="-100">
                <a:latin typeface="Verdana"/>
                <a:cs typeface="Verdana"/>
              </a:rPr>
              <a:t> </a:t>
            </a:r>
            <a:r>
              <a:rPr sz="1100" spc="-5">
                <a:latin typeface="Verdana"/>
                <a:cs typeface="Verdana"/>
              </a:rPr>
              <a:t>than  </a:t>
            </a:r>
            <a:r>
              <a:rPr sz="1100" spc="-10">
                <a:latin typeface="Verdana"/>
                <a:cs typeface="Verdana"/>
              </a:rPr>
              <a:t>1.500+</a:t>
            </a:r>
            <a:endParaRPr sz="1100">
              <a:latin typeface="Verdana"/>
              <a:cs typeface="Verdana"/>
            </a:endParaRPr>
          </a:p>
        </p:txBody>
      </p:sp>
      <p:sp>
        <p:nvSpPr>
          <p:cNvPr id="58" name="object 58"/>
          <p:cNvSpPr/>
          <p:nvPr/>
        </p:nvSpPr>
        <p:spPr>
          <a:xfrm>
            <a:off x="228600" y="3494532"/>
            <a:ext cx="11736070" cy="0"/>
          </a:xfrm>
          <a:custGeom>
            <a:avLst/>
            <a:gdLst/>
            <a:ahLst/>
            <a:cxnLst/>
            <a:rect l="l" t="t" r="r" b="b"/>
            <a:pathLst>
              <a:path w="11736070">
                <a:moveTo>
                  <a:pt x="0" y="0"/>
                </a:moveTo>
                <a:lnTo>
                  <a:pt x="11736070" y="0"/>
                </a:lnTo>
              </a:path>
            </a:pathLst>
          </a:custGeom>
          <a:ln w="6096">
            <a:solidFill>
              <a:srgbClr val="BEBEBE"/>
            </a:solidFill>
            <a:prstDash val="sysDot"/>
          </a:ln>
        </p:spPr>
        <p:txBody>
          <a:bodyPr wrap="square" lIns="0" tIns="0" rIns="0" bIns="0" rtlCol="0"/>
          <a:lstStyle/>
          <a:p>
            <a:endParaRPr/>
          </a:p>
        </p:txBody>
      </p:sp>
      <p:sp>
        <p:nvSpPr>
          <p:cNvPr id="59" name="object 59"/>
          <p:cNvSpPr/>
          <p:nvPr/>
        </p:nvSpPr>
        <p:spPr>
          <a:xfrm>
            <a:off x="228600" y="4445508"/>
            <a:ext cx="11736070" cy="0"/>
          </a:xfrm>
          <a:custGeom>
            <a:avLst/>
            <a:gdLst/>
            <a:ahLst/>
            <a:cxnLst/>
            <a:rect l="l" t="t" r="r" b="b"/>
            <a:pathLst>
              <a:path w="11736070">
                <a:moveTo>
                  <a:pt x="0" y="0"/>
                </a:moveTo>
                <a:lnTo>
                  <a:pt x="11736070" y="0"/>
                </a:lnTo>
              </a:path>
            </a:pathLst>
          </a:custGeom>
          <a:ln w="6096">
            <a:solidFill>
              <a:srgbClr val="BEBEBE"/>
            </a:solidFill>
            <a:prstDash val="sysDot"/>
          </a:ln>
        </p:spPr>
        <p:txBody>
          <a:bodyPr wrap="square" lIns="0" tIns="0" rIns="0" bIns="0" rtlCol="0"/>
          <a:lstStyle/>
          <a:p>
            <a:endParaRPr/>
          </a:p>
        </p:txBody>
      </p:sp>
      <p:sp>
        <p:nvSpPr>
          <p:cNvPr id="60" name="object 60"/>
          <p:cNvSpPr/>
          <p:nvPr/>
        </p:nvSpPr>
        <p:spPr>
          <a:xfrm>
            <a:off x="228600" y="5564123"/>
            <a:ext cx="11736070" cy="0"/>
          </a:xfrm>
          <a:custGeom>
            <a:avLst/>
            <a:gdLst/>
            <a:ahLst/>
            <a:cxnLst/>
            <a:rect l="l" t="t" r="r" b="b"/>
            <a:pathLst>
              <a:path w="11736070">
                <a:moveTo>
                  <a:pt x="0" y="0"/>
                </a:moveTo>
                <a:lnTo>
                  <a:pt x="11736070" y="0"/>
                </a:lnTo>
              </a:path>
            </a:pathLst>
          </a:custGeom>
          <a:ln w="6096">
            <a:solidFill>
              <a:srgbClr val="BEBEBE"/>
            </a:solidFill>
            <a:prstDash val="sysDot"/>
          </a:ln>
        </p:spPr>
        <p:txBody>
          <a:bodyPr wrap="square" lIns="0" tIns="0" rIns="0" bIns="0" rtlCol="0"/>
          <a:lstStyle/>
          <a:p>
            <a:endParaRPr/>
          </a:p>
        </p:txBody>
      </p:sp>
      <p:sp>
        <p:nvSpPr>
          <p:cNvPr id="61" name="object 61"/>
          <p:cNvSpPr/>
          <p:nvPr/>
        </p:nvSpPr>
        <p:spPr>
          <a:xfrm>
            <a:off x="562355" y="1275588"/>
            <a:ext cx="356870" cy="207645"/>
          </a:xfrm>
          <a:custGeom>
            <a:avLst/>
            <a:gdLst/>
            <a:ahLst/>
            <a:cxnLst/>
            <a:rect l="l" t="t" r="r" b="b"/>
            <a:pathLst>
              <a:path w="356869" h="207644">
                <a:moveTo>
                  <a:pt x="322072" y="0"/>
                </a:moveTo>
                <a:lnTo>
                  <a:pt x="34543" y="0"/>
                </a:lnTo>
                <a:lnTo>
                  <a:pt x="21099" y="2718"/>
                </a:lnTo>
                <a:lnTo>
                  <a:pt x="10118" y="10128"/>
                </a:lnTo>
                <a:lnTo>
                  <a:pt x="2715" y="21109"/>
                </a:lnTo>
                <a:lnTo>
                  <a:pt x="0" y="34544"/>
                </a:lnTo>
                <a:lnTo>
                  <a:pt x="0" y="172720"/>
                </a:lnTo>
                <a:lnTo>
                  <a:pt x="2715" y="186154"/>
                </a:lnTo>
                <a:lnTo>
                  <a:pt x="10118" y="197135"/>
                </a:lnTo>
                <a:lnTo>
                  <a:pt x="21099" y="204545"/>
                </a:lnTo>
                <a:lnTo>
                  <a:pt x="34543" y="207263"/>
                </a:lnTo>
                <a:lnTo>
                  <a:pt x="322072" y="207263"/>
                </a:lnTo>
                <a:lnTo>
                  <a:pt x="335516" y="204545"/>
                </a:lnTo>
                <a:lnTo>
                  <a:pt x="346497" y="197135"/>
                </a:lnTo>
                <a:lnTo>
                  <a:pt x="353900" y="186154"/>
                </a:lnTo>
                <a:lnTo>
                  <a:pt x="356616" y="172720"/>
                </a:lnTo>
                <a:lnTo>
                  <a:pt x="356616" y="34544"/>
                </a:lnTo>
                <a:lnTo>
                  <a:pt x="353900" y="21109"/>
                </a:lnTo>
                <a:lnTo>
                  <a:pt x="346497" y="10128"/>
                </a:lnTo>
                <a:lnTo>
                  <a:pt x="335516" y="2718"/>
                </a:lnTo>
                <a:lnTo>
                  <a:pt x="322072" y="0"/>
                </a:lnTo>
                <a:close/>
              </a:path>
            </a:pathLst>
          </a:custGeom>
          <a:solidFill>
            <a:srgbClr val="006FAC"/>
          </a:solidFill>
        </p:spPr>
        <p:txBody>
          <a:bodyPr wrap="square" lIns="0" tIns="0" rIns="0" bIns="0" rtlCol="0"/>
          <a:lstStyle/>
          <a:p>
            <a:endParaRPr/>
          </a:p>
        </p:txBody>
      </p:sp>
      <p:sp>
        <p:nvSpPr>
          <p:cNvPr id="62" name="object 62"/>
          <p:cNvSpPr/>
          <p:nvPr/>
        </p:nvSpPr>
        <p:spPr>
          <a:xfrm>
            <a:off x="574548" y="1315211"/>
            <a:ext cx="185928" cy="275843"/>
          </a:xfrm>
          <a:prstGeom prst="rect">
            <a:avLst/>
          </a:prstGeom>
          <a:blipFill>
            <a:blip r:embed="rId16" cstate="print"/>
            <a:stretch>
              <a:fillRect/>
            </a:stretch>
          </a:blipFill>
        </p:spPr>
        <p:txBody>
          <a:bodyPr wrap="square" lIns="0" tIns="0" rIns="0" bIns="0" rtlCol="0"/>
          <a:lstStyle/>
          <a:p>
            <a:endParaRPr/>
          </a:p>
        </p:txBody>
      </p:sp>
      <p:sp>
        <p:nvSpPr>
          <p:cNvPr id="63" name="object 63"/>
          <p:cNvSpPr/>
          <p:nvPr/>
        </p:nvSpPr>
        <p:spPr>
          <a:xfrm>
            <a:off x="2724911" y="1399032"/>
            <a:ext cx="175260" cy="91439"/>
          </a:xfrm>
          <a:prstGeom prst="rect">
            <a:avLst/>
          </a:prstGeom>
          <a:blipFill>
            <a:blip r:embed="rId17" cstate="print"/>
            <a:stretch>
              <a:fillRect/>
            </a:stretch>
          </a:blipFill>
        </p:spPr>
        <p:txBody>
          <a:bodyPr wrap="square" lIns="0" tIns="0" rIns="0" bIns="0" rtlCol="0"/>
          <a:lstStyle/>
          <a:p>
            <a:endParaRPr/>
          </a:p>
        </p:txBody>
      </p:sp>
      <p:sp>
        <p:nvSpPr>
          <p:cNvPr id="64" name="object 64"/>
          <p:cNvSpPr/>
          <p:nvPr/>
        </p:nvSpPr>
        <p:spPr>
          <a:xfrm>
            <a:off x="2685288" y="1314450"/>
            <a:ext cx="218440" cy="0"/>
          </a:xfrm>
          <a:custGeom>
            <a:avLst/>
            <a:gdLst/>
            <a:ahLst/>
            <a:cxnLst/>
            <a:rect l="l" t="t" r="r" b="b"/>
            <a:pathLst>
              <a:path w="218439">
                <a:moveTo>
                  <a:pt x="0" y="0"/>
                </a:moveTo>
                <a:lnTo>
                  <a:pt x="217931" y="0"/>
                </a:lnTo>
              </a:path>
            </a:pathLst>
          </a:custGeom>
          <a:ln w="22859">
            <a:solidFill>
              <a:srgbClr val="12ABDB"/>
            </a:solidFill>
          </a:ln>
        </p:spPr>
        <p:txBody>
          <a:bodyPr wrap="square" lIns="0" tIns="0" rIns="0" bIns="0" rtlCol="0"/>
          <a:lstStyle/>
          <a:p>
            <a:endParaRPr/>
          </a:p>
        </p:txBody>
      </p:sp>
      <p:sp>
        <p:nvSpPr>
          <p:cNvPr id="65" name="object 65"/>
          <p:cNvSpPr/>
          <p:nvPr/>
        </p:nvSpPr>
        <p:spPr>
          <a:xfrm>
            <a:off x="2706623" y="1280160"/>
            <a:ext cx="175260" cy="0"/>
          </a:xfrm>
          <a:custGeom>
            <a:avLst/>
            <a:gdLst/>
            <a:ahLst/>
            <a:cxnLst/>
            <a:rect l="l" t="t" r="r" b="b"/>
            <a:pathLst>
              <a:path w="175260">
                <a:moveTo>
                  <a:pt x="0" y="0"/>
                </a:moveTo>
                <a:lnTo>
                  <a:pt x="175259" y="0"/>
                </a:lnTo>
              </a:path>
            </a:pathLst>
          </a:custGeom>
          <a:ln w="21336">
            <a:solidFill>
              <a:srgbClr val="12ABDB"/>
            </a:solidFill>
          </a:ln>
        </p:spPr>
        <p:txBody>
          <a:bodyPr wrap="square" lIns="0" tIns="0" rIns="0" bIns="0" rtlCol="0"/>
          <a:lstStyle/>
          <a:p>
            <a:endParaRPr/>
          </a:p>
        </p:txBody>
      </p:sp>
      <p:sp>
        <p:nvSpPr>
          <p:cNvPr id="66" name="object 66"/>
          <p:cNvSpPr/>
          <p:nvPr/>
        </p:nvSpPr>
        <p:spPr>
          <a:xfrm>
            <a:off x="2641092" y="1342644"/>
            <a:ext cx="315595" cy="143510"/>
          </a:xfrm>
          <a:custGeom>
            <a:avLst/>
            <a:gdLst/>
            <a:ahLst/>
            <a:cxnLst/>
            <a:rect l="l" t="t" r="r" b="b"/>
            <a:pathLst>
              <a:path w="315594" h="143509">
                <a:moveTo>
                  <a:pt x="277113" y="0"/>
                </a:moveTo>
                <a:lnTo>
                  <a:pt x="38353" y="0"/>
                </a:lnTo>
                <a:lnTo>
                  <a:pt x="34162" y="888"/>
                </a:lnTo>
                <a:lnTo>
                  <a:pt x="3175" y="25780"/>
                </a:lnTo>
                <a:lnTo>
                  <a:pt x="0" y="42417"/>
                </a:lnTo>
                <a:lnTo>
                  <a:pt x="15239" y="143255"/>
                </a:lnTo>
                <a:lnTo>
                  <a:pt x="35051" y="143255"/>
                </a:lnTo>
                <a:lnTo>
                  <a:pt x="19812" y="42417"/>
                </a:lnTo>
                <a:lnTo>
                  <a:pt x="20319" y="37718"/>
                </a:lnTo>
                <a:lnTo>
                  <a:pt x="42544" y="19811"/>
                </a:lnTo>
                <a:lnTo>
                  <a:pt x="308969" y="19811"/>
                </a:lnTo>
                <a:lnTo>
                  <a:pt x="308101" y="18414"/>
                </a:lnTo>
                <a:lnTo>
                  <a:pt x="305815" y="15239"/>
                </a:lnTo>
                <a:lnTo>
                  <a:pt x="300227" y="9651"/>
                </a:lnTo>
                <a:lnTo>
                  <a:pt x="296544" y="7365"/>
                </a:lnTo>
                <a:lnTo>
                  <a:pt x="293243" y="5079"/>
                </a:lnTo>
                <a:lnTo>
                  <a:pt x="289559" y="3175"/>
                </a:lnTo>
                <a:lnTo>
                  <a:pt x="285495" y="1904"/>
                </a:lnTo>
                <a:lnTo>
                  <a:pt x="281305" y="888"/>
                </a:lnTo>
                <a:lnTo>
                  <a:pt x="277113" y="0"/>
                </a:lnTo>
                <a:close/>
              </a:path>
              <a:path w="315594" h="143509">
                <a:moveTo>
                  <a:pt x="308969" y="19811"/>
                </a:moveTo>
                <a:lnTo>
                  <a:pt x="272922" y="19811"/>
                </a:lnTo>
                <a:lnTo>
                  <a:pt x="277621" y="20319"/>
                </a:lnTo>
                <a:lnTo>
                  <a:pt x="281813" y="21589"/>
                </a:lnTo>
                <a:lnTo>
                  <a:pt x="295656" y="42417"/>
                </a:lnTo>
                <a:lnTo>
                  <a:pt x="281813" y="142366"/>
                </a:lnTo>
                <a:lnTo>
                  <a:pt x="302132" y="142366"/>
                </a:lnTo>
                <a:lnTo>
                  <a:pt x="315468" y="42417"/>
                </a:lnTo>
                <a:lnTo>
                  <a:pt x="315360" y="37718"/>
                </a:lnTo>
                <a:lnTo>
                  <a:pt x="314578" y="34035"/>
                </a:lnTo>
                <a:lnTo>
                  <a:pt x="313563" y="29971"/>
                </a:lnTo>
                <a:lnTo>
                  <a:pt x="312293" y="25780"/>
                </a:lnTo>
                <a:lnTo>
                  <a:pt x="310388" y="22097"/>
                </a:lnTo>
                <a:lnTo>
                  <a:pt x="308969" y="19811"/>
                </a:lnTo>
                <a:close/>
              </a:path>
            </a:pathLst>
          </a:custGeom>
          <a:solidFill>
            <a:srgbClr val="006FAC"/>
          </a:solidFill>
        </p:spPr>
        <p:txBody>
          <a:bodyPr wrap="square" lIns="0" tIns="0" rIns="0" bIns="0" rtlCol="0"/>
          <a:lstStyle/>
          <a:p>
            <a:endParaRPr/>
          </a:p>
        </p:txBody>
      </p:sp>
      <p:sp>
        <p:nvSpPr>
          <p:cNvPr id="67" name="object 67"/>
          <p:cNvSpPr/>
          <p:nvPr/>
        </p:nvSpPr>
        <p:spPr>
          <a:xfrm>
            <a:off x="2638044" y="1499616"/>
            <a:ext cx="321945" cy="97790"/>
          </a:xfrm>
          <a:custGeom>
            <a:avLst/>
            <a:gdLst/>
            <a:ahLst/>
            <a:cxnLst/>
            <a:rect l="l" t="t" r="r" b="b"/>
            <a:pathLst>
              <a:path w="321944" h="97790">
                <a:moveTo>
                  <a:pt x="307213" y="0"/>
                </a:moveTo>
                <a:lnTo>
                  <a:pt x="14350" y="0"/>
                </a:lnTo>
                <a:lnTo>
                  <a:pt x="11049" y="508"/>
                </a:lnTo>
                <a:lnTo>
                  <a:pt x="0" y="13462"/>
                </a:lnTo>
                <a:lnTo>
                  <a:pt x="0" y="16637"/>
                </a:lnTo>
                <a:lnTo>
                  <a:pt x="11937" y="97536"/>
                </a:lnTo>
                <a:lnTo>
                  <a:pt x="309625" y="97536"/>
                </a:lnTo>
                <a:lnTo>
                  <a:pt x="321563" y="16637"/>
                </a:lnTo>
                <a:lnTo>
                  <a:pt x="321563" y="13462"/>
                </a:lnTo>
                <a:lnTo>
                  <a:pt x="307213" y="0"/>
                </a:lnTo>
                <a:close/>
              </a:path>
            </a:pathLst>
          </a:custGeom>
          <a:solidFill>
            <a:srgbClr val="006FAC"/>
          </a:solidFill>
        </p:spPr>
        <p:txBody>
          <a:bodyPr wrap="square" lIns="0" tIns="0" rIns="0" bIns="0" rtlCol="0"/>
          <a:lstStyle/>
          <a:p>
            <a:endParaRPr/>
          </a:p>
        </p:txBody>
      </p:sp>
      <p:sp>
        <p:nvSpPr>
          <p:cNvPr id="68" name="object 68"/>
          <p:cNvSpPr/>
          <p:nvPr/>
        </p:nvSpPr>
        <p:spPr>
          <a:xfrm>
            <a:off x="4555235" y="1466088"/>
            <a:ext cx="472440" cy="147955"/>
          </a:xfrm>
          <a:custGeom>
            <a:avLst/>
            <a:gdLst/>
            <a:ahLst/>
            <a:cxnLst/>
            <a:rect l="l" t="t" r="r" b="b"/>
            <a:pathLst>
              <a:path w="472439" h="147955">
                <a:moveTo>
                  <a:pt x="429622" y="100329"/>
                </a:moveTo>
                <a:lnTo>
                  <a:pt x="268986" y="100329"/>
                </a:lnTo>
                <a:lnTo>
                  <a:pt x="275589" y="100584"/>
                </a:lnTo>
                <a:lnTo>
                  <a:pt x="282575" y="101091"/>
                </a:lnTo>
                <a:lnTo>
                  <a:pt x="323088" y="114935"/>
                </a:lnTo>
                <a:lnTo>
                  <a:pt x="353060" y="147827"/>
                </a:lnTo>
                <a:lnTo>
                  <a:pt x="472439" y="147574"/>
                </a:lnTo>
                <a:lnTo>
                  <a:pt x="463296" y="137033"/>
                </a:lnTo>
                <a:lnTo>
                  <a:pt x="455294" y="128270"/>
                </a:lnTo>
                <a:lnTo>
                  <a:pt x="434086" y="105537"/>
                </a:lnTo>
                <a:lnTo>
                  <a:pt x="429622" y="100329"/>
                </a:lnTo>
                <a:close/>
              </a:path>
              <a:path w="472439" h="147955">
                <a:moveTo>
                  <a:pt x="39115" y="15494"/>
                </a:moveTo>
                <a:lnTo>
                  <a:pt x="37464" y="15494"/>
                </a:lnTo>
                <a:lnTo>
                  <a:pt x="35813" y="15748"/>
                </a:lnTo>
                <a:lnTo>
                  <a:pt x="33909" y="16256"/>
                </a:lnTo>
                <a:lnTo>
                  <a:pt x="32003" y="16890"/>
                </a:lnTo>
                <a:lnTo>
                  <a:pt x="29463" y="17652"/>
                </a:lnTo>
                <a:lnTo>
                  <a:pt x="24002" y="20700"/>
                </a:lnTo>
                <a:lnTo>
                  <a:pt x="23113" y="20954"/>
                </a:lnTo>
                <a:lnTo>
                  <a:pt x="18796" y="20954"/>
                </a:lnTo>
                <a:lnTo>
                  <a:pt x="15748" y="21336"/>
                </a:lnTo>
                <a:lnTo>
                  <a:pt x="1397" y="30987"/>
                </a:lnTo>
                <a:lnTo>
                  <a:pt x="508" y="32385"/>
                </a:lnTo>
                <a:lnTo>
                  <a:pt x="253" y="33654"/>
                </a:lnTo>
                <a:lnTo>
                  <a:pt x="117" y="34544"/>
                </a:lnTo>
                <a:lnTo>
                  <a:pt x="0" y="36702"/>
                </a:lnTo>
                <a:lnTo>
                  <a:pt x="253" y="38353"/>
                </a:lnTo>
                <a:lnTo>
                  <a:pt x="8000" y="45338"/>
                </a:lnTo>
                <a:lnTo>
                  <a:pt x="9143" y="45847"/>
                </a:lnTo>
                <a:lnTo>
                  <a:pt x="10413" y="46100"/>
                </a:lnTo>
                <a:lnTo>
                  <a:pt x="24256" y="51688"/>
                </a:lnTo>
                <a:lnTo>
                  <a:pt x="36067" y="56641"/>
                </a:lnTo>
                <a:lnTo>
                  <a:pt x="42417" y="58800"/>
                </a:lnTo>
                <a:lnTo>
                  <a:pt x="49656" y="61087"/>
                </a:lnTo>
                <a:lnTo>
                  <a:pt x="82930" y="69850"/>
                </a:lnTo>
                <a:lnTo>
                  <a:pt x="113284" y="78232"/>
                </a:lnTo>
                <a:lnTo>
                  <a:pt x="153542" y="89535"/>
                </a:lnTo>
                <a:lnTo>
                  <a:pt x="159638" y="92583"/>
                </a:lnTo>
                <a:lnTo>
                  <a:pt x="165988" y="95376"/>
                </a:lnTo>
                <a:lnTo>
                  <a:pt x="172212" y="97282"/>
                </a:lnTo>
                <a:lnTo>
                  <a:pt x="178562" y="98933"/>
                </a:lnTo>
                <a:lnTo>
                  <a:pt x="185165" y="99695"/>
                </a:lnTo>
                <a:lnTo>
                  <a:pt x="191897" y="100584"/>
                </a:lnTo>
                <a:lnTo>
                  <a:pt x="198754" y="100837"/>
                </a:lnTo>
                <a:lnTo>
                  <a:pt x="205612" y="100584"/>
                </a:lnTo>
                <a:lnTo>
                  <a:pt x="221361" y="100329"/>
                </a:lnTo>
                <a:lnTo>
                  <a:pt x="429622" y="100329"/>
                </a:lnTo>
                <a:lnTo>
                  <a:pt x="427227" y="97536"/>
                </a:lnTo>
                <a:lnTo>
                  <a:pt x="419480" y="88391"/>
                </a:lnTo>
                <a:lnTo>
                  <a:pt x="411225" y="77088"/>
                </a:lnTo>
                <a:lnTo>
                  <a:pt x="407415" y="72136"/>
                </a:lnTo>
                <a:lnTo>
                  <a:pt x="403225" y="67183"/>
                </a:lnTo>
                <a:lnTo>
                  <a:pt x="399161" y="62229"/>
                </a:lnTo>
                <a:lnTo>
                  <a:pt x="394715" y="57785"/>
                </a:lnTo>
                <a:lnTo>
                  <a:pt x="390271" y="53086"/>
                </a:lnTo>
                <a:lnTo>
                  <a:pt x="385952" y="48640"/>
                </a:lnTo>
                <a:lnTo>
                  <a:pt x="376554" y="40386"/>
                </a:lnTo>
                <a:lnTo>
                  <a:pt x="369322" y="34544"/>
                </a:lnTo>
                <a:lnTo>
                  <a:pt x="172847" y="34544"/>
                </a:lnTo>
                <a:lnTo>
                  <a:pt x="162940" y="34036"/>
                </a:lnTo>
                <a:lnTo>
                  <a:pt x="144399" y="31241"/>
                </a:lnTo>
                <a:lnTo>
                  <a:pt x="110743" y="25400"/>
                </a:lnTo>
                <a:lnTo>
                  <a:pt x="107441" y="25146"/>
                </a:lnTo>
                <a:lnTo>
                  <a:pt x="105283" y="25146"/>
                </a:lnTo>
                <a:lnTo>
                  <a:pt x="51815" y="18287"/>
                </a:lnTo>
                <a:lnTo>
                  <a:pt x="47371" y="17399"/>
                </a:lnTo>
                <a:lnTo>
                  <a:pt x="43814" y="16256"/>
                </a:lnTo>
                <a:lnTo>
                  <a:pt x="40766" y="15748"/>
                </a:lnTo>
                <a:lnTo>
                  <a:pt x="39115" y="15494"/>
                </a:lnTo>
                <a:close/>
              </a:path>
              <a:path w="472439" h="147955">
                <a:moveTo>
                  <a:pt x="160909" y="4190"/>
                </a:moveTo>
                <a:lnTo>
                  <a:pt x="140588" y="14350"/>
                </a:lnTo>
                <a:lnTo>
                  <a:pt x="140842" y="15494"/>
                </a:lnTo>
                <a:lnTo>
                  <a:pt x="155193" y="26035"/>
                </a:lnTo>
                <a:lnTo>
                  <a:pt x="158496" y="27686"/>
                </a:lnTo>
                <a:lnTo>
                  <a:pt x="180212" y="32638"/>
                </a:lnTo>
                <a:lnTo>
                  <a:pt x="179704" y="33147"/>
                </a:lnTo>
                <a:lnTo>
                  <a:pt x="178942" y="33654"/>
                </a:lnTo>
                <a:lnTo>
                  <a:pt x="177800" y="34036"/>
                </a:lnTo>
                <a:lnTo>
                  <a:pt x="176402" y="34289"/>
                </a:lnTo>
                <a:lnTo>
                  <a:pt x="172847" y="34544"/>
                </a:lnTo>
                <a:lnTo>
                  <a:pt x="369322" y="34544"/>
                </a:lnTo>
                <a:lnTo>
                  <a:pt x="366649" y="32385"/>
                </a:lnTo>
                <a:lnTo>
                  <a:pt x="356615" y="24637"/>
                </a:lnTo>
                <a:lnTo>
                  <a:pt x="340099" y="13208"/>
                </a:lnTo>
                <a:lnTo>
                  <a:pt x="234823" y="13208"/>
                </a:lnTo>
                <a:lnTo>
                  <a:pt x="229615" y="12953"/>
                </a:lnTo>
                <a:lnTo>
                  <a:pt x="224154" y="12191"/>
                </a:lnTo>
                <a:lnTo>
                  <a:pt x="218821" y="10540"/>
                </a:lnTo>
                <a:lnTo>
                  <a:pt x="211709" y="8509"/>
                </a:lnTo>
                <a:lnTo>
                  <a:pt x="175640" y="4445"/>
                </a:lnTo>
                <a:lnTo>
                  <a:pt x="160909" y="4190"/>
                </a:lnTo>
                <a:close/>
              </a:path>
              <a:path w="472439" h="147955">
                <a:moveTo>
                  <a:pt x="299592" y="0"/>
                </a:moveTo>
                <a:lnTo>
                  <a:pt x="294893" y="253"/>
                </a:lnTo>
                <a:lnTo>
                  <a:pt x="290194" y="888"/>
                </a:lnTo>
                <a:lnTo>
                  <a:pt x="285496" y="1397"/>
                </a:lnTo>
                <a:lnTo>
                  <a:pt x="281177" y="2539"/>
                </a:lnTo>
                <a:lnTo>
                  <a:pt x="276478" y="3556"/>
                </a:lnTo>
                <a:lnTo>
                  <a:pt x="271779" y="4952"/>
                </a:lnTo>
                <a:lnTo>
                  <a:pt x="267080" y="6603"/>
                </a:lnTo>
                <a:lnTo>
                  <a:pt x="262636" y="8254"/>
                </a:lnTo>
                <a:lnTo>
                  <a:pt x="256921" y="10160"/>
                </a:lnTo>
                <a:lnTo>
                  <a:pt x="251333" y="11937"/>
                </a:lnTo>
                <a:lnTo>
                  <a:pt x="245872" y="12700"/>
                </a:lnTo>
                <a:lnTo>
                  <a:pt x="240411" y="13208"/>
                </a:lnTo>
                <a:lnTo>
                  <a:pt x="340099" y="13208"/>
                </a:lnTo>
                <a:lnTo>
                  <a:pt x="313689" y="1397"/>
                </a:lnTo>
                <a:lnTo>
                  <a:pt x="308990" y="508"/>
                </a:lnTo>
                <a:lnTo>
                  <a:pt x="299592" y="0"/>
                </a:lnTo>
                <a:close/>
              </a:path>
            </a:pathLst>
          </a:custGeom>
          <a:solidFill>
            <a:srgbClr val="12ABDB"/>
          </a:solidFill>
        </p:spPr>
        <p:txBody>
          <a:bodyPr wrap="square" lIns="0" tIns="0" rIns="0" bIns="0" rtlCol="0"/>
          <a:lstStyle/>
          <a:p>
            <a:endParaRPr/>
          </a:p>
        </p:txBody>
      </p:sp>
      <p:sp>
        <p:nvSpPr>
          <p:cNvPr id="69" name="object 69"/>
          <p:cNvSpPr/>
          <p:nvPr/>
        </p:nvSpPr>
        <p:spPr>
          <a:xfrm>
            <a:off x="4687932" y="1252727"/>
            <a:ext cx="211618" cy="211836"/>
          </a:xfrm>
          <a:prstGeom prst="rect">
            <a:avLst/>
          </a:prstGeom>
          <a:blipFill>
            <a:blip r:embed="rId18" cstate="print"/>
            <a:stretch>
              <a:fillRect/>
            </a:stretch>
          </a:blipFill>
        </p:spPr>
        <p:txBody>
          <a:bodyPr wrap="square" lIns="0" tIns="0" rIns="0" bIns="0" rtlCol="0"/>
          <a:lstStyle/>
          <a:p>
            <a:endParaRPr/>
          </a:p>
        </p:txBody>
      </p:sp>
      <p:sp>
        <p:nvSpPr>
          <p:cNvPr id="70" name="object 70"/>
          <p:cNvSpPr/>
          <p:nvPr/>
        </p:nvSpPr>
        <p:spPr>
          <a:xfrm>
            <a:off x="7066085" y="1274063"/>
            <a:ext cx="361315" cy="236854"/>
          </a:xfrm>
          <a:custGeom>
            <a:avLst/>
            <a:gdLst/>
            <a:ahLst/>
            <a:cxnLst/>
            <a:rect l="l" t="t" r="r" b="b"/>
            <a:pathLst>
              <a:path w="361315" h="236855">
                <a:moveTo>
                  <a:pt x="164786" y="0"/>
                </a:moveTo>
                <a:lnTo>
                  <a:pt x="124944" y="7524"/>
                </a:lnTo>
                <a:lnTo>
                  <a:pt x="92269" y="27813"/>
                </a:lnTo>
                <a:lnTo>
                  <a:pt x="70167" y="57435"/>
                </a:lnTo>
                <a:lnTo>
                  <a:pt x="62043" y="92963"/>
                </a:lnTo>
                <a:lnTo>
                  <a:pt x="62043" y="96265"/>
                </a:lnTo>
                <a:lnTo>
                  <a:pt x="35980" y="101810"/>
                </a:lnTo>
                <a:lnTo>
                  <a:pt x="12703" y="118236"/>
                </a:lnTo>
                <a:lnTo>
                  <a:pt x="0" y="145236"/>
                </a:lnTo>
                <a:lnTo>
                  <a:pt x="5655" y="182499"/>
                </a:lnTo>
                <a:lnTo>
                  <a:pt x="23731" y="182921"/>
                </a:lnTo>
                <a:lnTo>
                  <a:pt x="54006" y="190355"/>
                </a:lnTo>
                <a:lnTo>
                  <a:pt x="138660" y="215269"/>
                </a:lnTo>
                <a:lnTo>
                  <a:pt x="186789" y="227250"/>
                </a:lnTo>
                <a:lnTo>
                  <a:pt x="234621" y="235250"/>
                </a:lnTo>
                <a:lnTo>
                  <a:pt x="279031" y="236520"/>
                </a:lnTo>
                <a:lnTo>
                  <a:pt x="316896" y="228312"/>
                </a:lnTo>
                <a:lnTo>
                  <a:pt x="345092" y="207877"/>
                </a:lnTo>
                <a:lnTo>
                  <a:pt x="360493" y="172465"/>
                </a:lnTo>
                <a:lnTo>
                  <a:pt x="360731" y="120376"/>
                </a:lnTo>
                <a:lnTo>
                  <a:pt x="342300" y="83788"/>
                </a:lnTo>
                <a:lnTo>
                  <a:pt x="313916" y="63345"/>
                </a:lnTo>
                <a:lnTo>
                  <a:pt x="311053" y="62991"/>
                </a:lnTo>
                <a:lnTo>
                  <a:pt x="257750" y="62991"/>
                </a:lnTo>
                <a:lnTo>
                  <a:pt x="243671" y="37772"/>
                </a:lnTo>
                <a:lnTo>
                  <a:pt x="222460" y="17827"/>
                </a:lnTo>
                <a:lnTo>
                  <a:pt x="195653" y="4716"/>
                </a:lnTo>
                <a:lnTo>
                  <a:pt x="164786" y="0"/>
                </a:lnTo>
                <a:close/>
              </a:path>
              <a:path w="361315" h="236855">
                <a:moveTo>
                  <a:pt x="284293" y="59689"/>
                </a:moveTo>
                <a:lnTo>
                  <a:pt x="276842" y="59741"/>
                </a:lnTo>
                <a:lnTo>
                  <a:pt x="269736" y="60102"/>
                </a:lnTo>
                <a:lnTo>
                  <a:pt x="263272" y="61083"/>
                </a:lnTo>
                <a:lnTo>
                  <a:pt x="257750" y="62991"/>
                </a:lnTo>
                <a:lnTo>
                  <a:pt x="311053" y="62991"/>
                </a:lnTo>
                <a:lnTo>
                  <a:pt x="284293" y="59689"/>
                </a:lnTo>
                <a:close/>
              </a:path>
            </a:pathLst>
          </a:custGeom>
          <a:solidFill>
            <a:srgbClr val="00AFDF"/>
          </a:solidFill>
        </p:spPr>
        <p:txBody>
          <a:bodyPr wrap="square" lIns="0" tIns="0" rIns="0" bIns="0" rtlCol="0"/>
          <a:lstStyle/>
          <a:p>
            <a:endParaRPr/>
          </a:p>
        </p:txBody>
      </p:sp>
      <p:sp>
        <p:nvSpPr>
          <p:cNvPr id="71" name="object 71"/>
          <p:cNvSpPr/>
          <p:nvPr/>
        </p:nvSpPr>
        <p:spPr>
          <a:xfrm>
            <a:off x="9896856" y="1226819"/>
            <a:ext cx="414527" cy="413003"/>
          </a:xfrm>
          <a:prstGeom prst="rect">
            <a:avLst/>
          </a:prstGeom>
          <a:blipFill>
            <a:blip r:embed="rId19" cstate="print"/>
            <a:stretch>
              <a:fillRect/>
            </a:stretch>
          </a:blipFill>
        </p:spPr>
        <p:txBody>
          <a:bodyPr wrap="square" lIns="0" tIns="0" rIns="0" bIns="0" rtlCol="0"/>
          <a:lstStyle/>
          <a:p>
            <a:endParaRPr/>
          </a:p>
        </p:txBody>
      </p:sp>
      <p:sp>
        <p:nvSpPr>
          <p:cNvPr id="72" name="object 72"/>
          <p:cNvSpPr/>
          <p:nvPr/>
        </p:nvSpPr>
        <p:spPr>
          <a:xfrm>
            <a:off x="11332464" y="1426463"/>
            <a:ext cx="287020" cy="188595"/>
          </a:xfrm>
          <a:custGeom>
            <a:avLst/>
            <a:gdLst/>
            <a:ahLst/>
            <a:cxnLst/>
            <a:rect l="l" t="t" r="r" b="b"/>
            <a:pathLst>
              <a:path w="287020" h="188594">
                <a:moveTo>
                  <a:pt x="279745" y="160559"/>
                </a:moveTo>
                <a:lnTo>
                  <a:pt x="12128" y="160559"/>
                </a:lnTo>
                <a:lnTo>
                  <a:pt x="25824" y="161147"/>
                </a:lnTo>
                <a:lnTo>
                  <a:pt x="43306" y="165353"/>
                </a:lnTo>
                <a:lnTo>
                  <a:pt x="98934" y="180754"/>
                </a:lnTo>
                <a:lnTo>
                  <a:pt x="158742" y="188553"/>
                </a:lnTo>
                <a:lnTo>
                  <a:pt x="215058" y="187610"/>
                </a:lnTo>
                <a:lnTo>
                  <a:pt x="260206" y="176786"/>
                </a:lnTo>
                <a:lnTo>
                  <a:pt x="279745" y="160559"/>
                </a:lnTo>
                <a:close/>
              </a:path>
              <a:path w="287020" h="188594">
                <a:moveTo>
                  <a:pt x="146176" y="0"/>
                </a:moveTo>
                <a:lnTo>
                  <a:pt x="84508" y="11894"/>
                </a:lnTo>
                <a:lnTo>
                  <a:pt x="37129" y="61170"/>
                </a:lnTo>
                <a:lnTo>
                  <a:pt x="18843" y="105600"/>
                </a:lnTo>
                <a:lnTo>
                  <a:pt x="5296" y="145268"/>
                </a:lnTo>
                <a:lnTo>
                  <a:pt x="0" y="162433"/>
                </a:lnTo>
                <a:lnTo>
                  <a:pt x="3194" y="161639"/>
                </a:lnTo>
                <a:lnTo>
                  <a:pt x="12128" y="160559"/>
                </a:lnTo>
                <a:lnTo>
                  <a:pt x="279745" y="160559"/>
                </a:lnTo>
                <a:lnTo>
                  <a:pt x="286511" y="154939"/>
                </a:lnTo>
                <a:lnTo>
                  <a:pt x="269160" y="93487"/>
                </a:lnTo>
                <a:lnTo>
                  <a:pt x="243060" y="45587"/>
                </a:lnTo>
                <a:lnTo>
                  <a:pt x="201421" y="11937"/>
                </a:lnTo>
                <a:lnTo>
                  <a:pt x="151451" y="382"/>
                </a:lnTo>
                <a:lnTo>
                  <a:pt x="146176" y="0"/>
                </a:lnTo>
                <a:close/>
              </a:path>
            </a:pathLst>
          </a:custGeom>
          <a:solidFill>
            <a:srgbClr val="12ABDB"/>
          </a:solidFill>
        </p:spPr>
        <p:txBody>
          <a:bodyPr wrap="square" lIns="0" tIns="0" rIns="0" bIns="0" rtlCol="0"/>
          <a:lstStyle/>
          <a:p>
            <a:endParaRPr/>
          </a:p>
        </p:txBody>
      </p:sp>
      <p:sp>
        <p:nvSpPr>
          <p:cNvPr id="73" name="object 73"/>
          <p:cNvSpPr/>
          <p:nvPr/>
        </p:nvSpPr>
        <p:spPr>
          <a:xfrm>
            <a:off x="11401043" y="1238962"/>
            <a:ext cx="152400" cy="217981"/>
          </a:xfrm>
          <a:prstGeom prst="rect">
            <a:avLst/>
          </a:prstGeom>
          <a:blipFill>
            <a:blip r:embed="rId20" cstate="print"/>
            <a:stretch>
              <a:fillRect/>
            </a:stretch>
          </a:blipFill>
        </p:spPr>
        <p:txBody>
          <a:bodyPr wrap="square" lIns="0" tIns="0" rIns="0" bIns="0" rtlCol="0"/>
          <a:lstStyle/>
          <a:p>
            <a:endParaRPr/>
          </a:p>
        </p:txBody>
      </p:sp>
      <p:sp>
        <p:nvSpPr>
          <p:cNvPr id="74" name="object 74"/>
          <p:cNvSpPr/>
          <p:nvPr/>
        </p:nvSpPr>
        <p:spPr>
          <a:xfrm>
            <a:off x="11358371" y="1488947"/>
            <a:ext cx="237744" cy="156972"/>
          </a:xfrm>
          <a:prstGeom prst="rect">
            <a:avLst/>
          </a:prstGeom>
          <a:blipFill>
            <a:blip r:embed="rId21" cstate="print"/>
            <a:stretch>
              <a:fillRect/>
            </a:stretch>
          </a:blipFill>
        </p:spPr>
        <p:txBody>
          <a:bodyPr wrap="square" lIns="0" tIns="0" rIns="0" bIns="0" rtlCol="0"/>
          <a:lstStyle/>
          <a:p>
            <a:endParaRPr/>
          </a:p>
        </p:txBody>
      </p:sp>
      <p:sp>
        <p:nvSpPr>
          <p:cNvPr id="75" name="object 7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6" name="object 7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35</a:t>
            </a:fld>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27380" y="6650797"/>
            <a:ext cx="3099435" cy="124460"/>
          </a:xfrm>
          <a:prstGeom prst="rect">
            <a:avLst/>
          </a:prstGeom>
        </p:spPr>
        <p:txBody>
          <a:bodyPr vert="horz" wrap="square" lIns="0" tIns="635" rIns="0" bIns="0" rtlCol="0">
            <a:spAutoFit/>
          </a:bodyPr>
          <a:lstStyle/>
          <a:p>
            <a:pPr>
              <a:lnSpc>
                <a:spcPct val="100000"/>
              </a:lnSpc>
              <a:spcBef>
                <a:spcPts val="5"/>
              </a:spcBef>
            </a:pPr>
            <a:r>
              <a:rPr sz="800">
                <a:solidFill>
                  <a:srgbClr val="A6A6A6"/>
                </a:solidFill>
                <a:latin typeface="Verdana"/>
                <a:cs typeface="Verdana"/>
              </a:rPr>
              <a:t>Capgemini’s Response Salesforce </a:t>
            </a:r>
            <a:r>
              <a:rPr sz="800" spc="-5">
                <a:solidFill>
                  <a:srgbClr val="A6A6A6"/>
                </a:solidFill>
                <a:latin typeface="Verdana"/>
                <a:cs typeface="Verdana"/>
              </a:rPr>
              <a:t>Rollout Project </a:t>
            </a:r>
            <a:r>
              <a:rPr sz="800">
                <a:solidFill>
                  <a:srgbClr val="A6A6A6"/>
                </a:solidFill>
                <a:latin typeface="Verdana"/>
                <a:cs typeface="Verdana"/>
              </a:rPr>
              <a:t>| Sep</a:t>
            </a:r>
            <a:r>
              <a:rPr sz="800" spc="-35">
                <a:solidFill>
                  <a:srgbClr val="A6A6A6"/>
                </a:solidFill>
                <a:latin typeface="Verdana"/>
                <a:cs typeface="Verdana"/>
              </a:rPr>
              <a:t> </a:t>
            </a:r>
            <a:r>
              <a:rPr sz="800">
                <a:solidFill>
                  <a:srgbClr val="A6A6A6"/>
                </a:solidFill>
                <a:latin typeface="Verdana"/>
                <a:cs typeface="Verdana"/>
              </a:rPr>
              <a:t>2020</a:t>
            </a:r>
            <a:endParaRPr sz="800">
              <a:latin typeface="Verdana"/>
              <a:cs typeface="Verdana"/>
            </a:endParaRPr>
          </a:p>
        </p:txBody>
      </p:sp>
      <p:sp>
        <p:nvSpPr>
          <p:cNvPr id="3" name="object 3"/>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34</a:t>
            </a:r>
            <a:endParaRPr sz="800">
              <a:latin typeface="Verdana"/>
              <a:cs typeface="Verdana"/>
            </a:endParaRPr>
          </a:p>
        </p:txBody>
      </p:sp>
      <p:sp>
        <p:nvSpPr>
          <p:cNvPr id="4" name="object 4"/>
          <p:cNvSpPr/>
          <p:nvPr/>
        </p:nvSpPr>
        <p:spPr>
          <a:xfrm>
            <a:off x="0" y="0"/>
            <a:ext cx="6600444" cy="6857997"/>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0" y="4855464"/>
            <a:ext cx="10015855" cy="1728470"/>
          </a:xfrm>
          <a:custGeom>
            <a:avLst/>
            <a:gdLst/>
            <a:ahLst/>
            <a:cxnLst/>
            <a:rect l="l" t="t" r="r" b="b"/>
            <a:pathLst>
              <a:path w="10015855" h="1728470">
                <a:moveTo>
                  <a:pt x="10015728" y="0"/>
                </a:moveTo>
                <a:lnTo>
                  <a:pt x="0" y="0"/>
                </a:lnTo>
                <a:lnTo>
                  <a:pt x="0" y="1728216"/>
                </a:lnTo>
                <a:lnTo>
                  <a:pt x="10015728" y="1728216"/>
                </a:lnTo>
                <a:lnTo>
                  <a:pt x="9927336" y="1723758"/>
                </a:lnTo>
                <a:lnTo>
                  <a:pt x="9879340" y="1717520"/>
                </a:lnTo>
                <a:lnTo>
                  <a:pt x="9832207" y="1708693"/>
                </a:lnTo>
                <a:lnTo>
                  <a:pt x="9786009" y="1697350"/>
                </a:lnTo>
                <a:lnTo>
                  <a:pt x="9740822" y="1683566"/>
                </a:lnTo>
                <a:lnTo>
                  <a:pt x="9696720" y="1667416"/>
                </a:lnTo>
                <a:lnTo>
                  <a:pt x="9653778" y="1648973"/>
                </a:lnTo>
                <a:lnTo>
                  <a:pt x="9612069" y="1628313"/>
                </a:lnTo>
                <a:lnTo>
                  <a:pt x="9571669" y="1605510"/>
                </a:lnTo>
                <a:lnTo>
                  <a:pt x="9532652" y="1580639"/>
                </a:lnTo>
                <a:lnTo>
                  <a:pt x="9495093" y="1553773"/>
                </a:lnTo>
                <a:lnTo>
                  <a:pt x="9459065" y="1524987"/>
                </a:lnTo>
                <a:lnTo>
                  <a:pt x="9424644" y="1494356"/>
                </a:lnTo>
                <a:lnTo>
                  <a:pt x="9391904" y="1461955"/>
                </a:lnTo>
                <a:lnTo>
                  <a:pt x="9360919" y="1427857"/>
                </a:lnTo>
                <a:lnTo>
                  <a:pt x="9331764" y="1392138"/>
                </a:lnTo>
                <a:lnTo>
                  <a:pt x="9304513" y="1354871"/>
                </a:lnTo>
                <a:lnTo>
                  <a:pt x="9279241" y="1316131"/>
                </a:lnTo>
                <a:lnTo>
                  <a:pt x="9256023" y="1275992"/>
                </a:lnTo>
                <a:lnTo>
                  <a:pt x="9234932" y="1234530"/>
                </a:lnTo>
                <a:lnTo>
                  <a:pt x="9216044" y="1191819"/>
                </a:lnTo>
                <a:lnTo>
                  <a:pt x="9199432" y="1147932"/>
                </a:lnTo>
                <a:lnTo>
                  <a:pt x="9185172" y="1102945"/>
                </a:lnTo>
                <a:lnTo>
                  <a:pt x="9173337" y="1056932"/>
                </a:lnTo>
                <a:lnTo>
                  <a:pt x="9164003" y="1009967"/>
                </a:lnTo>
                <a:lnTo>
                  <a:pt x="9157244" y="962125"/>
                </a:lnTo>
                <a:lnTo>
                  <a:pt x="9153133" y="913480"/>
                </a:lnTo>
                <a:lnTo>
                  <a:pt x="9151747" y="864108"/>
                </a:lnTo>
                <a:lnTo>
                  <a:pt x="9153133" y="814734"/>
                </a:lnTo>
                <a:lnTo>
                  <a:pt x="9157244" y="766088"/>
                </a:lnTo>
                <a:lnTo>
                  <a:pt x="9164003" y="718247"/>
                </a:lnTo>
                <a:lnTo>
                  <a:pt x="9173337" y="671282"/>
                </a:lnTo>
                <a:lnTo>
                  <a:pt x="9185172" y="625270"/>
                </a:lnTo>
                <a:lnTo>
                  <a:pt x="9199432" y="580284"/>
                </a:lnTo>
                <a:lnTo>
                  <a:pt x="9216044" y="536398"/>
                </a:lnTo>
                <a:lnTo>
                  <a:pt x="9234932" y="493688"/>
                </a:lnTo>
                <a:lnTo>
                  <a:pt x="9256023" y="452228"/>
                </a:lnTo>
                <a:lnTo>
                  <a:pt x="9279241" y="412091"/>
                </a:lnTo>
                <a:lnTo>
                  <a:pt x="9304513" y="373353"/>
                </a:lnTo>
                <a:lnTo>
                  <a:pt x="9331764" y="336088"/>
                </a:lnTo>
                <a:lnTo>
                  <a:pt x="9360919" y="300370"/>
                </a:lnTo>
                <a:lnTo>
                  <a:pt x="9391904" y="266273"/>
                </a:lnTo>
                <a:lnTo>
                  <a:pt x="9424644" y="233873"/>
                </a:lnTo>
                <a:lnTo>
                  <a:pt x="9459065" y="203243"/>
                </a:lnTo>
                <a:lnTo>
                  <a:pt x="9495093" y="174458"/>
                </a:lnTo>
                <a:lnTo>
                  <a:pt x="9532652" y="147592"/>
                </a:lnTo>
                <a:lnTo>
                  <a:pt x="9571669" y="122720"/>
                </a:lnTo>
                <a:lnTo>
                  <a:pt x="9612069" y="99916"/>
                </a:lnTo>
                <a:lnTo>
                  <a:pt x="9653778" y="79255"/>
                </a:lnTo>
                <a:lnTo>
                  <a:pt x="9696720" y="60810"/>
                </a:lnTo>
                <a:lnTo>
                  <a:pt x="9740822" y="44657"/>
                </a:lnTo>
                <a:lnTo>
                  <a:pt x="9786009" y="30869"/>
                </a:lnTo>
                <a:lnTo>
                  <a:pt x="9832207" y="19522"/>
                </a:lnTo>
                <a:lnTo>
                  <a:pt x="9879340" y="10689"/>
                </a:lnTo>
                <a:lnTo>
                  <a:pt x="9927336" y="4444"/>
                </a:lnTo>
                <a:lnTo>
                  <a:pt x="10015728" y="0"/>
                </a:lnTo>
                <a:close/>
              </a:path>
            </a:pathLst>
          </a:custGeom>
          <a:solidFill>
            <a:srgbClr val="12ABDB">
              <a:alpha val="32940"/>
            </a:srgbClr>
          </a:solidFill>
        </p:spPr>
        <p:txBody>
          <a:bodyPr wrap="square" lIns="0" tIns="0" rIns="0" bIns="0" rtlCol="0"/>
          <a:lstStyle/>
          <a:p>
            <a:endParaRPr/>
          </a:p>
        </p:txBody>
      </p:sp>
      <p:sp>
        <p:nvSpPr>
          <p:cNvPr id="6" name="object 6"/>
          <p:cNvSpPr/>
          <p:nvPr/>
        </p:nvSpPr>
        <p:spPr>
          <a:xfrm>
            <a:off x="9152381" y="4856226"/>
            <a:ext cx="1728470" cy="1728470"/>
          </a:xfrm>
          <a:custGeom>
            <a:avLst/>
            <a:gdLst/>
            <a:ahLst/>
            <a:cxnLst/>
            <a:rect l="l" t="t" r="r" b="b"/>
            <a:pathLst>
              <a:path w="1728470" h="1728470">
                <a:moveTo>
                  <a:pt x="864108" y="0"/>
                </a:moveTo>
                <a:lnTo>
                  <a:pt x="816693" y="1278"/>
                </a:lnTo>
                <a:lnTo>
                  <a:pt x="769948" y="5070"/>
                </a:lnTo>
                <a:lnTo>
                  <a:pt x="723937" y="11308"/>
                </a:lnTo>
                <a:lnTo>
                  <a:pt x="678726" y="19928"/>
                </a:lnTo>
                <a:lnTo>
                  <a:pt x="634382" y="30864"/>
                </a:lnTo>
                <a:lnTo>
                  <a:pt x="590970" y="44049"/>
                </a:lnTo>
                <a:lnTo>
                  <a:pt x="548556" y="59418"/>
                </a:lnTo>
                <a:lnTo>
                  <a:pt x="507206" y="76905"/>
                </a:lnTo>
                <a:lnTo>
                  <a:pt x="466986" y="96444"/>
                </a:lnTo>
                <a:lnTo>
                  <a:pt x="427961" y="117968"/>
                </a:lnTo>
                <a:lnTo>
                  <a:pt x="390198" y="141413"/>
                </a:lnTo>
                <a:lnTo>
                  <a:pt x="353763" y="166713"/>
                </a:lnTo>
                <a:lnTo>
                  <a:pt x="318720" y="193801"/>
                </a:lnTo>
                <a:lnTo>
                  <a:pt x="285137" y="222611"/>
                </a:lnTo>
                <a:lnTo>
                  <a:pt x="253079" y="253079"/>
                </a:lnTo>
                <a:lnTo>
                  <a:pt x="222611" y="285137"/>
                </a:lnTo>
                <a:lnTo>
                  <a:pt x="193801" y="318720"/>
                </a:lnTo>
                <a:lnTo>
                  <a:pt x="166713" y="353763"/>
                </a:lnTo>
                <a:lnTo>
                  <a:pt x="141413" y="390198"/>
                </a:lnTo>
                <a:lnTo>
                  <a:pt x="117968" y="427961"/>
                </a:lnTo>
                <a:lnTo>
                  <a:pt x="96444" y="466986"/>
                </a:lnTo>
                <a:lnTo>
                  <a:pt x="76905" y="507206"/>
                </a:lnTo>
                <a:lnTo>
                  <a:pt x="59418" y="548556"/>
                </a:lnTo>
                <a:lnTo>
                  <a:pt x="44049" y="590970"/>
                </a:lnTo>
                <a:lnTo>
                  <a:pt x="30864" y="634382"/>
                </a:lnTo>
                <a:lnTo>
                  <a:pt x="19928" y="678726"/>
                </a:lnTo>
                <a:lnTo>
                  <a:pt x="11308" y="723937"/>
                </a:lnTo>
                <a:lnTo>
                  <a:pt x="5070" y="769948"/>
                </a:lnTo>
                <a:lnTo>
                  <a:pt x="1278" y="816693"/>
                </a:lnTo>
                <a:lnTo>
                  <a:pt x="0" y="864108"/>
                </a:lnTo>
                <a:lnTo>
                  <a:pt x="1278" y="911518"/>
                </a:lnTo>
                <a:lnTo>
                  <a:pt x="5070" y="958261"/>
                </a:lnTo>
                <a:lnTo>
                  <a:pt x="11308" y="1004269"/>
                </a:lnTo>
                <a:lnTo>
                  <a:pt x="19928" y="1049477"/>
                </a:lnTo>
                <a:lnTo>
                  <a:pt x="30864" y="1093820"/>
                </a:lnTo>
                <a:lnTo>
                  <a:pt x="44049" y="1137230"/>
                </a:lnTo>
                <a:lnTo>
                  <a:pt x="59418" y="1179643"/>
                </a:lnTo>
                <a:lnTo>
                  <a:pt x="76905" y="1220992"/>
                </a:lnTo>
                <a:lnTo>
                  <a:pt x="96444" y="1261212"/>
                </a:lnTo>
                <a:lnTo>
                  <a:pt x="117968" y="1300237"/>
                </a:lnTo>
                <a:lnTo>
                  <a:pt x="141413" y="1338000"/>
                </a:lnTo>
                <a:lnTo>
                  <a:pt x="166713" y="1374436"/>
                </a:lnTo>
                <a:lnTo>
                  <a:pt x="193801" y="1409479"/>
                </a:lnTo>
                <a:lnTo>
                  <a:pt x="222611" y="1443063"/>
                </a:lnTo>
                <a:lnTo>
                  <a:pt x="253079" y="1475122"/>
                </a:lnTo>
                <a:lnTo>
                  <a:pt x="285137" y="1505590"/>
                </a:lnTo>
                <a:lnTo>
                  <a:pt x="318720" y="1534402"/>
                </a:lnTo>
                <a:lnTo>
                  <a:pt x="353763" y="1561491"/>
                </a:lnTo>
                <a:lnTo>
                  <a:pt x="390198" y="1586792"/>
                </a:lnTo>
                <a:lnTo>
                  <a:pt x="427961" y="1610238"/>
                </a:lnTo>
                <a:lnTo>
                  <a:pt x="466986" y="1631764"/>
                </a:lnTo>
                <a:lnTo>
                  <a:pt x="507206" y="1651304"/>
                </a:lnTo>
                <a:lnTo>
                  <a:pt x="548556" y="1668792"/>
                </a:lnTo>
                <a:lnTo>
                  <a:pt x="590970" y="1684162"/>
                </a:lnTo>
                <a:lnTo>
                  <a:pt x="634382" y="1697348"/>
                </a:lnTo>
                <a:lnTo>
                  <a:pt x="678726" y="1708285"/>
                </a:lnTo>
                <a:lnTo>
                  <a:pt x="723937" y="1716906"/>
                </a:lnTo>
                <a:lnTo>
                  <a:pt x="769948" y="1723145"/>
                </a:lnTo>
                <a:lnTo>
                  <a:pt x="816693" y="1726937"/>
                </a:lnTo>
                <a:lnTo>
                  <a:pt x="864108" y="1728216"/>
                </a:lnTo>
                <a:lnTo>
                  <a:pt x="911522" y="1726937"/>
                </a:lnTo>
                <a:lnTo>
                  <a:pt x="958267" y="1723145"/>
                </a:lnTo>
                <a:lnTo>
                  <a:pt x="1004278" y="1716906"/>
                </a:lnTo>
                <a:lnTo>
                  <a:pt x="1049489" y="1708285"/>
                </a:lnTo>
                <a:lnTo>
                  <a:pt x="1093833" y="1697348"/>
                </a:lnTo>
                <a:lnTo>
                  <a:pt x="1137245" y="1684162"/>
                </a:lnTo>
                <a:lnTo>
                  <a:pt x="1179659" y="1668792"/>
                </a:lnTo>
                <a:lnTo>
                  <a:pt x="1221009" y="1651304"/>
                </a:lnTo>
                <a:lnTo>
                  <a:pt x="1261229" y="1631764"/>
                </a:lnTo>
                <a:lnTo>
                  <a:pt x="1300254" y="1610238"/>
                </a:lnTo>
                <a:lnTo>
                  <a:pt x="1338017" y="1586792"/>
                </a:lnTo>
                <a:lnTo>
                  <a:pt x="1374452" y="1561491"/>
                </a:lnTo>
                <a:lnTo>
                  <a:pt x="1409495" y="1534402"/>
                </a:lnTo>
                <a:lnTo>
                  <a:pt x="1443078" y="1505590"/>
                </a:lnTo>
                <a:lnTo>
                  <a:pt x="1475136" y="1475122"/>
                </a:lnTo>
                <a:lnTo>
                  <a:pt x="1505604" y="1443063"/>
                </a:lnTo>
                <a:lnTo>
                  <a:pt x="1534414" y="1409479"/>
                </a:lnTo>
                <a:lnTo>
                  <a:pt x="1561502" y="1374436"/>
                </a:lnTo>
                <a:lnTo>
                  <a:pt x="1586802" y="1338000"/>
                </a:lnTo>
                <a:lnTo>
                  <a:pt x="1610247" y="1300237"/>
                </a:lnTo>
                <a:lnTo>
                  <a:pt x="1631771" y="1261212"/>
                </a:lnTo>
                <a:lnTo>
                  <a:pt x="1651310" y="1220992"/>
                </a:lnTo>
                <a:lnTo>
                  <a:pt x="1668797" y="1179643"/>
                </a:lnTo>
                <a:lnTo>
                  <a:pt x="1684166" y="1137230"/>
                </a:lnTo>
                <a:lnTo>
                  <a:pt x="1697351" y="1093820"/>
                </a:lnTo>
                <a:lnTo>
                  <a:pt x="1708287" y="1049477"/>
                </a:lnTo>
                <a:lnTo>
                  <a:pt x="1716907" y="1004269"/>
                </a:lnTo>
                <a:lnTo>
                  <a:pt x="1723145" y="958261"/>
                </a:lnTo>
                <a:lnTo>
                  <a:pt x="1726937" y="911518"/>
                </a:lnTo>
                <a:lnTo>
                  <a:pt x="1728216" y="864108"/>
                </a:lnTo>
                <a:lnTo>
                  <a:pt x="1726937" y="816693"/>
                </a:lnTo>
                <a:lnTo>
                  <a:pt x="1723145" y="769948"/>
                </a:lnTo>
                <a:lnTo>
                  <a:pt x="1716907" y="723937"/>
                </a:lnTo>
                <a:lnTo>
                  <a:pt x="1708287" y="678726"/>
                </a:lnTo>
                <a:lnTo>
                  <a:pt x="1697351" y="634382"/>
                </a:lnTo>
                <a:lnTo>
                  <a:pt x="1684166" y="590970"/>
                </a:lnTo>
                <a:lnTo>
                  <a:pt x="1668797" y="548556"/>
                </a:lnTo>
                <a:lnTo>
                  <a:pt x="1651310" y="507206"/>
                </a:lnTo>
                <a:lnTo>
                  <a:pt x="1631771" y="466986"/>
                </a:lnTo>
                <a:lnTo>
                  <a:pt x="1610247" y="427961"/>
                </a:lnTo>
                <a:lnTo>
                  <a:pt x="1586802" y="390198"/>
                </a:lnTo>
                <a:lnTo>
                  <a:pt x="1561502" y="353763"/>
                </a:lnTo>
                <a:lnTo>
                  <a:pt x="1534414" y="318720"/>
                </a:lnTo>
                <a:lnTo>
                  <a:pt x="1505604" y="285137"/>
                </a:lnTo>
                <a:lnTo>
                  <a:pt x="1475136" y="253079"/>
                </a:lnTo>
                <a:lnTo>
                  <a:pt x="1443078" y="222611"/>
                </a:lnTo>
                <a:lnTo>
                  <a:pt x="1409495" y="193801"/>
                </a:lnTo>
                <a:lnTo>
                  <a:pt x="1374452" y="166713"/>
                </a:lnTo>
                <a:lnTo>
                  <a:pt x="1338017" y="141413"/>
                </a:lnTo>
                <a:lnTo>
                  <a:pt x="1300254" y="117968"/>
                </a:lnTo>
                <a:lnTo>
                  <a:pt x="1261229" y="96444"/>
                </a:lnTo>
                <a:lnTo>
                  <a:pt x="1221009" y="76905"/>
                </a:lnTo>
                <a:lnTo>
                  <a:pt x="1179659" y="59418"/>
                </a:lnTo>
                <a:lnTo>
                  <a:pt x="1137245" y="44049"/>
                </a:lnTo>
                <a:lnTo>
                  <a:pt x="1093833" y="30864"/>
                </a:lnTo>
                <a:lnTo>
                  <a:pt x="1049489" y="19928"/>
                </a:lnTo>
                <a:lnTo>
                  <a:pt x="1004278" y="11308"/>
                </a:lnTo>
                <a:lnTo>
                  <a:pt x="958267" y="5070"/>
                </a:lnTo>
                <a:lnTo>
                  <a:pt x="911522" y="1278"/>
                </a:lnTo>
                <a:lnTo>
                  <a:pt x="864108" y="0"/>
                </a:lnTo>
                <a:close/>
              </a:path>
            </a:pathLst>
          </a:custGeom>
          <a:solidFill>
            <a:srgbClr val="12ABDB"/>
          </a:solidFill>
        </p:spPr>
        <p:txBody>
          <a:bodyPr wrap="square" lIns="0" tIns="0" rIns="0" bIns="0" rtlCol="0"/>
          <a:lstStyle/>
          <a:p>
            <a:endParaRPr/>
          </a:p>
        </p:txBody>
      </p:sp>
      <p:sp>
        <p:nvSpPr>
          <p:cNvPr id="7" name="object 7"/>
          <p:cNvSpPr/>
          <p:nvPr/>
        </p:nvSpPr>
        <p:spPr>
          <a:xfrm>
            <a:off x="9152381" y="4856226"/>
            <a:ext cx="1728470" cy="1728470"/>
          </a:xfrm>
          <a:custGeom>
            <a:avLst/>
            <a:gdLst/>
            <a:ahLst/>
            <a:cxnLst/>
            <a:rect l="l" t="t" r="r" b="b"/>
            <a:pathLst>
              <a:path w="1728470" h="1728470">
                <a:moveTo>
                  <a:pt x="0" y="864108"/>
                </a:moveTo>
                <a:lnTo>
                  <a:pt x="1278" y="816693"/>
                </a:lnTo>
                <a:lnTo>
                  <a:pt x="5070" y="769948"/>
                </a:lnTo>
                <a:lnTo>
                  <a:pt x="11308" y="723937"/>
                </a:lnTo>
                <a:lnTo>
                  <a:pt x="19928" y="678726"/>
                </a:lnTo>
                <a:lnTo>
                  <a:pt x="30864" y="634382"/>
                </a:lnTo>
                <a:lnTo>
                  <a:pt x="44049" y="590970"/>
                </a:lnTo>
                <a:lnTo>
                  <a:pt x="59418" y="548556"/>
                </a:lnTo>
                <a:lnTo>
                  <a:pt x="76905" y="507206"/>
                </a:lnTo>
                <a:lnTo>
                  <a:pt x="96444" y="466986"/>
                </a:lnTo>
                <a:lnTo>
                  <a:pt x="117968" y="427961"/>
                </a:lnTo>
                <a:lnTo>
                  <a:pt x="141413" y="390198"/>
                </a:lnTo>
                <a:lnTo>
                  <a:pt x="166713" y="353763"/>
                </a:lnTo>
                <a:lnTo>
                  <a:pt x="193801" y="318720"/>
                </a:lnTo>
                <a:lnTo>
                  <a:pt x="222611" y="285137"/>
                </a:lnTo>
                <a:lnTo>
                  <a:pt x="253079" y="253079"/>
                </a:lnTo>
                <a:lnTo>
                  <a:pt x="285137" y="222611"/>
                </a:lnTo>
                <a:lnTo>
                  <a:pt x="318720" y="193801"/>
                </a:lnTo>
                <a:lnTo>
                  <a:pt x="353763" y="166713"/>
                </a:lnTo>
                <a:lnTo>
                  <a:pt x="390198" y="141413"/>
                </a:lnTo>
                <a:lnTo>
                  <a:pt x="427961" y="117968"/>
                </a:lnTo>
                <a:lnTo>
                  <a:pt x="466986" y="96444"/>
                </a:lnTo>
                <a:lnTo>
                  <a:pt x="507206" y="76905"/>
                </a:lnTo>
                <a:lnTo>
                  <a:pt x="548556" y="59418"/>
                </a:lnTo>
                <a:lnTo>
                  <a:pt x="590970" y="44049"/>
                </a:lnTo>
                <a:lnTo>
                  <a:pt x="634382" y="30864"/>
                </a:lnTo>
                <a:lnTo>
                  <a:pt x="678726" y="19928"/>
                </a:lnTo>
                <a:lnTo>
                  <a:pt x="723937" y="11308"/>
                </a:lnTo>
                <a:lnTo>
                  <a:pt x="769948" y="5070"/>
                </a:lnTo>
                <a:lnTo>
                  <a:pt x="816693" y="1278"/>
                </a:lnTo>
                <a:lnTo>
                  <a:pt x="864108" y="0"/>
                </a:lnTo>
                <a:lnTo>
                  <a:pt x="911522" y="1278"/>
                </a:lnTo>
                <a:lnTo>
                  <a:pt x="958267" y="5070"/>
                </a:lnTo>
                <a:lnTo>
                  <a:pt x="1004278" y="11308"/>
                </a:lnTo>
                <a:lnTo>
                  <a:pt x="1049489" y="19928"/>
                </a:lnTo>
                <a:lnTo>
                  <a:pt x="1093833" y="30864"/>
                </a:lnTo>
                <a:lnTo>
                  <a:pt x="1137245" y="44049"/>
                </a:lnTo>
                <a:lnTo>
                  <a:pt x="1179659" y="59418"/>
                </a:lnTo>
                <a:lnTo>
                  <a:pt x="1221009" y="76905"/>
                </a:lnTo>
                <a:lnTo>
                  <a:pt x="1261229" y="96444"/>
                </a:lnTo>
                <a:lnTo>
                  <a:pt x="1300254" y="117968"/>
                </a:lnTo>
                <a:lnTo>
                  <a:pt x="1338017" y="141413"/>
                </a:lnTo>
                <a:lnTo>
                  <a:pt x="1374452" y="166713"/>
                </a:lnTo>
                <a:lnTo>
                  <a:pt x="1409495" y="193801"/>
                </a:lnTo>
                <a:lnTo>
                  <a:pt x="1443078" y="222611"/>
                </a:lnTo>
                <a:lnTo>
                  <a:pt x="1475136" y="253079"/>
                </a:lnTo>
                <a:lnTo>
                  <a:pt x="1505604" y="285137"/>
                </a:lnTo>
                <a:lnTo>
                  <a:pt x="1534414" y="318720"/>
                </a:lnTo>
                <a:lnTo>
                  <a:pt x="1561502" y="353763"/>
                </a:lnTo>
                <a:lnTo>
                  <a:pt x="1586802" y="390198"/>
                </a:lnTo>
                <a:lnTo>
                  <a:pt x="1610247" y="427961"/>
                </a:lnTo>
                <a:lnTo>
                  <a:pt x="1631771" y="466986"/>
                </a:lnTo>
                <a:lnTo>
                  <a:pt x="1651310" y="507206"/>
                </a:lnTo>
                <a:lnTo>
                  <a:pt x="1668797" y="548556"/>
                </a:lnTo>
                <a:lnTo>
                  <a:pt x="1684166" y="590970"/>
                </a:lnTo>
                <a:lnTo>
                  <a:pt x="1697351" y="634382"/>
                </a:lnTo>
                <a:lnTo>
                  <a:pt x="1708287" y="678726"/>
                </a:lnTo>
                <a:lnTo>
                  <a:pt x="1716907" y="723937"/>
                </a:lnTo>
                <a:lnTo>
                  <a:pt x="1723145" y="769948"/>
                </a:lnTo>
                <a:lnTo>
                  <a:pt x="1726937" y="816693"/>
                </a:lnTo>
                <a:lnTo>
                  <a:pt x="1728216" y="864108"/>
                </a:lnTo>
                <a:lnTo>
                  <a:pt x="1726937" y="911518"/>
                </a:lnTo>
                <a:lnTo>
                  <a:pt x="1723145" y="958261"/>
                </a:lnTo>
                <a:lnTo>
                  <a:pt x="1716907" y="1004269"/>
                </a:lnTo>
                <a:lnTo>
                  <a:pt x="1708287" y="1049477"/>
                </a:lnTo>
                <a:lnTo>
                  <a:pt x="1697351" y="1093820"/>
                </a:lnTo>
                <a:lnTo>
                  <a:pt x="1684166" y="1137230"/>
                </a:lnTo>
                <a:lnTo>
                  <a:pt x="1668797" y="1179643"/>
                </a:lnTo>
                <a:lnTo>
                  <a:pt x="1651310" y="1220992"/>
                </a:lnTo>
                <a:lnTo>
                  <a:pt x="1631771" y="1261212"/>
                </a:lnTo>
                <a:lnTo>
                  <a:pt x="1610247" y="1300237"/>
                </a:lnTo>
                <a:lnTo>
                  <a:pt x="1586802" y="1338000"/>
                </a:lnTo>
                <a:lnTo>
                  <a:pt x="1561502" y="1374436"/>
                </a:lnTo>
                <a:lnTo>
                  <a:pt x="1534414" y="1409479"/>
                </a:lnTo>
                <a:lnTo>
                  <a:pt x="1505604" y="1443063"/>
                </a:lnTo>
                <a:lnTo>
                  <a:pt x="1475136" y="1475122"/>
                </a:lnTo>
                <a:lnTo>
                  <a:pt x="1443078" y="1505590"/>
                </a:lnTo>
                <a:lnTo>
                  <a:pt x="1409495" y="1534402"/>
                </a:lnTo>
                <a:lnTo>
                  <a:pt x="1374452" y="1561491"/>
                </a:lnTo>
                <a:lnTo>
                  <a:pt x="1338017" y="1586792"/>
                </a:lnTo>
                <a:lnTo>
                  <a:pt x="1300254" y="1610238"/>
                </a:lnTo>
                <a:lnTo>
                  <a:pt x="1261229" y="1631764"/>
                </a:lnTo>
                <a:lnTo>
                  <a:pt x="1221009" y="1651304"/>
                </a:lnTo>
                <a:lnTo>
                  <a:pt x="1179659" y="1668792"/>
                </a:lnTo>
                <a:lnTo>
                  <a:pt x="1137245" y="1684162"/>
                </a:lnTo>
                <a:lnTo>
                  <a:pt x="1093833" y="1697348"/>
                </a:lnTo>
                <a:lnTo>
                  <a:pt x="1049489" y="1708285"/>
                </a:lnTo>
                <a:lnTo>
                  <a:pt x="1004278" y="1716906"/>
                </a:lnTo>
                <a:lnTo>
                  <a:pt x="958267" y="1723145"/>
                </a:lnTo>
                <a:lnTo>
                  <a:pt x="911522" y="1726937"/>
                </a:lnTo>
                <a:lnTo>
                  <a:pt x="864108" y="1728216"/>
                </a:lnTo>
                <a:lnTo>
                  <a:pt x="816693" y="1726937"/>
                </a:lnTo>
                <a:lnTo>
                  <a:pt x="769948" y="1723145"/>
                </a:lnTo>
                <a:lnTo>
                  <a:pt x="723937" y="1716906"/>
                </a:lnTo>
                <a:lnTo>
                  <a:pt x="678726" y="1708285"/>
                </a:lnTo>
                <a:lnTo>
                  <a:pt x="634382" y="1697348"/>
                </a:lnTo>
                <a:lnTo>
                  <a:pt x="590970" y="1684162"/>
                </a:lnTo>
                <a:lnTo>
                  <a:pt x="548556" y="1668792"/>
                </a:lnTo>
                <a:lnTo>
                  <a:pt x="507206" y="1651304"/>
                </a:lnTo>
                <a:lnTo>
                  <a:pt x="466986" y="1631764"/>
                </a:lnTo>
                <a:lnTo>
                  <a:pt x="427961" y="1610238"/>
                </a:lnTo>
                <a:lnTo>
                  <a:pt x="390198" y="1586792"/>
                </a:lnTo>
                <a:lnTo>
                  <a:pt x="353763" y="1561491"/>
                </a:lnTo>
                <a:lnTo>
                  <a:pt x="318720" y="1534402"/>
                </a:lnTo>
                <a:lnTo>
                  <a:pt x="285137" y="1505590"/>
                </a:lnTo>
                <a:lnTo>
                  <a:pt x="253079" y="1475122"/>
                </a:lnTo>
                <a:lnTo>
                  <a:pt x="222611" y="1443063"/>
                </a:lnTo>
                <a:lnTo>
                  <a:pt x="193801" y="1409479"/>
                </a:lnTo>
                <a:lnTo>
                  <a:pt x="166713" y="1374436"/>
                </a:lnTo>
                <a:lnTo>
                  <a:pt x="141413" y="1338000"/>
                </a:lnTo>
                <a:lnTo>
                  <a:pt x="117968" y="1300237"/>
                </a:lnTo>
                <a:lnTo>
                  <a:pt x="96444" y="1261212"/>
                </a:lnTo>
                <a:lnTo>
                  <a:pt x="76905" y="1220992"/>
                </a:lnTo>
                <a:lnTo>
                  <a:pt x="59418" y="1179643"/>
                </a:lnTo>
                <a:lnTo>
                  <a:pt x="44049" y="1137230"/>
                </a:lnTo>
                <a:lnTo>
                  <a:pt x="30864" y="1093820"/>
                </a:lnTo>
                <a:lnTo>
                  <a:pt x="19928" y="1049477"/>
                </a:lnTo>
                <a:lnTo>
                  <a:pt x="11308" y="1004269"/>
                </a:lnTo>
                <a:lnTo>
                  <a:pt x="5070" y="958261"/>
                </a:lnTo>
                <a:lnTo>
                  <a:pt x="1278" y="911518"/>
                </a:lnTo>
                <a:lnTo>
                  <a:pt x="0" y="864108"/>
                </a:lnTo>
                <a:close/>
              </a:path>
            </a:pathLst>
          </a:custGeom>
          <a:ln w="19812">
            <a:solidFill>
              <a:srgbClr val="FFFFFF"/>
            </a:solidFill>
            <a:prstDash val="sysDot"/>
          </a:ln>
        </p:spPr>
        <p:txBody>
          <a:bodyPr wrap="square" lIns="0" tIns="0" rIns="0" bIns="0" rtlCol="0"/>
          <a:lstStyle/>
          <a:p>
            <a:endParaRPr/>
          </a:p>
        </p:txBody>
      </p:sp>
      <p:sp>
        <p:nvSpPr>
          <p:cNvPr id="8" name="object 8"/>
          <p:cNvSpPr/>
          <p:nvPr/>
        </p:nvSpPr>
        <p:spPr>
          <a:xfrm>
            <a:off x="9486900" y="5155691"/>
            <a:ext cx="1103630" cy="1103630"/>
          </a:xfrm>
          <a:custGeom>
            <a:avLst/>
            <a:gdLst/>
            <a:ahLst/>
            <a:cxnLst/>
            <a:rect l="l" t="t" r="r" b="b"/>
            <a:pathLst>
              <a:path w="1103629" h="1103629">
                <a:moveTo>
                  <a:pt x="551688" y="0"/>
                </a:moveTo>
                <a:lnTo>
                  <a:pt x="504088" y="2025"/>
                </a:lnTo>
                <a:lnTo>
                  <a:pt x="457612" y="7990"/>
                </a:lnTo>
                <a:lnTo>
                  <a:pt x="412426" y="17729"/>
                </a:lnTo>
                <a:lnTo>
                  <a:pt x="368696" y="31077"/>
                </a:lnTo>
                <a:lnTo>
                  <a:pt x="326586" y="47868"/>
                </a:lnTo>
                <a:lnTo>
                  <a:pt x="286263" y="67936"/>
                </a:lnTo>
                <a:lnTo>
                  <a:pt x="247891" y="91115"/>
                </a:lnTo>
                <a:lnTo>
                  <a:pt x="211638" y="117241"/>
                </a:lnTo>
                <a:lnTo>
                  <a:pt x="177668" y="146147"/>
                </a:lnTo>
                <a:lnTo>
                  <a:pt x="146147" y="177668"/>
                </a:lnTo>
                <a:lnTo>
                  <a:pt x="117241" y="211638"/>
                </a:lnTo>
                <a:lnTo>
                  <a:pt x="91115" y="247891"/>
                </a:lnTo>
                <a:lnTo>
                  <a:pt x="67936" y="286263"/>
                </a:lnTo>
                <a:lnTo>
                  <a:pt x="47868" y="326586"/>
                </a:lnTo>
                <a:lnTo>
                  <a:pt x="31077" y="368696"/>
                </a:lnTo>
                <a:lnTo>
                  <a:pt x="17729" y="412426"/>
                </a:lnTo>
                <a:lnTo>
                  <a:pt x="7990" y="457612"/>
                </a:lnTo>
                <a:lnTo>
                  <a:pt x="2025" y="504088"/>
                </a:lnTo>
                <a:lnTo>
                  <a:pt x="0" y="551687"/>
                </a:lnTo>
                <a:lnTo>
                  <a:pt x="2025" y="599289"/>
                </a:lnTo>
                <a:lnTo>
                  <a:pt x="7990" y="645766"/>
                </a:lnTo>
                <a:lnTo>
                  <a:pt x="17729" y="690953"/>
                </a:lnTo>
                <a:lnTo>
                  <a:pt x="31077" y="734684"/>
                </a:lnTo>
                <a:lnTo>
                  <a:pt x="47868" y="776795"/>
                </a:lnTo>
                <a:lnTo>
                  <a:pt x="67936" y="817118"/>
                </a:lnTo>
                <a:lnTo>
                  <a:pt x="91115" y="855489"/>
                </a:lnTo>
                <a:lnTo>
                  <a:pt x="117241" y="891742"/>
                </a:lnTo>
                <a:lnTo>
                  <a:pt x="146147" y="925712"/>
                </a:lnTo>
                <a:lnTo>
                  <a:pt x="177668" y="957232"/>
                </a:lnTo>
                <a:lnTo>
                  <a:pt x="211638" y="986138"/>
                </a:lnTo>
                <a:lnTo>
                  <a:pt x="247891" y="1012263"/>
                </a:lnTo>
                <a:lnTo>
                  <a:pt x="286263" y="1035442"/>
                </a:lnTo>
                <a:lnTo>
                  <a:pt x="326586" y="1055509"/>
                </a:lnTo>
                <a:lnTo>
                  <a:pt x="368696" y="1072300"/>
                </a:lnTo>
                <a:lnTo>
                  <a:pt x="412426" y="1085647"/>
                </a:lnTo>
                <a:lnTo>
                  <a:pt x="457612" y="1095386"/>
                </a:lnTo>
                <a:lnTo>
                  <a:pt x="504088" y="1101350"/>
                </a:lnTo>
                <a:lnTo>
                  <a:pt x="551688" y="1103375"/>
                </a:lnTo>
                <a:lnTo>
                  <a:pt x="599287" y="1101350"/>
                </a:lnTo>
                <a:lnTo>
                  <a:pt x="645763" y="1095386"/>
                </a:lnTo>
                <a:lnTo>
                  <a:pt x="690949" y="1085647"/>
                </a:lnTo>
                <a:lnTo>
                  <a:pt x="734679" y="1072300"/>
                </a:lnTo>
                <a:lnTo>
                  <a:pt x="776789" y="1055509"/>
                </a:lnTo>
                <a:lnTo>
                  <a:pt x="817112" y="1035442"/>
                </a:lnTo>
                <a:lnTo>
                  <a:pt x="855484" y="1012263"/>
                </a:lnTo>
                <a:lnTo>
                  <a:pt x="891737" y="986138"/>
                </a:lnTo>
                <a:lnTo>
                  <a:pt x="925707" y="957232"/>
                </a:lnTo>
                <a:lnTo>
                  <a:pt x="957228" y="925712"/>
                </a:lnTo>
                <a:lnTo>
                  <a:pt x="986134" y="891742"/>
                </a:lnTo>
                <a:lnTo>
                  <a:pt x="1012260" y="855489"/>
                </a:lnTo>
                <a:lnTo>
                  <a:pt x="1035439" y="817118"/>
                </a:lnTo>
                <a:lnTo>
                  <a:pt x="1055507" y="776795"/>
                </a:lnTo>
                <a:lnTo>
                  <a:pt x="1072298" y="734684"/>
                </a:lnTo>
                <a:lnTo>
                  <a:pt x="1085646" y="690953"/>
                </a:lnTo>
                <a:lnTo>
                  <a:pt x="1095385" y="645766"/>
                </a:lnTo>
                <a:lnTo>
                  <a:pt x="1101350" y="599289"/>
                </a:lnTo>
                <a:lnTo>
                  <a:pt x="1103376" y="551687"/>
                </a:lnTo>
                <a:lnTo>
                  <a:pt x="1101350" y="504088"/>
                </a:lnTo>
                <a:lnTo>
                  <a:pt x="1095385" y="457612"/>
                </a:lnTo>
                <a:lnTo>
                  <a:pt x="1085646" y="412426"/>
                </a:lnTo>
                <a:lnTo>
                  <a:pt x="1072298" y="368696"/>
                </a:lnTo>
                <a:lnTo>
                  <a:pt x="1055507" y="326586"/>
                </a:lnTo>
                <a:lnTo>
                  <a:pt x="1035439" y="286263"/>
                </a:lnTo>
                <a:lnTo>
                  <a:pt x="1012260" y="247891"/>
                </a:lnTo>
                <a:lnTo>
                  <a:pt x="986134" y="211638"/>
                </a:lnTo>
                <a:lnTo>
                  <a:pt x="957228" y="177668"/>
                </a:lnTo>
                <a:lnTo>
                  <a:pt x="925707" y="146147"/>
                </a:lnTo>
                <a:lnTo>
                  <a:pt x="891737" y="117241"/>
                </a:lnTo>
                <a:lnTo>
                  <a:pt x="855484" y="91115"/>
                </a:lnTo>
                <a:lnTo>
                  <a:pt x="817112" y="67936"/>
                </a:lnTo>
                <a:lnTo>
                  <a:pt x="776789" y="47868"/>
                </a:lnTo>
                <a:lnTo>
                  <a:pt x="734679" y="31077"/>
                </a:lnTo>
                <a:lnTo>
                  <a:pt x="690949" y="17729"/>
                </a:lnTo>
                <a:lnTo>
                  <a:pt x="645763" y="7990"/>
                </a:lnTo>
                <a:lnTo>
                  <a:pt x="599287" y="2025"/>
                </a:lnTo>
                <a:lnTo>
                  <a:pt x="551688" y="0"/>
                </a:lnTo>
                <a:close/>
              </a:path>
            </a:pathLst>
          </a:custGeom>
          <a:solidFill>
            <a:srgbClr val="FFFFFF"/>
          </a:solidFill>
        </p:spPr>
        <p:txBody>
          <a:bodyPr wrap="square" lIns="0" tIns="0" rIns="0" bIns="0" rtlCol="0"/>
          <a:lstStyle/>
          <a:p>
            <a:endParaRPr/>
          </a:p>
        </p:txBody>
      </p:sp>
      <p:sp>
        <p:nvSpPr>
          <p:cNvPr id="9" name="object 9"/>
          <p:cNvSpPr/>
          <p:nvPr/>
        </p:nvSpPr>
        <p:spPr>
          <a:xfrm>
            <a:off x="9486900" y="5155691"/>
            <a:ext cx="1103630" cy="1103630"/>
          </a:xfrm>
          <a:custGeom>
            <a:avLst/>
            <a:gdLst/>
            <a:ahLst/>
            <a:cxnLst/>
            <a:rect l="l" t="t" r="r" b="b"/>
            <a:pathLst>
              <a:path w="1103629" h="1103629">
                <a:moveTo>
                  <a:pt x="0" y="551687"/>
                </a:moveTo>
                <a:lnTo>
                  <a:pt x="2025" y="504088"/>
                </a:lnTo>
                <a:lnTo>
                  <a:pt x="7990" y="457612"/>
                </a:lnTo>
                <a:lnTo>
                  <a:pt x="17729" y="412426"/>
                </a:lnTo>
                <a:lnTo>
                  <a:pt x="31077" y="368696"/>
                </a:lnTo>
                <a:lnTo>
                  <a:pt x="47868" y="326586"/>
                </a:lnTo>
                <a:lnTo>
                  <a:pt x="67936" y="286263"/>
                </a:lnTo>
                <a:lnTo>
                  <a:pt x="91115" y="247891"/>
                </a:lnTo>
                <a:lnTo>
                  <a:pt x="117241" y="211638"/>
                </a:lnTo>
                <a:lnTo>
                  <a:pt x="146147" y="177668"/>
                </a:lnTo>
                <a:lnTo>
                  <a:pt x="177668" y="146147"/>
                </a:lnTo>
                <a:lnTo>
                  <a:pt x="211638" y="117241"/>
                </a:lnTo>
                <a:lnTo>
                  <a:pt x="247891" y="91115"/>
                </a:lnTo>
                <a:lnTo>
                  <a:pt x="286263" y="67936"/>
                </a:lnTo>
                <a:lnTo>
                  <a:pt x="326586" y="47868"/>
                </a:lnTo>
                <a:lnTo>
                  <a:pt x="368696" y="31077"/>
                </a:lnTo>
                <a:lnTo>
                  <a:pt x="412426" y="17729"/>
                </a:lnTo>
                <a:lnTo>
                  <a:pt x="457612" y="7990"/>
                </a:lnTo>
                <a:lnTo>
                  <a:pt x="504088" y="2025"/>
                </a:lnTo>
                <a:lnTo>
                  <a:pt x="551688" y="0"/>
                </a:lnTo>
                <a:lnTo>
                  <a:pt x="599287" y="2025"/>
                </a:lnTo>
                <a:lnTo>
                  <a:pt x="645763" y="7990"/>
                </a:lnTo>
                <a:lnTo>
                  <a:pt x="690949" y="17729"/>
                </a:lnTo>
                <a:lnTo>
                  <a:pt x="734679" y="31077"/>
                </a:lnTo>
                <a:lnTo>
                  <a:pt x="776789" y="47868"/>
                </a:lnTo>
                <a:lnTo>
                  <a:pt x="817112" y="67936"/>
                </a:lnTo>
                <a:lnTo>
                  <a:pt x="855484" y="91115"/>
                </a:lnTo>
                <a:lnTo>
                  <a:pt x="891737" y="117241"/>
                </a:lnTo>
                <a:lnTo>
                  <a:pt x="925707" y="146147"/>
                </a:lnTo>
                <a:lnTo>
                  <a:pt x="957228" y="177668"/>
                </a:lnTo>
                <a:lnTo>
                  <a:pt x="986134" y="211638"/>
                </a:lnTo>
                <a:lnTo>
                  <a:pt x="1012260" y="247891"/>
                </a:lnTo>
                <a:lnTo>
                  <a:pt x="1035439" y="286263"/>
                </a:lnTo>
                <a:lnTo>
                  <a:pt x="1055507" y="326586"/>
                </a:lnTo>
                <a:lnTo>
                  <a:pt x="1072298" y="368696"/>
                </a:lnTo>
                <a:lnTo>
                  <a:pt x="1085646" y="412426"/>
                </a:lnTo>
                <a:lnTo>
                  <a:pt x="1095385" y="457612"/>
                </a:lnTo>
                <a:lnTo>
                  <a:pt x="1101350" y="504088"/>
                </a:lnTo>
                <a:lnTo>
                  <a:pt x="1103376" y="551687"/>
                </a:lnTo>
                <a:lnTo>
                  <a:pt x="1101350" y="599289"/>
                </a:lnTo>
                <a:lnTo>
                  <a:pt x="1095385" y="645766"/>
                </a:lnTo>
                <a:lnTo>
                  <a:pt x="1085646" y="690953"/>
                </a:lnTo>
                <a:lnTo>
                  <a:pt x="1072298" y="734684"/>
                </a:lnTo>
                <a:lnTo>
                  <a:pt x="1055507" y="776795"/>
                </a:lnTo>
                <a:lnTo>
                  <a:pt x="1035439" y="817118"/>
                </a:lnTo>
                <a:lnTo>
                  <a:pt x="1012260" y="855489"/>
                </a:lnTo>
                <a:lnTo>
                  <a:pt x="986134" y="891742"/>
                </a:lnTo>
                <a:lnTo>
                  <a:pt x="957228" y="925712"/>
                </a:lnTo>
                <a:lnTo>
                  <a:pt x="925707" y="957232"/>
                </a:lnTo>
                <a:lnTo>
                  <a:pt x="891737" y="986138"/>
                </a:lnTo>
                <a:lnTo>
                  <a:pt x="855484" y="1012263"/>
                </a:lnTo>
                <a:lnTo>
                  <a:pt x="817112" y="1035442"/>
                </a:lnTo>
                <a:lnTo>
                  <a:pt x="776789" y="1055509"/>
                </a:lnTo>
                <a:lnTo>
                  <a:pt x="734679" y="1072300"/>
                </a:lnTo>
                <a:lnTo>
                  <a:pt x="690949" y="1085647"/>
                </a:lnTo>
                <a:lnTo>
                  <a:pt x="645763" y="1095386"/>
                </a:lnTo>
                <a:lnTo>
                  <a:pt x="599287" y="1101350"/>
                </a:lnTo>
                <a:lnTo>
                  <a:pt x="551688" y="1103375"/>
                </a:lnTo>
                <a:lnTo>
                  <a:pt x="504088" y="1101350"/>
                </a:lnTo>
                <a:lnTo>
                  <a:pt x="457612" y="1095386"/>
                </a:lnTo>
                <a:lnTo>
                  <a:pt x="412426" y="1085647"/>
                </a:lnTo>
                <a:lnTo>
                  <a:pt x="368696" y="1072300"/>
                </a:lnTo>
                <a:lnTo>
                  <a:pt x="326586" y="1055509"/>
                </a:lnTo>
                <a:lnTo>
                  <a:pt x="286263" y="1035442"/>
                </a:lnTo>
                <a:lnTo>
                  <a:pt x="247891" y="1012263"/>
                </a:lnTo>
                <a:lnTo>
                  <a:pt x="211638" y="986138"/>
                </a:lnTo>
                <a:lnTo>
                  <a:pt x="177668" y="957232"/>
                </a:lnTo>
                <a:lnTo>
                  <a:pt x="146147" y="925712"/>
                </a:lnTo>
                <a:lnTo>
                  <a:pt x="117241" y="891742"/>
                </a:lnTo>
                <a:lnTo>
                  <a:pt x="91115" y="855489"/>
                </a:lnTo>
                <a:lnTo>
                  <a:pt x="67936" y="817118"/>
                </a:lnTo>
                <a:lnTo>
                  <a:pt x="47868" y="776795"/>
                </a:lnTo>
                <a:lnTo>
                  <a:pt x="31077" y="734684"/>
                </a:lnTo>
                <a:lnTo>
                  <a:pt x="17729" y="690953"/>
                </a:lnTo>
                <a:lnTo>
                  <a:pt x="7990" y="645766"/>
                </a:lnTo>
                <a:lnTo>
                  <a:pt x="2025" y="599289"/>
                </a:lnTo>
                <a:lnTo>
                  <a:pt x="0" y="551687"/>
                </a:lnTo>
                <a:close/>
              </a:path>
            </a:pathLst>
          </a:custGeom>
          <a:ln w="12192">
            <a:solidFill>
              <a:srgbClr val="FFFFFF"/>
            </a:solidFill>
          </a:ln>
        </p:spPr>
        <p:txBody>
          <a:bodyPr wrap="square" lIns="0" tIns="0" rIns="0" bIns="0" rtlCol="0"/>
          <a:lstStyle/>
          <a:p>
            <a:endParaRPr/>
          </a:p>
        </p:txBody>
      </p:sp>
      <p:sp>
        <p:nvSpPr>
          <p:cNvPr id="10" name="object 10"/>
          <p:cNvSpPr/>
          <p:nvPr/>
        </p:nvSpPr>
        <p:spPr>
          <a:xfrm>
            <a:off x="9569195" y="5231891"/>
            <a:ext cx="1080516" cy="950976"/>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4981955" y="5442203"/>
            <a:ext cx="2016252" cy="473963"/>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6967728" y="5309615"/>
            <a:ext cx="2017776" cy="755904"/>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3707891" y="5471159"/>
            <a:ext cx="1207008" cy="473963"/>
          </a:xfrm>
          <a:prstGeom prst="rect">
            <a:avLst/>
          </a:prstGeom>
          <a:blipFill>
            <a:blip r:embed="rId6" cstate="print"/>
            <a:stretch>
              <a:fillRect/>
            </a:stretch>
          </a:blipFill>
        </p:spPr>
        <p:txBody>
          <a:bodyPr wrap="square" lIns="0" tIns="0" rIns="0" bIns="0" rtlCol="0"/>
          <a:lstStyle/>
          <a:p>
            <a:endParaRPr/>
          </a:p>
        </p:txBody>
      </p:sp>
      <p:sp>
        <p:nvSpPr>
          <p:cNvPr id="14" name="object 14"/>
          <p:cNvSpPr/>
          <p:nvPr/>
        </p:nvSpPr>
        <p:spPr>
          <a:xfrm>
            <a:off x="227075" y="364236"/>
            <a:ext cx="2365248" cy="545591"/>
          </a:xfrm>
          <a:prstGeom prst="rect">
            <a:avLst/>
          </a:prstGeom>
          <a:blipFill>
            <a:blip r:embed="rId7" cstate="print"/>
            <a:stretch>
              <a:fillRect/>
            </a:stretch>
          </a:blipFill>
        </p:spPr>
        <p:txBody>
          <a:bodyPr wrap="square" lIns="0" tIns="0" rIns="0" bIns="0" rtlCol="0"/>
          <a:lstStyle/>
          <a:p>
            <a:endParaRPr/>
          </a:p>
        </p:txBody>
      </p:sp>
      <p:sp>
        <p:nvSpPr>
          <p:cNvPr id="15" name="object 15"/>
          <p:cNvSpPr txBox="1"/>
          <p:nvPr/>
        </p:nvSpPr>
        <p:spPr>
          <a:xfrm>
            <a:off x="9403206" y="4275201"/>
            <a:ext cx="147891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7+</a:t>
            </a:r>
            <a:r>
              <a:rPr sz="1600" b="1" spc="-65">
                <a:latin typeface="Verdana"/>
                <a:cs typeface="Verdana"/>
              </a:rPr>
              <a:t> </a:t>
            </a:r>
            <a:r>
              <a:rPr sz="1600" b="1" spc="-10">
                <a:latin typeface="Verdana"/>
                <a:cs typeface="Verdana"/>
              </a:rPr>
              <a:t>countries</a:t>
            </a:r>
            <a:endParaRPr sz="1600">
              <a:latin typeface="Verdana"/>
              <a:cs typeface="Verdana"/>
            </a:endParaRPr>
          </a:p>
        </p:txBody>
      </p:sp>
      <p:sp>
        <p:nvSpPr>
          <p:cNvPr id="16" name="object 16"/>
          <p:cNvSpPr txBox="1"/>
          <p:nvPr/>
        </p:nvSpPr>
        <p:spPr>
          <a:xfrm>
            <a:off x="7144639" y="4275201"/>
            <a:ext cx="132524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500+</a:t>
            </a:r>
            <a:r>
              <a:rPr sz="1600" b="1" spc="-55">
                <a:latin typeface="Verdana"/>
                <a:cs typeface="Verdana"/>
              </a:rPr>
              <a:t> </a:t>
            </a:r>
            <a:r>
              <a:rPr sz="1600" b="1" spc="-10">
                <a:latin typeface="Verdana"/>
                <a:cs typeface="Verdana"/>
              </a:rPr>
              <a:t>users</a:t>
            </a:r>
            <a:endParaRPr sz="1600">
              <a:latin typeface="Verdana"/>
              <a:cs typeface="Verdana"/>
            </a:endParaRPr>
          </a:p>
        </p:txBody>
      </p:sp>
      <p:sp>
        <p:nvSpPr>
          <p:cNvPr id="17" name="object 17"/>
          <p:cNvSpPr/>
          <p:nvPr/>
        </p:nvSpPr>
        <p:spPr>
          <a:xfrm>
            <a:off x="7593226" y="3846576"/>
            <a:ext cx="447675" cy="230504"/>
          </a:xfrm>
          <a:custGeom>
            <a:avLst/>
            <a:gdLst/>
            <a:ahLst/>
            <a:cxnLst/>
            <a:rect l="l" t="t" r="r" b="b"/>
            <a:pathLst>
              <a:path w="447675" h="230504">
                <a:moveTo>
                  <a:pt x="57507" y="0"/>
                </a:moveTo>
                <a:lnTo>
                  <a:pt x="46458" y="0"/>
                </a:lnTo>
                <a:lnTo>
                  <a:pt x="35536" y="10922"/>
                </a:lnTo>
                <a:lnTo>
                  <a:pt x="30075" y="16510"/>
                </a:lnTo>
                <a:lnTo>
                  <a:pt x="10461" y="42120"/>
                </a:lnTo>
                <a:lnTo>
                  <a:pt x="611" y="69278"/>
                </a:lnTo>
                <a:lnTo>
                  <a:pt x="0" y="97484"/>
                </a:lnTo>
                <a:lnTo>
                  <a:pt x="8104" y="126237"/>
                </a:lnTo>
                <a:lnTo>
                  <a:pt x="21339" y="150651"/>
                </a:lnTo>
                <a:lnTo>
                  <a:pt x="43791" y="173529"/>
                </a:lnTo>
                <a:lnTo>
                  <a:pt x="74433" y="193335"/>
                </a:lnTo>
                <a:lnTo>
                  <a:pt x="112244" y="208534"/>
                </a:lnTo>
                <a:lnTo>
                  <a:pt x="112244" y="213994"/>
                </a:lnTo>
                <a:lnTo>
                  <a:pt x="158562" y="225067"/>
                </a:lnTo>
                <a:lnTo>
                  <a:pt x="206981" y="230093"/>
                </a:lnTo>
                <a:lnTo>
                  <a:pt x="255585" y="229073"/>
                </a:lnTo>
                <a:lnTo>
                  <a:pt x="302464" y="222011"/>
                </a:lnTo>
                <a:lnTo>
                  <a:pt x="345703" y="208909"/>
                </a:lnTo>
                <a:lnTo>
                  <a:pt x="383391" y="189768"/>
                </a:lnTo>
                <a:lnTo>
                  <a:pt x="407974" y="169290"/>
                </a:lnTo>
                <a:lnTo>
                  <a:pt x="222075" y="169290"/>
                </a:lnTo>
                <a:lnTo>
                  <a:pt x="174423" y="165671"/>
                </a:lnTo>
                <a:lnTo>
                  <a:pt x="128754" y="153669"/>
                </a:lnTo>
                <a:lnTo>
                  <a:pt x="75271" y="124809"/>
                </a:lnTo>
                <a:lnTo>
                  <a:pt x="46458" y="87756"/>
                </a:lnTo>
                <a:lnTo>
                  <a:pt x="39647" y="51387"/>
                </a:lnTo>
                <a:lnTo>
                  <a:pt x="44975" y="31410"/>
                </a:lnTo>
                <a:lnTo>
                  <a:pt x="57507" y="10922"/>
                </a:lnTo>
                <a:lnTo>
                  <a:pt x="62968" y="5461"/>
                </a:lnTo>
                <a:lnTo>
                  <a:pt x="57507" y="5461"/>
                </a:lnTo>
                <a:lnTo>
                  <a:pt x="57507" y="0"/>
                </a:lnTo>
                <a:close/>
              </a:path>
              <a:path w="447675" h="230504">
                <a:moveTo>
                  <a:pt x="397232" y="0"/>
                </a:moveTo>
                <a:lnTo>
                  <a:pt x="386183" y="0"/>
                </a:lnTo>
                <a:lnTo>
                  <a:pt x="386183" y="10922"/>
                </a:lnTo>
                <a:lnTo>
                  <a:pt x="396581" y="23302"/>
                </a:lnTo>
                <a:lnTo>
                  <a:pt x="403359" y="35671"/>
                </a:lnTo>
                <a:lnTo>
                  <a:pt x="407042" y="48015"/>
                </a:lnTo>
                <a:lnTo>
                  <a:pt x="408154" y="60325"/>
                </a:lnTo>
                <a:lnTo>
                  <a:pt x="403885" y="73558"/>
                </a:lnTo>
                <a:lnTo>
                  <a:pt x="380722" y="115188"/>
                </a:lnTo>
                <a:lnTo>
                  <a:pt x="312970" y="154431"/>
                </a:lnTo>
                <a:lnTo>
                  <a:pt x="269120" y="165290"/>
                </a:lnTo>
                <a:lnTo>
                  <a:pt x="222075" y="169290"/>
                </a:lnTo>
                <a:lnTo>
                  <a:pt x="407974" y="169290"/>
                </a:lnTo>
                <a:lnTo>
                  <a:pt x="413615" y="164592"/>
                </a:lnTo>
                <a:lnTo>
                  <a:pt x="431095" y="143164"/>
                </a:lnTo>
                <a:lnTo>
                  <a:pt x="442396" y="120713"/>
                </a:lnTo>
                <a:lnTo>
                  <a:pt x="447530" y="98262"/>
                </a:lnTo>
                <a:lnTo>
                  <a:pt x="446508" y="76835"/>
                </a:lnTo>
                <a:lnTo>
                  <a:pt x="440344" y="56346"/>
                </a:lnTo>
                <a:lnTo>
                  <a:pt x="430061" y="36369"/>
                </a:lnTo>
                <a:lnTo>
                  <a:pt x="415682" y="17416"/>
                </a:lnTo>
                <a:lnTo>
                  <a:pt x="397232" y="0"/>
                </a:lnTo>
                <a:close/>
              </a:path>
            </a:pathLst>
          </a:custGeom>
          <a:solidFill>
            <a:srgbClr val="006FAC"/>
          </a:solidFill>
        </p:spPr>
        <p:txBody>
          <a:bodyPr wrap="square" lIns="0" tIns="0" rIns="0" bIns="0" rtlCol="0"/>
          <a:lstStyle/>
          <a:p>
            <a:endParaRPr/>
          </a:p>
        </p:txBody>
      </p:sp>
      <p:sp>
        <p:nvSpPr>
          <p:cNvPr id="18" name="object 18"/>
          <p:cNvSpPr/>
          <p:nvPr/>
        </p:nvSpPr>
        <p:spPr>
          <a:xfrm>
            <a:off x="7765159" y="3736847"/>
            <a:ext cx="104776" cy="266858"/>
          </a:xfrm>
          <a:prstGeom prst="rect">
            <a:avLst/>
          </a:prstGeom>
          <a:blipFill>
            <a:blip r:embed="rId8" cstate="print"/>
            <a:stretch>
              <a:fillRect/>
            </a:stretch>
          </a:blipFill>
        </p:spPr>
        <p:txBody>
          <a:bodyPr wrap="square" lIns="0" tIns="0" rIns="0" bIns="0" rtlCol="0"/>
          <a:lstStyle/>
          <a:p>
            <a:endParaRPr/>
          </a:p>
        </p:txBody>
      </p:sp>
      <p:sp>
        <p:nvSpPr>
          <p:cNvPr id="19" name="object 19"/>
          <p:cNvSpPr/>
          <p:nvPr/>
        </p:nvSpPr>
        <p:spPr>
          <a:xfrm>
            <a:off x="7908035" y="3634740"/>
            <a:ext cx="48895" cy="53340"/>
          </a:xfrm>
          <a:custGeom>
            <a:avLst/>
            <a:gdLst/>
            <a:ahLst/>
            <a:cxnLst/>
            <a:rect l="l" t="t" r="r" b="b"/>
            <a:pathLst>
              <a:path w="48895" h="53339">
                <a:moveTo>
                  <a:pt x="24384" y="0"/>
                </a:moveTo>
                <a:lnTo>
                  <a:pt x="14894" y="2095"/>
                </a:lnTo>
                <a:lnTo>
                  <a:pt x="7143" y="7810"/>
                </a:lnTo>
                <a:lnTo>
                  <a:pt x="1916" y="16287"/>
                </a:lnTo>
                <a:lnTo>
                  <a:pt x="0" y="26670"/>
                </a:lnTo>
                <a:lnTo>
                  <a:pt x="1916" y="37052"/>
                </a:lnTo>
                <a:lnTo>
                  <a:pt x="7143" y="45529"/>
                </a:lnTo>
                <a:lnTo>
                  <a:pt x="14894" y="51244"/>
                </a:lnTo>
                <a:lnTo>
                  <a:pt x="24384" y="53340"/>
                </a:lnTo>
                <a:lnTo>
                  <a:pt x="33873" y="51244"/>
                </a:lnTo>
                <a:lnTo>
                  <a:pt x="41624" y="45529"/>
                </a:lnTo>
                <a:lnTo>
                  <a:pt x="46851" y="37052"/>
                </a:lnTo>
                <a:lnTo>
                  <a:pt x="48768" y="26670"/>
                </a:lnTo>
                <a:lnTo>
                  <a:pt x="46851" y="16287"/>
                </a:lnTo>
                <a:lnTo>
                  <a:pt x="41624" y="7810"/>
                </a:lnTo>
                <a:lnTo>
                  <a:pt x="33873" y="2095"/>
                </a:lnTo>
                <a:lnTo>
                  <a:pt x="24384" y="0"/>
                </a:lnTo>
                <a:close/>
              </a:path>
            </a:pathLst>
          </a:custGeom>
          <a:solidFill>
            <a:srgbClr val="006FAC"/>
          </a:solidFill>
        </p:spPr>
        <p:txBody>
          <a:bodyPr wrap="square" lIns="0" tIns="0" rIns="0" bIns="0" rtlCol="0"/>
          <a:lstStyle/>
          <a:p>
            <a:endParaRPr/>
          </a:p>
        </p:txBody>
      </p:sp>
      <p:sp>
        <p:nvSpPr>
          <p:cNvPr id="20" name="object 20"/>
          <p:cNvSpPr/>
          <p:nvPr/>
        </p:nvSpPr>
        <p:spPr>
          <a:xfrm>
            <a:off x="7879459"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6836" y="246634"/>
                </a:lnTo>
                <a:lnTo>
                  <a:pt x="88266" y="241173"/>
                </a:lnTo>
                <a:lnTo>
                  <a:pt x="88266" y="125984"/>
                </a:lnTo>
                <a:lnTo>
                  <a:pt x="97043" y="116510"/>
                </a:lnTo>
                <a:lnTo>
                  <a:pt x="100665" y="103441"/>
                </a:lnTo>
                <a:lnTo>
                  <a:pt x="102215" y="85228"/>
                </a:lnTo>
                <a:lnTo>
                  <a:pt x="104776" y="60325"/>
                </a:lnTo>
                <a:lnTo>
                  <a:pt x="102713" y="20558"/>
                </a:lnTo>
                <a:lnTo>
                  <a:pt x="67042" y="682"/>
                </a:lnTo>
                <a:lnTo>
                  <a:pt x="58209" y="85"/>
                </a:lnTo>
                <a:lnTo>
                  <a:pt x="49912" y="0"/>
                </a:lnTo>
                <a:close/>
              </a:path>
              <a:path w="104775" h="257810">
                <a:moveTo>
                  <a:pt x="86836" y="246634"/>
                </a:moveTo>
                <a:lnTo>
                  <a:pt x="49912" y="246634"/>
                </a:lnTo>
                <a:lnTo>
                  <a:pt x="60834" y="257556"/>
                </a:lnTo>
                <a:lnTo>
                  <a:pt x="66422" y="257556"/>
                </a:lnTo>
                <a:lnTo>
                  <a:pt x="74443" y="256532"/>
                </a:lnTo>
                <a:lnTo>
                  <a:pt x="81440" y="253460"/>
                </a:lnTo>
                <a:lnTo>
                  <a:pt x="86389" y="248340"/>
                </a:lnTo>
                <a:lnTo>
                  <a:pt x="86836" y="246634"/>
                </a:lnTo>
                <a:close/>
              </a:path>
            </a:pathLst>
          </a:custGeom>
          <a:solidFill>
            <a:srgbClr val="006FAC"/>
          </a:solidFill>
        </p:spPr>
        <p:txBody>
          <a:bodyPr wrap="square" lIns="0" tIns="0" rIns="0" bIns="0" rtlCol="0"/>
          <a:lstStyle/>
          <a:p>
            <a:endParaRPr/>
          </a:p>
        </p:txBody>
      </p:sp>
      <p:sp>
        <p:nvSpPr>
          <p:cNvPr id="21" name="object 21"/>
          <p:cNvSpPr/>
          <p:nvPr/>
        </p:nvSpPr>
        <p:spPr>
          <a:xfrm>
            <a:off x="7671816" y="3634740"/>
            <a:ext cx="55244" cy="53340"/>
          </a:xfrm>
          <a:custGeom>
            <a:avLst/>
            <a:gdLst/>
            <a:ahLst/>
            <a:cxnLst/>
            <a:rect l="l" t="t" r="r" b="b"/>
            <a:pathLst>
              <a:path w="55245" h="53339">
                <a:moveTo>
                  <a:pt x="27431" y="0"/>
                </a:moveTo>
                <a:lnTo>
                  <a:pt x="16769" y="2095"/>
                </a:lnTo>
                <a:lnTo>
                  <a:pt x="8048" y="7810"/>
                </a:lnTo>
                <a:lnTo>
                  <a:pt x="2160" y="16287"/>
                </a:lnTo>
                <a:lnTo>
                  <a:pt x="0" y="26670"/>
                </a:lnTo>
                <a:lnTo>
                  <a:pt x="2160" y="37052"/>
                </a:lnTo>
                <a:lnTo>
                  <a:pt x="8048" y="45529"/>
                </a:lnTo>
                <a:lnTo>
                  <a:pt x="16769" y="51244"/>
                </a:lnTo>
                <a:lnTo>
                  <a:pt x="27431" y="53340"/>
                </a:lnTo>
                <a:lnTo>
                  <a:pt x="38094" y="51244"/>
                </a:lnTo>
                <a:lnTo>
                  <a:pt x="46815" y="45529"/>
                </a:lnTo>
                <a:lnTo>
                  <a:pt x="52703" y="37052"/>
                </a:lnTo>
                <a:lnTo>
                  <a:pt x="54863" y="26670"/>
                </a:lnTo>
                <a:lnTo>
                  <a:pt x="52703" y="16287"/>
                </a:lnTo>
                <a:lnTo>
                  <a:pt x="46815" y="7810"/>
                </a:lnTo>
                <a:lnTo>
                  <a:pt x="38094" y="2095"/>
                </a:lnTo>
                <a:lnTo>
                  <a:pt x="27431" y="0"/>
                </a:lnTo>
                <a:close/>
              </a:path>
            </a:pathLst>
          </a:custGeom>
          <a:solidFill>
            <a:srgbClr val="006FAC"/>
          </a:solidFill>
        </p:spPr>
        <p:txBody>
          <a:bodyPr wrap="square" lIns="0" tIns="0" rIns="0" bIns="0" rtlCol="0"/>
          <a:lstStyle/>
          <a:p>
            <a:endParaRPr/>
          </a:p>
        </p:txBody>
      </p:sp>
      <p:sp>
        <p:nvSpPr>
          <p:cNvPr id="22" name="object 22"/>
          <p:cNvSpPr/>
          <p:nvPr/>
        </p:nvSpPr>
        <p:spPr>
          <a:xfrm>
            <a:off x="7649334"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2805" y="246634"/>
                </a:lnTo>
                <a:lnTo>
                  <a:pt x="82805" y="125984"/>
                </a:lnTo>
                <a:lnTo>
                  <a:pt x="94740" y="116510"/>
                </a:lnTo>
                <a:lnTo>
                  <a:pt x="99982" y="103441"/>
                </a:lnTo>
                <a:lnTo>
                  <a:pt x="102129" y="85228"/>
                </a:lnTo>
                <a:lnTo>
                  <a:pt x="104776" y="60325"/>
                </a:lnTo>
                <a:lnTo>
                  <a:pt x="103665" y="37875"/>
                </a:lnTo>
                <a:lnTo>
                  <a:pt x="74594" y="2303"/>
                </a:lnTo>
                <a:lnTo>
                  <a:pt x="58124" y="85"/>
                </a:lnTo>
                <a:lnTo>
                  <a:pt x="49912" y="0"/>
                </a:lnTo>
                <a:close/>
              </a:path>
              <a:path w="104775" h="257810">
                <a:moveTo>
                  <a:pt x="82805" y="246634"/>
                </a:moveTo>
                <a:lnTo>
                  <a:pt x="49912" y="246634"/>
                </a:lnTo>
                <a:lnTo>
                  <a:pt x="49912" y="252095"/>
                </a:lnTo>
                <a:lnTo>
                  <a:pt x="60834" y="257556"/>
                </a:lnTo>
                <a:lnTo>
                  <a:pt x="77344" y="257556"/>
                </a:lnTo>
                <a:lnTo>
                  <a:pt x="82805" y="252095"/>
                </a:lnTo>
                <a:lnTo>
                  <a:pt x="82805" y="246634"/>
                </a:lnTo>
                <a:close/>
              </a:path>
            </a:pathLst>
          </a:custGeom>
          <a:solidFill>
            <a:srgbClr val="006FAC"/>
          </a:solidFill>
        </p:spPr>
        <p:txBody>
          <a:bodyPr wrap="square" lIns="0" tIns="0" rIns="0" bIns="0" rtlCol="0"/>
          <a:lstStyle/>
          <a:p>
            <a:endParaRPr/>
          </a:p>
        </p:txBody>
      </p:sp>
      <p:sp>
        <p:nvSpPr>
          <p:cNvPr id="23" name="object 23"/>
          <p:cNvSpPr/>
          <p:nvPr/>
        </p:nvSpPr>
        <p:spPr>
          <a:xfrm>
            <a:off x="9895713" y="3651884"/>
            <a:ext cx="478790" cy="464184"/>
          </a:xfrm>
          <a:custGeom>
            <a:avLst/>
            <a:gdLst/>
            <a:ahLst/>
            <a:cxnLst/>
            <a:rect l="l" t="t" r="r" b="b"/>
            <a:pathLst>
              <a:path w="478790" h="464185">
                <a:moveTo>
                  <a:pt x="221996" y="0"/>
                </a:moveTo>
                <a:lnTo>
                  <a:pt x="177470" y="5762"/>
                </a:lnTo>
                <a:lnTo>
                  <a:pt x="138683" y="20954"/>
                </a:lnTo>
                <a:lnTo>
                  <a:pt x="98917" y="44386"/>
                </a:lnTo>
                <a:lnTo>
                  <a:pt x="63436" y="73532"/>
                </a:lnTo>
                <a:lnTo>
                  <a:pt x="34242" y="108394"/>
                </a:lnTo>
                <a:lnTo>
                  <a:pt x="13334" y="148970"/>
                </a:lnTo>
                <a:lnTo>
                  <a:pt x="3095" y="189928"/>
                </a:lnTo>
                <a:lnTo>
                  <a:pt x="0" y="238886"/>
                </a:lnTo>
                <a:lnTo>
                  <a:pt x="4333" y="287845"/>
                </a:lnTo>
                <a:lnTo>
                  <a:pt x="16382" y="328802"/>
                </a:lnTo>
                <a:lnTo>
                  <a:pt x="39058" y="367574"/>
                </a:lnTo>
                <a:lnTo>
                  <a:pt x="71012" y="400324"/>
                </a:lnTo>
                <a:lnTo>
                  <a:pt x="110207" y="426677"/>
                </a:lnTo>
                <a:lnTo>
                  <a:pt x="154604" y="446257"/>
                </a:lnTo>
                <a:lnTo>
                  <a:pt x="202166" y="458687"/>
                </a:lnTo>
                <a:lnTo>
                  <a:pt x="250853" y="463592"/>
                </a:lnTo>
                <a:lnTo>
                  <a:pt x="298627" y="460594"/>
                </a:lnTo>
                <a:lnTo>
                  <a:pt x="343451" y="449318"/>
                </a:lnTo>
                <a:lnTo>
                  <a:pt x="383285" y="429387"/>
                </a:lnTo>
                <a:lnTo>
                  <a:pt x="414808" y="401217"/>
                </a:lnTo>
                <a:lnTo>
                  <a:pt x="440768" y="365263"/>
                </a:lnTo>
                <a:lnTo>
                  <a:pt x="460470" y="323817"/>
                </a:lnTo>
                <a:lnTo>
                  <a:pt x="473218" y="279173"/>
                </a:lnTo>
                <a:lnTo>
                  <a:pt x="478317" y="233621"/>
                </a:lnTo>
                <a:lnTo>
                  <a:pt x="475072" y="189456"/>
                </a:lnTo>
                <a:lnTo>
                  <a:pt x="462787" y="148970"/>
                </a:lnTo>
                <a:lnTo>
                  <a:pt x="435449" y="100917"/>
                </a:lnTo>
                <a:lnTo>
                  <a:pt x="400097" y="59435"/>
                </a:lnTo>
                <a:lnTo>
                  <a:pt x="357864" y="27670"/>
                </a:lnTo>
                <a:lnTo>
                  <a:pt x="309879" y="8762"/>
                </a:lnTo>
                <a:lnTo>
                  <a:pt x="267664" y="1666"/>
                </a:lnTo>
                <a:lnTo>
                  <a:pt x="221996" y="0"/>
                </a:lnTo>
                <a:close/>
              </a:path>
            </a:pathLst>
          </a:custGeom>
          <a:solidFill>
            <a:srgbClr val="9AE0F7"/>
          </a:solidFill>
        </p:spPr>
        <p:txBody>
          <a:bodyPr wrap="square" lIns="0" tIns="0" rIns="0" bIns="0" rtlCol="0"/>
          <a:lstStyle/>
          <a:p>
            <a:endParaRPr/>
          </a:p>
        </p:txBody>
      </p:sp>
      <p:sp>
        <p:nvSpPr>
          <p:cNvPr id="24" name="object 24"/>
          <p:cNvSpPr/>
          <p:nvPr/>
        </p:nvSpPr>
        <p:spPr>
          <a:xfrm>
            <a:off x="10011156" y="3651503"/>
            <a:ext cx="137160" cy="40005"/>
          </a:xfrm>
          <a:custGeom>
            <a:avLst/>
            <a:gdLst/>
            <a:ahLst/>
            <a:cxnLst/>
            <a:rect l="l" t="t" r="r" b="b"/>
            <a:pathLst>
              <a:path w="137159" h="40004">
                <a:moveTo>
                  <a:pt x="137160" y="0"/>
                </a:moveTo>
                <a:lnTo>
                  <a:pt x="89582" y="1428"/>
                </a:lnTo>
                <a:lnTo>
                  <a:pt x="53721" y="9144"/>
                </a:lnTo>
                <a:lnTo>
                  <a:pt x="25288" y="21431"/>
                </a:lnTo>
                <a:lnTo>
                  <a:pt x="0" y="36576"/>
                </a:lnTo>
                <a:lnTo>
                  <a:pt x="24907" y="39862"/>
                </a:lnTo>
                <a:lnTo>
                  <a:pt x="65579" y="32718"/>
                </a:lnTo>
                <a:lnTo>
                  <a:pt x="114681" y="16002"/>
                </a:lnTo>
                <a:lnTo>
                  <a:pt x="137160" y="0"/>
                </a:lnTo>
                <a:close/>
              </a:path>
            </a:pathLst>
          </a:custGeom>
          <a:solidFill>
            <a:srgbClr val="12ABDB"/>
          </a:solidFill>
        </p:spPr>
        <p:txBody>
          <a:bodyPr wrap="square" lIns="0" tIns="0" rIns="0" bIns="0" rtlCol="0"/>
          <a:lstStyle/>
          <a:p>
            <a:endParaRPr/>
          </a:p>
        </p:txBody>
      </p:sp>
      <p:sp>
        <p:nvSpPr>
          <p:cNvPr id="25" name="object 25"/>
          <p:cNvSpPr/>
          <p:nvPr/>
        </p:nvSpPr>
        <p:spPr>
          <a:xfrm>
            <a:off x="10096500" y="3672840"/>
            <a:ext cx="241300" cy="387350"/>
          </a:xfrm>
          <a:custGeom>
            <a:avLst/>
            <a:gdLst/>
            <a:ahLst/>
            <a:cxnLst/>
            <a:rect l="l" t="t" r="r" b="b"/>
            <a:pathLst>
              <a:path w="241300" h="387350">
                <a:moveTo>
                  <a:pt x="150383" y="227171"/>
                </a:moveTo>
                <a:lnTo>
                  <a:pt x="134429" y="230886"/>
                </a:lnTo>
                <a:lnTo>
                  <a:pt x="120189" y="238029"/>
                </a:lnTo>
                <a:lnTo>
                  <a:pt x="109093" y="246887"/>
                </a:lnTo>
                <a:lnTo>
                  <a:pt x="116500" y="259889"/>
                </a:lnTo>
                <a:lnTo>
                  <a:pt x="116252" y="270891"/>
                </a:lnTo>
                <a:lnTo>
                  <a:pt x="108646" y="279034"/>
                </a:lnTo>
                <a:lnTo>
                  <a:pt x="93979" y="283464"/>
                </a:lnTo>
                <a:lnTo>
                  <a:pt x="94339" y="302466"/>
                </a:lnTo>
                <a:lnTo>
                  <a:pt x="101520" y="318897"/>
                </a:lnTo>
                <a:lnTo>
                  <a:pt x="110964" y="333613"/>
                </a:lnTo>
                <a:lnTo>
                  <a:pt x="118109" y="347472"/>
                </a:lnTo>
                <a:lnTo>
                  <a:pt x="122346" y="360092"/>
                </a:lnTo>
                <a:lnTo>
                  <a:pt x="126857" y="370713"/>
                </a:lnTo>
                <a:lnTo>
                  <a:pt x="133058" y="379618"/>
                </a:lnTo>
                <a:lnTo>
                  <a:pt x="142367" y="387096"/>
                </a:lnTo>
                <a:lnTo>
                  <a:pt x="166921" y="363235"/>
                </a:lnTo>
                <a:lnTo>
                  <a:pt x="193167" y="340232"/>
                </a:lnTo>
                <a:lnTo>
                  <a:pt x="218269" y="315515"/>
                </a:lnTo>
                <a:lnTo>
                  <a:pt x="239395" y="286512"/>
                </a:lnTo>
                <a:lnTo>
                  <a:pt x="234584" y="279082"/>
                </a:lnTo>
                <a:lnTo>
                  <a:pt x="232992" y="270891"/>
                </a:lnTo>
                <a:lnTo>
                  <a:pt x="232993" y="259889"/>
                </a:lnTo>
                <a:lnTo>
                  <a:pt x="233299" y="249936"/>
                </a:lnTo>
                <a:lnTo>
                  <a:pt x="224129" y="243887"/>
                </a:lnTo>
                <a:lnTo>
                  <a:pt x="212423" y="238125"/>
                </a:lnTo>
                <a:lnTo>
                  <a:pt x="201312" y="230647"/>
                </a:lnTo>
                <a:lnTo>
                  <a:pt x="199961" y="228600"/>
                </a:lnTo>
                <a:lnTo>
                  <a:pt x="166624" y="228600"/>
                </a:lnTo>
                <a:lnTo>
                  <a:pt x="150383" y="227171"/>
                </a:lnTo>
                <a:close/>
              </a:path>
              <a:path w="241300" h="387350">
                <a:moveTo>
                  <a:pt x="236449" y="115824"/>
                </a:moveTo>
                <a:lnTo>
                  <a:pt x="124205" y="115824"/>
                </a:lnTo>
                <a:lnTo>
                  <a:pt x="133738" y="122205"/>
                </a:lnTo>
                <a:lnTo>
                  <a:pt x="145795" y="137159"/>
                </a:lnTo>
                <a:lnTo>
                  <a:pt x="156138" y="154400"/>
                </a:lnTo>
                <a:lnTo>
                  <a:pt x="160527" y="167640"/>
                </a:lnTo>
                <a:lnTo>
                  <a:pt x="160527" y="170687"/>
                </a:lnTo>
                <a:lnTo>
                  <a:pt x="154558" y="176784"/>
                </a:lnTo>
                <a:lnTo>
                  <a:pt x="154558" y="179832"/>
                </a:lnTo>
                <a:lnTo>
                  <a:pt x="163575" y="188976"/>
                </a:lnTo>
                <a:lnTo>
                  <a:pt x="163575" y="192024"/>
                </a:lnTo>
                <a:lnTo>
                  <a:pt x="168320" y="199882"/>
                </a:lnTo>
                <a:lnTo>
                  <a:pt x="171910" y="209169"/>
                </a:lnTo>
                <a:lnTo>
                  <a:pt x="172094" y="219027"/>
                </a:lnTo>
                <a:lnTo>
                  <a:pt x="166624" y="228600"/>
                </a:lnTo>
                <a:lnTo>
                  <a:pt x="199961" y="228600"/>
                </a:lnTo>
                <a:lnTo>
                  <a:pt x="193928" y="219456"/>
                </a:lnTo>
                <a:lnTo>
                  <a:pt x="192736" y="209264"/>
                </a:lnTo>
                <a:lnTo>
                  <a:pt x="193532" y="195072"/>
                </a:lnTo>
                <a:lnTo>
                  <a:pt x="214312" y="159258"/>
                </a:lnTo>
                <a:lnTo>
                  <a:pt x="223793" y="156972"/>
                </a:lnTo>
                <a:lnTo>
                  <a:pt x="233299" y="152400"/>
                </a:lnTo>
                <a:lnTo>
                  <a:pt x="240770" y="137255"/>
                </a:lnTo>
                <a:lnTo>
                  <a:pt x="238585" y="120395"/>
                </a:lnTo>
                <a:lnTo>
                  <a:pt x="236449" y="115824"/>
                </a:lnTo>
                <a:close/>
              </a:path>
              <a:path w="241300" h="387350">
                <a:moveTo>
                  <a:pt x="234180" y="110966"/>
                </a:moveTo>
                <a:lnTo>
                  <a:pt x="42592" y="110966"/>
                </a:lnTo>
                <a:lnTo>
                  <a:pt x="54165" y="118872"/>
                </a:lnTo>
                <a:lnTo>
                  <a:pt x="65166" y="129063"/>
                </a:lnTo>
                <a:lnTo>
                  <a:pt x="78740" y="134112"/>
                </a:lnTo>
                <a:lnTo>
                  <a:pt x="91380" y="132111"/>
                </a:lnTo>
                <a:lnTo>
                  <a:pt x="102616" y="124968"/>
                </a:lnTo>
                <a:lnTo>
                  <a:pt x="113280" y="117824"/>
                </a:lnTo>
                <a:lnTo>
                  <a:pt x="124205" y="115824"/>
                </a:lnTo>
                <a:lnTo>
                  <a:pt x="236449" y="115824"/>
                </a:lnTo>
                <a:lnTo>
                  <a:pt x="234180" y="110966"/>
                </a:lnTo>
                <a:close/>
              </a:path>
              <a:path w="241300" h="387350">
                <a:moveTo>
                  <a:pt x="121157" y="0"/>
                </a:moveTo>
                <a:lnTo>
                  <a:pt x="112089" y="1476"/>
                </a:lnTo>
                <a:lnTo>
                  <a:pt x="102997" y="4953"/>
                </a:lnTo>
                <a:lnTo>
                  <a:pt x="93904" y="9001"/>
                </a:lnTo>
                <a:lnTo>
                  <a:pt x="84835" y="12192"/>
                </a:lnTo>
                <a:lnTo>
                  <a:pt x="77114" y="27813"/>
                </a:lnTo>
                <a:lnTo>
                  <a:pt x="61737" y="36576"/>
                </a:lnTo>
                <a:lnTo>
                  <a:pt x="43527" y="43053"/>
                </a:lnTo>
                <a:lnTo>
                  <a:pt x="27304" y="51816"/>
                </a:lnTo>
                <a:lnTo>
                  <a:pt x="23467" y="70008"/>
                </a:lnTo>
                <a:lnTo>
                  <a:pt x="14795" y="85343"/>
                </a:lnTo>
                <a:lnTo>
                  <a:pt x="5552" y="100679"/>
                </a:lnTo>
                <a:lnTo>
                  <a:pt x="0" y="118872"/>
                </a:lnTo>
                <a:lnTo>
                  <a:pt x="6096" y="118872"/>
                </a:lnTo>
                <a:lnTo>
                  <a:pt x="6096" y="106680"/>
                </a:lnTo>
                <a:lnTo>
                  <a:pt x="232177" y="106680"/>
                </a:lnTo>
                <a:lnTo>
                  <a:pt x="207819" y="68056"/>
                </a:lnTo>
                <a:lnTo>
                  <a:pt x="178958" y="36528"/>
                </a:lnTo>
                <a:lnTo>
                  <a:pt x="142033" y="8381"/>
                </a:lnTo>
                <a:lnTo>
                  <a:pt x="131185" y="2476"/>
                </a:lnTo>
                <a:lnTo>
                  <a:pt x="121157" y="0"/>
                </a:lnTo>
                <a:close/>
              </a:path>
              <a:path w="241300" h="387350">
                <a:moveTo>
                  <a:pt x="232177" y="106680"/>
                </a:moveTo>
                <a:lnTo>
                  <a:pt x="21208" y="106680"/>
                </a:lnTo>
                <a:lnTo>
                  <a:pt x="21208" y="112776"/>
                </a:lnTo>
                <a:lnTo>
                  <a:pt x="27304" y="112776"/>
                </a:lnTo>
                <a:lnTo>
                  <a:pt x="42592" y="110966"/>
                </a:lnTo>
                <a:lnTo>
                  <a:pt x="234180" y="110966"/>
                </a:lnTo>
                <a:lnTo>
                  <a:pt x="232177" y="106680"/>
                </a:lnTo>
                <a:close/>
              </a:path>
            </a:pathLst>
          </a:custGeom>
          <a:solidFill>
            <a:srgbClr val="12ABDB"/>
          </a:solidFill>
        </p:spPr>
        <p:txBody>
          <a:bodyPr wrap="square" lIns="0" tIns="0" rIns="0" bIns="0" rtlCol="0"/>
          <a:lstStyle/>
          <a:p>
            <a:endParaRPr/>
          </a:p>
        </p:txBody>
      </p:sp>
      <p:sp>
        <p:nvSpPr>
          <p:cNvPr id="26" name="object 26"/>
          <p:cNvSpPr/>
          <p:nvPr/>
        </p:nvSpPr>
        <p:spPr>
          <a:xfrm>
            <a:off x="9895039" y="3761232"/>
            <a:ext cx="125260" cy="222504"/>
          </a:xfrm>
          <a:prstGeom prst="rect">
            <a:avLst/>
          </a:prstGeom>
          <a:blipFill>
            <a:blip r:embed="rId9" cstate="print"/>
            <a:stretch>
              <a:fillRect/>
            </a:stretch>
          </a:blipFill>
        </p:spPr>
        <p:txBody>
          <a:bodyPr wrap="square" lIns="0" tIns="0" rIns="0" bIns="0" rtlCol="0"/>
          <a:lstStyle/>
          <a:p>
            <a:endParaRPr/>
          </a:p>
        </p:txBody>
      </p:sp>
      <p:sp>
        <p:nvSpPr>
          <p:cNvPr id="27" name="object 27"/>
          <p:cNvSpPr txBox="1"/>
          <p:nvPr/>
        </p:nvSpPr>
        <p:spPr>
          <a:xfrm>
            <a:off x="6962647" y="1186941"/>
            <a:ext cx="4810760" cy="1671955"/>
          </a:xfrm>
          <a:prstGeom prst="rect">
            <a:avLst/>
          </a:prstGeom>
        </p:spPr>
        <p:txBody>
          <a:bodyPr vert="horz" wrap="square" lIns="0" tIns="12700" rIns="0" bIns="0" rtlCol="0">
            <a:spAutoFit/>
          </a:bodyPr>
          <a:lstStyle/>
          <a:p>
            <a:pPr marL="12700" marR="5080">
              <a:lnSpc>
                <a:spcPct val="100000"/>
              </a:lnSpc>
              <a:spcBef>
                <a:spcPts val="100"/>
              </a:spcBef>
            </a:pPr>
            <a:r>
              <a:rPr sz="1200">
                <a:latin typeface="Verdana"/>
                <a:cs typeface="Verdana"/>
              </a:rPr>
              <a:t>In a </a:t>
            </a:r>
            <a:r>
              <a:rPr sz="1200" spc="-5">
                <a:latin typeface="Verdana"/>
                <a:cs typeface="Verdana"/>
              </a:rPr>
              <a:t>fast-changing marketplace </a:t>
            </a:r>
            <a:r>
              <a:rPr sz="1200" spc="-15">
                <a:latin typeface="Verdana"/>
                <a:cs typeface="Verdana"/>
              </a:rPr>
              <a:t>Wolters </a:t>
            </a:r>
            <a:r>
              <a:rPr sz="1200" spc="-5">
                <a:latin typeface="Verdana"/>
                <a:cs typeface="Verdana"/>
              </a:rPr>
              <a:t>Kluwer recognized the  need to transform </a:t>
            </a:r>
            <a:r>
              <a:rPr sz="1200">
                <a:latin typeface="Verdana"/>
                <a:cs typeface="Verdana"/>
              </a:rPr>
              <a:t>from </a:t>
            </a:r>
            <a:r>
              <a:rPr sz="1200" spc="-10">
                <a:latin typeface="Verdana"/>
                <a:cs typeface="Verdana"/>
              </a:rPr>
              <a:t>traditional </a:t>
            </a:r>
            <a:r>
              <a:rPr sz="1200" spc="-5">
                <a:latin typeface="Verdana"/>
                <a:cs typeface="Verdana"/>
              </a:rPr>
              <a:t>publisher to </a:t>
            </a:r>
            <a:r>
              <a:rPr sz="1200">
                <a:latin typeface="Verdana"/>
                <a:cs typeface="Verdana"/>
              </a:rPr>
              <a:t>a </a:t>
            </a:r>
            <a:r>
              <a:rPr sz="1200" spc="-10">
                <a:latin typeface="Verdana"/>
                <a:cs typeface="Verdana"/>
              </a:rPr>
              <a:t>digital  </a:t>
            </a:r>
            <a:r>
              <a:rPr sz="1200" spc="-5">
                <a:latin typeface="Verdana"/>
                <a:cs typeface="Verdana"/>
              </a:rPr>
              <a:t>enterprise</a:t>
            </a:r>
            <a:endParaRPr sz="1200">
              <a:latin typeface="Verdana"/>
              <a:cs typeface="Verdana"/>
            </a:endParaRPr>
          </a:p>
          <a:p>
            <a:pPr marL="12700" marR="348615">
              <a:lnSpc>
                <a:spcPct val="100000"/>
              </a:lnSpc>
            </a:pPr>
            <a:r>
              <a:rPr sz="1200" spc="-5">
                <a:latin typeface="Verdana"/>
                <a:cs typeface="Verdana"/>
              </a:rPr>
              <a:t>The company faced increasing competition </a:t>
            </a:r>
            <a:r>
              <a:rPr sz="1200">
                <a:latin typeface="Verdana"/>
                <a:cs typeface="Verdana"/>
              </a:rPr>
              <a:t>from </a:t>
            </a:r>
            <a:r>
              <a:rPr sz="1200" spc="-5">
                <a:latin typeface="Verdana"/>
                <a:cs typeface="Verdana"/>
              </a:rPr>
              <a:t>software  vendors, manual work in customer </a:t>
            </a:r>
            <a:r>
              <a:rPr sz="1200">
                <a:latin typeface="Verdana"/>
                <a:cs typeface="Verdana"/>
              </a:rPr>
              <a:t>service </a:t>
            </a:r>
            <a:r>
              <a:rPr sz="1200" spc="-5">
                <a:latin typeface="Verdana"/>
                <a:cs typeface="Verdana"/>
              </a:rPr>
              <a:t>and </a:t>
            </a:r>
            <a:r>
              <a:rPr sz="1200" spc="-10">
                <a:latin typeface="Verdana"/>
                <a:cs typeface="Verdana"/>
              </a:rPr>
              <a:t>limitations  </a:t>
            </a:r>
            <a:r>
              <a:rPr sz="1200">
                <a:latin typeface="Verdana"/>
                <a:cs typeface="Verdana"/>
              </a:rPr>
              <a:t>from </a:t>
            </a:r>
            <a:r>
              <a:rPr sz="1200" spc="-5">
                <a:latin typeface="Verdana"/>
                <a:cs typeface="Verdana"/>
              </a:rPr>
              <a:t>legacy </a:t>
            </a:r>
            <a:r>
              <a:rPr sz="1200">
                <a:latin typeface="Verdana"/>
                <a:cs typeface="Verdana"/>
              </a:rPr>
              <a:t>CRM</a:t>
            </a:r>
            <a:r>
              <a:rPr sz="1200" spc="-10">
                <a:latin typeface="Verdana"/>
                <a:cs typeface="Verdana"/>
              </a:rPr>
              <a:t> </a:t>
            </a:r>
            <a:r>
              <a:rPr sz="1200" spc="-5">
                <a:latin typeface="Verdana"/>
                <a:cs typeface="Verdana"/>
              </a:rPr>
              <a:t>systems</a:t>
            </a:r>
            <a:endParaRPr sz="1200">
              <a:latin typeface="Verdana"/>
              <a:cs typeface="Verdana"/>
            </a:endParaRPr>
          </a:p>
          <a:p>
            <a:pPr marL="12700" marR="202565">
              <a:lnSpc>
                <a:spcPct val="100000"/>
              </a:lnSpc>
            </a:pPr>
            <a:r>
              <a:rPr sz="1200" spc="-15">
                <a:latin typeface="Verdana"/>
                <a:cs typeface="Verdana"/>
              </a:rPr>
              <a:t>Wolters </a:t>
            </a:r>
            <a:r>
              <a:rPr sz="1200" spc="-5">
                <a:latin typeface="Verdana"/>
                <a:cs typeface="Verdana"/>
              </a:rPr>
              <a:t>Kluwer </a:t>
            </a:r>
            <a:r>
              <a:rPr sz="1200" spc="-10">
                <a:latin typeface="Verdana"/>
                <a:cs typeface="Verdana"/>
              </a:rPr>
              <a:t>identified </a:t>
            </a:r>
            <a:r>
              <a:rPr sz="1200">
                <a:latin typeface="Verdana"/>
                <a:cs typeface="Verdana"/>
              </a:rPr>
              <a:t>a </a:t>
            </a:r>
            <a:r>
              <a:rPr sz="1200" spc="-10">
                <a:latin typeface="Verdana"/>
                <a:cs typeface="Verdana"/>
              </a:rPr>
              <a:t>distinctive </a:t>
            </a:r>
            <a:r>
              <a:rPr sz="1200" spc="-5">
                <a:latin typeface="Verdana"/>
                <a:cs typeface="Verdana"/>
              </a:rPr>
              <a:t>customer experience,  faster time to market and </a:t>
            </a:r>
            <a:r>
              <a:rPr sz="1200">
                <a:latin typeface="Verdana"/>
                <a:cs typeface="Verdana"/>
              </a:rPr>
              <a:t>a </a:t>
            </a:r>
            <a:r>
              <a:rPr sz="1200" spc="-10">
                <a:latin typeface="Verdana"/>
                <a:cs typeface="Verdana"/>
              </a:rPr>
              <a:t>unified </a:t>
            </a:r>
            <a:r>
              <a:rPr sz="1200" spc="-5">
                <a:latin typeface="Verdana"/>
                <a:cs typeface="Verdana"/>
              </a:rPr>
              <a:t>platform </a:t>
            </a:r>
            <a:r>
              <a:rPr sz="1200">
                <a:latin typeface="Verdana"/>
                <a:cs typeface="Verdana"/>
              </a:rPr>
              <a:t>for </a:t>
            </a:r>
            <a:r>
              <a:rPr sz="1200" spc="-5">
                <a:latin typeface="Verdana"/>
                <a:cs typeface="Verdana"/>
              </a:rPr>
              <a:t>sales and  </a:t>
            </a:r>
            <a:r>
              <a:rPr sz="1200">
                <a:latin typeface="Verdana"/>
                <a:cs typeface="Verdana"/>
              </a:rPr>
              <a:t>service as </a:t>
            </a:r>
            <a:r>
              <a:rPr sz="1200" spc="-5">
                <a:latin typeface="Verdana"/>
                <a:cs typeface="Verdana"/>
              </a:rPr>
              <a:t>key enablers </a:t>
            </a:r>
            <a:r>
              <a:rPr sz="1200">
                <a:latin typeface="Verdana"/>
                <a:cs typeface="Verdana"/>
              </a:rPr>
              <a:t>for </a:t>
            </a:r>
            <a:r>
              <a:rPr sz="1200" spc="-5">
                <a:latin typeface="Verdana"/>
                <a:cs typeface="Verdana"/>
              </a:rPr>
              <a:t>future</a:t>
            </a:r>
            <a:r>
              <a:rPr sz="1200" spc="10">
                <a:latin typeface="Verdana"/>
                <a:cs typeface="Verdana"/>
              </a:rPr>
              <a:t> </a:t>
            </a:r>
            <a:r>
              <a:rPr sz="1200" spc="-5">
                <a:latin typeface="Verdana"/>
                <a:cs typeface="Verdana"/>
              </a:rPr>
              <a:t>growth</a:t>
            </a:r>
            <a:endParaRPr sz="1200">
              <a:latin typeface="Verdana"/>
              <a:cs typeface="Verdana"/>
            </a:endParaRPr>
          </a:p>
        </p:txBody>
      </p:sp>
      <p:sp>
        <p:nvSpPr>
          <p:cNvPr id="28" name="object 28"/>
          <p:cNvSpPr txBox="1">
            <a:spLocks noGrp="1"/>
          </p:cNvSpPr>
          <p:nvPr>
            <p:ph type="title"/>
          </p:nvPr>
        </p:nvSpPr>
        <p:spPr>
          <a:prstGeom prst="rect">
            <a:avLst/>
          </a:prstGeom>
        </p:spPr>
        <p:txBody>
          <a:bodyPr vert="horz" wrap="square" lIns="0" tIns="12700" rIns="0" bIns="0" rtlCol="0">
            <a:spAutoFit/>
          </a:bodyPr>
          <a:lstStyle/>
          <a:p>
            <a:pPr marL="3430904">
              <a:lnSpc>
                <a:spcPct val="100000"/>
              </a:lnSpc>
              <a:spcBef>
                <a:spcPts val="100"/>
              </a:spcBef>
            </a:pPr>
            <a:r>
              <a:rPr spc="-5"/>
              <a:t>Challenges</a:t>
            </a:r>
          </a:p>
        </p:txBody>
      </p:sp>
      <p:sp>
        <p:nvSpPr>
          <p:cNvPr id="29" name="object 29"/>
          <p:cNvSpPr/>
          <p:nvPr/>
        </p:nvSpPr>
        <p:spPr>
          <a:xfrm>
            <a:off x="0" y="5178552"/>
            <a:ext cx="2150364" cy="1080516"/>
          </a:xfrm>
          <a:prstGeom prst="rect">
            <a:avLst/>
          </a:prstGeom>
          <a:blipFill>
            <a:blip r:embed="rId10" cstate="print"/>
            <a:stretch>
              <a:fillRect/>
            </a:stretch>
          </a:blipFill>
        </p:spPr>
        <p:txBody>
          <a:bodyPr wrap="square" lIns="0" tIns="0" rIns="0" bIns="0" rtlCol="0"/>
          <a:lstStyle/>
          <a:p>
            <a:endParaRPr/>
          </a:p>
        </p:txBody>
      </p:sp>
      <p:sp>
        <p:nvSpPr>
          <p:cNvPr id="30" name="object 30"/>
          <p:cNvSpPr/>
          <p:nvPr/>
        </p:nvSpPr>
        <p:spPr>
          <a:xfrm>
            <a:off x="1728216" y="5178552"/>
            <a:ext cx="2161032" cy="1080516"/>
          </a:xfrm>
          <a:prstGeom prst="rect">
            <a:avLst/>
          </a:prstGeom>
          <a:blipFill>
            <a:blip r:embed="rId11" cstate="print"/>
            <a:stretch>
              <a:fillRect/>
            </a:stretch>
          </a:blipFill>
        </p:spPr>
        <p:txBody>
          <a:bodyPr wrap="square" lIns="0" tIns="0" rIns="0" bIns="0" rtlCol="0"/>
          <a:lstStyle/>
          <a:p>
            <a:endParaRPr/>
          </a:p>
        </p:txBody>
      </p:sp>
      <p:sp>
        <p:nvSpPr>
          <p:cNvPr id="31" name="object 31"/>
          <p:cNvSpPr txBox="1"/>
          <p:nvPr/>
        </p:nvSpPr>
        <p:spPr>
          <a:xfrm>
            <a:off x="214680" y="6638645"/>
            <a:ext cx="333629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Capgemini’s Response </a:t>
            </a:r>
            <a:r>
              <a:rPr sz="800" spc="-5">
                <a:solidFill>
                  <a:srgbClr val="FFFFFF"/>
                </a:solidFill>
                <a:latin typeface="Verdana"/>
                <a:cs typeface="Verdana"/>
              </a:rPr>
              <a:t>to </a:t>
            </a:r>
            <a:r>
              <a:rPr sz="800">
                <a:solidFill>
                  <a:srgbClr val="FFFFFF"/>
                </a:solidFill>
                <a:latin typeface="Verdana"/>
                <a:cs typeface="Verdana"/>
              </a:rPr>
              <a:t>RFP for System Integrator | April</a:t>
            </a:r>
            <a:r>
              <a:rPr sz="800" spc="-85">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046220" y="1699260"/>
            <a:ext cx="4069079" cy="297180"/>
          </a:xfrm>
          <a:custGeom>
            <a:avLst/>
            <a:gdLst/>
            <a:ahLst/>
            <a:cxnLst/>
            <a:rect l="l" t="t" r="r" b="b"/>
            <a:pathLst>
              <a:path w="4069079" h="297180">
                <a:moveTo>
                  <a:pt x="4019550" y="0"/>
                </a:moveTo>
                <a:lnTo>
                  <a:pt x="49529" y="0"/>
                </a:lnTo>
                <a:lnTo>
                  <a:pt x="30271" y="3899"/>
                </a:lnTo>
                <a:lnTo>
                  <a:pt x="14525" y="14525"/>
                </a:lnTo>
                <a:lnTo>
                  <a:pt x="3899" y="30271"/>
                </a:lnTo>
                <a:lnTo>
                  <a:pt x="0" y="49529"/>
                </a:lnTo>
                <a:lnTo>
                  <a:pt x="0" y="247650"/>
                </a:lnTo>
                <a:lnTo>
                  <a:pt x="3899" y="266908"/>
                </a:lnTo>
                <a:lnTo>
                  <a:pt x="14525" y="282654"/>
                </a:lnTo>
                <a:lnTo>
                  <a:pt x="30271" y="293280"/>
                </a:lnTo>
                <a:lnTo>
                  <a:pt x="49529" y="297179"/>
                </a:lnTo>
                <a:lnTo>
                  <a:pt x="4019550" y="297179"/>
                </a:lnTo>
                <a:lnTo>
                  <a:pt x="4038808" y="293280"/>
                </a:lnTo>
                <a:lnTo>
                  <a:pt x="4054554" y="282654"/>
                </a:lnTo>
                <a:lnTo>
                  <a:pt x="4065180" y="266908"/>
                </a:lnTo>
                <a:lnTo>
                  <a:pt x="4069079" y="247650"/>
                </a:lnTo>
                <a:lnTo>
                  <a:pt x="4069079" y="49529"/>
                </a:lnTo>
                <a:lnTo>
                  <a:pt x="4065180" y="30271"/>
                </a:lnTo>
                <a:lnTo>
                  <a:pt x="4054554" y="14525"/>
                </a:lnTo>
                <a:lnTo>
                  <a:pt x="4038808" y="3899"/>
                </a:lnTo>
                <a:lnTo>
                  <a:pt x="4019550" y="0"/>
                </a:lnTo>
                <a:close/>
              </a:path>
            </a:pathLst>
          </a:custGeom>
          <a:solidFill>
            <a:srgbClr val="12ABDB"/>
          </a:solidFill>
        </p:spPr>
        <p:txBody>
          <a:bodyPr wrap="square" lIns="0" tIns="0" rIns="0" bIns="0" rtlCol="0"/>
          <a:lstStyle/>
          <a:p>
            <a:endParaRPr/>
          </a:p>
        </p:txBody>
      </p:sp>
      <p:sp>
        <p:nvSpPr>
          <p:cNvPr id="3" name="object 3"/>
          <p:cNvSpPr/>
          <p:nvPr/>
        </p:nvSpPr>
        <p:spPr>
          <a:xfrm>
            <a:off x="518159" y="1699260"/>
            <a:ext cx="3030220" cy="297180"/>
          </a:xfrm>
          <a:custGeom>
            <a:avLst/>
            <a:gdLst/>
            <a:ahLst/>
            <a:cxnLst/>
            <a:rect l="l" t="t" r="r" b="b"/>
            <a:pathLst>
              <a:path w="3030220" h="297180">
                <a:moveTo>
                  <a:pt x="2980181" y="0"/>
                </a:moveTo>
                <a:lnTo>
                  <a:pt x="49530" y="0"/>
                </a:lnTo>
                <a:lnTo>
                  <a:pt x="30250" y="3899"/>
                </a:lnTo>
                <a:lnTo>
                  <a:pt x="14506" y="14525"/>
                </a:lnTo>
                <a:lnTo>
                  <a:pt x="3892" y="30271"/>
                </a:lnTo>
                <a:lnTo>
                  <a:pt x="0" y="49529"/>
                </a:lnTo>
                <a:lnTo>
                  <a:pt x="0" y="247650"/>
                </a:lnTo>
                <a:lnTo>
                  <a:pt x="3892" y="266908"/>
                </a:lnTo>
                <a:lnTo>
                  <a:pt x="14506" y="282654"/>
                </a:lnTo>
                <a:lnTo>
                  <a:pt x="30250" y="293280"/>
                </a:lnTo>
                <a:lnTo>
                  <a:pt x="49530" y="297179"/>
                </a:lnTo>
                <a:lnTo>
                  <a:pt x="2980181" y="297179"/>
                </a:lnTo>
                <a:lnTo>
                  <a:pt x="2999440" y="293280"/>
                </a:lnTo>
                <a:lnTo>
                  <a:pt x="3015186" y="282654"/>
                </a:lnTo>
                <a:lnTo>
                  <a:pt x="3025812" y="266908"/>
                </a:lnTo>
                <a:lnTo>
                  <a:pt x="3029712" y="247650"/>
                </a:lnTo>
                <a:lnTo>
                  <a:pt x="3029712" y="49529"/>
                </a:lnTo>
                <a:lnTo>
                  <a:pt x="3025812" y="30271"/>
                </a:lnTo>
                <a:lnTo>
                  <a:pt x="3015186" y="14525"/>
                </a:lnTo>
                <a:lnTo>
                  <a:pt x="2999440" y="3899"/>
                </a:lnTo>
                <a:lnTo>
                  <a:pt x="2980181" y="0"/>
                </a:lnTo>
                <a:close/>
              </a:path>
            </a:pathLst>
          </a:custGeom>
          <a:solidFill>
            <a:srgbClr val="006FAC"/>
          </a:solidFill>
        </p:spPr>
        <p:txBody>
          <a:bodyPr wrap="square" lIns="0" tIns="0" rIns="0" bIns="0" rtlCol="0"/>
          <a:lstStyle/>
          <a:p>
            <a:endParaRPr/>
          </a:p>
        </p:txBody>
      </p:sp>
      <p:sp>
        <p:nvSpPr>
          <p:cNvPr id="4" name="object 4"/>
          <p:cNvSpPr/>
          <p:nvPr/>
        </p:nvSpPr>
        <p:spPr>
          <a:xfrm>
            <a:off x="229591" y="1656586"/>
            <a:ext cx="420370" cy="407034"/>
          </a:xfrm>
          <a:custGeom>
            <a:avLst/>
            <a:gdLst/>
            <a:ahLst/>
            <a:cxnLst/>
            <a:rect l="l" t="t" r="r" b="b"/>
            <a:pathLst>
              <a:path w="420370" h="407035">
                <a:moveTo>
                  <a:pt x="221105" y="0"/>
                </a:moveTo>
                <a:lnTo>
                  <a:pt x="174584" y="3335"/>
                </a:lnTo>
                <a:lnTo>
                  <a:pt x="129207" y="16838"/>
                </a:lnTo>
                <a:lnTo>
                  <a:pt x="86765" y="40768"/>
                </a:lnTo>
                <a:lnTo>
                  <a:pt x="50814" y="73375"/>
                </a:lnTo>
                <a:lnTo>
                  <a:pt x="24187" y="111794"/>
                </a:lnTo>
                <a:lnTo>
                  <a:pt x="7158" y="154278"/>
                </a:lnTo>
                <a:lnTo>
                  <a:pt x="0" y="199081"/>
                </a:lnTo>
                <a:lnTo>
                  <a:pt x="2986" y="244458"/>
                </a:lnTo>
                <a:lnTo>
                  <a:pt x="16390" y="288662"/>
                </a:lnTo>
                <a:lnTo>
                  <a:pt x="40486" y="329947"/>
                </a:lnTo>
                <a:lnTo>
                  <a:pt x="73318" y="364270"/>
                </a:lnTo>
                <a:lnTo>
                  <a:pt x="111449" y="388418"/>
                </a:lnTo>
                <a:lnTo>
                  <a:pt x="153369" y="402542"/>
                </a:lnTo>
                <a:lnTo>
                  <a:pt x="197572" y="406794"/>
                </a:lnTo>
                <a:lnTo>
                  <a:pt x="242548" y="401324"/>
                </a:lnTo>
                <a:lnTo>
                  <a:pt x="286790" y="386284"/>
                </a:lnTo>
                <a:lnTo>
                  <a:pt x="328789" y="361824"/>
                </a:lnTo>
                <a:lnTo>
                  <a:pt x="365164" y="329727"/>
                </a:lnTo>
                <a:lnTo>
                  <a:pt x="392885" y="292799"/>
                </a:lnTo>
                <a:lnTo>
                  <a:pt x="411411" y="252396"/>
                </a:lnTo>
                <a:lnTo>
                  <a:pt x="420199" y="209875"/>
                </a:lnTo>
                <a:lnTo>
                  <a:pt x="418708" y="166595"/>
                </a:lnTo>
                <a:lnTo>
                  <a:pt x="406398" y="123913"/>
                </a:lnTo>
                <a:lnTo>
                  <a:pt x="382726" y="83186"/>
                </a:lnTo>
                <a:lnTo>
                  <a:pt x="349578" y="48425"/>
                </a:lnTo>
                <a:lnTo>
                  <a:pt x="310395" y="22802"/>
                </a:lnTo>
                <a:lnTo>
                  <a:pt x="266973" y="6575"/>
                </a:lnTo>
                <a:lnTo>
                  <a:pt x="221105" y="0"/>
                </a:lnTo>
                <a:close/>
              </a:path>
            </a:pathLst>
          </a:custGeom>
          <a:solidFill>
            <a:srgbClr val="006FAC"/>
          </a:solidFill>
        </p:spPr>
        <p:txBody>
          <a:bodyPr wrap="square" lIns="0" tIns="0" rIns="0" bIns="0" rtlCol="0"/>
          <a:lstStyle/>
          <a:p>
            <a:endParaRPr/>
          </a:p>
        </p:txBody>
      </p:sp>
      <p:sp>
        <p:nvSpPr>
          <p:cNvPr id="5" name="object 5"/>
          <p:cNvSpPr/>
          <p:nvPr/>
        </p:nvSpPr>
        <p:spPr>
          <a:xfrm>
            <a:off x="229591" y="1656586"/>
            <a:ext cx="420370" cy="407034"/>
          </a:xfrm>
          <a:custGeom>
            <a:avLst/>
            <a:gdLst/>
            <a:ahLst/>
            <a:cxnLst/>
            <a:rect l="l" t="t" r="r" b="b"/>
            <a:pathLst>
              <a:path w="420370" h="407035">
                <a:moveTo>
                  <a:pt x="40486" y="329947"/>
                </a:moveTo>
                <a:lnTo>
                  <a:pt x="16390" y="288662"/>
                </a:lnTo>
                <a:lnTo>
                  <a:pt x="2986" y="244458"/>
                </a:lnTo>
                <a:lnTo>
                  <a:pt x="0" y="199081"/>
                </a:lnTo>
                <a:lnTo>
                  <a:pt x="7158" y="154278"/>
                </a:lnTo>
                <a:lnTo>
                  <a:pt x="24187" y="111794"/>
                </a:lnTo>
                <a:lnTo>
                  <a:pt x="50814" y="73375"/>
                </a:lnTo>
                <a:lnTo>
                  <a:pt x="86765" y="40768"/>
                </a:lnTo>
                <a:lnTo>
                  <a:pt x="129207" y="16838"/>
                </a:lnTo>
                <a:lnTo>
                  <a:pt x="174584" y="3335"/>
                </a:lnTo>
                <a:lnTo>
                  <a:pt x="221105" y="0"/>
                </a:lnTo>
                <a:lnTo>
                  <a:pt x="266973" y="6575"/>
                </a:lnTo>
                <a:lnTo>
                  <a:pt x="310395" y="22802"/>
                </a:lnTo>
                <a:lnTo>
                  <a:pt x="349578" y="48425"/>
                </a:lnTo>
                <a:lnTo>
                  <a:pt x="382726" y="83186"/>
                </a:lnTo>
                <a:lnTo>
                  <a:pt x="406398" y="123913"/>
                </a:lnTo>
                <a:lnTo>
                  <a:pt x="418708" y="166595"/>
                </a:lnTo>
                <a:lnTo>
                  <a:pt x="420199" y="209875"/>
                </a:lnTo>
                <a:lnTo>
                  <a:pt x="411411" y="252396"/>
                </a:lnTo>
                <a:lnTo>
                  <a:pt x="392885" y="292799"/>
                </a:lnTo>
                <a:lnTo>
                  <a:pt x="365164" y="329727"/>
                </a:lnTo>
                <a:lnTo>
                  <a:pt x="328789" y="361824"/>
                </a:lnTo>
                <a:lnTo>
                  <a:pt x="286790" y="386284"/>
                </a:lnTo>
                <a:lnTo>
                  <a:pt x="242548" y="401324"/>
                </a:lnTo>
                <a:lnTo>
                  <a:pt x="197572" y="406794"/>
                </a:lnTo>
                <a:lnTo>
                  <a:pt x="153369" y="402542"/>
                </a:lnTo>
                <a:lnTo>
                  <a:pt x="111449" y="388418"/>
                </a:lnTo>
                <a:lnTo>
                  <a:pt x="73318" y="364270"/>
                </a:lnTo>
                <a:lnTo>
                  <a:pt x="40486" y="329947"/>
                </a:lnTo>
              </a:path>
            </a:pathLst>
          </a:custGeom>
          <a:ln w="9144">
            <a:solidFill>
              <a:srgbClr val="FFFFFF"/>
            </a:solidFill>
          </a:ln>
        </p:spPr>
        <p:txBody>
          <a:bodyPr wrap="square" lIns="0" tIns="0" rIns="0" bIns="0" rtlCol="0"/>
          <a:lstStyle/>
          <a:p>
            <a:endParaRPr/>
          </a:p>
        </p:txBody>
      </p:sp>
      <p:sp>
        <p:nvSpPr>
          <p:cNvPr id="6" name="object 6"/>
          <p:cNvSpPr/>
          <p:nvPr/>
        </p:nvSpPr>
        <p:spPr>
          <a:xfrm>
            <a:off x="353568" y="1741439"/>
            <a:ext cx="172745" cy="213598"/>
          </a:xfrm>
          <a:prstGeom prst="rect">
            <a:avLst/>
          </a:prstGeom>
          <a:blipFill>
            <a:blip r:embed="rId2" cstate="print"/>
            <a:stretch>
              <a:fillRect/>
            </a:stretch>
          </a:blipFill>
        </p:spPr>
        <p:txBody>
          <a:bodyPr wrap="square" lIns="0" tIns="0" rIns="0" bIns="0" rtlCol="0"/>
          <a:lstStyle/>
          <a:p>
            <a:endParaRPr/>
          </a:p>
        </p:txBody>
      </p:sp>
      <p:sp>
        <p:nvSpPr>
          <p:cNvPr id="7" name="object 7"/>
          <p:cNvSpPr txBox="1"/>
          <p:nvPr/>
        </p:nvSpPr>
        <p:spPr>
          <a:xfrm>
            <a:off x="214375" y="2089150"/>
            <a:ext cx="3318510" cy="2845435"/>
          </a:xfrm>
          <a:prstGeom prst="rect">
            <a:avLst/>
          </a:prstGeom>
        </p:spPr>
        <p:txBody>
          <a:bodyPr vert="horz" wrap="square" lIns="0" tIns="12700" rIns="0" bIns="0" rtlCol="0">
            <a:spAutoFit/>
          </a:bodyPr>
          <a:lstStyle/>
          <a:p>
            <a:pPr marL="182880" marR="57150" indent="-170815">
              <a:lnSpc>
                <a:spcPct val="100000"/>
              </a:lnSpc>
              <a:spcBef>
                <a:spcPts val="100"/>
              </a:spcBef>
              <a:buClr>
                <a:srgbClr val="006FAC"/>
              </a:buClr>
              <a:buFont typeface="Wingdings"/>
              <a:buChar char=""/>
              <a:tabLst>
                <a:tab pos="183515" algn="l"/>
              </a:tabLst>
            </a:pPr>
            <a:r>
              <a:rPr sz="1200" spc="-5">
                <a:latin typeface="Verdana"/>
                <a:cs typeface="Verdana"/>
              </a:rPr>
              <a:t>Wolters Kluwer was looking </a:t>
            </a:r>
            <a:r>
              <a:rPr sz="1200">
                <a:latin typeface="Verdana"/>
                <a:cs typeface="Verdana"/>
              </a:rPr>
              <a:t>for an  </a:t>
            </a:r>
            <a:r>
              <a:rPr sz="1200" spc="-10">
                <a:latin typeface="Verdana"/>
                <a:cs typeface="Verdana"/>
              </a:rPr>
              <a:t>unified </a:t>
            </a:r>
            <a:r>
              <a:rPr sz="1200" spc="-5">
                <a:latin typeface="Verdana"/>
                <a:cs typeface="Verdana"/>
              </a:rPr>
              <a:t>deployment approach to support  their </a:t>
            </a:r>
            <a:r>
              <a:rPr sz="1200" spc="-10">
                <a:latin typeface="Verdana"/>
                <a:cs typeface="Verdana"/>
              </a:rPr>
              <a:t>digital </a:t>
            </a:r>
            <a:r>
              <a:rPr sz="1200" spc="-5">
                <a:latin typeface="Verdana"/>
                <a:cs typeface="Verdana"/>
              </a:rPr>
              <a:t>transformation </a:t>
            </a:r>
            <a:r>
              <a:rPr sz="1200">
                <a:latin typeface="Verdana"/>
                <a:cs typeface="Verdana"/>
              </a:rPr>
              <a:t>across a  </a:t>
            </a:r>
            <a:r>
              <a:rPr sz="1200" spc="-5">
                <a:latin typeface="Verdana"/>
                <a:cs typeface="Verdana"/>
              </a:rPr>
              <a:t>number </a:t>
            </a:r>
            <a:r>
              <a:rPr sz="1200">
                <a:latin typeface="Verdana"/>
                <a:cs typeface="Verdana"/>
              </a:rPr>
              <a:t>of </a:t>
            </a:r>
            <a:r>
              <a:rPr sz="1200" spc="-5">
                <a:latin typeface="Verdana"/>
                <a:cs typeface="Verdana"/>
              </a:rPr>
              <a:t>markets and business</a:t>
            </a:r>
            <a:r>
              <a:rPr sz="1200" spc="40">
                <a:latin typeface="Verdana"/>
                <a:cs typeface="Verdana"/>
              </a:rPr>
              <a:t> </a:t>
            </a:r>
            <a:r>
              <a:rPr sz="1200" spc="-10">
                <a:latin typeface="Verdana"/>
                <a:cs typeface="Verdana"/>
              </a:rPr>
              <a:t>units</a:t>
            </a:r>
            <a:endParaRPr sz="1200">
              <a:latin typeface="Verdana"/>
              <a:cs typeface="Verdana"/>
            </a:endParaRPr>
          </a:p>
          <a:p>
            <a:pPr marL="182880" marR="5080" indent="-170815">
              <a:lnSpc>
                <a:spcPct val="100000"/>
              </a:lnSpc>
              <a:spcBef>
                <a:spcPts val="300"/>
              </a:spcBef>
              <a:buClr>
                <a:srgbClr val="006FAC"/>
              </a:buClr>
              <a:buFont typeface="Wingdings"/>
              <a:buChar char=""/>
              <a:tabLst>
                <a:tab pos="183515" algn="l"/>
              </a:tabLst>
            </a:pPr>
            <a:r>
              <a:rPr sz="1200" spc="-5">
                <a:latin typeface="Verdana"/>
                <a:cs typeface="Verdana"/>
              </a:rPr>
              <a:t>They need </a:t>
            </a:r>
            <a:r>
              <a:rPr sz="1200">
                <a:latin typeface="Verdana"/>
                <a:cs typeface="Verdana"/>
              </a:rPr>
              <a:t>a </a:t>
            </a:r>
            <a:r>
              <a:rPr sz="1200" spc="-10">
                <a:latin typeface="Verdana"/>
                <a:cs typeface="Verdana"/>
              </a:rPr>
              <a:t>unified </a:t>
            </a:r>
            <a:r>
              <a:rPr sz="1200" spc="-5">
                <a:latin typeface="Verdana"/>
                <a:cs typeface="Verdana"/>
              </a:rPr>
              <a:t>platform due to the  increased competition within Accounting  Software, and </a:t>
            </a:r>
            <a:r>
              <a:rPr sz="1200">
                <a:latin typeface="Verdana"/>
                <a:cs typeface="Verdana"/>
              </a:rPr>
              <a:t>a </a:t>
            </a:r>
            <a:r>
              <a:rPr sz="1200" spc="-5">
                <a:latin typeface="Verdana"/>
                <a:cs typeface="Verdana"/>
              </a:rPr>
              <a:t>Business </a:t>
            </a:r>
            <a:r>
              <a:rPr sz="1200">
                <a:latin typeface="Verdana"/>
                <a:cs typeface="Verdana"/>
              </a:rPr>
              <a:t>process  </a:t>
            </a:r>
            <a:r>
              <a:rPr sz="1200" spc="-5">
                <a:latin typeface="Verdana"/>
                <a:cs typeface="Verdana"/>
              </a:rPr>
              <a:t>harmonization issues </a:t>
            </a:r>
            <a:r>
              <a:rPr sz="1200">
                <a:latin typeface="Verdana"/>
                <a:cs typeface="Verdana"/>
              </a:rPr>
              <a:t>on </a:t>
            </a:r>
            <a:r>
              <a:rPr sz="1200" spc="-5">
                <a:latin typeface="Verdana"/>
                <a:cs typeface="Verdana"/>
              </a:rPr>
              <a:t>Service and  Sales </a:t>
            </a:r>
            <a:r>
              <a:rPr sz="1200">
                <a:latin typeface="Verdana"/>
                <a:cs typeface="Verdana"/>
              </a:rPr>
              <a:t>processes. </a:t>
            </a:r>
            <a:r>
              <a:rPr sz="1200" spc="-5">
                <a:latin typeface="Verdana"/>
                <a:cs typeface="Verdana"/>
              </a:rPr>
              <a:t>They have </a:t>
            </a:r>
            <a:r>
              <a:rPr sz="1200">
                <a:latin typeface="Verdana"/>
                <a:cs typeface="Verdana"/>
              </a:rPr>
              <a:t>a </a:t>
            </a:r>
            <a:r>
              <a:rPr sz="1200" spc="-5">
                <a:latin typeface="Verdana"/>
                <a:cs typeface="Verdana"/>
              </a:rPr>
              <a:t>poor CSAT  </a:t>
            </a:r>
            <a:r>
              <a:rPr sz="1200">
                <a:latin typeface="Verdana"/>
                <a:cs typeface="Verdana"/>
              </a:rPr>
              <a:t>scores, </a:t>
            </a:r>
            <a:r>
              <a:rPr sz="1200" spc="-5">
                <a:latin typeface="Verdana"/>
                <a:cs typeface="Verdana"/>
              </a:rPr>
              <a:t>manual workarounds </a:t>
            </a:r>
            <a:r>
              <a:rPr sz="1200">
                <a:latin typeface="Verdana"/>
                <a:cs typeface="Verdana"/>
              </a:rPr>
              <a:t>as </a:t>
            </a:r>
            <a:r>
              <a:rPr sz="1200" spc="-5">
                <a:latin typeface="Verdana"/>
                <a:cs typeface="Verdana"/>
              </a:rPr>
              <a:t>current  </a:t>
            </a:r>
            <a:r>
              <a:rPr sz="1200">
                <a:latin typeface="Verdana"/>
                <a:cs typeface="Verdana"/>
              </a:rPr>
              <a:t>CRM </a:t>
            </a:r>
            <a:r>
              <a:rPr sz="1200" spc="-5">
                <a:latin typeface="Verdana"/>
                <a:cs typeface="Verdana"/>
              </a:rPr>
              <a:t>can’t be</a:t>
            </a:r>
            <a:r>
              <a:rPr sz="1200" spc="15">
                <a:latin typeface="Verdana"/>
                <a:cs typeface="Verdana"/>
              </a:rPr>
              <a:t> </a:t>
            </a:r>
            <a:r>
              <a:rPr sz="1200" spc="-5">
                <a:latin typeface="Verdana"/>
                <a:cs typeface="Verdana"/>
              </a:rPr>
              <a:t>upgraded</a:t>
            </a:r>
            <a:endParaRPr sz="1200">
              <a:latin typeface="Verdana"/>
              <a:cs typeface="Verdana"/>
            </a:endParaRPr>
          </a:p>
          <a:p>
            <a:pPr marL="182880" marR="160020" indent="-170815">
              <a:lnSpc>
                <a:spcPct val="100000"/>
              </a:lnSpc>
              <a:spcBef>
                <a:spcPts val="300"/>
              </a:spcBef>
              <a:buClr>
                <a:srgbClr val="006FAC"/>
              </a:buClr>
              <a:buFont typeface="Wingdings"/>
              <a:buChar char=""/>
              <a:tabLst>
                <a:tab pos="183515" algn="l"/>
              </a:tabLst>
            </a:pPr>
            <a:r>
              <a:rPr sz="1200" spc="-5">
                <a:latin typeface="Verdana"/>
                <a:cs typeface="Verdana"/>
              </a:rPr>
              <a:t>Faster time-to-market needed </a:t>
            </a:r>
            <a:r>
              <a:rPr sz="1200">
                <a:latin typeface="Verdana"/>
                <a:cs typeface="Verdana"/>
              </a:rPr>
              <a:t>as  </a:t>
            </a:r>
            <a:r>
              <a:rPr sz="1200" spc="-5">
                <a:latin typeface="Verdana"/>
                <a:cs typeface="Verdana"/>
              </a:rPr>
              <a:t>customer experience is affected and  found that </a:t>
            </a:r>
            <a:r>
              <a:rPr sz="1200">
                <a:latin typeface="Verdana"/>
                <a:cs typeface="Verdana"/>
              </a:rPr>
              <a:t>can </a:t>
            </a:r>
            <a:r>
              <a:rPr sz="1200" spc="-5">
                <a:latin typeface="Verdana"/>
                <a:cs typeface="Verdana"/>
              </a:rPr>
              <a:t>help them to manage </a:t>
            </a:r>
            <a:r>
              <a:rPr sz="1200">
                <a:latin typeface="Verdana"/>
                <a:cs typeface="Verdana"/>
              </a:rPr>
              <a:t>a  </a:t>
            </a:r>
            <a:r>
              <a:rPr sz="1200" spc="-10">
                <a:latin typeface="Verdana"/>
                <a:cs typeface="Verdana"/>
              </a:rPr>
              <a:t>Multi </a:t>
            </a:r>
            <a:r>
              <a:rPr sz="1200" spc="-5">
                <a:latin typeface="Verdana"/>
                <a:cs typeface="Verdana"/>
              </a:rPr>
              <a:t>Cloud and </a:t>
            </a:r>
            <a:r>
              <a:rPr sz="1200" spc="-10">
                <a:latin typeface="Verdana"/>
                <a:cs typeface="Verdana"/>
              </a:rPr>
              <a:t>Multi </a:t>
            </a:r>
            <a:r>
              <a:rPr sz="1200" spc="-5">
                <a:latin typeface="Verdana"/>
                <a:cs typeface="Verdana"/>
              </a:rPr>
              <a:t>Country</a:t>
            </a:r>
            <a:r>
              <a:rPr sz="1200" spc="80">
                <a:latin typeface="Verdana"/>
                <a:cs typeface="Verdana"/>
              </a:rPr>
              <a:t> </a:t>
            </a:r>
            <a:r>
              <a:rPr sz="1200" spc="-5">
                <a:latin typeface="Verdana"/>
                <a:cs typeface="Verdana"/>
              </a:rPr>
              <a:t>project</a:t>
            </a:r>
            <a:endParaRPr sz="1200">
              <a:latin typeface="Verdana"/>
              <a:cs typeface="Verdana"/>
            </a:endParaRPr>
          </a:p>
        </p:txBody>
      </p:sp>
      <p:sp>
        <p:nvSpPr>
          <p:cNvPr id="8" name="object 8"/>
          <p:cNvSpPr txBox="1"/>
          <p:nvPr/>
        </p:nvSpPr>
        <p:spPr>
          <a:xfrm>
            <a:off x="3807967" y="2089150"/>
            <a:ext cx="4217670" cy="3173095"/>
          </a:xfrm>
          <a:prstGeom prst="rect">
            <a:avLst/>
          </a:prstGeom>
        </p:spPr>
        <p:txBody>
          <a:bodyPr vert="horz" wrap="square" lIns="0" tIns="12700" rIns="0" bIns="0" rtlCol="0">
            <a:spAutoFit/>
          </a:bodyPr>
          <a:lstStyle/>
          <a:p>
            <a:pPr marL="182880" marR="20955" indent="-170815">
              <a:lnSpc>
                <a:spcPct val="100000"/>
              </a:lnSpc>
              <a:spcBef>
                <a:spcPts val="100"/>
              </a:spcBef>
              <a:buClr>
                <a:srgbClr val="006FAC"/>
              </a:buClr>
              <a:buFont typeface="Wingdings"/>
              <a:buChar char=""/>
              <a:tabLst>
                <a:tab pos="183515" algn="l"/>
              </a:tabLst>
            </a:pPr>
            <a:r>
              <a:rPr sz="1200" spc="-65">
                <a:latin typeface="Verdana"/>
                <a:cs typeface="Verdana"/>
              </a:rPr>
              <a:t>To </a:t>
            </a:r>
            <a:r>
              <a:rPr sz="1200" spc="-5">
                <a:latin typeface="Verdana"/>
                <a:cs typeface="Verdana"/>
              </a:rPr>
              <a:t>answer this need Capgemini created </a:t>
            </a:r>
            <a:r>
              <a:rPr sz="1200">
                <a:latin typeface="Verdana"/>
                <a:cs typeface="Verdana"/>
              </a:rPr>
              <a:t>a </a:t>
            </a:r>
            <a:r>
              <a:rPr sz="1200" spc="-5">
                <a:latin typeface="Verdana"/>
                <a:cs typeface="Verdana"/>
              </a:rPr>
              <a:t>Salesforce  Success CoE. This is </a:t>
            </a:r>
            <a:r>
              <a:rPr sz="1200">
                <a:latin typeface="Verdana"/>
                <a:cs typeface="Verdana"/>
              </a:rPr>
              <a:t>a </a:t>
            </a:r>
            <a:r>
              <a:rPr sz="1200" spc="-5">
                <a:latin typeface="Verdana"/>
                <a:cs typeface="Verdana"/>
              </a:rPr>
              <a:t>unique approach that  combines business </a:t>
            </a:r>
            <a:r>
              <a:rPr sz="1200">
                <a:latin typeface="Verdana"/>
                <a:cs typeface="Verdana"/>
              </a:rPr>
              <a:t>process </a:t>
            </a:r>
            <a:r>
              <a:rPr sz="1200" spc="-5">
                <a:latin typeface="Verdana"/>
                <a:cs typeface="Verdana"/>
              </a:rPr>
              <a:t>harmonization (BPH)  and agile methodologies to expedite the successful  deployment </a:t>
            </a:r>
            <a:r>
              <a:rPr sz="1200">
                <a:latin typeface="Verdana"/>
                <a:cs typeface="Verdana"/>
              </a:rPr>
              <a:t>of </a:t>
            </a:r>
            <a:r>
              <a:rPr sz="1200" spc="-5">
                <a:latin typeface="Verdana"/>
                <a:cs typeface="Verdana"/>
              </a:rPr>
              <a:t>Salesforce technologies </a:t>
            </a:r>
            <a:r>
              <a:rPr sz="1200">
                <a:latin typeface="Verdana"/>
                <a:cs typeface="Verdana"/>
              </a:rPr>
              <a:t>across </a:t>
            </a:r>
            <a:r>
              <a:rPr sz="1200" spc="-5">
                <a:latin typeface="Verdana"/>
                <a:cs typeface="Verdana"/>
              </a:rPr>
              <a:t>the  enterprise. The approach is executed through </a:t>
            </a:r>
            <a:r>
              <a:rPr sz="1200">
                <a:latin typeface="Verdana"/>
                <a:cs typeface="Verdana"/>
              </a:rPr>
              <a:t>a  </a:t>
            </a:r>
            <a:r>
              <a:rPr sz="1200" spc="-5">
                <a:latin typeface="Verdana"/>
                <a:cs typeface="Verdana"/>
              </a:rPr>
              <a:t>centralized Salesforce CoE consisting </a:t>
            </a:r>
            <a:r>
              <a:rPr sz="1200">
                <a:latin typeface="Verdana"/>
                <a:cs typeface="Verdana"/>
              </a:rPr>
              <a:t>of </a:t>
            </a:r>
            <a:r>
              <a:rPr sz="1200" spc="-5">
                <a:latin typeface="Verdana"/>
                <a:cs typeface="Verdana"/>
              </a:rPr>
              <a:t>experts  </a:t>
            </a:r>
            <a:r>
              <a:rPr sz="1200">
                <a:latin typeface="Verdana"/>
                <a:cs typeface="Verdana"/>
              </a:rPr>
              <a:t>from </a:t>
            </a:r>
            <a:r>
              <a:rPr sz="1200" spc="-5">
                <a:latin typeface="Verdana"/>
                <a:cs typeface="Verdana"/>
              </a:rPr>
              <a:t>both client and Capgemini side. The CoE team  oversees the </a:t>
            </a:r>
            <a:r>
              <a:rPr sz="1200" spc="-10">
                <a:latin typeface="Verdana"/>
                <a:cs typeface="Verdana"/>
              </a:rPr>
              <a:t>complete </a:t>
            </a:r>
            <a:r>
              <a:rPr sz="1200" spc="-5">
                <a:latin typeface="Verdana"/>
                <a:cs typeface="Verdana"/>
              </a:rPr>
              <a:t>EU Salesforce landscape and  drives </a:t>
            </a:r>
            <a:r>
              <a:rPr sz="1200" spc="-10">
                <a:latin typeface="Verdana"/>
                <a:cs typeface="Verdana"/>
              </a:rPr>
              <a:t>innovations </a:t>
            </a:r>
            <a:r>
              <a:rPr sz="1200" spc="-5">
                <a:latin typeface="Verdana"/>
                <a:cs typeface="Verdana"/>
              </a:rPr>
              <a:t>based </a:t>
            </a:r>
            <a:r>
              <a:rPr sz="1200">
                <a:latin typeface="Verdana"/>
                <a:cs typeface="Verdana"/>
              </a:rPr>
              <a:t>on </a:t>
            </a:r>
            <a:r>
              <a:rPr sz="1200" spc="-5">
                <a:latin typeface="Verdana"/>
                <a:cs typeface="Verdana"/>
              </a:rPr>
              <a:t>Sales Cloud, Service  Cloud, FSL, </a:t>
            </a:r>
            <a:r>
              <a:rPr sz="1200" spc="-10">
                <a:latin typeface="Verdana"/>
                <a:cs typeface="Verdana"/>
              </a:rPr>
              <a:t>Communities </a:t>
            </a:r>
            <a:r>
              <a:rPr sz="1200" spc="-5">
                <a:latin typeface="Verdana"/>
                <a:cs typeface="Verdana"/>
              </a:rPr>
              <a:t>and</a:t>
            </a:r>
            <a:r>
              <a:rPr sz="1200" spc="30">
                <a:latin typeface="Verdana"/>
                <a:cs typeface="Verdana"/>
              </a:rPr>
              <a:t> </a:t>
            </a:r>
            <a:r>
              <a:rPr sz="1200" spc="-5">
                <a:latin typeface="Verdana"/>
                <a:cs typeface="Verdana"/>
              </a:rPr>
              <a:t>Knowledge</a:t>
            </a:r>
            <a:endParaRPr sz="1200">
              <a:latin typeface="Verdana"/>
              <a:cs typeface="Verdana"/>
            </a:endParaRPr>
          </a:p>
          <a:p>
            <a:pPr marL="182880" marR="5080" indent="-170815">
              <a:lnSpc>
                <a:spcPct val="100000"/>
              </a:lnSpc>
              <a:spcBef>
                <a:spcPts val="300"/>
              </a:spcBef>
              <a:buClr>
                <a:srgbClr val="006FAC"/>
              </a:buClr>
              <a:buFont typeface="Wingdings"/>
              <a:buChar char=""/>
              <a:tabLst>
                <a:tab pos="183515" algn="l"/>
              </a:tabLst>
            </a:pPr>
            <a:r>
              <a:rPr sz="1200" spc="-5">
                <a:latin typeface="Verdana"/>
                <a:cs typeface="Verdana"/>
              </a:rPr>
              <a:t>The </a:t>
            </a:r>
            <a:r>
              <a:rPr sz="1200" spc="-10">
                <a:latin typeface="Verdana"/>
                <a:cs typeface="Verdana"/>
              </a:rPr>
              <a:t>Agile </a:t>
            </a:r>
            <a:r>
              <a:rPr sz="1200">
                <a:latin typeface="Verdana"/>
                <a:cs typeface="Verdana"/>
              </a:rPr>
              <a:t>/ </a:t>
            </a:r>
            <a:r>
              <a:rPr sz="1200" spc="-5">
                <a:latin typeface="Verdana"/>
                <a:cs typeface="Verdana"/>
              </a:rPr>
              <a:t>Scrum Capgemini methodology is used  </a:t>
            </a:r>
            <a:r>
              <a:rPr sz="1200">
                <a:latin typeface="Verdana"/>
                <a:cs typeface="Verdana"/>
              </a:rPr>
              <a:t>for </a:t>
            </a:r>
            <a:r>
              <a:rPr sz="1200" spc="-5">
                <a:latin typeface="Verdana"/>
                <a:cs typeface="Verdana"/>
              </a:rPr>
              <a:t>all new projects and the Capgemini Support  Model is used </a:t>
            </a:r>
            <a:r>
              <a:rPr sz="1200">
                <a:latin typeface="Verdana"/>
                <a:cs typeface="Verdana"/>
              </a:rPr>
              <a:t>for </a:t>
            </a:r>
            <a:r>
              <a:rPr sz="1200" spc="-5">
                <a:latin typeface="Verdana"/>
                <a:cs typeface="Verdana"/>
              </a:rPr>
              <a:t>all released projects in </a:t>
            </a:r>
            <a:r>
              <a:rPr sz="1200">
                <a:latin typeface="Verdana"/>
                <a:cs typeface="Verdana"/>
              </a:rPr>
              <a:t>order </a:t>
            </a:r>
            <a:r>
              <a:rPr sz="1200" spc="-5">
                <a:latin typeface="Verdana"/>
                <a:cs typeface="Verdana"/>
              </a:rPr>
              <a:t>to  streamline all different projects with different  Salesforce Products and </a:t>
            </a:r>
            <a:r>
              <a:rPr sz="1200">
                <a:latin typeface="Verdana"/>
                <a:cs typeface="Verdana"/>
              </a:rPr>
              <a:t>/ or </a:t>
            </a:r>
            <a:r>
              <a:rPr sz="1200" spc="-5">
                <a:latin typeface="Verdana"/>
                <a:cs typeface="Verdana"/>
              </a:rPr>
              <a:t>different </a:t>
            </a:r>
            <a:r>
              <a:rPr sz="1200">
                <a:latin typeface="Verdana"/>
                <a:cs typeface="Verdana"/>
              </a:rPr>
              <a:t>WK </a:t>
            </a:r>
            <a:r>
              <a:rPr sz="1200" spc="-10">
                <a:latin typeface="Verdana"/>
                <a:cs typeface="Verdana"/>
              </a:rPr>
              <a:t>divisions </a:t>
            </a:r>
            <a:r>
              <a:rPr sz="1200">
                <a:latin typeface="Verdana"/>
                <a:cs typeface="Verdana"/>
              </a:rPr>
              <a:t>/  </a:t>
            </a:r>
            <a:r>
              <a:rPr sz="1200" spc="-5">
                <a:latin typeface="Verdana"/>
                <a:cs typeface="Verdana"/>
              </a:rPr>
              <a:t>departments</a:t>
            </a:r>
            <a:endParaRPr sz="1200">
              <a:latin typeface="Verdana"/>
              <a:cs typeface="Verdana"/>
            </a:endParaRPr>
          </a:p>
        </p:txBody>
      </p:sp>
      <p:sp>
        <p:nvSpPr>
          <p:cNvPr id="9" name="object 9"/>
          <p:cNvSpPr txBox="1"/>
          <p:nvPr/>
        </p:nvSpPr>
        <p:spPr>
          <a:xfrm>
            <a:off x="8160511" y="2089150"/>
            <a:ext cx="3651885" cy="3538854"/>
          </a:xfrm>
          <a:prstGeom prst="rect">
            <a:avLst/>
          </a:prstGeom>
        </p:spPr>
        <p:txBody>
          <a:bodyPr vert="horz" wrap="square" lIns="0" tIns="12700" rIns="0" bIns="0" rtlCol="0">
            <a:spAutoFit/>
          </a:bodyPr>
          <a:lstStyle/>
          <a:p>
            <a:pPr marL="182880" marR="90805" indent="-170815">
              <a:lnSpc>
                <a:spcPct val="100000"/>
              </a:lnSpc>
              <a:spcBef>
                <a:spcPts val="100"/>
              </a:spcBef>
              <a:buClr>
                <a:srgbClr val="006FAC"/>
              </a:buClr>
              <a:buFont typeface="Wingdings"/>
              <a:buChar char=""/>
              <a:tabLst>
                <a:tab pos="183515" algn="l"/>
              </a:tabLst>
            </a:pPr>
            <a:r>
              <a:rPr sz="1200" spc="-5">
                <a:latin typeface="Verdana"/>
                <a:cs typeface="Verdana"/>
              </a:rPr>
              <a:t>The approach turned out to be very  successful and resulted in </a:t>
            </a:r>
            <a:r>
              <a:rPr sz="1200">
                <a:latin typeface="Verdana"/>
                <a:cs typeface="Verdana"/>
              </a:rPr>
              <a:t>5 </a:t>
            </a:r>
            <a:r>
              <a:rPr sz="1200" spc="-30">
                <a:latin typeface="Verdana"/>
                <a:cs typeface="Verdana"/>
              </a:rPr>
              <a:t>CSAT </a:t>
            </a:r>
            <a:r>
              <a:rPr sz="1200" spc="-5">
                <a:latin typeface="Verdana"/>
                <a:cs typeface="Verdana"/>
              </a:rPr>
              <a:t>high  </a:t>
            </a:r>
            <a:r>
              <a:rPr sz="1200">
                <a:latin typeface="Verdana"/>
                <a:cs typeface="Verdana"/>
              </a:rPr>
              <a:t>scores </a:t>
            </a:r>
            <a:r>
              <a:rPr sz="1200" spc="-5">
                <a:latin typeface="Verdana"/>
                <a:cs typeface="Verdana"/>
              </a:rPr>
              <a:t>(5/5) in </a:t>
            </a:r>
            <a:r>
              <a:rPr sz="1200">
                <a:latin typeface="Verdana"/>
                <a:cs typeface="Verdana"/>
              </a:rPr>
              <a:t>a row for </a:t>
            </a:r>
            <a:r>
              <a:rPr sz="1200" spc="-5">
                <a:latin typeface="Verdana"/>
                <a:cs typeface="Verdana"/>
              </a:rPr>
              <a:t>all </a:t>
            </a:r>
            <a:r>
              <a:rPr sz="1200">
                <a:latin typeface="Verdana"/>
                <a:cs typeface="Verdana"/>
              </a:rPr>
              <a:t>recent </a:t>
            </a:r>
            <a:r>
              <a:rPr sz="1200" spc="-5">
                <a:latin typeface="Verdana"/>
                <a:cs typeface="Verdana"/>
              </a:rPr>
              <a:t>projects.  Because the CoE oversees all Salesforce  deployments </a:t>
            </a:r>
            <a:r>
              <a:rPr sz="1200">
                <a:latin typeface="Verdana"/>
                <a:cs typeface="Verdana"/>
              </a:rPr>
              <a:t>across </a:t>
            </a:r>
            <a:r>
              <a:rPr sz="1200" spc="-5">
                <a:latin typeface="Verdana"/>
                <a:cs typeface="Verdana"/>
              </a:rPr>
              <a:t>Europe it turned into </a:t>
            </a:r>
            <a:r>
              <a:rPr sz="1200">
                <a:latin typeface="Verdana"/>
                <a:cs typeface="Verdana"/>
              </a:rPr>
              <a:t>a  great </a:t>
            </a:r>
            <a:r>
              <a:rPr sz="1200" spc="-5">
                <a:latin typeface="Verdana"/>
                <a:cs typeface="Verdana"/>
              </a:rPr>
              <a:t>knowledge foundation </a:t>
            </a:r>
            <a:r>
              <a:rPr sz="1200">
                <a:latin typeface="Verdana"/>
                <a:cs typeface="Verdana"/>
              </a:rPr>
              <a:t>for </a:t>
            </a:r>
            <a:r>
              <a:rPr sz="1200" spc="-5">
                <a:latin typeface="Verdana"/>
                <a:cs typeface="Verdana"/>
              </a:rPr>
              <a:t>future  </a:t>
            </a:r>
            <a:r>
              <a:rPr sz="1200" spc="-10">
                <a:latin typeface="Verdana"/>
                <a:cs typeface="Verdana"/>
              </a:rPr>
              <a:t>innovations</a:t>
            </a:r>
            <a:endParaRPr sz="1200">
              <a:latin typeface="Verdana"/>
              <a:cs typeface="Verdana"/>
            </a:endParaRPr>
          </a:p>
          <a:p>
            <a:pPr marL="182880" marR="5080" indent="-170815">
              <a:lnSpc>
                <a:spcPct val="100000"/>
              </a:lnSpc>
              <a:spcBef>
                <a:spcPts val="300"/>
              </a:spcBef>
              <a:buClr>
                <a:srgbClr val="006FAC"/>
              </a:buClr>
              <a:buFont typeface="Wingdings"/>
              <a:buChar char=""/>
              <a:tabLst>
                <a:tab pos="183515" algn="l"/>
              </a:tabLst>
            </a:pPr>
            <a:r>
              <a:rPr sz="1200" spc="-5">
                <a:latin typeface="Verdana"/>
                <a:cs typeface="Verdana"/>
              </a:rPr>
              <a:t>The Capgemini Salesforce Success CoE also  brings harmonization </a:t>
            </a:r>
            <a:r>
              <a:rPr sz="1200">
                <a:latin typeface="Verdana"/>
                <a:cs typeface="Verdana"/>
              </a:rPr>
              <a:t>of </a:t>
            </a:r>
            <a:r>
              <a:rPr sz="1200" spc="-5">
                <a:latin typeface="Verdana"/>
                <a:cs typeface="Verdana"/>
              </a:rPr>
              <a:t>how projects </a:t>
            </a:r>
            <a:r>
              <a:rPr sz="1200">
                <a:latin typeface="Verdana"/>
                <a:cs typeface="Verdana"/>
              </a:rPr>
              <a:t>are  </a:t>
            </a:r>
            <a:r>
              <a:rPr sz="1200" spc="-5">
                <a:latin typeface="Verdana"/>
                <a:cs typeface="Verdana"/>
              </a:rPr>
              <a:t>budgeted, started up and </a:t>
            </a:r>
            <a:r>
              <a:rPr sz="1200">
                <a:latin typeface="Verdana"/>
                <a:cs typeface="Verdana"/>
              </a:rPr>
              <a:t>run </a:t>
            </a:r>
            <a:r>
              <a:rPr sz="1200" spc="-5">
                <a:latin typeface="Verdana"/>
                <a:cs typeface="Verdana"/>
              </a:rPr>
              <a:t>with templates  </a:t>
            </a:r>
            <a:r>
              <a:rPr sz="1200">
                <a:latin typeface="Verdana"/>
                <a:cs typeface="Verdana"/>
              </a:rPr>
              <a:t>for </a:t>
            </a:r>
            <a:r>
              <a:rPr sz="1200" spc="-5">
                <a:latin typeface="Verdana"/>
                <a:cs typeface="Verdana"/>
              </a:rPr>
              <a:t>all project phases with not only bring  efficiency but also speed in all endeavors. </a:t>
            </a:r>
            <a:r>
              <a:rPr sz="1200">
                <a:latin typeface="Verdana"/>
                <a:cs typeface="Verdana"/>
              </a:rPr>
              <a:t>A  </a:t>
            </a:r>
            <a:r>
              <a:rPr sz="1200" spc="-5">
                <a:latin typeface="Verdana"/>
                <a:cs typeface="Verdana"/>
              </a:rPr>
              <a:t>very nice benefit </a:t>
            </a:r>
            <a:r>
              <a:rPr sz="1200">
                <a:latin typeface="Verdana"/>
                <a:cs typeface="Verdana"/>
              </a:rPr>
              <a:t>for </a:t>
            </a:r>
            <a:r>
              <a:rPr sz="1200" spc="-15">
                <a:latin typeface="Verdana"/>
                <a:cs typeface="Verdana"/>
              </a:rPr>
              <a:t>Wolters </a:t>
            </a:r>
            <a:r>
              <a:rPr sz="1200" spc="-5">
                <a:latin typeface="Verdana"/>
                <a:cs typeface="Verdana"/>
              </a:rPr>
              <a:t>Kluwer is all the  documentation that the CoE </a:t>
            </a:r>
            <a:r>
              <a:rPr sz="1200" spc="-10">
                <a:latin typeface="Verdana"/>
                <a:cs typeface="Verdana"/>
              </a:rPr>
              <a:t>leaves </a:t>
            </a:r>
            <a:r>
              <a:rPr sz="1200" spc="-5">
                <a:latin typeface="Verdana"/>
                <a:cs typeface="Verdana"/>
              </a:rPr>
              <a:t>behind  per project for future </a:t>
            </a:r>
            <a:r>
              <a:rPr sz="1200">
                <a:latin typeface="Verdana"/>
                <a:cs typeface="Verdana"/>
              </a:rPr>
              <a:t>reference </a:t>
            </a:r>
            <a:r>
              <a:rPr sz="1200" spc="-5">
                <a:latin typeface="Verdana"/>
                <a:cs typeface="Verdana"/>
              </a:rPr>
              <a:t>and  alignment when </a:t>
            </a:r>
            <a:r>
              <a:rPr sz="1200">
                <a:latin typeface="Verdana"/>
                <a:cs typeface="Verdana"/>
              </a:rPr>
              <a:t>for </a:t>
            </a:r>
            <a:r>
              <a:rPr sz="1200" spc="-5">
                <a:latin typeface="Verdana"/>
                <a:cs typeface="Verdana"/>
              </a:rPr>
              <a:t>example </a:t>
            </a:r>
            <a:r>
              <a:rPr sz="1200">
                <a:latin typeface="Verdana"/>
                <a:cs typeface="Verdana"/>
              </a:rPr>
              <a:t>an Org  </a:t>
            </a:r>
            <a:r>
              <a:rPr sz="1200" spc="-5">
                <a:latin typeface="Verdana"/>
                <a:cs typeface="Verdana"/>
              </a:rPr>
              <a:t>Comparison </a:t>
            </a:r>
            <a:r>
              <a:rPr sz="1200">
                <a:latin typeface="Verdana"/>
                <a:cs typeface="Verdana"/>
              </a:rPr>
              <a:t>or Org </a:t>
            </a:r>
            <a:r>
              <a:rPr sz="1200" spc="-5">
                <a:latin typeface="Verdana"/>
                <a:cs typeface="Verdana"/>
              </a:rPr>
              <a:t>Scan has to be  performed prior to </a:t>
            </a:r>
            <a:r>
              <a:rPr sz="1200">
                <a:latin typeface="Verdana"/>
                <a:cs typeface="Verdana"/>
              </a:rPr>
              <a:t>a </a:t>
            </a:r>
            <a:r>
              <a:rPr sz="1200" spc="-5">
                <a:latin typeface="Verdana"/>
                <a:cs typeface="Verdana"/>
              </a:rPr>
              <a:t>new project in another  geographical</a:t>
            </a:r>
            <a:r>
              <a:rPr sz="1200" spc="10">
                <a:latin typeface="Verdana"/>
                <a:cs typeface="Verdana"/>
              </a:rPr>
              <a:t> </a:t>
            </a:r>
            <a:r>
              <a:rPr sz="1200">
                <a:latin typeface="Verdana"/>
                <a:cs typeface="Verdana"/>
              </a:rPr>
              <a:t>area</a:t>
            </a:r>
          </a:p>
        </p:txBody>
      </p:sp>
      <p:sp>
        <p:nvSpPr>
          <p:cNvPr id="10" name="object 10"/>
          <p:cNvSpPr/>
          <p:nvPr/>
        </p:nvSpPr>
        <p:spPr>
          <a:xfrm>
            <a:off x="0" y="5826252"/>
            <a:ext cx="12192000" cy="365760"/>
          </a:xfrm>
          <a:custGeom>
            <a:avLst/>
            <a:gdLst/>
            <a:ahLst/>
            <a:cxnLst/>
            <a:rect l="l" t="t" r="r" b="b"/>
            <a:pathLst>
              <a:path w="12192000" h="365760">
                <a:moveTo>
                  <a:pt x="0" y="365760"/>
                </a:moveTo>
                <a:lnTo>
                  <a:pt x="12192000" y="365760"/>
                </a:lnTo>
                <a:lnTo>
                  <a:pt x="12192000" y="0"/>
                </a:lnTo>
                <a:lnTo>
                  <a:pt x="0" y="0"/>
                </a:lnTo>
                <a:lnTo>
                  <a:pt x="0" y="365760"/>
                </a:lnTo>
                <a:close/>
              </a:path>
            </a:pathLst>
          </a:custGeom>
          <a:solidFill>
            <a:srgbClr val="CDEFFA"/>
          </a:solidFill>
        </p:spPr>
        <p:txBody>
          <a:bodyPr wrap="square" lIns="0" tIns="0" rIns="0" bIns="0" rtlCol="0"/>
          <a:lstStyle/>
          <a:p>
            <a:endParaRPr/>
          </a:p>
        </p:txBody>
      </p:sp>
      <p:sp>
        <p:nvSpPr>
          <p:cNvPr id="11" name="object 11"/>
          <p:cNvSpPr txBox="1"/>
          <p:nvPr/>
        </p:nvSpPr>
        <p:spPr>
          <a:xfrm>
            <a:off x="261620" y="5881217"/>
            <a:ext cx="11811635" cy="299720"/>
          </a:xfrm>
          <a:prstGeom prst="rect">
            <a:avLst/>
          </a:prstGeom>
        </p:spPr>
        <p:txBody>
          <a:bodyPr vert="horz" wrap="square" lIns="0" tIns="12700" rIns="0" bIns="0" rtlCol="0">
            <a:spAutoFit/>
          </a:bodyPr>
          <a:lstStyle/>
          <a:p>
            <a:pPr marL="12700">
              <a:lnSpc>
                <a:spcPct val="100000"/>
              </a:lnSpc>
              <a:spcBef>
                <a:spcPts val="100"/>
              </a:spcBef>
            </a:pPr>
            <a:r>
              <a:rPr sz="900" b="1" spc="-5">
                <a:latin typeface="Verdana"/>
                <a:cs typeface="Verdana"/>
              </a:rPr>
              <a:t>Market Unit: </a:t>
            </a:r>
            <a:r>
              <a:rPr sz="900" spc="-5">
                <a:latin typeface="Verdana"/>
                <a:cs typeface="Verdana"/>
              </a:rPr>
              <a:t>FSI </a:t>
            </a:r>
            <a:r>
              <a:rPr sz="900" b="1">
                <a:latin typeface="Verdana"/>
                <a:cs typeface="Verdana"/>
              </a:rPr>
              <a:t>| </a:t>
            </a:r>
            <a:r>
              <a:rPr sz="900" b="1" spc="-5">
                <a:latin typeface="Verdana"/>
                <a:cs typeface="Verdana"/>
              </a:rPr>
              <a:t>Technology: </a:t>
            </a:r>
            <a:r>
              <a:rPr sz="900" spc="-5">
                <a:latin typeface="Verdana"/>
                <a:cs typeface="Verdana"/>
              </a:rPr>
              <a:t>Salesforce </a:t>
            </a:r>
            <a:r>
              <a:rPr sz="900">
                <a:latin typeface="Verdana"/>
                <a:cs typeface="Verdana"/>
              </a:rPr>
              <a:t>Sales </a:t>
            </a:r>
            <a:r>
              <a:rPr sz="900" spc="-5">
                <a:latin typeface="Verdana"/>
                <a:cs typeface="Verdana"/>
              </a:rPr>
              <a:t>Cloud, Service Cloud, FSL, CTI Integration, Pardot </a:t>
            </a:r>
            <a:r>
              <a:rPr sz="900">
                <a:latin typeface="Verdana"/>
                <a:cs typeface="Verdana"/>
              </a:rPr>
              <a:t>&amp; </a:t>
            </a:r>
            <a:r>
              <a:rPr sz="900" spc="-5">
                <a:latin typeface="Verdana"/>
                <a:cs typeface="Verdana"/>
              </a:rPr>
              <a:t>Community </a:t>
            </a:r>
            <a:r>
              <a:rPr sz="900">
                <a:latin typeface="Verdana"/>
                <a:cs typeface="Verdana"/>
              </a:rPr>
              <a:t>Cloud</a:t>
            </a:r>
            <a:r>
              <a:rPr sz="900" b="1">
                <a:latin typeface="Verdana"/>
                <a:cs typeface="Verdana"/>
              </a:rPr>
              <a:t>| </a:t>
            </a:r>
            <a:r>
              <a:rPr sz="900" b="1" spc="-5">
                <a:latin typeface="Verdana"/>
                <a:cs typeface="Verdana"/>
              </a:rPr>
              <a:t>Project duration: </a:t>
            </a:r>
            <a:r>
              <a:rPr sz="900" spc="-5">
                <a:latin typeface="Verdana"/>
                <a:cs typeface="Verdana"/>
              </a:rPr>
              <a:t>Oct </a:t>
            </a:r>
            <a:r>
              <a:rPr sz="900">
                <a:latin typeface="Verdana"/>
                <a:cs typeface="Verdana"/>
              </a:rPr>
              <a:t>2015 – </a:t>
            </a:r>
            <a:r>
              <a:rPr sz="900" spc="-5">
                <a:latin typeface="Verdana"/>
                <a:cs typeface="Verdana"/>
              </a:rPr>
              <a:t>Ongoing </a:t>
            </a:r>
            <a:r>
              <a:rPr sz="900" b="1">
                <a:latin typeface="Verdana"/>
                <a:cs typeface="Verdana"/>
              </a:rPr>
              <a:t>| # </a:t>
            </a:r>
            <a:r>
              <a:rPr sz="900" b="1" spc="-5">
                <a:latin typeface="Verdana"/>
                <a:cs typeface="Verdana"/>
              </a:rPr>
              <a:t>TeamMix: </a:t>
            </a:r>
            <a:r>
              <a:rPr sz="900" spc="-5">
                <a:latin typeface="Verdana"/>
                <a:cs typeface="Verdana"/>
              </a:rPr>
              <a:t>EU with Offshore</a:t>
            </a:r>
            <a:r>
              <a:rPr sz="900" spc="50">
                <a:latin typeface="Verdana"/>
                <a:cs typeface="Verdana"/>
              </a:rPr>
              <a:t> </a:t>
            </a:r>
            <a:r>
              <a:rPr sz="900" spc="-5">
                <a:latin typeface="Verdana"/>
                <a:cs typeface="Verdana"/>
              </a:rPr>
              <a:t>(India)</a:t>
            </a:r>
            <a:endParaRPr sz="900">
              <a:latin typeface="Verdana"/>
              <a:cs typeface="Verdana"/>
            </a:endParaRPr>
          </a:p>
          <a:p>
            <a:pPr marL="12700">
              <a:lnSpc>
                <a:spcPct val="100000"/>
              </a:lnSpc>
            </a:pPr>
            <a:r>
              <a:rPr sz="900" b="1">
                <a:latin typeface="Verdana"/>
                <a:cs typeface="Verdana"/>
              </a:rPr>
              <a:t>| </a:t>
            </a:r>
            <a:r>
              <a:rPr sz="900" b="1" spc="-5">
                <a:latin typeface="Verdana"/>
                <a:cs typeface="Verdana"/>
              </a:rPr>
              <a:t>Deal value: </a:t>
            </a:r>
            <a:r>
              <a:rPr sz="900">
                <a:latin typeface="Verdana"/>
                <a:cs typeface="Verdana"/>
              </a:rPr>
              <a:t>€ 4 </a:t>
            </a:r>
            <a:r>
              <a:rPr sz="900" spc="-5">
                <a:latin typeface="Verdana"/>
                <a:cs typeface="Verdana"/>
              </a:rPr>
              <a:t>Mn </a:t>
            </a:r>
            <a:r>
              <a:rPr sz="900" b="1">
                <a:latin typeface="Verdana"/>
                <a:cs typeface="Verdana"/>
              </a:rPr>
              <a:t>| </a:t>
            </a:r>
            <a:r>
              <a:rPr sz="900" b="1" spc="-5">
                <a:latin typeface="Verdana"/>
                <a:cs typeface="Verdana"/>
              </a:rPr>
              <a:t>Country: </a:t>
            </a:r>
            <a:r>
              <a:rPr sz="900" spc="-5">
                <a:latin typeface="Verdana"/>
                <a:cs typeface="Verdana"/>
              </a:rPr>
              <a:t>Italy, Scandinavia, Belgium, </a:t>
            </a:r>
            <a:r>
              <a:rPr sz="900">
                <a:latin typeface="Verdana"/>
                <a:cs typeface="Verdana"/>
              </a:rPr>
              <a:t>UK, </a:t>
            </a:r>
            <a:r>
              <a:rPr sz="900" spc="-5">
                <a:latin typeface="Verdana"/>
                <a:cs typeface="Verdana"/>
              </a:rPr>
              <a:t>Spain, Germany, Poland and</a:t>
            </a:r>
            <a:r>
              <a:rPr sz="900" spc="110">
                <a:latin typeface="Verdana"/>
                <a:cs typeface="Verdana"/>
              </a:rPr>
              <a:t> </a:t>
            </a:r>
            <a:r>
              <a:rPr sz="900" spc="-5">
                <a:latin typeface="Verdana"/>
                <a:cs typeface="Verdana"/>
              </a:rPr>
              <a:t>Nederland</a:t>
            </a:r>
            <a:endParaRPr sz="900">
              <a:latin typeface="Verdana"/>
              <a:cs typeface="Verdana"/>
            </a:endParaRPr>
          </a:p>
        </p:txBody>
      </p:sp>
      <p:sp>
        <p:nvSpPr>
          <p:cNvPr id="12" name="object 12"/>
          <p:cNvSpPr/>
          <p:nvPr/>
        </p:nvSpPr>
        <p:spPr>
          <a:xfrm>
            <a:off x="3748419" y="1656586"/>
            <a:ext cx="419100" cy="407034"/>
          </a:xfrm>
          <a:custGeom>
            <a:avLst/>
            <a:gdLst/>
            <a:ahLst/>
            <a:cxnLst/>
            <a:rect l="l" t="t" r="r" b="b"/>
            <a:pathLst>
              <a:path w="419100" h="407035">
                <a:moveTo>
                  <a:pt x="220410" y="0"/>
                </a:moveTo>
                <a:lnTo>
                  <a:pt x="174041" y="3335"/>
                </a:lnTo>
                <a:lnTo>
                  <a:pt x="128800" y="16838"/>
                </a:lnTo>
                <a:lnTo>
                  <a:pt x="86472" y="40768"/>
                </a:lnTo>
                <a:lnTo>
                  <a:pt x="50641" y="73375"/>
                </a:lnTo>
                <a:lnTo>
                  <a:pt x="24104" y="111794"/>
                </a:lnTo>
                <a:lnTo>
                  <a:pt x="7132" y="154278"/>
                </a:lnTo>
                <a:lnTo>
                  <a:pt x="0" y="199081"/>
                </a:lnTo>
                <a:lnTo>
                  <a:pt x="2980" y="244458"/>
                </a:lnTo>
                <a:lnTo>
                  <a:pt x="16346" y="288662"/>
                </a:lnTo>
                <a:lnTo>
                  <a:pt x="40371" y="329947"/>
                </a:lnTo>
                <a:lnTo>
                  <a:pt x="73073" y="364270"/>
                </a:lnTo>
                <a:lnTo>
                  <a:pt x="111067" y="388418"/>
                </a:lnTo>
                <a:lnTo>
                  <a:pt x="152848" y="402542"/>
                </a:lnTo>
                <a:lnTo>
                  <a:pt x="196914" y="406794"/>
                </a:lnTo>
                <a:lnTo>
                  <a:pt x="241759" y="401324"/>
                </a:lnTo>
                <a:lnTo>
                  <a:pt x="285879" y="386284"/>
                </a:lnTo>
                <a:lnTo>
                  <a:pt x="327772" y="361824"/>
                </a:lnTo>
                <a:lnTo>
                  <a:pt x="364025" y="329727"/>
                </a:lnTo>
                <a:lnTo>
                  <a:pt x="391651" y="292799"/>
                </a:lnTo>
                <a:lnTo>
                  <a:pt x="410111" y="252396"/>
                </a:lnTo>
                <a:lnTo>
                  <a:pt x="418865" y="209875"/>
                </a:lnTo>
                <a:lnTo>
                  <a:pt x="417374" y="166595"/>
                </a:lnTo>
                <a:lnTo>
                  <a:pt x="405096" y="123913"/>
                </a:lnTo>
                <a:lnTo>
                  <a:pt x="381493" y="83186"/>
                </a:lnTo>
                <a:lnTo>
                  <a:pt x="348449" y="48425"/>
                </a:lnTo>
                <a:lnTo>
                  <a:pt x="309398" y="22802"/>
                </a:lnTo>
                <a:lnTo>
                  <a:pt x="266123" y="6575"/>
                </a:lnTo>
                <a:lnTo>
                  <a:pt x="220410" y="0"/>
                </a:lnTo>
                <a:close/>
              </a:path>
            </a:pathLst>
          </a:custGeom>
          <a:solidFill>
            <a:srgbClr val="12ABDB"/>
          </a:solidFill>
        </p:spPr>
        <p:txBody>
          <a:bodyPr wrap="square" lIns="0" tIns="0" rIns="0" bIns="0" rtlCol="0"/>
          <a:lstStyle/>
          <a:p>
            <a:endParaRPr/>
          </a:p>
        </p:txBody>
      </p:sp>
      <p:sp>
        <p:nvSpPr>
          <p:cNvPr id="13" name="object 13"/>
          <p:cNvSpPr/>
          <p:nvPr/>
        </p:nvSpPr>
        <p:spPr>
          <a:xfrm>
            <a:off x="3748419" y="1656586"/>
            <a:ext cx="419100" cy="407034"/>
          </a:xfrm>
          <a:custGeom>
            <a:avLst/>
            <a:gdLst/>
            <a:ahLst/>
            <a:cxnLst/>
            <a:rect l="l" t="t" r="r" b="b"/>
            <a:pathLst>
              <a:path w="419100" h="407035">
                <a:moveTo>
                  <a:pt x="40371" y="329947"/>
                </a:moveTo>
                <a:lnTo>
                  <a:pt x="16346" y="288662"/>
                </a:lnTo>
                <a:lnTo>
                  <a:pt x="2980" y="244458"/>
                </a:lnTo>
                <a:lnTo>
                  <a:pt x="0" y="199081"/>
                </a:lnTo>
                <a:lnTo>
                  <a:pt x="7132" y="154278"/>
                </a:lnTo>
                <a:lnTo>
                  <a:pt x="24104" y="111794"/>
                </a:lnTo>
                <a:lnTo>
                  <a:pt x="50641" y="73375"/>
                </a:lnTo>
                <a:lnTo>
                  <a:pt x="86472" y="40768"/>
                </a:lnTo>
                <a:lnTo>
                  <a:pt x="128800" y="16838"/>
                </a:lnTo>
                <a:lnTo>
                  <a:pt x="174041" y="3335"/>
                </a:lnTo>
                <a:lnTo>
                  <a:pt x="220410" y="0"/>
                </a:lnTo>
                <a:lnTo>
                  <a:pt x="266123" y="6575"/>
                </a:lnTo>
                <a:lnTo>
                  <a:pt x="309398" y="22802"/>
                </a:lnTo>
                <a:lnTo>
                  <a:pt x="348449" y="48425"/>
                </a:lnTo>
                <a:lnTo>
                  <a:pt x="381493" y="83186"/>
                </a:lnTo>
                <a:lnTo>
                  <a:pt x="405096" y="123913"/>
                </a:lnTo>
                <a:lnTo>
                  <a:pt x="417374" y="166595"/>
                </a:lnTo>
                <a:lnTo>
                  <a:pt x="418865" y="209875"/>
                </a:lnTo>
                <a:lnTo>
                  <a:pt x="410111" y="252396"/>
                </a:lnTo>
                <a:lnTo>
                  <a:pt x="391651" y="292799"/>
                </a:lnTo>
                <a:lnTo>
                  <a:pt x="364025" y="329727"/>
                </a:lnTo>
                <a:lnTo>
                  <a:pt x="327772" y="361824"/>
                </a:lnTo>
                <a:lnTo>
                  <a:pt x="285879" y="386284"/>
                </a:lnTo>
                <a:lnTo>
                  <a:pt x="241759" y="401324"/>
                </a:lnTo>
                <a:lnTo>
                  <a:pt x="196914" y="406794"/>
                </a:lnTo>
                <a:lnTo>
                  <a:pt x="152848" y="402542"/>
                </a:lnTo>
                <a:lnTo>
                  <a:pt x="111067" y="388418"/>
                </a:lnTo>
                <a:lnTo>
                  <a:pt x="73073" y="364270"/>
                </a:lnTo>
                <a:lnTo>
                  <a:pt x="40371" y="329947"/>
                </a:lnTo>
              </a:path>
            </a:pathLst>
          </a:custGeom>
          <a:ln w="9144">
            <a:solidFill>
              <a:srgbClr val="FFFFFF"/>
            </a:solidFill>
          </a:ln>
        </p:spPr>
        <p:txBody>
          <a:bodyPr wrap="square" lIns="0" tIns="0" rIns="0" bIns="0" rtlCol="0"/>
          <a:lstStyle/>
          <a:p>
            <a:endParaRPr/>
          </a:p>
        </p:txBody>
      </p:sp>
      <p:sp>
        <p:nvSpPr>
          <p:cNvPr id="14" name="object 14"/>
          <p:cNvSpPr/>
          <p:nvPr/>
        </p:nvSpPr>
        <p:spPr>
          <a:xfrm>
            <a:off x="8497823" y="1699260"/>
            <a:ext cx="3418840" cy="297180"/>
          </a:xfrm>
          <a:custGeom>
            <a:avLst/>
            <a:gdLst/>
            <a:ahLst/>
            <a:cxnLst/>
            <a:rect l="l" t="t" r="r" b="b"/>
            <a:pathLst>
              <a:path w="3418840" h="297180">
                <a:moveTo>
                  <a:pt x="3368802" y="0"/>
                </a:moveTo>
                <a:lnTo>
                  <a:pt x="49529" y="0"/>
                </a:lnTo>
                <a:lnTo>
                  <a:pt x="30271" y="3899"/>
                </a:lnTo>
                <a:lnTo>
                  <a:pt x="14525" y="14525"/>
                </a:lnTo>
                <a:lnTo>
                  <a:pt x="3899" y="30271"/>
                </a:lnTo>
                <a:lnTo>
                  <a:pt x="0" y="49529"/>
                </a:lnTo>
                <a:lnTo>
                  <a:pt x="0" y="247650"/>
                </a:lnTo>
                <a:lnTo>
                  <a:pt x="3899" y="266908"/>
                </a:lnTo>
                <a:lnTo>
                  <a:pt x="14525" y="282654"/>
                </a:lnTo>
                <a:lnTo>
                  <a:pt x="30271" y="293280"/>
                </a:lnTo>
                <a:lnTo>
                  <a:pt x="49529" y="297179"/>
                </a:lnTo>
                <a:lnTo>
                  <a:pt x="3368802" y="297179"/>
                </a:lnTo>
                <a:lnTo>
                  <a:pt x="3388060" y="293280"/>
                </a:lnTo>
                <a:lnTo>
                  <a:pt x="3403806" y="282654"/>
                </a:lnTo>
                <a:lnTo>
                  <a:pt x="3414432" y="266908"/>
                </a:lnTo>
                <a:lnTo>
                  <a:pt x="3418331" y="247650"/>
                </a:lnTo>
                <a:lnTo>
                  <a:pt x="3418331" y="49529"/>
                </a:lnTo>
                <a:lnTo>
                  <a:pt x="3414432" y="30271"/>
                </a:lnTo>
                <a:lnTo>
                  <a:pt x="3403806" y="14525"/>
                </a:lnTo>
                <a:lnTo>
                  <a:pt x="3388060" y="3899"/>
                </a:lnTo>
                <a:lnTo>
                  <a:pt x="3368802" y="0"/>
                </a:lnTo>
                <a:close/>
              </a:path>
            </a:pathLst>
          </a:custGeom>
          <a:solidFill>
            <a:srgbClr val="7E7E7E"/>
          </a:solidFill>
        </p:spPr>
        <p:txBody>
          <a:bodyPr wrap="square" lIns="0" tIns="0" rIns="0" bIns="0" rtlCol="0"/>
          <a:lstStyle/>
          <a:p>
            <a:endParaRPr/>
          </a:p>
        </p:txBody>
      </p:sp>
      <p:sp>
        <p:nvSpPr>
          <p:cNvPr id="15" name="object 15"/>
          <p:cNvSpPr/>
          <p:nvPr/>
        </p:nvSpPr>
        <p:spPr>
          <a:xfrm>
            <a:off x="8200023" y="1656586"/>
            <a:ext cx="419100" cy="407034"/>
          </a:xfrm>
          <a:custGeom>
            <a:avLst/>
            <a:gdLst/>
            <a:ahLst/>
            <a:cxnLst/>
            <a:rect l="l" t="t" r="r" b="b"/>
            <a:pathLst>
              <a:path w="419100" h="407035">
                <a:moveTo>
                  <a:pt x="220410" y="0"/>
                </a:moveTo>
                <a:lnTo>
                  <a:pt x="174041" y="3335"/>
                </a:lnTo>
                <a:lnTo>
                  <a:pt x="128800" y="16838"/>
                </a:lnTo>
                <a:lnTo>
                  <a:pt x="86472" y="40768"/>
                </a:lnTo>
                <a:lnTo>
                  <a:pt x="50641" y="73375"/>
                </a:lnTo>
                <a:lnTo>
                  <a:pt x="24104" y="111794"/>
                </a:lnTo>
                <a:lnTo>
                  <a:pt x="7132" y="154278"/>
                </a:lnTo>
                <a:lnTo>
                  <a:pt x="0" y="199081"/>
                </a:lnTo>
                <a:lnTo>
                  <a:pt x="2980" y="244458"/>
                </a:lnTo>
                <a:lnTo>
                  <a:pt x="16346" y="288662"/>
                </a:lnTo>
                <a:lnTo>
                  <a:pt x="40371" y="329947"/>
                </a:lnTo>
                <a:lnTo>
                  <a:pt x="73073" y="364270"/>
                </a:lnTo>
                <a:lnTo>
                  <a:pt x="111067" y="388418"/>
                </a:lnTo>
                <a:lnTo>
                  <a:pt x="152848" y="402542"/>
                </a:lnTo>
                <a:lnTo>
                  <a:pt x="196914" y="406794"/>
                </a:lnTo>
                <a:lnTo>
                  <a:pt x="241759" y="401324"/>
                </a:lnTo>
                <a:lnTo>
                  <a:pt x="285879" y="386284"/>
                </a:lnTo>
                <a:lnTo>
                  <a:pt x="327772" y="361824"/>
                </a:lnTo>
                <a:lnTo>
                  <a:pt x="364025" y="329727"/>
                </a:lnTo>
                <a:lnTo>
                  <a:pt x="391651" y="292799"/>
                </a:lnTo>
                <a:lnTo>
                  <a:pt x="410111" y="252396"/>
                </a:lnTo>
                <a:lnTo>
                  <a:pt x="418865" y="209875"/>
                </a:lnTo>
                <a:lnTo>
                  <a:pt x="417374" y="166595"/>
                </a:lnTo>
                <a:lnTo>
                  <a:pt x="405096" y="123913"/>
                </a:lnTo>
                <a:lnTo>
                  <a:pt x="381493" y="83186"/>
                </a:lnTo>
                <a:lnTo>
                  <a:pt x="348449" y="48425"/>
                </a:lnTo>
                <a:lnTo>
                  <a:pt x="309398" y="22802"/>
                </a:lnTo>
                <a:lnTo>
                  <a:pt x="266123" y="6575"/>
                </a:lnTo>
                <a:lnTo>
                  <a:pt x="220410" y="0"/>
                </a:lnTo>
                <a:close/>
              </a:path>
            </a:pathLst>
          </a:custGeom>
          <a:solidFill>
            <a:srgbClr val="7E7E7E"/>
          </a:solidFill>
        </p:spPr>
        <p:txBody>
          <a:bodyPr wrap="square" lIns="0" tIns="0" rIns="0" bIns="0" rtlCol="0"/>
          <a:lstStyle/>
          <a:p>
            <a:endParaRPr/>
          </a:p>
        </p:txBody>
      </p:sp>
      <p:sp>
        <p:nvSpPr>
          <p:cNvPr id="16" name="object 16"/>
          <p:cNvSpPr/>
          <p:nvPr/>
        </p:nvSpPr>
        <p:spPr>
          <a:xfrm>
            <a:off x="8200023" y="1656586"/>
            <a:ext cx="419100" cy="407034"/>
          </a:xfrm>
          <a:custGeom>
            <a:avLst/>
            <a:gdLst/>
            <a:ahLst/>
            <a:cxnLst/>
            <a:rect l="l" t="t" r="r" b="b"/>
            <a:pathLst>
              <a:path w="419100" h="407035">
                <a:moveTo>
                  <a:pt x="40371" y="329947"/>
                </a:moveTo>
                <a:lnTo>
                  <a:pt x="16346" y="288662"/>
                </a:lnTo>
                <a:lnTo>
                  <a:pt x="2980" y="244458"/>
                </a:lnTo>
                <a:lnTo>
                  <a:pt x="0" y="199081"/>
                </a:lnTo>
                <a:lnTo>
                  <a:pt x="7132" y="154278"/>
                </a:lnTo>
                <a:lnTo>
                  <a:pt x="24104" y="111794"/>
                </a:lnTo>
                <a:lnTo>
                  <a:pt x="50641" y="73375"/>
                </a:lnTo>
                <a:lnTo>
                  <a:pt x="86472" y="40768"/>
                </a:lnTo>
                <a:lnTo>
                  <a:pt x="128800" y="16838"/>
                </a:lnTo>
                <a:lnTo>
                  <a:pt x="174041" y="3335"/>
                </a:lnTo>
                <a:lnTo>
                  <a:pt x="220410" y="0"/>
                </a:lnTo>
                <a:lnTo>
                  <a:pt x="266123" y="6575"/>
                </a:lnTo>
                <a:lnTo>
                  <a:pt x="309398" y="22802"/>
                </a:lnTo>
                <a:lnTo>
                  <a:pt x="348449" y="48425"/>
                </a:lnTo>
                <a:lnTo>
                  <a:pt x="381493" y="83186"/>
                </a:lnTo>
                <a:lnTo>
                  <a:pt x="405096" y="123913"/>
                </a:lnTo>
                <a:lnTo>
                  <a:pt x="417374" y="166595"/>
                </a:lnTo>
                <a:lnTo>
                  <a:pt x="418865" y="209875"/>
                </a:lnTo>
                <a:lnTo>
                  <a:pt x="410111" y="252396"/>
                </a:lnTo>
                <a:lnTo>
                  <a:pt x="391651" y="292799"/>
                </a:lnTo>
                <a:lnTo>
                  <a:pt x="364025" y="329727"/>
                </a:lnTo>
                <a:lnTo>
                  <a:pt x="327772" y="361824"/>
                </a:lnTo>
                <a:lnTo>
                  <a:pt x="285879" y="386284"/>
                </a:lnTo>
                <a:lnTo>
                  <a:pt x="241759" y="401324"/>
                </a:lnTo>
                <a:lnTo>
                  <a:pt x="196914" y="406794"/>
                </a:lnTo>
                <a:lnTo>
                  <a:pt x="152848" y="402542"/>
                </a:lnTo>
                <a:lnTo>
                  <a:pt x="111067" y="388418"/>
                </a:lnTo>
                <a:lnTo>
                  <a:pt x="73073" y="364270"/>
                </a:lnTo>
                <a:lnTo>
                  <a:pt x="40371" y="329947"/>
                </a:lnTo>
              </a:path>
            </a:pathLst>
          </a:custGeom>
          <a:ln w="9144">
            <a:solidFill>
              <a:srgbClr val="FFFFFF"/>
            </a:solidFill>
          </a:ln>
        </p:spPr>
        <p:txBody>
          <a:bodyPr wrap="square" lIns="0" tIns="0" rIns="0" bIns="0" rtlCol="0"/>
          <a:lstStyle/>
          <a:p>
            <a:endParaRPr/>
          </a:p>
        </p:txBody>
      </p:sp>
      <p:sp>
        <p:nvSpPr>
          <p:cNvPr id="17" name="object 17"/>
          <p:cNvSpPr/>
          <p:nvPr/>
        </p:nvSpPr>
        <p:spPr>
          <a:xfrm>
            <a:off x="3802390" y="1744376"/>
            <a:ext cx="283453" cy="232251"/>
          </a:xfrm>
          <a:prstGeom prst="rect">
            <a:avLst/>
          </a:prstGeom>
          <a:blipFill>
            <a:blip r:embed="rId3" cstate="print"/>
            <a:stretch>
              <a:fillRect/>
            </a:stretch>
          </a:blipFill>
        </p:spPr>
        <p:txBody>
          <a:bodyPr wrap="square" lIns="0" tIns="0" rIns="0" bIns="0" rtlCol="0"/>
          <a:lstStyle/>
          <a:p>
            <a:endParaRPr/>
          </a:p>
        </p:txBody>
      </p:sp>
      <p:sp>
        <p:nvSpPr>
          <p:cNvPr id="18" name="object 18"/>
          <p:cNvSpPr/>
          <p:nvPr/>
        </p:nvSpPr>
        <p:spPr>
          <a:xfrm>
            <a:off x="8289035" y="1758695"/>
            <a:ext cx="245364" cy="178307"/>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89959" y="1898904"/>
            <a:ext cx="76200" cy="3863340"/>
          </a:xfrm>
          <a:custGeom>
            <a:avLst/>
            <a:gdLst/>
            <a:ahLst/>
            <a:cxnLst/>
            <a:rect l="l" t="t" r="r" b="b"/>
            <a:pathLst>
              <a:path w="76200" h="3863340">
                <a:moveTo>
                  <a:pt x="31750" y="3788407"/>
                </a:moveTo>
                <a:lnTo>
                  <a:pt x="23252" y="3790121"/>
                </a:lnTo>
                <a:lnTo>
                  <a:pt x="11144" y="3798285"/>
                </a:lnTo>
                <a:lnTo>
                  <a:pt x="2988" y="3810396"/>
                </a:lnTo>
                <a:lnTo>
                  <a:pt x="0" y="3825227"/>
                </a:lnTo>
                <a:lnTo>
                  <a:pt x="2988" y="3840058"/>
                </a:lnTo>
                <a:lnTo>
                  <a:pt x="11144" y="3852168"/>
                </a:lnTo>
                <a:lnTo>
                  <a:pt x="23252" y="3860333"/>
                </a:lnTo>
                <a:lnTo>
                  <a:pt x="38100" y="3863327"/>
                </a:lnTo>
                <a:lnTo>
                  <a:pt x="52947" y="3860333"/>
                </a:lnTo>
                <a:lnTo>
                  <a:pt x="65055" y="3852168"/>
                </a:lnTo>
                <a:lnTo>
                  <a:pt x="73211" y="3840058"/>
                </a:lnTo>
                <a:lnTo>
                  <a:pt x="76200" y="3825227"/>
                </a:lnTo>
                <a:lnTo>
                  <a:pt x="31750" y="3825227"/>
                </a:lnTo>
                <a:lnTo>
                  <a:pt x="31750" y="3788407"/>
                </a:lnTo>
                <a:close/>
              </a:path>
              <a:path w="76200" h="3863340">
                <a:moveTo>
                  <a:pt x="38100" y="3787127"/>
                </a:moveTo>
                <a:lnTo>
                  <a:pt x="31750" y="3788407"/>
                </a:lnTo>
                <a:lnTo>
                  <a:pt x="31750" y="3825227"/>
                </a:lnTo>
                <a:lnTo>
                  <a:pt x="44450" y="3825227"/>
                </a:lnTo>
                <a:lnTo>
                  <a:pt x="44450" y="3788407"/>
                </a:lnTo>
                <a:lnTo>
                  <a:pt x="38100" y="3787127"/>
                </a:lnTo>
                <a:close/>
              </a:path>
              <a:path w="76200" h="3863340">
                <a:moveTo>
                  <a:pt x="44450" y="3788407"/>
                </a:moveTo>
                <a:lnTo>
                  <a:pt x="44450" y="3825227"/>
                </a:lnTo>
                <a:lnTo>
                  <a:pt x="76200" y="3825227"/>
                </a:lnTo>
                <a:lnTo>
                  <a:pt x="73211" y="3810396"/>
                </a:lnTo>
                <a:lnTo>
                  <a:pt x="65055" y="3798285"/>
                </a:lnTo>
                <a:lnTo>
                  <a:pt x="52947" y="3790121"/>
                </a:lnTo>
                <a:lnTo>
                  <a:pt x="44450" y="3788407"/>
                </a:lnTo>
                <a:close/>
              </a:path>
              <a:path w="76200" h="3863340">
                <a:moveTo>
                  <a:pt x="44450" y="0"/>
                </a:moveTo>
                <a:lnTo>
                  <a:pt x="31750" y="0"/>
                </a:lnTo>
                <a:lnTo>
                  <a:pt x="31750" y="3788407"/>
                </a:lnTo>
                <a:lnTo>
                  <a:pt x="38100" y="3787127"/>
                </a:lnTo>
                <a:lnTo>
                  <a:pt x="44450" y="3787127"/>
                </a:lnTo>
                <a:lnTo>
                  <a:pt x="44450" y="0"/>
                </a:lnTo>
                <a:close/>
              </a:path>
              <a:path w="76200" h="3863340">
                <a:moveTo>
                  <a:pt x="44450" y="3787127"/>
                </a:moveTo>
                <a:lnTo>
                  <a:pt x="38100" y="3787127"/>
                </a:lnTo>
                <a:lnTo>
                  <a:pt x="44450" y="3788407"/>
                </a:lnTo>
                <a:lnTo>
                  <a:pt x="44450" y="3787127"/>
                </a:lnTo>
                <a:close/>
              </a:path>
            </a:pathLst>
          </a:custGeom>
          <a:solidFill>
            <a:srgbClr val="006FAC"/>
          </a:solidFill>
        </p:spPr>
        <p:txBody>
          <a:bodyPr wrap="square" lIns="0" tIns="0" rIns="0" bIns="0" rtlCol="0"/>
          <a:lstStyle/>
          <a:p>
            <a:endParaRPr/>
          </a:p>
        </p:txBody>
      </p:sp>
      <p:sp>
        <p:nvSpPr>
          <p:cNvPr id="20" name="object 20"/>
          <p:cNvSpPr/>
          <p:nvPr/>
        </p:nvSpPr>
        <p:spPr>
          <a:xfrm>
            <a:off x="8048243" y="1898904"/>
            <a:ext cx="76200" cy="3863340"/>
          </a:xfrm>
          <a:custGeom>
            <a:avLst/>
            <a:gdLst/>
            <a:ahLst/>
            <a:cxnLst/>
            <a:rect l="l" t="t" r="r" b="b"/>
            <a:pathLst>
              <a:path w="76200" h="3863340">
                <a:moveTo>
                  <a:pt x="31750" y="3788407"/>
                </a:moveTo>
                <a:lnTo>
                  <a:pt x="23252" y="3790121"/>
                </a:lnTo>
                <a:lnTo>
                  <a:pt x="11144" y="3798285"/>
                </a:lnTo>
                <a:lnTo>
                  <a:pt x="2988" y="3810396"/>
                </a:lnTo>
                <a:lnTo>
                  <a:pt x="0" y="3825227"/>
                </a:lnTo>
                <a:lnTo>
                  <a:pt x="2988" y="3840058"/>
                </a:lnTo>
                <a:lnTo>
                  <a:pt x="11144" y="3852168"/>
                </a:lnTo>
                <a:lnTo>
                  <a:pt x="23252" y="3860333"/>
                </a:lnTo>
                <a:lnTo>
                  <a:pt x="38100" y="3863327"/>
                </a:lnTo>
                <a:lnTo>
                  <a:pt x="52947" y="3860333"/>
                </a:lnTo>
                <a:lnTo>
                  <a:pt x="65055" y="3852168"/>
                </a:lnTo>
                <a:lnTo>
                  <a:pt x="73211" y="3840058"/>
                </a:lnTo>
                <a:lnTo>
                  <a:pt x="76200" y="3825227"/>
                </a:lnTo>
                <a:lnTo>
                  <a:pt x="31750" y="3825227"/>
                </a:lnTo>
                <a:lnTo>
                  <a:pt x="31750" y="3788407"/>
                </a:lnTo>
                <a:close/>
              </a:path>
              <a:path w="76200" h="3863340">
                <a:moveTo>
                  <a:pt x="38100" y="3787127"/>
                </a:moveTo>
                <a:lnTo>
                  <a:pt x="31750" y="3788407"/>
                </a:lnTo>
                <a:lnTo>
                  <a:pt x="31750" y="3825227"/>
                </a:lnTo>
                <a:lnTo>
                  <a:pt x="44450" y="3825227"/>
                </a:lnTo>
                <a:lnTo>
                  <a:pt x="44450" y="3788407"/>
                </a:lnTo>
                <a:lnTo>
                  <a:pt x="38100" y="3787127"/>
                </a:lnTo>
                <a:close/>
              </a:path>
              <a:path w="76200" h="3863340">
                <a:moveTo>
                  <a:pt x="44450" y="3788407"/>
                </a:moveTo>
                <a:lnTo>
                  <a:pt x="44450" y="3825227"/>
                </a:lnTo>
                <a:lnTo>
                  <a:pt x="76200" y="3825227"/>
                </a:lnTo>
                <a:lnTo>
                  <a:pt x="73211" y="3810396"/>
                </a:lnTo>
                <a:lnTo>
                  <a:pt x="65055" y="3798285"/>
                </a:lnTo>
                <a:lnTo>
                  <a:pt x="52947" y="3790121"/>
                </a:lnTo>
                <a:lnTo>
                  <a:pt x="44450" y="3788407"/>
                </a:lnTo>
                <a:close/>
              </a:path>
              <a:path w="76200" h="3863340">
                <a:moveTo>
                  <a:pt x="44450" y="0"/>
                </a:moveTo>
                <a:lnTo>
                  <a:pt x="31750" y="0"/>
                </a:lnTo>
                <a:lnTo>
                  <a:pt x="31750" y="3788407"/>
                </a:lnTo>
                <a:lnTo>
                  <a:pt x="38100" y="3787127"/>
                </a:lnTo>
                <a:lnTo>
                  <a:pt x="44450" y="3787127"/>
                </a:lnTo>
                <a:lnTo>
                  <a:pt x="44450" y="0"/>
                </a:lnTo>
                <a:close/>
              </a:path>
              <a:path w="76200" h="3863340">
                <a:moveTo>
                  <a:pt x="44450" y="3787127"/>
                </a:moveTo>
                <a:lnTo>
                  <a:pt x="38100" y="3787127"/>
                </a:lnTo>
                <a:lnTo>
                  <a:pt x="44450" y="3788407"/>
                </a:lnTo>
                <a:lnTo>
                  <a:pt x="44450" y="3787127"/>
                </a:lnTo>
                <a:close/>
              </a:path>
            </a:pathLst>
          </a:custGeom>
          <a:solidFill>
            <a:srgbClr val="12ABDB"/>
          </a:solidFill>
        </p:spPr>
        <p:txBody>
          <a:bodyPr wrap="square" lIns="0" tIns="0" rIns="0" bIns="0" rtlCol="0"/>
          <a:lstStyle/>
          <a:p>
            <a:endParaRPr/>
          </a:p>
        </p:txBody>
      </p:sp>
      <p:sp>
        <p:nvSpPr>
          <p:cNvPr id="21" name="object 21"/>
          <p:cNvSpPr/>
          <p:nvPr/>
        </p:nvSpPr>
        <p:spPr>
          <a:xfrm>
            <a:off x="11867388" y="1898904"/>
            <a:ext cx="76200" cy="3863340"/>
          </a:xfrm>
          <a:custGeom>
            <a:avLst/>
            <a:gdLst/>
            <a:ahLst/>
            <a:cxnLst/>
            <a:rect l="l" t="t" r="r" b="b"/>
            <a:pathLst>
              <a:path w="76200" h="3863340">
                <a:moveTo>
                  <a:pt x="31750" y="3788407"/>
                </a:moveTo>
                <a:lnTo>
                  <a:pt x="23252" y="3790121"/>
                </a:lnTo>
                <a:lnTo>
                  <a:pt x="11144" y="3798285"/>
                </a:lnTo>
                <a:lnTo>
                  <a:pt x="2988" y="3810396"/>
                </a:lnTo>
                <a:lnTo>
                  <a:pt x="0" y="3825227"/>
                </a:lnTo>
                <a:lnTo>
                  <a:pt x="2988" y="3840058"/>
                </a:lnTo>
                <a:lnTo>
                  <a:pt x="11144" y="3852168"/>
                </a:lnTo>
                <a:lnTo>
                  <a:pt x="23252" y="3860333"/>
                </a:lnTo>
                <a:lnTo>
                  <a:pt x="38100" y="3863327"/>
                </a:lnTo>
                <a:lnTo>
                  <a:pt x="52947" y="3860333"/>
                </a:lnTo>
                <a:lnTo>
                  <a:pt x="65055" y="3852168"/>
                </a:lnTo>
                <a:lnTo>
                  <a:pt x="73211" y="3840058"/>
                </a:lnTo>
                <a:lnTo>
                  <a:pt x="76200" y="3825227"/>
                </a:lnTo>
                <a:lnTo>
                  <a:pt x="31750" y="3825227"/>
                </a:lnTo>
                <a:lnTo>
                  <a:pt x="31750" y="3788407"/>
                </a:lnTo>
                <a:close/>
              </a:path>
              <a:path w="76200" h="3863340">
                <a:moveTo>
                  <a:pt x="38100" y="3787127"/>
                </a:moveTo>
                <a:lnTo>
                  <a:pt x="31750" y="3788407"/>
                </a:lnTo>
                <a:lnTo>
                  <a:pt x="31750" y="3825227"/>
                </a:lnTo>
                <a:lnTo>
                  <a:pt x="44450" y="3825227"/>
                </a:lnTo>
                <a:lnTo>
                  <a:pt x="44450" y="3788407"/>
                </a:lnTo>
                <a:lnTo>
                  <a:pt x="38100" y="3787127"/>
                </a:lnTo>
                <a:close/>
              </a:path>
              <a:path w="76200" h="3863340">
                <a:moveTo>
                  <a:pt x="44450" y="3788407"/>
                </a:moveTo>
                <a:lnTo>
                  <a:pt x="44450" y="3825227"/>
                </a:lnTo>
                <a:lnTo>
                  <a:pt x="76200" y="3825227"/>
                </a:lnTo>
                <a:lnTo>
                  <a:pt x="73211" y="3810396"/>
                </a:lnTo>
                <a:lnTo>
                  <a:pt x="65055" y="3798285"/>
                </a:lnTo>
                <a:lnTo>
                  <a:pt x="52947" y="3790121"/>
                </a:lnTo>
                <a:lnTo>
                  <a:pt x="44450" y="3788407"/>
                </a:lnTo>
                <a:close/>
              </a:path>
              <a:path w="76200" h="3863340">
                <a:moveTo>
                  <a:pt x="44450" y="0"/>
                </a:moveTo>
                <a:lnTo>
                  <a:pt x="31750" y="0"/>
                </a:lnTo>
                <a:lnTo>
                  <a:pt x="31750" y="3788407"/>
                </a:lnTo>
                <a:lnTo>
                  <a:pt x="38100" y="3787127"/>
                </a:lnTo>
                <a:lnTo>
                  <a:pt x="44450" y="3787127"/>
                </a:lnTo>
                <a:lnTo>
                  <a:pt x="44450" y="0"/>
                </a:lnTo>
                <a:close/>
              </a:path>
              <a:path w="76200" h="3863340">
                <a:moveTo>
                  <a:pt x="44450" y="3787127"/>
                </a:moveTo>
                <a:lnTo>
                  <a:pt x="38100" y="3787127"/>
                </a:lnTo>
                <a:lnTo>
                  <a:pt x="44450" y="3788407"/>
                </a:lnTo>
                <a:lnTo>
                  <a:pt x="44450" y="3787127"/>
                </a:lnTo>
                <a:close/>
              </a:path>
            </a:pathLst>
          </a:custGeom>
          <a:solidFill>
            <a:srgbClr val="7E7E7E"/>
          </a:solidFill>
        </p:spPr>
        <p:txBody>
          <a:bodyPr wrap="square" lIns="0" tIns="0" rIns="0" bIns="0" rtlCol="0"/>
          <a:lstStyle/>
          <a:p>
            <a:endParaRPr/>
          </a:p>
        </p:txBody>
      </p:sp>
      <p:sp>
        <p:nvSpPr>
          <p:cNvPr id="22" name="object 22"/>
          <p:cNvSpPr txBox="1"/>
          <p:nvPr/>
        </p:nvSpPr>
        <p:spPr>
          <a:xfrm>
            <a:off x="703580" y="1128141"/>
            <a:ext cx="11074400" cy="822960"/>
          </a:xfrm>
          <a:prstGeom prst="rect">
            <a:avLst/>
          </a:prstGeom>
        </p:spPr>
        <p:txBody>
          <a:bodyPr vert="horz" wrap="square" lIns="0" tIns="12065" rIns="0" bIns="0" rtlCol="0">
            <a:spAutoFit/>
          </a:bodyPr>
          <a:lstStyle/>
          <a:p>
            <a:pPr marL="1143635" marR="5080">
              <a:lnSpc>
                <a:spcPct val="100000"/>
              </a:lnSpc>
              <a:spcBef>
                <a:spcPts val="95"/>
              </a:spcBef>
            </a:pPr>
            <a:r>
              <a:rPr sz="1000" b="1" spc="-5">
                <a:latin typeface="Verdana"/>
                <a:cs typeface="Verdana"/>
              </a:rPr>
              <a:t>WK </a:t>
            </a:r>
            <a:r>
              <a:rPr sz="1000">
                <a:latin typeface="Verdana"/>
                <a:cs typeface="Verdana"/>
              </a:rPr>
              <a:t>is </a:t>
            </a:r>
            <a:r>
              <a:rPr sz="1000" spc="-5">
                <a:latin typeface="Verdana"/>
                <a:cs typeface="Verdana"/>
              </a:rPr>
              <a:t>a </a:t>
            </a:r>
            <a:r>
              <a:rPr sz="1000">
                <a:latin typeface="Verdana"/>
                <a:cs typeface="Verdana"/>
              </a:rPr>
              <a:t>leading </a:t>
            </a:r>
            <a:r>
              <a:rPr sz="1000" spc="-5">
                <a:latin typeface="Verdana"/>
                <a:cs typeface="Verdana"/>
              </a:rPr>
              <a:t>global provider of information, software and services. Professionals </a:t>
            </a:r>
            <a:r>
              <a:rPr sz="1000">
                <a:latin typeface="Verdana"/>
                <a:cs typeface="Verdana"/>
              </a:rPr>
              <a:t>in </a:t>
            </a:r>
            <a:r>
              <a:rPr sz="1000" spc="-5">
                <a:latin typeface="Verdana"/>
                <a:cs typeface="Verdana"/>
              </a:rPr>
              <a:t>the </a:t>
            </a:r>
            <a:r>
              <a:rPr sz="1000">
                <a:latin typeface="Verdana"/>
                <a:cs typeface="Verdana"/>
              </a:rPr>
              <a:t>legal, </a:t>
            </a:r>
            <a:r>
              <a:rPr sz="1000" spc="-5">
                <a:latin typeface="Verdana"/>
                <a:cs typeface="Verdana"/>
              </a:rPr>
              <a:t>business, tax, accountancy, </a:t>
            </a:r>
            <a:r>
              <a:rPr sz="1000" spc="5">
                <a:latin typeface="Verdana"/>
                <a:cs typeface="Verdana"/>
              </a:rPr>
              <a:t>audit, </a:t>
            </a:r>
            <a:r>
              <a:rPr sz="1000" spc="-5">
                <a:latin typeface="Verdana"/>
                <a:cs typeface="Verdana"/>
              </a:rPr>
              <a:t>risk management and  compliance sectors, but </a:t>
            </a:r>
            <a:r>
              <a:rPr sz="1000">
                <a:latin typeface="Verdana"/>
                <a:cs typeface="Verdana"/>
              </a:rPr>
              <a:t>also in </a:t>
            </a:r>
            <a:r>
              <a:rPr sz="1000" spc="-5">
                <a:latin typeface="Verdana"/>
                <a:cs typeface="Verdana"/>
              </a:rPr>
              <a:t>healthcare; they </a:t>
            </a:r>
            <a:r>
              <a:rPr sz="1000">
                <a:latin typeface="Verdana"/>
                <a:cs typeface="Verdana"/>
              </a:rPr>
              <a:t>all </a:t>
            </a:r>
            <a:r>
              <a:rPr sz="1000" spc="-5">
                <a:latin typeface="Verdana"/>
                <a:cs typeface="Verdana"/>
              </a:rPr>
              <a:t>rely on the </a:t>
            </a:r>
            <a:r>
              <a:rPr sz="1000">
                <a:latin typeface="Verdana"/>
                <a:cs typeface="Verdana"/>
              </a:rPr>
              <a:t>high-quality </a:t>
            </a:r>
            <a:r>
              <a:rPr sz="1000" spc="-5">
                <a:latin typeface="Verdana"/>
                <a:cs typeface="Verdana"/>
              </a:rPr>
              <a:t>information, software and services of Wolters </a:t>
            </a:r>
            <a:r>
              <a:rPr sz="1000">
                <a:latin typeface="Verdana"/>
                <a:cs typeface="Verdana"/>
              </a:rPr>
              <a:t>Kluwer. </a:t>
            </a:r>
            <a:r>
              <a:rPr sz="1000" spc="-5">
                <a:latin typeface="Verdana"/>
                <a:cs typeface="Verdana"/>
              </a:rPr>
              <a:t>Wolters Kluwer </a:t>
            </a:r>
            <a:r>
              <a:rPr sz="1000" spc="-10">
                <a:latin typeface="Verdana"/>
                <a:cs typeface="Verdana"/>
              </a:rPr>
              <a:t>operates  </a:t>
            </a:r>
            <a:r>
              <a:rPr sz="1000">
                <a:latin typeface="Verdana"/>
                <a:cs typeface="Verdana"/>
              </a:rPr>
              <a:t>in </a:t>
            </a:r>
            <a:r>
              <a:rPr sz="1000" spc="-10">
                <a:latin typeface="Verdana"/>
                <a:cs typeface="Verdana"/>
              </a:rPr>
              <a:t>more </a:t>
            </a:r>
            <a:r>
              <a:rPr sz="1000" spc="-5">
                <a:latin typeface="Verdana"/>
                <a:cs typeface="Verdana"/>
              </a:rPr>
              <a:t>than 180 countries </a:t>
            </a:r>
            <a:r>
              <a:rPr sz="1000">
                <a:latin typeface="Verdana"/>
                <a:cs typeface="Verdana"/>
              </a:rPr>
              <a:t>in </a:t>
            </a:r>
            <a:r>
              <a:rPr sz="1000" spc="-10">
                <a:latin typeface="Verdana"/>
                <a:cs typeface="Verdana"/>
              </a:rPr>
              <a:t>Europe, North </a:t>
            </a:r>
            <a:r>
              <a:rPr sz="1000" spc="-5">
                <a:latin typeface="Verdana"/>
                <a:cs typeface="Verdana"/>
              </a:rPr>
              <a:t>America, </a:t>
            </a:r>
            <a:r>
              <a:rPr sz="1000">
                <a:latin typeface="Verdana"/>
                <a:cs typeface="Verdana"/>
              </a:rPr>
              <a:t>Asia </a:t>
            </a:r>
            <a:r>
              <a:rPr sz="1000" spc="-5">
                <a:latin typeface="Verdana"/>
                <a:cs typeface="Verdana"/>
              </a:rPr>
              <a:t>and Latin America and employs around 19,000 people</a:t>
            </a:r>
            <a:r>
              <a:rPr sz="1000">
                <a:latin typeface="Verdana"/>
                <a:cs typeface="Verdana"/>
              </a:rPr>
              <a:t> </a:t>
            </a:r>
            <a:r>
              <a:rPr sz="1000" spc="-5">
                <a:latin typeface="Verdana"/>
                <a:cs typeface="Verdana"/>
              </a:rPr>
              <a:t>worldwide</a:t>
            </a:r>
            <a:endParaRPr sz="1000">
              <a:latin typeface="Verdana"/>
              <a:cs typeface="Verdana"/>
            </a:endParaRPr>
          </a:p>
          <a:p>
            <a:pPr>
              <a:lnSpc>
                <a:spcPct val="100000"/>
              </a:lnSpc>
              <a:spcBef>
                <a:spcPts val="35"/>
              </a:spcBef>
            </a:pPr>
            <a:endParaRPr sz="1050">
              <a:latin typeface="Times New Roman"/>
              <a:cs typeface="Times New Roman"/>
            </a:endParaRPr>
          </a:p>
          <a:p>
            <a:pPr marL="12700">
              <a:lnSpc>
                <a:spcPct val="100000"/>
              </a:lnSpc>
              <a:tabLst>
                <a:tab pos="3539490" algn="l"/>
                <a:tab pos="7992745" algn="l"/>
              </a:tabLst>
            </a:pPr>
            <a:r>
              <a:rPr sz="1200" b="1" spc="-5">
                <a:solidFill>
                  <a:srgbClr val="FFFFFF"/>
                </a:solidFill>
                <a:latin typeface="Verdana"/>
                <a:cs typeface="Verdana"/>
              </a:rPr>
              <a:t>The</a:t>
            </a:r>
            <a:r>
              <a:rPr sz="1200" b="1">
                <a:solidFill>
                  <a:srgbClr val="FFFFFF"/>
                </a:solidFill>
                <a:latin typeface="Verdana"/>
                <a:cs typeface="Verdana"/>
              </a:rPr>
              <a:t> </a:t>
            </a:r>
            <a:r>
              <a:rPr sz="1200" b="1" spc="-5">
                <a:solidFill>
                  <a:srgbClr val="FFFFFF"/>
                </a:solidFill>
                <a:latin typeface="Verdana"/>
                <a:cs typeface="Verdana"/>
              </a:rPr>
              <a:t>Challenge	The</a:t>
            </a:r>
            <a:r>
              <a:rPr sz="1200" b="1" spc="15">
                <a:solidFill>
                  <a:srgbClr val="FFFFFF"/>
                </a:solidFill>
                <a:latin typeface="Verdana"/>
                <a:cs typeface="Verdana"/>
              </a:rPr>
              <a:t> </a:t>
            </a:r>
            <a:r>
              <a:rPr sz="1200" b="1" spc="-5">
                <a:solidFill>
                  <a:srgbClr val="FFFFFF"/>
                </a:solidFill>
                <a:latin typeface="Verdana"/>
                <a:cs typeface="Verdana"/>
              </a:rPr>
              <a:t>Solution	The</a:t>
            </a:r>
            <a:r>
              <a:rPr sz="1200" b="1">
                <a:solidFill>
                  <a:srgbClr val="FFFFFF"/>
                </a:solidFill>
                <a:latin typeface="Verdana"/>
                <a:cs typeface="Verdana"/>
              </a:rPr>
              <a:t> </a:t>
            </a:r>
            <a:r>
              <a:rPr sz="1200" b="1" spc="-5">
                <a:solidFill>
                  <a:srgbClr val="FFFFFF"/>
                </a:solidFill>
                <a:latin typeface="Verdana"/>
                <a:cs typeface="Verdana"/>
              </a:rPr>
              <a:t>Outcome</a:t>
            </a:r>
            <a:endParaRPr sz="1200">
              <a:latin typeface="Verdana"/>
              <a:cs typeface="Verdana"/>
            </a:endParaRPr>
          </a:p>
        </p:txBody>
      </p:sp>
      <p:sp>
        <p:nvSpPr>
          <p:cNvPr id="23" name="object 23"/>
          <p:cNvSpPr/>
          <p:nvPr/>
        </p:nvSpPr>
        <p:spPr>
          <a:xfrm>
            <a:off x="231647" y="1200911"/>
            <a:ext cx="1463040" cy="336803"/>
          </a:xfrm>
          <a:prstGeom prst="rect">
            <a:avLst/>
          </a:prstGeom>
          <a:blipFill>
            <a:blip r:embed="rId5" cstate="print"/>
            <a:stretch>
              <a:fillRect/>
            </a:stretch>
          </a:blipFill>
        </p:spPr>
        <p:txBody>
          <a:bodyPr wrap="square" lIns="0" tIns="0" rIns="0" bIns="0" rtlCol="0"/>
          <a:lstStyle/>
          <a:p>
            <a:endParaRPr/>
          </a:p>
        </p:txBody>
      </p:sp>
      <p:sp>
        <p:nvSpPr>
          <p:cNvPr id="24" name="object 24"/>
          <p:cNvSpPr txBox="1">
            <a:spLocks noGrp="1"/>
          </p:cNvSpPr>
          <p:nvPr>
            <p:ph type="title"/>
          </p:nvPr>
        </p:nvSpPr>
        <p:spPr>
          <a:xfrm>
            <a:off x="214680" y="318896"/>
            <a:ext cx="4744085" cy="422275"/>
          </a:xfrm>
          <a:prstGeom prst="rect">
            <a:avLst/>
          </a:prstGeom>
        </p:spPr>
        <p:txBody>
          <a:bodyPr vert="horz" wrap="square" lIns="0" tIns="12700" rIns="0" bIns="0" rtlCol="0">
            <a:spAutoFit/>
          </a:bodyPr>
          <a:lstStyle/>
          <a:p>
            <a:pPr marL="12700">
              <a:lnSpc>
                <a:spcPct val="100000"/>
              </a:lnSpc>
              <a:spcBef>
                <a:spcPts val="100"/>
              </a:spcBef>
            </a:pPr>
            <a:r>
              <a:rPr sz="2600" spc="-20"/>
              <a:t>Wolters </a:t>
            </a:r>
            <a:r>
              <a:rPr sz="2600"/>
              <a:t>Kluwer &amp;</a:t>
            </a:r>
            <a:r>
              <a:rPr sz="2600" spc="-50"/>
              <a:t> </a:t>
            </a:r>
            <a:r>
              <a:rPr sz="2600" spc="-5"/>
              <a:t>Capgemini</a:t>
            </a:r>
            <a:endParaRPr sz="2600"/>
          </a:p>
        </p:txBody>
      </p:sp>
      <p:sp>
        <p:nvSpPr>
          <p:cNvPr id="25" name="object 2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6" name="object 2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37</a:t>
            </a:fld>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36220" y="1106424"/>
            <a:ext cx="4334256" cy="2567940"/>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14680" y="318896"/>
            <a:ext cx="4744085" cy="422275"/>
          </a:xfrm>
          <a:prstGeom prst="rect">
            <a:avLst/>
          </a:prstGeom>
        </p:spPr>
        <p:txBody>
          <a:bodyPr vert="horz" wrap="square" lIns="0" tIns="12700" rIns="0" bIns="0" rtlCol="0">
            <a:spAutoFit/>
          </a:bodyPr>
          <a:lstStyle/>
          <a:p>
            <a:pPr marL="12700">
              <a:lnSpc>
                <a:spcPct val="100000"/>
              </a:lnSpc>
              <a:spcBef>
                <a:spcPts val="100"/>
              </a:spcBef>
            </a:pPr>
            <a:r>
              <a:rPr sz="2600" spc="-20"/>
              <a:t>Wolters </a:t>
            </a:r>
            <a:r>
              <a:rPr sz="2600"/>
              <a:t>Kluwer &amp;</a:t>
            </a:r>
            <a:r>
              <a:rPr sz="2600" spc="-50"/>
              <a:t> </a:t>
            </a:r>
            <a:r>
              <a:rPr sz="2600" spc="-5"/>
              <a:t>Capgemini</a:t>
            </a:r>
            <a:endParaRPr sz="2600"/>
          </a:p>
        </p:txBody>
      </p:sp>
      <p:sp>
        <p:nvSpPr>
          <p:cNvPr id="4" name="object 4"/>
          <p:cNvSpPr/>
          <p:nvPr/>
        </p:nvSpPr>
        <p:spPr>
          <a:xfrm>
            <a:off x="256031" y="1062227"/>
            <a:ext cx="2543556" cy="685800"/>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1311402" y="5305805"/>
            <a:ext cx="633730" cy="812800"/>
          </a:xfrm>
          <a:custGeom>
            <a:avLst/>
            <a:gdLst/>
            <a:ahLst/>
            <a:cxnLst/>
            <a:rect l="l" t="t" r="r" b="b"/>
            <a:pathLst>
              <a:path w="633730" h="812800">
                <a:moveTo>
                  <a:pt x="0" y="812673"/>
                </a:moveTo>
                <a:lnTo>
                  <a:pt x="633603" y="0"/>
                </a:lnTo>
              </a:path>
            </a:pathLst>
          </a:custGeom>
          <a:ln w="28956">
            <a:solidFill>
              <a:srgbClr val="7E7E7E"/>
            </a:solidFill>
          </a:ln>
        </p:spPr>
        <p:txBody>
          <a:bodyPr wrap="square" lIns="0" tIns="0" rIns="0" bIns="0" rtlCol="0"/>
          <a:lstStyle/>
          <a:p>
            <a:endParaRPr/>
          </a:p>
        </p:txBody>
      </p:sp>
      <p:sp>
        <p:nvSpPr>
          <p:cNvPr id="6" name="object 6"/>
          <p:cNvSpPr/>
          <p:nvPr/>
        </p:nvSpPr>
        <p:spPr>
          <a:xfrm>
            <a:off x="4193285" y="4918709"/>
            <a:ext cx="702945" cy="703580"/>
          </a:xfrm>
          <a:custGeom>
            <a:avLst/>
            <a:gdLst/>
            <a:ahLst/>
            <a:cxnLst/>
            <a:rect l="l" t="t" r="r" b="b"/>
            <a:pathLst>
              <a:path w="702945" h="703579">
                <a:moveTo>
                  <a:pt x="0" y="703414"/>
                </a:moveTo>
                <a:lnTo>
                  <a:pt x="702563" y="0"/>
                </a:lnTo>
              </a:path>
            </a:pathLst>
          </a:custGeom>
          <a:ln w="28956">
            <a:solidFill>
              <a:srgbClr val="7E7E7E"/>
            </a:solidFill>
          </a:ln>
        </p:spPr>
        <p:txBody>
          <a:bodyPr wrap="square" lIns="0" tIns="0" rIns="0" bIns="0" rtlCol="0"/>
          <a:lstStyle/>
          <a:p>
            <a:endParaRPr/>
          </a:p>
        </p:txBody>
      </p:sp>
      <p:sp>
        <p:nvSpPr>
          <p:cNvPr id="7" name="object 7"/>
          <p:cNvSpPr/>
          <p:nvPr/>
        </p:nvSpPr>
        <p:spPr>
          <a:xfrm>
            <a:off x="6861809" y="4741926"/>
            <a:ext cx="705485" cy="592455"/>
          </a:xfrm>
          <a:custGeom>
            <a:avLst/>
            <a:gdLst/>
            <a:ahLst/>
            <a:cxnLst/>
            <a:rect l="l" t="t" r="r" b="b"/>
            <a:pathLst>
              <a:path w="705484" h="592454">
                <a:moveTo>
                  <a:pt x="0" y="592074"/>
                </a:moveTo>
                <a:lnTo>
                  <a:pt x="705104" y="0"/>
                </a:lnTo>
              </a:path>
            </a:pathLst>
          </a:custGeom>
          <a:ln w="28956">
            <a:solidFill>
              <a:srgbClr val="7E7E7E"/>
            </a:solidFill>
          </a:ln>
        </p:spPr>
        <p:txBody>
          <a:bodyPr wrap="square" lIns="0" tIns="0" rIns="0" bIns="0" rtlCol="0"/>
          <a:lstStyle/>
          <a:p>
            <a:endParaRPr/>
          </a:p>
        </p:txBody>
      </p:sp>
      <p:sp>
        <p:nvSpPr>
          <p:cNvPr id="8" name="object 8"/>
          <p:cNvSpPr/>
          <p:nvPr/>
        </p:nvSpPr>
        <p:spPr>
          <a:xfrm>
            <a:off x="2541270" y="5199126"/>
            <a:ext cx="954405" cy="535305"/>
          </a:xfrm>
          <a:custGeom>
            <a:avLst/>
            <a:gdLst/>
            <a:ahLst/>
            <a:cxnLst/>
            <a:rect l="l" t="t" r="r" b="b"/>
            <a:pathLst>
              <a:path w="954404" h="535304">
                <a:moveTo>
                  <a:pt x="0" y="0"/>
                </a:moveTo>
                <a:lnTo>
                  <a:pt x="954024" y="535178"/>
                </a:lnTo>
              </a:path>
            </a:pathLst>
          </a:custGeom>
          <a:ln w="28956">
            <a:solidFill>
              <a:srgbClr val="7E7E7E"/>
            </a:solidFill>
          </a:ln>
        </p:spPr>
        <p:txBody>
          <a:bodyPr wrap="square" lIns="0" tIns="0" rIns="0" bIns="0" rtlCol="0"/>
          <a:lstStyle/>
          <a:p>
            <a:endParaRPr/>
          </a:p>
        </p:txBody>
      </p:sp>
      <p:sp>
        <p:nvSpPr>
          <p:cNvPr id="9" name="object 9"/>
          <p:cNvSpPr/>
          <p:nvPr/>
        </p:nvSpPr>
        <p:spPr>
          <a:xfrm>
            <a:off x="5522214" y="4874514"/>
            <a:ext cx="745490" cy="511175"/>
          </a:xfrm>
          <a:custGeom>
            <a:avLst/>
            <a:gdLst/>
            <a:ahLst/>
            <a:cxnLst/>
            <a:rect l="l" t="t" r="r" b="b"/>
            <a:pathLst>
              <a:path w="745489" h="511175">
                <a:moveTo>
                  <a:pt x="0" y="0"/>
                </a:moveTo>
                <a:lnTo>
                  <a:pt x="745236" y="511048"/>
                </a:lnTo>
              </a:path>
            </a:pathLst>
          </a:custGeom>
          <a:ln w="28956">
            <a:solidFill>
              <a:srgbClr val="7E7E7E"/>
            </a:solidFill>
          </a:ln>
        </p:spPr>
        <p:txBody>
          <a:bodyPr wrap="square" lIns="0" tIns="0" rIns="0" bIns="0" rtlCol="0"/>
          <a:lstStyle/>
          <a:p>
            <a:endParaRPr/>
          </a:p>
        </p:txBody>
      </p:sp>
      <p:sp>
        <p:nvSpPr>
          <p:cNvPr id="10" name="object 10"/>
          <p:cNvSpPr/>
          <p:nvPr/>
        </p:nvSpPr>
        <p:spPr>
          <a:xfrm>
            <a:off x="3631691" y="5823861"/>
            <a:ext cx="356615" cy="221187"/>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601980" y="6118859"/>
            <a:ext cx="1303020" cy="365760"/>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5925290" y="5486400"/>
            <a:ext cx="1132512" cy="365759"/>
          </a:xfrm>
          <a:prstGeom prst="rect">
            <a:avLst/>
          </a:prstGeom>
          <a:blipFill>
            <a:blip r:embed="rId6" cstate="print"/>
            <a:stretch>
              <a:fillRect/>
            </a:stretch>
          </a:blipFill>
        </p:spPr>
        <p:txBody>
          <a:bodyPr wrap="square" lIns="0" tIns="0" rIns="0" bIns="0" rtlCol="0"/>
          <a:lstStyle/>
          <a:p>
            <a:endParaRPr/>
          </a:p>
        </p:txBody>
      </p:sp>
      <p:sp>
        <p:nvSpPr>
          <p:cNvPr id="13" name="object 13"/>
          <p:cNvSpPr txBox="1"/>
          <p:nvPr/>
        </p:nvSpPr>
        <p:spPr>
          <a:xfrm>
            <a:off x="228600" y="5463540"/>
            <a:ext cx="1137285" cy="307975"/>
          </a:xfrm>
          <a:prstGeom prst="rect">
            <a:avLst/>
          </a:prstGeom>
          <a:solidFill>
            <a:srgbClr val="7E7E7E"/>
          </a:solidFill>
        </p:spPr>
        <p:txBody>
          <a:bodyPr vert="horz" wrap="square" lIns="0" tIns="46355" rIns="0" bIns="0" rtlCol="0">
            <a:spAutoFit/>
          </a:bodyPr>
          <a:lstStyle/>
          <a:p>
            <a:pPr marL="315595">
              <a:lnSpc>
                <a:spcPct val="100000"/>
              </a:lnSpc>
              <a:spcBef>
                <a:spcPts val="365"/>
              </a:spcBef>
            </a:pPr>
            <a:r>
              <a:rPr sz="1400" b="1" spc="-5">
                <a:solidFill>
                  <a:srgbClr val="FFFFFF"/>
                </a:solidFill>
                <a:latin typeface="Verdana"/>
                <a:cs typeface="Verdana"/>
              </a:rPr>
              <a:t>2015</a:t>
            </a:r>
            <a:endParaRPr sz="1400">
              <a:latin typeface="Verdana"/>
              <a:cs typeface="Verdana"/>
            </a:endParaRPr>
          </a:p>
        </p:txBody>
      </p:sp>
      <p:sp>
        <p:nvSpPr>
          <p:cNvPr id="14" name="object 14"/>
          <p:cNvSpPr/>
          <p:nvPr/>
        </p:nvSpPr>
        <p:spPr>
          <a:xfrm>
            <a:off x="1524000" y="4815840"/>
            <a:ext cx="1557527" cy="365760"/>
          </a:xfrm>
          <a:prstGeom prst="rect">
            <a:avLst/>
          </a:prstGeom>
          <a:blipFill>
            <a:blip r:embed="rId7" cstate="print"/>
            <a:stretch>
              <a:fillRect/>
            </a:stretch>
          </a:blipFill>
        </p:spPr>
        <p:txBody>
          <a:bodyPr wrap="square" lIns="0" tIns="0" rIns="0" bIns="0" rtlCol="0"/>
          <a:lstStyle/>
          <a:p>
            <a:endParaRPr/>
          </a:p>
        </p:txBody>
      </p:sp>
      <p:sp>
        <p:nvSpPr>
          <p:cNvPr id="15" name="object 15"/>
          <p:cNvSpPr txBox="1"/>
          <p:nvPr/>
        </p:nvSpPr>
        <p:spPr>
          <a:xfrm>
            <a:off x="1889505" y="5456021"/>
            <a:ext cx="1035685" cy="574040"/>
          </a:xfrm>
          <a:prstGeom prst="rect">
            <a:avLst/>
          </a:prstGeom>
        </p:spPr>
        <p:txBody>
          <a:bodyPr vert="horz" wrap="square" lIns="0" tIns="12700" rIns="0" bIns="0" rtlCol="0">
            <a:spAutoFit/>
          </a:bodyPr>
          <a:lstStyle/>
          <a:p>
            <a:pPr marL="12700" marR="5080" algn="ctr">
              <a:lnSpc>
                <a:spcPct val="100000"/>
              </a:lnSpc>
              <a:spcBef>
                <a:spcPts val="100"/>
              </a:spcBef>
            </a:pPr>
            <a:r>
              <a:rPr sz="1200">
                <a:latin typeface="Verdana"/>
                <a:cs typeface="Verdana"/>
              </a:rPr>
              <a:t>L&amp;R</a:t>
            </a:r>
            <a:r>
              <a:rPr sz="1200" spc="-85">
                <a:latin typeface="Verdana"/>
                <a:cs typeface="Verdana"/>
              </a:rPr>
              <a:t> </a:t>
            </a:r>
            <a:r>
              <a:rPr sz="1200" spc="-5">
                <a:latin typeface="Verdana"/>
                <a:cs typeface="Verdana"/>
              </a:rPr>
              <a:t>Division,  Kleos LSW  NL</a:t>
            </a:r>
            <a:r>
              <a:rPr sz="1200" spc="-15">
                <a:latin typeface="Verdana"/>
                <a:cs typeface="Verdana"/>
              </a:rPr>
              <a:t> </a:t>
            </a:r>
            <a:r>
              <a:rPr sz="1200">
                <a:latin typeface="Verdana"/>
                <a:cs typeface="Verdana"/>
              </a:rPr>
              <a:t>BE</a:t>
            </a:r>
          </a:p>
        </p:txBody>
      </p:sp>
      <p:sp>
        <p:nvSpPr>
          <p:cNvPr id="16" name="object 16"/>
          <p:cNvSpPr txBox="1"/>
          <p:nvPr/>
        </p:nvSpPr>
        <p:spPr>
          <a:xfrm>
            <a:off x="5014976" y="5161533"/>
            <a:ext cx="681355" cy="574675"/>
          </a:xfrm>
          <a:prstGeom prst="rect">
            <a:avLst/>
          </a:prstGeom>
        </p:spPr>
        <p:txBody>
          <a:bodyPr vert="horz" wrap="square" lIns="0" tIns="12700" rIns="0" bIns="0" rtlCol="0">
            <a:spAutoFit/>
          </a:bodyPr>
          <a:lstStyle/>
          <a:p>
            <a:pPr marL="12065" marR="5080" indent="-3175" algn="ctr">
              <a:lnSpc>
                <a:spcPct val="100000"/>
              </a:lnSpc>
              <a:spcBef>
                <a:spcPts val="100"/>
              </a:spcBef>
            </a:pPr>
            <a:r>
              <a:rPr sz="1200">
                <a:latin typeface="Verdana"/>
                <a:cs typeface="Verdana"/>
              </a:rPr>
              <a:t>L&amp;R  D</a:t>
            </a:r>
            <a:r>
              <a:rPr sz="1200" spc="-5">
                <a:latin typeface="Verdana"/>
                <a:cs typeface="Verdana"/>
              </a:rPr>
              <a:t>i</a:t>
            </a:r>
            <a:r>
              <a:rPr sz="1200">
                <a:latin typeface="Verdana"/>
                <a:cs typeface="Verdana"/>
              </a:rPr>
              <a:t>v</a:t>
            </a:r>
            <a:r>
              <a:rPr sz="1200" spc="-5">
                <a:latin typeface="Verdana"/>
                <a:cs typeface="Verdana"/>
              </a:rPr>
              <a:t>i</a:t>
            </a:r>
            <a:r>
              <a:rPr sz="1200">
                <a:latin typeface="Verdana"/>
                <a:cs typeface="Verdana"/>
              </a:rPr>
              <a:t>s</a:t>
            </a:r>
            <a:r>
              <a:rPr sz="1200" spc="-5">
                <a:latin typeface="Verdana"/>
                <a:cs typeface="Verdana"/>
              </a:rPr>
              <a:t>i</a:t>
            </a:r>
            <a:r>
              <a:rPr sz="1200">
                <a:latin typeface="Verdana"/>
                <a:cs typeface="Verdana"/>
              </a:rPr>
              <a:t>o</a:t>
            </a:r>
            <a:r>
              <a:rPr sz="1200" spc="-5">
                <a:latin typeface="Verdana"/>
                <a:cs typeface="Verdana"/>
              </a:rPr>
              <a:t>n</a:t>
            </a:r>
            <a:r>
              <a:rPr sz="1200">
                <a:latin typeface="Verdana"/>
                <a:cs typeface="Verdana"/>
              </a:rPr>
              <a:t>,  </a:t>
            </a:r>
            <a:r>
              <a:rPr sz="1200" spc="-5">
                <a:latin typeface="Verdana"/>
                <a:cs typeface="Verdana"/>
              </a:rPr>
              <a:t>Nordics</a:t>
            </a:r>
            <a:endParaRPr sz="1200">
              <a:latin typeface="Verdana"/>
              <a:cs typeface="Verdana"/>
            </a:endParaRPr>
          </a:p>
        </p:txBody>
      </p:sp>
      <p:sp>
        <p:nvSpPr>
          <p:cNvPr id="17" name="object 17"/>
          <p:cNvSpPr txBox="1"/>
          <p:nvPr/>
        </p:nvSpPr>
        <p:spPr>
          <a:xfrm>
            <a:off x="3264534" y="5113146"/>
            <a:ext cx="1028700" cy="574675"/>
          </a:xfrm>
          <a:prstGeom prst="rect">
            <a:avLst/>
          </a:prstGeom>
        </p:spPr>
        <p:txBody>
          <a:bodyPr vert="horz" wrap="square" lIns="0" tIns="12700" rIns="0" bIns="0" rtlCol="0">
            <a:spAutoFit/>
          </a:bodyPr>
          <a:lstStyle/>
          <a:p>
            <a:pPr marL="12700" marR="5080" algn="ctr">
              <a:lnSpc>
                <a:spcPct val="100000"/>
              </a:lnSpc>
              <a:spcBef>
                <a:spcPts val="100"/>
              </a:spcBef>
            </a:pPr>
            <a:r>
              <a:rPr sz="1200" spc="-25">
                <a:latin typeface="Verdana"/>
                <a:cs typeface="Verdana"/>
              </a:rPr>
              <a:t>TAA</a:t>
            </a:r>
            <a:r>
              <a:rPr sz="1200" spc="-75">
                <a:latin typeface="Verdana"/>
                <a:cs typeface="Verdana"/>
              </a:rPr>
              <a:t> </a:t>
            </a:r>
            <a:r>
              <a:rPr sz="1200" spc="-5">
                <a:latin typeface="Verdana"/>
                <a:cs typeface="Verdana"/>
              </a:rPr>
              <a:t>Division,  EU Project  </a:t>
            </a:r>
            <a:r>
              <a:rPr sz="1200">
                <a:latin typeface="Verdana"/>
                <a:cs typeface="Verdana"/>
              </a:rPr>
              <a:t>BE &amp;</a:t>
            </a:r>
            <a:r>
              <a:rPr sz="1200" spc="-30">
                <a:latin typeface="Verdana"/>
                <a:cs typeface="Verdana"/>
              </a:rPr>
              <a:t> </a:t>
            </a:r>
            <a:r>
              <a:rPr sz="1200" spc="-5">
                <a:latin typeface="Verdana"/>
                <a:cs typeface="Verdana"/>
              </a:rPr>
              <a:t>IT</a:t>
            </a:r>
            <a:endParaRPr sz="1200">
              <a:latin typeface="Verdana"/>
              <a:cs typeface="Verdana"/>
            </a:endParaRPr>
          </a:p>
        </p:txBody>
      </p:sp>
      <p:sp>
        <p:nvSpPr>
          <p:cNvPr id="18" name="object 18"/>
          <p:cNvSpPr/>
          <p:nvPr/>
        </p:nvSpPr>
        <p:spPr>
          <a:xfrm>
            <a:off x="7450814" y="4319015"/>
            <a:ext cx="1132512" cy="365760"/>
          </a:xfrm>
          <a:prstGeom prst="rect">
            <a:avLst/>
          </a:prstGeom>
          <a:blipFill>
            <a:blip r:embed="rId6" cstate="print"/>
            <a:stretch>
              <a:fillRect/>
            </a:stretch>
          </a:blipFill>
        </p:spPr>
        <p:txBody>
          <a:bodyPr wrap="square" lIns="0" tIns="0" rIns="0" bIns="0" rtlCol="0"/>
          <a:lstStyle/>
          <a:p>
            <a:endParaRPr/>
          </a:p>
        </p:txBody>
      </p:sp>
      <p:sp>
        <p:nvSpPr>
          <p:cNvPr id="19" name="object 19"/>
          <p:cNvSpPr/>
          <p:nvPr/>
        </p:nvSpPr>
        <p:spPr>
          <a:xfrm>
            <a:off x="3241548" y="5739384"/>
            <a:ext cx="1301496" cy="365759"/>
          </a:xfrm>
          <a:prstGeom prst="rect">
            <a:avLst/>
          </a:prstGeom>
          <a:blipFill>
            <a:blip r:embed="rId5" cstate="print"/>
            <a:stretch>
              <a:fillRect/>
            </a:stretch>
          </a:blipFill>
        </p:spPr>
        <p:txBody>
          <a:bodyPr wrap="square" lIns="0" tIns="0" rIns="0" bIns="0" rtlCol="0"/>
          <a:lstStyle/>
          <a:p>
            <a:endParaRPr/>
          </a:p>
        </p:txBody>
      </p:sp>
      <p:sp>
        <p:nvSpPr>
          <p:cNvPr id="20" name="object 20"/>
          <p:cNvSpPr/>
          <p:nvPr/>
        </p:nvSpPr>
        <p:spPr>
          <a:xfrm>
            <a:off x="4625318" y="4364735"/>
            <a:ext cx="1132512" cy="365760"/>
          </a:xfrm>
          <a:prstGeom prst="rect">
            <a:avLst/>
          </a:prstGeom>
          <a:blipFill>
            <a:blip r:embed="rId6" cstate="print"/>
            <a:stretch>
              <a:fillRect/>
            </a:stretch>
          </a:blipFill>
        </p:spPr>
        <p:txBody>
          <a:bodyPr wrap="square" lIns="0" tIns="0" rIns="0" bIns="0" rtlCol="0"/>
          <a:lstStyle/>
          <a:p>
            <a:endParaRPr/>
          </a:p>
        </p:txBody>
      </p:sp>
      <p:sp>
        <p:nvSpPr>
          <p:cNvPr id="21" name="object 21"/>
          <p:cNvSpPr txBox="1"/>
          <p:nvPr/>
        </p:nvSpPr>
        <p:spPr>
          <a:xfrm>
            <a:off x="5839714" y="4784597"/>
            <a:ext cx="1283970" cy="391160"/>
          </a:xfrm>
          <a:prstGeom prst="rect">
            <a:avLst/>
          </a:prstGeom>
        </p:spPr>
        <p:txBody>
          <a:bodyPr vert="horz" wrap="square" lIns="0" tIns="12700" rIns="0" bIns="0" rtlCol="0">
            <a:spAutoFit/>
          </a:bodyPr>
          <a:lstStyle/>
          <a:p>
            <a:pPr marL="309880" marR="5080" indent="-297180">
              <a:lnSpc>
                <a:spcPct val="100000"/>
              </a:lnSpc>
              <a:spcBef>
                <a:spcPts val="100"/>
              </a:spcBef>
            </a:pPr>
            <a:r>
              <a:rPr sz="1200" spc="-25">
                <a:latin typeface="Verdana"/>
                <a:cs typeface="Verdana"/>
              </a:rPr>
              <a:t>TAA </a:t>
            </a:r>
            <a:r>
              <a:rPr sz="1200" spc="-5">
                <a:latin typeface="Verdana"/>
                <a:cs typeface="Verdana"/>
              </a:rPr>
              <a:t>Division NL,  </a:t>
            </a:r>
            <a:r>
              <a:rPr sz="1200" spc="-20">
                <a:latin typeface="Verdana"/>
                <a:cs typeface="Verdana"/>
              </a:rPr>
              <a:t>Twinfield</a:t>
            </a:r>
            <a:endParaRPr sz="1200">
              <a:latin typeface="Verdana"/>
              <a:cs typeface="Verdana"/>
            </a:endParaRPr>
          </a:p>
        </p:txBody>
      </p:sp>
      <p:sp>
        <p:nvSpPr>
          <p:cNvPr id="22" name="object 22"/>
          <p:cNvSpPr txBox="1"/>
          <p:nvPr/>
        </p:nvSpPr>
        <p:spPr>
          <a:xfrm>
            <a:off x="7909941" y="4709921"/>
            <a:ext cx="1449705" cy="757555"/>
          </a:xfrm>
          <a:prstGeom prst="rect">
            <a:avLst/>
          </a:prstGeom>
        </p:spPr>
        <p:txBody>
          <a:bodyPr vert="horz" wrap="square" lIns="0" tIns="12700" rIns="0" bIns="0" rtlCol="0">
            <a:spAutoFit/>
          </a:bodyPr>
          <a:lstStyle/>
          <a:p>
            <a:pPr marL="165100" marR="156845" algn="ctr">
              <a:lnSpc>
                <a:spcPct val="100000"/>
              </a:lnSpc>
              <a:spcBef>
                <a:spcPts val="100"/>
              </a:spcBef>
            </a:pPr>
            <a:r>
              <a:rPr sz="1200">
                <a:latin typeface="Verdana"/>
                <a:cs typeface="Verdana"/>
              </a:rPr>
              <a:t>L&amp;R </a:t>
            </a:r>
            <a:r>
              <a:rPr sz="1200" spc="-5">
                <a:latin typeface="Verdana"/>
                <a:cs typeface="Verdana"/>
              </a:rPr>
              <a:t>Division,  </a:t>
            </a:r>
            <a:r>
              <a:rPr sz="1200" spc="-10">
                <a:latin typeface="Verdana"/>
                <a:cs typeface="Verdana"/>
              </a:rPr>
              <a:t>ES, </a:t>
            </a:r>
            <a:r>
              <a:rPr sz="1200" spc="-5">
                <a:latin typeface="Verdana"/>
                <a:cs typeface="Verdana"/>
              </a:rPr>
              <a:t>BE, </a:t>
            </a:r>
            <a:r>
              <a:rPr sz="1200" spc="-55">
                <a:latin typeface="Verdana"/>
                <a:cs typeface="Verdana"/>
              </a:rPr>
              <a:t>IT,</a:t>
            </a:r>
            <a:r>
              <a:rPr sz="1200" spc="-60">
                <a:latin typeface="Verdana"/>
                <a:cs typeface="Verdana"/>
              </a:rPr>
              <a:t> </a:t>
            </a:r>
            <a:r>
              <a:rPr sz="1200" spc="-5">
                <a:latin typeface="Verdana"/>
                <a:cs typeface="Verdana"/>
              </a:rPr>
              <a:t>SW</a:t>
            </a:r>
            <a:endParaRPr sz="1200">
              <a:latin typeface="Verdana"/>
              <a:cs typeface="Verdana"/>
            </a:endParaRPr>
          </a:p>
          <a:p>
            <a:pPr algn="ctr">
              <a:lnSpc>
                <a:spcPct val="100000"/>
              </a:lnSpc>
            </a:pPr>
            <a:r>
              <a:rPr sz="1200" spc="-5">
                <a:latin typeface="Verdana"/>
                <a:cs typeface="Verdana"/>
              </a:rPr>
              <a:t>With European</a:t>
            </a:r>
            <a:r>
              <a:rPr sz="1200" spc="-15">
                <a:latin typeface="Verdana"/>
                <a:cs typeface="Verdana"/>
              </a:rPr>
              <a:t> </a:t>
            </a:r>
            <a:r>
              <a:rPr sz="1200" spc="-5">
                <a:latin typeface="Verdana"/>
                <a:cs typeface="Verdana"/>
              </a:rPr>
              <a:t>roll</a:t>
            </a:r>
            <a:endParaRPr sz="1200">
              <a:latin typeface="Verdana"/>
              <a:cs typeface="Verdana"/>
            </a:endParaRPr>
          </a:p>
          <a:p>
            <a:pPr marL="1270" algn="ctr">
              <a:lnSpc>
                <a:spcPct val="100000"/>
              </a:lnSpc>
            </a:pPr>
            <a:r>
              <a:rPr sz="1200" spc="-5">
                <a:latin typeface="Verdana"/>
                <a:cs typeface="Verdana"/>
              </a:rPr>
              <a:t>out</a:t>
            </a:r>
            <a:endParaRPr sz="1200">
              <a:latin typeface="Verdana"/>
              <a:cs typeface="Verdana"/>
            </a:endParaRPr>
          </a:p>
        </p:txBody>
      </p:sp>
      <p:sp>
        <p:nvSpPr>
          <p:cNvPr id="23" name="object 23"/>
          <p:cNvSpPr/>
          <p:nvPr/>
        </p:nvSpPr>
        <p:spPr>
          <a:xfrm>
            <a:off x="8207502" y="3917441"/>
            <a:ext cx="417195" cy="362585"/>
          </a:xfrm>
          <a:custGeom>
            <a:avLst/>
            <a:gdLst/>
            <a:ahLst/>
            <a:cxnLst/>
            <a:rect l="l" t="t" r="r" b="b"/>
            <a:pathLst>
              <a:path w="417195" h="362585">
                <a:moveTo>
                  <a:pt x="0" y="362203"/>
                </a:moveTo>
                <a:lnTo>
                  <a:pt x="417195" y="0"/>
                </a:lnTo>
              </a:path>
            </a:pathLst>
          </a:custGeom>
          <a:ln w="28956">
            <a:solidFill>
              <a:srgbClr val="7E7E7E"/>
            </a:solidFill>
          </a:ln>
        </p:spPr>
        <p:txBody>
          <a:bodyPr wrap="square" lIns="0" tIns="0" rIns="0" bIns="0" rtlCol="0"/>
          <a:lstStyle/>
          <a:p>
            <a:endParaRPr/>
          </a:p>
        </p:txBody>
      </p:sp>
      <p:sp>
        <p:nvSpPr>
          <p:cNvPr id="24" name="object 24"/>
          <p:cNvSpPr/>
          <p:nvPr/>
        </p:nvSpPr>
        <p:spPr>
          <a:xfrm>
            <a:off x="9605771" y="4517135"/>
            <a:ext cx="1303020" cy="365760"/>
          </a:xfrm>
          <a:prstGeom prst="rect">
            <a:avLst/>
          </a:prstGeom>
          <a:blipFill>
            <a:blip r:embed="rId5" cstate="print"/>
            <a:stretch>
              <a:fillRect/>
            </a:stretch>
          </a:blipFill>
        </p:spPr>
        <p:txBody>
          <a:bodyPr wrap="square" lIns="0" tIns="0" rIns="0" bIns="0" rtlCol="0"/>
          <a:lstStyle/>
          <a:p>
            <a:endParaRPr/>
          </a:p>
        </p:txBody>
      </p:sp>
      <p:sp>
        <p:nvSpPr>
          <p:cNvPr id="25" name="object 25"/>
          <p:cNvSpPr txBox="1"/>
          <p:nvPr/>
        </p:nvSpPr>
        <p:spPr>
          <a:xfrm>
            <a:off x="9343135" y="3811651"/>
            <a:ext cx="1141730" cy="574040"/>
          </a:xfrm>
          <a:prstGeom prst="rect">
            <a:avLst/>
          </a:prstGeom>
        </p:spPr>
        <p:txBody>
          <a:bodyPr vert="horz" wrap="square" lIns="0" tIns="12700" rIns="0" bIns="0" rtlCol="0">
            <a:spAutoFit/>
          </a:bodyPr>
          <a:lstStyle/>
          <a:p>
            <a:pPr marL="12700" marR="5080" indent="-635" algn="ctr">
              <a:lnSpc>
                <a:spcPct val="100000"/>
              </a:lnSpc>
              <a:spcBef>
                <a:spcPts val="100"/>
              </a:spcBef>
            </a:pPr>
            <a:r>
              <a:rPr sz="1200" spc="-25">
                <a:latin typeface="Verdana"/>
                <a:cs typeface="Verdana"/>
              </a:rPr>
              <a:t>TAA </a:t>
            </a:r>
            <a:r>
              <a:rPr sz="1200" spc="-5">
                <a:latin typeface="Verdana"/>
                <a:cs typeface="Verdana"/>
              </a:rPr>
              <a:t>Division,  EU Project</a:t>
            </a:r>
            <a:r>
              <a:rPr sz="1200" spc="-75">
                <a:latin typeface="Verdana"/>
                <a:cs typeface="Verdana"/>
              </a:rPr>
              <a:t> </a:t>
            </a:r>
            <a:r>
              <a:rPr sz="1200" spc="-5">
                <a:latin typeface="Verdana"/>
                <a:cs typeface="Verdana"/>
              </a:rPr>
              <a:t>DE,  </a:t>
            </a:r>
            <a:r>
              <a:rPr sz="1200" spc="-60">
                <a:latin typeface="Verdana"/>
                <a:cs typeface="Verdana"/>
              </a:rPr>
              <a:t>SW,</a:t>
            </a:r>
            <a:r>
              <a:rPr sz="1200" spc="-15">
                <a:latin typeface="Verdana"/>
                <a:cs typeface="Verdana"/>
              </a:rPr>
              <a:t> </a:t>
            </a:r>
            <a:r>
              <a:rPr sz="1200" spc="-5">
                <a:latin typeface="Verdana"/>
                <a:cs typeface="Verdana"/>
              </a:rPr>
              <a:t>ES</a:t>
            </a:r>
            <a:endParaRPr sz="1200">
              <a:latin typeface="Verdana"/>
              <a:cs typeface="Verdana"/>
            </a:endParaRPr>
          </a:p>
        </p:txBody>
      </p:sp>
      <p:sp>
        <p:nvSpPr>
          <p:cNvPr id="26" name="object 26"/>
          <p:cNvSpPr/>
          <p:nvPr/>
        </p:nvSpPr>
        <p:spPr>
          <a:xfrm>
            <a:off x="9605771" y="4988052"/>
            <a:ext cx="1554479" cy="365760"/>
          </a:xfrm>
          <a:prstGeom prst="rect">
            <a:avLst/>
          </a:prstGeom>
          <a:blipFill>
            <a:blip r:embed="rId8" cstate="print"/>
            <a:stretch>
              <a:fillRect/>
            </a:stretch>
          </a:blipFill>
        </p:spPr>
        <p:txBody>
          <a:bodyPr wrap="square" lIns="0" tIns="0" rIns="0" bIns="0" rtlCol="0"/>
          <a:lstStyle/>
          <a:p>
            <a:endParaRPr/>
          </a:p>
        </p:txBody>
      </p:sp>
      <p:sp>
        <p:nvSpPr>
          <p:cNvPr id="27" name="object 27"/>
          <p:cNvSpPr txBox="1"/>
          <p:nvPr/>
        </p:nvSpPr>
        <p:spPr>
          <a:xfrm>
            <a:off x="3176016" y="4376928"/>
            <a:ext cx="1205865" cy="307975"/>
          </a:xfrm>
          <a:prstGeom prst="rect">
            <a:avLst/>
          </a:prstGeom>
          <a:solidFill>
            <a:srgbClr val="7E7E7E"/>
          </a:solidFill>
        </p:spPr>
        <p:txBody>
          <a:bodyPr vert="horz" wrap="square" lIns="0" tIns="45085" rIns="0" bIns="0" rtlCol="0">
            <a:spAutoFit/>
          </a:bodyPr>
          <a:lstStyle/>
          <a:p>
            <a:pPr marL="348615">
              <a:lnSpc>
                <a:spcPct val="100000"/>
              </a:lnSpc>
              <a:spcBef>
                <a:spcPts val="355"/>
              </a:spcBef>
            </a:pPr>
            <a:r>
              <a:rPr sz="1400" b="1" spc="-5">
                <a:solidFill>
                  <a:srgbClr val="FFFFFF"/>
                </a:solidFill>
                <a:latin typeface="Verdana"/>
                <a:cs typeface="Verdana"/>
              </a:rPr>
              <a:t>2016</a:t>
            </a:r>
            <a:endParaRPr sz="1400">
              <a:latin typeface="Verdana"/>
              <a:cs typeface="Verdana"/>
            </a:endParaRPr>
          </a:p>
        </p:txBody>
      </p:sp>
      <p:sp>
        <p:nvSpPr>
          <p:cNvPr id="28" name="object 28"/>
          <p:cNvSpPr txBox="1"/>
          <p:nvPr/>
        </p:nvSpPr>
        <p:spPr>
          <a:xfrm>
            <a:off x="6007608" y="3934967"/>
            <a:ext cx="1666239" cy="307975"/>
          </a:xfrm>
          <a:prstGeom prst="rect">
            <a:avLst/>
          </a:prstGeom>
          <a:solidFill>
            <a:srgbClr val="7E7E7E"/>
          </a:solidFill>
        </p:spPr>
        <p:txBody>
          <a:bodyPr vert="horz" wrap="square" lIns="0" tIns="45085" rIns="0" bIns="0" rtlCol="0">
            <a:spAutoFit/>
          </a:bodyPr>
          <a:lstStyle/>
          <a:p>
            <a:pPr marL="635" algn="ctr">
              <a:lnSpc>
                <a:spcPct val="100000"/>
              </a:lnSpc>
              <a:spcBef>
                <a:spcPts val="355"/>
              </a:spcBef>
            </a:pPr>
            <a:r>
              <a:rPr sz="1400" b="1" spc="-5">
                <a:solidFill>
                  <a:srgbClr val="FFFFFF"/>
                </a:solidFill>
                <a:latin typeface="Verdana"/>
                <a:cs typeface="Verdana"/>
              </a:rPr>
              <a:t>2017</a:t>
            </a:r>
            <a:endParaRPr sz="1400">
              <a:latin typeface="Verdana"/>
              <a:cs typeface="Verdana"/>
            </a:endParaRPr>
          </a:p>
        </p:txBody>
      </p:sp>
      <p:sp>
        <p:nvSpPr>
          <p:cNvPr id="29" name="object 29"/>
          <p:cNvSpPr txBox="1"/>
          <p:nvPr/>
        </p:nvSpPr>
        <p:spPr>
          <a:xfrm>
            <a:off x="7790688" y="3499103"/>
            <a:ext cx="1667510" cy="307975"/>
          </a:xfrm>
          <a:prstGeom prst="rect">
            <a:avLst/>
          </a:prstGeom>
          <a:solidFill>
            <a:srgbClr val="7E7E7E"/>
          </a:solidFill>
        </p:spPr>
        <p:txBody>
          <a:bodyPr vert="horz" wrap="square" lIns="0" tIns="45719" rIns="0" bIns="0" rtlCol="0">
            <a:spAutoFit/>
          </a:bodyPr>
          <a:lstStyle/>
          <a:p>
            <a:pPr algn="ctr">
              <a:lnSpc>
                <a:spcPct val="100000"/>
              </a:lnSpc>
              <a:spcBef>
                <a:spcPts val="359"/>
              </a:spcBef>
            </a:pPr>
            <a:r>
              <a:rPr sz="1400" b="1" spc="-5">
                <a:solidFill>
                  <a:srgbClr val="FFFFFF"/>
                </a:solidFill>
                <a:latin typeface="Verdana"/>
                <a:cs typeface="Verdana"/>
              </a:rPr>
              <a:t>2018</a:t>
            </a:r>
            <a:endParaRPr sz="1400">
              <a:latin typeface="Verdana"/>
              <a:cs typeface="Verdana"/>
            </a:endParaRPr>
          </a:p>
        </p:txBody>
      </p:sp>
      <p:sp>
        <p:nvSpPr>
          <p:cNvPr id="30" name="object 30"/>
          <p:cNvSpPr txBox="1"/>
          <p:nvPr/>
        </p:nvSpPr>
        <p:spPr>
          <a:xfrm>
            <a:off x="10017252" y="1863851"/>
            <a:ext cx="1667510" cy="307975"/>
          </a:xfrm>
          <a:prstGeom prst="rect">
            <a:avLst/>
          </a:prstGeom>
          <a:solidFill>
            <a:srgbClr val="7E7E7E"/>
          </a:solidFill>
        </p:spPr>
        <p:txBody>
          <a:bodyPr vert="horz" wrap="square" lIns="0" tIns="44450" rIns="0" bIns="0" rtlCol="0">
            <a:spAutoFit/>
          </a:bodyPr>
          <a:lstStyle/>
          <a:p>
            <a:pPr marL="1270" algn="ctr">
              <a:lnSpc>
                <a:spcPct val="100000"/>
              </a:lnSpc>
              <a:spcBef>
                <a:spcPts val="350"/>
              </a:spcBef>
            </a:pPr>
            <a:r>
              <a:rPr sz="1400" b="1" spc="-5">
                <a:solidFill>
                  <a:srgbClr val="FFFFFF"/>
                </a:solidFill>
                <a:latin typeface="Verdana"/>
                <a:cs typeface="Verdana"/>
              </a:rPr>
              <a:t>2019</a:t>
            </a:r>
            <a:endParaRPr sz="1400">
              <a:latin typeface="Verdana"/>
              <a:cs typeface="Verdana"/>
            </a:endParaRPr>
          </a:p>
        </p:txBody>
      </p:sp>
      <p:sp>
        <p:nvSpPr>
          <p:cNvPr id="31" name="object 31"/>
          <p:cNvSpPr txBox="1"/>
          <p:nvPr/>
        </p:nvSpPr>
        <p:spPr>
          <a:xfrm>
            <a:off x="9940797" y="2202941"/>
            <a:ext cx="1821180" cy="940435"/>
          </a:xfrm>
          <a:prstGeom prst="rect">
            <a:avLst/>
          </a:prstGeom>
        </p:spPr>
        <p:txBody>
          <a:bodyPr vert="horz" wrap="square" lIns="0" tIns="12700" rIns="0" bIns="0" rtlCol="0">
            <a:spAutoFit/>
          </a:bodyPr>
          <a:lstStyle/>
          <a:p>
            <a:pPr marL="2540" algn="ctr">
              <a:lnSpc>
                <a:spcPct val="100000"/>
              </a:lnSpc>
              <a:spcBef>
                <a:spcPts val="100"/>
              </a:spcBef>
            </a:pPr>
            <a:r>
              <a:rPr sz="1200" spc="-25">
                <a:latin typeface="Verdana"/>
                <a:cs typeface="Verdana"/>
              </a:rPr>
              <a:t>TAA</a:t>
            </a:r>
            <a:r>
              <a:rPr sz="1200" spc="-10">
                <a:latin typeface="Verdana"/>
                <a:cs typeface="Verdana"/>
              </a:rPr>
              <a:t> </a:t>
            </a:r>
            <a:r>
              <a:rPr sz="1200" spc="-5">
                <a:latin typeface="Verdana"/>
                <a:cs typeface="Verdana"/>
              </a:rPr>
              <a:t>Division,</a:t>
            </a:r>
            <a:endParaRPr sz="1200">
              <a:latin typeface="Verdana"/>
              <a:cs typeface="Verdana"/>
            </a:endParaRPr>
          </a:p>
          <a:p>
            <a:pPr marL="635" algn="ctr">
              <a:lnSpc>
                <a:spcPct val="100000"/>
              </a:lnSpc>
            </a:pPr>
            <a:r>
              <a:rPr sz="1200" spc="-5">
                <a:latin typeface="Verdana"/>
                <a:cs typeface="Verdana"/>
              </a:rPr>
              <a:t>EU Project Sales</a:t>
            </a:r>
            <a:r>
              <a:rPr sz="1200" spc="-20">
                <a:latin typeface="Verdana"/>
                <a:cs typeface="Verdana"/>
              </a:rPr>
              <a:t> </a:t>
            </a:r>
            <a:r>
              <a:rPr sz="1200" spc="-5">
                <a:latin typeface="Verdana"/>
                <a:cs typeface="Verdana"/>
              </a:rPr>
              <a:t>Cloud</a:t>
            </a:r>
            <a:endParaRPr sz="1200">
              <a:latin typeface="Verdana"/>
              <a:cs typeface="Verdana"/>
            </a:endParaRPr>
          </a:p>
          <a:p>
            <a:pPr marL="635" algn="ctr">
              <a:lnSpc>
                <a:spcPct val="100000"/>
              </a:lnSpc>
            </a:pPr>
            <a:r>
              <a:rPr sz="1200">
                <a:latin typeface="Verdana"/>
                <a:cs typeface="Verdana"/>
              </a:rPr>
              <a:t>L&amp;R</a:t>
            </a:r>
            <a:r>
              <a:rPr sz="1200" spc="-20">
                <a:latin typeface="Verdana"/>
                <a:cs typeface="Verdana"/>
              </a:rPr>
              <a:t> </a:t>
            </a:r>
            <a:r>
              <a:rPr sz="1200" spc="-5">
                <a:latin typeface="Verdana"/>
                <a:cs typeface="Verdana"/>
              </a:rPr>
              <a:t>Division,</a:t>
            </a:r>
            <a:endParaRPr sz="1200">
              <a:latin typeface="Verdana"/>
              <a:cs typeface="Verdana"/>
            </a:endParaRPr>
          </a:p>
          <a:p>
            <a:pPr marL="12700" marR="5080" algn="ctr">
              <a:lnSpc>
                <a:spcPct val="100000"/>
              </a:lnSpc>
            </a:pPr>
            <a:r>
              <a:rPr sz="1200" spc="-5">
                <a:latin typeface="Verdana"/>
                <a:cs typeface="Verdana"/>
              </a:rPr>
              <a:t>EU Project Sales</a:t>
            </a:r>
            <a:r>
              <a:rPr sz="1200" spc="-45">
                <a:latin typeface="Verdana"/>
                <a:cs typeface="Verdana"/>
              </a:rPr>
              <a:t> </a:t>
            </a:r>
            <a:r>
              <a:rPr sz="1200" spc="-5">
                <a:latin typeface="Verdana"/>
                <a:cs typeface="Verdana"/>
              </a:rPr>
              <a:t>Cloud,  </a:t>
            </a:r>
            <a:r>
              <a:rPr sz="1200" spc="-20">
                <a:latin typeface="Verdana"/>
                <a:cs typeface="Verdana"/>
              </a:rPr>
              <a:t>Twinfield</a:t>
            </a:r>
            <a:r>
              <a:rPr sz="1200" spc="-10">
                <a:latin typeface="Verdana"/>
                <a:cs typeface="Verdana"/>
              </a:rPr>
              <a:t> </a:t>
            </a:r>
            <a:r>
              <a:rPr sz="1200" spc="-5">
                <a:latin typeface="Verdana"/>
                <a:cs typeface="Verdana"/>
              </a:rPr>
              <a:t>Pardot</a:t>
            </a:r>
            <a:endParaRPr sz="1200">
              <a:latin typeface="Verdana"/>
              <a:cs typeface="Verdana"/>
            </a:endParaRPr>
          </a:p>
        </p:txBody>
      </p:sp>
      <p:sp>
        <p:nvSpPr>
          <p:cNvPr id="32" name="object 32"/>
          <p:cNvSpPr/>
          <p:nvPr/>
        </p:nvSpPr>
        <p:spPr>
          <a:xfrm>
            <a:off x="10597910" y="3221735"/>
            <a:ext cx="1129115" cy="365760"/>
          </a:xfrm>
          <a:prstGeom prst="rect">
            <a:avLst/>
          </a:prstGeom>
          <a:blipFill>
            <a:blip r:embed="rId9" cstate="print"/>
            <a:stretch>
              <a:fillRect/>
            </a:stretch>
          </a:blipFill>
        </p:spPr>
        <p:txBody>
          <a:bodyPr wrap="square" lIns="0" tIns="0" rIns="0" bIns="0" rtlCol="0"/>
          <a:lstStyle/>
          <a:p>
            <a:endParaRPr/>
          </a:p>
        </p:txBody>
      </p:sp>
      <p:sp>
        <p:nvSpPr>
          <p:cNvPr id="33" name="object 33"/>
          <p:cNvSpPr/>
          <p:nvPr/>
        </p:nvSpPr>
        <p:spPr>
          <a:xfrm>
            <a:off x="10585704" y="3686555"/>
            <a:ext cx="1330452" cy="313944"/>
          </a:xfrm>
          <a:prstGeom prst="rect">
            <a:avLst/>
          </a:prstGeom>
          <a:blipFill>
            <a:blip r:embed="rId10" cstate="print"/>
            <a:stretch>
              <a:fillRect/>
            </a:stretch>
          </a:blipFill>
        </p:spPr>
        <p:txBody>
          <a:bodyPr wrap="square" lIns="0" tIns="0" rIns="0" bIns="0" rtlCol="0"/>
          <a:lstStyle/>
          <a:p>
            <a:endParaRPr/>
          </a:p>
        </p:txBody>
      </p:sp>
      <p:sp>
        <p:nvSpPr>
          <p:cNvPr id="34" name="object 34"/>
          <p:cNvSpPr txBox="1"/>
          <p:nvPr/>
        </p:nvSpPr>
        <p:spPr>
          <a:xfrm>
            <a:off x="8473440" y="1117091"/>
            <a:ext cx="1667510" cy="307975"/>
          </a:xfrm>
          <a:prstGeom prst="rect">
            <a:avLst/>
          </a:prstGeom>
          <a:solidFill>
            <a:srgbClr val="7E7E7E"/>
          </a:solidFill>
        </p:spPr>
        <p:txBody>
          <a:bodyPr vert="horz" wrap="square" lIns="0" tIns="44450" rIns="0" bIns="0" rtlCol="0">
            <a:spAutoFit/>
          </a:bodyPr>
          <a:lstStyle/>
          <a:p>
            <a:pPr marL="1270" algn="ctr">
              <a:lnSpc>
                <a:spcPct val="100000"/>
              </a:lnSpc>
              <a:spcBef>
                <a:spcPts val="350"/>
              </a:spcBef>
            </a:pPr>
            <a:r>
              <a:rPr sz="1400" b="1" spc="-5">
                <a:solidFill>
                  <a:srgbClr val="FFFFFF"/>
                </a:solidFill>
                <a:latin typeface="Verdana"/>
                <a:cs typeface="Verdana"/>
              </a:rPr>
              <a:t>2020</a:t>
            </a:r>
            <a:endParaRPr sz="1400">
              <a:latin typeface="Verdana"/>
              <a:cs typeface="Verdana"/>
            </a:endParaRPr>
          </a:p>
        </p:txBody>
      </p:sp>
      <p:sp>
        <p:nvSpPr>
          <p:cNvPr id="35" name="object 35"/>
          <p:cNvSpPr/>
          <p:nvPr/>
        </p:nvSpPr>
        <p:spPr>
          <a:xfrm>
            <a:off x="7526990" y="1110996"/>
            <a:ext cx="789522" cy="365759"/>
          </a:xfrm>
          <a:prstGeom prst="rect">
            <a:avLst/>
          </a:prstGeom>
          <a:blipFill>
            <a:blip r:embed="rId11" cstate="print"/>
            <a:stretch>
              <a:fillRect/>
            </a:stretch>
          </a:blipFill>
        </p:spPr>
        <p:txBody>
          <a:bodyPr wrap="square" lIns="0" tIns="0" rIns="0" bIns="0" rtlCol="0"/>
          <a:lstStyle/>
          <a:p>
            <a:endParaRPr/>
          </a:p>
        </p:txBody>
      </p:sp>
      <p:sp>
        <p:nvSpPr>
          <p:cNvPr id="36" name="object 36"/>
          <p:cNvSpPr/>
          <p:nvPr/>
        </p:nvSpPr>
        <p:spPr>
          <a:xfrm>
            <a:off x="10332719" y="1341119"/>
            <a:ext cx="1030224" cy="365760"/>
          </a:xfrm>
          <a:prstGeom prst="rect">
            <a:avLst/>
          </a:prstGeom>
          <a:blipFill>
            <a:blip r:embed="rId12" cstate="print"/>
            <a:stretch>
              <a:fillRect/>
            </a:stretch>
          </a:blipFill>
        </p:spPr>
        <p:txBody>
          <a:bodyPr wrap="square" lIns="0" tIns="0" rIns="0" bIns="0" rtlCol="0"/>
          <a:lstStyle/>
          <a:p>
            <a:endParaRPr/>
          </a:p>
        </p:txBody>
      </p:sp>
      <p:sp>
        <p:nvSpPr>
          <p:cNvPr id="37" name="object 37"/>
          <p:cNvSpPr/>
          <p:nvPr/>
        </p:nvSpPr>
        <p:spPr>
          <a:xfrm>
            <a:off x="9412985" y="1550669"/>
            <a:ext cx="494665" cy="418465"/>
          </a:xfrm>
          <a:custGeom>
            <a:avLst/>
            <a:gdLst/>
            <a:ahLst/>
            <a:cxnLst/>
            <a:rect l="l" t="t" r="r" b="b"/>
            <a:pathLst>
              <a:path w="494665" h="418464">
                <a:moveTo>
                  <a:pt x="0" y="0"/>
                </a:moveTo>
                <a:lnTo>
                  <a:pt x="494665" y="418083"/>
                </a:lnTo>
              </a:path>
            </a:pathLst>
          </a:custGeom>
          <a:ln w="28956">
            <a:solidFill>
              <a:srgbClr val="7E7E7E"/>
            </a:solidFill>
          </a:ln>
        </p:spPr>
        <p:txBody>
          <a:bodyPr wrap="square" lIns="0" tIns="0" rIns="0" bIns="0" rtlCol="0"/>
          <a:lstStyle/>
          <a:p>
            <a:endParaRPr/>
          </a:p>
        </p:txBody>
      </p:sp>
      <p:sp>
        <p:nvSpPr>
          <p:cNvPr id="38" name="object 38"/>
          <p:cNvSpPr/>
          <p:nvPr/>
        </p:nvSpPr>
        <p:spPr>
          <a:xfrm>
            <a:off x="9082278" y="2355342"/>
            <a:ext cx="764540" cy="981075"/>
          </a:xfrm>
          <a:custGeom>
            <a:avLst/>
            <a:gdLst/>
            <a:ahLst/>
            <a:cxnLst/>
            <a:rect l="l" t="t" r="r" b="b"/>
            <a:pathLst>
              <a:path w="764540" h="981075">
                <a:moveTo>
                  <a:pt x="0" y="980567"/>
                </a:moveTo>
                <a:lnTo>
                  <a:pt x="764413" y="0"/>
                </a:lnTo>
              </a:path>
            </a:pathLst>
          </a:custGeom>
          <a:ln w="28956">
            <a:solidFill>
              <a:srgbClr val="7E7E7E"/>
            </a:solidFill>
          </a:ln>
        </p:spPr>
        <p:txBody>
          <a:bodyPr wrap="square" lIns="0" tIns="0" rIns="0" bIns="0" rtlCol="0"/>
          <a:lstStyle/>
          <a:p>
            <a:endParaRPr/>
          </a:p>
        </p:txBody>
      </p:sp>
      <p:sp>
        <p:nvSpPr>
          <p:cNvPr id="39" name="object 39"/>
          <p:cNvSpPr/>
          <p:nvPr/>
        </p:nvSpPr>
        <p:spPr>
          <a:xfrm>
            <a:off x="9433559" y="3174492"/>
            <a:ext cx="935736" cy="365760"/>
          </a:xfrm>
          <a:prstGeom prst="rect">
            <a:avLst/>
          </a:prstGeom>
          <a:blipFill>
            <a:blip r:embed="rId13" cstate="print"/>
            <a:stretch>
              <a:fillRect/>
            </a:stretch>
          </a:blipFill>
        </p:spPr>
        <p:txBody>
          <a:bodyPr wrap="square" lIns="0" tIns="0" rIns="0" bIns="0" rtlCol="0"/>
          <a:lstStyle/>
          <a:p>
            <a:endParaRPr/>
          </a:p>
        </p:txBody>
      </p:sp>
      <p:sp>
        <p:nvSpPr>
          <p:cNvPr id="40" name="object 40"/>
          <p:cNvSpPr/>
          <p:nvPr/>
        </p:nvSpPr>
        <p:spPr>
          <a:xfrm>
            <a:off x="8696070" y="2281047"/>
            <a:ext cx="557530" cy="962660"/>
          </a:xfrm>
          <a:custGeom>
            <a:avLst/>
            <a:gdLst/>
            <a:ahLst/>
            <a:cxnLst/>
            <a:rect l="l" t="t" r="r" b="b"/>
            <a:pathLst>
              <a:path w="557529" h="962660">
                <a:moveTo>
                  <a:pt x="144652" y="793876"/>
                </a:moveTo>
                <a:lnTo>
                  <a:pt x="119927" y="825519"/>
                </a:lnTo>
                <a:lnTo>
                  <a:pt x="118890" y="861474"/>
                </a:lnTo>
                <a:lnTo>
                  <a:pt x="118999" y="877062"/>
                </a:lnTo>
                <a:lnTo>
                  <a:pt x="118425" y="899032"/>
                </a:lnTo>
                <a:lnTo>
                  <a:pt x="117982" y="918511"/>
                </a:lnTo>
                <a:lnTo>
                  <a:pt x="117213" y="940444"/>
                </a:lnTo>
                <a:lnTo>
                  <a:pt x="115824" y="962532"/>
                </a:lnTo>
                <a:lnTo>
                  <a:pt x="129631" y="945485"/>
                </a:lnTo>
                <a:lnTo>
                  <a:pt x="144176" y="929116"/>
                </a:lnTo>
                <a:lnTo>
                  <a:pt x="158865" y="913580"/>
                </a:lnTo>
                <a:lnTo>
                  <a:pt x="173100" y="899032"/>
                </a:lnTo>
                <a:lnTo>
                  <a:pt x="186771" y="885211"/>
                </a:lnTo>
                <a:lnTo>
                  <a:pt x="199024" y="872378"/>
                </a:lnTo>
                <a:lnTo>
                  <a:pt x="208444" y="861474"/>
                </a:lnTo>
                <a:lnTo>
                  <a:pt x="213613" y="853439"/>
                </a:lnTo>
                <a:lnTo>
                  <a:pt x="215888" y="845397"/>
                </a:lnTo>
                <a:lnTo>
                  <a:pt x="216280" y="837199"/>
                </a:lnTo>
                <a:lnTo>
                  <a:pt x="214918" y="829341"/>
                </a:lnTo>
                <a:lnTo>
                  <a:pt x="181919" y="829341"/>
                </a:lnTo>
                <a:lnTo>
                  <a:pt x="171069" y="826642"/>
                </a:lnTo>
                <a:lnTo>
                  <a:pt x="160726" y="820719"/>
                </a:lnTo>
                <a:lnTo>
                  <a:pt x="152717" y="812784"/>
                </a:lnTo>
                <a:lnTo>
                  <a:pt x="147280" y="803586"/>
                </a:lnTo>
                <a:lnTo>
                  <a:pt x="144652" y="793876"/>
                </a:lnTo>
                <a:close/>
              </a:path>
              <a:path w="557529" h="962660">
                <a:moveTo>
                  <a:pt x="211708" y="821054"/>
                </a:moveTo>
                <a:lnTo>
                  <a:pt x="203001" y="826214"/>
                </a:lnTo>
                <a:lnTo>
                  <a:pt x="192817" y="829087"/>
                </a:lnTo>
                <a:lnTo>
                  <a:pt x="181919" y="829341"/>
                </a:lnTo>
                <a:lnTo>
                  <a:pt x="214918" y="829341"/>
                </a:lnTo>
                <a:lnTo>
                  <a:pt x="214864" y="829026"/>
                </a:lnTo>
                <a:lnTo>
                  <a:pt x="211708" y="821054"/>
                </a:lnTo>
                <a:close/>
              </a:path>
              <a:path w="557529" h="962660">
                <a:moveTo>
                  <a:pt x="394080" y="634745"/>
                </a:moveTo>
                <a:lnTo>
                  <a:pt x="366722" y="679628"/>
                </a:lnTo>
                <a:lnTo>
                  <a:pt x="341614" y="720248"/>
                </a:lnTo>
                <a:lnTo>
                  <a:pt x="302768" y="782319"/>
                </a:lnTo>
                <a:lnTo>
                  <a:pt x="321268" y="802397"/>
                </a:lnTo>
                <a:lnTo>
                  <a:pt x="336375" y="825499"/>
                </a:lnTo>
                <a:lnTo>
                  <a:pt x="348077" y="851364"/>
                </a:lnTo>
                <a:lnTo>
                  <a:pt x="356361" y="879728"/>
                </a:lnTo>
                <a:lnTo>
                  <a:pt x="395227" y="840203"/>
                </a:lnTo>
                <a:lnTo>
                  <a:pt x="416630" y="797588"/>
                </a:lnTo>
                <a:lnTo>
                  <a:pt x="423894" y="753808"/>
                </a:lnTo>
                <a:lnTo>
                  <a:pt x="420341" y="710790"/>
                </a:lnTo>
                <a:lnTo>
                  <a:pt x="409296" y="670461"/>
                </a:lnTo>
                <a:lnTo>
                  <a:pt x="394080" y="634745"/>
                </a:lnTo>
                <a:close/>
              </a:path>
              <a:path w="557529" h="962660">
                <a:moveTo>
                  <a:pt x="381343" y="569976"/>
                </a:moveTo>
                <a:lnTo>
                  <a:pt x="275208" y="569976"/>
                </a:lnTo>
                <a:lnTo>
                  <a:pt x="277113" y="602488"/>
                </a:lnTo>
                <a:lnTo>
                  <a:pt x="209423" y="769238"/>
                </a:lnTo>
                <a:lnTo>
                  <a:pt x="249427" y="785367"/>
                </a:lnTo>
                <a:lnTo>
                  <a:pt x="301964" y="700617"/>
                </a:lnTo>
                <a:lnTo>
                  <a:pt x="328958" y="656627"/>
                </a:lnTo>
                <a:lnTo>
                  <a:pt x="358693" y="607704"/>
                </a:lnTo>
                <a:lnTo>
                  <a:pt x="381343" y="569976"/>
                </a:lnTo>
                <a:close/>
              </a:path>
              <a:path w="557529" h="962660">
                <a:moveTo>
                  <a:pt x="506475" y="0"/>
                </a:moveTo>
                <a:lnTo>
                  <a:pt x="445497" y="24402"/>
                </a:lnTo>
                <a:lnTo>
                  <a:pt x="402256" y="48117"/>
                </a:lnTo>
                <a:lnTo>
                  <a:pt x="357989" y="80245"/>
                </a:lnTo>
                <a:lnTo>
                  <a:pt x="318301" y="121340"/>
                </a:lnTo>
                <a:lnTo>
                  <a:pt x="288798" y="171957"/>
                </a:lnTo>
                <a:lnTo>
                  <a:pt x="270265" y="231546"/>
                </a:lnTo>
                <a:lnTo>
                  <a:pt x="257506" y="278544"/>
                </a:lnTo>
                <a:lnTo>
                  <a:pt x="243200" y="333492"/>
                </a:lnTo>
                <a:lnTo>
                  <a:pt x="227934" y="393749"/>
                </a:lnTo>
                <a:lnTo>
                  <a:pt x="212296" y="456676"/>
                </a:lnTo>
                <a:lnTo>
                  <a:pt x="196872" y="519631"/>
                </a:lnTo>
                <a:lnTo>
                  <a:pt x="182249" y="579976"/>
                </a:lnTo>
                <a:lnTo>
                  <a:pt x="169015" y="635069"/>
                </a:lnTo>
                <a:lnTo>
                  <a:pt x="157755" y="682271"/>
                </a:lnTo>
                <a:lnTo>
                  <a:pt x="143509" y="742441"/>
                </a:lnTo>
                <a:lnTo>
                  <a:pt x="182372" y="758189"/>
                </a:lnTo>
                <a:lnTo>
                  <a:pt x="250062" y="591438"/>
                </a:lnTo>
                <a:lnTo>
                  <a:pt x="275208" y="569976"/>
                </a:lnTo>
                <a:lnTo>
                  <a:pt x="381343" y="569976"/>
                </a:lnTo>
                <a:lnTo>
                  <a:pt x="389969" y="555609"/>
                </a:lnTo>
                <a:lnTo>
                  <a:pt x="421586" y="502103"/>
                </a:lnTo>
                <a:lnTo>
                  <a:pt x="452345" y="448949"/>
                </a:lnTo>
                <a:lnTo>
                  <a:pt x="481046" y="397908"/>
                </a:lnTo>
                <a:lnTo>
                  <a:pt x="506488" y="350742"/>
                </a:lnTo>
                <a:lnTo>
                  <a:pt x="527472" y="309213"/>
                </a:lnTo>
                <a:lnTo>
                  <a:pt x="546912" y="258468"/>
                </a:lnTo>
                <a:lnTo>
                  <a:pt x="426739" y="258468"/>
                </a:lnTo>
                <a:lnTo>
                  <a:pt x="403351" y="254253"/>
                </a:lnTo>
                <a:lnTo>
                  <a:pt x="383470" y="240883"/>
                </a:lnTo>
                <a:lnTo>
                  <a:pt x="370506" y="221297"/>
                </a:lnTo>
                <a:lnTo>
                  <a:pt x="365615" y="198282"/>
                </a:lnTo>
                <a:lnTo>
                  <a:pt x="369950" y="174625"/>
                </a:lnTo>
                <a:lnTo>
                  <a:pt x="383240" y="154809"/>
                </a:lnTo>
                <a:lnTo>
                  <a:pt x="402637" y="142112"/>
                </a:lnTo>
                <a:lnTo>
                  <a:pt x="425440" y="137513"/>
                </a:lnTo>
                <a:lnTo>
                  <a:pt x="552799" y="137513"/>
                </a:lnTo>
                <a:lnTo>
                  <a:pt x="547639" y="107584"/>
                </a:lnTo>
                <a:lnTo>
                  <a:pt x="533221" y="60254"/>
                </a:lnTo>
                <a:lnTo>
                  <a:pt x="518047" y="23189"/>
                </a:lnTo>
                <a:lnTo>
                  <a:pt x="506475" y="0"/>
                </a:lnTo>
                <a:close/>
              </a:path>
              <a:path w="557529" h="962660">
                <a:moveTo>
                  <a:pt x="148081" y="532129"/>
                </a:moveTo>
                <a:lnTo>
                  <a:pt x="78702" y="566683"/>
                </a:lnTo>
                <a:lnTo>
                  <a:pt x="44608" y="594836"/>
                </a:lnTo>
                <a:lnTo>
                  <a:pt x="17055" y="631603"/>
                </a:lnTo>
                <a:lnTo>
                  <a:pt x="650" y="678009"/>
                </a:lnTo>
                <a:lnTo>
                  <a:pt x="0" y="735076"/>
                </a:lnTo>
                <a:lnTo>
                  <a:pt x="26344" y="720806"/>
                </a:lnTo>
                <a:lnTo>
                  <a:pt x="53117" y="710549"/>
                </a:lnTo>
                <a:lnTo>
                  <a:pt x="80224" y="704554"/>
                </a:lnTo>
                <a:lnTo>
                  <a:pt x="107569" y="703072"/>
                </a:lnTo>
                <a:lnTo>
                  <a:pt x="115470" y="671022"/>
                </a:lnTo>
                <a:lnTo>
                  <a:pt x="125158" y="630507"/>
                </a:lnTo>
                <a:lnTo>
                  <a:pt x="136179" y="583539"/>
                </a:lnTo>
                <a:lnTo>
                  <a:pt x="148081" y="532129"/>
                </a:lnTo>
                <a:close/>
              </a:path>
              <a:path w="557529" h="962660">
                <a:moveTo>
                  <a:pt x="552799" y="137513"/>
                </a:moveTo>
                <a:lnTo>
                  <a:pt x="425440" y="137513"/>
                </a:lnTo>
                <a:lnTo>
                  <a:pt x="448945" y="141986"/>
                </a:lnTo>
                <a:lnTo>
                  <a:pt x="468727" y="155045"/>
                </a:lnTo>
                <a:lnTo>
                  <a:pt x="481472" y="174069"/>
                </a:lnTo>
                <a:lnTo>
                  <a:pt x="486146" y="196546"/>
                </a:lnTo>
                <a:lnTo>
                  <a:pt x="481710" y="219963"/>
                </a:lnTo>
                <a:lnTo>
                  <a:pt x="468467" y="240037"/>
                </a:lnTo>
                <a:lnTo>
                  <a:pt x="449294" y="253301"/>
                </a:lnTo>
                <a:lnTo>
                  <a:pt x="426739" y="258468"/>
                </a:lnTo>
                <a:lnTo>
                  <a:pt x="546912" y="258468"/>
                </a:lnTo>
                <a:lnTo>
                  <a:pt x="556785" y="218607"/>
                </a:lnTo>
                <a:lnTo>
                  <a:pt x="556946" y="161572"/>
                </a:lnTo>
                <a:lnTo>
                  <a:pt x="552799" y="137513"/>
                </a:lnTo>
                <a:close/>
              </a:path>
            </a:pathLst>
          </a:custGeom>
          <a:solidFill>
            <a:srgbClr val="421F5D"/>
          </a:solidFill>
        </p:spPr>
        <p:txBody>
          <a:bodyPr wrap="square" lIns="0" tIns="0" rIns="0" bIns="0" rtlCol="0"/>
          <a:lstStyle/>
          <a:p>
            <a:endParaRPr/>
          </a:p>
        </p:txBody>
      </p:sp>
      <p:sp>
        <p:nvSpPr>
          <p:cNvPr id="41" name="object 4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2" name="object 4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38</a:t>
            </a:fld>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27380" y="6650797"/>
            <a:ext cx="3099435" cy="124460"/>
          </a:xfrm>
          <a:prstGeom prst="rect">
            <a:avLst/>
          </a:prstGeom>
        </p:spPr>
        <p:txBody>
          <a:bodyPr vert="horz" wrap="square" lIns="0" tIns="635" rIns="0" bIns="0" rtlCol="0">
            <a:spAutoFit/>
          </a:bodyPr>
          <a:lstStyle/>
          <a:p>
            <a:pPr>
              <a:lnSpc>
                <a:spcPct val="100000"/>
              </a:lnSpc>
              <a:spcBef>
                <a:spcPts val="5"/>
              </a:spcBef>
            </a:pPr>
            <a:r>
              <a:rPr sz="800">
                <a:solidFill>
                  <a:srgbClr val="A6A6A6"/>
                </a:solidFill>
                <a:latin typeface="Verdana"/>
                <a:cs typeface="Verdana"/>
              </a:rPr>
              <a:t>Capgemini’s Response Salesforce </a:t>
            </a:r>
            <a:r>
              <a:rPr sz="800" spc="-5">
                <a:solidFill>
                  <a:srgbClr val="A6A6A6"/>
                </a:solidFill>
                <a:latin typeface="Verdana"/>
                <a:cs typeface="Verdana"/>
              </a:rPr>
              <a:t>Rollout Project </a:t>
            </a:r>
            <a:r>
              <a:rPr sz="800">
                <a:solidFill>
                  <a:srgbClr val="A6A6A6"/>
                </a:solidFill>
                <a:latin typeface="Verdana"/>
                <a:cs typeface="Verdana"/>
              </a:rPr>
              <a:t>| Sep</a:t>
            </a:r>
            <a:r>
              <a:rPr sz="800" spc="-35">
                <a:solidFill>
                  <a:srgbClr val="A6A6A6"/>
                </a:solidFill>
                <a:latin typeface="Verdana"/>
                <a:cs typeface="Verdana"/>
              </a:rPr>
              <a:t> </a:t>
            </a:r>
            <a:r>
              <a:rPr sz="800">
                <a:solidFill>
                  <a:srgbClr val="A6A6A6"/>
                </a:solidFill>
                <a:latin typeface="Verdana"/>
                <a:cs typeface="Verdana"/>
              </a:rPr>
              <a:t>2020</a:t>
            </a:r>
            <a:endParaRPr sz="800">
              <a:latin typeface="Verdana"/>
              <a:cs typeface="Verdana"/>
            </a:endParaRPr>
          </a:p>
        </p:txBody>
      </p:sp>
      <p:sp>
        <p:nvSpPr>
          <p:cNvPr id="3" name="object 3"/>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37</a:t>
            </a:r>
            <a:endParaRPr sz="800">
              <a:latin typeface="Verdana"/>
              <a:cs typeface="Verdana"/>
            </a:endParaRPr>
          </a:p>
        </p:txBody>
      </p:sp>
      <p:sp>
        <p:nvSpPr>
          <p:cNvPr id="4" name="object 4"/>
          <p:cNvSpPr/>
          <p:nvPr/>
        </p:nvSpPr>
        <p:spPr>
          <a:xfrm>
            <a:off x="0" y="0"/>
            <a:ext cx="6600444" cy="6857997"/>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0" y="4855464"/>
            <a:ext cx="10015855" cy="1728470"/>
          </a:xfrm>
          <a:custGeom>
            <a:avLst/>
            <a:gdLst/>
            <a:ahLst/>
            <a:cxnLst/>
            <a:rect l="l" t="t" r="r" b="b"/>
            <a:pathLst>
              <a:path w="10015855" h="1728470">
                <a:moveTo>
                  <a:pt x="10015728" y="0"/>
                </a:moveTo>
                <a:lnTo>
                  <a:pt x="0" y="0"/>
                </a:lnTo>
                <a:lnTo>
                  <a:pt x="0" y="1728216"/>
                </a:lnTo>
                <a:lnTo>
                  <a:pt x="10015728" y="1728216"/>
                </a:lnTo>
                <a:lnTo>
                  <a:pt x="9927336" y="1723758"/>
                </a:lnTo>
                <a:lnTo>
                  <a:pt x="9879340" y="1717520"/>
                </a:lnTo>
                <a:lnTo>
                  <a:pt x="9832207" y="1708693"/>
                </a:lnTo>
                <a:lnTo>
                  <a:pt x="9786009" y="1697350"/>
                </a:lnTo>
                <a:lnTo>
                  <a:pt x="9740822" y="1683566"/>
                </a:lnTo>
                <a:lnTo>
                  <a:pt x="9696720" y="1667416"/>
                </a:lnTo>
                <a:lnTo>
                  <a:pt x="9653778" y="1648973"/>
                </a:lnTo>
                <a:lnTo>
                  <a:pt x="9612069" y="1628313"/>
                </a:lnTo>
                <a:lnTo>
                  <a:pt x="9571669" y="1605510"/>
                </a:lnTo>
                <a:lnTo>
                  <a:pt x="9532652" y="1580639"/>
                </a:lnTo>
                <a:lnTo>
                  <a:pt x="9495093" y="1553773"/>
                </a:lnTo>
                <a:lnTo>
                  <a:pt x="9459065" y="1524987"/>
                </a:lnTo>
                <a:lnTo>
                  <a:pt x="9424644" y="1494356"/>
                </a:lnTo>
                <a:lnTo>
                  <a:pt x="9391904" y="1461955"/>
                </a:lnTo>
                <a:lnTo>
                  <a:pt x="9360919" y="1427857"/>
                </a:lnTo>
                <a:lnTo>
                  <a:pt x="9331764" y="1392138"/>
                </a:lnTo>
                <a:lnTo>
                  <a:pt x="9304513" y="1354871"/>
                </a:lnTo>
                <a:lnTo>
                  <a:pt x="9279241" y="1316131"/>
                </a:lnTo>
                <a:lnTo>
                  <a:pt x="9256023" y="1275992"/>
                </a:lnTo>
                <a:lnTo>
                  <a:pt x="9234932" y="1234530"/>
                </a:lnTo>
                <a:lnTo>
                  <a:pt x="9216044" y="1191819"/>
                </a:lnTo>
                <a:lnTo>
                  <a:pt x="9199432" y="1147932"/>
                </a:lnTo>
                <a:lnTo>
                  <a:pt x="9185172" y="1102945"/>
                </a:lnTo>
                <a:lnTo>
                  <a:pt x="9173337" y="1056932"/>
                </a:lnTo>
                <a:lnTo>
                  <a:pt x="9164003" y="1009967"/>
                </a:lnTo>
                <a:lnTo>
                  <a:pt x="9157244" y="962125"/>
                </a:lnTo>
                <a:lnTo>
                  <a:pt x="9153133" y="913480"/>
                </a:lnTo>
                <a:lnTo>
                  <a:pt x="9151747" y="864108"/>
                </a:lnTo>
                <a:lnTo>
                  <a:pt x="9153133" y="814734"/>
                </a:lnTo>
                <a:lnTo>
                  <a:pt x="9157244" y="766088"/>
                </a:lnTo>
                <a:lnTo>
                  <a:pt x="9164003" y="718247"/>
                </a:lnTo>
                <a:lnTo>
                  <a:pt x="9173337" y="671282"/>
                </a:lnTo>
                <a:lnTo>
                  <a:pt x="9185172" y="625270"/>
                </a:lnTo>
                <a:lnTo>
                  <a:pt x="9199432" y="580284"/>
                </a:lnTo>
                <a:lnTo>
                  <a:pt x="9216044" y="536398"/>
                </a:lnTo>
                <a:lnTo>
                  <a:pt x="9234932" y="493688"/>
                </a:lnTo>
                <a:lnTo>
                  <a:pt x="9256023" y="452228"/>
                </a:lnTo>
                <a:lnTo>
                  <a:pt x="9279241" y="412091"/>
                </a:lnTo>
                <a:lnTo>
                  <a:pt x="9304513" y="373353"/>
                </a:lnTo>
                <a:lnTo>
                  <a:pt x="9331764" y="336088"/>
                </a:lnTo>
                <a:lnTo>
                  <a:pt x="9360919" y="300370"/>
                </a:lnTo>
                <a:lnTo>
                  <a:pt x="9391904" y="266273"/>
                </a:lnTo>
                <a:lnTo>
                  <a:pt x="9424644" y="233873"/>
                </a:lnTo>
                <a:lnTo>
                  <a:pt x="9459065" y="203243"/>
                </a:lnTo>
                <a:lnTo>
                  <a:pt x="9495093" y="174458"/>
                </a:lnTo>
                <a:lnTo>
                  <a:pt x="9532652" y="147592"/>
                </a:lnTo>
                <a:lnTo>
                  <a:pt x="9571669" y="122720"/>
                </a:lnTo>
                <a:lnTo>
                  <a:pt x="9612069" y="99916"/>
                </a:lnTo>
                <a:lnTo>
                  <a:pt x="9653778" y="79255"/>
                </a:lnTo>
                <a:lnTo>
                  <a:pt x="9696720" y="60810"/>
                </a:lnTo>
                <a:lnTo>
                  <a:pt x="9740822" y="44657"/>
                </a:lnTo>
                <a:lnTo>
                  <a:pt x="9786009" y="30869"/>
                </a:lnTo>
                <a:lnTo>
                  <a:pt x="9832207" y="19522"/>
                </a:lnTo>
                <a:lnTo>
                  <a:pt x="9879340" y="10689"/>
                </a:lnTo>
                <a:lnTo>
                  <a:pt x="9927336" y="4444"/>
                </a:lnTo>
                <a:lnTo>
                  <a:pt x="10015728" y="0"/>
                </a:lnTo>
                <a:close/>
              </a:path>
            </a:pathLst>
          </a:custGeom>
          <a:solidFill>
            <a:srgbClr val="12ABDB">
              <a:alpha val="32940"/>
            </a:srgbClr>
          </a:solidFill>
        </p:spPr>
        <p:txBody>
          <a:bodyPr wrap="square" lIns="0" tIns="0" rIns="0" bIns="0" rtlCol="0"/>
          <a:lstStyle/>
          <a:p>
            <a:endParaRPr/>
          </a:p>
        </p:txBody>
      </p:sp>
      <p:sp>
        <p:nvSpPr>
          <p:cNvPr id="6" name="object 6"/>
          <p:cNvSpPr/>
          <p:nvPr/>
        </p:nvSpPr>
        <p:spPr>
          <a:xfrm>
            <a:off x="9152381" y="4856226"/>
            <a:ext cx="1728470" cy="1728470"/>
          </a:xfrm>
          <a:custGeom>
            <a:avLst/>
            <a:gdLst/>
            <a:ahLst/>
            <a:cxnLst/>
            <a:rect l="l" t="t" r="r" b="b"/>
            <a:pathLst>
              <a:path w="1728470" h="1728470">
                <a:moveTo>
                  <a:pt x="864108" y="0"/>
                </a:moveTo>
                <a:lnTo>
                  <a:pt x="816693" y="1278"/>
                </a:lnTo>
                <a:lnTo>
                  <a:pt x="769948" y="5070"/>
                </a:lnTo>
                <a:lnTo>
                  <a:pt x="723937" y="11308"/>
                </a:lnTo>
                <a:lnTo>
                  <a:pt x="678726" y="19928"/>
                </a:lnTo>
                <a:lnTo>
                  <a:pt x="634382" y="30864"/>
                </a:lnTo>
                <a:lnTo>
                  <a:pt x="590970" y="44049"/>
                </a:lnTo>
                <a:lnTo>
                  <a:pt x="548556" y="59418"/>
                </a:lnTo>
                <a:lnTo>
                  <a:pt x="507206" y="76905"/>
                </a:lnTo>
                <a:lnTo>
                  <a:pt x="466986" y="96444"/>
                </a:lnTo>
                <a:lnTo>
                  <a:pt x="427961" y="117968"/>
                </a:lnTo>
                <a:lnTo>
                  <a:pt x="390198" y="141413"/>
                </a:lnTo>
                <a:lnTo>
                  <a:pt x="353763" y="166713"/>
                </a:lnTo>
                <a:lnTo>
                  <a:pt x="318720" y="193801"/>
                </a:lnTo>
                <a:lnTo>
                  <a:pt x="285137" y="222611"/>
                </a:lnTo>
                <a:lnTo>
                  <a:pt x="253079" y="253079"/>
                </a:lnTo>
                <a:lnTo>
                  <a:pt x="222611" y="285137"/>
                </a:lnTo>
                <a:lnTo>
                  <a:pt x="193801" y="318720"/>
                </a:lnTo>
                <a:lnTo>
                  <a:pt x="166713" y="353763"/>
                </a:lnTo>
                <a:lnTo>
                  <a:pt x="141413" y="390198"/>
                </a:lnTo>
                <a:lnTo>
                  <a:pt x="117968" y="427961"/>
                </a:lnTo>
                <a:lnTo>
                  <a:pt x="96444" y="466986"/>
                </a:lnTo>
                <a:lnTo>
                  <a:pt x="76905" y="507206"/>
                </a:lnTo>
                <a:lnTo>
                  <a:pt x="59418" y="548556"/>
                </a:lnTo>
                <a:lnTo>
                  <a:pt x="44049" y="590970"/>
                </a:lnTo>
                <a:lnTo>
                  <a:pt x="30864" y="634382"/>
                </a:lnTo>
                <a:lnTo>
                  <a:pt x="19928" y="678726"/>
                </a:lnTo>
                <a:lnTo>
                  <a:pt x="11308" y="723937"/>
                </a:lnTo>
                <a:lnTo>
                  <a:pt x="5070" y="769948"/>
                </a:lnTo>
                <a:lnTo>
                  <a:pt x="1278" y="816693"/>
                </a:lnTo>
                <a:lnTo>
                  <a:pt x="0" y="864108"/>
                </a:lnTo>
                <a:lnTo>
                  <a:pt x="1278" y="911518"/>
                </a:lnTo>
                <a:lnTo>
                  <a:pt x="5070" y="958261"/>
                </a:lnTo>
                <a:lnTo>
                  <a:pt x="11308" y="1004269"/>
                </a:lnTo>
                <a:lnTo>
                  <a:pt x="19928" y="1049477"/>
                </a:lnTo>
                <a:lnTo>
                  <a:pt x="30864" y="1093820"/>
                </a:lnTo>
                <a:lnTo>
                  <a:pt x="44049" y="1137230"/>
                </a:lnTo>
                <a:lnTo>
                  <a:pt x="59418" y="1179643"/>
                </a:lnTo>
                <a:lnTo>
                  <a:pt x="76905" y="1220992"/>
                </a:lnTo>
                <a:lnTo>
                  <a:pt x="96444" y="1261212"/>
                </a:lnTo>
                <a:lnTo>
                  <a:pt x="117968" y="1300237"/>
                </a:lnTo>
                <a:lnTo>
                  <a:pt x="141413" y="1338000"/>
                </a:lnTo>
                <a:lnTo>
                  <a:pt x="166713" y="1374436"/>
                </a:lnTo>
                <a:lnTo>
                  <a:pt x="193801" y="1409479"/>
                </a:lnTo>
                <a:lnTo>
                  <a:pt x="222611" y="1443063"/>
                </a:lnTo>
                <a:lnTo>
                  <a:pt x="253079" y="1475122"/>
                </a:lnTo>
                <a:lnTo>
                  <a:pt x="285137" y="1505590"/>
                </a:lnTo>
                <a:lnTo>
                  <a:pt x="318720" y="1534402"/>
                </a:lnTo>
                <a:lnTo>
                  <a:pt x="353763" y="1561491"/>
                </a:lnTo>
                <a:lnTo>
                  <a:pt x="390198" y="1586792"/>
                </a:lnTo>
                <a:lnTo>
                  <a:pt x="427961" y="1610238"/>
                </a:lnTo>
                <a:lnTo>
                  <a:pt x="466986" y="1631764"/>
                </a:lnTo>
                <a:lnTo>
                  <a:pt x="507206" y="1651304"/>
                </a:lnTo>
                <a:lnTo>
                  <a:pt x="548556" y="1668792"/>
                </a:lnTo>
                <a:lnTo>
                  <a:pt x="590970" y="1684162"/>
                </a:lnTo>
                <a:lnTo>
                  <a:pt x="634382" y="1697348"/>
                </a:lnTo>
                <a:lnTo>
                  <a:pt x="678726" y="1708285"/>
                </a:lnTo>
                <a:lnTo>
                  <a:pt x="723937" y="1716906"/>
                </a:lnTo>
                <a:lnTo>
                  <a:pt x="769948" y="1723145"/>
                </a:lnTo>
                <a:lnTo>
                  <a:pt x="816693" y="1726937"/>
                </a:lnTo>
                <a:lnTo>
                  <a:pt x="864108" y="1728216"/>
                </a:lnTo>
                <a:lnTo>
                  <a:pt x="911522" y="1726937"/>
                </a:lnTo>
                <a:lnTo>
                  <a:pt x="958267" y="1723145"/>
                </a:lnTo>
                <a:lnTo>
                  <a:pt x="1004278" y="1716906"/>
                </a:lnTo>
                <a:lnTo>
                  <a:pt x="1049489" y="1708285"/>
                </a:lnTo>
                <a:lnTo>
                  <a:pt x="1093833" y="1697348"/>
                </a:lnTo>
                <a:lnTo>
                  <a:pt x="1137245" y="1684162"/>
                </a:lnTo>
                <a:lnTo>
                  <a:pt x="1179659" y="1668792"/>
                </a:lnTo>
                <a:lnTo>
                  <a:pt x="1221009" y="1651304"/>
                </a:lnTo>
                <a:lnTo>
                  <a:pt x="1261229" y="1631764"/>
                </a:lnTo>
                <a:lnTo>
                  <a:pt x="1300254" y="1610238"/>
                </a:lnTo>
                <a:lnTo>
                  <a:pt x="1338017" y="1586792"/>
                </a:lnTo>
                <a:lnTo>
                  <a:pt x="1374452" y="1561491"/>
                </a:lnTo>
                <a:lnTo>
                  <a:pt x="1409495" y="1534402"/>
                </a:lnTo>
                <a:lnTo>
                  <a:pt x="1443078" y="1505590"/>
                </a:lnTo>
                <a:lnTo>
                  <a:pt x="1475136" y="1475122"/>
                </a:lnTo>
                <a:lnTo>
                  <a:pt x="1505604" y="1443063"/>
                </a:lnTo>
                <a:lnTo>
                  <a:pt x="1534414" y="1409479"/>
                </a:lnTo>
                <a:lnTo>
                  <a:pt x="1561502" y="1374436"/>
                </a:lnTo>
                <a:lnTo>
                  <a:pt x="1586802" y="1338000"/>
                </a:lnTo>
                <a:lnTo>
                  <a:pt x="1610247" y="1300237"/>
                </a:lnTo>
                <a:lnTo>
                  <a:pt x="1631771" y="1261212"/>
                </a:lnTo>
                <a:lnTo>
                  <a:pt x="1651310" y="1220992"/>
                </a:lnTo>
                <a:lnTo>
                  <a:pt x="1668797" y="1179643"/>
                </a:lnTo>
                <a:lnTo>
                  <a:pt x="1684166" y="1137230"/>
                </a:lnTo>
                <a:lnTo>
                  <a:pt x="1697351" y="1093820"/>
                </a:lnTo>
                <a:lnTo>
                  <a:pt x="1708287" y="1049477"/>
                </a:lnTo>
                <a:lnTo>
                  <a:pt x="1716907" y="1004269"/>
                </a:lnTo>
                <a:lnTo>
                  <a:pt x="1723145" y="958261"/>
                </a:lnTo>
                <a:lnTo>
                  <a:pt x="1726937" y="911518"/>
                </a:lnTo>
                <a:lnTo>
                  <a:pt x="1728216" y="864108"/>
                </a:lnTo>
                <a:lnTo>
                  <a:pt x="1726937" y="816693"/>
                </a:lnTo>
                <a:lnTo>
                  <a:pt x="1723145" y="769948"/>
                </a:lnTo>
                <a:lnTo>
                  <a:pt x="1716907" y="723937"/>
                </a:lnTo>
                <a:lnTo>
                  <a:pt x="1708287" y="678726"/>
                </a:lnTo>
                <a:lnTo>
                  <a:pt x="1697351" y="634382"/>
                </a:lnTo>
                <a:lnTo>
                  <a:pt x="1684166" y="590970"/>
                </a:lnTo>
                <a:lnTo>
                  <a:pt x="1668797" y="548556"/>
                </a:lnTo>
                <a:lnTo>
                  <a:pt x="1651310" y="507206"/>
                </a:lnTo>
                <a:lnTo>
                  <a:pt x="1631771" y="466986"/>
                </a:lnTo>
                <a:lnTo>
                  <a:pt x="1610247" y="427961"/>
                </a:lnTo>
                <a:lnTo>
                  <a:pt x="1586802" y="390198"/>
                </a:lnTo>
                <a:lnTo>
                  <a:pt x="1561502" y="353763"/>
                </a:lnTo>
                <a:lnTo>
                  <a:pt x="1534414" y="318720"/>
                </a:lnTo>
                <a:lnTo>
                  <a:pt x="1505604" y="285137"/>
                </a:lnTo>
                <a:lnTo>
                  <a:pt x="1475136" y="253079"/>
                </a:lnTo>
                <a:lnTo>
                  <a:pt x="1443078" y="222611"/>
                </a:lnTo>
                <a:lnTo>
                  <a:pt x="1409495" y="193801"/>
                </a:lnTo>
                <a:lnTo>
                  <a:pt x="1374452" y="166713"/>
                </a:lnTo>
                <a:lnTo>
                  <a:pt x="1338017" y="141413"/>
                </a:lnTo>
                <a:lnTo>
                  <a:pt x="1300254" y="117968"/>
                </a:lnTo>
                <a:lnTo>
                  <a:pt x="1261229" y="96444"/>
                </a:lnTo>
                <a:lnTo>
                  <a:pt x="1221009" y="76905"/>
                </a:lnTo>
                <a:lnTo>
                  <a:pt x="1179659" y="59418"/>
                </a:lnTo>
                <a:lnTo>
                  <a:pt x="1137245" y="44049"/>
                </a:lnTo>
                <a:lnTo>
                  <a:pt x="1093833" y="30864"/>
                </a:lnTo>
                <a:lnTo>
                  <a:pt x="1049489" y="19928"/>
                </a:lnTo>
                <a:lnTo>
                  <a:pt x="1004278" y="11308"/>
                </a:lnTo>
                <a:lnTo>
                  <a:pt x="958267" y="5070"/>
                </a:lnTo>
                <a:lnTo>
                  <a:pt x="911522" y="1278"/>
                </a:lnTo>
                <a:lnTo>
                  <a:pt x="864108" y="0"/>
                </a:lnTo>
                <a:close/>
              </a:path>
            </a:pathLst>
          </a:custGeom>
          <a:solidFill>
            <a:srgbClr val="12ABDB"/>
          </a:solidFill>
        </p:spPr>
        <p:txBody>
          <a:bodyPr wrap="square" lIns="0" tIns="0" rIns="0" bIns="0" rtlCol="0"/>
          <a:lstStyle/>
          <a:p>
            <a:endParaRPr/>
          </a:p>
        </p:txBody>
      </p:sp>
      <p:sp>
        <p:nvSpPr>
          <p:cNvPr id="7" name="object 7"/>
          <p:cNvSpPr/>
          <p:nvPr/>
        </p:nvSpPr>
        <p:spPr>
          <a:xfrm>
            <a:off x="9152381" y="4856226"/>
            <a:ext cx="1728470" cy="1728470"/>
          </a:xfrm>
          <a:custGeom>
            <a:avLst/>
            <a:gdLst/>
            <a:ahLst/>
            <a:cxnLst/>
            <a:rect l="l" t="t" r="r" b="b"/>
            <a:pathLst>
              <a:path w="1728470" h="1728470">
                <a:moveTo>
                  <a:pt x="0" y="864108"/>
                </a:moveTo>
                <a:lnTo>
                  <a:pt x="1278" y="816693"/>
                </a:lnTo>
                <a:lnTo>
                  <a:pt x="5070" y="769948"/>
                </a:lnTo>
                <a:lnTo>
                  <a:pt x="11308" y="723937"/>
                </a:lnTo>
                <a:lnTo>
                  <a:pt x="19928" y="678726"/>
                </a:lnTo>
                <a:lnTo>
                  <a:pt x="30864" y="634382"/>
                </a:lnTo>
                <a:lnTo>
                  <a:pt x="44049" y="590970"/>
                </a:lnTo>
                <a:lnTo>
                  <a:pt x="59418" y="548556"/>
                </a:lnTo>
                <a:lnTo>
                  <a:pt x="76905" y="507206"/>
                </a:lnTo>
                <a:lnTo>
                  <a:pt x="96444" y="466986"/>
                </a:lnTo>
                <a:lnTo>
                  <a:pt x="117968" y="427961"/>
                </a:lnTo>
                <a:lnTo>
                  <a:pt x="141413" y="390198"/>
                </a:lnTo>
                <a:lnTo>
                  <a:pt x="166713" y="353763"/>
                </a:lnTo>
                <a:lnTo>
                  <a:pt x="193801" y="318720"/>
                </a:lnTo>
                <a:lnTo>
                  <a:pt x="222611" y="285137"/>
                </a:lnTo>
                <a:lnTo>
                  <a:pt x="253079" y="253079"/>
                </a:lnTo>
                <a:lnTo>
                  <a:pt x="285137" y="222611"/>
                </a:lnTo>
                <a:lnTo>
                  <a:pt x="318720" y="193801"/>
                </a:lnTo>
                <a:lnTo>
                  <a:pt x="353763" y="166713"/>
                </a:lnTo>
                <a:lnTo>
                  <a:pt x="390198" y="141413"/>
                </a:lnTo>
                <a:lnTo>
                  <a:pt x="427961" y="117968"/>
                </a:lnTo>
                <a:lnTo>
                  <a:pt x="466986" y="96444"/>
                </a:lnTo>
                <a:lnTo>
                  <a:pt x="507206" y="76905"/>
                </a:lnTo>
                <a:lnTo>
                  <a:pt x="548556" y="59418"/>
                </a:lnTo>
                <a:lnTo>
                  <a:pt x="590970" y="44049"/>
                </a:lnTo>
                <a:lnTo>
                  <a:pt x="634382" y="30864"/>
                </a:lnTo>
                <a:lnTo>
                  <a:pt x="678726" y="19928"/>
                </a:lnTo>
                <a:lnTo>
                  <a:pt x="723937" y="11308"/>
                </a:lnTo>
                <a:lnTo>
                  <a:pt x="769948" y="5070"/>
                </a:lnTo>
                <a:lnTo>
                  <a:pt x="816693" y="1278"/>
                </a:lnTo>
                <a:lnTo>
                  <a:pt x="864108" y="0"/>
                </a:lnTo>
                <a:lnTo>
                  <a:pt x="911522" y="1278"/>
                </a:lnTo>
                <a:lnTo>
                  <a:pt x="958267" y="5070"/>
                </a:lnTo>
                <a:lnTo>
                  <a:pt x="1004278" y="11308"/>
                </a:lnTo>
                <a:lnTo>
                  <a:pt x="1049489" y="19928"/>
                </a:lnTo>
                <a:lnTo>
                  <a:pt x="1093833" y="30864"/>
                </a:lnTo>
                <a:lnTo>
                  <a:pt x="1137245" y="44049"/>
                </a:lnTo>
                <a:lnTo>
                  <a:pt x="1179659" y="59418"/>
                </a:lnTo>
                <a:lnTo>
                  <a:pt x="1221009" y="76905"/>
                </a:lnTo>
                <a:lnTo>
                  <a:pt x="1261229" y="96444"/>
                </a:lnTo>
                <a:lnTo>
                  <a:pt x="1300254" y="117968"/>
                </a:lnTo>
                <a:lnTo>
                  <a:pt x="1338017" y="141413"/>
                </a:lnTo>
                <a:lnTo>
                  <a:pt x="1374452" y="166713"/>
                </a:lnTo>
                <a:lnTo>
                  <a:pt x="1409495" y="193801"/>
                </a:lnTo>
                <a:lnTo>
                  <a:pt x="1443078" y="222611"/>
                </a:lnTo>
                <a:lnTo>
                  <a:pt x="1475136" y="253079"/>
                </a:lnTo>
                <a:lnTo>
                  <a:pt x="1505604" y="285137"/>
                </a:lnTo>
                <a:lnTo>
                  <a:pt x="1534414" y="318720"/>
                </a:lnTo>
                <a:lnTo>
                  <a:pt x="1561502" y="353763"/>
                </a:lnTo>
                <a:lnTo>
                  <a:pt x="1586802" y="390198"/>
                </a:lnTo>
                <a:lnTo>
                  <a:pt x="1610247" y="427961"/>
                </a:lnTo>
                <a:lnTo>
                  <a:pt x="1631771" y="466986"/>
                </a:lnTo>
                <a:lnTo>
                  <a:pt x="1651310" y="507206"/>
                </a:lnTo>
                <a:lnTo>
                  <a:pt x="1668797" y="548556"/>
                </a:lnTo>
                <a:lnTo>
                  <a:pt x="1684166" y="590970"/>
                </a:lnTo>
                <a:lnTo>
                  <a:pt x="1697351" y="634382"/>
                </a:lnTo>
                <a:lnTo>
                  <a:pt x="1708287" y="678726"/>
                </a:lnTo>
                <a:lnTo>
                  <a:pt x="1716907" y="723937"/>
                </a:lnTo>
                <a:lnTo>
                  <a:pt x="1723145" y="769948"/>
                </a:lnTo>
                <a:lnTo>
                  <a:pt x="1726937" y="816693"/>
                </a:lnTo>
                <a:lnTo>
                  <a:pt x="1728216" y="864108"/>
                </a:lnTo>
                <a:lnTo>
                  <a:pt x="1726937" y="911518"/>
                </a:lnTo>
                <a:lnTo>
                  <a:pt x="1723145" y="958261"/>
                </a:lnTo>
                <a:lnTo>
                  <a:pt x="1716907" y="1004269"/>
                </a:lnTo>
                <a:lnTo>
                  <a:pt x="1708287" y="1049477"/>
                </a:lnTo>
                <a:lnTo>
                  <a:pt x="1697351" y="1093820"/>
                </a:lnTo>
                <a:lnTo>
                  <a:pt x="1684166" y="1137230"/>
                </a:lnTo>
                <a:lnTo>
                  <a:pt x="1668797" y="1179643"/>
                </a:lnTo>
                <a:lnTo>
                  <a:pt x="1651310" y="1220992"/>
                </a:lnTo>
                <a:lnTo>
                  <a:pt x="1631771" y="1261212"/>
                </a:lnTo>
                <a:lnTo>
                  <a:pt x="1610247" y="1300237"/>
                </a:lnTo>
                <a:lnTo>
                  <a:pt x="1586802" y="1338000"/>
                </a:lnTo>
                <a:lnTo>
                  <a:pt x="1561502" y="1374436"/>
                </a:lnTo>
                <a:lnTo>
                  <a:pt x="1534414" y="1409479"/>
                </a:lnTo>
                <a:lnTo>
                  <a:pt x="1505604" y="1443063"/>
                </a:lnTo>
                <a:lnTo>
                  <a:pt x="1475136" y="1475122"/>
                </a:lnTo>
                <a:lnTo>
                  <a:pt x="1443078" y="1505590"/>
                </a:lnTo>
                <a:lnTo>
                  <a:pt x="1409495" y="1534402"/>
                </a:lnTo>
                <a:lnTo>
                  <a:pt x="1374452" y="1561491"/>
                </a:lnTo>
                <a:lnTo>
                  <a:pt x="1338017" y="1586792"/>
                </a:lnTo>
                <a:lnTo>
                  <a:pt x="1300254" y="1610238"/>
                </a:lnTo>
                <a:lnTo>
                  <a:pt x="1261229" y="1631764"/>
                </a:lnTo>
                <a:lnTo>
                  <a:pt x="1221009" y="1651304"/>
                </a:lnTo>
                <a:lnTo>
                  <a:pt x="1179659" y="1668792"/>
                </a:lnTo>
                <a:lnTo>
                  <a:pt x="1137245" y="1684162"/>
                </a:lnTo>
                <a:lnTo>
                  <a:pt x="1093833" y="1697348"/>
                </a:lnTo>
                <a:lnTo>
                  <a:pt x="1049489" y="1708285"/>
                </a:lnTo>
                <a:lnTo>
                  <a:pt x="1004278" y="1716906"/>
                </a:lnTo>
                <a:lnTo>
                  <a:pt x="958267" y="1723145"/>
                </a:lnTo>
                <a:lnTo>
                  <a:pt x="911522" y="1726937"/>
                </a:lnTo>
                <a:lnTo>
                  <a:pt x="864108" y="1728216"/>
                </a:lnTo>
                <a:lnTo>
                  <a:pt x="816693" y="1726937"/>
                </a:lnTo>
                <a:lnTo>
                  <a:pt x="769948" y="1723145"/>
                </a:lnTo>
                <a:lnTo>
                  <a:pt x="723937" y="1716906"/>
                </a:lnTo>
                <a:lnTo>
                  <a:pt x="678726" y="1708285"/>
                </a:lnTo>
                <a:lnTo>
                  <a:pt x="634382" y="1697348"/>
                </a:lnTo>
                <a:lnTo>
                  <a:pt x="590970" y="1684162"/>
                </a:lnTo>
                <a:lnTo>
                  <a:pt x="548556" y="1668792"/>
                </a:lnTo>
                <a:lnTo>
                  <a:pt x="507206" y="1651304"/>
                </a:lnTo>
                <a:lnTo>
                  <a:pt x="466986" y="1631764"/>
                </a:lnTo>
                <a:lnTo>
                  <a:pt x="427961" y="1610238"/>
                </a:lnTo>
                <a:lnTo>
                  <a:pt x="390198" y="1586792"/>
                </a:lnTo>
                <a:lnTo>
                  <a:pt x="353763" y="1561491"/>
                </a:lnTo>
                <a:lnTo>
                  <a:pt x="318720" y="1534402"/>
                </a:lnTo>
                <a:lnTo>
                  <a:pt x="285137" y="1505590"/>
                </a:lnTo>
                <a:lnTo>
                  <a:pt x="253079" y="1475122"/>
                </a:lnTo>
                <a:lnTo>
                  <a:pt x="222611" y="1443063"/>
                </a:lnTo>
                <a:lnTo>
                  <a:pt x="193801" y="1409479"/>
                </a:lnTo>
                <a:lnTo>
                  <a:pt x="166713" y="1374436"/>
                </a:lnTo>
                <a:lnTo>
                  <a:pt x="141413" y="1338000"/>
                </a:lnTo>
                <a:lnTo>
                  <a:pt x="117968" y="1300237"/>
                </a:lnTo>
                <a:lnTo>
                  <a:pt x="96444" y="1261212"/>
                </a:lnTo>
                <a:lnTo>
                  <a:pt x="76905" y="1220992"/>
                </a:lnTo>
                <a:lnTo>
                  <a:pt x="59418" y="1179643"/>
                </a:lnTo>
                <a:lnTo>
                  <a:pt x="44049" y="1137230"/>
                </a:lnTo>
                <a:lnTo>
                  <a:pt x="30864" y="1093820"/>
                </a:lnTo>
                <a:lnTo>
                  <a:pt x="19928" y="1049477"/>
                </a:lnTo>
                <a:lnTo>
                  <a:pt x="11308" y="1004269"/>
                </a:lnTo>
                <a:lnTo>
                  <a:pt x="5070" y="958261"/>
                </a:lnTo>
                <a:lnTo>
                  <a:pt x="1278" y="911518"/>
                </a:lnTo>
                <a:lnTo>
                  <a:pt x="0" y="864108"/>
                </a:lnTo>
                <a:close/>
              </a:path>
            </a:pathLst>
          </a:custGeom>
          <a:ln w="19812">
            <a:solidFill>
              <a:srgbClr val="FFFFFF"/>
            </a:solidFill>
            <a:prstDash val="sysDot"/>
          </a:ln>
        </p:spPr>
        <p:txBody>
          <a:bodyPr wrap="square" lIns="0" tIns="0" rIns="0" bIns="0" rtlCol="0"/>
          <a:lstStyle/>
          <a:p>
            <a:endParaRPr/>
          </a:p>
        </p:txBody>
      </p:sp>
      <p:sp>
        <p:nvSpPr>
          <p:cNvPr id="8" name="object 8"/>
          <p:cNvSpPr txBox="1"/>
          <p:nvPr/>
        </p:nvSpPr>
        <p:spPr>
          <a:xfrm>
            <a:off x="6962647" y="1186941"/>
            <a:ext cx="4745355" cy="1306195"/>
          </a:xfrm>
          <a:prstGeom prst="rect">
            <a:avLst/>
          </a:prstGeom>
        </p:spPr>
        <p:txBody>
          <a:bodyPr vert="horz" wrap="square" lIns="0" tIns="12700" rIns="0" bIns="0" rtlCol="0">
            <a:spAutoFit/>
          </a:bodyPr>
          <a:lstStyle/>
          <a:p>
            <a:pPr marL="12700" marR="5080">
              <a:lnSpc>
                <a:spcPct val="100000"/>
              </a:lnSpc>
              <a:spcBef>
                <a:spcPts val="100"/>
              </a:spcBef>
            </a:pPr>
            <a:r>
              <a:rPr sz="1200" spc="-10">
                <a:latin typeface="Verdana"/>
                <a:cs typeface="Verdana"/>
              </a:rPr>
              <a:t>Strategic </a:t>
            </a:r>
            <a:r>
              <a:rPr sz="1200" spc="-5">
                <a:latin typeface="Verdana"/>
                <a:cs typeface="Verdana"/>
              </a:rPr>
              <a:t>plan “Push to </a:t>
            </a:r>
            <a:r>
              <a:rPr sz="1200" spc="-10">
                <a:latin typeface="Verdana"/>
                <a:cs typeface="Verdana"/>
              </a:rPr>
              <a:t>Pass” </a:t>
            </a:r>
            <a:r>
              <a:rPr sz="1200" spc="-5">
                <a:latin typeface="Verdana"/>
                <a:cs typeface="Verdana"/>
              </a:rPr>
              <a:t>aims to </a:t>
            </a:r>
            <a:r>
              <a:rPr sz="1200" spc="-10">
                <a:latin typeface="Verdana"/>
                <a:cs typeface="Verdana"/>
              </a:rPr>
              <a:t>move PSA </a:t>
            </a:r>
            <a:r>
              <a:rPr sz="1200">
                <a:latin typeface="Verdana"/>
                <a:cs typeface="Verdana"/>
              </a:rPr>
              <a:t>from </a:t>
            </a:r>
            <a:r>
              <a:rPr sz="1200" spc="-5">
                <a:latin typeface="Verdana"/>
                <a:cs typeface="Verdana"/>
              </a:rPr>
              <a:t>car  manufacturer to </a:t>
            </a:r>
            <a:r>
              <a:rPr sz="1200">
                <a:latin typeface="Verdana"/>
                <a:cs typeface="Verdana"/>
              </a:rPr>
              <a:t>a </a:t>
            </a:r>
            <a:r>
              <a:rPr sz="1200" spc="-10">
                <a:latin typeface="Verdana"/>
                <a:cs typeface="Verdana"/>
              </a:rPr>
              <a:t>mobility </a:t>
            </a:r>
            <a:r>
              <a:rPr sz="1200" spc="-5">
                <a:latin typeface="Verdana"/>
                <a:cs typeface="Verdana"/>
              </a:rPr>
              <a:t>provider and to </a:t>
            </a:r>
            <a:r>
              <a:rPr sz="1200">
                <a:latin typeface="Verdana"/>
                <a:cs typeface="Verdana"/>
              </a:rPr>
              <a:t>renew </a:t>
            </a:r>
            <a:r>
              <a:rPr sz="1200" spc="-5">
                <a:latin typeface="Verdana"/>
                <a:cs typeface="Verdana"/>
              </a:rPr>
              <a:t>the  relationship with </a:t>
            </a:r>
            <a:r>
              <a:rPr sz="1200" spc="-25">
                <a:latin typeface="Verdana"/>
                <a:cs typeface="Verdana"/>
              </a:rPr>
              <a:t>customer, </a:t>
            </a:r>
            <a:r>
              <a:rPr sz="1200" spc="-5">
                <a:latin typeface="Verdana"/>
                <a:cs typeface="Verdana"/>
              </a:rPr>
              <a:t>to put the customer in the </a:t>
            </a:r>
            <a:r>
              <a:rPr sz="1200">
                <a:latin typeface="Verdana"/>
                <a:cs typeface="Verdana"/>
              </a:rPr>
              <a:t>core of  </a:t>
            </a:r>
            <a:r>
              <a:rPr sz="1200" spc="-5">
                <a:latin typeface="Verdana"/>
                <a:cs typeface="Verdana"/>
              </a:rPr>
              <a:t>the business with </a:t>
            </a:r>
            <a:r>
              <a:rPr sz="1200">
                <a:latin typeface="Verdana"/>
                <a:cs typeface="Verdana"/>
              </a:rPr>
              <a:t>a </a:t>
            </a:r>
            <a:r>
              <a:rPr sz="1200" spc="-10">
                <a:latin typeface="Verdana"/>
                <a:cs typeface="Verdana"/>
              </a:rPr>
              <a:t>flexible </a:t>
            </a:r>
            <a:r>
              <a:rPr sz="1200" spc="-5">
                <a:latin typeface="Verdana"/>
                <a:cs typeface="Verdana"/>
              </a:rPr>
              <a:t>and streamlined</a:t>
            </a:r>
            <a:r>
              <a:rPr sz="1200" spc="110">
                <a:latin typeface="Verdana"/>
                <a:cs typeface="Verdana"/>
              </a:rPr>
              <a:t> </a:t>
            </a:r>
            <a:r>
              <a:rPr sz="1200" spc="-5">
                <a:latin typeface="Verdana"/>
                <a:cs typeface="Verdana"/>
              </a:rPr>
              <a:t>experience.</a:t>
            </a:r>
            <a:endParaRPr sz="1200">
              <a:latin typeface="Verdana"/>
              <a:cs typeface="Verdana"/>
            </a:endParaRPr>
          </a:p>
          <a:p>
            <a:pPr marL="12700" marR="162560">
              <a:lnSpc>
                <a:spcPct val="100000"/>
              </a:lnSpc>
            </a:pPr>
            <a:r>
              <a:rPr sz="1200" spc="-5">
                <a:latin typeface="Verdana"/>
                <a:cs typeface="Verdana"/>
              </a:rPr>
              <a:t>“Customer First” is going to connect importers, subsidiaries  and retailers to </a:t>
            </a:r>
            <a:r>
              <a:rPr sz="1200">
                <a:latin typeface="Verdana"/>
                <a:cs typeface="Verdana"/>
              </a:rPr>
              <a:t>each </a:t>
            </a:r>
            <a:r>
              <a:rPr sz="1200" spc="-5">
                <a:latin typeface="Verdana"/>
                <a:cs typeface="Verdana"/>
              </a:rPr>
              <a:t>customer within one global </a:t>
            </a:r>
            <a:r>
              <a:rPr sz="1200" spc="-10">
                <a:latin typeface="Verdana"/>
                <a:cs typeface="Verdana"/>
              </a:rPr>
              <a:t>scalable  </a:t>
            </a:r>
            <a:r>
              <a:rPr sz="1200" spc="-5">
                <a:latin typeface="Verdana"/>
                <a:cs typeface="Verdana"/>
              </a:rPr>
              <a:t>program </a:t>
            </a:r>
            <a:r>
              <a:rPr sz="1200">
                <a:latin typeface="Verdana"/>
                <a:cs typeface="Verdana"/>
              </a:rPr>
              <a:t>for </a:t>
            </a:r>
            <a:r>
              <a:rPr sz="1200" spc="-5">
                <a:latin typeface="Verdana"/>
                <a:cs typeface="Verdana"/>
              </a:rPr>
              <a:t>all</a:t>
            </a:r>
            <a:r>
              <a:rPr sz="1200">
                <a:latin typeface="Verdana"/>
                <a:cs typeface="Verdana"/>
              </a:rPr>
              <a:t> </a:t>
            </a:r>
            <a:r>
              <a:rPr sz="1200" spc="-5">
                <a:latin typeface="Verdana"/>
                <a:cs typeface="Verdana"/>
              </a:rPr>
              <a:t>countries</a:t>
            </a:r>
            <a:endParaRPr sz="1200">
              <a:latin typeface="Verdana"/>
              <a:cs typeface="Verdana"/>
            </a:endParaRPr>
          </a:p>
        </p:txBody>
      </p:sp>
      <p:sp>
        <p:nvSpPr>
          <p:cNvPr id="9" name="object 9"/>
          <p:cNvSpPr txBox="1"/>
          <p:nvPr/>
        </p:nvSpPr>
        <p:spPr>
          <a:xfrm>
            <a:off x="8431530" y="4275201"/>
            <a:ext cx="144843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48</a:t>
            </a:r>
            <a:r>
              <a:rPr sz="1600" b="1" spc="-45">
                <a:latin typeface="Verdana"/>
                <a:cs typeface="Verdana"/>
              </a:rPr>
              <a:t> </a:t>
            </a:r>
            <a:r>
              <a:rPr sz="1600" b="1" spc="-10">
                <a:latin typeface="Verdana"/>
                <a:cs typeface="Verdana"/>
              </a:rPr>
              <a:t>countries</a:t>
            </a:r>
            <a:endParaRPr sz="1600">
              <a:latin typeface="Verdana"/>
              <a:cs typeface="Verdana"/>
            </a:endParaRPr>
          </a:p>
        </p:txBody>
      </p:sp>
      <p:sp>
        <p:nvSpPr>
          <p:cNvPr id="10" name="object 10"/>
          <p:cNvSpPr txBox="1"/>
          <p:nvPr/>
        </p:nvSpPr>
        <p:spPr>
          <a:xfrm>
            <a:off x="6751701" y="4275201"/>
            <a:ext cx="146113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110k+</a:t>
            </a:r>
            <a:r>
              <a:rPr sz="1600" b="1" spc="-55">
                <a:latin typeface="Verdana"/>
                <a:cs typeface="Verdana"/>
              </a:rPr>
              <a:t> </a:t>
            </a:r>
            <a:r>
              <a:rPr sz="1600" b="1" spc="-10">
                <a:latin typeface="Verdana"/>
                <a:cs typeface="Verdana"/>
              </a:rPr>
              <a:t>users</a:t>
            </a:r>
            <a:endParaRPr sz="1600">
              <a:latin typeface="Verdana"/>
              <a:cs typeface="Verdana"/>
            </a:endParaRPr>
          </a:p>
        </p:txBody>
      </p:sp>
      <p:sp>
        <p:nvSpPr>
          <p:cNvPr id="11" name="object 11"/>
          <p:cNvSpPr/>
          <p:nvPr/>
        </p:nvSpPr>
        <p:spPr>
          <a:xfrm>
            <a:off x="7593226" y="3846576"/>
            <a:ext cx="447675" cy="230504"/>
          </a:xfrm>
          <a:custGeom>
            <a:avLst/>
            <a:gdLst/>
            <a:ahLst/>
            <a:cxnLst/>
            <a:rect l="l" t="t" r="r" b="b"/>
            <a:pathLst>
              <a:path w="447675" h="230504">
                <a:moveTo>
                  <a:pt x="57507" y="0"/>
                </a:moveTo>
                <a:lnTo>
                  <a:pt x="46458" y="0"/>
                </a:lnTo>
                <a:lnTo>
                  <a:pt x="35536" y="10922"/>
                </a:lnTo>
                <a:lnTo>
                  <a:pt x="30075" y="16510"/>
                </a:lnTo>
                <a:lnTo>
                  <a:pt x="10461" y="42120"/>
                </a:lnTo>
                <a:lnTo>
                  <a:pt x="611" y="69278"/>
                </a:lnTo>
                <a:lnTo>
                  <a:pt x="0" y="97484"/>
                </a:lnTo>
                <a:lnTo>
                  <a:pt x="8104" y="126237"/>
                </a:lnTo>
                <a:lnTo>
                  <a:pt x="21339" y="150651"/>
                </a:lnTo>
                <a:lnTo>
                  <a:pt x="43791" y="173529"/>
                </a:lnTo>
                <a:lnTo>
                  <a:pt x="74433" y="193335"/>
                </a:lnTo>
                <a:lnTo>
                  <a:pt x="112244" y="208534"/>
                </a:lnTo>
                <a:lnTo>
                  <a:pt x="112244" y="213994"/>
                </a:lnTo>
                <a:lnTo>
                  <a:pt x="158562" y="225067"/>
                </a:lnTo>
                <a:lnTo>
                  <a:pt x="206981" y="230093"/>
                </a:lnTo>
                <a:lnTo>
                  <a:pt x="255585" y="229073"/>
                </a:lnTo>
                <a:lnTo>
                  <a:pt x="302464" y="222011"/>
                </a:lnTo>
                <a:lnTo>
                  <a:pt x="345703" y="208909"/>
                </a:lnTo>
                <a:lnTo>
                  <a:pt x="383391" y="189768"/>
                </a:lnTo>
                <a:lnTo>
                  <a:pt x="407974" y="169290"/>
                </a:lnTo>
                <a:lnTo>
                  <a:pt x="222075" y="169290"/>
                </a:lnTo>
                <a:lnTo>
                  <a:pt x="174423" y="165671"/>
                </a:lnTo>
                <a:lnTo>
                  <a:pt x="128754" y="153669"/>
                </a:lnTo>
                <a:lnTo>
                  <a:pt x="75271" y="124809"/>
                </a:lnTo>
                <a:lnTo>
                  <a:pt x="46458" y="87756"/>
                </a:lnTo>
                <a:lnTo>
                  <a:pt x="39647" y="51387"/>
                </a:lnTo>
                <a:lnTo>
                  <a:pt x="44975" y="31410"/>
                </a:lnTo>
                <a:lnTo>
                  <a:pt x="57507" y="10922"/>
                </a:lnTo>
                <a:lnTo>
                  <a:pt x="62968" y="5461"/>
                </a:lnTo>
                <a:lnTo>
                  <a:pt x="57507" y="5461"/>
                </a:lnTo>
                <a:lnTo>
                  <a:pt x="57507" y="0"/>
                </a:lnTo>
                <a:close/>
              </a:path>
              <a:path w="447675" h="230504">
                <a:moveTo>
                  <a:pt x="397232" y="0"/>
                </a:moveTo>
                <a:lnTo>
                  <a:pt x="386183" y="0"/>
                </a:lnTo>
                <a:lnTo>
                  <a:pt x="386183" y="10922"/>
                </a:lnTo>
                <a:lnTo>
                  <a:pt x="396581" y="23302"/>
                </a:lnTo>
                <a:lnTo>
                  <a:pt x="403359" y="35671"/>
                </a:lnTo>
                <a:lnTo>
                  <a:pt x="407042" y="48015"/>
                </a:lnTo>
                <a:lnTo>
                  <a:pt x="408154" y="60325"/>
                </a:lnTo>
                <a:lnTo>
                  <a:pt x="403885" y="73558"/>
                </a:lnTo>
                <a:lnTo>
                  <a:pt x="380722" y="115188"/>
                </a:lnTo>
                <a:lnTo>
                  <a:pt x="312970" y="154431"/>
                </a:lnTo>
                <a:lnTo>
                  <a:pt x="269120" y="165290"/>
                </a:lnTo>
                <a:lnTo>
                  <a:pt x="222075" y="169290"/>
                </a:lnTo>
                <a:lnTo>
                  <a:pt x="407974" y="169290"/>
                </a:lnTo>
                <a:lnTo>
                  <a:pt x="413615" y="164592"/>
                </a:lnTo>
                <a:lnTo>
                  <a:pt x="431095" y="143164"/>
                </a:lnTo>
                <a:lnTo>
                  <a:pt x="442396" y="120713"/>
                </a:lnTo>
                <a:lnTo>
                  <a:pt x="447530" y="98262"/>
                </a:lnTo>
                <a:lnTo>
                  <a:pt x="446508" y="76835"/>
                </a:lnTo>
                <a:lnTo>
                  <a:pt x="440344" y="56346"/>
                </a:lnTo>
                <a:lnTo>
                  <a:pt x="430061" y="36369"/>
                </a:lnTo>
                <a:lnTo>
                  <a:pt x="415682" y="17416"/>
                </a:lnTo>
                <a:lnTo>
                  <a:pt x="397232" y="0"/>
                </a:lnTo>
                <a:close/>
              </a:path>
            </a:pathLst>
          </a:custGeom>
          <a:solidFill>
            <a:srgbClr val="006FAC"/>
          </a:solidFill>
        </p:spPr>
        <p:txBody>
          <a:bodyPr wrap="square" lIns="0" tIns="0" rIns="0" bIns="0" rtlCol="0"/>
          <a:lstStyle/>
          <a:p>
            <a:endParaRPr/>
          </a:p>
        </p:txBody>
      </p:sp>
      <p:sp>
        <p:nvSpPr>
          <p:cNvPr id="12" name="object 12"/>
          <p:cNvSpPr/>
          <p:nvPr/>
        </p:nvSpPr>
        <p:spPr>
          <a:xfrm>
            <a:off x="7765159" y="3736847"/>
            <a:ext cx="104776" cy="266858"/>
          </a:xfrm>
          <a:prstGeom prst="rect">
            <a:avLst/>
          </a:prstGeom>
          <a:blipFill>
            <a:blip r:embed="rId3" cstate="print"/>
            <a:stretch>
              <a:fillRect/>
            </a:stretch>
          </a:blipFill>
        </p:spPr>
        <p:txBody>
          <a:bodyPr wrap="square" lIns="0" tIns="0" rIns="0" bIns="0" rtlCol="0"/>
          <a:lstStyle/>
          <a:p>
            <a:endParaRPr/>
          </a:p>
        </p:txBody>
      </p:sp>
      <p:sp>
        <p:nvSpPr>
          <p:cNvPr id="13" name="object 13"/>
          <p:cNvSpPr/>
          <p:nvPr/>
        </p:nvSpPr>
        <p:spPr>
          <a:xfrm>
            <a:off x="7908035" y="3634740"/>
            <a:ext cx="48895" cy="53340"/>
          </a:xfrm>
          <a:custGeom>
            <a:avLst/>
            <a:gdLst/>
            <a:ahLst/>
            <a:cxnLst/>
            <a:rect l="l" t="t" r="r" b="b"/>
            <a:pathLst>
              <a:path w="48895" h="53339">
                <a:moveTo>
                  <a:pt x="24384" y="0"/>
                </a:moveTo>
                <a:lnTo>
                  <a:pt x="14894" y="2095"/>
                </a:lnTo>
                <a:lnTo>
                  <a:pt x="7143" y="7810"/>
                </a:lnTo>
                <a:lnTo>
                  <a:pt x="1916" y="16287"/>
                </a:lnTo>
                <a:lnTo>
                  <a:pt x="0" y="26670"/>
                </a:lnTo>
                <a:lnTo>
                  <a:pt x="1916" y="37052"/>
                </a:lnTo>
                <a:lnTo>
                  <a:pt x="7143" y="45529"/>
                </a:lnTo>
                <a:lnTo>
                  <a:pt x="14894" y="51244"/>
                </a:lnTo>
                <a:lnTo>
                  <a:pt x="24384" y="53340"/>
                </a:lnTo>
                <a:lnTo>
                  <a:pt x="33873" y="51244"/>
                </a:lnTo>
                <a:lnTo>
                  <a:pt x="41624" y="45529"/>
                </a:lnTo>
                <a:lnTo>
                  <a:pt x="46851" y="37052"/>
                </a:lnTo>
                <a:lnTo>
                  <a:pt x="48768" y="26670"/>
                </a:lnTo>
                <a:lnTo>
                  <a:pt x="46851" y="16287"/>
                </a:lnTo>
                <a:lnTo>
                  <a:pt x="41624" y="7810"/>
                </a:lnTo>
                <a:lnTo>
                  <a:pt x="33873" y="2095"/>
                </a:lnTo>
                <a:lnTo>
                  <a:pt x="24384" y="0"/>
                </a:lnTo>
                <a:close/>
              </a:path>
            </a:pathLst>
          </a:custGeom>
          <a:solidFill>
            <a:srgbClr val="006FAC"/>
          </a:solidFill>
        </p:spPr>
        <p:txBody>
          <a:bodyPr wrap="square" lIns="0" tIns="0" rIns="0" bIns="0" rtlCol="0"/>
          <a:lstStyle/>
          <a:p>
            <a:endParaRPr/>
          </a:p>
        </p:txBody>
      </p:sp>
      <p:sp>
        <p:nvSpPr>
          <p:cNvPr id="14" name="object 14"/>
          <p:cNvSpPr/>
          <p:nvPr/>
        </p:nvSpPr>
        <p:spPr>
          <a:xfrm>
            <a:off x="7879459"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6836" y="246634"/>
                </a:lnTo>
                <a:lnTo>
                  <a:pt x="88266" y="241173"/>
                </a:lnTo>
                <a:lnTo>
                  <a:pt x="88266" y="125984"/>
                </a:lnTo>
                <a:lnTo>
                  <a:pt x="97043" y="116510"/>
                </a:lnTo>
                <a:lnTo>
                  <a:pt x="100665" y="103441"/>
                </a:lnTo>
                <a:lnTo>
                  <a:pt x="102215" y="85228"/>
                </a:lnTo>
                <a:lnTo>
                  <a:pt x="104776" y="60325"/>
                </a:lnTo>
                <a:lnTo>
                  <a:pt x="102713" y="20558"/>
                </a:lnTo>
                <a:lnTo>
                  <a:pt x="67042" y="682"/>
                </a:lnTo>
                <a:lnTo>
                  <a:pt x="58209" y="85"/>
                </a:lnTo>
                <a:lnTo>
                  <a:pt x="49912" y="0"/>
                </a:lnTo>
                <a:close/>
              </a:path>
              <a:path w="104775" h="257810">
                <a:moveTo>
                  <a:pt x="86836" y="246634"/>
                </a:moveTo>
                <a:lnTo>
                  <a:pt x="49912" y="246634"/>
                </a:lnTo>
                <a:lnTo>
                  <a:pt x="60834" y="257556"/>
                </a:lnTo>
                <a:lnTo>
                  <a:pt x="66422" y="257556"/>
                </a:lnTo>
                <a:lnTo>
                  <a:pt x="74443" y="256532"/>
                </a:lnTo>
                <a:lnTo>
                  <a:pt x="81440" y="253460"/>
                </a:lnTo>
                <a:lnTo>
                  <a:pt x="86389" y="248340"/>
                </a:lnTo>
                <a:lnTo>
                  <a:pt x="86836" y="246634"/>
                </a:lnTo>
                <a:close/>
              </a:path>
            </a:pathLst>
          </a:custGeom>
          <a:solidFill>
            <a:srgbClr val="006FAC"/>
          </a:solidFill>
        </p:spPr>
        <p:txBody>
          <a:bodyPr wrap="square" lIns="0" tIns="0" rIns="0" bIns="0" rtlCol="0"/>
          <a:lstStyle/>
          <a:p>
            <a:endParaRPr/>
          </a:p>
        </p:txBody>
      </p:sp>
      <p:sp>
        <p:nvSpPr>
          <p:cNvPr id="15" name="object 15"/>
          <p:cNvSpPr/>
          <p:nvPr/>
        </p:nvSpPr>
        <p:spPr>
          <a:xfrm>
            <a:off x="7671816" y="3634740"/>
            <a:ext cx="55244" cy="53340"/>
          </a:xfrm>
          <a:custGeom>
            <a:avLst/>
            <a:gdLst/>
            <a:ahLst/>
            <a:cxnLst/>
            <a:rect l="l" t="t" r="r" b="b"/>
            <a:pathLst>
              <a:path w="55245" h="53339">
                <a:moveTo>
                  <a:pt x="27431" y="0"/>
                </a:moveTo>
                <a:lnTo>
                  <a:pt x="16769" y="2095"/>
                </a:lnTo>
                <a:lnTo>
                  <a:pt x="8048" y="7810"/>
                </a:lnTo>
                <a:lnTo>
                  <a:pt x="2160" y="16287"/>
                </a:lnTo>
                <a:lnTo>
                  <a:pt x="0" y="26670"/>
                </a:lnTo>
                <a:lnTo>
                  <a:pt x="2160" y="37052"/>
                </a:lnTo>
                <a:lnTo>
                  <a:pt x="8048" y="45529"/>
                </a:lnTo>
                <a:lnTo>
                  <a:pt x="16769" y="51244"/>
                </a:lnTo>
                <a:lnTo>
                  <a:pt x="27431" y="53340"/>
                </a:lnTo>
                <a:lnTo>
                  <a:pt x="38094" y="51244"/>
                </a:lnTo>
                <a:lnTo>
                  <a:pt x="46815" y="45529"/>
                </a:lnTo>
                <a:lnTo>
                  <a:pt x="52703" y="37052"/>
                </a:lnTo>
                <a:lnTo>
                  <a:pt x="54863" y="26670"/>
                </a:lnTo>
                <a:lnTo>
                  <a:pt x="52703" y="16287"/>
                </a:lnTo>
                <a:lnTo>
                  <a:pt x="46815" y="7810"/>
                </a:lnTo>
                <a:lnTo>
                  <a:pt x="38094" y="2095"/>
                </a:lnTo>
                <a:lnTo>
                  <a:pt x="27431" y="0"/>
                </a:lnTo>
                <a:close/>
              </a:path>
            </a:pathLst>
          </a:custGeom>
          <a:solidFill>
            <a:srgbClr val="006FAC"/>
          </a:solidFill>
        </p:spPr>
        <p:txBody>
          <a:bodyPr wrap="square" lIns="0" tIns="0" rIns="0" bIns="0" rtlCol="0"/>
          <a:lstStyle/>
          <a:p>
            <a:endParaRPr/>
          </a:p>
        </p:txBody>
      </p:sp>
      <p:sp>
        <p:nvSpPr>
          <p:cNvPr id="16" name="object 16"/>
          <p:cNvSpPr/>
          <p:nvPr/>
        </p:nvSpPr>
        <p:spPr>
          <a:xfrm>
            <a:off x="7649334"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2805" y="246634"/>
                </a:lnTo>
                <a:lnTo>
                  <a:pt x="82805" y="125984"/>
                </a:lnTo>
                <a:lnTo>
                  <a:pt x="94740" y="116510"/>
                </a:lnTo>
                <a:lnTo>
                  <a:pt x="99982" y="103441"/>
                </a:lnTo>
                <a:lnTo>
                  <a:pt x="102129" y="85228"/>
                </a:lnTo>
                <a:lnTo>
                  <a:pt x="104776" y="60325"/>
                </a:lnTo>
                <a:lnTo>
                  <a:pt x="103665" y="37875"/>
                </a:lnTo>
                <a:lnTo>
                  <a:pt x="74594" y="2303"/>
                </a:lnTo>
                <a:lnTo>
                  <a:pt x="58124" y="85"/>
                </a:lnTo>
                <a:lnTo>
                  <a:pt x="49912" y="0"/>
                </a:lnTo>
                <a:close/>
              </a:path>
              <a:path w="104775" h="257810">
                <a:moveTo>
                  <a:pt x="82805" y="246634"/>
                </a:moveTo>
                <a:lnTo>
                  <a:pt x="49912" y="246634"/>
                </a:lnTo>
                <a:lnTo>
                  <a:pt x="49912" y="252095"/>
                </a:lnTo>
                <a:lnTo>
                  <a:pt x="60834" y="257556"/>
                </a:lnTo>
                <a:lnTo>
                  <a:pt x="77344" y="257556"/>
                </a:lnTo>
                <a:lnTo>
                  <a:pt x="82805" y="252095"/>
                </a:lnTo>
                <a:lnTo>
                  <a:pt x="82805" y="246634"/>
                </a:lnTo>
                <a:close/>
              </a:path>
            </a:pathLst>
          </a:custGeom>
          <a:solidFill>
            <a:srgbClr val="006FAC"/>
          </a:solidFill>
        </p:spPr>
        <p:txBody>
          <a:bodyPr wrap="square" lIns="0" tIns="0" rIns="0" bIns="0" rtlCol="0"/>
          <a:lstStyle/>
          <a:p>
            <a:endParaRPr/>
          </a:p>
        </p:txBody>
      </p:sp>
      <p:sp>
        <p:nvSpPr>
          <p:cNvPr id="17" name="object 17"/>
          <p:cNvSpPr/>
          <p:nvPr/>
        </p:nvSpPr>
        <p:spPr>
          <a:xfrm>
            <a:off x="8909684" y="3651884"/>
            <a:ext cx="476884" cy="464184"/>
          </a:xfrm>
          <a:custGeom>
            <a:avLst/>
            <a:gdLst/>
            <a:ahLst/>
            <a:cxnLst/>
            <a:rect l="l" t="t" r="r" b="b"/>
            <a:pathLst>
              <a:path w="476884" h="464185">
                <a:moveTo>
                  <a:pt x="221360" y="0"/>
                </a:moveTo>
                <a:lnTo>
                  <a:pt x="176974" y="5762"/>
                </a:lnTo>
                <a:lnTo>
                  <a:pt x="138302" y="20954"/>
                </a:lnTo>
                <a:lnTo>
                  <a:pt x="98631" y="44386"/>
                </a:lnTo>
                <a:lnTo>
                  <a:pt x="63245" y="73532"/>
                </a:lnTo>
                <a:lnTo>
                  <a:pt x="34147" y="108394"/>
                </a:lnTo>
                <a:lnTo>
                  <a:pt x="13334" y="148970"/>
                </a:lnTo>
                <a:lnTo>
                  <a:pt x="3095" y="189928"/>
                </a:lnTo>
                <a:lnTo>
                  <a:pt x="0" y="238886"/>
                </a:lnTo>
                <a:lnTo>
                  <a:pt x="4333" y="287845"/>
                </a:lnTo>
                <a:lnTo>
                  <a:pt x="16382" y="328802"/>
                </a:lnTo>
                <a:lnTo>
                  <a:pt x="38960" y="367574"/>
                </a:lnTo>
                <a:lnTo>
                  <a:pt x="70795" y="400324"/>
                </a:lnTo>
                <a:lnTo>
                  <a:pt x="109854" y="426677"/>
                </a:lnTo>
                <a:lnTo>
                  <a:pt x="154107" y="446257"/>
                </a:lnTo>
                <a:lnTo>
                  <a:pt x="201520" y="458687"/>
                </a:lnTo>
                <a:lnTo>
                  <a:pt x="250062" y="463592"/>
                </a:lnTo>
                <a:lnTo>
                  <a:pt x="297702" y="460594"/>
                </a:lnTo>
                <a:lnTo>
                  <a:pt x="342406" y="449318"/>
                </a:lnTo>
                <a:lnTo>
                  <a:pt x="382142" y="429387"/>
                </a:lnTo>
                <a:lnTo>
                  <a:pt x="413564" y="401217"/>
                </a:lnTo>
                <a:lnTo>
                  <a:pt x="439441" y="365263"/>
                </a:lnTo>
                <a:lnTo>
                  <a:pt x="459080" y="323817"/>
                </a:lnTo>
                <a:lnTo>
                  <a:pt x="471787" y="279173"/>
                </a:lnTo>
                <a:lnTo>
                  <a:pt x="476870" y="233621"/>
                </a:lnTo>
                <a:lnTo>
                  <a:pt x="473636" y="189456"/>
                </a:lnTo>
                <a:lnTo>
                  <a:pt x="461390" y="148970"/>
                </a:lnTo>
                <a:lnTo>
                  <a:pt x="434149" y="100917"/>
                </a:lnTo>
                <a:lnTo>
                  <a:pt x="398906" y="59435"/>
                </a:lnTo>
                <a:lnTo>
                  <a:pt x="356806" y="27670"/>
                </a:lnTo>
                <a:lnTo>
                  <a:pt x="308990" y="8762"/>
                </a:lnTo>
                <a:lnTo>
                  <a:pt x="266890" y="1666"/>
                </a:lnTo>
                <a:lnTo>
                  <a:pt x="221360" y="0"/>
                </a:lnTo>
                <a:close/>
              </a:path>
            </a:pathLst>
          </a:custGeom>
          <a:solidFill>
            <a:srgbClr val="9AE0F7"/>
          </a:solidFill>
        </p:spPr>
        <p:txBody>
          <a:bodyPr wrap="square" lIns="0" tIns="0" rIns="0" bIns="0" rtlCol="0"/>
          <a:lstStyle/>
          <a:p>
            <a:endParaRPr/>
          </a:p>
        </p:txBody>
      </p:sp>
      <p:sp>
        <p:nvSpPr>
          <p:cNvPr id="18" name="object 18"/>
          <p:cNvSpPr/>
          <p:nvPr/>
        </p:nvSpPr>
        <p:spPr>
          <a:xfrm>
            <a:off x="9025128" y="3651503"/>
            <a:ext cx="135890" cy="40005"/>
          </a:xfrm>
          <a:custGeom>
            <a:avLst/>
            <a:gdLst/>
            <a:ahLst/>
            <a:cxnLst/>
            <a:rect l="l" t="t" r="r" b="b"/>
            <a:pathLst>
              <a:path w="135890" h="40004">
                <a:moveTo>
                  <a:pt x="135636" y="0"/>
                </a:moveTo>
                <a:lnTo>
                  <a:pt x="88564" y="1428"/>
                </a:lnTo>
                <a:lnTo>
                  <a:pt x="53101" y="9144"/>
                </a:lnTo>
                <a:lnTo>
                  <a:pt x="24997" y="21431"/>
                </a:lnTo>
                <a:lnTo>
                  <a:pt x="0" y="36576"/>
                </a:lnTo>
                <a:lnTo>
                  <a:pt x="24643" y="39862"/>
                </a:lnTo>
                <a:lnTo>
                  <a:pt x="64883" y="32718"/>
                </a:lnTo>
                <a:lnTo>
                  <a:pt x="113426" y="16002"/>
                </a:lnTo>
                <a:lnTo>
                  <a:pt x="135636" y="0"/>
                </a:lnTo>
                <a:close/>
              </a:path>
            </a:pathLst>
          </a:custGeom>
          <a:solidFill>
            <a:srgbClr val="12ABDB"/>
          </a:solidFill>
        </p:spPr>
        <p:txBody>
          <a:bodyPr wrap="square" lIns="0" tIns="0" rIns="0" bIns="0" rtlCol="0"/>
          <a:lstStyle/>
          <a:p>
            <a:endParaRPr/>
          </a:p>
        </p:txBody>
      </p:sp>
      <p:sp>
        <p:nvSpPr>
          <p:cNvPr id="19" name="object 19"/>
          <p:cNvSpPr/>
          <p:nvPr/>
        </p:nvSpPr>
        <p:spPr>
          <a:xfrm>
            <a:off x="9108947" y="3672840"/>
            <a:ext cx="242570" cy="387350"/>
          </a:xfrm>
          <a:custGeom>
            <a:avLst/>
            <a:gdLst/>
            <a:ahLst/>
            <a:cxnLst/>
            <a:rect l="l" t="t" r="r" b="b"/>
            <a:pathLst>
              <a:path w="242570" h="387350">
                <a:moveTo>
                  <a:pt x="151304" y="227171"/>
                </a:moveTo>
                <a:lnTo>
                  <a:pt x="135254" y="230886"/>
                </a:lnTo>
                <a:lnTo>
                  <a:pt x="120919" y="238029"/>
                </a:lnTo>
                <a:lnTo>
                  <a:pt x="109727" y="246887"/>
                </a:lnTo>
                <a:lnTo>
                  <a:pt x="117205" y="259889"/>
                </a:lnTo>
                <a:lnTo>
                  <a:pt x="116966" y="270891"/>
                </a:lnTo>
                <a:lnTo>
                  <a:pt x="109299" y="279034"/>
                </a:lnTo>
                <a:lnTo>
                  <a:pt x="94487" y="283464"/>
                </a:lnTo>
                <a:lnTo>
                  <a:pt x="94868" y="302466"/>
                </a:lnTo>
                <a:lnTo>
                  <a:pt x="102107" y="318897"/>
                </a:lnTo>
                <a:lnTo>
                  <a:pt x="111632" y="333613"/>
                </a:lnTo>
                <a:lnTo>
                  <a:pt x="118872" y="347472"/>
                </a:lnTo>
                <a:lnTo>
                  <a:pt x="123110" y="360092"/>
                </a:lnTo>
                <a:lnTo>
                  <a:pt x="127634" y="370713"/>
                </a:lnTo>
                <a:lnTo>
                  <a:pt x="133873" y="379618"/>
                </a:lnTo>
                <a:lnTo>
                  <a:pt x="143255" y="387096"/>
                </a:lnTo>
                <a:lnTo>
                  <a:pt x="167925" y="363235"/>
                </a:lnTo>
                <a:lnTo>
                  <a:pt x="194309" y="340232"/>
                </a:lnTo>
                <a:lnTo>
                  <a:pt x="219551" y="315515"/>
                </a:lnTo>
                <a:lnTo>
                  <a:pt x="240792" y="286512"/>
                </a:lnTo>
                <a:lnTo>
                  <a:pt x="235981" y="279082"/>
                </a:lnTo>
                <a:lnTo>
                  <a:pt x="234389" y="270891"/>
                </a:lnTo>
                <a:lnTo>
                  <a:pt x="234390" y="259889"/>
                </a:lnTo>
                <a:lnTo>
                  <a:pt x="234696" y="249936"/>
                </a:lnTo>
                <a:lnTo>
                  <a:pt x="225504" y="243887"/>
                </a:lnTo>
                <a:lnTo>
                  <a:pt x="213741" y="238125"/>
                </a:lnTo>
                <a:lnTo>
                  <a:pt x="202549" y="230647"/>
                </a:lnTo>
                <a:lnTo>
                  <a:pt x="201180" y="228600"/>
                </a:lnTo>
                <a:lnTo>
                  <a:pt x="167640" y="228600"/>
                </a:lnTo>
                <a:lnTo>
                  <a:pt x="151304" y="227171"/>
                </a:lnTo>
                <a:close/>
              </a:path>
              <a:path w="242570" h="387350">
                <a:moveTo>
                  <a:pt x="237886" y="115824"/>
                </a:moveTo>
                <a:lnTo>
                  <a:pt x="124968" y="115824"/>
                </a:lnTo>
                <a:lnTo>
                  <a:pt x="134540" y="122205"/>
                </a:lnTo>
                <a:lnTo>
                  <a:pt x="146685" y="137159"/>
                </a:lnTo>
                <a:lnTo>
                  <a:pt x="157114" y="154400"/>
                </a:lnTo>
                <a:lnTo>
                  <a:pt x="161544" y="167640"/>
                </a:lnTo>
                <a:lnTo>
                  <a:pt x="161544" y="170687"/>
                </a:lnTo>
                <a:lnTo>
                  <a:pt x="155448" y="176784"/>
                </a:lnTo>
                <a:lnTo>
                  <a:pt x="155448" y="179832"/>
                </a:lnTo>
                <a:lnTo>
                  <a:pt x="164592" y="188976"/>
                </a:lnTo>
                <a:lnTo>
                  <a:pt x="164592" y="192024"/>
                </a:lnTo>
                <a:lnTo>
                  <a:pt x="169354" y="199882"/>
                </a:lnTo>
                <a:lnTo>
                  <a:pt x="172974" y="209169"/>
                </a:lnTo>
                <a:lnTo>
                  <a:pt x="173164" y="219027"/>
                </a:lnTo>
                <a:lnTo>
                  <a:pt x="167640" y="228600"/>
                </a:lnTo>
                <a:lnTo>
                  <a:pt x="201180" y="228600"/>
                </a:lnTo>
                <a:lnTo>
                  <a:pt x="195072" y="219456"/>
                </a:lnTo>
                <a:lnTo>
                  <a:pt x="193881" y="209264"/>
                </a:lnTo>
                <a:lnTo>
                  <a:pt x="194691" y="195072"/>
                </a:lnTo>
                <a:lnTo>
                  <a:pt x="215646" y="159258"/>
                </a:lnTo>
                <a:lnTo>
                  <a:pt x="225171" y="156972"/>
                </a:lnTo>
                <a:lnTo>
                  <a:pt x="234696" y="152400"/>
                </a:lnTo>
                <a:lnTo>
                  <a:pt x="242220" y="137255"/>
                </a:lnTo>
                <a:lnTo>
                  <a:pt x="240029" y="120395"/>
                </a:lnTo>
                <a:lnTo>
                  <a:pt x="237886" y="115824"/>
                </a:lnTo>
                <a:close/>
              </a:path>
              <a:path w="242570" h="387350">
                <a:moveTo>
                  <a:pt x="235608" y="110966"/>
                </a:moveTo>
                <a:lnTo>
                  <a:pt x="42814" y="110966"/>
                </a:lnTo>
                <a:lnTo>
                  <a:pt x="54482" y="118872"/>
                </a:lnTo>
                <a:lnTo>
                  <a:pt x="65579" y="129063"/>
                </a:lnTo>
                <a:lnTo>
                  <a:pt x="79248" y="134112"/>
                </a:lnTo>
                <a:lnTo>
                  <a:pt x="91963" y="132111"/>
                </a:lnTo>
                <a:lnTo>
                  <a:pt x="103250" y="124968"/>
                </a:lnTo>
                <a:lnTo>
                  <a:pt x="113966" y="117824"/>
                </a:lnTo>
                <a:lnTo>
                  <a:pt x="124968" y="115824"/>
                </a:lnTo>
                <a:lnTo>
                  <a:pt x="237886" y="115824"/>
                </a:lnTo>
                <a:lnTo>
                  <a:pt x="235608" y="110966"/>
                </a:lnTo>
                <a:close/>
              </a:path>
              <a:path w="242570" h="387350">
                <a:moveTo>
                  <a:pt x="121920" y="0"/>
                </a:moveTo>
                <a:lnTo>
                  <a:pt x="112775" y="1476"/>
                </a:lnTo>
                <a:lnTo>
                  <a:pt x="103631" y="4953"/>
                </a:lnTo>
                <a:lnTo>
                  <a:pt x="94487" y="9001"/>
                </a:lnTo>
                <a:lnTo>
                  <a:pt x="85344" y="12192"/>
                </a:lnTo>
                <a:lnTo>
                  <a:pt x="77581" y="27813"/>
                </a:lnTo>
                <a:lnTo>
                  <a:pt x="62102" y="36576"/>
                </a:lnTo>
                <a:lnTo>
                  <a:pt x="43767" y="43053"/>
                </a:lnTo>
                <a:lnTo>
                  <a:pt x="27431" y="51816"/>
                </a:lnTo>
                <a:lnTo>
                  <a:pt x="23574" y="70008"/>
                </a:lnTo>
                <a:lnTo>
                  <a:pt x="14859" y="85343"/>
                </a:lnTo>
                <a:lnTo>
                  <a:pt x="5572" y="100679"/>
                </a:lnTo>
                <a:lnTo>
                  <a:pt x="0" y="118872"/>
                </a:lnTo>
                <a:lnTo>
                  <a:pt x="6096" y="118872"/>
                </a:lnTo>
                <a:lnTo>
                  <a:pt x="6096" y="106680"/>
                </a:lnTo>
                <a:lnTo>
                  <a:pt x="233598" y="106680"/>
                </a:lnTo>
                <a:lnTo>
                  <a:pt x="209121" y="68056"/>
                </a:lnTo>
                <a:lnTo>
                  <a:pt x="180070" y="36528"/>
                </a:lnTo>
                <a:lnTo>
                  <a:pt x="142875" y="8381"/>
                </a:lnTo>
                <a:lnTo>
                  <a:pt x="131968" y="2476"/>
                </a:lnTo>
                <a:lnTo>
                  <a:pt x="121920" y="0"/>
                </a:lnTo>
                <a:close/>
              </a:path>
              <a:path w="242570" h="387350">
                <a:moveTo>
                  <a:pt x="233598" y="106680"/>
                </a:moveTo>
                <a:lnTo>
                  <a:pt x="21335" y="106680"/>
                </a:lnTo>
                <a:lnTo>
                  <a:pt x="21335" y="112776"/>
                </a:lnTo>
                <a:lnTo>
                  <a:pt x="27431" y="112776"/>
                </a:lnTo>
                <a:lnTo>
                  <a:pt x="42814" y="110966"/>
                </a:lnTo>
                <a:lnTo>
                  <a:pt x="235608" y="110966"/>
                </a:lnTo>
                <a:lnTo>
                  <a:pt x="233598" y="106680"/>
                </a:lnTo>
                <a:close/>
              </a:path>
            </a:pathLst>
          </a:custGeom>
          <a:solidFill>
            <a:srgbClr val="12ABDB"/>
          </a:solidFill>
        </p:spPr>
        <p:txBody>
          <a:bodyPr wrap="square" lIns="0" tIns="0" rIns="0" bIns="0" rtlCol="0"/>
          <a:lstStyle/>
          <a:p>
            <a:endParaRPr/>
          </a:p>
        </p:txBody>
      </p:sp>
      <p:sp>
        <p:nvSpPr>
          <p:cNvPr id="20" name="object 20"/>
          <p:cNvSpPr/>
          <p:nvPr/>
        </p:nvSpPr>
        <p:spPr>
          <a:xfrm>
            <a:off x="8908923" y="3761232"/>
            <a:ext cx="123823" cy="222504"/>
          </a:xfrm>
          <a:prstGeom prst="rect">
            <a:avLst/>
          </a:prstGeom>
          <a:blipFill>
            <a:blip r:embed="rId4" cstate="print"/>
            <a:stretch>
              <a:fillRect/>
            </a:stretch>
          </a:blipFill>
        </p:spPr>
        <p:txBody>
          <a:bodyPr wrap="square" lIns="0" tIns="0" rIns="0" bIns="0" rtlCol="0"/>
          <a:lstStyle/>
          <a:p>
            <a:endParaRPr/>
          </a:p>
        </p:txBody>
      </p:sp>
      <p:sp>
        <p:nvSpPr>
          <p:cNvPr id="21" name="object 21"/>
          <p:cNvSpPr/>
          <p:nvPr/>
        </p:nvSpPr>
        <p:spPr>
          <a:xfrm>
            <a:off x="246888" y="565404"/>
            <a:ext cx="1097280" cy="594360"/>
          </a:xfrm>
          <a:prstGeom prst="rect">
            <a:avLst/>
          </a:prstGeom>
          <a:blipFill>
            <a:blip r:embed="rId5" cstate="print"/>
            <a:stretch>
              <a:fillRect/>
            </a:stretch>
          </a:blipFill>
        </p:spPr>
        <p:txBody>
          <a:bodyPr wrap="square" lIns="0" tIns="0" rIns="0" bIns="0" rtlCol="0"/>
          <a:lstStyle/>
          <a:p>
            <a:endParaRPr/>
          </a:p>
        </p:txBody>
      </p:sp>
      <p:sp>
        <p:nvSpPr>
          <p:cNvPr id="22" name="object 22"/>
          <p:cNvSpPr txBox="1"/>
          <p:nvPr/>
        </p:nvSpPr>
        <p:spPr>
          <a:xfrm>
            <a:off x="10092055" y="4275201"/>
            <a:ext cx="1731010" cy="269240"/>
          </a:xfrm>
          <a:prstGeom prst="rect">
            <a:avLst/>
          </a:prstGeom>
        </p:spPr>
        <p:txBody>
          <a:bodyPr vert="horz" wrap="square" lIns="0" tIns="12065" rIns="0" bIns="0" rtlCol="0">
            <a:spAutoFit/>
          </a:bodyPr>
          <a:lstStyle/>
          <a:p>
            <a:pPr marL="12700">
              <a:lnSpc>
                <a:spcPct val="100000"/>
              </a:lnSpc>
              <a:spcBef>
                <a:spcPts val="95"/>
              </a:spcBef>
            </a:pPr>
            <a:r>
              <a:rPr sz="1600" b="1" spc="-10">
                <a:latin typeface="Verdana"/>
                <a:cs typeface="Verdana"/>
              </a:rPr>
              <a:t>new/used</a:t>
            </a:r>
            <a:r>
              <a:rPr sz="1600" b="1" spc="-35">
                <a:latin typeface="Verdana"/>
                <a:cs typeface="Verdana"/>
              </a:rPr>
              <a:t> </a:t>
            </a:r>
            <a:r>
              <a:rPr sz="1600" b="1" spc="-10">
                <a:latin typeface="Verdana"/>
                <a:cs typeface="Verdana"/>
              </a:rPr>
              <a:t>cars</a:t>
            </a:r>
            <a:endParaRPr sz="1600">
              <a:latin typeface="Verdana"/>
              <a:cs typeface="Verdana"/>
            </a:endParaRPr>
          </a:p>
        </p:txBody>
      </p:sp>
      <p:sp>
        <p:nvSpPr>
          <p:cNvPr id="23" name="object 23"/>
          <p:cNvSpPr/>
          <p:nvPr/>
        </p:nvSpPr>
        <p:spPr>
          <a:xfrm>
            <a:off x="10739628" y="4053840"/>
            <a:ext cx="96012" cy="64008"/>
          </a:xfrm>
          <a:prstGeom prst="rect">
            <a:avLst/>
          </a:prstGeom>
          <a:blipFill>
            <a:blip r:embed="rId6" cstate="print"/>
            <a:stretch>
              <a:fillRect/>
            </a:stretch>
          </a:blipFill>
        </p:spPr>
        <p:txBody>
          <a:bodyPr wrap="square" lIns="0" tIns="0" rIns="0" bIns="0" rtlCol="0"/>
          <a:lstStyle/>
          <a:p>
            <a:endParaRPr/>
          </a:p>
        </p:txBody>
      </p:sp>
      <p:sp>
        <p:nvSpPr>
          <p:cNvPr id="24" name="object 24"/>
          <p:cNvSpPr/>
          <p:nvPr/>
        </p:nvSpPr>
        <p:spPr>
          <a:xfrm>
            <a:off x="11087100" y="4053840"/>
            <a:ext cx="94488" cy="64008"/>
          </a:xfrm>
          <a:prstGeom prst="rect">
            <a:avLst/>
          </a:prstGeom>
          <a:blipFill>
            <a:blip r:embed="rId7" cstate="print"/>
            <a:stretch>
              <a:fillRect/>
            </a:stretch>
          </a:blipFill>
        </p:spPr>
        <p:txBody>
          <a:bodyPr wrap="square" lIns="0" tIns="0" rIns="0" bIns="0" rtlCol="0"/>
          <a:lstStyle/>
          <a:p>
            <a:endParaRPr/>
          </a:p>
        </p:txBody>
      </p:sp>
      <p:sp>
        <p:nvSpPr>
          <p:cNvPr id="25" name="object 25"/>
          <p:cNvSpPr/>
          <p:nvPr/>
        </p:nvSpPr>
        <p:spPr>
          <a:xfrm>
            <a:off x="10645140" y="3822191"/>
            <a:ext cx="86995" cy="55244"/>
          </a:xfrm>
          <a:custGeom>
            <a:avLst/>
            <a:gdLst/>
            <a:ahLst/>
            <a:cxnLst/>
            <a:rect l="l" t="t" r="r" b="b"/>
            <a:pathLst>
              <a:path w="86995" h="55245">
                <a:moveTo>
                  <a:pt x="61849" y="0"/>
                </a:moveTo>
                <a:lnTo>
                  <a:pt x="25018" y="0"/>
                </a:lnTo>
                <a:lnTo>
                  <a:pt x="22225" y="634"/>
                </a:lnTo>
                <a:lnTo>
                  <a:pt x="19557" y="1142"/>
                </a:lnTo>
                <a:lnTo>
                  <a:pt x="8254" y="8127"/>
                </a:lnTo>
                <a:lnTo>
                  <a:pt x="6350" y="9905"/>
                </a:lnTo>
                <a:lnTo>
                  <a:pt x="0" y="24637"/>
                </a:lnTo>
                <a:lnTo>
                  <a:pt x="0" y="30225"/>
                </a:lnTo>
                <a:lnTo>
                  <a:pt x="4825" y="42544"/>
                </a:lnTo>
                <a:lnTo>
                  <a:pt x="6350" y="44703"/>
                </a:lnTo>
                <a:lnTo>
                  <a:pt x="27685" y="54863"/>
                </a:lnTo>
                <a:lnTo>
                  <a:pt x="86867" y="54863"/>
                </a:lnTo>
                <a:lnTo>
                  <a:pt x="86867" y="24637"/>
                </a:lnTo>
                <a:lnTo>
                  <a:pt x="86613" y="21843"/>
                </a:lnTo>
                <a:lnTo>
                  <a:pt x="85598" y="19176"/>
                </a:lnTo>
                <a:lnTo>
                  <a:pt x="84708" y="16763"/>
                </a:lnTo>
                <a:lnTo>
                  <a:pt x="64642" y="634"/>
                </a:lnTo>
                <a:lnTo>
                  <a:pt x="61849" y="0"/>
                </a:lnTo>
                <a:close/>
              </a:path>
            </a:pathLst>
          </a:custGeom>
          <a:solidFill>
            <a:srgbClr val="2B093C"/>
          </a:solidFill>
        </p:spPr>
        <p:txBody>
          <a:bodyPr wrap="square" lIns="0" tIns="0" rIns="0" bIns="0" rtlCol="0"/>
          <a:lstStyle/>
          <a:p>
            <a:endParaRPr/>
          </a:p>
        </p:txBody>
      </p:sp>
      <p:sp>
        <p:nvSpPr>
          <p:cNvPr id="26" name="object 26"/>
          <p:cNvSpPr/>
          <p:nvPr/>
        </p:nvSpPr>
        <p:spPr>
          <a:xfrm>
            <a:off x="11181588" y="3822191"/>
            <a:ext cx="86995" cy="55244"/>
          </a:xfrm>
          <a:custGeom>
            <a:avLst/>
            <a:gdLst/>
            <a:ahLst/>
            <a:cxnLst/>
            <a:rect l="l" t="t" r="r" b="b"/>
            <a:pathLst>
              <a:path w="86995" h="55245">
                <a:moveTo>
                  <a:pt x="61848" y="0"/>
                </a:moveTo>
                <a:lnTo>
                  <a:pt x="25018" y="0"/>
                </a:lnTo>
                <a:lnTo>
                  <a:pt x="22225" y="634"/>
                </a:lnTo>
                <a:lnTo>
                  <a:pt x="19557" y="1142"/>
                </a:lnTo>
                <a:lnTo>
                  <a:pt x="6350" y="9905"/>
                </a:lnTo>
                <a:lnTo>
                  <a:pt x="4571" y="11937"/>
                </a:lnTo>
                <a:lnTo>
                  <a:pt x="0" y="24637"/>
                </a:lnTo>
                <a:lnTo>
                  <a:pt x="0" y="54863"/>
                </a:lnTo>
                <a:lnTo>
                  <a:pt x="59181" y="54863"/>
                </a:lnTo>
                <a:lnTo>
                  <a:pt x="61848" y="54609"/>
                </a:lnTo>
                <a:lnTo>
                  <a:pt x="82041" y="42544"/>
                </a:lnTo>
                <a:lnTo>
                  <a:pt x="83565" y="40512"/>
                </a:lnTo>
                <a:lnTo>
                  <a:pt x="84708" y="38099"/>
                </a:lnTo>
                <a:lnTo>
                  <a:pt x="85597" y="35686"/>
                </a:lnTo>
                <a:lnTo>
                  <a:pt x="86232" y="33019"/>
                </a:lnTo>
                <a:lnTo>
                  <a:pt x="86867" y="30225"/>
                </a:lnTo>
                <a:lnTo>
                  <a:pt x="86867" y="24637"/>
                </a:lnTo>
                <a:lnTo>
                  <a:pt x="78612" y="8127"/>
                </a:lnTo>
                <a:lnTo>
                  <a:pt x="76834" y="6349"/>
                </a:lnTo>
                <a:lnTo>
                  <a:pt x="64642" y="634"/>
                </a:lnTo>
                <a:lnTo>
                  <a:pt x="61848" y="0"/>
                </a:lnTo>
                <a:close/>
              </a:path>
            </a:pathLst>
          </a:custGeom>
          <a:solidFill>
            <a:srgbClr val="2B093C"/>
          </a:solidFill>
        </p:spPr>
        <p:txBody>
          <a:bodyPr wrap="square" lIns="0" tIns="0" rIns="0" bIns="0" rtlCol="0"/>
          <a:lstStyle/>
          <a:p>
            <a:endParaRPr/>
          </a:p>
        </p:txBody>
      </p:sp>
      <p:sp>
        <p:nvSpPr>
          <p:cNvPr id="27" name="object 27"/>
          <p:cNvSpPr/>
          <p:nvPr/>
        </p:nvSpPr>
        <p:spPr>
          <a:xfrm>
            <a:off x="10728959" y="3710940"/>
            <a:ext cx="455930" cy="147955"/>
          </a:xfrm>
          <a:custGeom>
            <a:avLst/>
            <a:gdLst/>
            <a:ahLst/>
            <a:cxnLst/>
            <a:rect l="l" t="t" r="r" b="b"/>
            <a:pathLst>
              <a:path w="455929" h="147954">
                <a:moveTo>
                  <a:pt x="355854" y="0"/>
                </a:moveTo>
                <a:lnTo>
                  <a:pt x="99822" y="0"/>
                </a:lnTo>
                <a:lnTo>
                  <a:pt x="88265" y="1778"/>
                </a:lnTo>
                <a:lnTo>
                  <a:pt x="53213" y="20955"/>
                </a:lnTo>
                <a:lnTo>
                  <a:pt x="0" y="147828"/>
                </a:lnTo>
                <a:lnTo>
                  <a:pt x="455675" y="147828"/>
                </a:lnTo>
                <a:lnTo>
                  <a:pt x="421259" y="50165"/>
                </a:lnTo>
                <a:lnTo>
                  <a:pt x="398145" y="17399"/>
                </a:lnTo>
                <a:lnTo>
                  <a:pt x="355854" y="0"/>
                </a:lnTo>
                <a:close/>
              </a:path>
            </a:pathLst>
          </a:custGeom>
          <a:solidFill>
            <a:srgbClr val="FF6F57"/>
          </a:solidFill>
        </p:spPr>
        <p:txBody>
          <a:bodyPr wrap="square" lIns="0" tIns="0" rIns="0" bIns="0" rtlCol="0"/>
          <a:lstStyle/>
          <a:p>
            <a:endParaRPr/>
          </a:p>
        </p:txBody>
      </p:sp>
      <p:sp>
        <p:nvSpPr>
          <p:cNvPr id="28" name="object 28"/>
          <p:cNvSpPr/>
          <p:nvPr/>
        </p:nvSpPr>
        <p:spPr>
          <a:xfrm>
            <a:off x="10728959" y="3710940"/>
            <a:ext cx="455930" cy="147955"/>
          </a:xfrm>
          <a:custGeom>
            <a:avLst/>
            <a:gdLst/>
            <a:ahLst/>
            <a:cxnLst/>
            <a:rect l="l" t="t" r="r" b="b"/>
            <a:pathLst>
              <a:path w="455929" h="147954">
                <a:moveTo>
                  <a:pt x="355854" y="0"/>
                </a:moveTo>
                <a:lnTo>
                  <a:pt x="99822" y="0"/>
                </a:lnTo>
                <a:lnTo>
                  <a:pt x="88265" y="1778"/>
                </a:lnTo>
                <a:lnTo>
                  <a:pt x="53213" y="20955"/>
                </a:lnTo>
                <a:lnTo>
                  <a:pt x="0" y="147828"/>
                </a:lnTo>
                <a:lnTo>
                  <a:pt x="455675" y="147828"/>
                </a:lnTo>
                <a:lnTo>
                  <a:pt x="421259" y="50165"/>
                </a:lnTo>
                <a:lnTo>
                  <a:pt x="398145" y="17399"/>
                </a:lnTo>
                <a:lnTo>
                  <a:pt x="355854" y="0"/>
                </a:lnTo>
                <a:close/>
              </a:path>
            </a:pathLst>
          </a:custGeom>
          <a:solidFill>
            <a:srgbClr val="12ABDB"/>
          </a:solidFill>
        </p:spPr>
        <p:txBody>
          <a:bodyPr wrap="square" lIns="0" tIns="0" rIns="0" bIns="0" rtlCol="0"/>
          <a:lstStyle/>
          <a:p>
            <a:endParaRPr/>
          </a:p>
        </p:txBody>
      </p:sp>
      <p:sp>
        <p:nvSpPr>
          <p:cNvPr id="29" name="object 29"/>
          <p:cNvSpPr/>
          <p:nvPr/>
        </p:nvSpPr>
        <p:spPr>
          <a:xfrm>
            <a:off x="10771631" y="3738371"/>
            <a:ext cx="370840" cy="117475"/>
          </a:xfrm>
          <a:custGeom>
            <a:avLst/>
            <a:gdLst/>
            <a:ahLst/>
            <a:cxnLst/>
            <a:rect l="l" t="t" r="r" b="b"/>
            <a:pathLst>
              <a:path w="370840" h="117475">
                <a:moveTo>
                  <a:pt x="299339" y="0"/>
                </a:moveTo>
                <a:lnTo>
                  <a:pt x="70993" y="0"/>
                </a:lnTo>
                <a:lnTo>
                  <a:pt x="66801" y="634"/>
                </a:lnTo>
                <a:lnTo>
                  <a:pt x="32512" y="23621"/>
                </a:lnTo>
                <a:lnTo>
                  <a:pt x="0" y="117347"/>
                </a:lnTo>
                <a:lnTo>
                  <a:pt x="370332" y="117347"/>
                </a:lnTo>
                <a:lnTo>
                  <a:pt x="345694" y="40131"/>
                </a:lnTo>
                <a:lnTo>
                  <a:pt x="322707" y="8635"/>
                </a:lnTo>
                <a:lnTo>
                  <a:pt x="299339" y="0"/>
                </a:lnTo>
                <a:close/>
              </a:path>
            </a:pathLst>
          </a:custGeom>
          <a:solidFill>
            <a:srgbClr val="F1F1F1"/>
          </a:solidFill>
        </p:spPr>
        <p:txBody>
          <a:bodyPr wrap="square" lIns="0" tIns="0" rIns="0" bIns="0" rtlCol="0"/>
          <a:lstStyle/>
          <a:p>
            <a:endParaRPr/>
          </a:p>
        </p:txBody>
      </p:sp>
      <p:sp>
        <p:nvSpPr>
          <p:cNvPr id="30" name="object 30"/>
          <p:cNvSpPr/>
          <p:nvPr/>
        </p:nvSpPr>
        <p:spPr>
          <a:xfrm>
            <a:off x="10689335" y="3855720"/>
            <a:ext cx="536575" cy="205740"/>
          </a:xfrm>
          <a:custGeom>
            <a:avLst/>
            <a:gdLst/>
            <a:ahLst/>
            <a:cxnLst/>
            <a:rect l="l" t="t" r="r" b="b"/>
            <a:pathLst>
              <a:path w="536575" h="205739">
                <a:moveTo>
                  <a:pt x="481457" y="0"/>
                </a:moveTo>
                <a:lnTo>
                  <a:pt x="54991" y="0"/>
                </a:lnTo>
                <a:lnTo>
                  <a:pt x="51435" y="634"/>
                </a:lnTo>
                <a:lnTo>
                  <a:pt x="20066" y="25780"/>
                </a:lnTo>
                <a:lnTo>
                  <a:pt x="5461" y="62356"/>
                </a:lnTo>
                <a:lnTo>
                  <a:pt x="0" y="105155"/>
                </a:lnTo>
                <a:lnTo>
                  <a:pt x="0" y="131444"/>
                </a:lnTo>
                <a:lnTo>
                  <a:pt x="254" y="135381"/>
                </a:lnTo>
                <a:lnTo>
                  <a:pt x="254" y="139064"/>
                </a:lnTo>
                <a:lnTo>
                  <a:pt x="889" y="143001"/>
                </a:lnTo>
                <a:lnTo>
                  <a:pt x="1524" y="146684"/>
                </a:lnTo>
                <a:lnTo>
                  <a:pt x="2413" y="149986"/>
                </a:lnTo>
                <a:lnTo>
                  <a:pt x="3302" y="153669"/>
                </a:lnTo>
                <a:lnTo>
                  <a:pt x="27050" y="188721"/>
                </a:lnTo>
                <a:lnTo>
                  <a:pt x="66929" y="205485"/>
                </a:lnTo>
                <a:lnTo>
                  <a:pt x="70612" y="205739"/>
                </a:lnTo>
                <a:lnTo>
                  <a:pt x="465836" y="205739"/>
                </a:lnTo>
                <a:lnTo>
                  <a:pt x="469519" y="205485"/>
                </a:lnTo>
                <a:lnTo>
                  <a:pt x="473202" y="204850"/>
                </a:lnTo>
                <a:lnTo>
                  <a:pt x="477139" y="204215"/>
                </a:lnTo>
                <a:lnTo>
                  <a:pt x="480441" y="203326"/>
                </a:lnTo>
                <a:lnTo>
                  <a:pt x="484124" y="202437"/>
                </a:lnTo>
                <a:lnTo>
                  <a:pt x="490855" y="200024"/>
                </a:lnTo>
                <a:lnTo>
                  <a:pt x="523621" y="172973"/>
                </a:lnTo>
                <a:lnTo>
                  <a:pt x="534035" y="149986"/>
                </a:lnTo>
                <a:lnTo>
                  <a:pt x="534924" y="146684"/>
                </a:lnTo>
                <a:lnTo>
                  <a:pt x="535559" y="143001"/>
                </a:lnTo>
                <a:lnTo>
                  <a:pt x="536194" y="139064"/>
                </a:lnTo>
                <a:lnTo>
                  <a:pt x="536194" y="135381"/>
                </a:lnTo>
                <a:lnTo>
                  <a:pt x="536448" y="131444"/>
                </a:lnTo>
                <a:lnTo>
                  <a:pt x="536448" y="105155"/>
                </a:lnTo>
                <a:lnTo>
                  <a:pt x="536194" y="97281"/>
                </a:lnTo>
                <a:lnTo>
                  <a:pt x="528574" y="53593"/>
                </a:lnTo>
                <a:lnTo>
                  <a:pt x="511810" y="19049"/>
                </a:lnTo>
                <a:lnTo>
                  <a:pt x="485013" y="634"/>
                </a:lnTo>
                <a:lnTo>
                  <a:pt x="481457" y="0"/>
                </a:lnTo>
                <a:close/>
              </a:path>
            </a:pathLst>
          </a:custGeom>
          <a:solidFill>
            <a:srgbClr val="12ABDB"/>
          </a:solidFill>
        </p:spPr>
        <p:txBody>
          <a:bodyPr wrap="square" lIns="0" tIns="0" rIns="0" bIns="0" rtlCol="0"/>
          <a:lstStyle/>
          <a:p>
            <a:endParaRPr/>
          </a:p>
        </p:txBody>
      </p:sp>
      <p:sp>
        <p:nvSpPr>
          <p:cNvPr id="31" name="object 31"/>
          <p:cNvSpPr/>
          <p:nvPr/>
        </p:nvSpPr>
        <p:spPr>
          <a:xfrm>
            <a:off x="11079480" y="3912108"/>
            <a:ext cx="92964" cy="92964"/>
          </a:xfrm>
          <a:prstGeom prst="rect">
            <a:avLst/>
          </a:prstGeom>
          <a:blipFill>
            <a:blip r:embed="rId8" cstate="print"/>
            <a:stretch>
              <a:fillRect/>
            </a:stretch>
          </a:blipFill>
        </p:spPr>
        <p:txBody>
          <a:bodyPr wrap="square" lIns="0" tIns="0" rIns="0" bIns="0" rtlCol="0"/>
          <a:lstStyle/>
          <a:p>
            <a:endParaRPr/>
          </a:p>
        </p:txBody>
      </p:sp>
      <p:sp>
        <p:nvSpPr>
          <p:cNvPr id="32" name="object 32"/>
          <p:cNvSpPr/>
          <p:nvPr/>
        </p:nvSpPr>
        <p:spPr>
          <a:xfrm>
            <a:off x="10741152" y="3912108"/>
            <a:ext cx="92964" cy="92964"/>
          </a:xfrm>
          <a:prstGeom prst="rect">
            <a:avLst/>
          </a:prstGeom>
          <a:blipFill>
            <a:blip r:embed="rId8" cstate="print"/>
            <a:stretch>
              <a:fillRect/>
            </a:stretch>
          </a:blipFill>
        </p:spPr>
        <p:txBody>
          <a:bodyPr wrap="square" lIns="0" tIns="0" rIns="0" bIns="0" rtlCol="0"/>
          <a:lstStyle/>
          <a:p>
            <a:endParaRPr/>
          </a:p>
        </p:txBody>
      </p:sp>
      <p:sp>
        <p:nvSpPr>
          <p:cNvPr id="33" name="object 33"/>
          <p:cNvSpPr txBox="1">
            <a:spLocks noGrp="1"/>
          </p:cNvSpPr>
          <p:nvPr>
            <p:ph type="title"/>
          </p:nvPr>
        </p:nvSpPr>
        <p:spPr>
          <a:prstGeom prst="rect">
            <a:avLst/>
          </a:prstGeom>
        </p:spPr>
        <p:txBody>
          <a:bodyPr vert="horz" wrap="square" lIns="0" tIns="12700" rIns="0" bIns="0" rtlCol="0">
            <a:spAutoFit/>
          </a:bodyPr>
          <a:lstStyle/>
          <a:p>
            <a:pPr marL="3430904">
              <a:lnSpc>
                <a:spcPct val="100000"/>
              </a:lnSpc>
              <a:spcBef>
                <a:spcPts val="100"/>
              </a:spcBef>
            </a:pPr>
            <a:r>
              <a:rPr spc="-5"/>
              <a:t>Challenges</a:t>
            </a:r>
          </a:p>
        </p:txBody>
      </p:sp>
      <p:sp>
        <p:nvSpPr>
          <p:cNvPr id="34" name="object 34"/>
          <p:cNvSpPr/>
          <p:nvPr/>
        </p:nvSpPr>
        <p:spPr>
          <a:xfrm>
            <a:off x="227075" y="1548383"/>
            <a:ext cx="4026535" cy="1161415"/>
          </a:xfrm>
          <a:custGeom>
            <a:avLst/>
            <a:gdLst/>
            <a:ahLst/>
            <a:cxnLst/>
            <a:rect l="l" t="t" r="r" b="b"/>
            <a:pathLst>
              <a:path w="4026535" h="1161414">
                <a:moveTo>
                  <a:pt x="3954779" y="0"/>
                </a:moveTo>
                <a:lnTo>
                  <a:pt x="71691" y="0"/>
                </a:lnTo>
                <a:lnTo>
                  <a:pt x="43784" y="5637"/>
                </a:lnTo>
                <a:lnTo>
                  <a:pt x="20996" y="21002"/>
                </a:lnTo>
                <a:lnTo>
                  <a:pt x="5633" y="43773"/>
                </a:lnTo>
                <a:lnTo>
                  <a:pt x="0" y="71627"/>
                </a:lnTo>
                <a:lnTo>
                  <a:pt x="0" y="1089660"/>
                </a:lnTo>
                <a:lnTo>
                  <a:pt x="5633" y="1117514"/>
                </a:lnTo>
                <a:lnTo>
                  <a:pt x="20996" y="1140285"/>
                </a:lnTo>
                <a:lnTo>
                  <a:pt x="43784" y="1155650"/>
                </a:lnTo>
                <a:lnTo>
                  <a:pt x="71691" y="1161288"/>
                </a:lnTo>
                <a:lnTo>
                  <a:pt x="3954779" y="1161288"/>
                </a:lnTo>
                <a:lnTo>
                  <a:pt x="3982634" y="1155650"/>
                </a:lnTo>
                <a:lnTo>
                  <a:pt x="4005405" y="1140285"/>
                </a:lnTo>
                <a:lnTo>
                  <a:pt x="4020770" y="1117514"/>
                </a:lnTo>
                <a:lnTo>
                  <a:pt x="4026408" y="1089660"/>
                </a:lnTo>
                <a:lnTo>
                  <a:pt x="4026408" y="71627"/>
                </a:lnTo>
                <a:lnTo>
                  <a:pt x="4020770" y="43773"/>
                </a:lnTo>
                <a:lnTo>
                  <a:pt x="4005405" y="21002"/>
                </a:lnTo>
                <a:lnTo>
                  <a:pt x="3982634" y="5637"/>
                </a:lnTo>
                <a:lnTo>
                  <a:pt x="3954779" y="0"/>
                </a:lnTo>
                <a:close/>
              </a:path>
            </a:pathLst>
          </a:custGeom>
          <a:solidFill>
            <a:srgbClr val="FFFFFF"/>
          </a:solidFill>
        </p:spPr>
        <p:txBody>
          <a:bodyPr wrap="square" lIns="0" tIns="0" rIns="0" bIns="0" rtlCol="0"/>
          <a:lstStyle/>
          <a:p>
            <a:endParaRPr/>
          </a:p>
        </p:txBody>
      </p:sp>
      <p:sp>
        <p:nvSpPr>
          <p:cNvPr id="35" name="object 35"/>
          <p:cNvSpPr txBox="1"/>
          <p:nvPr/>
        </p:nvSpPr>
        <p:spPr>
          <a:xfrm>
            <a:off x="3366261" y="1779599"/>
            <a:ext cx="603885" cy="612140"/>
          </a:xfrm>
          <a:prstGeom prst="rect">
            <a:avLst/>
          </a:prstGeom>
        </p:spPr>
        <p:txBody>
          <a:bodyPr vert="horz" wrap="square" lIns="0" tIns="86995" rIns="0" bIns="0" rtlCol="0">
            <a:spAutoFit/>
          </a:bodyPr>
          <a:lstStyle/>
          <a:p>
            <a:pPr marL="105410">
              <a:lnSpc>
                <a:spcPct val="100000"/>
              </a:lnSpc>
              <a:spcBef>
                <a:spcPts val="685"/>
              </a:spcBef>
            </a:pPr>
            <a:r>
              <a:rPr sz="1050" b="1" spc="5">
                <a:latin typeface="Verdana"/>
                <a:cs typeface="Verdana"/>
              </a:rPr>
              <a:t>SALES</a:t>
            </a:r>
            <a:endParaRPr sz="1050">
              <a:latin typeface="Verdana"/>
              <a:cs typeface="Verdana"/>
            </a:endParaRPr>
          </a:p>
          <a:p>
            <a:pPr marL="12700">
              <a:lnSpc>
                <a:spcPct val="100000"/>
              </a:lnSpc>
              <a:spcBef>
                <a:spcPts val="855"/>
              </a:spcBef>
            </a:pPr>
            <a:r>
              <a:rPr sz="1600" b="1" spc="-10">
                <a:solidFill>
                  <a:srgbClr val="00AFEF"/>
                </a:solidFill>
                <a:latin typeface="Verdana"/>
                <a:cs typeface="Verdana"/>
              </a:rPr>
              <a:t>+</a:t>
            </a:r>
            <a:r>
              <a:rPr sz="1600" b="1" spc="-5">
                <a:solidFill>
                  <a:srgbClr val="00AFEF"/>
                </a:solidFill>
                <a:latin typeface="Verdana"/>
                <a:cs typeface="Verdana"/>
              </a:rPr>
              <a:t>2%</a:t>
            </a:r>
            <a:endParaRPr sz="1600">
              <a:latin typeface="Verdana"/>
              <a:cs typeface="Verdana"/>
            </a:endParaRPr>
          </a:p>
        </p:txBody>
      </p:sp>
      <p:sp>
        <p:nvSpPr>
          <p:cNvPr id="36" name="object 36"/>
          <p:cNvSpPr txBox="1"/>
          <p:nvPr/>
        </p:nvSpPr>
        <p:spPr>
          <a:xfrm>
            <a:off x="2407666" y="1779599"/>
            <a:ext cx="748030" cy="612140"/>
          </a:xfrm>
          <a:prstGeom prst="rect">
            <a:avLst/>
          </a:prstGeom>
        </p:spPr>
        <p:txBody>
          <a:bodyPr vert="horz" wrap="square" lIns="0" tIns="86995" rIns="0" bIns="0" rtlCol="0">
            <a:spAutoFit/>
          </a:bodyPr>
          <a:lstStyle/>
          <a:p>
            <a:pPr marL="162560">
              <a:lnSpc>
                <a:spcPct val="100000"/>
              </a:lnSpc>
              <a:spcBef>
                <a:spcPts val="685"/>
              </a:spcBef>
            </a:pPr>
            <a:r>
              <a:rPr sz="1050" b="1" spc="10">
                <a:latin typeface="Verdana"/>
                <a:cs typeface="Verdana"/>
              </a:rPr>
              <a:t>LEADS</a:t>
            </a:r>
            <a:endParaRPr sz="1050">
              <a:latin typeface="Verdana"/>
              <a:cs typeface="Verdana"/>
            </a:endParaRPr>
          </a:p>
          <a:p>
            <a:pPr marL="12700">
              <a:lnSpc>
                <a:spcPct val="100000"/>
              </a:lnSpc>
              <a:spcBef>
                <a:spcPts val="855"/>
              </a:spcBef>
            </a:pPr>
            <a:r>
              <a:rPr sz="1600" b="1" spc="-10">
                <a:solidFill>
                  <a:srgbClr val="00AFEF"/>
                </a:solidFill>
                <a:latin typeface="Verdana"/>
                <a:cs typeface="Verdana"/>
              </a:rPr>
              <a:t>+2</a:t>
            </a:r>
            <a:r>
              <a:rPr sz="1600" b="1" spc="-5">
                <a:solidFill>
                  <a:srgbClr val="00AFEF"/>
                </a:solidFill>
                <a:latin typeface="Verdana"/>
                <a:cs typeface="Verdana"/>
              </a:rPr>
              <a:t>0%</a:t>
            </a:r>
            <a:endParaRPr sz="1600">
              <a:latin typeface="Verdana"/>
              <a:cs typeface="Verdana"/>
            </a:endParaRPr>
          </a:p>
        </p:txBody>
      </p:sp>
      <p:sp>
        <p:nvSpPr>
          <p:cNvPr id="37" name="object 37"/>
          <p:cNvSpPr txBox="1"/>
          <p:nvPr/>
        </p:nvSpPr>
        <p:spPr>
          <a:xfrm>
            <a:off x="265582" y="1869185"/>
            <a:ext cx="1916430" cy="574675"/>
          </a:xfrm>
          <a:prstGeom prst="rect">
            <a:avLst/>
          </a:prstGeom>
        </p:spPr>
        <p:txBody>
          <a:bodyPr vert="horz" wrap="square" lIns="0" tIns="12700" rIns="0" bIns="0" rtlCol="0">
            <a:spAutoFit/>
          </a:bodyPr>
          <a:lstStyle/>
          <a:p>
            <a:pPr marL="12700">
              <a:lnSpc>
                <a:spcPct val="100000"/>
              </a:lnSpc>
              <a:spcBef>
                <a:spcPts val="100"/>
              </a:spcBef>
            </a:pPr>
            <a:r>
              <a:rPr sz="1800" b="1" spc="-5">
                <a:solidFill>
                  <a:srgbClr val="00AFEF"/>
                </a:solidFill>
                <a:latin typeface="Verdana"/>
                <a:cs typeface="Verdana"/>
              </a:rPr>
              <a:t>Customer</a:t>
            </a:r>
            <a:r>
              <a:rPr sz="1800" b="1" spc="-80">
                <a:solidFill>
                  <a:srgbClr val="00AFEF"/>
                </a:solidFill>
                <a:latin typeface="Verdana"/>
                <a:cs typeface="Verdana"/>
              </a:rPr>
              <a:t> </a:t>
            </a:r>
            <a:r>
              <a:rPr sz="1800" b="1">
                <a:solidFill>
                  <a:srgbClr val="00AFEF"/>
                </a:solidFill>
                <a:latin typeface="Verdana"/>
                <a:cs typeface="Verdana"/>
              </a:rPr>
              <a:t>First</a:t>
            </a:r>
            <a:endParaRPr sz="1800">
              <a:latin typeface="Verdana"/>
              <a:cs typeface="Verdana"/>
            </a:endParaRPr>
          </a:p>
          <a:p>
            <a:pPr marL="12700">
              <a:lnSpc>
                <a:spcPct val="100000"/>
              </a:lnSpc>
            </a:pPr>
            <a:r>
              <a:rPr sz="1800" b="1" spc="-5">
                <a:solidFill>
                  <a:srgbClr val="00AFEF"/>
                </a:solidFill>
                <a:latin typeface="Verdana"/>
                <a:cs typeface="Verdana"/>
              </a:rPr>
              <a:t>Objectives</a:t>
            </a:r>
            <a:endParaRPr sz="1800">
              <a:latin typeface="Verdana"/>
              <a:cs typeface="Verdana"/>
            </a:endParaRPr>
          </a:p>
        </p:txBody>
      </p:sp>
      <p:sp>
        <p:nvSpPr>
          <p:cNvPr id="38" name="object 38"/>
          <p:cNvSpPr/>
          <p:nvPr/>
        </p:nvSpPr>
        <p:spPr>
          <a:xfrm>
            <a:off x="4245864" y="5178552"/>
            <a:ext cx="2161032" cy="1080516"/>
          </a:xfrm>
          <a:prstGeom prst="rect">
            <a:avLst/>
          </a:prstGeom>
          <a:blipFill>
            <a:blip r:embed="rId9" cstate="print"/>
            <a:stretch>
              <a:fillRect/>
            </a:stretch>
          </a:blipFill>
        </p:spPr>
        <p:txBody>
          <a:bodyPr wrap="square" lIns="0" tIns="0" rIns="0" bIns="0" rtlCol="0"/>
          <a:lstStyle/>
          <a:p>
            <a:endParaRPr/>
          </a:p>
        </p:txBody>
      </p:sp>
      <p:sp>
        <p:nvSpPr>
          <p:cNvPr id="39" name="object 39"/>
          <p:cNvSpPr/>
          <p:nvPr/>
        </p:nvSpPr>
        <p:spPr>
          <a:xfrm>
            <a:off x="408431" y="5178552"/>
            <a:ext cx="2159508" cy="1080516"/>
          </a:xfrm>
          <a:prstGeom prst="rect">
            <a:avLst/>
          </a:prstGeom>
          <a:blipFill>
            <a:blip r:embed="rId10" cstate="print"/>
            <a:stretch>
              <a:fillRect/>
            </a:stretch>
          </a:blipFill>
        </p:spPr>
        <p:txBody>
          <a:bodyPr wrap="square" lIns="0" tIns="0" rIns="0" bIns="0" rtlCol="0"/>
          <a:lstStyle/>
          <a:p>
            <a:endParaRPr/>
          </a:p>
        </p:txBody>
      </p:sp>
      <p:sp>
        <p:nvSpPr>
          <p:cNvPr id="40" name="object 40"/>
          <p:cNvSpPr/>
          <p:nvPr/>
        </p:nvSpPr>
        <p:spPr>
          <a:xfrm>
            <a:off x="2235707" y="5178552"/>
            <a:ext cx="2159508" cy="1080516"/>
          </a:xfrm>
          <a:prstGeom prst="rect">
            <a:avLst/>
          </a:prstGeom>
          <a:blipFill>
            <a:blip r:embed="rId11" cstate="print"/>
            <a:stretch>
              <a:fillRect/>
            </a:stretch>
          </a:blipFill>
        </p:spPr>
        <p:txBody>
          <a:bodyPr wrap="square" lIns="0" tIns="0" rIns="0" bIns="0" rtlCol="0"/>
          <a:lstStyle/>
          <a:p>
            <a:endParaRPr/>
          </a:p>
        </p:txBody>
      </p:sp>
      <p:sp>
        <p:nvSpPr>
          <p:cNvPr id="41" name="object 41"/>
          <p:cNvSpPr/>
          <p:nvPr/>
        </p:nvSpPr>
        <p:spPr>
          <a:xfrm>
            <a:off x="6982968" y="5198364"/>
            <a:ext cx="1080516" cy="1078992"/>
          </a:xfrm>
          <a:prstGeom prst="rect">
            <a:avLst/>
          </a:prstGeom>
          <a:blipFill>
            <a:blip r:embed="rId12" cstate="print"/>
            <a:stretch>
              <a:fillRect/>
            </a:stretch>
          </a:blipFill>
        </p:spPr>
        <p:txBody>
          <a:bodyPr wrap="square" lIns="0" tIns="0" rIns="0" bIns="0" rtlCol="0"/>
          <a:lstStyle/>
          <a:p>
            <a:endParaRPr/>
          </a:p>
        </p:txBody>
      </p:sp>
      <p:sp>
        <p:nvSpPr>
          <p:cNvPr id="42" name="object 42"/>
          <p:cNvSpPr/>
          <p:nvPr/>
        </p:nvSpPr>
        <p:spPr>
          <a:xfrm>
            <a:off x="9259823" y="5341620"/>
            <a:ext cx="1511807" cy="755904"/>
          </a:xfrm>
          <a:prstGeom prst="rect">
            <a:avLst/>
          </a:prstGeom>
          <a:blipFill>
            <a:blip r:embed="rId13" cstate="print"/>
            <a:stretch>
              <a:fillRect/>
            </a:stretch>
          </a:blipFill>
        </p:spPr>
        <p:txBody>
          <a:bodyPr wrap="square" lIns="0" tIns="0" rIns="0" bIns="0" rtlCol="0"/>
          <a:lstStyle/>
          <a:p>
            <a:endParaRPr/>
          </a:p>
        </p:txBody>
      </p:sp>
      <p:sp>
        <p:nvSpPr>
          <p:cNvPr id="43" name="object 43"/>
          <p:cNvSpPr txBox="1"/>
          <p:nvPr/>
        </p:nvSpPr>
        <p:spPr>
          <a:xfrm>
            <a:off x="214680" y="6638645"/>
            <a:ext cx="333629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Capgemini’s Response </a:t>
            </a:r>
            <a:r>
              <a:rPr sz="800" spc="-5">
                <a:solidFill>
                  <a:srgbClr val="FFFFFF"/>
                </a:solidFill>
                <a:latin typeface="Verdana"/>
                <a:cs typeface="Verdana"/>
              </a:rPr>
              <a:t>to </a:t>
            </a:r>
            <a:r>
              <a:rPr sz="800">
                <a:solidFill>
                  <a:srgbClr val="FFFFFF"/>
                </a:solidFill>
                <a:latin typeface="Verdana"/>
                <a:cs typeface="Verdana"/>
              </a:rPr>
              <a:t>RFP for System Integrator | April</a:t>
            </a:r>
            <a:r>
              <a:rPr sz="800" spc="-85">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71500" y="1418844"/>
            <a:ext cx="3472179" cy="3472179"/>
          </a:xfrm>
          <a:custGeom>
            <a:avLst/>
            <a:gdLst/>
            <a:ahLst/>
            <a:cxnLst/>
            <a:rect l="l" t="t" r="r" b="b"/>
            <a:pathLst>
              <a:path w="3472179" h="3472179">
                <a:moveTo>
                  <a:pt x="1735836" y="0"/>
                </a:moveTo>
                <a:lnTo>
                  <a:pt x="1687246" y="666"/>
                </a:lnTo>
                <a:lnTo>
                  <a:pt x="1638988" y="2655"/>
                </a:lnTo>
                <a:lnTo>
                  <a:pt x="1591077" y="5949"/>
                </a:lnTo>
                <a:lnTo>
                  <a:pt x="1543531" y="10530"/>
                </a:lnTo>
                <a:lnTo>
                  <a:pt x="1496368" y="16380"/>
                </a:lnTo>
                <a:lnTo>
                  <a:pt x="1449605" y="23484"/>
                </a:lnTo>
                <a:lnTo>
                  <a:pt x="1403259" y="31822"/>
                </a:lnTo>
                <a:lnTo>
                  <a:pt x="1357348" y="41378"/>
                </a:lnTo>
                <a:lnTo>
                  <a:pt x="1311889" y="52134"/>
                </a:lnTo>
                <a:lnTo>
                  <a:pt x="1266900" y="64073"/>
                </a:lnTo>
                <a:lnTo>
                  <a:pt x="1222398" y="77178"/>
                </a:lnTo>
                <a:lnTo>
                  <a:pt x="1178401" y="91431"/>
                </a:lnTo>
                <a:lnTo>
                  <a:pt x="1134925" y="106814"/>
                </a:lnTo>
                <a:lnTo>
                  <a:pt x="1091988" y="123311"/>
                </a:lnTo>
                <a:lnTo>
                  <a:pt x="1049608" y="140903"/>
                </a:lnTo>
                <a:lnTo>
                  <a:pt x="1007802" y="159575"/>
                </a:lnTo>
                <a:lnTo>
                  <a:pt x="966587" y="179307"/>
                </a:lnTo>
                <a:lnTo>
                  <a:pt x="925981" y="200083"/>
                </a:lnTo>
                <a:lnTo>
                  <a:pt x="886002" y="221885"/>
                </a:lnTo>
                <a:lnTo>
                  <a:pt x="846665" y="244696"/>
                </a:lnTo>
                <a:lnTo>
                  <a:pt x="807990" y="268499"/>
                </a:lnTo>
                <a:lnTo>
                  <a:pt x="769993" y="293276"/>
                </a:lnTo>
                <a:lnTo>
                  <a:pt x="732692" y="319009"/>
                </a:lnTo>
                <a:lnTo>
                  <a:pt x="696104" y="345682"/>
                </a:lnTo>
                <a:lnTo>
                  <a:pt x="660247" y="373277"/>
                </a:lnTo>
                <a:lnTo>
                  <a:pt x="625138" y="401777"/>
                </a:lnTo>
                <a:lnTo>
                  <a:pt x="590794" y="431163"/>
                </a:lnTo>
                <a:lnTo>
                  <a:pt x="557233" y="461419"/>
                </a:lnTo>
                <a:lnTo>
                  <a:pt x="524471" y="492528"/>
                </a:lnTo>
                <a:lnTo>
                  <a:pt x="492528" y="524471"/>
                </a:lnTo>
                <a:lnTo>
                  <a:pt x="461419" y="557233"/>
                </a:lnTo>
                <a:lnTo>
                  <a:pt x="431163" y="590794"/>
                </a:lnTo>
                <a:lnTo>
                  <a:pt x="401777" y="625138"/>
                </a:lnTo>
                <a:lnTo>
                  <a:pt x="373277" y="660247"/>
                </a:lnTo>
                <a:lnTo>
                  <a:pt x="345682" y="696104"/>
                </a:lnTo>
                <a:lnTo>
                  <a:pt x="319009" y="732692"/>
                </a:lnTo>
                <a:lnTo>
                  <a:pt x="293276" y="769993"/>
                </a:lnTo>
                <a:lnTo>
                  <a:pt x="268499" y="807990"/>
                </a:lnTo>
                <a:lnTo>
                  <a:pt x="244696" y="846665"/>
                </a:lnTo>
                <a:lnTo>
                  <a:pt x="221885" y="886002"/>
                </a:lnTo>
                <a:lnTo>
                  <a:pt x="200083" y="925981"/>
                </a:lnTo>
                <a:lnTo>
                  <a:pt x="179307" y="966587"/>
                </a:lnTo>
                <a:lnTo>
                  <a:pt x="159575" y="1007802"/>
                </a:lnTo>
                <a:lnTo>
                  <a:pt x="140903" y="1049608"/>
                </a:lnTo>
                <a:lnTo>
                  <a:pt x="123311" y="1091988"/>
                </a:lnTo>
                <a:lnTo>
                  <a:pt x="106814" y="1134925"/>
                </a:lnTo>
                <a:lnTo>
                  <a:pt x="91431" y="1178401"/>
                </a:lnTo>
                <a:lnTo>
                  <a:pt x="77178" y="1222398"/>
                </a:lnTo>
                <a:lnTo>
                  <a:pt x="64073" y="1266900"/>
                </a:lnTo>
                <a:lnTo>
                  <a:pt x="52134" y="1311889"/>
                </a:lnTo>
                <a:lnTo>
                  <a:pt x="41378" y="1357348"/>
                </a:lnTo>
                <a:lnTo>
                  <a:pt x="31822" y="1403259"/>
                </a:lnTo>
                <a:lnTo>
                  <a:pt x="23484" y="1449605"/>
                </a:lnTo>
                <a:lnTo>
                  <a:pt x="16380" y="1496368"/>
                </a:lnTo>
                <a:lnTo>
                  <a:pt x="10530" y="1543531"/>
                </a:lnTo>
                <a:lnTo>
                  <a:pt x="5949" y="1591077"/>
                </a:lnTo>
                <a:lnTo>
                  <a:pt x="2655" y="1638988"/>
                </a:lnTo>
                <a:lnTo>
                  <a:pt x="666" y="1687246"/>
                </a:lnTo>
                <a:lnTo>
                  <a:pt x="0" y="1735835"/>
                </a:lnTo>
                <a:lnTo>
                  <a:pt x="666" y="1784425"/>
                </a:lnTo>
                <a:lnTo>
                  <a:pt x="2655" y="1832683"/>
                </a:lnTo>
                <a:lnTo>
                  <a:pt x="5949" y="1880594"/>
                </a:lnTo>
                <a:lnTo>
                  <a:pt x="10530" y="1928140"/>
                </a:lnTo>
                <a:lnTo>
                  <a:pt x="16380" y="1975303"/>
                </a:lnTo>
                <a:lnTo>
                  <a:pt x="23484" y="2022066"/>
                </a:lnTo>
                <a:lnTo>
                  <a:pt x="31822" y="2068412"/>
                </a:lnTo>
                <a:lnTo>
                  <a:pt x="41378" y="2114323"/>
                </a:lnTo>
                <a:lnTo>
                  <a:pt x="52134" y="2159782"/>
                </a:lnTo>
                <a:lnTo>
                  <a:pt x="64073" y="2204771"/>
                </a:lnTo>
                <a:lnTo>
                  <a:pt x="77178" y="2249273"/>
                </a:lnTo>
                <a:lnTo>
                  <a:pt x="91431" y="2293270"/>
                </a:lnTo>
                <a:lnTo>
                  <a:pt x="106814" y="2336746"/>
                </a:lnTo>
                <a:lnTo>
                  <a:pt x="123311" y="2379683"/>
                </a:lnTo>
                <a:lnTo>
                  <a:pt x="140903" y="2422063"/>
                </a:lnTo>
                <a:lnTo>
                  <a:pt x="159575" y="2463869"/>
                </a:lnTo>
                <a:lnTo>
                  <a:pt x="179307" y="2505084"/>
                </a:lnTo>
                <a:lnTo>
                  <a:pt x="200083" y="2545690"/>
                </a:lnTo>
                <a:lnTo>
                  <a:pt x="221885" y="2585669"/>
                </a:lnTo>
                <a:lnTo>
                  <a:pt x="244696" y="2625006"/>
                </a:lnTo>
                <a:lnTo>
                  <a:pt x="268499" y="2663681"/>
                </a:lnTo>
                <a:lnTo>
                  <a:pt x="293276" y="2701678"/>
                </a:lnTo>
                <a:lnTo>
                  <a:pt x="319009" y="2738979"/>
                </a:lnTo>
                <a:lnTo>
                  <a:pt x="345682" y="2775567"/>
                </a:lnTo>
                <a:lnTo>
                  <a:pt x="373277" y="2811424"/>
                </a:lnTo>
                <a:lnTo>
                  <a:pt x="401777" y="2846533"/>
                </a:lnTo>
                <a:lnTo>
                  <a:pt x="431163" y="2880877"/>
                </a:lnTo>
                <a:lnTo>
                  <a:pt x="461419" y="2914438"/>
                </a:lnTo>
                <a:lnTo>
                  <a:pt x="492528" y="2947200"/>
                </a:lnTo>
                <a:lnTo>
                  <a:pt x="524471" y="2979143"/>
                </a:lnTo>
                <a:lnTo>
                  <a:pt x="557233" y="3010252"/>
                </a:lnTo>
                <a:lnTo>
                  <a:pt x="590794" y="3040508"/>
                </a:lnTo>
                <a:lnTo>
                  <a:pt x="625138" y="3069894"/>
                </a:lnTo>
                <a:lnTo>
                  <a:pt x="660247" y="3098394"/>
                </a:lnTo>
                <a:lnTo>
                  <a:pt x="696104" y="3125989"/>
                </a:lnTo>
                <a:lnTo>
                  <a:pt x="732692" y="3152662"/>
                </a:lnTo>
                <a:lnTo>
                  <a:pt x="769993" y="3178395"/>
                </a:lnTo>
                <a:lnTo>
                  <a:pt x="807990" y="3203172"/>
                </a:lnTo>
                <a:lnTo>
                  <a:pt x="846665" y="3226975"/>
                </a:lnTo>
                <a:lnTo>
                  <a:pt x="886002" y="3249786"/>
                </a:lnTo>
                <a:lnTo>
                  <a:pt x="925981" y="3271588"/>
                </a:lnTo>
                <a:lnTo>
                  <a:pt x="966587" y="3292364"/>
                </a:lnTo>
                <a:lnTo>
                  <a:pt x="1007802" y="3312096"/>
                </a:lnTo>
                <a:lnTo>
                  <a:pt x="1049608" y="3330768"/>
                </a:lnTo>
                <a:lnTo>
                  <a:pt x="1091988" y="3348360"/>
                </a:lnTo>
                <a:lnTo>
                  <a:pt x="1134925" y="3364857"/>
                </a:lnTo>
                <a:lnTo>
                  <a:pt x="1178401" y="3380240"/>
                </a:lnTo>
                <a:lnTo>
                  <a:pt x="1222398" y="3394493"/>
                </a:lnTo>
                <a:lnTo>
                  <a:pt x="1266900" y="3407598"/>
                </a:lnTo>
                <a:lnTo>
                  <a:pt x="1311889" y="3419537"/>
                </a:lnTo>
                <a:lnTo>
                  <a:pt x="1357348" y="3430293"/>
                </a:lnTo>
                <a:lnTo>
                  <a:pt x="1403259" y="3439849"/>
                </a:lnTo>
                <a:lnTo>
                  <a:pt x="1449605" y="3448187"/>
                </a:lnTo>
                <a:lnTo>
                  <a:pt x="1496368" y="3455291"/>
                </a:lnTo>
                <a:lnTo>
                  <a:pt x="1543531" y="3461141"/>
                </a:lnTo>
                <a:lnTo>
                  <a:pt x="1591077" y="3465722"/>
                </a:lnTo>
                <a:lnTo>
                  <a:pt x="1638988" y="3469016"/>
                </a:lnTo>
                <a:lnTo>
                  <a:pt x="1687246" y="3471005"/>
                </a:lnTo>
                <a:lnTo>
                  <a:pt x="1735836" y="3471672"/>
                </a:lnTo>
                <a:lnTo>
                  <a:pt x="1784425" y="3471005"/>
                </a:lnTo>
                <a:lnTo>
                  <a:pt x="1832683" y="3469016"/>
                </a:lnTo>
                <a:lnTo>
                  <a:pt x="1880594" y="3465722"/>
                </a:lnTo>
                <a:lnTo>
                  <a:pt x="1928140" y="3461141"/>
                </a:lnTo>
                <a:lnTo>
                  <a:pt x="1975303" y="3455291"/>
                </a:lnTo>
                <a:lnTo>
                  <a:pt x="2022066" y="3448187"/>
                </a:lnTo>
                <a:lnTo>
                  <a:pt x="2068412" y="3439849"/>
                </a:lnTo>
                <a:lnTo>
                  <a:pt x="2114323" y="3430293"/>
                </a:lnTo>
                <a:lnTo>
                  <a:pt x="2159782" y="3419537"/>
                </a:lnTo>
                <a:lnTo>
                  <a:pt x="2204771" y="3407598"/>
                </a:lnTo>
                <a:lnTo>
                  <a:pt x="2249273" y="3394493"/>
                </a:lnTo>
                <a:lnTo>
                  <a:pt x="2293270" y="3380240"/>
                </a:lnTo>
                <a:lnTo>
                  <a:pt x="2336746" y="3364857"/>
                </a:lnTo>
                <a:lnTo>
                  <a:pt x="2379683" y="3348360"/>
                </a:lnTo>
                <a:lnTo>
                  <a:pt x="2422063" y="3330768"/>
                </a:lnTo>
                <a:lnTo>
                  <a:pt x="2463869" y="3312096"/>
                </a:lnTo>
                <a:lnTo>
                  <a:pt x="2505084" y="3292364"/>
                </a:lnTo>
                <a:lnTo>
                  <a:pt x="2545690" y="3271588"/>
                </a:lnTo>
                <a:lnTo>
                  <a:pt x="2585669" y="3249786"/>
                </a:lnTo>
                <a:lnTo>
                  <a:pt x="2625006" y="3226975"/>
                </a:lnTo>
                <a:lnTo>
                  <a:pt x="2663681" y="3203172"/>
                </a:lnTo>
                <a:lnTo>
                  <a:pt x="2701678" y="3178395"/>
                </a:lnTo>
                <a:lnTo>
                  <a:pt x="2738979" y="3152662"/>
                </a:lnTo>
                <a:lnTo>
                  <a:pt x="2775567" y="3125989"/>
                </a:lnTo>
                <a:lnTo>
                  <a:pt x="2811424" y="3098394"/>
                </a:lnTo>
                <a:lnTo>
                  <a:pt x="2846533" y="3069894"/>
                </a:lnTo>
                <a:lnTo>
                  <a:pt x="2880877" y="3040508"/>
                </a:lnTo>
                <a:lnTo>
                  <a:pt x="2914438" y="3010252"/>
                </a:lnTo>
                <a:lnTo>
                  <a:pt x="2947200" y="2979143"/>
                </a:lnTo>
                <a:lnTo>
                  <a:pt x="2979143" y="2947200"/>
                </a:lnTo>
                <a:lnTo>
                  <a:pt x="3010252" y="2914438"/>
                </a:lnTo>
                <a:lnTo>
                  <a:pt x="3040508" y="2880877"/>
                </a:lnTo>
                <a:lnTo>
                  <a:pt x="3069894" y="2846533"/>
                </a:lnTo>
                <a:lnTo>
                  <a:pt x="3098394" y="2811424"/>
                </a:lnTo>
                <a:lnTo>
                  <a:pt x="3125989" y="2775567"/>
                </a:lnTo>
                <a:lnTo>
                  <a:pt x="3152662" y="2738979"/>
                </a:lnTo>
                <a:lnTo>
                  <a:pt x="3178395" y="2701678"/>
                </a:lnTo>
                <a:lnTo>
                  <a:pt x="3203172" y="2663681"/>
                </a:lnTo>
                <a:lnTo>
                  <a:pt x="3226975" y="2625006"/>
                </a:lnTo>
                <a:lnTo>
                  <a:pt x="3249786" y="2585669"/>
                </a:lnTo>
                <a:lnTo>
                  <a:pt x="3271588" y="2545690"/>
                </a:lnTo>
                <a:lnTo>
                  <a:pt x="3292364" y="2505084"/>
                </a:lnTo>
                <a:lnTo>
                  <a:pt x="3312096" y="2463869"/>
                </a:lnTo>
                <a:lnTo>
                  <a:pt x="3330768" y="2422063"/>
                </a:lnTo>
                <a:lnTo>
                  <a:pt x="3348360" y="2379683"/>
                </a:lnTo>
                <a:lnTo>
                  <a:pt x="3364857" y="2336746"/>
                </a:lnTo>
                <a:lnTo>
                  <a:pt x="3380240" y="2293270"/>
                </a:lnTo>
                <a:lnTo>
                  <a:pt x="3394493" y="2249273"/>
                </a:lnTo>
                <a:lnTo>
                  <a:pt x="3407598" y="2204771"/>
                </a:lnTo>
                <a:lnTo>
                  <a:pt x="3419537" y="2159782"/>
                </a:lnTo>
                <a:lnTo>
                  <a:pt x="3430293" y="2114323"/>
                </a:lnTo>
                <a:lnTo>
                  <a:pt x="3439849" y="2068412"/>
                </a:lnTo>
                <a:lnTo>
                  <a:pt x="3448187" y="2022066"/>
                </a:lnTo>
                <a:lnTo>
                  <a:pt x="3455291" y="1975303"/>
                </a:lnTo>
                <a:lnTo>
                  <a:pt x="3461141" y="1928140"/>
                </a:lnTo>
                <a:lnTo>
                  <a:pt x="3465722" y="1880594"/>
                </a:lnTo>
                <a:lnTo>
                  <a:pt x="3469016" y="1832683"/>
                </a:lnTo>
                <a:lnTo>
                  <a:pt x="3471005" y="1784425"/>
                </a:lnTo>
                <a:lnTo>
                  <a:pt x="3471672" y="1735835"/>
                </a:lnTo>
                <a:lnTo>
                  <a:pt x="3471005" y="1687246"/>
                </a:lnTo>
                <a:lnTo>
                  <a:pt x="3469016" y="1638988"/>
                </a:lnTo>
                <a:lnTo>
                  <a:pt x="3465722" y="1591077"/>
                </a:lnTo>
                <a:lnTo>
                  <a:pt x="3461141" y="1543531"/>
                </a:lnTo>
                <a:lnTo>
                  <a:pt x="3455291" y="1496368"/>
                </a:lnTo>
                <a:lnTo>
                  <a:pt x="3448187" y="1449605"/>
                </a:lnTo>
                <a:lnTo>
                  <a:pt x="3439849" y="1403259"/>
                </a:lnTo>
                <a:lnTo>
                  <a:pt x="3430293" y="1357348"/>
                </a:lnTo>
                <a:lnTo>
                  <a:pt x="3419537" y="1311889"/>
                </a:lnTo>
                <a:lnTo>
                  <a:pt x="3407598" y="1266900"/>
                </a:lnTo>
                <a:lnTo>
                  <a:pt x="3394493" y="1222398"/>
                </a:lnTo>
                <a:lnTo>
                  <a:pt x="3380240" y="1178401"/>
                </a:lnTo>
                <a:lnTo>
                  <a:pt x="3364857" y="1134925"/>
                </a:lnTo>
                <a:lnTo>
                  <a:pt x="3348360" y="1091988"/>
                </a:lnTo>
                <a:lnTo>
                  <a:pt x="3330768" y="1049608"/>
                </a:lnTo>
                <a:lnTo>
                  <a:pt x="3312096" y="1007802"/>
                </a:lnTo>
                <a:lnTo>
                  <a:pt x="3292364" y="966587"/>
                </a:lnTo>
                <a:lnTo>
                  <a:pt x="3271588" y="925981"/>
                </a:lnTo>
                <a:lnTo>
                  <a:pt x="3249786" y="886002"/>
                </a:lnTo>
                <a:lnTo>
                  <a:pt x="3226975" y="846665"/>
                </a:lnTo>
                <a:lnTo>
                  <a:pt x="3203172" y="807990"/>
                </a:lnTo>
                <a:lnTo>
                  <a:pt x="3178395" y="769993"/>
                </a:lnTo>
                <a:lnTo>
                  <a:pt x="3152662" y="732692"/>
                </a:lnTo>
                <a:lnTo>
                  <a:pt x="3125989" y="696104"/>
                </a:lnTo>
                <a:lnTo>
                  <a:pt x="3098394" y="660247"/>
                </a:lnTo>
                <a:lnTo>
                  <a:pt x="3069894" y="625138"/>
                </a:lnTo>
                <a:lnTo>
                  <a:pt x="3040508" y="590794"/>
                </a:lnTo>
                <a:lnTo>
                  <a:pt x="3010252" y="557233"/>
                </a:lnTo>
                <a:lnTo>
                  <a:pt x="2979143" y="524471"/>
                </a:lnTo>
                <a:lnTo>
                  <a:pt x="2947200" y="492528"/>
                </a:lnTo>
                <a:lnTo>
                  <a:pt x="2914438" y="461419"/>
                </a:lnTo>
                <a:lnTo>
                  <a:pt x="2880877" y="431163"/>
                </a:lnTo>
                <a:lnTo>
                  <a:pt x="2846533" y="401777"/>
                </a:lnTo>
                <a:lnTo>
                  <a:pt x="2811424" y="373277"/>
                </a:lnTo>
                <a:lnTo>
                  <a:pt x="2775567" y="345682"/>
                </a:lnTo>
                <a:lnTo>
                  <a:pt x="2738979" y="319009"/>
                </a:lnTo>
                <a:lnTo>
                  <a:pt x="2701678" y="293276"/>
                </a:lnTo>
                <a:lnTo>
                  <a:pt x="2663681" y="268499"/>
                </a:lnTo>
                <a:lnTo>
                  <a:pt x="2625006" y="244696"/>
                </a:lnTo>
                <a:lnTo>
                  <a:pt x="2585669" y="221885"/>
                </a:lnTo>
                <a:lnTo>
                  <a:pt x="2545690" y="200083"/>
                </a:lnTo>
                <a:lnTo>
                  <a:pt x="2505084" y="179307"/>
                </a:lnTo>
                <a:lnTo>
                  <a:pt x="2463869" y="159575"/>
                </a:lnTo>
                <a:lnTo>
                  <a:pt x="2422063" y="140903"/>
                </a:lnTo>
                <a:lnTo>
                  <a:pt x="2379683" y="123311"/>
                </a:lnTo>
                <a:lnTo>
                  <a:pt x="2336746" y="106814"/>
                </a:lnTo>
                <a:lnTo>
                  <a:pt x="2293270" y="91431"/>
                </a:lnTo>
                <a:lnTo>
                  <a:pt x="2249273" y="77178"/>
                </a:lnTo>
                <a:lnTo>
                  <a:pt x="2204771" y="64073"/>
                </a:lnTo>
                <a:lnTo>
                  <a:pt x="2159782" y="52134"/>
                </a:lnTo>
                <a:lnTo>
                  <a:pt x="2114323" y="41378"/>
                </a:lnTo>
                <a:lnTo>
                  <a:pt x="2068412" y="31822"/>
                </a:lnTo>
                <a:lnTo>
                  <a:pt x="2022066" y="23484"/>
                </a:lnTo>
                <a:lnTo>
                  <a:pt x="1975303" y="16380"/>
                </a:lnTo>
                <a:lnTo>
                  <a:pt x="1928140" y="10530"/>
                </a:lnTo>
                <a:lnTo>
                  <a:pt x="1880594" y="5949"/>
                </a:lnTo>
                <a:lnTo>
                  <a:pt x="1832683" y="2655"/>
                </a:lnTo>
                <a:lnTo>
                  <a:pt x="1784425" y="666"/>
                </a:lnTo>
                <a:lnTo>
                  <a:pt x="1735836" y="0"/>
                </a:lnTo>
                <a:close/>
              </a:path>
            </a:pathLst>
          </a:custGeom>
          <a:solidFill>
            <a:srgbClr val="D3D3D3"/>
          </a:solidFill>
        </p:spPr>
        <p:txBody>
          <a:bodyPr wrap="square" lIns="0" tIns="0" rIns="0" bIns="0" rtlCol="0"/>
          <a:lstStyle/>
          <a:p>
            <a:endParaRPr/>
          </a:p>
        </p:txBody>
      </p:sp>
      <p:sp>
        <p:nvSpPr>
          <p:cNvPr id="3" name="object 3"/>
          <p:cNvSpPr/>
          <p:nvPr/>
        </p:nvSpPr>
        <p:spPr>
          <a:xfrm>
            <a:off x="743838" y="1569021"/>
            <a:ext cx="3169602" cy="3158363"/>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907033" y="1732533"/>
            <a:ext cx="2843530" cy="2816225"/>
          </a:xfrm>
          <a:custGeom>
            <a:avLst/>
            <a:gdLst/>
            <a:ahLst/>
            <a:cxnLst/>
            <a:rect l="l" t="t" r="r" b="b"/>
            <a:pathLst>
              <a:path w="2843529" h="2816225">
                <a:moveTo>
                  <a:pt x="889635" y="2725673"/>
                </a:moveTo>
                <a:lnTo>
                  <a:pt x="884809" y="2737739"/>
                </a:lnTo>
                <a:lnTo>
                  <a:pt x="887222" y="2738754"/>
                </a:lnTo>
                <a:lnTo>
                  <a:pt x="896873" y="2742565"/>
                </a:lnTo>
                <a:lnTo>
                  <a:pt x="901572" y="2730499"/>
                </a:lnTo>
                <a:lnTo>
                  <a:pt x="896747" y="2728595"/>
                </a:lnTo>
                <a:lnTo>
                  <a:pt x="892047" y="2726690"/>
                </a:lnTo>
                <a:lnTo>
                  <a:pt x="889635" y="2725673"/>
                </a:lnTo>
                <a:close/>
              </a:path>
              <a:path w="2843529" h="2816225">
                <a:moveTo>
                  <a:pt x="938657" y="2742438"/>
                </a:moveTo>
                <a:lnTo>
                  <a:pt x="933830" y="2754503"/>
                </a:lnTo>
                <a:lnTo>
                  <a:pt x="936243" y="2755518"/>
                </a:lnTo>
                <a:lnTo>
                  <a:pt x="945896" y="2759329"/>
                </a:lnTo>
                <a:lnTo>
                  <a:pt x="950722" y="2747264"/>
                </a:lnTo>
                <a:lnTo>
                  <a:pt x="941070" y="2743454"/>
                </a:lnTo>
                <a:lnTo>
                  <a:pt x="938657" y="2742438"/>
                </a:lnTo>
                <a:close/>
              </a:path>
              <a:path w="2843529" h="2816225">
                <a:moveTo>
                  <a:pt x="842391" y="2704084"/>
                </a:moveTo>
                <a:lnTo>
                  <a:pt x="837565" y="2716148"/>
                </a:lnTo>
                <a:lnTo>
                  <a:pt x="839978" y="2717165"/>
                </a:lnTo>
                <a:lnTo>
                  <a:pt x="849629" y="2720974"/>
                </a:lnTo>
                <a:lnTo>
                  <a:pt x="854455" y="2708910"/>
                </a:lnTo>
                <a:lnTo>
                  <a:pt x="849629" y="2707004"/>
                </a:lnTo>
                <a:lnTo>
                  <a:pt x="847216" y="2705989"/>
                </a:lnTo>
                <a:lnTo>
                  <a:pt x="842391" y="2704084"/>
                </a:lnTo>
                <a:close/>
              </a:path>
              <a:path w="2843529" h="2816225">
                <a:moveTo>
                  <a:pt x="995754" y="2772283"/>
                </a:moveTo>
                <a:lnTo>
                  <a:pt x="985392" y="2772283"/>
                </a:lnTo>
                <a:lnTo>
                  <a:pt x="995045" y="2776092"/>
                </a:lnTo>
                <a:lnTo>
                  <a:pt x="995754" y="2772283"/>
                </a:lnTo>
                <a:close/>
              </a:path>
              <a:path w="2843529" h="2816225">
                <a:moveTo>
                  <a:pt x="990218" y="2760217"/>
                </a:moveTo>
                <a:lnTo>
                  <a:pt x="984377" y="2760726"/>
                </a:lnTo>
                <a:lnTo>
                  <a:pt x="982091" y="2773679"/>
                </a:lnTo>
                <a:lnTo>
                  <a:pt x="985392" y="2772283"/>
                </a:lnTo>
                <a:lnTo>
                  <a:pt x="995754" y="2772283"/>
                </a:lnTo>
                <a:lnTo>
                  <a:pt x="997458" y="2763139"/>
                </a:lnTo>
                <a:lnTo>
                  <a:pt x="995045" y="2762122"/>
                </a:lnTo>
                <a:lnTo>
                  <a:pt x="990218" y="2760217"/>
                </a:lnTo>
                <a:close/>
              </a:path>
              <a:path w="2843529" h="2816225">
                <a:moveTo>
                  <a:pt x="795273" y="2682493"/>
                </a:moveTo>
                <a:lnTo>
                  <a:pt x="790447" y="2694559"/>
                </a:lnTo>
                <a:lnTo>
                  <a:pt x="792860" y="2695574"/>
                </a:lnTo>
                <a:lnTo>
                  <a:pt x="802513" y="2699385"/>
                </a:lnTo>
                <a:lnTo>
                  <a:pt x="807211" y="2687320"/>
                </a:lnTo>
                <a:lnTo>
                  <a:pt x="804798" y="2686430"/>
                </a:lnTo>
                <a:lnTo>
                  <a:pt x="799972" y="2684398"/>
                </a:lnTo>
                <a:lnTo>
                  <a:pt x="795273" y="2682493"/>
                </a:lnTo>
                <a:close/>
              </a:path>
              <a:path w="2843529" h="2816225">
                <a:moveTo>
                  <a:pt x="1034541" y="2775077"/>
                </a:moveTo>
                <a:lnTo>
                  <a:pt x="1032129" y="2788030"/>
                </a:lnTo>
                <a:lnTo>
                  <a:pt x="1034541" y="2789047"/>
                </a:lnTo>
                <a:lnTo>
                  <a:pt x="1039367" y="2790952"/>
                </a:lnTo>
                <a:lnTo>
                  <a:pt x="1045083" y="2790443"/>
                </a:lnTo>
                <a:lnTo>
                  <a:pt x="1047235" y="2778886"/>
                </a:lnTo>
                <a:lnTo>
                  <a:pt x="1044066" y="2778886"/>
                </a:lnTo>
                <a:lnTo>
                  <a:pt x="1039241" y="2776982"/>
                </a:lnTo>
                <a:lnTo>
                  <a:pt x="1034541" y="2775077"/>
                </a:lnTo>
                <a:close/>
              </a:path>
              <a:path w="2843529" h="2816225">
                <a:moveTo>
                  <a:pt x="1047496" y="2777490"/>
                </a:moveTo>
                <a:lnTo>
                  <a:pt x="1044066" y="2778886"/>
                </a:lnTo>
                <a:lnTo>
                  <a:pt x="1047235" y="2778886"/>
                </a:lnTo>
                <a:lnTo>
                  <a:pt x="1047496" y="2777490"/>
                </a:lnTo>
                <a:close/>
              </a:path>
              <a:path w="2843529" h="2816225">
                <a:moveTo>
                  <a:pt x="749046" y="2658491"/>
                </a:moveTo>
                <a:lnTo>
                  <a:pt x="744220" y="2670555"/>
                </a:lnTo>
                <a:lnTo>
                  <a:pt x="749046" y="2672460"/>
                </a:lnTo>
                <a:lnTo>
                  <a:pt x="751459" y="2673477"/>
                </a:lnTo>
                <a:lnTo>
                  <a:pt x="756285" y="2675382"/>
                </a:lnTo>
                <a:lnTo>
                  <a:pt x="760095" y="2665729"/>
                </a:lnTo>
                <a:lnTo>
                  <a:pt x="758571" y="2662428"/>
                </a:lnTo>
                <a:lnTo>
                  <a:pt x="753745" y="2660522"/>
                </a:lnTo>
                <a:lnTo>
                  <a:pt x="749046" y="2658491"/>
                </a:lnTo>
                <a:close/>
              </a:path>
              <a:path w="2843529" h="2816225">
                <a:moveTo>
                  <a:pt x="1095830" y="2800985"/>
                </a:moveTo>
                <a:lnTo>
                  <a:pt x="1085468" y="2800985"/>
                </a:lnTo>
                <a:lnTo>
                  <a:pt x="1095121" y="2804795"/>
                </a:lnTo>
                <a:lnTo>
                  <a:pt x="1095830" y="2800985"/>
                </a:lnTo>
                <a:close/>
              </a:path>
              <a:path w="2843529" h="2816225">
                <a:moveTo>
                  <a:pt x="1090295" y="2788920"/>
                </a:moveTo>
                <a:lnTo>
                  <a:pt x="1084580" y="2789428"/>
                </a:lnTo>
                <a:lnTo>
                  <a:pt x="1082167" y="2802509"/>
                </a:lnTo>
                <a:lnTo>
                  <a:pt x="1085468" y="2800985"/>
                </a:lnTo>
                <a:lnTo>
                  <a:pt x="1095830" y="2800985"/>
                </a:lnTo>
                <a:lnTo>
                  <a:pt x="1097534" y="2791841"/>
                </a:lnTo>
                <a:lnTo>
                  <a:pt x="1092708" y="2789935"/>
                </a:lnTo>
                <a:lnTo>
                  <a:pt x="1090295" y="2788920"/>
                </a:lnTo>
                <a:close/>
              </a:path>
              <a:path w="2843529" h="2816225">
                <a:moveTo>
                  <a:pt x="706119" y="2633091"/>
                </a:moveTo>
                <a:lnTo>
                  <a:pt x="698881" y="2644140"/>
                </a:lnTo>
                <a:lnTo>
                  <a:pt x="703707" y="2646045"/>
                </a:lnTo>
                <a:lnTo>
                  <a:pt x="705231" y="2649473"/>
                </a:lnTo>
                <a:lnTo>
                  <a:pt x="710057" y="2651379"/>
                </a:lnTo>
                <a:lnTo>
                  <a:pt x="717169" y="2640329"/>
                </a:lnTo>
                <a:lnTo>
                  <a:pt x="707516" y="2636520"/>
                </a:lnTo>
                <a:lnTo>
                  <a:pt x="706119" y="2633091"/>
                </a:lnTo>
                <a:close/>
              </a:path>
              <a:path w="2843529" h="2816225">
                <a:moveTo>
                  <a:pt x="1138936" y="2799968"/>
                </a:moveTo>
                <a:lnTo>
                  <a:pt x="1135634" y="2801366"/>
                </a:lnTo>
                <a:lnTo>
                  <a:pt x="1131697" y="2811017"/>
                </a:lnTo>
                <a:lnTo>
                  <a:pt x="1141348" y="2814828"/>
                </a:lnTo>
                <a:lnTo>
                  <a:pt x="1143761" y="2815843"/>
                </a:lnTo>
                <a:lnTo>
                  <a:pt x="1146174" y="2802890"/>
                </a:lnTo>
                <a:lnTo>
                  <a:pt x="1143761" y="2801873"/>
                </a:lnTo>
                <a:lnTo>
                  <a:pt x="1138936" y="2799968"/>
                </a:lnTo>
                <a:close/>
              </a:path>
              <a:path w="2843529" h="2816225">
                <a:moveTo>
                  <a:pt x="660907" y="2606674"/>
                </a:moveTo>
                <a:lnTo>
                  <a:pt x="653669" y="2617723"/>
                </a:lnTo>
                <a:lnTo>
                  <a:pt x="658494" y="2619629"/>
                </a:lnTo>
                <a:lnTo>
                  <a:pt x="663321" y="2621660"/>
                </a:lnTo>
                <a:lnTo>
                  <a:pt x="664718" y="2624963"/>
                </a:lnTo>
                <a:lnTo>
                  <a:pt x="671957" y="2613914"/>
                </a:lnTo>
                <a:lnTo>
                  <a:pt x="670432" y="2610485"/>
                </a:lnTo>
                <a:lnTo>
                  <a:pt x="665734" y="2608579"/>
                </a:lnTo>
                <a:lnTo>
                  <a:pt x="660907" y="2606674"/>
                </a:lnTo>
                <a:close/>
              </a:path>
              <a:path w="2843529" h="2816225">
                <a:moveTo>
                  <a:pt x="618997" y="2578861"/>
                </a:moveTo>
                <a:lnTo>
                  <a:pt x="611759" y="2589910"/>
                </a:lnTo>
                <a:lnTo>
                  <a:pt x="614172" y="2590927"/>
                </a:lnTo>
                <a:lnTo>
                  <a:pt x="618997" y="2592832"/>
                </a:lnTo>
                <a:lnTo>
                  <a:pt x="622807" y="2597149"/>
                </a:lnTo>
                <a:lnTo>
                  <a:pt x="630047" y="2586101"/>
                </a:lnTo>
                <a:lnTo>
                  <a:pt x="625221" y="2584068"/>
                </a:lnTo>
                <a:lnTo>
                  <a:pt x="621410" y="2579751"/>
                </a:lnTo>
                <a:lnTo>
                  <a:pt x="618997" y="2578861"/>
                </a:lnTo>
                <a:close/>
              </a:path>
              <a:path w="2843529" h="2816225">
                <a:moveTo>
                  <a:pt x="577977" y="2548635"/>
                </a:moveTo>
                <a:lnTo>
                  <a:pt x="568452" y="2558668"/>
                </a:lnTo>
                <a:lnTo>
                  <a:pt x="573278" y="2560573"/>
                </a:lnTo>
                <a:lnTo>
                  <a:pt x="577088" y="2564891"/>
                </a:lnTo>
                <a:lnTo>
                  <a:pt x="579501" y="2565908"/>
                </a:lnTo>
                <a:lnTo>
                  <a:pt x="586740" y="2554859"/>
                </a:lnTo>
                <a:lnTo>
                  <a:pt x="584327" y="2553842"/>
                </a:lnTo>
                <a:lnTo>
                  <a:pt x="580390" y="2549524"/>
                </a:lnTo>
                <a:lnTo>
                  <a:pt x="577977" y="2548635"/>
                </a:lnTo>
                <a:close/>
              </a:path>
              <a:path w="2843529" h="2816225">
                <a:moveTo>
                  <a:pt x="537972" y="2515870"/>
                </a:moveTo>
                <a:lnTo>
                  <a:pt x="528447" y="2526029"/>
                </a:lnTo>
                <a:lnTo>
                  <a:pt x="532257" y="2530347"/>
                </a:lnTo>
                <a:lnTo>
                  <a:pt x="534669" y="2531364"/>
                </a:lnTo>
                <a:lnTo>
                  <a:pt x="538479" y="2535682"/>
                </a:lnTo>
                <a:lnTo>
                  <a:pt x="545719" y="2524505"/>
                </a:lnTo>
                <a:lnTo>
                  <a:pt x="544322" y="2521204"/>
                </a:lnTo>
                <a:lnTo>
                  <a:pt x="539496" y="2519298"/>
                </a:lnTo>
                <a:lnTo>
                  <a:pt x="537972" y="2515870"/>
                </a:lnTo>
                <a:close/>
              </a:path>
              <a:path w="2843529" h="2816225">
                <a:moveTo>
                  <a:pt x="498094" y="2483230"/>
                </a:moveTo>
                <a:lnTo>
                  <a:pt x="488441" y="2493391"/>
                </a:lnTo>
                <a:lnTo>
                  <a:pt x="493268" y="2495296"/>
                </a:lnTo>
                <a:lnTo>
                  <a:pt x="494665" y="2498597"/>
                </a:lnTo>
                <a:lnTo>
                  <a:pt x="498602" y="2502916"/>
                </a:lnTo>
                <a:lnTo>
                  <a:pt x="505713" y="2491866"/>
                </a:lnTo>
                <a:lnTo>
                  <a:pt x="504316" y="2488565"/>
                </a:lnTo>
                <a:lnTo>
                  <a:pt x="499491" y="2486660"/>
                </a:lnTo>
                <a:lnTo>
                  <a:pt x="498094" y="2483230"/>
                </a:lnTo>
                <a:close/>
              </a:path>
              <a:path w="2843529" h="2816225">
                <a:moveTo>
                  <a:pt x="458978" y="2448179"/>
                </a:moveTo>
                <a:lnTo>
                  <a:pt x="449453" y="2458339"/>
                </a:lnTo>
                <a:lnTo>
                  <a:pt x="454278" y="2460243"/>
                </a:lnTo>
                <a:lnTo>
                  <a:pt x="455675" y="2463546"/>
                </a:lnTo>
                <a:lnTo>
                  <a:pt x="459485" y="2467864"/>
                </a:lnTo>
                <a:lnTo>
                  <a:pt x="469138" y="2457830"/>
                </a:lnTo>
                <a:lnTo>
                  <a:pt x="465328" y="2453513"/>
                </a:lnTo>
                <a:lnTo>
                  <a:pt x="462915" y="2452497"/>
                </a:lnTo>
                <a:lnTo>
                  <a:pt x="458978" y="2448179"/>
                </a:lnTo>
                <a:close/>
              </a:path>
              <a:path w="2843529" h="2816225">
                <a:moveTo>
                  <a:pt x="422402" y="2414016"/>
                </a:moveTo>
                <a:lnTo>
                  <a:pt x="413766" y="2421763"/>
                </a:lnTo>
                <a:lnTo>
                  <a:pt x="415163" y="2425191"/>
                </a:lnTo>
                <a:lnTo>
                  <a:pt x="419100" y="2429510"/>
                </a:lnTo>
                <a:lnTo>
                  <a:pt x="421513" y="2430398"/>
                </a:lnTo>
                <a:lnTo>
                  <a:pt x="430149" y="2422652"/>
                </a:lnTo>
                <a:lnTo>
                  <a:pt x="428625" y="2419349"/>
                </a:lnTo>
                <a:lnTo>
                  <a:pt x="424815" y="2415032"/>
                </a:lnTo>
                <a:lnTo>
                  <a:pt x="422402" y="2414016"/>
                </a:lnTo>
                <a:close/>
              </a:path>
              <a:path w="2843529" h="2816225">
                <a:moveTo>
                  <a:pt x="387731" y="2375154"/>
                </a:moveTo>
                <a:lnTo>
                  <a:pt x="375666" y="2384297"/>
                </a:lnTo>
                <a:lnTo>
                  <a:pt x="379603" y="2388616"/>
                </a:lnTo>
                <a:lnTo>
                  <a:pt x="382016" y="2389632"/>
                </a:lnTo>
                <a:lnTo>
                  <a:pt x="385825" y="2393949"/>
                </a:lnTo>
                <a:lnTo>
                  <a:pt x="395478" y="2383790"/>
                </a:lnTo>
                <a:lnTo>
                  <a:pt x="393065" y="2382773"/>
                </a:lnTo>
                <a:lnTo>
                  <a:pt x="389128" y="2378455"/>
                </a:lnTo>
                <a:lnTo>
                  <a:pt x="387731" y="2375154"/>
                </a:lnTo>
                <a:close/>
              </a:path>
              <a:path w="2843529" h="2816225">
                <a:moveTo>
                  <a:pt x="353009" y="2336165"/>
                </a:moveTo>
                <a:lnTo>
                  <a:pt x="340994" y="2345309"/>
                </a:lnTo>
                <a:lnTo>
                  <a:pt x="344855" y="2349627"/>
                </a:lnTo>
                <a:lnTo>
                  <a:pt x="347256" y="2350642"/>
                </a:lnTo>
                <a:lnTo>
                  <a:pt x="351116" y="2354960"/>
                </a:lnTo>
                <a:lnTo>
                  <a:pt x="359765" y="2347214"/>
                </a:lnTo>
                <a:lnTo>
                  <a:pt x="358317" y="2343911"/>
                </a:lnTo>
                <a:lnTo>
                  <a:pt x="354456" y="2339593"/>
                </a:lnTo>
                <a:lnTo>
                  <a:pt x="353009" y="2336165"/>
                </a:lnTo>
                <a:close/>
              </a:path>
              <a:path w="2843529" h="2816225">
                <a:moveTo>
                  <a:pt x="318312" y="2297303"/>
                </a:moveTo>
                <a:lnTo>
                  <a:pt x="309664" y="2304922"/>
                </a:lnTo>
                <a:lnTo>
                  <a:pt x="311111" y="2308352"/>
                </a:lnTo>
                <a:lnTo>
                  <a:pt x="314972" y="2312670"/>
                </a:lnTo>
                <a:lnTo>
                  <a:pt x="316420" y="2316098"/>
                </a:lnTo>
                <a:lnTo>
                  <a:pt x="328434" y="2306828"/>
                </a:lnTo>
                <a:lnTo>
                  <a:pt x="324573" y="2302510"/>
                </a:lnTo>
                <a:lnTo>
                  <a:pt x="322173" y="2301621"/>
                </a:lnTo>
                <a:lnTo>
                  <a:pt x="318312" y="2297303"/>
                </a:lnTo>
                <a:close/>
              </a:path>
              <a:path w="2843529" h="2816225">
                <a:moveTo>
                  <a:pt x="286981" y="2256916"/>
                </a:moveTo>
                <a:lnTo>
                  <a:pt x="278333" y="2264664"/>
                </a:lnTo>
                <a:lnTo>
                  <a:pt x="279781" y="2267966"/>
                </a:lnTo>
                <a:lnTo>
                  <a:pt x="283641" y="2272284"/>
                </a:lnTo>
                <a:lnTo>
                  <a:pt x="286042" y="2273299"/>
                </a:lnTo>
                <a:lnTo>
                  <a:pt x="297103" y="2266568"/>
                </a:lnTo>
                <a:lnTo>
                  <a:pt x="293243" y="2262123"/>
                </a:lnTo>
                <a:lnTo>
                  <a:pt x="291795" y="2258822"/>
                </a:lnTo>
                <a:lnTo>
                  <a:pt x="286981" y="2256916"/>
                </a:lnTo>
                <a:close/>
              </a:path>
              <a:path w="2843529" h="2816225">
                <a:moveTo>
                  <a:pt x="259016" y="2215134"/>
                </a:moveTo>
                <a:lnTo>
                  <a:pt x="247954" y="2221865"/>
                </a:lnTo>
                <a:lnTo>
                  <a:pt x="249402" y="2225166"/>
                </a:lnTo>
                <a:lnTo>
                  <a:pt x="253263" y="2229485"/>
                </a:lnTo>
                <a:lnTo>
                  <a:pt x="254711" y="2232914"/>
                </a:lnTo>
                <a:lnTo>
                  <a:pt x="265772" y="2226183"/>
                </a:lnTo>
                <a:lnTo>
                  <a:pt x="261912" y="2221865"/>
                </a:lnTo>
                <a:lnTo>
                  <a:pt x="260464" y="2218435"/>
                </a:lnTo>
                <a:lnTo>
                  <a:pt x="259016" y="2215134"/>
                </a:lnTo>
                <a:close/>
              </a:path>
              <a:path w="2843529" h="2816225">
                <a:moveTo>
                  <a:pt x="229603" y="2169922"/>
                </a:moveTo>
                <a:lnTo>
                  <a:pt x="218541" y="2176653"/>
                </a:lnTo>
                <a:lnTo>
                  <a:pt x="222402" y="2180971"/>
                </a:lnTo>
                <a:lnTo>
                  <a:pt x="223850" y="2184272"/>
                </a:lnTo>
                <a:lnTo>
                  <a:pt x="227710" y="2188591"/>
                </a:lnTo>
                <a:lnTo>
                  <a:pt x="236359" y="2180971"/>
                </a:lnTo>
                <a:lnTo>
                  <a:pt x="234911" y="2177541"/>
                </a:lnTo>
                <a:lnTo>
                  <a:pt x="233464" y="2174240"/>
                </a:lnTo>
                <a:lnTo>
                  <a:pt x="229603" y="2169922"/>
                </a:lnTo>
                <a:close/>
              </a:path>
              <a:path w="2843529" h="2816225">
                <a:moveTo>
                  <a:pt x="1806828" y="2775966"/>
                </a:moveTo>
                <a:lnTo>
                  <a:pt x="1803400" y="2777363"/>
                </a:lnTo>
                <a:lnTo>
                  <a:pt x="1800098" y="2778886"/>
                </a:lnTo>
                <a:lnTo>
                  <a:pt x="1794255" y="2779395"/>
                </a:lnTo>
                <a:lnTo>
                  <a:pt x="1797685" y="2791841"/>
                </a:lnTo>
                <a:lnTo>
                  <a:pt x="1803400" y="2791333"/>
                </a:lnTo>
                <a:lnTo>
                  <a:pt x="1806828" y="2789935"/>
                </a:lnTo>
                <a:lnTo>
                  <a:pt x="1810130" y="2788539"/>
                </a:lnTo>
                <a:lnTo>
                  <a:pt x="1806828" y="2775966"/>
                </a:lnTo>
                <a:close/>
              </a:path>
              <a:path w="2843529" h="2816225">
                <a:moveTo>
                  <a:pt x="205003" y="2126615"/>
                </a:moveTo>
                <a:lnTo>
                  <a:pt x="193954" y="2133346"/>
                </a:lnTo>
                <a:lnTo>
                  <a:pt x="195402" y="2136774"/>
                </a:lnTo>
                <a:lnTo>
                  <a:pt x="196850" y="2140077"/>
                </a:lnTo>
                <a:lnTo>
                  <a:pt x="198297" y="2143505"/>
                </a:lnTo>
                <a:lnTo>
                  <a:pt x="211759" y="2137664"/>
                </a:lnTo>
                <a:lnTo>
                  <a:pt x="207899" y="2133346"/>
                </a:lnTo>
                <a:lnTo>
                  <a:pt x="206451" y="2129916"/>
                </a:lnTo>
                <a:lnTo>
                  <a:pt x="205003" y="2126615"/>
                </a:lnTo>
                <a:close/>
              </a:path>
              <a:path w="2843529" h="2816225">
                <a:moveTo>
                  <a:pt x="1857755" y="2759964"/>
                </a:moveTo>
                <a:lnTo>
                  <a:pt x="1854453" y="2761488"/>
                </a:lnTo>
                <a:lnTo>
                  <a:pt x="1848612" y="2761996"/>
                </a:lnTo>
                <a:lnTo>
                  <a:pt x="1845310" y="2763392"/>
                </a:lnTo>
                <a:lnTo>
                  <a:pt x="1848612" y="2775966"/>
                </a:lnTo>
                <a:lnTo>
                  <a:pt x="1852040" y="2774441"/>
                </a:lnTo>
                <a:lnTo>
                  <a:pt x="1857755" y="2773934"/>
                </a:lnTo>
                <a:lnTo>
                  <a:pt x="1861185" y="2772536"/>
                </a:lnTo>
                <a:lnTo>
                  <a:pt x="1857755" y="2759964"/>
                </a:lnTo>
                <a:close/>
              </a:path>
              <a:path w="2843529" h="2816225">
                <a:moveTo>
                  <a:pt x="178003" y="2082418"/>
                </a:moveTo>
                <a:lnTo>
                  <a:pt x="166941" y="2089149"/>
                </a:lnTo>
                <a:lnTo>
                  <a:pt x="168389" y="2092452"/>
                </a:lnTo>
                <a:lnTo>
                  <a:pt x="172250" y="2096770"/>
                </a:lnTo>
                <a:lnTo>
                  <a:pt x="173697" y="2100198"/>
                </a:lnTo>
                <a:lnTo>
                  <a:pt x="184746" y="2093467"/>
                </a:lnTo>
                <a:lnTo>
                  <a:pt x="183299" y="2090039"/>
                </a:lnTo>
                <a:lnTo>
                  <a:pt x="181851" y="2086736"/>
                </a:lnTo>
                <a:lnTo>
                  <a:pt x="178003" y="2082418"/>
                </a:lnTo>
                <a:close/>
              </a:path>
              <a:path w="2843529" h="2816225">
                <a:moveTo>
                  <a:pt x="1906397" y="2743072"/>
                </a:moveTo>
                <a:lnTo>
                  <a:pt x="1902967" y="2744597"/>
                </a:lnTo>
                <a:lnTo>
                  <a:pt x="1897252" y="2745104"/>
                </a:lnTo>
                <a:lnTo>
                  <a:pt x="1892935" y="2748915"/>
                </a:lnTo>
                <a:lnTo>
                  <a:pt x="1897252" y="2758947"/>
                </a:lnTo>
                <a:lnTo>
                  <a:pt x="1902967" y="2758566"/>
                </a:lnTo>
                <a:lnTo>
                  <a:pt x="1906397" y="2757042"/>
                </a:lnTo>
                <a:lnTo>
                  <a:pt x="1909699" y="2755646"/>
                </a:lnTo>
                <a:lnTo>
                  <a:pt x="1906397" y="2743072"/>
                </a:lnTo>
                <a:close/>
              </a:path>
              <a:path w="2843529" h="2816225">
                <a:moveTo>
                  <a:pt x="154355" y="2036698"/>
                </a:moveTo>
                <a:lnTo>
                  <a:pt x="144259" y="2041016"/>
                </a:lnTo>
                <a:lnTo>
                  <a:pt x="145707" y="2044445"/>
                </a:lnTo>
                <a:lnTo>
                  <a:pt x="146202" y="2050160"/>
                </a:lnTo>
                <a:lnTo>
                  <a:pt x="150050" y="2054478"/>
                </a:lnTo>
                <a:lnTo>
                  <a:pt x="161112" y="2047747"/>
                </a:lnTo>
                <a:lnTo>
                  <a:pt x="159664" y="2044445"/>
                </a:lnTo>
                <a:lnTo>
                  <a:pt x="158216" y="2041016"/>
                </a:lnTo>
                <a:lnTo>
                  <a:pt x="154355" y="2036698"/>
                </a:lnTo>
                <a:close/>
              </a:path>
              <a:path w="2843529" h="2816225">
                <a:moveTo>
                  <a:pt x="1952498" y="2725292"/>
                </a:moveTo>
                <a:lnTo>
                  <a:pt x="1949196" y="2726690"/>
                </a:lnTo>
                <a:lnTo>
                  <a:pt x="1945766" y="2728086"/>
                </a:lnTo>
                <a:lnTo>
                  <a:pt x="1942464" y="2729610"/>
                </a:lnTo>
                <a:lnTo>
                  <a:pt x="1945766" y="2742057"/>
                </a:lnTo>
                <a:lnTo>
                  <a:pt x="1949196" y="2740660"/>
                </a:lnTo>
                <a:lnTo>
                  <a:pt x="1954911" y="2740152"/>
                </a:lnTo>
                <a:lnTo>
                  <a:pt x="1959228" y="2736341"/>
                </a:lnTo>
                <a:lnTo>
                  <a:pt x="1952498" y="2725292"/>
                </a:lnTo>
                <a:close/>
              </a:path>
              <a:path w="2843529" h="2816225">
                <a:moveTo>
                  <a:pt x="134086" y="1989582"/>
                </a:moveTo>
                <a:lnTo>
                  <a:pt x="120624" y="1995296"/>
                </a:lnTo>
                <a:lnTo>
                  <a:pt x="124472" y="1999741"/>
                </a:lnTo>
                <a:lnTo>
                  <a:pt x="125920" y="2003043"/>
                </a:lnTo>
                <a:lnTo>
                  <a:pt x="127368" y="2006472"/>
                </a:lnTo>
                <a:lnTo>
                  <a:pt x="140843" y="2000630"/>
                </a:lnTo>
                <a:lnTo>
                  <a:pt x="136982" y="1996313"/>
                </a:lnTo>
                <a:lnTo>
                  <a:pt x="135534" y="1992883"/>
                </a:lnTo>
                <a:lnTo>
                  <a:pt x="134086" y="1989582"/>
                </a:lnTo>
                <a:close/>
              </a:path>
              <a:path w="2843529" h="2816225">
                <a:moveTo>
                  <a:pt x="1999614" y="2704972"/>
                </a:moveTo>
                <a:lnTo>
                  <a:pt x="1996313" y="2706370"/>
                </a:lnTo>
                <a:lnTo>
                  <a:pt x="1992884" y="2707893"/>
                </a:lnTo>
                <a:lnTo>
                  <a:pt x="1989582" y="2709291"/>
                </a:lnTo>
                <a:lnTo>
                  <a:pt x="1992884" y="2721864"/>
                </a:lnTo>
                <a:lnTo>
                  <a:pt x="1998726" y="2721355"/>
                </a:lnTo>
                <a:lnTo>
                  <a:pt x="2003043" y="2717546"/>
                </a:lnTo>
                <a:lnTo>
                  <a:pt x="2006346" y="2716022"/>
                </a:lnTo>
                <a:lnTo>
                  <a:pt x="1999614" y="2704972"/>
                </a:lnTo>
                <a:close/>
              </a:path>
              <a:path w="2843529" h="2816225">
                <a:moveTo>
                  <a:pt x="113817" y="1942464"/>
                </a:moveTo>
                <a:lnTo>
                  <a:pt x="101307" y="1945766"/>
                </a:lnTo>
                <a:lnTo>
                  <a:pt x="105168" y="1950084"/>
                </a:lnTo>
                <a:lnTo>
                  <a:pt x="105651" y="1955927"/>
                </a:lnTo>
                <a:lnTo>
                  <a:pt x="107099" y="1959228"/>
                </a:lnTo>
                <a:lnTo>
                  <a:pt x="118160" y="1952497"/>
                </a:lnTo>
                <a:lnTo>
                  <a:pt x="116712" y="1949195"/>
                </a:lnTo>
                <a:lnTo>
                  <a:pt x="115265" y="1945766"/>
                </a:lnTo>
                <a:lnTo>
                  <a:pt x="113817" y="1942464"/>
                </a:lnTo>
                <a:close/>
              </a:path>
              <a:path w="2843529" h="2816225">
                <a:moveTo>
                  <a:pt x="2047748" y="2682240"/>
                </a:moveTo>
                <a:lnTo>
                  <a:pt x="2044318" y="2683764"/>
                </a:lnTo>
                <a:lnTo>
                  <a:pt x="2040001" y="2687573"/>
                </a:lnTo>
                <a:lnTo>
                  <a:pt x="2036699" y="2689097"/>
                </a:lnTo>
                <a:lnTo>
                  <a:pt x="2041016" y="2699130"/>
                </a:lnTo>
                <a:lnTo>
                  <a:pt x="2044446" y="2697734"/>
                </a:lnTo>
                <a:lnTo>
                  <a:pt x="2047748" y="2696210"/>
                </a:lnTo>
                <a:lnTo>
                  <a:pt x="2053589" y="2695702"/>
                </a:lnTo>
                <a:lnTo>
                  <a:pt x="2047748" y="2682240"/>
                </a:lnTo>
                <a:close/>
              </a:path>
              <a:path w="2843529" h="2816225">
                <a:moveTo>
                  <a:pt x="96900" y="1893823"/>
                </a:moveTo>
                <a:lnTo>
                  <a:pt x="83438" y="1899665"/>
                </a:lnTo>
                <a:lnTo>
                  <a:pt x="84886" y="1902967"/>
                </a:lnTo>
                <a:lnTo>
                  <a:pt x="86334" y="1906396"/>
                </a:lnTo>
                <a:lnTo>
                  <a:pt x="87782" y="1909698"/>
                </a:lnTo>
                <a:lnTo>
                  <a:pt x="100291" y="1906396"/>
                </a:lnTo>
                <a:lnTo>
                  <a:pt x="98844" y="1902967"/>
                </a:lnTo>
                <a:lnTo>
                  <a:pt x="98348" y="1897252"/>
                </a:lnTo>
                <a:lnTo>
                  <a:pt x="96900" y="1893823"/>
                </a:lnTo>
                <a:close/>
              </a:path>
              <a:path w="2843529" h="2816225">
                <a:moveTo>
                  <a:pt x="2093467" y="2658617"/>
                </a:moveTo>
                <a:lnTo>
                  <a:pt x="2089150" y="2662554"/>
                </a:lnTo>
                <a:lnTo>
                  <a:pt x="2085721" y="2663952"/>
                </a:lnTo>
                <a:lnTo>
                  <a:pt x="2082418" y="2665348"/>
                </a:lnTo>
                <a:lnTo>
                  <a:pt x="2086737" y="2675509"/>
                </a:lnTo>
                <a:lnTo>
                  <a:pt x="2092452" y="2675001"/>
                </a:lnTo>
                <a:lnTo>
                  <a:pt x="2095880" y="2673604"/>
                </a:lnTo>
                <a:lnTo>
                  <a:pt x="2100199" y="2669666"/>
                </a:lnTo>
                <a:lnTo>
                  <a:pt x="2093467" y="2658617"/>
                </a:lnTo>
                <a:close/>
              </a:path>
              <a:path w="2843529" h="2816225">
                <a:moveTo>
                  <a:pt x="79997" y="1845310"/>
                </a:moveTo>
                <a:lnTo>
                  <a:pt x="67487" y="1848612"/>
                </a:lnTo>
                <a:lnTo>
                  <a:pt x="67983" y="1854453"/>
                </a:lnTo>
                <a:lnTo>
                  <a:pt x="69430" y="1857755"/>
                </a:lnTo>
                <a:lnTo>
                  <a:pt x="70878" y="1861185"/>
                </a:lnTo>
                <a:lnTo>
                  <a:pt x="83388" y="1857755"/>
                </a:lnTo>
                <a:lnTo>
                  <a:pt x="81940" y="1854453"/>
                </a:lnTo>
                <a:lnTo>
                  <a:pt x="81445" y="1848612"/>
                </a:lnTo>
                <a:lnTo>
                  <a:pt x="79997" y="1845310"/>
                </a:lnTo>
                <a:close/>
              </a:path>
              <a:path w="2843529" h="2816225">
                <a:moveTo>
                  <a:pt x="2136648" y="2634107"/>
                </a:moveTo>
                <a:lnTo>
                  <a:pt x="2133346" y="2635504"/>
                </a:lnTo>
                <a:lnTo>
                  <a:pt x="2129916" y="2636901"/>
                </a:lnTo>
                <a:lnTo>
                  <a:pt x="2125599" y="2640838"/>
                </a:lnTo>
                <a:lnTo>
                  <a:pt x="2132329" y="2651886"/>
                </a:lnTo>
                <a:lnTo>
                  <a:pt x="2136775" y="2647949"/>
                </a:lnTo>
                <a:lnTo>
                  <a:pt x="2140077" y="2646553"/>
                </a:lnTo>
                <a:lnTo>
                  <a:pt x="2143505" y="2645155"/>
                </a:lnTo>
                <a:lnTo>
                  <a:pt x="2136648" y="2634107"/>
                </a:lnTo>
                <a:close/>
              </a:path>
              <a:path w="2843529" h="2816225">
                <a:moveTo>
                  <a:pt x="65493" y="1797685"/>
                </a:moveTo>
                <a:lnTo>
                  <a:pt x="52997" y="1800987"/>
                </a:lnTo>
                <a:lnTo>
                  <a:pt x="54444" y="1804415"/>
                </a:lnTo>
                <a:lnTo>
                  <a:pt x="55892" y="1807717"/>
                </a:lnTo>
                <a:lnTo>
                  <a:pt x="56375" y="1813560"/>
                </a:lnTo>
                <a:lnTo>
                  <a:pt x="69850" y="1807717"/>
                </a:lnTo>
                <a:lnTo>
                  <a:pt x="68389" y="1804415"/>
                </a:lnTo>
                <a:lnTo>
                  <a:pt x="66941" y="1800987"/>
                </a:lnTo>
                <a:lnTo>
                  <a:pt x="65493" y="1797685"/>
                </a:lnTo>
                <a:close/>
              </a:path>
              <a:path w="2843529" h="2816225">
                <a:moveTo>
                  <a:pt x="2180971" y="2607055"/>
                </a:moveTo>
                <a:lnTo>
                  <a:pt x="2177541" y="2608453"/>
                </a:lnTo>
                <a:lnTo>
                  <a:pt x="2173224" y="2612390"/>
                </a:lnTo>
                <a:lnTo>
                  <a:pt x="2169922" y="2613786"/>
                </a:lnTo>
                <a:lnTo>
                  <a:pt x="2176653" y="2624835"/>
                </a:lnTo>
                <a:lnTo>
                  <a:pt x="2180971" y="2621026"/>
                </a:lnTo>
                <a:lnTo>
                  <a:pt x="2184273" y="2619502"/>
                </a:lnTo>
                <a:lnTo>
                  <a:pt x="2187702" y="2618104"/>
                </a:lnTo>
                <a:lnTo>
                  <a:pt x="2180971" y="2607055"/>
                </a:lnTo>
                <a:close/>
              </a:path>
              <a:path w="2843529" h="2816225">
                <a:moveTo>
                  <a:pt x="51955" y="1747646"/>
                </a:moveTo>
                <a:lnTo>
                  <a:pt x="40411" y="1748663"/>
                </a:lnTo>
                <a:lnTo>
                  <a:pt x="40906" y="1754377"/>
                </a:lnTo>
                <a:lnTo>
                  <a:pt x="42354" y="1757806"/>
                </a:lnTo>
                <a:lnTo>
                  <a:pt x="43802" y="1761108"/>
                </a:lnTo>
                <a:lnTo>
                  <a:pt x="55346" y="1760092"/>
                </a:lnTo>
                <a:lnTo>
                  <a:pt x="54851" y="1754377"/>
                </a:lnTo>
                <a:lnTo>
                  <a:pt x="53403" y="1750949"/>
                </a:lnTo>
                <a:lnTo>
                  <a:pt x="51955" y="1747646"/>
                </a:lnTo>
                <a:close/>
              </a:path>
              <a:path w="2843529" h="2816225">
                <a:moveTo>
                  <a:pt x="2222754" y="2579116"/>
                </a:moveTo>
                <a:lnTo>
                  <a:pt x="2221738" y="2581529"/>
                </a:lnTo>
                <a:lnTo>
                  <a:pt x="2218436" y="2582926"/>
                </a:lnTo>
                <a:lnTo>
                  <a:pt x="2214117" y="2586735"/>
                </a:lnTo>
                <a:lnTo>
                  <a:pt x="2221865" y="2595498"/>
                </a:lnTo>
                <a:lnTo>
                  <a:pt x="2225166" y="2593974"/>
                </a:lnTo>
                <a:lnTo>
                  <a:pt x="2228596" y="2592578"/>
                </a:lnTo>
                <a:lnTo>
                  <a:pt x="2232914" y="2588641"/>
                </a:lnTo>
                <a:lnTo>
                  <a:pt x="2222754" y="2579116"/>
                </a:lnTo>
                <a:close/>
              </a:path>
              <a:path w="2843529" h="2816225">
                <a:moveTo>
                  <a:pt x="41782" y="1696212"/>
                </a:moveTo>
                <a:lnTo>
                  <a:pt x="29273" y="1699514"/>
                </a:lnTo>
                <a:lnTo>
                  <a:pt x="30721" y="1702942"/>
                </a:lnTo>
                <a:lnTo>
                  <a:pt x="28803" y="1707768"/>
                </a:lnTo>
                <a:lnTo>
                  <a:pt x="30251" y="1711070"/>
                </a:lnTo>
                <a:lnTo>
                  <a:pt x="45173" y="1708657"/>
                </a:lnTo>
                <a:lnTo>
                  <a:pt x="43726" y="1705355"/>
                </a:lnTo>
                <a:lnTo>
                  <a:pt x="42278" y="1701927"/>
                </a:lnTo>
                <a:lnTo>
                  <a:pt x="41782" y="1696212"/>
                </a:lnTo>
                <a:close/>
              </a:path>
              <a:path w="2843529" h="2816225">
                <a:moveTo>
                  <a:pt x="2265553" y="2548763"/>
                </a:moveTo>
                <a:lnTo>
                  <a:pt x="2262124" y="2550160"/>
                </a:lnTo>
                <a:lnTo>
                  <a:pt x="2257805" y="2553970"/>
                </a:lnTo>
                <a:lnTo>
                  <a:pt x="2256916" y="2556383"/>
                </a:lnTo>
                <a:lnTo>
                  <a:pt x="2263648" y="2567432"/>
                </a:lnTo>
                <a:lnTo>
                  <a:pt x="2267966" y="2563622"/>
                </a:lnTo>
                <a:lnTo>
                  <a:pt x="2268982" y="2561209"/>
                </a:lnTo>
                <a:lnTo>
                  <a:pt x="2273300" y="2557398"/>
                </a:lnTo>
                <a:lnTo>
                  <a:pt x="2265553" y="2548763"/>
                </a:lnTo>
                <a:close/>
              </a:path>
              <a:path w="2843529" h="2816225">
                <a:moveTo>
                  <a:pt x="31610" y="1644650"/>
                </a:moveTo>
                <a:lnTo>
                  <a:pt x="19100" y="1648078"/>
                </a:lnTo>
                <a:lnTo>
                  <a:pt x="20548" y="1651380"/>
                </a:lnTo>
                <a:lnTo>
                  <a:pt x="21043" y="1657223"/>
                </a:lnTo>
                <a:lnTo>
                  <a:pt x="22491" y="1660525"/>
                </a:lnTo>
                <a:lnTo>
                  <a:pt x="34035" y="1659636"/>
                </a:lnTo>
                <a:lnTo>
                  <a:pt x="33553" y="1653793"/>
                </a:lnTo>
                <a:lnTo>
                  <a:pt x="32092" y="1650491"/>
                </a:lnTo>
                <a:lnTo>
                  <a:pt x="31610" y="1644650"/>
                </a:lnTo>
                <a:close/>
              </a:path>
              <a:path w="2843529" h="2816225">
                <a:moveTo>
                  <a:pt x="2305939" y="2517393"/>
                </a:moveTo>
                <a:lnTo>
                  <a:pt x="2302510" y="2518791"/>
                </a:lnTo>
                <a:lnTo>
                  <a:pt x="2300604" y="2523616"/>
                </a:lnTo>
                <a:lnTo>
                  <a:pt x="2297303" y="2525141"/>
                </a:lnTo>
                <a:lnTo>
                  <a:pt x="2304923" y="2533777"/>
                </a:lnTo>
                <a:lnTo>
                  <a:pt x="2308352" y="2532253"/>
                </a:lnTo>
                <a:lnTo>
                  <a:pt x="2311654" y="2530855"/>
                </a:lnTo>
                <a:lnTo>
                  <a:pt x="2315972" y="2527046"/>
                </a:lnTo>
                <a:lnTo>
                  <a:pt x="2305939" y="2517393"/>
                </a:lnTo>
                <a:close/>
              </a:path>
              <a:path w="2843529" h="2816225">
                <a:moveTo>
                  <a:pt x="23837" y="1594230"/>
                </a:moveTo>
                <a:lnTo>
                  <a:pt x="11341" y="1597532"/>
                </a:lnTo>
                <a:lnTo>
                  <a:pt x="12788" y="1600962"/>
                </a:lnTo>
                <a:lnTo>
                  <a:pt x="14236" y="1604264"/>
                </a:lnTo>
                <a:lnTo>
                  <a:pt x="14719" y="1610105"/>
                </a:lnTo>
                <a:lnTo>
                  <a:pt x="27228" y="1606677"/>
                </a:lnTo>
                <a:lnTo>
                  <a:pt x="25781" y="1603375"/>
                </a:lnTo>
                <a:lnTo>
                  <a:pt x="24333" y="1599945"/>
                </a:lnTo>
                <a:lnTo>
                  <a:pt x="23837" y="1594230"/>
                </a:lnTo>
                <a:close/>
              </a:path>
              <a:path w="2843529" h="2816225">
                <a:moveTo>
                  <a:pt x="2347214" y="2483611"/>
                </a:moveTo>
                <a:lnTo>
                  <a:pt x="2342896" y="2487548"/>
                </a:lnTo>
                <a:lnTo>
                  <a:pt x="2339593" y="2488946"/>
                </a:lnTo>
                <a:lnTo>
                  <a:pt x="2335276" y="2492755"/>
                </a:lnTo>
                <a:lnTo>
                  <a:pt x="2345308" y="2502408"/>
                </a:lnTo>
                <a:lnTo>
                  <a:pt x="2349627" y="2498597"/>
                </a:lnTo>
                <a:lnTo>
                  <a:pt x="2350642" y="2496185"/>
                </a:lnTo>
                <a:lnTo>
                  <a:pt x="2354961" y="2492247"/>
                </a:lnTo>
                <a:lnTo>
                  <a:pt x="2347214" y="2483611"/>
                </a:lnTo>
                <a:close/>
              </a:path>
              <a:path w="2843529" h="2816225">
                <a:moveTo>
                  <a:pt x="18478" y="1544574"/>
                </a:moveTo>
                <a:lnTo>
                  <a:pt x="6934" y="1545589"/>
                </a:lnTo>
                <a:lnTo>
                  <a:pt x="8381" y="1549018"/>
                </a:lnTo>
                <a:lnTo>
                  <a:pt x="6464" y="1553717"/>
                </a:lnTo>
                <a:lnTo>
                  <a:pt x="7912" y="1557146"/>
                </a:lnTo>
                <a:lnTo>
                  <a:pt x="19456" y="1556130"/>
                </a:lnTo>
                <a:lnTo>
                  <a:pt x="20421" y="1553717"/>
                </a:lnTo>
                <a:lnTo>
                  <a:pt x="19926" y="1548002"/>
                </a:lnTo>
                <a:lnTo>
                  <a:pt x="18478" y="1544574"/>
                </a:lnTo>
                <a:close/>
              </a:path>
              <a:path w="2843529" h="2816225">
                <a:moveTo>
                  <a:pt x="2383790" y="2447924"/>
                </a:moveTo>
                <a:lnTo>
                  <a:pt x="2381885" y="2452751"/>
                </a:lnTo>
                <a:lnTo>
                  <a:pt x="2378455" y="2454274"/>
                </a:lnTo>
                <a:lnTo>
                  <a:pt x="2374138" y="2458085"/>
                </a:lnTo>
                <a:lnTo>
                  <a:pt x="2384298" y="2467736"/>
                </a:lnTo>
                <a:lnTo>
                  <a:pt x="2386203" y="2462910"/>
                </a:lnTo>
                <a:lnTo>
                  <a:pt x="2389504" y="2461514"/>
                </a:lnTo>
                <a:lnTo>
                  <a:pt x="2393950" y="2457577"/>
                </a:lnTo>
                <a:lnTo>
                  <a:pt x="2383790" y="2447924"/>
                </a:lnTo>
                <a:close/>
              </a:path>
              <a:path w="2843529" h="2816225">
                <a:moveTo>
                  <a:pt x="16484" y="1493646"/>
                </a:moveTo>
                <a:lnTo>
                  <a:pt x="2540" y="1493646"/>
                </a:lnTo>
                <a:lnTo>
                  <a:pt x="3987" y="1496949"/>
                </a:lnTo>
                <a:lnTo>
                  <a:pt x="4470" y="1502790"/>
                </a:lnTo>
                <a:lnTo>
                  <a:pt x="3517" y="1505203"/>
                </a:lnTo>
                <a:lnTo>
                  <a:pt x="17462" y="1505203"/>
                </a:lnTo>
                <a:lnTo>
                  <a:pt x="16014" y="1501775"/>
                </a:lnTo>
                <a:lnTo>
                  <a:pt x="15532" y="1496060"/>
                </a:lnTo>
                <a:lnTo>
                  <a:pt x="16484" y="1493646"/>
                </a:lnTo>
                <a:close/>
              </a:path>
              <a:path w="2843529" h="2816225">
                <a:moveTo>
                  <a:pt x="2422652" y="2413254"/>
                </a:moveTo>
                <a:lnTo>
                  <a:pt x="2418333" y="2417191"/>
                </a:lnTo>
                <a:lnTo>
                  <a:pt x="2415031" y="2418588"/>
                </a:lnTo>
                <a:lnTo>
                  <a:pt x="2413127" y="2423414"/>
                </a:lnTo>
                <a:lnTo>
                  <a:pt x="2420746" y="2432049"/>
                </a:lnTo>
                <a:lnTo>
                  <a:pt x="2425191" y="2428240"/>
                </a:lnTo>
                <a:lnTo>
                  <a:pt x="2426080" y="2425827"/>
                </a:lnTo>
                <a:lnTo>
                  <a:pt x="2430399" y="2421890"/>
                </a:lnTo>
                <a:lnTo>
                  <a:pt x="2422652" y="2413254"/>
                </a:lnTo>
                <a:close/>
              </a:path>
              <a:path w="2843529" h="2816225">
                <a:moveTo>
                  <a:pt x="14490" y="1442592"/>
                </a:moveTo>
                <a:lnTo>
                  <a:pt x="546" y="1442592"/>
                </a:lnTo>
                <a:lnTo>
                  <a:pt x="1993" y="1446021"/>
                </a:lnTo>
                <a:lnTo>
                  <a:pt x="76" y="1450848"/>
                </a:lnTo>
                <a:lnTo>
                  <a:pt x="1524" y="1454150"/>
                </a:lnTo>
                <a:lnTo>
                  <a:pt x="15468" y="1454150"/>
                </a:lnTo>
                <a:lnTo>
                  <a:pt x="14020" y="1450848"/>
                </a:lnTo>
                <a:lnTo>
                  <a:pt x="13538" y="1445005"/>
                </a:lnTo>
                <a:lnTo>
                  <a:pt x="14490" y="1442592"/>
                </a:lnTo>
                <a:close/>
              </a:path>
              <a:path w="2843529" h="2816225">
                <a:moveTo>
                  <a:pt x="2456815" y="2376678"/>
                </a:moveTo>
                <a:lnTo>
                  <a:pt x="2453513" y="2378074"/>
                </a:lnTo>
                <a:lnTo>
                  <a:pt x="2451480" y="2382901"/>
                </a:lnTo>
                <a:lnTo>
                  <a:pt x="2448179" y="2384424"/>
                </a:lnTo>
                <a:lnTo>
                  <a:pt x="2458339" y="2393949"/>
                </a:lnTo>
                <a:lnTo>
                  <a:pt x="2459228" y="2391536"/>
                </a:lnTo>
                <a:lnTo>
                  <a:pt x="2467864" y="2383916"/>
                </a:lnTo>
                <a:lnTo>
                  <a:pt x="2456815" y="2376678"/>
                </a:lnTo>
                <a:close/>
              </a:path>
              <a:path w="2843529" h="2816225">
                <a:moveTo>
                  <a:pt x="15862" y="1390141"/>
                </a:moveTo>
                <a:lnTo>
                  <a:pt x="1917" y="1390141"/>
                </a:lnTo>
                <a:lnTo>
                  <a:pt x="0" y="1394967"/>
                </a:lnTo>
                <a:lnTo>
                  <a:pt x="1447" y="1398396"/>
                </a:lnTo>
                <a:lnTo>
                  <a:pt x="1930" y="1404112"/>
                </a:lnTo>
                <a:lnTo>
                  <a:pt x="13474" y="1403095"/>
                </a:lnTo>
                <a:lnTo>
                  <a:pt x="15392" y="1398396"/>
                </a:lnTo>
                <a:lnTo>
                  <a:pt x="13944" y="1394967"/>
                </a:lnTo>
                <a:lnTo>
                  <a:pt x="15862" y="1390141"/>
                </a:lnTo>
                <a:close/>
              </a:path>
              <a:path w="2843529" h="2816225">
                <a:moveTo>
                  <a:pt x="2491866" y="2337689"/>
                </a:moveTo>
                <a:lnTo>
                  <a:pt x="2487549" y="2341498"/>
                </a:lnTo>
                <a:lnTo>
                  <a:pt x="2486660" y="2343911"/>
                </a:lnTo>
                <a:lnTo>
                  <a:pt x="2482341" y="2347722"/>
                </a:lnTo>
                <a:lnTo>
                  <a:pt x="2493391" y="2354960"/>
                </a:lnTo>
                <a:lnTo>
                  <a:pt x="2494279" y="2352547"/>
                </a:lnTo>
                <a:lnTo>
                  <a:pt x="2498598" y="2348738"/>
                </a:lnTo>
                <a:lnTo>
                  <a:pt x="2499614" y="2346324"/>
                </a:lnTo>
                <a:lnTo>
                  <a:pt x="2491866" y="2337689"/>
                </a:lnTo>
                <a:close/>
              </a:path>
              <a:path w="2843529" h="2816225">
                <a:moveTo>
                  <a:pt x="3289" y="1337690"/>
                </a:moveTo>
                <a:lnTo>
                  <a:pt x="3771" y="1343532"/>
                </a:lnTo>
                <a:lnTo>
                  <a:pt x="2819" y="1345945"/>
                </a:lnTo>
                <a:lnTo>
                  <a:pt x="3302" y="1351661"/>
                </a:lnTo>
                <a:lnTo>
                  <a:pt x="14859" y="1350644"/>
                </a:lnTo>
                <a:lnTo>
                  <a:pt x="15811" y="1348358"/>
                </a:lnTo>
                <a:lnTo>
                  <a:pt x="15328" y="1342516"/>
                </a:lnTo>
                <a:lnTo>
                  <a:pt x="16281" y="1340103"/>
                </a:lnTo>
                <a:lnTo>
                  <a:pt x="3289" y="1337690"/>
                </a:lnTo>
                <a:close/>
              </a:path>
              <a:path w="2843529" h="2816225">
                <a:moveTo>
                  <a:pt x="2524505" y="2297684"/>
                </a:moveTo>
                <a:lnTo>
                  <a:pt x="2520188" y="2301493"/>
                </a:lnTo>
                <a:lnTo>
                  <a:pt x="2519299" y="2303907"/>
                </a:lnTo>
                <a:lnTo>
                  <a:pt x="2514980" y="2307843"/>
                </a:lnTo>
                <a:lnTo>
                  <a:pt x="2526029" y="2314955"/>
                </a:lnTo>
                <a:lnTo>
                  <a:pt x="2529331" y="2313559"/>
                </a:lnTo>
                <a:lnTo>
                  <a:pt x="2531364" y="2308733"/>
                </a:lnTo>
                <a:lnTo>
                  <a:pt x="2535681" y="2304922"/>
                </a:lnTo>
                <a:lnTo>
                  <a:pt x="2524505" y="2297684"/>
                </a:lnTo>
                <a:close/>
              </a:path>
              <a:path w="2843529" h="2816225">
                <a:moveTo>
                  <a:pt x="7061" y="1286255"/>
                </a:moveTo>
                <a:lnTo>
                  <a:pt x="7556" y="1291970"/>
                </a:lnTo>
                <a:lnTo>
                  <a:pt x="6591" y="1294383"/>
                </a:lnTo>
                <a:lnTo>
                  <a:pt x="7086" y="1300226"/>
                </a:lnTo>
                <a:lnTo>
                  <a:pt x="18630" y="1299210"/>
                </a:lnTo>
                <a:lnTo>
                  <a:pt x="19596" y="1296796"/>
                </a:lnTo>
                <a:lnTo>
                  <a:pt x="19100" y="1291081"/>
                </a:lnTo>
                <a:lnTo>
                  <a:pt x="20065" y="1288668"/>
                </a:lnTo>
                <a:lnTo>
                  <a:pt x="7061" y="1286255"/>
                </a:lnTo>
                <a:close/>
              </a:path>
              <a:path w="2843529" h="2816225">
                <a:moveTo>
                  <a:pt x="2554858" y="2256663"/>
                </a:moveTo>
                <a:lnTo>
                  <a:pt x="2552954" y="2261489"/>
                </a:lnTo>
                <a:lnTo>
                  <a:pt x="2549525" y="2263013"/>
                </a:lnTo>
                <a:lnTo>
                  <a:pt x="2547619" y="2267839"/>
                </a:lnTo>
                <a:lnTo>
                  <a:pt x="2558668" y="2274951"/>
                </a:lnTo>
                <a:lnTo>
                  <a:pt x="2560574" y="2270252"/>
                </a:lnTo>
                <a:lnTo>
                  <a:pt x="2564003" y="2268728"/>
                </a:lnTo>
                <a:lnTo>
                  <a:pt x="2565907" y="2263902"/>
                </a:lnTo>
                <a:lnTo>
                  <a:pt x="2554858" y="2256663"/>
                </a:lnTo>
                <a:close/>
              </a:path>
              <a:path w="2843529" h="2816225">
                <a:moveTo>
                  <a:pt x="13258" y="1235710"/>
                </a:moveTo>
                <a:lnTo>
                  <a:pt x="12293" y="1238123"/>
                </a:lnTo>
                <a:lnTo>
                  <a:pt x="12788" y="1243838"/>
                </a:lnTo>
                <a:lnTo>
                  <a:pt x="10871" y="1248664"/>
                </a:lnTo>
                <a:lnTo>
                  <a:pt x="24815" y="1248664"/>
                </a:lnTo>
                <a:lnTo>
                  <a:pt x="25781" y="1246251"/>
                </a:lnTo>
                <a:lnTo>
                  <a:pt x="25285" y="1240536"/>
                </a:lnTo>
                <a:lnTo>
                  <a:pt x="26250" y="1238123"/>
                </a:lnTo>
                <a:lnTo>
                  <a:pt x="13258" y="1235710"/>
                </a:lnTo>
                <a:close/>
              </a:path>
              <a:path w="2843529" h="2816225">
                <a:moveTo>
                  <a:pt x="2585085" y="2215768"/>
                </a:moveTo>
                <a:lnTo>
                  <a:pt x="2581655" y="2217292"/>
                </a:lnTo>
                <a:lnTo>
                  <a:pt x="2579751" y="2221991"/>
                </a:lnTo>
                <a:lnTo>
                  <a:pt x="2578862" y="2224404"/>
                </a:lnTo>
                <a:lnTo>
                  <a:pt x="2588894" y="2234057"/>
                </a:lnTo>
                <a:lnTo>
                  <a:pt x="2590927" y="2229230"/>
                </a:lnTo>
                <a:lnTo>
                  <a:pt x="2592831" y="2224404"/>
                </a:lnTo>
                <a:lnTo>
                  <a:pt x="2596133" y="2223008"/>
                </a:lnTo>
                <a:lnTo>
                  <a:pt x="2585085" y="2215768"/>
                </a:lnTo>
                <a:close/>
              </a:path>
              <a:path w="2843529" h="2816225">
                <a:moveTo>
                  <a:pt x="20396" y="1182751"/>
                </a:moveTo>
                <a:lnTo>
                  <a:pt x="20891" y="1188592"/>
                </a:lnTo>
                <a:lnTo>
                  <a:pt x="18973" y="1193291"/>
                </a:lnTo>
                <a:lnTo>
                  <a:pt x="20421" y="1196720"/>
                </a:lnTo>
                <a:lnTo>
                  <a:pt x="31013" y="1198117"/>
                </a:lnTo>
                <a:lnTo>
                  <a:pt x="33883" y="1190878"/>
                </a:lnTo>
                <a:lnTo>
                  <a:pt x="33400" y="1185164"/>
                </a:lnTo>
                <a:lnTo>
                  <a:pt x="20396" y="1182751"/>
                </a:lnTo>
                <a:close/>
              </a:path>
              <a:path w="2843529" h="2816225">
                <a:moveTo>
                  <a:pt x="2613914" y="2171446"/>
                </a:moveTo>
                <a:lnTo>
                  <a:pt x="2609595" y="2175383"/>
                </a:lnTo>
                <a:lnTo>
                  <a:pt x="2608579" y="2177796"/>
                </a:lnTo>
                <a:lnTo>
                  <a:pt x="2606675" y="2182495"/>
                </a:lnTo>
                <a:lnTo>
                  <a:pt x="2617724" y="2189734"/>
                </a:lnTo>
                <a:lnTo>
                  <a:pt x="2619629" y="2184908"/>
                </a:lnTo>
                <a:lnTo>
                  <a:pt x="2620644" y="2182495"/>
                </a:lnTo>
                <a:lnTo>
                  <a:pt x="2624963" y="2178685"/>
                </a:lnTo>
                <a:lnTo>
                  <a:pt x="2613914" y="2171446"/>
                </a:lnTo>
                <a:close/>
              </a:path>
              <a:path w="2843529" h="2816225">
                <a:moveTo>
                  <a:pt x="31407" y="1134110"/>
                </a:moveTo>
                <a:lnTo>
                  <a:pt x="28524" y="1141349"/>
                </a:lnTo>
                <a:lnTo>
                  <a:pt x="29019" y="1147190"/>
                </a:lnTo>
                <a:lnTo>
                  <a:pt x="39598" y="1148588"/>
                </a:lnTo>
                <a:lnTo>
                  <a:pt x="44399" y="1136523"/>
                </a:lnTo>
                <a:lnTo>
                  <a:pt x="31407" y="1134110"/>
                </a:lnTo>
                <a:close/>
              </a:path>
              <a:path w="2843529" h="2816225">
                <a:moveTo>
                  <a:pt x="2639314" y="2128647"/>
                </a:moveTo>
                <a:lnTo>
                  <a:pt x="2638425" y="2131060"/>
                </a:lnTo>
                <a:lnTo>
                  <a:pt x="2636519" y="2135885"/>
                </a:lnTo>
                <a:lnTo>
                  <a:pt x="2632075" y="2139696"/>
                </a:lnTo>
                <a:lnTo>
                  <a:pt x="2644140" y="2144522"/>
                </a:lnTo>
                <a:lnTo>
                  <a:pt x="2645155" y="2142109"/>
                </a:lnTo>
                <a:lnTo>
                  <a:pt x="2649474" y="2138172"/>
                </a:lnTo>
                <a:lnTo>
                  <a:pt x="2651379" y="2133472"/>
                </a:lnTo>
                <a:lnTo>
                  <a:pt x="2639314" y="2128647"/>
                </a:lnTo>
                <a:close/>
              </a:path>
              <a:path w="2843529" h="2816225">
                <a:moveTo>
                  <a:pt x="43357" y="1083182"/>
                </a:moveTo>
                <a:lnTo>
                  <a:pt x="42405" y="1085595"/>
                </a:lnTo>
                <a:lnTo>
                  <a:pt x="40487" y="1090294"/>
                </a:lnTo>
                <a:lnTo>
                  <a:pt x="38569" y="1095120"/>
                </a:lnTo>
                <a:lnTo>
                  <a:pt x="51562" y="1097533"/>
                </a:lnTo>
                <a:lnTo>
                  <a:pt x="56362" y="1085468"/>
                </a:lnTo>
                <a:lnTo>
                  <a:pt x="43357" y="1083182"/>
                </a:lnTo>
                <a:close/>
              </a:path>
              <a:path w="2843529" h="2816225">
                <a:moveTo>
                  <a:pt x="2665729" y="2083308"/>
                </a:moveTo>
                <a:lnTo>
                  <a:pt x="2661412" y="2087245"/>
                </a:lnTo>
                <a:lnTo>
                  <a:pt x="2660395" y="2089658"/>
                </a:lnTo>
                <a:lnTo>
                  <a:pt x="2658491" y="2094483"/>
                </a:lnTo>
                <a:lnTo>
                  <a:pt x="2670555" y="2099183"/>
                </a:lnTo>
                <a:lnTo>
                  <a:pt x="2671571" y="2096770"/>
                </a:lnTo>
                <a:lnTo>
                  <a:pt x="2673477" y="2091943"/>
                </a:lnTo>
                <a:lnTo>
                  <a:pt x="2675381" y="2087245"/>
                </a:lnTo>
                <a:lnTo>
                  <a:pt x="2665729" y="2083308"/>
                </a:lnTo>
                <a:close/>
              </a:path>
              <a:path w="2843529" h="2816225">
                <a:moveTo>
                  <a:pt x="55321" y="1032128"/>
                </a:moveTo>
                <a:lnTo>
                  <a:pt x="53403" y="1036954"/>
                </a:lnTo>
                <a:lnTo>
                  <a:pt x="54851" y="1040256"/>
                </a:lnTo>
                <a:lnTo>
                  <a:pt x="52933" y="1045082"/>
                </a:lnTo>
                <a:lnTo>
                  <a:pt x="65925" y="1047495"/>
                </a:lnTo>
                <a:lnTo>
                  <a:pt x="66890" y="1045082"/>
                </a:lnTo>
                <a:lnTo>
                  <a:pt x="66395" y="1039367"/>
                </a:lnTo>
                <a:lnTo>
                  <a:pt x="68313" y="1034541"/>
                </a:lnTo>
                <a:lnTo>
                  <a:pt x="55321" y="1032128"/>
                </a:lnTo>
                <a:close/>
              </a:path>
              <a:path w="2843529" h="2816225">
                <a:moveTo>
                  <a:pt x="2687319" y="2036190"/>
                </a:moveTo>
                <a:lnTo>
                  <a:pt x="2685415" y="2041016"/>
                </a:lnTo>
                <a:lnTo>
                  <a:pt x="2684399" y="2043429"/>
                </a:lnTo>
                <a:lnTo>
                  <a:pt x="2682493" y="2048255"/>
                </a:lnTo>
                <a:lnTo>
                  <a:pt x="2693669" y="2055367"/>
                </a:lnTo>
                <a:lnTo>
                  <a:pt x="2697479" y="2045715"/>
                </a:lnTo>
                <a:lnTo>
                  <a:pt x="2698368" y="2043302"/>
                </a:lnTo>
                <a:lnTo>
                  <a:pt x="2687319" y="2036190"/>
                </a:lnTo>
                <a:close/>
              </a:path>
              <a:path w="2843529" h="2816225">
                <a:moveTo>
                  <a:pt x="72097" y="982979"/>
                </a:moveTo>
                <a:lnTo>
                  <a:pt x="67309" y="995044"/>
                </a:lnTo>
                <a:lnTo>
                  <a:pt x="79336" y="999870"/>
                </a:lnTo>
                <a:lnTo>
                  <a:pt x="84137" y="987805"/>
                </a:lnTo>
                <a:lnTo>
                  <a:pt x="72097" y="982979"/>
                </a:lnTo>
                <a:close/>
              </a:path>
              <a:path w="2843529" h="2816225">
                <a:moveTo>
                  <a:pt x="2708910" y="1988946"/>
                </a:moveTo>
                <a:lnTo>
                  <a:pt x="2705100" y="1998598"/>
                </a:lnTo>
                <a:lnTo>
                  <a:pt x="2704083" y="2001011"/>
                </a:lnTo>
                <a:lnTo>
                  <a:pt x="2715260" y="2008251"/>
                </a:lnTo>
                <a:lnTo>
                  <a:pt x="2719069" y="1998598"/>
                </a:lnTo>
                <a:lnTo>
                  <a:pt x="2719958" y="1996185"/>
                </a:lnTo>
                <a:lnTo>
                  <a:pt x="2708910" y="1988946"/>
                </a:lnTo>
                <a:close/>
              </a:path>
              <a:path w="2843529" h="2816225">
                <a:moveTo>
                  <a:pt x="88874" y="933957"/>
                </a:moveTo>
                <a:lnTo>
                  <a:pt x="85991" y="941069"/>
                </a:lnTo>
                <a:lnTo>
                  <a:pt x="84074" y="945895"/>
                </a:lnTo>
                <a:lnTo>
                  <a:pt x="96113" y="950721"/>
                </a:lnTo>
                <a:lnTo>
                  <a:pt x="100914" y="938656"/>
                </a:lnTo>
                <a:lnTo>
                  <a:pt x="88874" y="933957"/>
                </a:lnTo>
                <a:close/>
              </a:path>
              <a:path w="2843529" h="2816225">
                <a:moveTo>
                  <a:pt x="2730500" y="1941829"/>
                </a:moveTo>
                <a:lnTo>
                  <a:pt x="2729611" y="1944242"/>
                </a:lnTo>
                <a:lnTo>
                  <a:pt x="2728594" y="1946655"/>
                </a:lnTo>
                <a:lnTo>
                  <a:pt x="2726690" y="1951482"/>
                </a:lnTo>
                <a:lnTo>
                  <a:pt x="2724785" y="1956180"/>
                </a:lnTo>
                <a:lnTo>
                  <a:pt x="2736850" y="1961007"/>
                </a:lnTo>
                <a:lnTo>
                  <a:pt x="2737739" y="1958593"/>
                </a:lnTo>
                <a:lnTo>
                  <a:pt x="2738754" y="1956180"/>
                </a:lnTo>
                <a:lnTo>
                  <a:pt x="2739643" y="1953767"/>
                </a:lnTo>
                <a:lnTo>
                  <a:pt x="2742565" y="1946528"/>
                </a:lnTo>
                <a:lnTo>
                  <a:pt x="2730500" y="1941829"/>
                </a:lnTo>
                <a:close/>
              </a:path>
              <a:path w="2843529" h="2816225">
                <a:moveTo>
                  <a:pt x="105651" y="884808"/>
                </a:moveTo>
                <a:lnTo>
                  <a:pt x="100850" y="896874"/>
                </a:lnTo>
                <a:lnTo>
                  <a:pt x="112890" y="901573"/>
                </a:lnTo>
                <a:lnTo>
                  <a:pt x="115773" y="894461"/>
                </a:lnTo>
                <a:lnTo>
                  <a:pt x="117690" y="889635"/>
                </a:lnTo>
                <a:lnTo>
                  <a:pt x="105651" y="884808"/>
                </a:lnTo>
                <a:close/>
              </a:path>
              <a:path w="2843529" h="2816225">
                <a:moveTo>
                  <a:pt x="2747264" y="1892680"/>
                </a:moveTo>
                <a:lnTo>
                  <a:pt x="2746375" y="1895093"/>
                </a:lnTo>
                <a:lnTo>
                  <a:pt x="2744469" y="1899920"/>
                </a:lnTo>
                <a:lnTo>
                  <a:pt x="2742438" y="1904745"/>
                </a:lnTo>
                <a:lnTo>
                  <a:pt x="2754503" y="1909571"/>
                </a:lnTo>
                <a:lnTo>
                  <a:pt x="2758313" y="1899920"/>
                </a:lnTo>
                <a:lnTo>
                  <a:pt x="2759329" y="1897507"/>
                </a:lnTo>
                <a:lnTo>
                  <a:pt x="2747264" y="1892680"/>
                </a:lnTo>
                <a:close/>
              </a:path>
              <a:path w="2843529" h="2816225">
                <a:moveTo>
                  <a:pt x="127241" y="837564"/>
                </a:moveTo>
                <a:lnTo>
                  <a:pt x="122440" y="849629"/>
                </a:lnTo>
                <a:lnTo>
                  <a:pt x="134480" y="854455"/>
                </a:lnTo>
                <a:lnTo>
                  <a:pt x="139280" y="842390"/>
                </a:lnTo>
                <a:lnTo>
                  <a:pt x="127241" y="837564"/>
                </a:lnTo>
                <a:close/>
              </a:path>
              <a:path w="2843529" h="2816225">
                <a:moveTo>
                  <a:pt x="2764028" y="1843531"/>
                </a:moveTo>
                <a:lnTo>
                  <a:pt x="2762123" y="1848357"/>
                </a:lnTo>
                <a:lnTo>
                  <a:pt x="2761233" y="1850770"/>
                </a:lnTo>
                <a:lnTo>
                  <a:pt x="2761615" y="1856613"/>
                </a:lnTo>
                <a:lnTo>
                  <a:pt x="2773679" y="1861312"/>
                </a:lnTo>
                <a:lnTo>
                  <a:pt x="2773171" y="1855596"/>
                </a:lnTo>
                <a:lnTo>
                  <a:pt x="2775077" y="1850770"/>
                </a:lnTo>
                <a:lnTo>
                  <a:pt x="2776092" y="1848357"/>
                </a:lnTo>
                <a:lnTo>
                  <a:pt x="2764028" y="1843531"/>
                </a:lnTo>
                <a:close/>
              </a:path>
              <a:path w="2843529" h="2816225">
                <a:moveTo>
                  <a:pt x="148831" y="790448"/>
                </a:moveTo>
                <a:lnTo>
                  <a:pt x="144030" y="802513"/>
                </a:lnTo>
                <a:lnTo>
                  <a:pt x="156070" y="807212"/>
                </a:lnTo>
                <a:lnTo>
                  <a:pt x="158953" y="799973"/>
                </a:lnTo>
                <a:lnTo>
                  <a:pt x="160870" y="795274"/>
                </a:lnTo>
                <a:lnTo>
                  <a:pt x="148831" y="790448"/>
                </a:lnTo>
                <a:close/>
              </a:path>
              <a:path w="2843529" h="2816225">
                <a:moveTo>
                  <a:pt x="2778379" y="1793493"/>
                </a:moveTo>
                <a:lnTo>
                  <a:pt x="2778887" y="1799336"/>
                </a:lnTo>
                <a:lnTo>
                  <a:pt x="2776981" y="1804162"/>
                </a:lnTo>
                <a:lnTo>
                  <a:pt x="2776092" y="1806575"/>
                </a:lnTo>
                <a:lnTo>
                  <a:pt x="2788030" y="1811274"/>
                </a:lnTo>
                <a:lnTo>
                  <a:pt x="2789046" y="1808861"/>
                </a:lnTo>
                <a:lnTo>
                  <a:pt x="2789936" y="1806448"/>
                </a:lnTo>
                <a:lnTo>
                  <a:pt x="2785617" y="1796414"/>
                </a:lnTo>
                <a:lnTo>
                  <a:pt x="2778379" y="1793493"/>
                </a:lnTo>
                <a:close/>
              </a:path>
              <a:path w="2843529" h="2816225">
                <a:moveTo>
                  <a:pt x="172821" y="744219"/>
                </a:moveTo>
                <a:lnTo>
                  <a:pt x="168033" y="756285"/>
                </a:lnTo>
                <a:lnTo>
                  <a:pt x="179108" y="763396"/>
                </a:lnTo>
                <a:lnTo>
                  <a:pt x="182943" y="753744"/>
                </a:lnTo>
                <a:lnTo>
                  <a:pt x="183908" y="751458"/>
                </a:lnTo>
                <a:lnTo>
                  <a:pt x="172821" y="744219"/>
                </a:lnTo>
                <a:close/>
              </a:path>
              <a:path w="2843529" h="2816225">
                <a:moveTo>
                  <a:pt x="2791841" y="1745868"/>
                </a:moveTo>
                <a:lnTo>
                  <a:pt x="2790825" y="1748281"/>
                </a:lnTo>
                <a:lnTo>
                  <a:pt x="2789936" y="1750694"/>
                </a:lnTo>
                <a:lnTo>
                  <a:pt x="2788919" y="1753107"/>
                </a:lnTo>
                <a:lnTo>
                  <a:pt x="2788030" y="1755520"/>
                </a:lnTo>
                <a:lnTo>
                  <a:pt x="2790443" y="1756410"/>
                </a:lnTo>
                <a:lnTo>
                  <a:pt x="2800095" y="1760346"/>
                </a:lnTo>
                <a:lnTo>
                  <a:pt x="2803905" y="1750694"/>
                </a:lnTo>
                <a:lnTo>
                  <a:pt x="2804794" y="1748281"/>
                </a:lnTo>
                <a:lnTo>
                  <a:pt x="2791841" y="1745868"/>
                </a:lnTo>
                <a:close/>
              </a:path>
              <a:path w="2843529" h="2816225">
                <a:moveTo>
                  <a:pt x="199224" y="698880"/>
                </a:moveTo>
                <a:lnTo>
                  <a:pt x="197307" y="703706"/>
                </a:lnTo>
                <a:lnTo>
                  <a:pt x="192989" y="707643"/>
                </a:lnTo>
                <a:lnTo>
                  <a:pt x="192024" y="710056"/>
                </a:lnTo>
                <a:lnTo>
                  <a:pt x="203111" y="717168"/>
                </a:lnTo>
                <a:lnTo>
                  <a:pt x="205028" y="712342"/>
                </a:lnTo>
                <a:lnTo>
                  <a:pt x="208394" y="710945"/>
                </a:lnTo>
                <a:lnTo>
                  <a:pt x="210312" y="706119"/>
                </a:lnTo>
                <a:lnTo>
                  <a:pt x="199224" y="698880"/>
                </a:lnTo>
                <a:close/>
              </a:path>
              <a:path w="2843529" h="2816225">
                <a:moveTo>
                  <a:pt x="2803779" y="1694814"/>
                </a:moveTo>
                <a:lnTo>
                  <a:pt x="2801874" y="1699640"/>
                </a:lnTo>
                <a:lnTo>
                  <a:pt x="2800857" y="1702053"/>
                </a:lnTo>
                <a:lnTo>
                  <a:pt x="2798953" y="1706879"/>
                </a:lnTo>
                <a:lnTo>
                  <a:pt x="2812033" y="1709292"/>
                </a:lnTo>
                <a:lnTo>
                  <a:pt x="2813939" y="1704466"/>
                </a:lnTo>
                <a:lnTo>
                  <a:pt x="2814828" y="1702053"/>
                </a:lnTo>
                <a:lnTo>
                  <a:pt x="2816732" y="1697227"/>
                </a:lnTo>
                <a:lnTo>
                  <a:pt x="2803779" y="1694814"/>
                </a:lnTo>
                <a:close/>
              </a:path>
              <a:path w="2843529" h="2816225">
                <a:moveTo>
                  <a:pt x="224675" y="656081"/>
                </a:moveTo>
                <a:lnTo>
                  <a:pt x="221792" y="663320"/>
                </a:lnTo>
                <a:lnTo>
                  <a:pt x="218427" y="664717"/>
                </a:lnTo>
                <a:lnTo>
                  <a:pt x="229514" y="671956"/>
                </a:lnTo>
                <a:lnTo>
                  <a:pt x="232879" y="670432"/>
                </a:lnTo>
                <a:lnTo>
                  <a:pt x="234797" y="665733"/>
                </a:lnTo>
                <a:lnTo>
                  <a:pt x="236715" y="660907"/>
                </a:lnTo>
                <a:lnTo>
                  <a:pt x="224675" y="656081"/>
                </a:lnTo>
                <a:close/>
              </a:path>
              <a:path w="2843529" h="2816225">
                <a:moveTo>
                  <a:pt x="2823971" y="1644268"/>
                </a:moveTo>
                <a:lnTo>
                  <a:pt x="2812415" y="1645285"/>
                </a:lnTo>
                <a:lnTo>
                  <a:pt x="2811399" y="1647698"/>
                </a:lnTo>
                <a:lnTo>
                  <a:pt x="2809493" y="1652524"/>
                </a:lnTo>
                <a:lnTo>
                  <a:pt x="2811017" y="1655826"/>
                </a:lnTo>
                <a:lnTo>
                  <a:pt x="2823971" y="1658239"/>
                </a:lnTo>
                <a:lnTo>
                  <a:pt x="2822448" y="1654937"/>
                </a:lnTo>
                <a:lnTo>
                  <a:pt x="2824479" y="1650111"/>
                </a:lnTo>
                <a:lnTo>
                  <a:pt x="2823971" y="1644268"/>
                </a:lnTo>
                <a:close/>
              </a:path>
              <a:path w="2843529" h="2816225">
                <a:moveTo>
                  <a:pt x="253491" y="611758"/>
                </a:moveTo>
                <a:lnTo>
                  <a:pt x="250609" y="618998"/>
                </a:lnTo>
                <a:lnTo>
                  <a:pt x="246278" y="622807"/>
                </a:lnTo>
                <a:lnTo>
                  <a:pt x="257365" y="630046"/>
                </a:lnTo>
                <a:lnTo>
                  <a:pt x="261683" y="626237"/>
                </a:lnTo>
                <a:lnTo>
                  <a:pt x="264566" y="618998"/>
                </a:lnTo>
                <a:lnTo>
                  <a:pt x="253491" y="611758"/>
                </a:lnTo>
                <a:close/>
              </a:path>
              <a:path w="2843529" h="2816225">
                <a:moveTo>
                  <a:pt x="2819527" y="1592326"/>
                </a:moveTo>
                <a:lnTo>
                  <a:pt x="2817621" y="1597152"/>
                </a:lnTo>
                <a:lnTo>
                  <a:pt x="2819018" y="1600453"/>
                </a:lnTo>
                <a:lnTo>
                  <a:pt x="2817114" y="1605279"/>
                </a:lnTo>
                <a:lnTo>
                  <a:pt x="2830194" y="1607692"/>
                </a:lnTo>
                <a:lnTo>
                  <a:pt x="2832100" y="1602866"/>
                </a:lnTo>
                <a:lnTo>
                  <a:pt x="2830576" y="1599564"/>
                </a:lnTo>
                <a:lnTo>
                  <a:pt x="2832480" y="1594739"/>
                </a:lnTo>
                <a:lnTo>
                  <a:pt x="2819527" y="1592326"/>
                </a:lnTo>
                <a:close/>
              </a:path>
              <a:path w="2843529" h="2816225">
                <a:moveTo>
                  <a:pt x="283743" y="570864"/>
                </a:moveTo>
                <a:lnTo>
                  <a:pt x="282790" y="573277"/>
                </a:lnTo>
                <a:lnTo>
                  <a:pt x="278460" y="577088"/>
                </a:lnTo>
                <a:lnTo>
                  <a:pt x="277507" y="579501"/>
                </a:lnTo>
                <a:lnTo>
                  <a:pt x="287616" y="589152"/>
                </a:lnTo>
                <a:lnTo>
                  <a:pt x="289534" y="584326"/>
                </a:lnTo>
                <a:lnTo>
                  <a:pt x="293865" y="580389"/>
                </a:lnTo>
                <a:lnTo>
                  <a:pt x="294817" y="577976"/>
                </a:lnTo>
                <a:lnTo>
                  <a:pt x="283743" y="570864"/>
                </a:lnTo>
                <a:close/>
              </a:path>
              <a:path w="2843529" h="2816225">
                <a:moveTo>
                  <a:pt x="2825750" y="1541779"/>
                </a:moveTo>
                <a:lnTo>
                  <a:pt x="2823844" y="1546605"/>
                </a:lnTo>
                <a:lnTo>
                  <a:pt x="2825241" y="1550035"/>
                </a:lnTo>
                <a:lnTo>
                  <a:pt x="2823337" y="1554733"/>
                </a:lnTo>
                <a:lnTo>
                  <a:pt x="2836291" y="1557146"/>
                </a:lnTo>
                <a:lnTo>
                  <a:pt x="2835782" y="1551431"/>
                </a:lnTo>
                <a:lnTo>
                  <a:pt x="2837815" y="1546605"/>
                </a:lnTo>
                <a:lnTo>
                  <a:pt x="2836291" y="1543177"/>
                </a:lnTo>
                <a:lnTo>
                  <a:pt x="2825750" y="1541779"/>
                </a:lnTo>
                <a:close/>
              </a:path>
              <a:path w="2843529" h="2816225">
                <a:moveTo>
                  <a:pt x="317372" y="528446"/>
                </a:moveTo>
                <a:lnTo>
                  <a:pt x="313042" y="532256"/>
                </a:lnTo>
                <a:lnTo>
                  <a:pt x="312089" y="534669"/>
                </a:lnTo>
                <a:lnTo>
                  <a:pt x="307759" y="538606"/>
                </a:lnTo>
                <a:lnTo>
                  <a:pt x="318833" y="545718"/>
                </a:lnTo>
                <a:lnTo>
                  <a:pt x="322211" y="544321"/>
                </a:lnTo>
                <a:lnTo>
                  <a:pt x="324129" y="539495"/>
                </a:lnTo>
                <a:lnTo>
                  <a:pt x="327494" y="538099"/>
                </a:lnTo>
                <a:lnTo>
                  <a:pt x="317372" y="528446"/>
                </a:lnTo>
                <a:close/>
              </a:path>
              <a:path w="2843529" h="2816225">
                <a:moveTo>
                  <a:pt x="2827146" y="1489328"/>
                </a:moveTo>
                <a:lnTo>
                  <a:pt x="2827528" y="1495170"/>
                </a:lnTo>
                <a:lnTo>
                  <a:pt x="2829052" y="1498473"/>
                </a:lnTo>
                <a:lnTo>
                  <a:pt x="2827146" y="1503299"/>
                </a:lnTo>
                <a:lnTo>
                  <a:pt x="2841116" y="1503299"/>
                </a:lnTo>
                <a:lnTo>
                  <a:pt x="2839592" y="1499869"/>
                </a:lnTo>
                <a:lnTo>
                  <a:pt x="2841498" y="1495043"/>
                </a:lnTo>
                <a:lnTo>
                  <a:pt x="2840101" y="1491741"/>
                </a:lnTo>
                <a:lnTo>
                  <a:pt x="2827146" y="1489328"/>
                </a:lnTo>
                <a:close/>
              </a:path>
              <a:path w="2843529" h="2816225">
                <a:moveTo>
                  <a:pt x="350037" y="488441"/>
                </a:moveTo>
                <a:lnTo>
                  <a:pt x="348119" y="493267"/>
                </a:lnTo>
                <a:lnTo>
                  <a:pt x="344754" y="494664"/>
                </a:lnTo>
                <a:lnTo>
                  <a:pt x="342836" y="499490"/>
                </a:lnTo>
                <a:lnTo>
                  <a:pt x="350545" y="508126"/>
                </a:lnTo>
                <a:lnTo>
                  <a:pt x="354876" y="504316"/>
                </a:lnTo>
                <a:lnTo>
                  <a:pt x="356793" y="499490"/>
                </a:lnTo>
                <a:lnTo>
                  <a:pt x="360159" y="498093"/>
                </a:lnTo>
                <a:lnTo>
                  <a:pt x="350037" y="488441"/>
                </a:lnTo>
                <a:close/>
              </a:path>
              <a:path w="2843529" h="2816225">
                <a:moveTo>
                  <a:pt x="2841498" y="1439290"/>
                </a:moveTo>
                <a:lnTo>
                  <a:pt x="2829941" y="1440306"/>
                </a:lnTo>
                <a:lnTo>
                  <a:pt x="2828925" y="1442719"/>
                </a:lnTo>
                <a:lnTo>
                  <a:pt x="2829432" y="1448435"/>
                </a:lnTo>
                <a:lnTo>
                  <a:pt x="2828543" y="1450848"/>
                </a:lnTo>
                <a:lnTo>
                  <a:pt x="2841498" y="1453261"/>
                </a:lnTo>
                <a:lnTo>
                  <a:pt x="2843403" y="1448435"/>
                </a:lnTo>
                <a:lnTo>
                  <a:pt x="2842894" y="1442592"/>
                </a:lnTo>
                <a:lnTo>
                  <a:pt x="2841498" y="1439290"/>
                </a:lnTo>
                <a:close/>
              </a:path>
              <a:path w="2843529" h="2816225">
                <a:moveTo>
                  <a:pt x="385063" y="449452"/>
                </a:moveTo>
                <a:lnTo>
                  <a:pt x="383159" y="454278"/>
                </a:lnTo>
                <a:lnTo>
                  <a:pt x="379856" y="455675"/>
                </a:lnTo>
                <a:lnTo>
                  <a:pt x="375538" y="459486"/>
                </a:lnTo>
                <a:lnTo>
                  <a:pt x="385572" y="469138"/>
                </a:lnTo>
                <a:lnTo>
                  <a:pt x="389890" y="465327"/>
                </a:lnTo>
                <a:lnTo>
                  <a:pt x="390906" y="462914"/>
                </a:lnTo>
                <a:lnTo>
                  <a:pt x="395224" y="458977"/>
                </a:lnTo>
                <a:lnTo>
                  <a:pt x="385063" y="449452"/>
                </a:lnTo>
                <a:close/>
              </a:path>
              <a:path w="2843529" h="2816225">
                <a:moveTo>
                  <a:pt x="2842894" y="1386839"/>
                </a:moveTo>
                <a:lnTo>
                  <a:pt x="2828925" y="1386839"/>
                </a:lnTo>
                <a:lnTo>
                  <a:pt x="2829432" y="1392681"/>
                </a:lnTo>
                <a:lnTo>
                  <a:pt x="2830829" y="1395983"/>
                </a:lnTo>
                <a:lnTo>
                  <a:pt x="2828925" y="1400810"/>
                </a:lnTo>
                <a:lnTo>
                  <a:pt x="2842894" y="1400810"/>
                </a:lnTo>
                <a:lnTo>
                  <a:pt x="2842387" y="1394967"/>
                </a:lnTo>
                <a:lnTo>
                  <a:pt x="2843276" y="1392554"/>
                </a:lnTo>
                <a:lnTo>
                  <a:pt x="2842894" y="1386839"/>
                </a:lnTo>
                <a:close/>
              </a:path>
              <a:path w="2843529" h="2816225">
                <a:moveTo>
                  <a:pt x="421640" y="413765"/>
                </a:moveTo>
                <a:lnTo>
                  <a:pt x="418210" y="415163"/>
                </a:lnTo>
                <a:lnTo>
                  <a:pt x="416306" y="419988"/>
                </a:lnTo>
                <a:lnTo>
                  <a:pt x="413003" y="421513"/>
                </a:lnTo>
                <a:lnTo>
                  <a:pt x="420750" y="430149"/>
                </a:lnTo>
                <a:lnTo>
                  <a:pt x="424053" y="428625"/>
                </a:lnTo>
                <a:lnTo>
                  <a:pt x="428371" y="424814"/>
                </a:lnTo>
                <a:lnTo>
                  <a:pt x="429387" y="422401"/>
                </a:lnTo>
                <a:lnTo>
                  <a:pt x="421640" y="413765"/>
                </a:lnTo>
                <a:close/>
              </a:path>
              <a:path w="2843529" h="2816225">
                <a:moveTo>
                  <a:pt x="2840863" y="1335786"/>
                </a:moveTo>
                <a:lnTo>
                  <a:pt x="2826892" y="1335786"/>
                </a:lnTo>
                <a:lnTo>
                  <a:pt x="2827401" y="1341627"/>
                </a:lnTo>
                <a:lnTo>
                  <a:pt x="2828798" y="1344929"/>
                </a:lnTo>
                <a:lnTo>
                  <a:pt x="2826892" y="1349755"/>
                </a:lnTo>
                <a:lnTo>
                  <a:pt x="2840863" y="1349755"/>
                </a:lnTo>
                <a:lnTo>
                  <a:pt x="2840354" y="1344040"/>
                </a:lnTo>
                <a:lnTo>
                  <a:pt x="2838957" y="1340612"/>
                </a:lnTo>
                <a:lnTo>
                  <a:pt x="2840863" y="1335786"/>
                </a:lnTo>
                <a:close/>
              </a:path>
              <a:path w="2843529" h="2816225">
                <a:moveTo>
                  <a:pt x="458216" y="378078"/>
                </a:moveTo>
                <a:lnTo>
                  <a:pt x="454787" y="379602"/>
                </a:lnTo>
                <a:lnTo>
                  <a:pt x="452881" y="384428"/>
                </a:lnTo>
                <a:lnTo>
                  <a:pt x="449453" y="385825"/>
                </a:lnTo>
                <a:lnTo>
                  <a:pt x="459613" y="395477"/>
                </a:lnTo>
                <a:lnTo>
                  <a:pt x="460628" y="393064"/>
                </a:lnTo>
                <a:lnTo>
                  <a:pt x="464947" y="389127"/>
                </a:lnTo>
                <a:lnTo>
                  <a:pt x="468249" y="387730"/>
                </a:lnTo>
                <a:lnTo>
                  <a:pt x="458216" y="378078"/>
                </a:lnTo>
                <a:close/>
              </a:path>
              <a:path w="2843529" h="2816225">
                <a:moveTo>
                  <a:pt x="2836417" y="1283842"/>
                </a:moveTo>
                <a:lnTo>
                  <a:pt x="2821558" y="1286255"/>
                </a:lnTo>
                <a:lnTo>
                  <a:pt x="2822955" y="1289685"/>
                </a:lnTo>
                <a:lnTo>
                  <a:pt x="2824479" y="1292987"/>
                </a:lnTo>
                <a:lnTo>
                  <a:pt x="2824861" y="1298828"/>
                </a:lnTo>
                <a:lnTo>
                  <a:pt x="2836417" y="1297813"/>
                </a:lnTo>
                <a:lnTo>
                  <a:pt x="2836037" y="1292098"/>
                </a:lnTo>
                <a:lnTo>
                  <a:pt x="2836926" y="1289685"/>
                </a:lnTo>
                <a:lnTo>
                  <a:pt x="2836417" y="1283842"/>
                </a:lnTo>
                <a:close/>
              </a:path>
              <a:path w="2843529" h="2816225">
                <a:moveTo>
                  <a:pt x="497078" y="343407"/>
                </a:moveTo>
                <a:lnTo>
                  <a:pt x="493775" y="344804"/>
                </a:lnTo>
                <a:lnTo>
                  <a:pt x="491744" y="349630"/>
                </a:lnTo>
                <a:lnTo>
                  <a:pt x="488441" y="351154"/>
                </a:lnTo>
                <a:lnTo>
                  <a:pt x="496188" y="359790"/>
                </a:lnTo>
                <a:lnTo>
                  <a:pt x="499491" y="358266"/>
                </a:lnTo>
                <a:lnTo>
                  <a:pt x="503809" y="354456"/>
                </a:lnTo>
                <a:lnTo>
                  <a:pt x="507238" y="353060"/>
                </a:lnTo>
                <a:lnTo>
                  <a:pt x="497078" y="343407"/>
                </a:lnTo>
                <a:close/>
              </a:path>
              <a:path w="2843529" h="2816225">
                <a:moveTo>
                  <a:pt x="2828670" y="1233296"/>
                </a:moveTo>
                <a:lnTo>
                  <a:pt x="2817114" y="1234313"/>
                </a:lnTo>
                <a:lnTo>
                  <a:pt x="2817621" y="1240154"/>
                </a:lnTo>
                <a:lnTo>
                  <a:pt x="2819018" y="1243456"/>
                </a:lnTo>
                <a:lnTo>
                  <a:pt x="2818129" y="1245869"/>
                </a:lnTo>
                <a:lnTo>
                  <a:pt x="2832100" y="1245869"/>
                </a:lnTo>
                <a:lnTo>
                  <a:pt x="2830576" y="1242440"/>
                </a:lnTo>
                <a:lnTo>
                  <a:pt x="2830067" y="1236726"/>
                </a:lnTo>
                <a:lnTo>
                  <a:pt x="2828670" y="1233296"/>
                </a:lnTo>
                <a:close/>
              </a:path>
              <a:path w="2843529" h="2816225">
                <a:moveTo>
                  <a:pt x="538479" y="309625"/>
                </a:moveTo>
                <a:lnTo>
                  <a:pt x="534035" y="313563"/>
                </a:lnTo>
                <a:lnTo>
                  <a:pt x="530732" y="314960"/>
                </a:lnTo>
                <a:lnTo>
                  <a:pt x="527304" y="316483"/>
                </a:lnTo>
                <a:lnTo>
                  <a:pt x="536575" y="328421"/>
                </a:lnTo>
                <a:lnTo>
                  <a:pt x="540893" y="324612"/>
                </a:lnTo>
                <a:lnTo>
                  <a:pt x="541782" y="322199"/>
                </a:lnTo>
                <a:lnTo>
                  <a:pt x="545210" y="320675"/>
                </a:lnTo>
                <a:lnTo>
                  <a:pt x="538479" y="309625"/>
                </a:lnTo>
                <a:close/>
              </a:path>
              <a:path w="2843529" h="2816225">
                <a:moveTo>
                  <a:pt x="2821813" y="1180464"/>
                </a:moveTo>
                <a:lnTo>
                  <a:pt x="2809366" y="1183766"/>
                </a:lnTo>
                <a:lnTo>
                  <a:pt x="2810764" y="1187195"/>
                </a:lnTo>
                <a:lnTo>
                  <a:pt x="2811271" y="1192911"/>
                </a:lnTo>
                <a:lnTo>
                  <a:pt x="2812795" y="1196339"/>
                </a:lnTo>
                <a:lnTo>
                  <a:pt x="2824353" y="1195324"/>
                </a:lnTo>
                <a:lnTo>
                  <a:pt x="2823844" y="1189608"/>
                </a:lnTo>
                <a:lnTo>
                  <a:pt x="2822320" y="1186179"/>
                </a:lnTo>
                <a:lnTo>
                  <a:pt x="2821813" y="1180464"/>
                </a:lnTo>
                <a:close/>
              </a:path>
              <a:path w="2843529" h="2816225">
                <a:moveTo>
                  <a:pt x="578738" y="278383"/>
                </a:moveTo>
                <a:lnTo>
                  <a:pt x="575437" y="279780"/>
                </a:lnTo>
                <a:lnTo>
                  <a:pt x="571119" y="283590"/>
                </a:lnTo>
                <a:lnTo>
                  <a:pt x="570103" y="286003"/>
                </a:lnTo>
                <a:lnTo>
                  <a:pt x="576960" y="297052"/>
                </a:lnTo>
                <a:lnTo>
                  <a:pt x="581279" y="293242"/>
                </a:lnTo>
                <a:lnTo>
                  <a:pt x="584581" y="291845"/>
                </a:lnTo>
                <a:lnTo>
                  <a:pt x="586485" y="287019"/>
                </a:lnTo>
                <a:lnTo>
                  <a:pt x="578738" y="278383"/>
                </a:lnTo>
                <a:close/>
              </a:path>
              <a:path w="2843529" h="2816225">
                <a:moveTo>
                  <a:pt x="2810764" y="1131315"/>
                </a:moveTo>
                <a:lnTo>
                  <a:pt x="2799206" y="1132331"/>
                </a:lnTo>
                <a:lnTo>
                  <a:pt x="2799715" y="1138174"/>
                </a:lnTo>
                <a:lnTo>
                  <a:pt x="2801112" y="1141476"/>
                </a:lnTo>
                <a:lnTo>
                  <a:pt x="2801619" y="1147190"/>
                </a:lnTo>
                <a:lnTo>
                  <a:pt x="2814066" y="1143889"/>
                </a:lnTo>
                <a:lnTo>
                  <a:pt x="2813685" y="1138046"/>
                </a:lnTo>
                <a:lnTo>
                  <a:pt x="2812161" y="1134744"/>
                </a:lnTo>
                <a:lnTo>
                  <a:pt x="2810764" y="1131315"/>
                </a:lnTo>
                <a:close/>
              </a:path>
              <a:path w="2843529" h="2816225">
                <a:moveTo>
                  <a:pt x="621538" y="248030"/>
                </a:moveTo>
                <a:lnTo>
                  <a:pt x="618235" y="249427"/>
                </a:lnTo>
                <a:lnTo>
                  <a:pt x="613918" y="253237"/>
                </a:lnTo>
                <a:lnTo>
                  <a:pt x="610488" y="254762"/>
                </a:lnTo>
                <a:lnTo>
                  <a:pt x="617219" y="265811"/>
                </a:lnTo>
                <a:lnTo>
                  <a:pt x="620649" y="264287"/>
                </a:lnTo>
                <a:lnTo>
                  <a:pt x="624966" y="260476"/>
                </a:lnTo>
                <a:lnTo>
                  <a:pt x="628396" y="259079"/>
                </a:lnTo>
                <a:lnTo>
                  <a:pt x="621538" y="248030"/>
                </a:lnTo>
                <a:close/>
              </a:path>
              <a:path w="2843529" h="2816225">
                <a:moveTo>
                  <a:pt x="2800604" y="1079880"/>
                </a:moveTo>
                <a:lnTo>
                  <a:pt x="2788030" y="1083310"/>
                </a:lnTo>
                <a:lnTo>
                  <a:pt x="2789554" y="1086612"/>
                </a:lnTo>
                <a:lnTo>
                  <a:pt x="2789936" y="1092453"/>
                </a:lnTo>
                <a:lnTo>
                  <a:pt x="2791460" y="1095755"/>
                </a:lnTo>
                <a:lnTo>
                  <a:pt x="2803905" y="1092453"/>
                </a:lnTo>
                <a:lnTo>
                  <a:pt x="2802508" y="1089025"/>
                </a:lnTo>
                <a:lnTo>
                  <a:pt x="2801112" y="1085723"/>
                </a:lnTo>
                <a:lnTo>
                  <a:pt x="2800604" y="1079880"/>
                </a:lnTo>
                <a:close/>
              </a:path>
              <a:path w="2843529" h="2816225">
                <a:moveTo>
                  <a:pt x="665860" y="220979"/>
                </a:moveTo>
                <a:lnTo>
                  <a:pt x="662432" y="222376"/>
                </a:lnTo>
                <a:lnTo>
                  <a:pt x="659129" y="223900"/>
                </a:lnTo>
                <a:lnTo>
                  <a:pt x="654812" y="227711"/>
                </a:lnTo>
                <a:lnTo>
                  <a:pt x="661543" y="238760"/>
                </a:lnTo>
                <a:lnTo>
                  <a:pt x="665860" y="234950"/>
                </a:lnTo>
                <a:lnTo>
                  <a:pt x="669163" y="233425"/>
                </a:lnTo>
                <a:lnTo>
                  <a:pt x="672591" y="232028"/>
                </a:lnTo>
                <a:lnTo>
                  <a:pt x="665860" y="220979"/>
                </a:lnTo>
                <a:close/>
              </a:path>
              <a:path w="2843529" h="2816225">
                <a:moveTo>
                  <a:pt x="2787015" y="1029842"/>
                </a:moveTo>
                <a:lnTo>
                  <a:pt x="2774568" y="1033271"/>
                </a:lnTo>
                <a:lnTo>
                  <a:pt x="2774950" y="1038987"/>
                </a:lnTo>
                <a:lnTo>
                  <a:pt x="2776474" y="1042415"/>
                </a:lnTo>
                <a:lnTo>
                  <a:pt x="2777870" y="1045717"/>
                </a:lnTo>
                <a:lnTo>
                  <a:pt x="2790443" y="1042415"/>
                </a:lnTo>
                <a:lnTo>
                  <a:pt x="2788919" y="1038987"/>
                </a:lnTo>
                <a:lnTo>
                  <a:pt x="2788412" y="1033271"/>
                </a:lnTo>
                <a:lnTo>
                  <a:pt x="2787015" y="1029842"/>
                </a:lnTo>
                <a:close/>
              </a:path>
              <a:path w="2843529" h="2816225">
                <a:moveTo>
                  <a:pt x="710057" y="193928"/>
                </a:moveTo>
                <a:lnTo>
                  <a:pt x="706628" y="195452"/>
                </a:lnTo>
                <a:lnTo>
                  <a:pt x="703326" y="196850"/>
                </a:lnTo>
                <a:lnTo>
                  <a:pt x="699007" y="200660"/>
                </a:lnTo>
                <a:lnTo>
                  <a:pt x="705738" y="211708"/>
                </a:lnTo>
                <a:lnTo>
                  <a:pt x="710057" y="207899"/>
                </a:lnTo>
                <a:lnTo>
                  <a:pt x="713485" y="206501"/>
                </a:lnTo>
                <a:lnTo>
                  <a:pt x="716788" y="204977"/>
                </a:lnTo>
                <a:lnTo>
                  <a:pt x="710057" y="193928"/>
                </a:lnTo>
                <a:close/>
              </a:path>
              <a:path w="2843529" h="2816225">
                <a:moveTo>
                  <a:pt x="2772537" y="982217"/>
                </a:moveTo>
                <a:lnTo>
                  <a:pt x="2759964" y="985646"/>
                </a:lnTo>
                <a:lnTo>
                  <a:pt x="2761488" y="988949"/>
                </a:lnTo>
                <a:lnTo>
                  <a:pt x="2762885" y="992377"/>
                </a:lnTo>
                <a:lnTo>
                  <a:pt x="2763392" y="998092"/>
                </a:lnTo>
                <a:lnTo>
                  <a:pt x="2776854" y="992377"/>
                </a:lnTo>
                <a:lnTo>
                  <a:pt x="2775457" y="988949"/>
                </a:lnTo>
                <a:lnTo>
                  <a:pt x="2773933" y="985646"/>
                </a:lnTo>
                <a:lnTo>
                  <a:pt x="2772537" y="982217"/>
                </a:lnTo>
                <a:close/>
              </a:path>
              <a:path w="2843529" h="2816225">
                <a:moveTo>
                  <a:pt x="754253" y="167004"/>
                </a:moveTo>
                <a:lnTo>
                  <a:pt x="750951" y="168401"/>
                </a:lnTo>
                <a:lnTo>
                  <a:pt x="746633" y="172212"/>
                </a:lnTo>
                <a:lnTo>
                  <a:pt x="743204" y="173736"/>
                </a:lnTo>
                <a:lnTo>
                  <a:pt x="749935" y="184785"/>
                </a:lnTo>
                <a:lnTo>
                  <a:pt x="753364" y="183261"/>
                </a:lnTo>
                <a:lnTo>
                  <a:pt x="756666" y="181863"/>
                </a:lnTo>
                <a:lnTo>
                  <a:pt x="760984" y="178053"/>
                </a:lnTo>
                <a:lnTo>
                  <a:pt x="754253" y="167004"/>
                </a:lnTo>
                <a:close/>
              </a:path>
              <a:path w="2843529" h="2816225">
                <a:moveTo>
                  <a:pt x="2756535" y="931290"/>
                </a:moveTo>
                <a:lnTo>
                  <a:pt x="2743073" y="937005"/>
                </a:lnTo>
                <a:lnTo>
                  <a:pt x="2744596" y="940435"/>
                </a:lnTo>
                <a:lnTo>
                  <a:pt x="2745993" y="943737"/>
                </a:lnTo>
                <a:lnTo>
                  <a:pt x="2747391" y="947165"/>
                </a:lnTo>
                <a:lnTo>
                  <a:pt x="2759964" y="943737"/>
                </a:lnTo>
                <a:lnTo>
                  <a:pt x="2758566" y="940435"/>
                </a:lnTo>
                <a:lnTo>
                  <a:pt x="2757042" y="937005"/>
                </a:lnTo>
                <a:lnTo>
                  <a:pt x="2756535" y="931290"/>
                </a:lnTo>
                <a:close/>
              </a:path>
              <a:path w="2843529" h="2816225">
                <a:moveTo>
                  <a:pt x="802385" y="144271"/>
                </a:moveTo>
                <a:lnTo>
                  <a:pt x="796543" y="144779"/>
                </a:lnTo>
                <a:lnTo>
                  <a:pt x="792226" y="148589"/>
                </a:lnTo>
                <a:lnTo>
                  <a:pt x="788923" y="150113"/>
                </a:lnTo>
                <a:lnTo>
                  <a:pt x="795654" y="161162"/>
                </a:lnTo>
                <a:lnTo>
                  <a:pt x="799084" y="159638"/>
                </a:lnTo>
                <a:lnTo>
                  <a:pt x="802385" y="158241"/>
                </a:lnTo>
                <a:lnTo>
                  <a:pt x="806704" y="154431"/>
                </a:lnTo>
                <a:lnTo>
                  <a:pt x="802385" y="144271"/>
                </a:lnTo>
                <a:close/>
              </a:path>
              <a:path w="2843529" h="2816225">
                <a:moveTo>
                  <a:pt x="2736341" y="884174"/>
                </a:moveTo>
                <a:lnTo>
                  <a:pt x="2723768" y="887476"/>
                </a:lnTo>
                <a:lnTo>
                  <a:pt x="2725292" y="890904"/>
                </a:lnTo>
                <a:lnTo>
                  <a:pt x="2728087" y="897636"/>
                </a:lnTo>
                <a:lnTo>
                  <a:pt x="2729611" y="900938"/>
                </a:lnTo>
                <a:lnTo>
                  <a:pt x="2740660" y="894206"/>
                </a:lnTo>
                <a:lnTo>
                  <a:pt x="2739136" y="890904"/>
                </a:lnTo>
                <a:lnTo>
                  <a:pt x="2737739" y="887476"/>
                </a:lnTo>
                <a:lnTo>
                  <a:pt x="2736341" y="884174"/>
                </a:lnTo>
                <a:close/>
              </a:path>
              <a:path w="2843529" h="2816225">
                <a:moveTo>
                  <a:pt x="847090" y="123062"/>
                </a:moveTo>
                <a:lnTo>
                  <a:pt x="843788" y="124460"/>
                </a:lnTo>
                <a:lnTo>
                  <a:pt x="840359" y="125983"/>
                </a:lnTo>
                <a:lnTo>
                  <a:pt x="837057" y="127380"/>
                </a:lnTo>
                <a:lnTo>
                  <a:pt x="840359" y="139826"/>
                </a:lnTo>
                <a:lnTo>
                  <a:pt x="847090" y="137032"/>
                </a:lnTo>
                <a:lnTo>
                  <a:pt x="850518" y="135508"/>
                </a:lnTo>
                <a:lnTo>
                  <a:pt x="853821" y="134112"/>
                </a:lnTo>
                <a:lnTo>
                  <a:pt x="847090" y="123062"/>
                </a:lnTo>
                <a:close/>
              </a:path>
              <a:path w="2843529" h="2816225">
                <a:moveTo>
                  <a:pt x="2716021" y="837056"/>
                </a:moveTo>
                <a:lnTo>
                  <a:pt x="2703576" y="840358"/>
                </a:lnTo>
                <a:lnTo>
                  <a:pt x="2704973" y="843788"/>
                </a:lnTo>
                <a:lnTo>
                  <a:pt x="2707893" y="850518"/>
                </a:lnTo>
                <a:lnTo>
                  <a:pt x="2709291" y="853820"/>
                </a:lnTo>
                <a:lnTo>
                  <a:pt x="2720340" y="847089"/>
                </a:lnTo>
                <a:lnTo>
                  <a:pt x="2718942" y="843788"/>
                </a:lnTo>
                <a:lnTo>
                  <a:pt x="2717418" y="840358"/>
                </a:lnTo>
                <a:lnTo>
                  <a:pt x="2716021" y="837056"/>
                </a:lnTo>
                <a:close/>
              </a:path>
              <a:path w="2843529" h="2816225">
                <a:moveTo>
                  <a:pt x="896620" y="103758"/>
                </a:moveTo>
                <a:lnTo>
                  <a:pt x="890904" y="104266"/>
                </a:lnTo>
                <a:lnTo>
                  <a:pt x="887476" y="105663"/>
                </a:lnTo>
                <a:lnTo>
                  <a:pt x="884173" y="107061"/>
                </a:lnTo>
                <a:lnTo>
                  <a:pt x="887476" y="119633"/>
                </a:lnTo>
                <a:lnTo>
                  <a:pt x="894207" y="116712"/>
                </a:lnTo>
                <a:lnTo>
                  <a:pt x="897635" y="115315"/>
                </a:lnTo>
                <a:lnTo>
                  <a:pt x="900938" y="113791"/>
                </a:lnTo>
                <a:lnTo>
                  <a:pt x="896620" y="103758"/>
                </a:lnTo>
                <a:close/>
              </a:path>
              <a:path w="2843529" h="2816225">
                <a:moveTo>
                  <a:pt x="2693289" y="788924"/>
                </a:moveTo>
                <a:lnTo>
                  <a:pt x="2682240" y="795654"/>
                </a:lnTo>
                <a:lnTo>
                  <a:pt x="2683764" y="799083"/>
                </a:lnTo>
                <a:lnTo>
                  <a:pt x="2685161" y="802386"/>
                </a:lnTo>
                <a:lnTo>
                  <a:pt x="2686685" y="805814"/>
                </a:lnTo>
                <a:lnTo>
                  <a:pt x="2700146" y="799973"/>
                </a:lnTo>
                <a:lnTo>
                  <a:pt x="2698623" y="796670"/>
                </a:lnTo>
                <a:lnTo>
                  <a:pt x="2694813" y="792226"/>
                </a:lnTo>
                <a:lnTo>
                  <a:pt x="2693289" y="788924"/>
                </a:lnTo>
                <a:close/>
              </a:path>
              <a:path w="2843529" h="2816225">
                <a:moveTo>
                  <a:pt x="943736" y="83438"/>
                </a:moveTo>
                <a:lnTo>
                  <a:pt x="940435" y="84836"/>
                </a:lnTo>
                <a:lnTo>
                  <a:pt x="937005" y="86360"/>
                </a:lnTo>
                <a:lnTo>
                  <a:pt x="933704" y="87756"/>
                </a:lnTo>
                <a:lnTo>
                  <a:pt x="937005" y="100329"/>
                </a:lnTo>
                <a:lnTo>
                  <a:pt x="940435" y="98805"/>
                </a:lnTo>
                <a:lnTo>
                  <a:pt x="943736" y="97408"/>
                </a:lnTo>
                <a:lnTo>
                  <a:pt x="949579" y="96900"/>
                </a:lnTo>
                <a:lnTo>
                  <a:pt x="943736" y="83438"/>
                </a:lnTo>
                <a:close/>
              </a:path>
              <a:path w="2843529" h="2816225">
                <a:moveTo>
                  <a:pt x="2669666" y="743203"/>
                </a:moveTo>
                <a:lnTo>
                  <a:pt x="2658617" y="749935"/>
                </a:lnTo>
                <a:lnTo>
                  <a:pt x="2660141" y="753363"/>
                </a:lnTo>
                <a:lnTo>
                  <a:pt x="2661539" y="756665"/>
                </a:lnTo>
                <a:lnTo>
                  <a:pt x="2665349" y="760983"/>
                </a:lnTo>
                <a:lnTo>
                  <a:pt x="2676398" y="754252"/>
                </a:lnTo>
                <a:lnTo>
                  <a:pt x="2672588" y="749935"/>
                </a:lnTo>
                <a:lnTo>
                  <a:pt x="2671191" y="746632"/>
                </a:lnTo>
                <a:lnTo>
                  <a:pt x="2669666" y="743203"/>
                </a:lnTo>
                <a:close/>
              </a:path>
              <a:path w="2843529" h="2816225">
                <a:moveTo>
                  <a:pt x="994791" y="67563"/>
                </a:moveTo>
                <a:lnTo>
                  <a:pt x="988948" y="67944"/>
                </a:lnTo>
                <a:lnTo>
                  <a:pt x="985647" y="69468"/>
                </a:lnTo>
                <a:lnTo>
                  <a:pt x="982217" y="70865"/>
                </a:lnTo>
                <a:lnTo>
                  <a:pt x="985647" y="83438"/>
                </a:lnTo>
                <a:lnTo>
                  <a:pt x="988948" y="81914"/>
                </a:lnTo>
                <a:lnTo>
                  <a:pt x="994791" y="81406"/>
                </a:lnTo>
                <a:lnTo>
                  <a:pt x="998092" y="80010"/>
                </a:lnTo>
                <a:lnTo>
                  <a:pt x="994791" y="67563"/>
                </a:lnTo>
                <a:close/>
              </a:path>
              <a:path w="2843529" h="2816225">
                <a:moveTo>
                  <a:pt x="1042416" y="52958"/>
                </a:moveTo>
                <a:lnTo>
                  <a:pt x="1038986" y="54482"/>
                </a:lnTo>
                <a:lnTo>
                  <a:pt x="1035685" y="55879"/>
                </a:lnTo>
                <a:lnTo>
                  <a:pt x="1029842" y="56387"/>
                </a:lnTo>
                <a:lnTo>
                  <a:pt x="1033272" y="68833"/>
                </a:lnTo>
                <a:lnTo>
                  <a:pt x="1038986" y="68452"/>
                </a:lnTo>
                <a:lnTo>
                  <a:pt x="1042416" y="66928"/>
                </a:lnTo>
                <a:lnTo>
                  <a:pt x="1045717" y="65531"/>
                </a:lnTo>
                <a:lnTo>
                  <a:pt x="1042416" y="52958"/>
                </a:lnTo>
                <a:close/>
              </a:path>
              <a:path w="2843529" h="2816225">
                <a:moveTo>
                  <a:pt x="2616707" y="652399"/>
                </a:moveTo>
                <a:lnTo>
                  <a:pt x="2604642" y="661542"/>
                </a:lnTo>
                <a:lnTo>
                  <a:pt x="2607055" y="662431"/>
                </a:lnTo>
                <a:lnTo>
                  <a:pt x="2608453" y="665861"/>
                </a:lnTo>
                <a:lnTo>
                  <a:pt x="2610866" y="666750"/>
                </a:lnTo>
                <a:lnTo>
                  <a:pt x="2618104" y="655701"/>
                </a:lnTo>
                <a:lnTo>
                  <a:pt x="2615691" y="654812"/>
                </a:lnTo>
                <a:lnTo>
                  <a:pt x="2616707" y="652399"/>
                </a:lnTo>
                <a:close/>
              </a:path>
              <a:path w="2843529" h="2816225">
                <a:moveTo>
                  <a:pt x="1094740" y="40386"/>
                </a:moveTo>
                <a:lnTo>
                  <a:pt x="1089024" y="40893"/>
                </a:lnTo>
                <a:lnTo>
                  <a:pt x="1085596" y="42417"/>
                </a:lnTo>
                <a:lnTo>
                  <a:pt x="1079880" y="42799"/>
                </a:lnTo>
                <a:lnTo>
                  <a:pt x="1083310" y="55371"/>
                </a:lnTo>
                <a:lnTo>
                  <a:pt x="1089024" y="54863"/>
                </a:lnTo>
                <a:lnTo>
                  <a:pt x="1092454" y="53466"/>
                </a:lnTo>
                <a:lnTo>
                  <a:pt x="1095755" y="51942"/>
                </a:lnTo>
                <a:lnTo>
                  <a:pt x="1094740" y="40386"/>
                </a:lnTo>
                <a:close/>
              </a:path>
              <a:path w="2843529" h="2816225">
                <a:moveTo>
                  <a:pt x="2588641" y="610488"/>
                </a:moveTo>
                <a:lnTo>
                  <a:pt x="2577591" y="617346"/>
                </a:lnTo>
                <a:lnTo>
                  <a:pt x="2579116" y="620649"/>
                </a:lnTo>
                <a:lnTo>
                  <a:pt x="2582926" y="624966"/>
                </a:lnTo>
                <a:lnTo>
                  <a:pt x="2584323" y="628395"/>
                </a:lnTo>
                <a:lnTo>
                  <a:pt x="2595499" y="621538"/>
                </a:lnTo>
                <a:lnTo>
                  <a:pt x="2591562" y="617219"/>
                </a:lnTo>
                <a:lnTo>
                  <a:pt x="2590165" y="613917"/>
                </a:lnTo>
                <a:lnTo>
                  <a:pt x="2588641" y="610488"/>
                </a:lnTo>
                <a:close/>
              </a:path>
              <a:path w="2843529" h="2816225">
                <a:moveTo>
                  <a:pt x="1132332" y="30225"/>
                </a:moveTo>
                <a:lnTo>
                  <a:pt x="1134745" y="45212"/>
                </a:lnTo>
                <a:lnTo>
                  <a:pt x="1138047" y="43687"/>
                </a:lnTo>
                <a:lnTo>
                  <a:pt x="1141476" y="42290"/>
                </a:lnTo>
                <a:lnTo>
                  <a:pt x="1147191" y="41782"/>
                </a:lnTo>
                <a:lnTo>
                  <a:pt x="1144394" y="31241"/>
                </a:lnTo>
                <a:lnTo>
                  <a:pt x="1134745" y="31241"/>
                </a:lnTo>
                <a:lnTo>
                  <a:pt x="1132332" y="30225"/>
                </a:lnTo>
                <a:close/>
              </a:path>
              <a:path w="2843529" h="2816225">
                <a:moveTo>
                  <a:pt x="1143889" y="29337"/>
                </a:moveTo>
                <a:lnTo>
                  <a:pt x="1140460" y="30733"/>
                </a:lnTo>
                <a:lnTo>
                  <a:pt x="1134745" y="31241"/>
                </a:lnTo>
                <a:lnTo>
                  <a:pt x="1144394" y="31241"/>
                </a:lnTo>
                <a:lnTo>
                  <a:pt x="1143889" y="29337"/>
                </a:lnTo>
                <a:close/>
              </a:path>
              <a:path w="2843529" h="2816225">
                <a:moveTo>
                  <a:pt x="2558288" y="567689"/>
                </a:moveTo>
                <a:lnTo>
                  <a:pt x="2546350" y="576961"/>
                </a:lnTo>
                <a:lnTo>
                  <a:pt x="2551049" y="578865"/>
                </a:lnTo>
                <a:lnTo>
                  <a:pt x="2552573" y="582167"/>
                </a:lnTo>
                <a:lnTo>
                  <a:pt x="2553969" y="585596"/>
                </a:lnTo>
                <a:lnTo>
                  <a:pt x="2565018" y="578865"/>
                </a:lnTo>
                <a:lnTo>
                  <a:pt x="2563621" y="575437"/>
                </a:lnTo>
                <a:lnTo>
                  <a:pt x="2559812" y="571118"/>
                </a:lnTo>
                <a:lnTo>
                  <a:pt x="2558288" y="567689"/>
                </a:lnTo>
                <a:close/>
              </a:path>
              <a:path w="2843529" h="2816225">
                <a:moveTo>
                  <a:pt x="1195323" y="19050"/>
                </a:moveTo>
                <a:lnTo>
                  <a:pt x="1192022" y="20574"/>
                </a:lnTo>
                <a:lnTo>
                  <a:pt x="1186180" y="21081"/>
                </a:lnTo>
                <a:lnTo>
                  <a:pt x="1182878" y="22478"/>
                </a:lnTo>
                <a:lnTo>
                  <a:pt x="1183767" y="34036"/>
                </a:lnTo>
                <a:lnTo>
                  <a:pt x="1189609" y="33527"/>
                </a:lnTo>
                <a:lnTo>
                  <a:pt x="1192911" y="32130"/>
                </a:lnTo>
                <a:lnTo>
                  <a:pt x="1198753" y="31623"/>
                </a:lnTo>
                <a:lnTo>
                  <a:pt x="1195323" y="19050"/>
                </a:lnTo>
                <a:close/>
              </a:path>
              <a:path w="2843529" h="2816225">
                <a:moveTo>
                  <a:pt x="2524632" y="526414"/>
                </a:moveTo>
                <a:lnTo>
                  <a:pt x="2514980" y="536575"/>
                </a:lnTo>
                <a:lnTo>
                  <a:pt x="2517393" y="537463"/>
                </a:lnTo>
                <a:lnTo>
                  <a:pt x="2521204" y="541781"/>
                </a:lnTo>
                <a:lnTo>
                  <a:pt x="2522728" y="545211"/>
                </a:lnTo>
                <a:lnTo>
                  <a:pt x="2533777" y="538479"/>
                </a:lnTo>
                <a:lnTo>
                  <a:pt x="2529840" y="534162"/>
                </a:lnTo>
                <a:lnTo>
                  <a:pt x="2528442" y="530732"/>
                </a:lnTo>
                <a:lnTo>
                  <a:pt x="2524632" y="526414"/>
                </a:lnTo>
                <a:close/>
              </a:path>
              <a:path w="2843529" h="2816225">
                <a:moveTo>
                  <a:pt x="1245870" y="11302"/>
                </a:moveTo>
                <a:lnTo>
                  <a:pt x="1242441" y="12826"/>
                </a:lnTo>
                <a:lnTo>
                  <a:pt x="1236726" y="13335"/>
                </a:lnTo>
                <a:lnTo>
                  <a:pt x="1233297" y="14731"/>
                </a:lnTo>
                <a:lnTo>
                  <a:pt x="1234313" y="26288"/>
                </a:lnTo>
                <a:lnTo>
                  <a:pt x="1240155" y="25780"/>
                </a:lnTo>
                <a:lnTo>
                  <a:pt x="1243457" y="24383"/>
                </a:lnTo>
                <a:lnTo>
                  <a:pt x="1247976" y="24383"/>
                </a:lnTo>
                <a:lnTo>
                  <a:pt x="1245870" y="11302"/>
                </a:lnTo>
                <a:close/>
              </a:path>
              <a:path w="2843529" h="2816225">
                <a:moveTo>
                  <a:pt x="1247976" y="24383"/>
                </a:moveTo>
                <a:lnTo>
                  <a:pt x="1243457" y="24383"/>
                </a:lnTo>
                <a:lnTo>
                  <a:pt x="1248283" y="26288"/>
                </a:lnTo>
                <a:lnTo>
                  <a:pt x="1247976" y="24383"/>
                </a:lnTo>
                <a:close/>
              </a:path>
              <a:path w="2843529" h="2816225">
                <a:moveTo>
                  <a:pt x="2492248" y="488441"/>
                </a:moveTo>
                <a:lnTo>
                  <a:pt x="2483612" y="496188"/>
                </a:lnTo>
                <a:lnTo>
                  <a:pt x="2485136" y="499490"/>
                </a:lnTo>
                <a:lnTo>
                  <a:pt x="2486532" y="502919"/>
                </a:lnTo>
                <a:lnTo>
                  <a:pt x="2491358" y="504825"/>
                </a:lnTo>
                <a:lnTo>
                  <a:pt x="2499994" y="497077"/>
                </a:lnTo>
                <a:lnTo>
                  <a:pt x="2498598" y="493775"/>
                </a:lnTo>
                <a:lnTo>
                  <a:pt x="2493771" y="491870"/>
                </a:lnTo>
                <a:lnTo>
                  <a:pt x="2492248" y="488441"/>
                </a:lnTo>
                <a:close/>
              </a:path>
              <a:path w="2843529" h="2816225">
                <a:moveTo>
                  <a:pt x="1289685" y="6476"/>
                </a:moveTo>
                <a:lnTo>
                  <a:pt x="1286255" y="7874"/>
                </a:lnTo>
                <a:lnTo>
                  <a:pt x="1286255" y="21843"/>
                </a:lnTo>
                <a:lnTo>
                  <a:pt x="1289685" y="20446"/>
                </a:lnTo>
                <a:lnTo>
                  <a:pt x="1295399" y="19938"/>
                </a:lnTo>
                <a:lnTo>
                  <a:pt x="1298829" y="18541"/>
                </a:lnTo>
                <a:lnTo>
                  <a:pt x="1297857" y="7492"/>
                </a:lnTo>
                <a:lnTo>
                  <a:pt x="1292098" y="7492"/>
                </a:lnTo>
                <a:lnTo>
                  <a:pt x="1289685" y="6476"/>
                </a:lnTo>
                <a:close/>
              </a:path>
              <a:path w="2843529" h="2816225">
                <a:moveTo>
                  <a:pt x="1297813" y="6985"/>
                </a:moveTo>
                <a:lnTo>
                  <a:pt x="1292098" y="7492"/>
                </a:lnTo>
                <a:lnTo>
                  <a:pt x="1297857" y="7492"/>
                </a:lnTo>
                <a:lnTo>
                  <a:pt x="1297813" y="6985"/>
                </a:lnTo>
                <a:close/>
              </a:path>
              <a:path w="2843529" h="2816225">
                <a:moveTo>
                  <a:pt x="2457577" y="449452"/>
                </a:moveTo>
                <a:lnTo>
                  <a:pt x="2448941" y="457200"/>
                </a:lnTo>
                <a:lnTo>
                  <a:pt x="2450338" y="460628"/>
                </a:lnTo>
                <a:lnTo>
                  <a:pt x="2454275" y="464946"/>
                </a:lnTo>
                <a:lnTo>
                  <a:pt x="2455671" y="468249"/>
                </a:lnTo>
                <a:lnTo>
                  <a:pt x="2465324" y="458215"/>
                </a:lnTo>
                <a:lnTo>
                  <a:pt x="2463800" y="454787"/>
                </a:lnTo>
                <a:lnTo>
                  <a:pt x="2458974" y="452881"/>
                </a:lnTo>
                <a:lnTo>
                  <a:pt x="2457577" y="449452"/>
                </a:lnTo>
                <a:close/>
              </a:path>
              <a:path w="2843529" h="2816225">
                <a:moveTo>
                  <a:pt x="1335786" y="2539"/>
                </a:moveTo>
                <a:lnTo>
                  <a:pt x="1338198" y="17525"/>
                </a:lnTo>
                <a:lnTo>
                  <a:pt x="1341628" y="16001"/>
                </a:lnTo>
                <a:lnTo>
                  <a:pt x="1347342" y="15493"/>
                </a:lnTo>
                <a:lnTo>
                  <a:pt x="1349755" y="15493"/>
                </a:lnTo>
                <a:lnTo>
                  <a:pt x="1349755" y="4444"/>
                </a:lnTo>
                <a:lnTo>
                  <a:pt x="1340611" y="4444"/>
                </a:lnTo>
                <a:lnTo>
                  <a:pt x="1335786" y="2539"/>
                </a:lnTo>
                <a:close/>
              </a:path>
              <a:path w="2843529" h="2816225">
                <a:moveTo>
                  <a:pt x="1349755" y="15493"/>
                </a:moveTo>
                <a:lnTo>
                  <a:pt x="1347342" y="15493"/>
                </a:lnTo>
                <a:lnTo>
                  <a:pt x="1349755" y="16510"/>
                </a:lnTo>
                <a:lnTo>
                  <a:pt x="1349755" y="15493"/>
                </a:lnTo>
                <a:close/>
              </a:path>
              <a:path w="2843529" h="2816225">
                <a:moveTo>
                  <a:pt x="1349755" y="2539"/>
                </a:moveTo>
                <a:lnTo>
                  <a:pt x="1344041" y="3048"/>
                </a:lnTo>
                <a:lnTo>
                  <a:pt x="1340611" y="4444"/>
                </a:lnTo>
                <a:lnTo>
                  <a:pt x="1349755" y="4444"/>
                </a:lnTo>
                <a:lnTo>
                  <a:pt x="1349755" y="2539"/>
                </a:lnTo>
                <a:close/>
              </a:path>
              <a:path w="2843529" h="2816225">
                <a:moveTo>
                  <a:pt x="2419477" y="411988"/>
                </a:moveTo>
                <a:lnTo>
                  <a:pt x="2413254" y="420750"/>
                </a:lnTo>
                <a:lnTo>
                  <a:pt x="2414778" y="424052"/>
                </a:lnTo>
                <a:lnTo>
                  <a:pt x="2418588" y="428370"/>
                </a:lnTo>
                <a:lnTo>
                  <a:pt x="2421001" y="429387"/>
                </a:lnTo>
                <a:lnTo>
                  <a:pt x="2429637" y="421639"/>
                </a:lnTo>
                <a:lnTo>
                  <a:pt x="2428240" y="418338"/>
                </a:lnTo>
                <a:lnTo>
                  <a:pt x="2424303" y="413892"/>
                </a:lnTo>
                <a:lnTo>
                  <a:pt x="2419477" y="411988"/>
                </a:lnTo>
                <a:close/>
              </a:path>
              <a:path w="2843529" h="2816225">
                <a:moveTo>
                  <a:pt x="1389253" y="1524"/>
                </a:moveTo>
                <a:lnTo>
                  <a:pt x="1389253" y="15493"/>
                </a:lnTo>
                <a:lnTo>
                  <a:pt x="1392555" y="14096"/>
                </a:lnTo>
                <a:lnTo>
                  <a:pt x="1398397" y="13588"/>
                </a:lnTo>
                <a:lnTo>
                  <a:pt x="1400810" y="13588"/>
                </a:lnTo>
                <a:lnTo>
                  <a:pt x="1400810" y="2539"/>
                </a:lnTo>
                <a:lnTo>
                  <a:pt x="1391666" y="2539"/>
                </a:lnTo>
                <a:lnTo>
                  <a:pt x="1389253" y="1524"/>
                </a:lnTo>
                <a:close/>
              </a:path>
              <a:path w="2843529" h="2816225">
                <a:moveTo>
                  <a:pt x="1400810" y="13588"/>
                </a:moveTo>
                <a:lnTo>
                  <a:pt x="1398397" y="13588"/>
                </a:lnTo>
                <a:lnTo>
                  <a:pt x="1400810" y="14477"/>
                </a:lnTo>
                <a:lnTo>
                  <a:pt x="1400810" y="13588"/>
                </a:lnTo>
                <a:close/>
              </a:path>
              <a:path w="2843529" h="2816225">
                <a:moveTo>
                  <a:pt x="1400810" y="507"/>
                </a:moveTo>
                <a:lnTo>
                  <a:pt x="1397380" y="2031"/>
                </a:lnTo>
                <a:lnTo>
                  <a:pt x="1391666" y="2539"/>
                </a:lnTo>
                <a:lnTo>
                  <a:pt x="1400810" y="2539"/>
                </a:lnTo>
                <a:lnTo>
                  <a:pt x="1400810" y="507"/>
                </a:lnTo>
                <a:close/>
              </a:path>
              <a:path w="2843529" h="2816225">
                <a:moveTo>
                  <a:pt x="2383916" y="375538"/>
                </a:moveTo>
                <a:lnTo>
                  <a:pt x="2374265" y="385571"/>
                </a:lnTo>
                <a:lnTo>
                  <a:pt x="2379091" y="387603"/>
                </a:lnTo>
                <a:lnTo>
                  <a:pt x="2380488" y="390905"/>
                </a:lnTo>
                <a:lnTo>
                  <a:pt x="2384425" y="395224"/>
                </a:lnTo>
                <a:lnTo>
                  <a:pt x="2393950" y="385063"/>
                </a:lnTo>
                <a:lnTo>
                  <a:pt x="2390140" y="380745"/>
                </a:lnTo>
                <a:lnTo>
                  <a:pt x="2385314" y="378840"/>
                </a:lnTo>
                <a:lnTo>
                  <a:pt x="2383916" y="375538"/>
                </a:lnTo>
                <a:close/>
              </a:path>
              <a:path w="2843529" h="2816225">
                <a:moveTo>
                  <a:pt x="1453261" y="13969"/>
                </a:moveTo>
                <a:lnTo>
                  <a:pt x="1448435" y="13969"/>
                </a:lnTo>
                <a:lnTo>
                  <a:pt x="1453261" y="15875"/>
                </a:lnTo>
                <a:lnTo>
                  <a:pt x="1453261" y="13969"/>
                </a:lnTo>
                <a:close/>
              </a:path>
              <a:path w="2843529" h="2816225">
                <a:moveTo>
                  <a:pt x="1448435" y="0"/>
                </a:moveTo>
                <a:lnTo>
                  <a:pt x="1445005" y="1396"/>
                </a:lnTo>
                <a:lnTo>
                  <a:pt x="1439291" y="1904"/>
                </a:lnTo>
                <a:lnTo>
                  <a:pt x="1440307" y="13462"/>
                </a:lnTo>
                <a:lnTo>
                  <a:pt x="1442720" y="14477"/>
                </a:lnTo>
                <a:lnTo>
                  <a:pt x="1448435" y="13969"/>
                </a:lnTo>
                <a:lnTo>
                  <a:pt x="1453261" y="13969"/>
                </a:lnTo>
                <a:lnTo>
                  <a:pt x="1453261" y="1904"/>
                </a:lnTo>
                <a:lnTo>
                  <a:pt x="1448435" y="0"/>
                </a:lnTo>
                <a:close/>
              </a:path>
              <a:path w="2843529" h="2816225">
                <a:moveTo>
                  <a:pt x="2344801" y="340487"/>
                </a:moveTo>
                <a:lnTo>
                  <a:pt x="2335276" y="350519"/>
                </a:lnTo>
                <a:lnTo>
                  <a:pt x="2339086" y="354838"/>
                </a:lnTo>
                <a:lnTo>
                  <a:pt x="2341499" y="355853"/>
                </a:lnTo>
                <a:lnTo>
                  <a:pt x="2345308" y="360171"/>
                </a:lnTo>
                <a:lnTo>
                  <a:pt x="2354961" y="350012"/>
                </a:lnTo>
                <a:lnTo>
                  <a:pt x="2351151" y="345693"/>
                </a:lnTo>
                <a:lnTo>
                  <a:pt x="2348738" y="344804"/>
                </a:lnTo>
                <a:lnTo>
                  <a:pt x="2344801" y="340487"/>
                </a:lnTo>
                <a:close/>
              </a:path>
              <a:path w="2843529" h="2816225">
                <a:moveTo>
                  <a:pt x="1497457" y="2793"/>
                </a:moveTo>
                <a:lnTo>
                  <a:pt x="1491742" y="3301"/>
                </a:lnTo>
                <a:lnTo>
                  <a:pt x="1491742" y="17271"/>
                </a:lnTo>
                <a:lnTo>
                  <a:pt x="1495171" y="15875"/>
                </a:lnTo>
                <a:lnTo>
                  <a:pt x="1500886" y="15366"/>
                </a:lnTo>
                <a:lnTo>
                  <a:pt x="1503464" y="15366"/>
                </a:lnTo>
                <a:lnTo>
                  <a:pt x="1505617" y="3810"/>
                </a:lnTo>
                <a:lnTo>
                  <a:pt x="1499870" y="3810"/>
                </a:lnTo>
                <a:lnTo>
                  <a:pt x="1497457" y="2793"/>
                </a:lnTo>
                <a:close/>
              </a:path>
              <a:path w="2843529" h="2816225">
                <a:moveTo>
                  <a:pt x="1503464" y="15366"/>
                </a:moveTo>
                <a:lnTo>
                  <a:pt x="1500886" y="15366"/>
                </a:lnTo>
                <a:lnTo>
                  <a:pt x="1503298" y="16255"/>
                </a:lnTo>
                <a:lnTo>
                  <a:pt x="1503464" y="15366"/>
                </a:lnTo>
                <a:close/>
              </a:path>
              <a:path w="2843529" h="2816225">
                <a:moveTo>
                  <a:pt x="1505711" y="3301"/>
                </a:moveTo>
                <a:lnTo>
                  <a:pt x="1499870" y="3810"/>
                </a:lnTo>
                <a:lnTo>
                  <a:pt x="1505617" y="3810"/>
                </a:lnTo>
                <a:lnTo>
                  <a:pt x="1505711" y="3301"/>
                </a:lnTo>
                <a:close/>
              </a:path>
              <a:path w="2843529" h="2816225">
                <a:moveTo>
                  <a:pt x="2304923" y="307720"/>
                </a:moveTo>
                <a:lnTo>
                  <a:pt x="2295271" y="317880"/>
                </a:lnTo>
                <a:lnTo>
                  <a:pt x="2299080" y="322199"/>
                </a:lnTo>
                <a:lnTo>
                  <a:pt x="2303907" y="324103"/>
                </a:lnTo>
                <a:lnTo>
                  <a:pt x="2305430" y="327532"/>
                </a:lnTo>
                <a:lnTo>
                  <a:pt x="2314955" y="317373"/>
                </a:lnTo>
                <a:lnTo>
                  <a:pt x="2311146" y="313054"/>
                </a:lnTo>
                <a:lnTo>
                  <a:pt x="2306320" y="311150"/>
                </a:lnTo>
                <a:lnTo>
                  <a:pt x="2304923" y="307720"/>
                </a:lnTo>
                <a:close/>
              </a:path>
              <a:path w="2843529" h="2816225">
                <a:moveTo>
                  <a:pt x="1549018" y="6603"/>
                </a:moveTo>
                <a:lnTo>
                  <a:pt x="1543177" y="7112"/>
                </a:lnTo>
                <a:lnTo>
                  <a:pt x="1541780" y="17652"/>
                </a:lnTo>
                <a:lnTo>
                  <a:pt x="1551432" y="21462"/>
                </a:lnTo>
                <a:lnTo>
                  <a:pt x="1554734" y="20065"/>
                </a:lnTo>
                <a:lnTo>
                  <a:pt x="1557052" y="7619"/>
                </a:lnTo>
                <a:lnTo>
                  <a:pt x="1551432" y="7619"/>
                </a:lnTo>
                <a:lnTo>
                  <a:pt x="1549018" y="6603"/>
                </a:lnTo>
                <a:close/>
              </a:path>
              <a:path w="2843529" h="2816225">
                <a:moveTo>
                  <a:pt x="1557147" y="7112"/>
                </a:moveTo>
                <a:lnTo>
                  <a:pt x="1551432" y="7619"/>
                </a:lnTo>
                <a:lnTo>
                  <a:pt x="1557052" y="7619"/>
                </a:lnTo>
                <a:lnTo>
                  <a:pt x="1557147" y="7112"/>
                </a:lnTo>
                <a:close/>
              </a:path>
              <a:path w="2843529" h="2816225">
                <a:moveTo>
                  <a:pt x="2263902" y="277494"/>
                </a:moveTo>
                <a:lnTo>
                  <a:pt x="2254250" y="287654"/>
                </a:lnTo>
                <a:lnTo>
                  <a:pt x="2259076" y="289560"/>
                </a:lnTo>
                <a:lnTo>
                  <a:pt x="2260600" y="292862"/>
                </a:lnTo>
                <a:lnTo>
                  <a:pt x="2265426" y="294893"/>
                </a:lnTo>
                <a:lnTo>
                  <a:pt x="2272538" y="283717"/>
                </a:lnTo>
                <a:lnTo>
                  <a:pt x="2270125" y="282828"/>
                </a:lnTo>
                <a:lnTo>
                  <a:pt x="2266315" y="278511"/>
                </a:lnTo>
                <a:lnTo>
                  <a:pt x="2263902" y="277494"/>
                </a:lnTo>
                <a:close/>
              </a:path>
              <a:path w="2843529" h="2816225">
                <a:moveTo>
                  <a:pt x="1605467" y="25273"/>
                </a:moveTo>
                <a:lnTo>
                  <a:pt x="1602867" y="25273"/>
                </a:lnTo>
                <a:lnTo>
                  <a:pt x="1605280" y="26288"/>
                </a:lnTo>
                <a:lnTo>
                  <a:pt x="1605467" y="25273"/>
                </a:lnTo>
                <a:close/>
              </a:path>
              <a:path w="2843529" h="2816225">
                <a:moveTo>
                  <a:pt x="1594739" y="10921"/>
                </a:moveTo>
                <a:lnTo>
                  <a:pt x="1594739" y="24891"/>
                </a:lnTo>
                <a:lnTo>
                  <a:pt x="1597152" y="25780"/>
                </a:lnTo>
                <a:lnTo>
                  <a:pt x="1602867" y="25273"/>
                </a:lnTo>
                <a:lnTo>
                  <a:pt x="1605467" y="25273"/>
                </a:lnTo>
                <a:lnTo>
                  <a:pt x="1607692" y="13207"/>
                </a:lnTo>
                <a:lnTo>
                  <a:pt x="1606658" y="12826"/>
                </a:lnTo>
                <a:lnTo>
                  <a:pt x="1599565" y="12826"/>
                </a:lnTo>
                <a:lnTo>
                  <a:pt x="1594739" y="10921"/>
                </a:lnTo>
                <a:close/>
              </a:path>
              <a:path w="2843529" h="2816225">
                <a:moveTo>
                  <a:pt x="1605280" y="12318"/>
                </a:moveTo>
                <a:lnTo>
                  <a:pt x="1599565" y="12826"/>
                </a:lnTo>
                <a:lnTo>
                  <a:pt x="1606658" y="12826"/>
                </a:lnTo>
                <a:lnTo>
                  <a:pt x="1605280" y="12318"/>
                </a:lnTo>
                <a:close/>
              </a:path>
              <a:path w="2843529" h="2816225">
                <a:moveTo>
                  <a:pt x="2220595" y="246252"/>
                </a:moveTo>
                <a:lnTo>
                  <a:pt x="2213355" y="257428"/>
                </a:lnTo>
                <a:lnTo>
                  <a:pt x="2218182" y="259333"/>
                </a:lnTo>
                <a:lnTo>
                  <a:pt x="2219579" y="262636"/>
                </a:lnTo>
                <a:lnTo>
                  <a:pt x="2224404" y="264540"/>
                </a:lnTo>
                <a:lnTo>
                  <a:pt x="2231643" y="253491"/>
                </a:lnTo>
                <a:lnTo>
                  <a:pt x="2226817" y="251587"/>
                </a:lnTo>
                <a:lnTo>
                  <a:pt x="2224404" y="250570"/>
                </a:lnTo>
                <a:lnTo>
                  <a:pt x="2220595" y="246252"/>
                </a:lnTo>
                <a:close/>
              </a:path>
              <a:path w="2843529" h="2816225">
                <a:moveTo>
                  <a:pt x="1650111" y="18923"/>
                </a:moveTo>
                <a:lnTo>
                  <a:pt x="1646682" y="20446"/>
                </a:lnTo>
                <a:lnTo>
                  <a:pt x="1645285" y="30987"/>
                </a:lnTo>
                <a:lnTo>
                  <a:pt x="1647698" y="32003"/>
                </a:lnTo>
                <a:lnTo>
                  <a:pt x="1652524" y="33908"/>
                </a:lnTo>
                <a:lnTo>
                  <a:pt x="1658239" y="33400"/>
                </a:lnTo>
                <a:lnTo>
                  <a:pt x="1660557" y="20954"/>
                </a:lnTo>
                <a:lnTo>
                  <a:pt x="1654810" y="20954"/>
                </a:lnTo>
                <a:lnTo>
                  <a:pt x="1650111" y="18923"/>
                </a:lnTo>
                <a:close/>
              </a:path>
              <a:path w="2843529" h="2816225">
                <a:moveTo>
                  <a:pt x="1660652" y="20446"/>
                </a:moveTo>
                <a:lnTo>
                  <a:pt x="1654810" y="20954"/>
                </a:lnTo>
                <a:lnTo>
                  <a:pt x="1660557" y="20954"/>
                </a:lnTo>
                <a:lnTo>
                  <a:pt x="1660652" y="20446"/>
                </a:lnTo>
                <a:close/>
              </a:path>
              <a:path w="2843529" h="2816225">
                <a:moveTo>
                  <a:pt x="2176272" y="217424"/>
                </a:moveTo>
                <a:lnTo>
                  <a:pt x="2171446" y="229488"/>
                </a:lnTo>
                <a:lnTo>
                  <a:pt x="2173859" y="230504"/>
                </a:lnTo>
                <a:lnTo>
                  <a:pt x="2177668" y="234823"/>
                </a:lnTo>
                <a:lnTo>
                  <a:pt x="2180082" y="235712"/>
                </a:lnTo>
                <a:lnTo>
                  <a:pt x="2187321" y="224662"/>
                </a:lnTo>
                <a:lnTo>
                  <a:pt x="2184908" y="223774"/>
                </a:lnTo>
                <a:lnTo>
                  <a:pt x="2180082" y="221868"/>
                </a:lnTo>
                <a:lnTo>
                  <a:pt x="2176272" y="217424"/>
                </a:lnTo>
                <a:close/>
              </a:path>
              <a:path w="2843529" h="2816225">
                <a:moveTo>
                  <a:pt x="1702053" y="28575"/>
                </a:moveTo>
                <a:lnTo>
                  <a:pt x="1696212" y="29082"/>
                </a:lnTo>
                <a:lnTo>
                  <a:pt x="1694814" y="39624"/>
                </a:lnTo>
                <a:lnTo>
                  <a:pt x="1704466" y="43433"/>
                </a:lnTo>
                <a:lnTo>
                  <a:pt x="1706879" y="44450"/>
                </a:lnTo>
                <a:lnTo>
                  <a:pt x="1709292" y="31368"/>
                </a:lnTo>
                <a:lnTo>
                  <a:pt x="1706879" y="30479"/>
                </a:lnTo>
                <a:lnTo>
                  <a:pt x="1702053" y="28575"/>
                </a:lnTo>
                <a:close/>
              </a:path>
              <a:path w="2843529" h="2816225">
                <a:moveTo>
                  <a:pt x="2133346" y="192024"/>
                </a:moveTo>
                <a:lnTo>
                  <a:pt x="2126234" y="203073"/>
                </a:lnTo>
                <a:lnTo>
                  <a:pt x="2131060" y="204977"/>
                </a:lnTo>
                <a:lnTo>
                  <a:pt x="2133473" y="205993"/>
                </a:lnTo>
                <a:lnTo>
                  <a:pt x="2137283" y="210312"/>
                </a:lnTo>
                <a:lnTo>
                  <a:pt x="2144522" y="199262"/>
                </a:lnTo>
                <a:lnTo>
                  <a:pt x="2139696" y="197357"/>
                </a:lnTo>
                <a:lnTo>
                  <a:pt x="2135759" y="193039"/>
                </a:lnTo>
                <a:lnTo>
                  <a:pt x="2133346" y="192024"/>
                </a:lnTo>
                <a:close/>
              </a:path>
              <a:path w="2843529" h="2816225">
                <a:moveTo>
                  <a:pt x="1748282" y="38607"/>
                </a:moveTo>
                <a:lnTo>
                  <a:pt x="1745868" y="51562"/>
                </a:lnTo>
                <a:lnTo>
                  <a:pt x="1748282" y="52577"/>
                </a:lnTo>
                <a:lnTo>
                  <a:pt x="1753108" y="54482"/>
                </a:lnTo>
                <a:lnTo>
                  <a:pt x="1758823" y="53975"/>
                </a:lnTo>
                <a:lnTo>
                  <a:pt x="1760220" y="43433"/>
                </a:lnTo>
                <a:lnTo>
                  <a:pt x="1755521" y="41401"/>
                </a:lnTo>
                <a:lnTo>
                  <a:pt x="1753108" y="40512"/>
                </a:lnTo>
                <a:lnTo>
                  <a:pt x="1748282" y="38607"/>
                </a:lnTo>
                <a:close/>
              </a:path>
              <a:path w="2843529" h="2816225">
                <a:moveTo>
                  <a:pt x="2087117" y="168020"/>
                </a:moveTo>
                <a:lnTo>
                  <a:pt x="2080005" y="179069"/>
                </a:lnTo>
                <a:lnTo>
                  <a:pt x="2084832" y="180975"/>
                </a:lnTo>
                <a:lnTo>
                  <a:pt x="2089658" y="183006"/>
                </a:lnTo>
                <a:lnTo>
                  <a:pt x="2092071" y="183895"/>
                </a:lnTo>
                <a:lnTo>
                  <a:pt x="2099183" y="172846"/>
                </a:lnTo>
                <a:lnTo>
                  <a:pt x="2089530" y="169037"/>
                </a:lnTo>
                <a:lnTo>
                  <a:pt x="2087117" y="168020"/>
                </a:lnTo>
                <a:close/>
              </a:path>
              <a:path w="2843529" h="2816225">
                <a:moveTo>
                  <a:pt x="1807577" y="64515"/>
                </a:moveTo>
                <a:lnTo>
                  <a:pt x="1799336" y="64515"/>
                </a:lnTo>
                <a:lnTo>
                  <a:pt x="1806448" y="67310"/>
                </a:lnTo>
                <a:lnTo>
                  <a:pt x="1807577" y="64515"/>
                </a:lnTo>
                <a:close/>
              </a:path>
              <a:path w="2843529" h="2816225">
                <a:moveTo>
                  <a:pt x="1798320" y="52958"/>
                </a:moveTo>
                <a:lnTo>
                  <a:pt x="1793493" y="65024"/>
                </a:lnTo>
                <a:lnTo>
                  <a:pt x="1799336" y="64515"/>
                </a:lnTo>
                <a:lnTo>
                  <a:pt x="1807577" y="64515"/>
                </a:lnTo>
                <a:lnTo>
                  <a:pt x="1811274" y="55371"/>
                </a:lnTo>
                <a:lnTo>
                  <a:pt x="1809987" y="54863"/>
                </a:lnTo>
                <a:lnTo>
                  <a:pt x="1803146" y="54863"/>
                </a:lnTo>
                <a:lnTo>
                  <a:pt x="1798320" y="52958"/>
                </a:lnTo>
                <a:close/>
              </a:path>
              <a:path w="2843529" h="2816225">
                <a:moveTo>
                  <a:pt x="1806448" y="53466"/>
                </a:moveTo>
                <a:lnTo>
                  <a:pt x="1803146" y="54863"/>
                </a:lnTo>
                <a:lnTo>
                  <a:pt x="1809987" y="54863"/>
                </a:lnTo>
                <a:lnTo>
                  <a:pt x="1806448" y="53466"/>
                </a:lnTo>
                <a:close/>
              </a:path>
              <a:path w="2843529" h="2816225">
                <a:moveTo>
                  <a:pt x="2040889" y="144017"/>
                </a:moveTo>
                <a:lnTo>
                  <a:pt x="2036190" y="156082"/>
                </a:lnTo>
                <a:lnTo>
                  <a:pt x="2038603" y="157099"/>
                </a:lnTo>
                <a:lnTo>
                  <a:pt x="2043429" y="159003"/>
                </a:lnTo>
                <a:lnTo>
                  <a:pt x="2045842" y="159892"/>
                </a:lnTo>
                <a:lnTo>
                  <a:pt x="2052954" y="148843"/>
                </a:lnTo>
                <a:lnTo>
                  <a:pt x="2048128" y="146938"/>
                </a:lnTo>
                <a:lnTo>
                  <a:pt x="2045715" y="145923"/>
                </a:lnTo>
                <a:lnTo>
                  <a:pt x="2040889" y="144017"/>
                </a:lnTo>
                <a:close/>
              </a:path>
              <a:path w="2843529" h="2816225">
                <a:moveTo>
                  <a:pt x="1848358" y="67310"/>
                </a:moveTo>
                <a:lnTo>
                  <a:pt x="1843532" y="79375"/>
                </a:lnTo>
                <a:lnTo>
                  <a:pt x="1853184" y="83185"/>
                </a:lnTo>
                <a:lnTo>
                  <a:pt x="1855597" y="84200"/>
                </a:lnTo>
                <a:lnTo>
                  <a:pt x="1860423" y="72136"/>
                </a:lnTo>
                <a:lnTo>
                  <a:pt x="1855597" y="70230"/>
                </a:lnTo>
                <a:lnTo>
                  <a:pt x="1853184" y="69214"/>
                </a:lnTo>
                <a:lnTo>
                  <a:pt x="1848358" y="67310"/>
                </a:lnTo>
                <a:close/>
              </a:path>
              <a:path w="2843529" h="2816225">
                <a:moveTo>
                  <a:pt x="1993773" y="122427"/>
                </a:moveTo>
                <a:lnTo>
                  <a:pt x="1988947" y="134492"/>
                </a:lnTo>
                <a:lnTo>
                  <a:pt x="1991360" y="135508"/>
                </a:lnTo>
                <a:lnTo>
                  <a:pt x="2001012" y="139318"/>
                </a:lnTo>
                <a:lnTo>
                  <a:pt x="2005838" y="127253"/>
                </a:lnTo>
                <a:lnTo>
                  <a:pt x="2001012" y="125349"/>
                </a:lnTo>
                <a:lnTo>
                  <a:pt x="1998599" y="124332"/>
                </a:lnTo>
                <a:lnTo>
                  <a:pt x="1993773" y="122427"/>
                </a:lnTo>
                <a:close/>
              </a:path>
              <a:path w="2843529" h="2816225">
                <a:moveTo>
                  <a:pt x="1897507" y="84074"/>
                </a:moveTo>
                <a:lnTo>
                  <a:pt x="1892680" y="96138"/>
                </a:lnTo>
                <a:lnTo>
                  <a:pt x="1897507" y="98043"/>
                </a:lnTo>
                <a:lnTo>
                  <a:pt x="1899920" y="99060"/>
                </a:lnTo>
                <a:lnTo>
                  <a:pt x="1904746" y="100964"/>
                </a:lnTo>
                <a:lnTo>
                  <a:pt x="1909572" y="88900"/>
                </a:lnTo>
                <a:lnTo>
                  <a:pt x="1904746" y="86994"/>
                </a:lnTo>
                <a:lnTo>
                  <a:pt x="1902333" y="85978"/>
                </a:lnTo>
                <a:lnTo>
                  <a:pt x="1897507" y="84074"/>
                </a:lnTo>
                <a:close/>
              </a:path>
              <a:path w="2843529" h="2816225">
                <a:moveTo>
                  <a:pt x="1946528" y="100837"/>
                </a:moveTo>
                <a:lnTo>
                  <a:pt x="1941829" y="112902"/>
                </a:lnTo>
                <a:lnTo>
                  <a:pt x="1944242" y="113918"/>
                </a:lnTo>
                <a:lnTo>
                  <a:pt x="1946655" y="114807"/>
                </a:lnTo>
                <a:lnTo>
                  <a:pt x="1948941" y="115824"/>
                </a:lnTo>
                <a:lnTo>
                  <a:pt x="1953767" y="117728"/>
                </a:lnTo>
                <a:lnTo>
                  <a:pt x="1958593" y="105663"/>
                </a:lnTo>
                <a:lnTo>
                  <a:pt x="1953767" y="103758"/>
                </a:lnTo>
                <a:lnTo>
                  <a:pt x="1951354" y="102742"/>
                </a:lnTo>
                <a:lnTo>
                  <a:pt x="1948941" y="101853"/>
                </a:lnTo>
                <a:lnTo>
                  <a:pt x="1946528" y="100837"/>
                </a:lnTo>
                <a:close/>
              </a:path>
            </a:pathLst>
          </a:custGeom>
          <a:solidFill>
            <a:srgbClr val="FFFFFF"/>
          </a:solidFill>
        </p:spPr>
        <p:txBody>
          <a:bodyPr wrap="square" lIns="0" tIns="0" rIns="0" bIns="0" rtlCol="0"/>
          <a:lstStyle/>
          <a:p>
            <a:endParaRPr/>
          </a:p>
        </p:txBody>
      </p:sp>
      <p:sp>
        <p:nvSpPr>
          <p:cNvPr id="5" name="object 5"/>
          <p:cNvSpPr/>
          <p:nvPr/>
        </p:nvSpPr>
        <p:spPr>
          <a:xfrm>
            <a:off x="2701289" y="4508500"/>
            <a:ext cx="15875" cy="15875"/>
          </a:xfrm>
          <a:custGeom>
            <a:avLst/>
            <a:gdLst/>
            <a:ahLst/>
            <a:cxnLst/>
            <a:rect l="l" t="t" r="r" b="b"/>
            <a:pathLst>
              <a:path w="15875" h="15875">
                <a:moveTo>
                  <a:pt x="12573" y="0"/>
                </a:moveTo>
                <a:lnTo>
                  <a:pt x="9143" y="1397"/>
                </a:lnTo>
                <a:lnTo>
                  <a:pt x="5842" y="2920"/>
                </a:lnTo>
                <a:lnTo>
                  <a:pt x="0" y="3429"/>
                </a:lnTo>
                <a:lnTo>
                  <a:pt x="3429" y="15875"/>
                </a:lnTo>
                <a:lnTo>
                  <a:pt x="9143" y="15367"/>
                </a:lnTo>
                <a:lnTo>
                  <a:pt x="12573" y="13969"/>
                </a:lnTo>
                <a:lnTo>
                  <a:pt x="15875" y="12573"/>
                </a:lnTo>
                <a:lnTo>
                  <a:pt x="12573" y="0"/>
                </a:lnTo>
              </a:path>
            </a:pathLst>
          </a:custGeom>
          <a:ln w="9525">
            <a:solidFill>
              <a:srgbClr val="FFFFFF"/>
            </a:solidFill>
          </a:ln>
        </p:spPr>
        <p:txBody>
          <a:bodyPr wrap="square" lIns="0" tIns="0" rIns="0" bIns="0" rtlCol="0"/>
          <a:lstStyle/>
          <a:p>
            <a:endParaRPr/>
          </a:p>
        </p:txBody>
      </p:sp>
      <p:sp>
        <p:nvSpPr>
          <p:cNvPr id="6" name="object 6"/>
          <p:cNvSpPr/>
          <p:nvPr/>
        </p:nvSpPr>
        <p:spPr>
          <a:xfrm>
            <a:off x="2752344" y="4492497"/>
            <a:ext cx="15875" cy="16510"/>
          </a:xfrm>
          <a:custGeom>
            <a:avLst/>
            <a:gdLst/>
            <a:ahLst/>
            <a:cxnLst/>
            <a:rect l="l" t="t" r="r" b="b"/>
            <a:pathLst>
              <a:path w="15875" h="16510">
                <a:moveTo>
                  <a:pt x="12445" y="0"/>
                </a:moveTo>
                <a:lnTo>
                  <a:pt x="9143" y="1524"/>
                </a:lnTo>
                <a:lnTo>
                  <a:pt x="3301" y="2031"/>
                </a:lnTo>
                <a:lnTo>
                  <a:pt x="0" y="3428"/>
                </a:lnTo>
                <a:lnTo>
                  <a:pt x="3301" y="16001"/>
                </a:lnTo>
                <a:lnTo>
                  <a:pt x="6731" y="14477"/>
                </a:lnTo>
                <a:lnTo>
                  <a:pt x="12445" y="13969"/>
                </a:lnTo>
                <a:lnTo>
                  <a:pt x="15875" y="12572"/>
                </a:lnTo>
                <a:lnTo>
                  <a:pt x="12445" y="0"/>
                </a:lnTo>
              </a:path>
            </a:pathLst>
          </a:custGeom>
          <a:ln w="9525">
            <a:solidFill>
              <a:srgbClr val="FFFFFF"/>
            </a:solidFill>
          </a:ln>
        </p:spPr>
        <p:txBody>
          <a:bodyPr wrap="square" lIns="0" tIns="0" rIns="0" bIns="0" rtlCol="0"/>
          <a:lstStyle/>
          <a:p>
            <a:endParaRPr/>
          </a:p>
        </p:txBody>
      </p:sp>
      <p:sp>
        <p:nvSpPr>
          <p:cNvPr id="7" name="object 7"/>
          <p:cNvSpPr/>
          <p:nvPr/>
        </p:nvSpPr>
        <p:spPr>
          <a:xfrm>
            <a:off x="2799969" y="4475607"/>
            <a:ext cx="17145" cy="15875"/>
          </a:xfrm>
          <a:custGeom>
            <a:avLst/>
            <a:gdLst/>
            <a:ahLst/>
            <a:cxnLst/>
            <a:rect l="l" t="t" r="r" b="b"/>
            <a:pathLst>
              <a:path w="17144" h="15875">
                <a:moveTo>
                  <a:pt x="13462" y="0"/>
                </a:moveTo>
                <a:lnTo>
                  <a:pt x="10032" y="1524"/>
                </a:lnTo>
                <a:lnTo>
                  <a:pt x="4318" y="2032"/>
                </a:lnTo>
                <a:lnTo>
                  <a:pt x="0" y="5842"/>
                </a:lnTo>
                <a:lnTo>
                  <a:pt x="4318" y="15875"/>
                </a:lnTo>
                <a:lnTo>
                  <a:pt x="10032" y="15494"/>
                </a:lnTo>
                <a:lnTo>
                  <a:pt x="13462" y="13970"/>
                </a:lnTo>
                <a:lnTo>
                  <a:pt x="16763" y="12573"/>
                </a:lnTo>
                <a:lnTo>
                  <a:pt x="13462" y="0"/>
                </a:lnTo>
              </a:path>
            </a:pathLst>
          </a:custGeom>
          <a:ln w="9525">
            <a:solidFill>
              <a:srgbClr val="FFFFFF"/>
            </a:solidFill>
          </a:ln>
        </p:spPr>
        <p:txBody>
          <a:bodyPr wrap="square" lIns="0" tIns="0" rIns="0" bIns="0" rtlCol="0"/>
          <a:lstStyle/>
          <a:p>
            <a:endParaRPr/>
          </a:p>
        </p:txBody>
      </p:sp>
      <p:sp>
        <p:nvSpPr>
          <p:cNvPr id="8" name="object 8"/>
          <p:cNvSpPr/>
          <p:nvPr/>
        </p:nvSpPr>
        <p:spPr>
          <a:xfrm>
            <a:off x="2849498" y="4457827"/>
            <a:ext cx="17145" cy="17145"/>
          </a:xfrm>
          <a:custGeom>
            <a:avLst/>
            <a:gdLst/>
            <a:ahLst/>
            <a:cxnLst/>
            <a:rect l="l" t="t" r="r" b="b"/>
            <a:pathLst>
              <a:path w="17144" h="17145">
                <a:moveTo>
                  <a:pt x="10032" y="0"/>
                </a:moveTo>
                <a:lnTo>
                  <a:pt x="6731" y="1397"/>
                </a:lnTo>
                <a:lnTo>
                  <a:pt x="3301" y="2793"/>
                </a:lnTo>
                <a:lnTo>
                  <a:pt x="0" y="4318"/>
                </a:lnTo>
                <a:lnTo>
                  <a:pt x="3301" y="16764"/>
                </a:lnTo>
                <a:lnTo>
                  <a:pt x="6731" y="15367"/>
                </a:lnTo>
                <a:lnTo>
                  <a:pt x="12445" y="14859"/>
                </a:lnTo>
                <a:lnTo>
                  <a:pt x="16763" y="11049"/>
                </a:lnTo>
                <a:lnTo>
                  <a:pt x="10032" y="0"/>
                </a:lnTo>
              </a:path>
            </a:pathLst>
          </a:custGeom>
          <a:ln w="9525">
            <a:solidFill>
              <a:srgbClr val="FFFFFF"/>
            </a:solidFill>
          </a:ln>
        </p:spPr>
        <p:txBody>
          <a:bodyPr wrap="square" lIns="0" tIns="0" rIns="0" bIns="0" rtlCol="0"/>
          <a:lstStyle/>
          <a:p>
            <a:endParaRPr/>
          </a:p>
        </p:txBody>
      </p:sp>
      <p:sp>
        <p:nvSpPr>
          <p:cNvPr id="9" name="object 9"/>
          <p:cNvSpPr/>
          <p:nvPr/>
        </p:nvSpPr>
        <p:spPr>
          <a:xfrm>
            <a:off x="2896616" y="4437507"/>
            <a:ext cx="17145" cy="17145"/>
          </a:xfrm>
          <a:custGeom>
            <a:avLst/>
            <a:gdLst/>
            <a:ahLst/>
            <a:cxnLst/>
            <a:rect l="l" t="t" r="r" b="b"/>
            <a:pathLst>
              <a:path w="17144" h="17145">
                <a:moveTo>
                  <a:pt x="10032" y="0"/>
                </a:moveTo>
                <a:lnTo>
                  <a:pt x="6731" y="1397"/>
                </a:lnTo>
                <a:lnTo>
                  <a:pt x="3301" y="2921"/>
                </a:lnTo>
                <a:lnTo>
                  <a:pt x="0" y="4318"/>
                </a:lnTo>
                <a:lnTo>
                  <a:pt x="3301" y="16891"/>
                </a:lnTo>
                <a:lnTo>
                  <a:pt x="9143" y="16383"/>
                </a:lnTo>
                <a:lnTo>
                  <a:pt x="13461" y="12573"/>
                </a:lnTo>
                <a:lnTo>
                  <a:pt x="16763" y="11049"/>
                </a:lnTo>
                <a:lnTo>
                  <a:pt x="10032" y="0"/>
                </a:lnTo>
              </a:path>
            </a:pathLst>
          </a:custGeom>
          <a:ln w="9525">
            <a:solidFill>
              <a:srgbClr val="FFFFFF"/>
            </a:solidFill>
          </a:ln>
        </p:spPr>
        <p:txBody>
          <a:bodyPr wrap="square" lIns="0" tIns="0" rIns="0" bIns="0" rtlCol="0"/>
          <a:lstStyle/>
          <a:p>
            <a:endParaRPr/>
          </a:p>
        </p:txBody>
      </p:sp>
      <p:sp>
        <p:nvSpPr>
          <p:cNvPr id="10" name="object 10"/>
          <p:cNvSpPr/>
          <p:nvPr/>
        </p:nvSpPr>
        <p:spPr>
          <a:xfrm>
            <a:off x="2943732" y="4414773"/>
            <a:ext cx="17145" cy="17145"/>
          </a:xfrm>
          <a:custGeom>
            <a:avLst/>
            <a:gdLst/>
            <a:ahLst/>
            <a:cxnLst/>
            <a:rect l="l" t="t" r="r" b="b"/>
            <a:pathLst>
              <a:path w="17144" h="17145">
                <a:moveTo>
                  <a:pt x="11049" y="0"/>
                </a:moveTo>
                <a:lnTo>
                  <a:pt x="7619" y="1524"/>
                </a:lnTo>
                <a:lnTo>
                  <a:pt x="3302" y="5333"/>
                </a:lnTo>
                <a:lnTo>
                  <a:pt x="0" y="6857"/>
                </a:lnTo>
                <a:lnTo>
                  <a:pt x="4318" y="16890"/>
                </a:lnTo>
                <a:lnTo>
                  <a:pt x="7747" y="15493"/>
                </a:lnTo>
                <a:lnTo>
                  <a:pt x="11049" y="13969"/>
                </a:lnTo>
                <a:lnTo>
                  <a:pt x="16891" y="13462"/>
                </a:lnTo>
                <a:lnTo>
                  <a:pt x="11049" y="0"/>
                </a:lnTo>
              </a:path>
            </a:pathLst>
          </a:custGeom>
          <a:ln w="9525">
            <a:solidFill>
              <a:srgbClr val="FFFFFF"/>
            </a:solidFill>
          </a:ln>
        </p:spPr>
        <p:txBody>
          <a:bodyPr wrap="square" lIns="0" tIns="0" rIns="0" bIns="0" rtlCol="0"/>
          <a:lstStyle/>
          <a:p>
            <a:endParaRPr/>
          </a:p>
        </p:txBody>
      </p:sp>
      <p:sp>
        <p:nvSpPr>
          <p:cNvPr id="11" name="object 11"/>
          <p:cNvSpPr/>
          <p:nvPr/>
        </p:nvSpPr>
        <p:spPr>
          <a:xfrm>
            <a:off x="2989452" y="4391152"/>
            <a:ext cx="17780" cy="17145"/>
          </a:xfrm>
          <a:custGeom>
            <a:avLst/>
            <a:gdLst/>
            <a:ahLst/>
            <a:cxnLst/>
            <a:rect l="l" t="t" r="r" b="b"/>
            <a:pathLst>
              <a:path w="17780" h="17145">
                <a:moveTo>
                  <a:pt x="11049" y="0"/>
                </a:moveTo>
                <a:lnTo>
                  <a:pt x="6731" y="3937"/>
                </a:lnTo>
                <a:lnTo>
                  <a:pt x="3302" y="5334"/>
                </a:lnTo>
                <a:lnTo>
                  <a:pt x="0" y="6731"/>
                </a:lnTo>
                <a:lnTo>
                  <a:pt x="4318" y="16891"/>
                </a:lnTo>
                <a:lnTo>
                  <a:pt x="10033" y="16383"/>
                </a:lnTo>
                <a:lnTo>
                  <a:pt x="13462" y="14986"/>
                </a:lnTo>
                <a:lnTo>
                  <a:pt x="17780" y="11049"/>
                </a:lnTo>
                <a:lnTo>
                  <a:pt x="11049" y="0"/>
                </a:lnTo>
              </a:path>
            </a:pathLst>
          </a:custGeom>
          <a:ln w="9525">
            <a:solidFill>
              <a:srgbClr val="FFFFFF"/>
            </a:solidFill>
          </a:ln>
        </p:spPr>
        <p:txBody>
          <a:bodyPr wrap="square" lIns="0" tIns="0" rIns="0" bIns="0" rtlCol="0"/>
          <a:lstStyle/>
          <a:p>
            <a:endParaRPr/>
          </a:p>
        </p:txBody>
      </p:sp>
      <p:sp>
        <p:nvSpPr>
          <p:cNvPr id="12" name="object 12"/>
          <p:cNvSpPr/>
          <p:nvPr/>
        </p:nvSpPr>
        <p:spPr>
          <a:xfrm>
            <a:off x="3032632" y="4366640"/>
            <a:ext cx="18415" cy="17780"/>
          </a:xfrm>
          <a:custGeom>
            <a:avLst/>
            <a:gdLst/>
            <a:ahLst/>
            <a:cxnLst/>
            <a:rect l="l" t="t" r="r" b="b"/>
            <a:pathLst>
              <a:path w="18414" h="17779">
                <a:moveTo>
                  <a:pt x="11049" y="0"/>
                </a:moveTo>
                <a:lnTo>
                  <a:pt x="7747" y="1396"/>
                </a:lnTo>
                <a:lnTo>
                  <a:pt x="4318" y="2793"/>
                </a:lnTo>
                <a:lnTo>
                  <a:pt x="0" y="6730"/>
                </a:lnTo>
                <a:lnTo>
                  <a:pt x="6731" y="17779"/>
                </a:lnTo>
                <a:lnTo>
                  <a:pt x="11175" y="13842"/>
                </a:lnTo>
                <a:lnTo>
                  <a:pt x="14478" y="12445"/>
                </a:lnTo>
                <a:lnTo>
                  <a:pt x="17906" y="11048"/>
                </a:lnTo>
                <a:lnTo>
                  <a:pt x="11049" y="0"/>
                </a:lnTo>
              </a:path>
            </a:pathLst>
          </a:custGeom>
          <a:ln w="9525">
            <a:solidFill>
              <a:srgbClr val="FFFFFF"/>
            </a:solidFill>
          </a:ln>
        </p:spPr>
        <p:txBody>
          <a:bodyPr wrap="square" lIns="0" tIns="0" rIns="0" bIns="0" rtlCol="0"/>
          <a:lstStyle/>
          <a:p>
            <a:endParaRPr/>
          </a:p>
        </p:txBody>
      </p:sp>
      <p:sp>
        <p:nvSpPr>
          <p:cNvPr id="13" name="object 13"/>
          <p:cNvSpPr/>
          <p:nvPr/>
        </p:nvSpPr>
        <p:spPr>
          <a:xfrm>
            <a:off x="3076955" y="4339590"/>
            <a:ext cx="17780" cy="17780"/>
          </a:xfrm>
          <a:custGeom>
            <a:avLst/>
            <a:gdLst/>
            <a:ahLst/>
            <a:cxnLst/>
            <a:rect l="l" t="t" r="r" b="b"/>
            <a:pathLst>
              <a:path w="17780" h="17779">
                <a:moveTo>
                  <a:pt x="11049" y="0"/>
                </a:moveTo>
                <a:lnTo>
                  <a:pt x="7619" y="1397"/>
                </a:lnTo>
                <a:lnTo>
                  <a:pt x="3301" y="5334"/>
                </a:lnTo>
                <a:lnTo>
                  <a:pt x="0" y="6731"/>
                </a:lnTo>
                <a:lnTo>
                  <a:pt x="6731" y="17780"/>
                </a:lnTo>
                <a:lnTo>
                  <a:pt x="11049" y="13970"/>
                </a:lnTo>
                <a:lnTo>
                  <a:pt x="14350" y="12446"/>
                </a:lnTo>
                <a:lnTo>
                  <a:pt x="17780" y="11049"/>
                </a:lnTo>
                <a:lnTo>
                  <a:pt x="11049" y="0"/>
                </a:lnTo>
              </a:path>
            </a:pathLst>
          </a:custGeom>
          <a:ln w="9525">
            <a:solidFill>
              <a:srgbClr val="FFFFFF"/>
            </a:solidFill>
          </a:ln>
        </p:spPr>
        <p:txBody>
          <a:bodyPr wrap="square" lIns="0" tIns="0" rIns="0" bIns="0" rtlCol="0"/>
          <a:lstStyle/>
          <a:p>
            <a:endParaRPr/>
          </a:p>
        </p:txBody>
      </p:sp>
      <p:sp>
        <p:nvSpPr>
          <p:cNvPr id="14" name="object 14"/>
          <p:cNvSpPr/>
          <p:nvPr/>
        </p:nvSpPr>
        <p:spPr>
          <a:xfrm>
            <a:off x="3121151" y="4311650"/>
            <a:ext cx="19050" cy="16510"/>
          </a:xfrm>
          <a:custGeom>
            <a:avLst/>
            <a:gdLst/>
            <a:ahLst/>
            <a:cxnLst/>
            <a:rect l="l" t="t" r="r" b="b"/>
            <a:pathLst>
              <a:path w="19050" h="16510">
                <a:moveTo>
                  <a:pt x="8636" y="0"/>
                </a:moveTo>
                <a:lnTo>
                  <a:pt x="7620" y="2412"/>
                </a:lnTo>
                <a:lnTo>
                  <a:pt x="4318" y="3810"/>
                </a:lnTo>
                <a:lnTo>
                  <a:pt x="0" y="7619"/>
                </a:lnTo>
                <a:lnTo>
                  <a:pt x="7747" y="16382"/>
                </a:lnTo>
                <a:lnTo>
                  <a:pt x="11049" y="14858"/>
                </a:lnTo>
                <a:lnTo>
                  <a:pt x="14478" y="13462"/>
                </a:lnTo>
                <a:lnTo>
                  <a:pt x="18796" y="9525"/>
                </a:lnTo>
                <a:lnTo>
                  <a:pt x="8636" y="0"/>
                </a:lnTo>
              </a:path>
            </a:pathLst>
          </a:custGeom>
          <a:ln w="9525">
            <a:solidFill>
              <a:srgbClr val="FFFFFF"/>
            </a:solidFill>
          </a:ln>
        </p:spPr>
        <p:txBody>
          <a:bodyPr wrap="square" lIns="0" tIns="0" rIns="0" bIns="0" rtlCol="0"/>
          <a:lstStyle/>
          <a:p>
            <a:endParaRPr/>
          </a:p>
        </p:txBody>
      </p:sp>
      <p:sp>
        <p:nvSpPr>
          <p:cNvPr id="15" name="object 15"/>
          <p:cNvSpPr/>
          <p:nvPr/>
        </p:nvSpPr>
        <p:spPr>
          <a:xfrm>
            <a:off x="3163951" y="4281296"/>
            <a:ext cx="16510" cy="19050"/>
          </a:xfrm>
          <a:custGeom>
            <a:avLst/>
            <a:gdLst/>
            <a:ahLst/>
            <a:cxnLst/>
            <a:rect l="l" t="t" r="r" b="b"/>
            <a:pathLst>
              <a:path w="16510" h="19050">
                <a:moveTo>
                  <a:pt x="8636" y="0"/>
                </a:moveTo>
                <a:lnTo>
                  <a:pt x="5206" y="1396"/>
                </a:lnTo>
                <a:lnTo>
                  <a:pt x="888" y="5206"/>
                </a:lnTo>
                <a:lnTo>
                  <a:pt x="0" y="7619"/>
                </a:lnTo>
                <a:lnTo>
                  <a:pt x="6731" y="18668"/>
                </a:lnTo>
                <a:lnTo>
                  <a:pt x="11049" y="14858"/>
                </a:lnTo>
                <a:lnTo>
                  <a:pt x="12065" y="12445"/>
                </a:lnTo>
                <a:lnTo>
                  <a:pt x="16382" y="8635"/>
                </a:lnTo>
                <a:lnTo>
                  <a:pt x="8636" y="0"/>
                </a:lnTo>
              </a:path>
            </a:pathLst>
          </a:custGeom>
          <a:ln w="9525">
            <a:solidFill>
              <a:srgbClr val="FFFFFF"/>
            </a:solidFill>
          </a:ln>
        </p:spPr>
        <p:txBody>
          <a:bodyPr wrap="square" lIns="0" tIns="0" rIns="0" bIns="0" rtlCol="0"/>
          <a:lstStyle/>
          <a:p>
            <a:endParaRPr/>
          </a:p>
        </p:txBody>
      </p:sp>
      <p:sp>
        <p:nvSpPr>
          <p:cNvPr id="16" name="object 16"/>
          <p:cNvSpPr/>
          <p:nvPr/>
        </p:nvSpPr>
        <p:spPr>
          <a:xfrm>
            <a:off x="3204336" y="4249928"/>
            <a:ext cx="19050" cy="16510"/>
          </a:xfrm>
          <a:custGeom>
            <a:avLst/>
            <a:gdLst/>
            <a:ahLst/>
            <a:cxnLst/>
            <a:rect l="l" t="t" r="r" b="b"/>
            <a:pathLst>
              <a:path w="19050" h="16510">
                <a:moveTo>
                  <a:pt x="8636" y="0"/>
                </a:moveTo>
                <a:lnTo>
                  <a:pt x="5206" y="1397"/>
                </a:lnTo>
                <a:lnTo>
                  <a:pt x="3301" y="6223"/>
                </a:lnTo>
                <a:lnTo>
                  <a:pt x="0" y="7747"/>
                </a:lnTo>
                <a:lnTo>
                  <a:pt x="7619" y="16383"/>
                </a:lnTo>
                <a:lnTo>
                  <a:pt x="11049" y="14859"/>
                </a:lnTo>
                <a:lnTo>
                  <a:pt x="14350" y="13462"/>
                </a:lnTo>
                <a:lnTo>
                  <a:pt x="18668" y="9652"/>
                </a:lnTo>
                <a:lnTo>
                  <a:pt x="8636" y="0"/>
                </a:lnTo>
              </a:path>
            </a:pathLst>
          </a:custGeom>
          <a:ln w="9525">
            <a:solidFill>
              <a:srgbClr val="FFFFFF"/>
            </a:solidFill>
          </a:ln>
        </p:spPr>
        <p:txBody>
          <a:bodyPr wrap="square" lIns="0" tIns="0" rIns="0" bIns="0" rtlCol="0"/>
          <a:lstStyle/>
          <a:p>
            <a:endParaRPr/>
          </a:p>
        </p:txBody>
      </p:sp>
      <p:sp>
        <p:nvSpPr>
          <p:cNvPr id="17" name="object 17"/>
          <p:cNvSpPr/>
          <p:nvPr/>
        </p:nvSpPr>
        <p:spPr>
          <a:xfrm>
            <a:off x="3242310" y="4216146"/>
            <a:ext cx="19685" cy="19050"/>
          </a:xfrm>
          <a:custGeom>
            <a:avLst/>
            <a:gdLst/>
            <a:ahLst/>
            <a:cxnLst/>
            <a:rect l="l" t="t" r="r" b="b"/>
            <a:pathLst>
              <a:path w="19685" h="19050">
                <a:moveTo>
                  <a:pt x="11937" y="0"/>
                </a:moveTo>
                <a:lnTo>
                  <a:pt x="7619" y="3936"/>
                </a:lnTo>
                <a:lnTo>
                  <a:pt x="4317" y="5333"/>
                </a:lnTo>
                <a:lnTo>
                  <a:pt x="0" y="9143"/>
                </a:lnTo>
                <a:lnTo>
                  <a:pt x="10032" y="18795"/>
                </a:lnTo>
                <a:lnTo>
                  <a:pt x="14350" y="14985"/>
                </a:lnTo>
                <a:lnTo>
                  <a:pt x="15366" y="12572"/>
                </a:lnTo>
                <a:lnTo>
                  <a:pt x="19685" y="8635"/>
                </a:lnTo>
                <a:lnTo>
                  <a:pt x="11937" y="0"/>
                </a:lnTo>
              </a:path>
            </a:pathLst>
          </a:custGeom>
          <a:ln w="9525">
            <a:solidFill>
              <a:srgbClr val="FFFFFF"/>
            </a:solidFill>
          </a:ln>
        </p:spPr>
        <p:txBody>
          <a:bodyPr wrap="square" lIns="0" tIns="0" rIns="0" bIns="0" rtlCol="0"/>
          <a:lstStyle/>
          <a:p>
            <a:endParaRPr/>
          </a:p>
        </p:txBody>
      </p:sp>
      <p:sp>
        <p:nvSpPr>
          <p:cNvPr id="18" name="object 18"/>
          <p:cNvSpPr/>
          <p:nvPr/>
        </p:nvSpPr>
        <p:spPr>
          <a:xfrm>
            <a:off x="3281171" y="4180459"/>
            <a:ext cx="20320" cy="20320"/>
          </a:xfrm>
          <a:custGeom>
            <a:avLst/>
            <a:gdLst/>
            <a:ahLst/>
            <a:cxnLst/>
            <a:rect l="l" t="t" r="r" b="b"/>
            <a:pathLst>
              <a:path w="20320" h="20320">
                <a:moveTo>
                  <a:pt x="9651" y="0"/>
                </a:moveTo>
                <a:lnTo>
                  <a:pt x="7747" y="4826"/>
                </a:lnTo>
                <a:lnTo>
                  <a:pt x="4317" y="6350"/>
                </a:lnTo>
                <a:lnTo>
                  <a:pt x="0" y="10160"/>
                </a:lnTo>
                <a:lnTo>
                  <a:pt x="10160" y="19812"/>
                </a:lnTo>
                <a:lnTo>
                  <a:pt x="12064" y="14986"/>
                </a:lnTo>
                <a:lnTo>
                  <a:pt x="15366" y="13589"/>
                </a:lnTo>
                <a:lnTo>
                  <a:pt x="19812" y="9652"/>
                </a:lnTo>
                <a:lnTo>
                  <a:pt x="9651" y="0"/>
                </a:lnTo>
              </a:path>
            </a:pathLst>
          </a:custGeom>
          <a:ln w="9525">
            <a:solidFill>
              <a:srgbClr val="FFFFFF"/>
            </a:solidFill>
          </a:ln>
        </p:spPr>
        <p:txBody>
          <a:bodyPr wrap="square" lIns="0" tIns="0" rIns="0" bIns="0" rtlCol="0"/>
          <a:lstStyle/>
          <a:p>
            <a:endParaRPr/>
          </a:p>
        </p:txBody>
      </p:sp>
      <p:sp>
        <p:nvSpPr>
          <p:cNvPr id="19" name="object 19"/>
          <p:cNvSpPr/>
          <p:nvPr/>
        </p:nvSpPr>
        <p:spPr>
          <a:xfrm>
            <a:off x="3320160" y="4145788"/>
            <a:ext cx="17780" cy="19050"/>
          </a:xfrm>
          <a:custGeom>
            <a:avLst/>
            <a:gdLst/>
            <a:ahLst/>
            <a:cxnLst/>
            <a:rect l="l" t="t" r="r" b="b"/>
            <a:pathLst>
              <a:path w="17779" h="19050">
                <a:moveTo>
                  <a:pt x="9525" y="0"/>
                </a:moveTo>
                <a:lnTo>
                  <a:pt x="5206" y="3937"/>
                </a:lnTo>
                <a:lnTo>
                  <a:pt x="1904" y="5334"/>
                </a:lnTo>
                <a:lnTo>
                  <a:pt x="0" y="10160"/>
                </a:lnTo>
                <a:lnTo>
                  <a:pt x="7619" y="18795"/>
                </a:lnTo>
                <a:lnTo>
                  <a:pt x="12064" y="14986"/>
                </a:lnTo>
                <a:lnTo>
                  <a:pt x="12953" y="12573"/>
                </a:lnTo>
                <a:lnTo>
                  <a:pt x="17272" y="8636"/>
                </a:lnTo>
                <a:lnTo>
                  <a:pt x="9525" y="0"/>
                </a:lnTo>
              </a:path>
            </a:pathLst>
          </a:custGeom>
          <a:ln w="9524">
            <a:solidFill>
              <a:srgbClr val="FFFFFF"/>
            </a:solidFill>
          </a:ln>
        </p:spPr>
        <p:txBody>
          <a:bodyPr wrap="square" lIns="0" tIns="0" rIns="0" bIns="0" rtlCol="0"/>
          <a:lstStyle/>
          <a:p>
            <a:endParaRPr/>
          </a:p>
        </p:txBody>
      </p:sp>
      <p:sp>
        <p:nvSpPr>
          <p:cNvPr id="20" name="object 20"/>
          <p:cNvSpPr/>
          <p:nvPr/>
        </p:nvSpPr>
        <p:spPr>
          <a:xfrm>
            <a:off x="3355213" y="4109211"/>
            <a:ext cx="19685" cy="17780"/>
          </a:xfrm>
          <a:custGeom>
            <a:avLst/>
            <a:gdLst/>
            <a:ahLst/>
            <a:cxnLst/>
            <a:rect l="l" t="t" r="r" b="b"/>
            <a:pathLst>
              <a:path w="19685" h="17779">
                <a:moveTo>
                  <a:pt x="8636" y="0"/>
                </a:moveTo>
                <a:lnTo>
                  <a:pt x="5334" y="1396"/>
                </a:lnTo>
                <a:lnTo>
                  <a:pt x="3301" y="6223"/>
                </a:lnTo>
                <a:lnTo>
                  <a:pt x="0" y="7746"/>
                </a:lnTo>
                <a:lnTo>
                  <a:pt x="10160" y="17271"/>
                </a:lnTo>
                <a:lnTo>
                  <a:pt x="11049" y="14858"/>
                </a:lnTo>
                <a:lnTo>
                  <a:pt x="15366" y="11049"/>
                </a:lnTo>
                <a:lnTo>
                  <a:pt x="19685" y="7238"/>
                </a:lnTo>
                <a:lnTo>
                  <a:pt x="8636" y="0"/>
                </a:lnTo>
              </a:path>
            </a:pathLst>
          </a:custGeom>
          <a:ln w="9525">
            <a:solidFill>
              <a:srgbClr val="FFFFFF"/>
            </a:solidFill>
          </a:ln>
        </p:spPr>
        <p:txBody>
          <a:bodyPr wrap="square" lIns="0" tIns="0" rIns="0" bIns="0" rtlCol="0"/>
          <a:lstStyle/>
          <a:p>
            <a:endParaRPr/>
          </a:p>
        </p:txBody>
      </p:sp>
      <p:sp>
        <p:nvSpPr>
          <p:cNvPr id="21" name="object 21"/>
          <p:cNvSpPr/>
          <p:nvPr/>
        </p:nvSpPr>
        <p:spPr>
          <a:xfrm>
            <a:off x="3389376" y="4070222"/>
            <a:ext cx="17780" cy="17780"/>
          </a:xfrm>
          <a:custGeom>
            <a:avLst/>
            <a:gdLst/>
            <a:ahLst/>
            <a:cxnLst/>
            <a:rect l="l" t="t" r="r" b="b"/>
            <a:pathLst>
              <a:path w="17779" h="17779">
                <a:moveTo>
                  <a:pt x="9525" y="0"/>
                </a:moveTo>
                <a:lnTo>
                  <a:pt x="5207" y="3809"/>
                </a:lnTo>
                <a:lnTo>
                  <a:pt x="4318" y="6222"/>
                </a:lnTo>
                <a:lnTo>
                  <a:pt x="0" y="10032"/>
                </a:lnTo>
                <a:lnTo>
                  <a:pt x="11049" y="17271"/>
                </a:lnTo>
                <a:lnTo>
                  <a:pt x="11937" y="14858"/>
                </a:lnTo>
                <a:lnTo>
                  <a:pt x="16256" y="11049"/>
                </a:lnTo>
                <a:lnTo>
                  <a:pt x="17272" y="8635"/>
                </a:lnTo>
                <a:lnTo>
                  <a:pt x="9525" y="0"/>
                </a:lnTo>
              </a:path>
            </a:pathLst>
          </a:custGeom>
          <a:ln w="9525">
            <a:solidFill>
              <a:srgbClr val="FFFFFF"/>
            </a:solidFill>
          </a:ln>
        </p:spPr>
        <p:txBody>
          <a:bodyPr wrap="square" lIns="0" tIns="0" rIns="0" bIns="0" rtlCol="0"/>
          <a:lstStyle/>
          <a:p>
            <a:endParaRPr/>
          </a:p>
        </p:txBody>
      </p:sp>
      <p:sp>
        <p:nvSpPr>
          <p:cNvPr id="22" name="object 22"/>
          <p:cNvSpPr/>
          <p:nvPr/>
        </p:nvSpPr>
        <p:spPr>
          <a:xfrm>
            <a:off x="3422015" y="4030217"/>
            <a:ext cx="20955" cy="17780"/>
          </a:xfrm>
          <a:custGeom>
            <a:avLst/>
            <a:gdLst/>
            <a:ahLst/>
            <a:cxnLst/>
            <a:rect l="l" t="t" r="r" b="b"/>
            <a:pathLst>
              <a:path w="20954" h="17779">
                <a:moveTo>
                  <a:pt x="9525" y="0"/>
                </a:moveTo>
                <a:lnTo>
                  <a:pt x="5207" y="3809"/>
                </a:lnTo>
                <a:lnTo>
                  <a:pt x="4318" y="6222"/>
                </a:lnTo>
                <a:lnTo>
                  <a:pt x="0" y="10159"/>
                </a:lnTo>
                <a:lnTo>
                  <a:pt x="11049" y="17271"/>
                </a:lnTo>
                <a:lnTo>
                  <a:pt x="14350" y="15874"/>
                </a:lnTo>
                <a:lnTo>
                  <a:pt x="16383" y="11048"/>
                </a:lnTo>
                <a:lnTo>
                  <a:pt x="20700" y="7238"/>
                </a:lnTo>
                <a:lnTo>
                  <a:pt x="9525" y="0"/>
                </a:lnTo>
              </a:path>
            </a:pathLst>
          </a:custGeom>
          <a:ln w="9525">
            <a:solidFill>
              <a:srgbClr val="FFFFFF"/>
            </a:solidFill>
          </a:ln>
        </p:spPr>
        <p:txBody>
          <a:bodyPr wrap="square" lIns="0" tIns="0" rIns="0" bIns="0" rtlCol="0"/>
          <a:lstStyle/>
          <a:p>
            <a:endParaRPr/>
          </a:p>
        </p:txBody>
      </p:sp>
      <p:sp>
        <p:nvSpPr>
          <p:cNvPr id="23" name="object 23"/>
          <p:cNvSpPr/>
          <p:nvPr/>
        </p:nvSpPr>
        <p:spPr>
          <a:xfrm>
            <a:off x="3454653" y="3989196"/>
            <a:ext cx="18415" cy="18415"/>
          </a:xfrm>
          <a:custGeom>
            <a:avLst/>
            <a:gdLst/>
            <a:ahLst/>
            <a:cxnLst/>
            <a:rect l="l" t="t" r="r" b="b"/>
            <a:pathLst>
              <a:path w="18414" h="18414">
                <a:moveTo>
                  <a:pt x="7238" y="0"/>
                </a:moveTo>
                <a:lnTo>
                  <a:pt x="5334" y="4825"/>
                </a:lnTo>
                <a:lnTo>
                  <a:pt x="1905" y="6350"/>
                </a:lnTo>
                <a:lnTo>
                  <a:pt x="0" y="11175"/>
                </a:lnTo>
                <a:lnTo>
                  <a:pt x="11049" y="18287"/>
                </a:lnTo>
                <a:lnTo>
                  <a:pt x="12954" y="13588"/>
                </a:lnTo>
                <a:lnTo>
                  <a:pt x="16383" y="12064"/>
                </a:lnTo>
                <a:lnTo>
                  <a:pt x="18287" y="7238"/>
                </a:lnTo>
                <a:lnTo>
                  <a:pt x="7238" y="0"/>
                </a:lnTo>
              </a:path>
            </a:pathLst>
          </a:custGeom>
          <a:ln w="9525">
            <a:solidFill>
              <a:srgbClr val="FFFFFF"/>
            </a:solidFill>
          </a:ln>
        </p:spPr>
        <p:txBody>
          <a:bodyPr wrap="square" lIns="0" tIns="0" rIns="0" bIns="0" rtlCol="0"/>
          <a:lstStyle/>
          <a:p>
            <a:endParaRPr/>
          </a:p>
        </p:txBody>
      </p:sp>
      <p:sp>
        <p:nvSpPr>
          <p:cNvPr id="24" name="object 24"/>
          <p:cNvSpPr/>
          <p:nvPr/>
        </p:nvSpPr>
        <p:spPr>
          <a:xfrm>
            <a:off x="3485896" y="3948303"/>
            <a:ext cx="17780" cy="18415"/>
          </a:xfrm>
          <a:custGeom>
            <a:avLst/>
            <a:gdLst/>
            <a:ahLst/>
            <a:cxnLst/>
            <a:rect l="l" t="t" r="r" b="b"/>
            <a:pathLst>
              <a:path w="17779" h="18414">
                <a:moveTo>
                  <a:pt x="6223" y="0"/>
                </a:moveTo>
                <a:lnTo>
                  <a:pt x="2793" y="1524"/>
                </a:lnTo>
                <a:lnTo>
                  <a:pt x="888" y="6223"/>
                </a:lnTo>
                <a:lnTo>
                  <a:pt x="0" y="8636"/>
                </a:lnTo>
                <a:lnTo>
                  <a:pt x="10032" y="18288"/>
                </a:lnTo>
                <a:lnTo>
                  <a:pt x="12064" y="13462"/>
                </a:lnTo>
                <a:lnTo>
                  <a:pt x="13969" y="8636"/>
                </a:lnTo>
                <a:lnTo>
                  <a:pt x="17271" y="7239"/>
                </a:lnTo>
                <a:lnTo>
                  <a:pt x="6223" y="0"/>
                </a:lnTo>
              </a:path>
            </a:pathLst>
          </a:custGeom>
          <a:ln w="9525">
            <a:solidFill>
              <a:srgbClr val="FFFFFF"/>
            </a:solidFill>
          </a:ln>
        </p:spPr>
        <p:txBody>
          <a:bodyPr wrap="square" lIns="0" tIns="0" rIns="0" bIns="0" rtlCol="0"/>
          <a:lstStyle/>
          <a:p>
            <a:endParaRPr/>
          </a:p>
        </p:txBody>
      </p:sp>
      <p:sp>
        <p:nvSpPr>
          <p:cNvPr id="25" name="object 25"/>
          <p:cNvSpPr/>
          <p:nvPr/>
        </p:nvSpPr>
        <p:spPr>
          <a:xfrm>
            <a:off x="3513709" y="3903979"/>
            <a:ext cx="18415" cy="18415"/>
          </a:xfrm>
          <a:custGeom>
            <a:avLst/>
            <a:gdLst/>
            <a:ahLst/>
            <a:cxnLst/>
            <a:rect l="l" t="t" r="r" b="b"/>
            <a:pathLst>
              <a:path w="18414" h="18414">
                <a:moveTo>
                  <a:pt x="7238" y="0"/>
                </a:moveTo>
                <a:lnTo>
                  <a:pt x="2920" y="3937"/>
                </a:lnTo>
                <a:lnTo>
                  <a:pt x="1904" y="6350"/>
                </a:lnTo>
                <a:lnTo>
                  <a:pt x="0" y="11049"/>
                </a:lnTo>
                <a:lnTo>
                  <a:pt x="11049" y="18288"/>
                </a:lnTo>
                <a:lnTo>
                  <a:pt x="12953" y="13462"/>
                </a:lnTo>
                <a:lnTo>
                  <a:pt x="13969" y="11049"/>
                </a:lnTo>
                <a:lnTo>
                  <a:pt x="18287" y="7239"/>
                </a:lnTo>
                <a:lnTo>
                  <a:pt x="7238" y="0"/>
                </a:lnTo>
              </a:path>
            </a:pathLst>
          </a:custGeom>
          <a:ln w="9525">
            <a:solidFill>
              <a:srgbClr val="FFFFFF"/>
            </a:solidFill>
          </a:ln>
        </p:spPr>
        <p:txBody>
          <a:bodyPr wrap="square" lIns="0" tIns="0" rIns="0" bIns="0" rtlCol="0"/>
          <a:lstStyle/>
          <a:p>
            <a:endParaRPr/>
          </a:p>
        </p:txBody>
      </p:sp>
      <p:sp>
        <p:nvSpPr>
          <p:cNvPr id="26" name="object 26"/>
          <p:cNvSpPr/>
          <p:nvPr/>
        </p:nvSpPr>
        <p:spPr>
          <a:xfrm>
            <a:off x="3539109" y="3861180"/>
            <a:ext cx="19685" cy="15875"/>
          </a:xfrm>
          <a:custGeom>
            <a:avLst/>
            <a:gdLst/>
            <a:ahLst/>
            <a:cxnLst/>
            <a:rect l="l" t="t" r="r" b="b"/>
            <a:pathLst>
              <a:path w="19685" h="15875">
                <a:moveTo>
                  <a:pt x="7238" y="0"/>
                </a:moveTo>
                <a:lnTo>
                  <a:pt x="6350" y="2413"/>
                </a:lnTo>
                <a:lnTo>
                  <a:pt x="4444" y="7239"/>
                </a:lnTo>
                <a:lnTo>
                  <a:pt x="0" y="11049"/>
                </a:lnTo>
                <a:lnTo>
                  <a:pt x="12064" y="15875"/>
                </a:lnTo>
                <a:lnTo>
                  <a:pt x="13080" y="13462"/>
                </a:lnTo>
                <a:lnTo>
                  <a:pt x="17399" y="9525"/>
                </a:lnTo>
                <a:lnTo>
                  <a:pt x="19303" y="4826"/>
                </a:lnTo>
                <a:lnTo>
                  <a:pt x="7238" y="0"/>
                </a:lnTo>
              </a:path>
            </a:pathLst>
          </a:custGeom>
          <a:ln w="9525">
            <a:solidFill>
              <a:srgbClr val="FFFFFF"/>
            </a:solidFill>
          </a:ln>
        </p:spPr>
        <p:txBody>
          <a:bodyPr wrap="square" lIns="0" tIns="0" rIns="0" bIns="0" rtlCol="0"/>
          <a:lstStyle/>
          <a:p>
            <a:endParaRPr/>
          </a:p>
        </p:txBody>
      </p:sp>
      <p:sp>
        <p:nvSpPr>
          <p:cNvPr id="27" name="object 27"/>
          <p:cNvSpPr/>
          <p:nvPr/>
        </p:nvSpPr>
        <p:spPr>
          <a:xfrm>
            <a:off x="3565525" y="3815841"/>
            <a:ext cx="17145" cy="15875"/>
          </a:xfrm>
          <a:custGeom>
            <a:avLst/>
            <a:gdLst/>
            <a:ahLst/>
            <a:cxnLst/>
            <a:rect l="l" t="t" r="r" b="b"/>
            <a:pathLst>
              <a:path w="17145" h="15875">
                <a:moveTo>
                  <a:pt x="7238" y="0"/>
                </a:moveTo>
                <a:lnTo>
                  <a:pt x="2921" y="3936"/>
                </a:lnTo>
                <a:lnTo>
                  <a:pt x="1904" y="6349"/>
                </a:lnTo>
                <a:lnTo>
                  <a:pt x="0" y="11175"/>
                </a:lnTo>
                <a:lnTo>
                  <a:pt x="12064" y="15874"/>
                </a:lnTo>
                <a:lnTo>
                  <a:pt x="13080" y="13461"/>
                </a:lnTo>
                <a:lnTo>
                  <a:pt x="14986" y="8635"/>
                </a:lnTo>
                <a:lnTo>
                  <a:pt x="16890" y="3936"/>
                </a:lnTo>
                <a:lnTo>
                  <a:pt x="7238" y="0"/>
                </a:lnTo>
              </a:path>
            </a:pathLst>
          </a:custGeom>
          <a:ln w="9525">
            <a:solidFill>
              <a:srgbClr val="FFFFFF"/>
            </a:solidFill>
          </a:ln>
        </p:spPr>
        <p:txBody>
          <a:bodyPr wrap="square" lIns="0" tIns="0" rIns="0" bIns="0" rtlCol="0"/>
          <a:lstStyle/>
          <a:p>
            <a:endParaRPr/>
          </a:p>
        </p:txBody>
      </p:sp>
      <p:sp>
        <p:nvSpPr>
          <p:cNvPr id="28" name="object 28"/>
          <p:cNvSpPr/>
          <p:nvPr/>
        </p:nvSpPr>
        <p:spPr>
          <a:xfrm>
            <a:off x="3589528" y="3768725"/>
            <a:ext cx="15875" cy="19685"/>
          </a:xfrm>
          <a:custGeom>
            <a:avLst/>
            <a:gdLst/>
            <a:ahLst/>
            <a:cxnLst/>
            <a:rect l="l" t="t" r="r" b="b"/>
            <a:pathLst>
              <a:path w="15875" h="19685">
                <a:moveTo>
                  <a:pt x="4825" y="0"/>
                </a:moveTo>
                <a:lnTo>
                  <a:pt x="2921" y="4825"/>
                </a:lnTo>
                <a:lnTo>
                  <a:pt x="1905" y="7238"/>
                </a:lnTo>
                <a:lnTo>
                  <a:pt x="0" y="12064"/>
                </a:lnTo>
                <a:lnTo>
                  <a:pt x="11175" y="19176"/>
                </a:lnTo>
                <a:lnTo>
                  <a:pt x="13081" y="14350"/>
                </a:lnTo>
                <a:lnTo>
                  <a:pt x="14986" y="9525"/>
                </a:lnTo>
                <a:lnTo>
                  <a:pt x="15875" y="7112"/>
                </a:lnTo>
                <a:lnTo>
                  <a:pt x="4825" y="0"/>
                </a:lnTo>
              </a:path>
            </a:pathLst>
          </a:custGeom>
          <a:ln w="9525">
            <a:solidFill>
              <a:srgbClr val="FFFFFF"/>
            </a:solidFill>
          </a:ln>
        </p:spPr>
        <p:txBody>
          <a:bodyPr wrap="square" lIns="0" tIns="0" rIns="0" bIns="0" rtlCol="0"/>
          <a:lstStyle/>
          <a:p>
            <a:endParaRPr/>
          </a:p>
        </p:txBody>
      </p:sp>
      <p:sp>
        <p:nvSpPr>
          <p:cNvPr id="29" name="object 29"/>
          <p:cNvSpPr/>
          <p:nvPr/>
        </p:nvSpPr>
        <p:spPr>
          <a:xfrm>
            <a:off x="3611117" y="3721480"/>
            <a:ext cx="15875" cy="19685"/>
          </a:xfrm>
          <a:custGeom>
            <a:avLst/>
            <a:gdLst/>
            <a:ahLst/>
            <a:cxnLst/>
            <a:rect l="l" t="t" r="r" b="b"/>
            <a:pathLst>
              <a:path w="15875" h="19685">
                <a:moveTo>
                  <a:pt x="4826" y="0"/>
                </a:moveTo>
                <a:lnTo>
                  <a:pt x="2921" y="4826"/>
                </a:lnTo>
                <a:lnTo>
                  <a:pt x="1016" y="9652"/>
                </a:lnTo>
                <a:lnTo>
                  <a:pt x="0" y="12065"/>
                </a:lnTo>
                <a:lnTo>
                  <a:pt x="11176" y="19304"/>
                </a:lnTo>
                <a:lnTo>
                  <a:pt x="13081" y="14478"/>
                </a:lnTo>
                <a:lnTo>
                  <a:pt x="14986" y="9652"/>
                </a:lnTo>
                <a:lnTo>
                  <a:pt x="15875" y="7239"/>
                </a:lnTo>
                <a:lnTo>
                  <a:pt x="4826" y="0"/>
                </a:lnTo>
              </a:path>
            </a:pathLst>
          </a:custGeom>
          <a:ln w="9525">
            <a:solidFill>
              <a:srgbClr val="FFFFFF"/>
            </a:solidFill>
          </a:ln>
        </p:spPr>
        <p:txBody>
          <a:bodyPr wrap="square" lIns="0" tIns="0" rIns="0" bIns="0" rtlCol="0"/>
          <a:lstStyle/>
          <a:p>
            <a:endParaRPr/>
          </a:p>
        </p:txBody>
      </p:sp>
      <p:sp>
        <p:nvSpPr>
          <p:cNvPr id="30" name="object 30"/>
          <p:cNvSpPr/>
          <p:nvPr/>
        </p:nvSpPr>
        <p:spPr>
          <a:xfrm>
            <a:off x="3631819" y="3674364"/>
            <a:ext cx="17780" cy="19685"/>
          </a:xfrm>
          <a:custGeom>
            <a:avLst/>
            <a:gdLst/>
            <a:ahLst/>
            <a:cxnLst/>
            <a:rect l="l" t="t" r="r" b="b"/>
            <a:pathLst>
              <a:path w="17779" h="19685">
                <a:moveTo>
                  <a:pt x="17779" y="4699"/>
                </a:moveTo>
                <a:lnTo>
                  <a:pt x="5714" y="0"/>
                </a:lnTo>
                <a:lnTo>
                  <a:pt x="4825" y="2412"/>
                </a:lnTo>
                <a:lnTo>
                  <a:pt x="3809" y="4825"/>
                </a:lnTo>
                <a:lnTo>
                  <a:pt x="1904" y="9652"/>
                </a:lnTo>
                <a:lnTo>
                  <a:pt x="0" y="14350"/>
                </a:lnTo>
                <a:lnTo>
                  <a:pt x="12064" y="19177"/>
                </a:lnTo>
                <a:lnTo>
                  <a:pt x="12953" y="16763"/>
                </a:lnTo>
                <a:lnTo>
                  <a:pt x="13969" y="14350"/>
                </a:lnTo>
                <a:lnTo>
                  <a:pt x="14858" y="11937"/>
                </a:lnTo>
                <a:lnTo>
                  <a:pt x="17779" y="4699"/>
                </a:lnTo>
              </a:path>
            </a:pathLst>
          </a:custGeom>
          <a:ln w="9525">
            <a:solidFill>
              <a:srgbClr val="FFFFFF"/>
            </a:solidFill>
          </a:ln>
        </p:spPr>
        <p:txBody>
          <a:bodyPr wrap="square" lIns="0" tIns="0" rIns="0" bIns="0" rtlCol="0"/>
          <a:lstStyle/>
          <a:p>
            <a:endParaRPr/>
          </a:p>
        </p:txBody>
      </p:sp>
      <p:sp>
        <p:nvSpPr>
          <p:cNvPr id="31" name="object 31"/>
          <p:cNvSpPr/>
          <p:nvPr/>
        </p:nvSpPr>
        <p:spPr>
          <a:xfrm>
            <a:off x="3649471" y="3625215"/>
            <a:ext cx="17145" cy="17145"/>
          </a:xfrm>
          <a:custGeom>
            <a:avLst/>
            <a:gdLst/>
            <a:ahLst/>
            <a:cxnLst/>
            <a:rect l="l" t="t" r="r" b="b"/>
            <a:pathLst>
              <a:path w="17145" h="17145">
                <a:moveTo>
                  <a:pt x="16890" y="4826"/>
                </a:moveTo>
                <a:lnTo>
                  <a:pt x="4825" y="0"/>
                </a:lnTo>
                <a:lnTo>
                  <a:pt x="3937" y="2412"/>
                </a:lnTo>
                <a:lnTo>
                  <a:pt x="2031" y="7239"/>
                </a:lnTo>
                <a:lnTo>
                  <a:pt x="0" y="12065"/>
                </a:lnTo>
                <a:lnTo>
                  <a:pt x="12064" y="16891"/>
                </a:lnTo>
                <a:lnTo>
                  <a:pt x="13969" y="12065"/>
                </a:lnTo>
                <a:lnTo>
                  <a:pt x="15875" y="7239"/>
                </a:lnTo>
                <a:lnTo>
                  <a:pt x="16890" y="4826"/>
                </a:lnTo>
              </a:path>
            </a:pathLst>
          </a:custGeom>
          <a:ln w="9525">
            <a:solidFill>
              <a:srgbClr val="FFFFFF"/>
            </a:solidFill>
          </a:ln>
        </p:spPr>
        <p:txBody>
          <a:bodyPr wrap="square" lIns="0" tIns="0" rIns="0" bIns="0" rtlCol="0"/>
          <a:lstStyle/>
          <a:p>
            <a:endParaRPr/>
          </a:p>
        </p:txBody>
      </p:sp>
      <p:sp>
        <p:nvSpPr>
          <p:cNvPr id="32" name="object 32"/>
          <p:cNvSpPr/>
          <p:nvPr/>
        </p:nvSpPr>
        <p:spPr>
          <a:xfrm>
            <a:off x="3668267" y="3576065"/>
            <a:ext cx="15240" cy="17780"/>
          </a:xfrm>
          <a:custGeom>
            <a:avLst/>
            <a:gdLst/>
            <a:ahLst/>
            <a:cxnLst/>
            <a:rect l="l" t="t" r="r" b="b"/>
            <a:pathLst>
              <a:path w="15239" h="17779">
                <a:moveTo>
                  <a:pt x="14859" y="4825"/>
                </a:moveTo>
                <a:lnTo>
                  <a:pt x="2794" y="0"/>
                </a:lnTo>
                <a:lnTo>
                  <a:pt x="889" y="4825"/>
                </a:lnTo>
                <a:lnTo>
                  <a:pt x="0" y="7238"/>
                </a:lnTo>
                <a:lnTo>
                  <a:pt x="381" y="13081"/>
                </a:lnTo>
                <a:lnTo>
                  <a:pt x="12446" y="17780"/>
                </a:lnTo>
                <a:lnTo>
                  <a:pt x="11937" y="12064"/>
                </a:lnTo>
                <a:lnTo>
                  <a:pt x="13843" y="7238"/>
                </a:lnTo>
                <a:lnTo>
                  <a:pt x="14859" y="4825"/>
                </a:lnTo>
              </a:path>
            </a:pathLst>
          </a:custGeom>
          <a:ln w="9525">
            <a:solidFill>
              <a:srgbClr val="FFFFFF"/>
            </a:solidFill>
          </a:ln>
        </p:spPr>
        <p:txBody>
          <a:bodyPr wrap="square" lIns="0" tIns="0" rIns="0" bIns="0" rtlCol="0"/>
          <a:lstStyle/>
          <a:p>
            <a:endParaRPr/>
          </a:p>
        </p:txBody>
      </p:sp>
      <p:sp>
        <p:nvSpPr>
          <p:cNvPr id="33" name="object 33"/>
          <p:cNvSpPr/>
          <p:nvPr/>
        </p:nvSpPr>
        <p:spPr>
          <a:xfrm>
            <a:off x="3683127" y="3526028"/>
            <a:ext cx="13970" cy="17780"/>
          </a:xfrm>
          <a:custGeom>
            <a:avLst/>
            <a:gdLst/>
            <a:ahLst/>
            <a:cxnLst/>
            <a:rect l="l" t="t" r="r" b="b"/>
            <a:pathLst>
              <a:path w="13970" h="17779">
                <a:moveTo>
                  <a:pt x="9525" y="2921"/>
                </a:moveTo>
                <a:lnTo>
                  <a:pt x="2286" y="0"/>
                </a:lnTo>
                <a:lnTo>
                  <a:pt x="2794" y="5842"/>
                </a:lnTo>
                <a:lnTo>
                  <a:pt x="888" y="10668"/>
                </a:lnTo>
                <a:lnTo>
                  <a:pt x="0" y="13081"/>
                </a:lnTo>
                <a:lnTo>
                  <a:pt x="11937" y="17780"/>
                </a:lnTo>
                <a:lnTo>
                  <a:pt x="12953" y="15367"/>
                </a:lnTo>
                <a:lnTo>
                  <a:pt x="13843" y="12954"/>
                </a:lnTo>
                <a:lnTo>
                  <a:pt x="9525" y="2921"/>
                </a:lnTo>
              </a:path>
            </a:pathLst>
          </a:custGeom>
          <a:ln w="9525">
            <a:solidFill>
              <a:srgbClr val="FFFFFF"/>
            </a:solidFill>
          </a:ln>
        </p:spPr>
        <p:txBody>
          <a:bodyPr wrap="square" lIns="0" tIns="0" rIns="0" bIns="0" rtlCol="0"/>
          <a:lstStyle/>
          <a:p>
            <a:endParaRPr/>
          </a:p>
        </p:txBody>
      </p:sp>
      <p:sp>
        <p:nvSpPr>
          <p:cNvPr id="34" name="object 34"/>
          <p:cNvSpPr/>
          <p:nvPr/>
        </p:nvSpPr>
        <p:spPr>
          <a:xfrm>
            <a:off x="3695065" y="3478403"/>
            <a:ext cx="17145" cy="14604"/>
          </a:xfrm>
          <a:custGeom>
            <a:avLst/>
            <a:gdLst/>
            <a:ahLst/>
            <a:cxnLst/>
            <a:rect l="l" t="t" r="r" b="b"/>
            <a:pathLst>
              <a:path w="17145" h="14604">
                <a:moveTo>
                  <a:pt x="16763" y="2412"/>
                </a:moveTo>
                <a:lnTo>
                  <a:pt x="3810" y="0"/>
                </a:lnTo>
                <a:lnTo>
                  <a:pt x="2794" y="2412"/>
                </a:lnTo>
                <a:lnTo>
                  <a:pt x="1905" y="4825"/>
                </a:lnTo>
                <a:lnTo>
                  <a:pt x="888" y="7238"/>
                </a:lnTo>
                <a:lnTo>
                  <a:pt x="0" y="9651"/>
                </a:lnTo>
                <a:lnTo>
                  <a:pt x="2412" y="10541"/>
                </a:lnTo>
                <a:lnTo>
                  <a:pt x="12064" y="14477"/>
                </a:lnTo>
                <a:lnTo>
                  <a:pt x="13970" y="9651"/>
                </a:lnTo>
                <a:lnTo>
                  <a:pt x="15875" y="4825"/>
                </a:lnTo>
                <a:lnTo>
                  <a:pt x="16763" y="2412"/>
                </a:lnTo>
              </a:path>
            </a:pathLst>
          </a:custGeom>
          <a:ln w="9525">
            <a:solidFill>
              <a:srgbClr val="FFFFFF"/>
            </a:solidFill>
          </a:ln>
        </p:spPr>
        <p:txBody>
          <a:bodyPr wrap="square" lIns="0" tIns="0" rIns="0" bIns="0" rtlCol="0"/>
          <a:lstStyle/>
          <a:p>
            <a:endParaRPr/>
          </a:p>
        </p:txBody>
      </p:sp>
      <p:sp>
        <p:nvSpPr>
          <p:cNvPr id="35" name="object 35"/>
          <p:cNvSpPr/>
          <p:nvPr/>
        </p:nvSpPr>
        <p:spPr>
          <a:xfrm>
            <a:off x="902271" y="1727771"/>
            <a:ext cx="2627629" cy="2825368"/>
          </a:xfrm>
          <a:prstGeom prst="rect">
            <a:avLst/>
          </a:prstGeom>
          <a:blipFill>
            <a:blip r:embed="rId3" cstate="print"/>
            <a:stretch>
              <a:fillRect/>
            </a:stretch>
          </a:blipFill>
        </p:spPr>
        <p:txBody>
          <a:bodyPr wrap="square" lIns="0" tIns="0" rIns="0" bIns="0" rtlCol="0"/>
          <a:lstStyle/>
          <a:p>
            <a:endParaRPr/>
          </a:p>
        </p:txBody>
      </p:sp>
      <p:sp>
        <p:nvSpPr>
          <p:cNvPr id="36" name="object 36"/>
          <p:cNvSpPr/>
          <p:nvPr/>
        </p:nvSpPr>
        <p:spPr>
          <a:xfrm>
            <a:off x="3705986" y="3427348"/>
            <a:ext cx="17780" cy="14604"/>
          </a:xfrm>
          <a:custGeom>
            <a:avLst/>
            <a:gdLst/>
            <a:ahLst/>
            <a:cxnLst/>
            <a:rect l="l" t="t" r="r" b="b"/>
            <a:pathLst>
              <a:path w="17779" h="14604">
                <a:moveTo>
                  <a:pt x="17779" y="2412"/>
                </a:moveTo>
                <a:lnTo>
                  <a:pt x="4825" y="0"/>
                </a:lnTo>
                <a:lnTo>
                  <a:pt x="2921" y="4825"/>
                </a:lnTo>
                <a:lnTo>
                  <a:pt x="1904" y="7238"/>
                </a:lnTo>
                <a:lnTo>
                  <a:pt x="0" y="12064"/>
                </a:lnTo>
                <a:lnTo>
                  <a:pt x="13080" y="14477"/>
                </a:lnTo>
                <a:lnTo>
                  <a:pt x="14986" y="9651"/>
                </a:lnTo>
                <a:lnTo>
                  <a:pt x="15875" y="7238"/>
                </a:lnTo>
                <a:lnTo>
                  <a:pt x="17779" y="2412"/>
                </a:lnTo>
              </a:path>
            </a:pathLst>
          </a:custGeom>
          <a:ln w="9525">
            <a:solidFill>
              <a:srgbClr val="FFFFFF"/>
            </a:solidFill>
          </a:ln>
        </p:spPr>
        <p:txBody>
          <a:bodyPr wrap="square" lIns="0" tIns="0" rIns="0" bIns="0" rtlCol="0"/>
          <a:lstStyle/>
          <a:p>
            <a:endParaRPr/>
          </a:p>
        </p:txBody>
      </p:sp>
      <p:sp>
        <p:nvSpPr>
          <p:cNvPr id="37" name="object 37"/>
          <p:cNvSpPr/>
          <p:nvPr/>
        </p:nvSpPr>
        <p:spPr>
          <a:xfrm>
            <a:off x="3716528" y="3376803"/>
            <a:ext cx="15240" cy="13970"/>
          </a:xfrm>
          <a:custGeom>
            <a:avLst/>
            <a:gdLst/>
            <a:ahLst/>
            <a:cxnLst/>
            <a:rect l="l" t="t" r="r" b="b"/>
            <a:pathLst>
              <a:path w="15239" h="13970">
                <a:moveTo>
                  <a:pt x="14477" y="0"/>
                </a:moveTo>
                <a:lnTo>
                  <a:pt x="2921" y="1016"/>
                </a:lnTo>
                <a:lnTo>
                  <a:pt x="1905" y="3429"/>
                </a:lnTo>
                <a:lnTo>
                  <a:pt x="0" y="8255"/>
                </a:lnTo>
                <a:lnTo>
                  <a:pt x="1524" y="11557"/>
                </a:lnTo>
                <a:lnTo>
                  <a:pt x="14477" y="13970"/>
                </a:lnTo>
                <a:lnTo>
                  <a:pt x="12954" y="10668"/>
                </a:lnTo>
                <a:lnTo>
                  <a:pt x="14986" y="5842"/>
                </a:lnTo>
                <a:lnTo>
                  <a:pt x="14477" y="0"/>
                </a:lnTo>
              </a:path>
            </a:pathLst>
          </a:custGeom>
          <a:ln w="9525">
            <a:solidFill>
              <a:srgbClr val="FFFFFF"/>
            </a:solidFill>
          </a:ln>
        </p:spPr>
        <p:txBody>
          <a:bodyPr wrap="square" lIns="0" tIns="0" rIns="0" bIns="0" rtlCol="0"/>
          <a:lstStyle/>
          <a:p>
            <a:endParaRPr/>
          </a:p>
        </p:txBody>
      </p:sp>
      <p:sp>
        <p:nvSpPr>
          <p:cNvPr id="38" name="object 38"/>
          <p:cNvSpPr/>
          <p:nvPr/>
        </p:nvSpPr>
        <p:spPr>
          <a:xfrm>
            <a:off x="3724147" y="3324859"/>
            <a:ext cx="15875" cy="15875"/>
          </a:xfrm>
          <a:custGeom>
            <a:avLst/>
            <a:gdLst/>
            <a:ahLst/>
            <a:cxnLst/>
            <a:rect l="l" t="t" r="r" b="b"/>
            <a:pathLst>
              <a:path w="15875" h="15875">
                <a:moveTo>
                  <a:pt x="15366" y="2412"/>
                </a:moveTo>
                <a:lnTo>
                  <a:pt x="2412" y="0"/>
                </a:lnTo>
                <a:lnTo>
                  <a:pt x="507" y="4825"/>
                </a:lnTo>
                <a:lnTo>
                  <a:pt x="1904" y="8127"/>
                </a:lnTo>
                <a:lnTo>
                  <a:pt x="0" y="12953"/>
                </a:lnTo>
                <a:lnTo>
                  <a:pt x="13080" y="15366"/>
                </a:lnTo>
                <a:lnTo>
                  <a:pt x="14986" y="10540"/>
                </a:lnTo>
                <a:lnTo>
                  <a:pt x="13462" y="7238"/>
                </a:lnTo>
                <a:lnTo>
                  <a:pt x="15366" y="2412"/>
                </a:lnTo>
              </a:path>
            </a:pathLst>
          </a:custGeom>
          <a:ln w="9525">
            <a:solidFill>
              <a:srgbClr val="FFFFFF"/>
            </a:solidFill>
          </a:ln>
        </p:spPr>
        <p:txBody>
          <a:bodyPr wrap="square" lIns="0" tIns="0" rIns="0" bIns="0" rtlCol="0"/>
          <a:lstStyle/>
          <a:p>
            <a:endParaRPr/>
          </a:p>
        </p:txBody>
      </p:sp>
      <p:sp>
        <p:nvSpPr>
          <p:cNvPr id="39" name="object 39"/>
          <p:cNvSpPr/>
          <p:nvPr/>
        </p:nvSpPr>
        <p:spPr>
          <a:xfrm>
            <a:off x="3730371" y="3274314"/>
            <a:ext cx="14604" cy="15875"/>
          </a:xfrm>
          <a:custGeom>
            <a:avLst/>
            <a:gdLst/>
            <a:ahLst/>
            <a:cxnLst/>
            <a:rect l="l" t="t" r="r" b="b"/>
            <a:pathLst>
              <a:path w="14604" h="15875">
                <a:moveTo>
                  <a:pt x="12953" y="1397"/>
                </a:moveTo>
                <a:lnTo>
                  <a:pt x="2412" y="0"/>
                </a:lnTo>
                <a:lnTo>
                  <a:pt x="507" y="4825"/>
                </a:lnTo>
                <a:lnTo>
                  <a:pt x="1904" y="8255"/>
                </a:lnTo>
                <a:lnTo>
                  <a:pt x="0" y="12953"/>
                </a:lnTo>
                <a:lnTo>
                  <a:pt x="12953" y="15366"/>
                </a:lnTo>
                <a:lnTo>
                  <a:pt x="12445" y="9651"/>
                </a:lnTo>
                <a:lnTo>
                  <a:pt x="14477" y="4825"/>
                </a:lnTo>
                <a:lnTo>
                  <a:pt x="12953" y="1397"/>
                </a:lnTo>
              </a:path>
            </a:pathLst>
          </a:custGeom>
          <a:ln w="9525">
            <a:solidFill>
              <a:srgbClr val="FFFFFF"/>
            </a:solidFill>
          </a:ln>
        </p:spPr>
        <p:txBody>
          <a:bodyPr wrap="square" lIns="0" tIns="0" rIns="0" bIns="0" rtlCol="0"/>
          <a:lstStyle/>
          <a:p>
            <a:endParaRPr/>
          </a:p>
        </p:txBody>
      </p:sp>
      <p:sp>
        <p:nvSpPr>
          <p:cNvPr id="40" name="object 40"/>
          <p:cNvSpPr/>
          <p:nvPr/>
        </p:nvSpPr>
        <p:spPr>
          <a:xfrm>
            <a:off x="3734180" y="3221863"/>
            <a:ext cx="14604" cy="13970"/>
          </a:xfrm>
          <a:custGeom>
            <a:avLst/>
            <a:gdLst/>
            <a:ahLst/>
            <a:cxnLst/>
            <a:rect l="l" t="t" r="r" b="b"/>
            <a:pathLst>
              <a:path w="14604" h="13969">
                <a:moveTo>
                  <a:pt x="12954" y="2412"/>
                </a:moveTo>
                <a:lnTo>
                  <a:pt x="0" y="0"/>
                </a:lnTo>
                <a:lnTo>
                  <a:pt x="381" y="5841"/>
                </a:lnTo>
                <a:lnTo>
                  <a:pt x="1905" y="9144"/>
                </a:lnTo>
                <a:lnTo>
                  <a:pt x="0" y="13970"/>
                </a:lnTo>
                <a:lnTo>
                  <a:pt x="13970" y="13970"/>
                </a:lnTo>
                <a:lnTo>
                  <a:pt x="12446" y="10540"/>
                </a:lnTo>
                <a:lnTo>
                  <a:pt x="14351" y="5714"/>
                </a:lnTo>
                <a:lnTo>
                  <a:pt x="12954" y="2412"/>
                </a:lnTo>
              </a:path>
            </a:pathLst>
          </a:custGeom>
          <a:ln w="9525">
            <a:solidFill>
              <a:srgbClr val="FFFFFF"/>
            </a:solidFill>
          </a:ln>
        </p:spPr>
        <p:txBody>
          <a:bodyPr wrap="square" lIns="0" tIns="0" rIns="0" bIns="0" rtlCol="0"/>
          <a:lstStyle/>
          <a:p>
            <a:endParaRPr/>
          </a:p>
        </p:txBody>
      </p:sp>
      <p:sp>
        <p:nvSpPr>
          <p:cNvPr id="41" name="object 41"/>
          <p:cNvSpPr/>
          <p:nvPr/>
        </p:nvSpPr>
        <p:spPr>
          <a:xfrm>
            <a:off x="3735578" y="3171825"/>
            <a:ext cx="15240" cy="13970"/>
          </a:xfrm>
          <a:custGeom>
            <a:avLst/>
            <a:gdLst/>
            <a:ahLst/>
            <a:cxnLst/>
            <a:rect l="l" t="t" r="r" b="b"/>
            <a:pathLst>
              <a:path w="15239" h="13969">
                <a:moveTo>
                  <a:pt x="12954" y="0"/>
                </a:moveTo>
                <a:lnTo>
                  <a:pt x="1397" y="1015"/>
                </a:lnTo>
                <a:lnTo>
                  <a:pt x="381" y="3428"/>
                </a:lnTo>
                <a:lnTo>
                  <a:pt x="888" y="9144"/>
                </a:lnTo>
                <a:lnTo>
                  <a:pt x="0" y="11557"/>
                </a:lnTo>
                <a:lnTo>
                  <a:pt x="12954" y="13970"/>
                </a:lnTo>
                <a:lnTo>
                  <a:pt x="14859" y="9144"/>
                </a:lnTo>
                <a:lnTo>
                  <a:pt x="14350" y="3301"/>
                </a:lnTo>
                <a:lnTo>
                  <a:pt x="12954" y="0"/>
                </a:lnTo>
              </a:path>
            </a:pathLst>
          </a:custGeom>
          <a:ln w="9525">
            <a:solidFill>
              <a:srgbClr val="FFFFFF"/>
            </a:solidFill>
          </a:ln>
        </p:spPr>
        <p:txBody>
          <a:bodyPr wrap="square" lIns="0" tIns="0" rIns="0" bIns="0" rtlCol="0"/>
          <a:lstStyle/>
          <a:p>
            <a:endParaRPr/>
          </a:p>
        </p:txBody>
      </p:sp>
      <p:sp>
        <p:nvSpPr>
          <p:cNvPr id="42" name="object 42"/>
          <p:cNvSpPr/>
          <p:nvPr/>
        </p:nvSpPr>
        <p:spPr>
          <a:xfrm>
            <a:off x="3735959" y="3119373"/>
            <a:ext cx="14604" cy="13970"/>
          </a:xfrm>
          <a:custGeom>
            <a:avLst/>
            <a:gdLst/>
            <a:ahLst/>
            <a:cxnLst/>
            <a:rect l="l" t="t" r="r" b="b"/>
            <a:pathLst>
              <a:path w="14604" h="13969">
                <a:moveTo>
                  <a:pt x="13969" y="0"/>
                </a:moveTo>
                <a:lnTo>
                  <a:pt x="0" y="0"/>
                </a:lnTo>
                <a:lnTo>
                  <a:pt x="507" y="5841"/>
                </a:lnTo>
                <a:lnTo>
                  <a:pt x="1904" y="9143"/>
                </a:lnTo>
                <a:lnTo>
                  <a:pt x="0" y="13970"/>
                </a:lnTo>
                <a:lnTo>
                  <a:pt x="13969" y="13970"/>
                </a:lnTo>
                <a:lnTo>
                  <a:pt x="13462" y="8127"/>
                </a:lnTo>
                <a:lnTo>
                  <a:pt x="14350" y="5714"/>
                </a:lnTo>
                <a:lnTo>
                  <a:pt x="13969" y="0"/>
                </a:lnTo>
              </a:path>
            </a:pathLst>
          </a:custGeom>
          <a:ln w="9525">
            <a:solidFill>
              <a:srgbClr val="FFFFFF"/>
            </a:solidFill>
          </a:ln>
        </p:spPr>
        <p:txBody>
          <a:bodyPr wrap="square" lIns="0" tIns="0" rIns="0" bIns="0" rtlCol="0"/>
          <a:lstStyle/>
          <a:p>
            <a:endParaRPr/>
          </a:p>
        </p:txBody>
      </p:sp>
      <p:sp>
        <p:nvSpPr>
          <p:cNvPr id="43" name="object 43"/>
          <p:cNvSpPr/>
          <p:nvPr/>
        </p:nvSpPr>
        <p:spPr>
          <a:xfrm>
            <a:off x="3733927" y="3068320"/>
            <a:ext cx="13970" cy="13970"/>
          </a:xfrm>
          <a:custGeom>
            <a:avLst/>
            <a:gdLst/>
            <a:ahLst/>
            <a:cxnLst/>
            <a:rect l="l" t="t" r="r" b="b"/>
            <a:pathLst>
              <a:path w="13970" h="13969">
                <a:moveTo>
                  <a:pt x="13970" y="0"/>
                </a:moveTo>
                <a:lnTo>
                  <a:pt x="0" y="0"/>
                </a:lnTo>
                <a:lnTo>
                  <a:pt x="508" y="5841"/>
                </a:lnTo>
                <a:lnTo>
                  <a:pt x="1905" y="9143"/>
                </a:lnTo>
                <a:lnTo>
                  <a:pt x="0" y="13969"/>
                </a:lnTo>
                <a:lnTo>
                  <a:pt x="13970" y="13969"/>
                </a:lnTo>
                <a:lnTo>
                  <a:pt x="13462" y="8254"/>
                </a:lnTo>
                <a:lnTo>
                  <a:pt x="12064" y="4825"/>
                </a:lnTo>
                <a:lnTo>
                  <a:pt x="13970" y="0"/>
                </a:lnTo>
              </a:path>
            </a:pathLst>
          </a:custGeom>
          <a:ln w="9524">
            <a:solidFill>
              <a:srgbClr val="FFFFFF"/>
            </a:solidFill>
          </a:ln>
        </p:spPr>
        <p:txBody>
          <a:bodyPr wrap="square" lIns="0" tIns="0" rIns="0" bIns="0" rtlCol="0"/>
          <a:lstStyle/>
          <a:p>
            <a:endParaRPr/>
          </a:p>
        </p:txBody>
      </p:sp>
      <p:sp>
        <p:nvSpPr>
          <p:cNvPr id="44" name="object 44"/>
          <p:cNvSpPr/>
          <p:nvPr/>
        </p:nvSpPr>
        <p:spPr>
          <a:xfrm>
            <a:off x="3728592" y="3016376"/>
            <a:ext cx="15875" cy="15240"/>
          </a:xfrm>
          <a:custGeom>
            <a:avLst/>
            <a:gdLst/>
            <a:ahLst/>
            <a:cxnLst/>
            <a:rect l="l" t="t" r="r" b="b"/>
            <a:pathLst>
              <a:path w="15875" h="15239">
                <a:moveTo>
                  <a:pt x="14859" y="0"/>
                </a:moveTo>
                <a:lnTo>
                  <a:pt x="0" y="2412"/>
                </a:lnTo>
                <a:lnTo>
                  <a:pt x="1397" y="5842"/>
                </a:lnTo>
                <a:lnTo>
                  <a:pt x="2921" y="9144"/>
                </a:lnTo>
                <a:lnTo>
                  <a:pt x="3302" y="14986"/>
                </a:lnTo>
                <a:lnTo>
                  <a:pt x="14859" y="13970"/>
                </a:lnTo>
                <a:lnTo>
                  <a:pt x="14478" y="8255"/>
                </a:lnTo>
                <a:lnTo>
                  <a:pt x="15367" y="5842"/>
                </a:lnTo>
                <a:lnTo>
                  <a:pt x="14859" y="0"/>
                </a:lnTo>
              </a:path>
            </a:pathLst>
          </a:custGeom>
          <a:ln w="9524">
            <a:solidFill>
              <a:srgbClr val="FFFFFF"/>
            </a:solidFill>
          </a:ln>
        </p:spPr>
        <p:txBody>
          <a:bodyPr wrap="square" lIns="0" tIns="0" rIns="0" bIns="0" rtlCol="0"/>
          <a:lstStyle/>
          <a:p>
            <a:endParaRPr/>
          </a:p>
        </p:txBody>
      </p:sp>
      <p:sp>
        <p:nvSpPr>
          <p:cNvPr id="45" name="object 45"/>
          <p:cNvSpPr/>
          <p:nvPr/>
        </p:nvSpPr>
        <p:spPr>
          <a:xfrm>
            <a:off x="3724147" y="2965830"/>
            <a:ext cx="15240" cy="12700"/>
          </a:xfrm>
          <a:custGeom>
            <a:avLst/>
            <a:gdLst/>
            <a:ahLst/>
            <a:cxnLst/>
            <a:rect l="l" t="t" r="r" b="b"/>
            <a:pathLst>
              <a:path w="15239" h="12700">
                <a:moveTo>
                  <a:pt x="11556" y="0"/>
                </a:moveTo>
                <a:lnTo>
                  <a:pt x="0" y="1016"/>
                </a:lnTo>
                <a:lnTo>
                  <a:pt x="507" y="6858"/>
                </a:lnTo>
                <a:lnTo>
                  <a:pt x="1904" y="10160"/>
                </a:lnTo>
                <a:lnTo>
                  <a:pt x="1015" y="12573"/>
                </a:lnTo>
                <a:lnTo>
                  <a:pt x="14986" y="12573"/>
                </a:lnTo>
                <a:lnTo>
                  <a:pt x="13462" y="9144"/>
                </a:lnTo>
                <a:lnTo>
                  <a:pt x="12953" y="3429"/>
                </a:lnTo>
                <a:lnTo>
                  <a:pt x="11556" y="0"/>
                </a:lnTo>
              </a:path>
            </a:pathLst>
          </a:custGeom>
          <a:ln w="9525">
            <a:solidFill>
              <a:srgbClr val="FFFFFF"/>
            </a:solidFill>
          </a:ln>
        </p:spPr>
        <p:txBody>
          <a:bodyPr wrap="square" lIns="0" tIns="0" rIns="0" bIns="0" rtlCol="0"/>
          <a:lstStyle/>
          <a:p>
            <a:endParaRPr/>
          </a:p>
        </p:txBody>
      </p:sp>
      <p:sp>
        <p:nvSpPr>
          <p:cNvPr id="46" name="object 46"/>
          <p:cNvSpPr/>
          <p:nvPr/>
        </p:nvSpPr>
        <p:spPr>
          <a:xfrm>
            <a:off x="3716401" y="2912998"/>
            <a:ext cx="15240" cy="15875"/>
          </a:xfrm>
          <a:custGeom>
            <a:avLst/>
            <a:gdLst/>
            <a:ahLst/>
            <a:cxnLst/>
            <a:rect l="l" t="t" r="r" b="b"/>
            <a:pathLst>
              <a:path w="15239" h="15875">
                <a:moveTo>
                  <a:pt x="12446" y="0"/>
                </a:moveTo>
                <a:lnTo>
                  <a:pt x="0" y="3301"/>
                </a:lnTo>
                <a:lnTo>
                  <a:pt x="1397" y="6730"/>
                </a:lnTo>
                <a:lnTo>
                  <a:pt x="1904" y="12446"/>
                </a:lnTo>
                <a:lnTo>
                  <a:pt x="3428" y="15875"/>
                </a:lnTo>
                <a:lnTo>
                  <a:pt x="14986" y="14859"/>
                </a:lnTo>
                <a:lnTo>
                  <a:pt x="14477" y="9143"/>
                </a:lnTo>
                <a:lnTo>
                  <a:pt x="12953" y="5714"/>
                </a:lnTo>
                <a:lnTo>
                  <a:pt x="12446" y="0"/>
                </a:lnTo>
              </a:path>
            </a:pathLst>
          </a:custGeom>
          <a:ln w="9525">
            <a:solidFill>
              <a:srgbClr val="FFFFFF"/>
            </a:solidFill>
          </a:ln>
        </p:spPr>
        <p:txBody>
          <a:bodyPr wrap="square" lIns="0" tIns="0" rIns="0" bIns="0" rtlCol="0"/>
          <a:lstStyle/>
          <a:p>
            <a:endParaRPr/>
          </a:p>
        </p:txBody>
      </p:sp>
      <p:sp>
        <p:nvSpPr>
          <p:cNvPr id="47" name="object 47"/>
          <p:cNvSpPr/>
          <p:nvPr/>
        </p:nvSpPr>
        <p:spPr>
          <a:xfrm>
            <a:off x="3706240" y="2863850"/>
            <a:ext cx="15240" cy="15875"/>
          </a:xfrm>
          <a:custGeom>
            <a:avLst/>
            <a:gdLst/>
            <a:ahLst/>
            <a:cxnLst/>
            <a:rect l="l" t="t" r="r" b="b"/>
            <a:pathLst>
              <a:path w="15239" h="15875">
                <a:moveTo>
                  <a:pt x="11557" y="0"/>
                </a:moveTo>
                <a:lnTo>
                  <a:pt x="0" y="1015"/>
                </a:lnTo>
                <a:lnTo>
                  <a:pt x="508" y="6858"/>
                </a:lnTo>
                <a:lnTo>
                  <a:pt x="1905" y="10160"/>
                </a:lnTo>
                <a:lnTo>
                  <a:pt x="2412" y="15875"/>
                </a:lnTo>
                <a:lnTo>
                  <a:pt x="14859" y="12573"/>
                </a:lnTo>
                <a:lnTo>
                  <a:pt x="14478" y="6730"/>
                </a:lnTo>
                <a:lnTo>
                  <a:pt x="12954" y="3428"/>
                </a:lnTo>
                <a:lnTo>
                  <a:pt x="11557" y="0"/>
                </a:lnTo>
              </a:path>
            </a:pathLst>
          </a:custGeom>
          <a:ln w="9525">
            <a:solidFill>
              <a:srgbClr val="FFFFFF"/>
            </a:solidFill>
          </a:ln>
        </p:spPr>
        <p:txBody>
          <a:bodyPr wrap="square" lIns="0" tIns="0" rIns="0" bIns="0" rtlCol="0"/>
          <a:lstStyle/>
          <a:p>
            <a:endParaRPr/>
          </a:p>
        </p:txBody>
      </p:sp>
      <p:sp>
        <p:nvSpPr>
          <p:cNvPr id="48" name="object 48"/>
          <p:cNvSpPr/>
          <p:nvPr/>
        </p:nvSpPr>
        <p:spPr>
          <a:xfrm>
            <a:off x="3695065" y="2812414"/>
            <a:ext cx="15875" cy="15875"/>
          </a:xfrm>
          <a:custGeom>
            <a:avLst/>
            <a:gdLst/>
            <a:ahLst/>
            <a:cxnLst/>
            <a:rect l="l" t="t" r="r" b="b"/>
            <a:pathLst>
              <a:path w="15875" h="15875">
                <a:moveTo>
                  <a:pt x="12573" y="0"/>
                </a:moveTo>
                <a:lnTo>
                  <a:pt x="0" y="3429"/>
                </a:lnTo>
                <a:lnTo>
                  <a:pt x="1524" y="6731"/>
                </a:lnTo>
                <a:lnTo>
                  <a:pt x="1905" y="12573"/>
                </a:lnTo>
                <a:lnTo>
                  <a:pt x="3429" y="15875"/>
                </a:lnTo>
                <a:lnTo>
                  <a:pt x="15875" y="12573"/>
                </a:lnTo>
                <a:lnTo>
                  <a:pt x="14477" y="9144"/>
                </a:lnTo>
                <a:lnTo>
                  <a:pt x="13081" y="5842"/>
                </a:lnTo>
                <a:lnTo>
                  <a:pt x="12573" y="0"/>
                </a:lnTo>
              </a:path>
            </a:pathLst>
          </a:custGeom>
          <a:ln w="9525">
            <a:solidFill>
              <a:srgbClr val="FFFFFF"/>
            </a:solidFill>
          </a:ln>
        </p:spPr>
        <p:txBody>
          <a:bodyPr wrap="square" lIns="0" tIns="0" rIns="0" bIns="0" rtlCol="0"/>
          <a:lstStyle/>
          <a:p>
            <a:endParaRPr/>
          </a:p>
        </p:txBody>
      </p:sp>
      <p:sp>
        <p:nvSpPr>
          <p:cNvPr id="49" name="object 49"/>
          <p:cNvSpPr/>
          <p:nvPr/>
        </p:nvSpPr>
        <p:spPr>
          <a:xfrm>
            <a:off x="3681603" y="2762376"/>
            <a:ext cx="15875" cy="15875"/>
          </a:xfrm>
          <a:custGeom>
            <a:avLst/>
            <a:gdLst/>
            <a:ahLst/>
            <a:cxnLst/>
            <a:rect l="l" t="t" r="r" b="b"/>
            <a:pathLst>
              <a:path w="15875" h="15875">
                <a:moveTo>
                  <a:pt x="12446" y="0"/>
                </a:moveTo>
                <a:lnTo>
                  <a:pt x="0" y="3428"/>
                </a:lnTo>
                <a:lnTo>
                  <a:pt x="381" y="9144"/>
                </a:lnTo>
                <a:lnTo>
                  <a:pt x="1905" y="12573"/>
                </a:lnTo>
                <a:lnTo>
                  <a:pt x="3301" y="15875"/>
                </a:lnTo>
                <a:lnTo>
                  <a:pt x="15875" y="12573"/>
                </a:lnTo>
                <a:lnTo>
                  <a:pt x="14350" y="9144"/>
                </a:lnTo>
                <a:lnTo>
                  <a:pt x="13843" y="3428"/>
                </a:lnTo>
                <a:lnTo>
                  <a:pt x="12446" y="0"/>
                </a:lnTo>
              </a:path>
            </a:pathLst>
          </a:custGeom>
          <a:ln w="9525">
            <a:solidFill>
              <a:srgbClr val="FFFFFF"/>
            </a:solidFill>
          </a:ln>
        </p:spPr>
        <p:txBody>
          <a:bodyPr wrap="square" lIns="0" tIns="0" rIns="0" bIns="0" rtlCol="0"/>
          <a:lstStyle/>
          <a:p>
            <a:endParaRPr/>
          </a:p>
        </p:txBody>
      </p:sp>
      <p:sp>
        <p:nvSpPr>
          <p:cNvPr id="50" name="object 50"/>
          <p:cNvSpPr/>
          <p:nvPr/>
        </p:nvSpPr>
        <p:spPr>
          <a:xfrm>
            <a:off x="3666997" y="2714751"/>
            <a:ext cx="17145" cy="15875"/>
          </a:xfrm>
          <a:custGeom>
            <a:avLst/>
            <a:gdLst/>
            <a:ahLst/>
            <a:cxnLst/>
            <a:rect l="l" t="t" r="r" b="b"/>
            <a:pathLst>
              <a:path w="17145" h="15875">
                <a:moveTo>
                  <a:pt x="12573" y="0"/>
                </a:moveTo>
                <a:lnTo>
                  <a:pt x="0" y="3428"/>
                </a:lnTo>
                <a:lnTo>
                  <a:pt x="1524" y="6731"/>
                </a:lnTo>
                <a:lnTo>
                  <a:pt x="2921" y="10160"/>
                </a:lnTo>
                <a:lnTo>
                  <a:pt x="3428" y="15875"/>
                </a:lnTo>
                <a:lnTo>
                  <a:pt x="16890" y="10160"/>
                </a:lnTo>
                <a:lnTo>
                  <a:pt x="15493" y="6731"/>
                </a:lnTo>
                <a:lnTo>
                  <a:pt x="13969" y="3428"/>
                </a:lnTo>
                <a:lnTo>
                  <a:pt x="12573" y="0"/>
                </a:lnTo>
              </a:path>
            </a:pathLst>
          </a:custGeom>
          <a:ln w="9525">
            <a:solidFill>
              <a:srgbClr val="FFFFFF"/>
            </a:solidFill>
          </a:ln>
        </p:spPr>
        <p:txBody>
          <a:bodyPr wrap="square" lIns="0" tIns="0" rIns="0" bIns="0" rtlCol="0"/>
          <a:lstStyle/>
          <a:p>
            <a:endParaRPr/>
          </a:p>
        </p:txBody>
      </p:sp>
      <p:sp>
        <p:nvSpPr>
          <p:cNvPr id="51" name="object 51"/>
          <p:cNvSpPr/>
          <p:nvPr/>
        </p:nvSpPr>
        <p:spPr>
          <a:xfrm>
            <a:off x="3650107" y="2663825"/>
            <a:ext cx="17145" cy="15875"/>
          </a:xfrm>
          <a:custGeom>
            <a:avLst/>
            <a:gdLst/>
            <a:ahLst/>
            <a:cxnLst/>
            <a:rect l="l" t="t" r="r" b="b"/>
            <a:pathLst>
              <a:path w="17145" h="15875">
                <a:moveTo>
                  <a:pt x="13462" y="0"/>
                </a:moveTo>
                <a:lnTo>
                  <a:pt x="0" y="5714"/>
                </a:lnTo>
                <a:lnTo>
                  <a:pt x="1523" y="9144"/>
                </a:lnTo>
                <a:lnTo>
                  <a:pt x="2920" y="12446"/>
                </a:lnTo>
                <a:lnTo>
                  <a:pt x="4317" y="15875"/>
                </a:lnTo>
                <a:lnTo>
                  <a:pt x="16890" y="12446"/>
                </a:lnTo>
                <a:lnTo>
                  <a:pt x="15493" y="9144"/>
                </a:lnTo>
                <a:lnTo>
                  <a:pt x="13969" y="5714"/>
                </a:lnTo>
                <a:lnTo>
                  <a:pt x="13462" y="0"/>
                </a:lnTo>
              </a:path>
            </a:pathLst>
          </a:custGeom>
          <a:ln w="9525">
            <a:solidFill>
              <a:srgbClr val="FFFFFF"/>
            </a:solidFill>
          </a:ln>
        </p:spPr>
        <p:txBody>
          <a:bodyPr wrap="square" lIns="0" tIns="0" rIns="0" bIns="0" rtlCol="0"/>
          <a:lstStyle/>
          <a:p>
            <a:endParaRPr/>
          </a:p>
        </p:txBody>
      </p:sp>
      <p:sp>
        <p:nvSpPr>
          <p:cNvPr id="52" name="object 52"/>
          <p:cNvSpPr/>
          <p:nvPr/>
        </p:nvSpPr>
        <p:spPr>
          <a:xfrm>
            <a:off x="3630803" y="2616707"/>
            <a:ext cx="17145" cy="17145"/>
          </a:xfrm>
          <a:custGeom>
            <a:avLst/>
            <a:gdLst/>
            <a:ahLst/>
            <a:cxnLst/>
            <a:rect l="l" t="t" r="r" b="b"/>
            <a:pathLst>
              <a:path w="17145" h="17144">
                <a:moveTo>
                  <a:pt x="12573" y="0"/>
                </a:moveTo>
                <a:lnTo>
                  <a:pt x="0" y="3301"/>
                </a:lnTo>
                <a:lnTo>
                  <a:pt x="1524" y="6730"/>
                </a:lnTo>
                <a:lnTo>
                  <a:pt x="4318" y="13462"/>
                </a:lnTo>
                <a:lnTo>
                  <a:pt x="5842" y="16763"/>
                </a:lnTo>
                <a:lnTo>
                  <a:pt x="16891" y="10032"/>
                </a:lnTo>
                <a:lnTo>
                  <a:pt x="15367" y="6730"/>
                </a:lnTo>
                <a:lnTo>
                  <a:pt x="13970" y="3301"/>
                </a:lnTo>
                <a:lnTo>
                  <a:pt x="12573" y="0"/>
                </a:lnTo>
              </a:path>
            </a:pathLst>
          </a:custGeom>
          <a:ln w="9525">
            <a:solidFill>
              <a:srgbClr val="FFFFFF"/>
            </a:solidFill>
          </a:ln>
        </p:spPr>
        <p:txBody>
          <a:bodyPr wrap="square" lIns="0" tIns="0" rIns="0" bIns="0" rtlCol="0"/>
          <a:lstStyle/>
          <a:p>
            <a:endParaRPr/>
          </a:p>
        </p:txBody>
      </p:sp>
      <p:sp>
        <p:nvSpPr>
          <p:cNvPr id="53" name="object 53"/>
          <p:cNvSpPr/>
          <p:nvPr/>
        </p:nvSpPr>
        <p:spPr>
          <a:xfrm>
            <a:off x="3610609" y="2569591"/>
            <a:ext cx="17145" cy="17145"/>
          </a:xfrm>
          <a:custGeom>
            <a:avLst/>
            <a:gdLst/>
            <a:ahLst/>
            <a:cxnLst/>
            <a:rect l="l" t="t" r="r" b="b"/>
            <a:pathLst>
              <a:path w="17145" h="17144">
                <a:moveTo>
                  <a:pt x="12445" y="0"/>
                </a:moveTo>
                <a:lnTo>
                  <a:pt x="0" y="3301"/>
                </a:lnTo>
                <a:lnTo>
                  <a:pt x="1397" y="6731"/>
                </a:lnTo>
                <a:lnTo>
                  <a:pt x="4317" y="13462"/>
                </a:lnTo>
                <a:lnTo>
                  <a:pt x="5714" y="16763"/>
                </a:lnTo>
                <a:lnTo>
                  <a:pt x="16763" y="10033"/>
                </a:lnTo>
                <a:lnTo>
                  <a:pt x="15366" y="6731"/>
                </a:lnTo>
                <a:lnTo>
                  <a:pt x="13842" y="3301"/>
                </a:lnTo>
                <a:lnTo>
                  <a:pt x="12445" y="0"/>
                </a:lnTo>
              </a:path>
            </a:pathLst>
          </a:custGeom>
          <a:ln w="9525">
            <a:solidFill>
              <a:srgbClr val="FFFFFF"/>
            </a:solidFill>
          </a:ln>
        </p:spPr>
        <p:txBody>
          <a:bodyPr wrap="square" lIns="0" tIns="0" rIns="0" bIns="0" rtlCol="0"/>
          <a:lstStyle/>
          <a:p>
            <a:endParaRPr/>
          </a:p>
        </p:txBody>
      </p:sp>
      <p:sp>
        <p:nvSpPr>
          <p:cNvPr id="54" name="object 54"/>
          <p:cNvSpPr/>
          <p:nvPr/>
        </p:nvSpPr>
        <p:spPr>
          <a:xfrm>
            <a:off x="3589273" y="2521457"/>
            <a:ext cx="18415" cy="17145"/>
          </a:xfrm>
          <a:custGeom>
            <a:avLst/>
            <a:gdLst/>
            <a:ahLst/>
            <a:cxnLst/>
            <a:rect l="l" t="t" r="r" b="b"/>
            <a:pathLst>
              <a:path w="18414" h="17144">
                <a:moveTo>
                  <a:pt x="11049" y="0"/>
                </a:moveTo>
                <a:lnTo>
                  <a:pt x="0" y="6730"/>
                </a:lnTo>
                <a:lnTo>
                  <a:pt x="1524" y="10159"/>
                </a:lnTo>
                <a:lnTo>
                  <a:pt x="2921" y="13462"/>
                </a:lnTo>
                <a:lnTo>
                  <a:pt x="4445" y="16890"/>
                </a:lnTo>
                <a:lnTo>
                  <a:pt x="17906" y="11049"/>
                </a:lnTo>
                <a:lnTo>
                  <a:pt x="16383" y="7746"/>
                </a:lnTo>
                <a:lnTo>
                  <a:pt x="12573" y="3301"/>
                </a:lnTo>
                <a:lnTo>
                  <a:pt x="11049" y="0"/>
                </a:lnTo>
              </a:path>
            </a:pathLst>
          </a:custGeom>
          <a:ln w="9525">
            <a:solidFill>
              <a:srgbClr val="FFFFFF"/>
            </a:solidFill>
          </a:ln>
        </p:spPr>
        <p:txBody>
          <a:bodyPr wrap="square" lIns="0" tIns="0" rIns="0" bIns="0" rtlCol="0"/>
          <a:lstStyle/>
          <a:p>
            <a:endParaRPr/>
          </a:p>
        </p:txBody>
      </p:sp>
      <p:sp>
        <p:nvSpPr>
          <p:cNvPr id="55" name="object 55"/>
          <p:cNvSpPr/>
          <p:nvPr/>
        </p:nvSpPr>
        <p:spPr>
          <a:xfrm>
            <a:off x="3565652" y="2475738"/>
            <a:ext cx="17780" cy="17780"/>
          </a:xfrm>
          <a:custGeom>
            <a:avLst/>
            <a:gdLst/>
            <a:ahLst/>
            <a:cxnLst/>
            <a:rect l="l" t="t" r="r" b="b"/>
            <a:pathLst>
              <a:path w="17779" h="17780">
                <a:moveTo>
                  <a:pt x="11049" y="0"/>
                </a:moveTo>
                <a:lnTo>
                  <a:pt x="0" y="6731"/>
                </a:lnTo>
                <a:lnTo>
                  <a:pt x="1524" y="10160"/>
                </a:lnTo>
                <a:lnTo>
                  <a:pt x="2921" y="13462"/>
                </a:lnTo>
                <a:lnTo>
                  <a:pt x="6731" y="17779"/>
                </a:lnTo>
                <a:lnTo>
                  <a:pt x="17780" y="11049"/>
                </a:lnTo>
                <a:lnTo>
                  <a:pt x="13970" y="6731"/>
                </a:lnTo>
                <a:lnTo>
                  <a:pt x="12573" y="3428"/>
                </a:lnTo>
                <a:lnTo>
                  <a:pt x="11049" y="0"/>
                </a:lnTo>
              </a:path>
            </a:pathLst>
          </a:custGeom>
          <a:ln w="9525">
            <a:solidFill>
              <a:srgbClr val="FFFFFF"/>
            </a:solidFill>
          </a:ln>
        </p:spPr>
        <p:txBody>
          <a:bodyPr wrap="square" lIns="0" tIns="0" rIns="0" bIns="0" rtlCol="0"/>
          <a:lstStyle/>
          <a:p>
            <a:endParaRPr/>
          </a:p>
        </p:txBody>
      </p:sp>
      <p:sp>
        <p:nvSpPr>
          <p:cNvPr id="56" name="object 56"/>
          <p:cNvSpPr/>
          <p:nvPr/>
        </p:nvSpPr>
        <p:spPr>
          <a:xfrm>
            <a:off x="590575" y="1416050"/>
            <a:ext cx="3477260" cy="3469640"/>
          </a:xfrm>
          <a:custGeom>
            <a:avLst/>
            <a:gdLst/>
            <a:ahLst/>
            <a:cxnLst/>
            <a:rect l="l" t="t" r="r" b="b"/>
            <a:pathLst>
              <a:path w="3477260" h="3469640">
                <a:moveTo>
                  <a:pt x="1088237" y="3330829"/>
                </a:moveTo>
                <a:lnTo>
                  <a:pt x="1082522" y="3345306"/>
                </a:lnTo>
                <a:lnTo>
                  <a:pt x="1092174" y="3349117"/>
                </a:lnTo>
                <a:lnTo>
                  <a:pt x="1096873" y="3351022"/>
                </a:lnTo>
                <a:lnTo>
                  <a:pt x="1102715" y="3336544"/>
                </a:lnTo>
                <a:lnTo>
                  <a:pt x="1088237" y="3330829"/>
                </a:lnTo>
                <a:close/>
              </a:path>
              <a:path w="3477260" h="3469640">
                <a:moveTo>
                  <a:pt x="1146022" y="3353816"/>
                </a:moveTo>
                <a:lnTo>
                  <a:pt x="1140307" y="3368294"/>
                </a:lnTo>
                <a:lnTo>
                  <a:pt x="1154785" y="3374008"/>
                </a:lnTo>
                <a:lnTo>
                  <a:pt x="1160500" y="3359657"/>
                </a:lnTo>
                <a:lnTo>
                  <a:pt x="1155674" y="3357753"/>
                </a:lnTo>
                <a:lnTo>
                  <a:pt x="1150848" y="3355721"/>
                </a:lnTo>
                <a:lnTo>
                  <a:pt x="1146022" y="3353816"/>
                </a:lnTo>
                <a:close/>
              </a:path>
              <a:path w="3477260" h="3469640">
                <a:moveTo>
                  <a:pt x="1030452" y="3307842"/>
                </a:moveTo>
                <a:lnTo>
                  <a:pt x="1022324" y="3321304"/>
                </a:lnTo>
                <a:lnTo>
                  <a:pt x="1027150" y="3323208"/>
                </a:lnTo>
                <a:lnTo>
                  <a:pt x="1031849" y="3325114"/>
                </a:lnTo>
                <a:lnTo>
                  <a:pt x="1036675" y="3327019"/>
                </a:lnTo>
                <a:lnTo>
                  <a:pt x="1044930" y="3313556"/>
                </a:lnTo>
                <a:lnTo>
                  <a:pt x="1030452" y="3307842"/>
                </a:lnTo>
                <a:close/>
              </a:path>
              <a:path w="3477260" h="3469640">
                <a:moveTo>
                  <a:pt x="1204823" y="3374517"/>
                </a:moveTo>
                <a:lnTo>
                  <a:pt x="1201394" y="3389883"/>
                </a:lnTo>
                <a:lnTo>
                  <a:pt x="1215872" y="3395599"/>
                </a:lnTo>
                <a:lnTo>
                  <a:pt x="1219301" y="3380231"/>
                </a:lnTo>
                <a:lnTo>
                  <a:pt x="1204823" y="3374517"/>
                </a:lnTo>
                <a:close/>
              </a:path>
              <a:path w="3477260" h="3469640">
                <a:moveTo>
                  <a:pt x="972159" y="3279013"/>
                </a:moveTo>
                <a:lnTo>
                  <a:pt x="966444" y="3293491"/>
                </a:lnTo>
                <a:lnTo>
                  <a:pt x="971270" y="3295396"/>
                </a:lnTo>
                <a:lnTo>
                  <a:pt x="975080" y="3299714"/>
                </a:lnTo>
                <a:lnTo>
                  <a:pt x="979906" y="3301619"/>
                </a:lnTo>
                <a:lnTo>
                  <a:pt x="985621" y="3287141"/>
                </a:lnTo>
                <a:lnTo>
                  <a:pt x="980795" y="3285236"/>
                </a:lnTo>
                <a:lnTo>
                  <a:pt x="976985" y="3280918"/>
                </a:lnTo>
                <a:lnTo>
                  <a:pt x="972159" y="3279013"/>
                </a:lnTo>
                <a:close/>
              </a:path>
              <a:path w="3477260" h="3469640">
                <a:moveTo>
                  <a:pt x="1264513" y="3392678"/>
                </a:moveTo>
                <a:lnTo>
                  <a:pt x="1261211" y="3408172"/>
                </a:lnTo>
                <a:lnTo>
                  <a:pt x="1270863" y="3411981"/>
                </a:lnTo>
                <a:lnTo>
                  <a:pt x="1276578" y="3411474"/>
                </a:lnTo>
                <a:lnTo>
                  <a:pt x="1279798" y="3396488"/>
                </a:lnTo>
                <a:lnTo>
                  <a:pt x="1274165" y="3396488"/>
                </a:lnTo>
                <a:lnTo>
                  <a:pt x="1264513" y="3392678"/>
                </a:lnTo>
                <a:close/>
              </a:path>
              <a:path w="3477260" h="3469640">
                <a:moveTo>
                  <a:pt x="1279880" y="3396106"/>
                </a:moveTo>
                <a:lnTo>
                  <a:pt x="1274165" y="3396488"/>
                </a:lnTo>
                <a:lnTo>
                  <a:pt x="1279798" y="3396488"/>
                </a:lnTo>
                <a:lnTo>
                  <a:pt x="1279880" y="3396106"/>
                </a:lnTo>
                <a:close/>
              </a:path>
              <a:path w="3477260" h="3469640">
                <a:moveTo>
                  <a:pt x="916279" y="3251200"/>
                </a:moveTo>
                <a:lnTo>
                  <a:pt x="910564" y="3265551"/>
                </a:lnTo>
                <a:lnTo>
                  <a:pt x="915390" y="3267582"/>
                </a:lnTo>
                <a:lnTo>
                  <a:pt x="920089" y="3269488"/>
                </a:lnTo>
                <a:lnTo>
                  <a:pt x="924026" y="3273805"/>
                </a:lnTo>
                <a:lnTo>
                  <a:pt x="930757" y="3256915"/>
                </a:lnTo>
                <a:lnTo>
                  <a:pt x="916279" y="3251200"/>
                </a:lnTo>
                <a:close/>
              </a:path>
              <a:path w="3477260" h="3469640">
                <a:moveTo>
                  <a:pt x="1325219" y="3408553"/>
                </a:moveTo>
                <a:lnTo>
                  <a:pt x="1321790" y="3423920"/>
                </a:lnTo>
                <a:lnTo>
                  <a:pt x="1331442" y="3427729"/>
                </a:lnTo>
                <a:lnTo>
                  <a:pt x="1337284" y="3427222"/>
                </a:lnTo>
                <a:lnTo>
                  <a:pt x="1340477" y="3412363"/>
                </a:lnTo>
                <a:lnTo>
                  <a:pt x="1334871" y="3412363"/>
                </a:lnTo>
                <a:lnTo>
                  <a:pt x="1325219" y="3408553"/>
                </a:lnTo>
                <a:close/>
              </a:path>
              <a:path w="3477260" h="3469640">
                <a:moveTo>
                  <a:pt x="1340586" y="3411854"/>
                </a:moveTo>
                <a:lnTo>
                  <a:pt x="1334871" y="3412363"/>
                </a:lnTo>
                <a:lnTo>
                  <a:pt x="1340477" y="3412363"/>
                </a:lnTo>
                <a:lnTo>
                  <a:pt x="1340586" y="3411854"/>
                </a:lnTo>
                <a:close/>
              </a:path>
              <a:path w="3477260" h="3469640">
                <a:moveTo>
                  <a:pt x="861415" y="3220847"/>
                </a:moveTo>
                <a:lnTo>
                  <a:pt x="853160" y="3234436"/>
                </a:lnTo>
                <a:lnTo>
                  <a:pt x="867638" y="3240151"/>
                </a:lnTo>
                <a:lnTo>
                  <a:pt x="875766" y="3226689"/>
                </a:lnTo>
                <a:lnTo>
                  <a:pt x="866114" y="3222879"/>
                </a:lnTo>
                <a:lnTo>
                  <a:pt x="861415" y="3220847"/>
                </a:lnTo>
                <a:close/>
              </a:path>
              <a:path w="3477260" h="3469640">
                <a:moveTo>
                  <a:pt x="1386814" y="3421888"/>
                </a:moveTo>
                <a:lnTo>
                  <a:pt x="1383512" y="3437254"/>
                </a:lnTo>
                <a:lnTo>
                  <a:pt x="1388338" y="3439287"/>
                </a:lnTo>
                <a:lnTo>
                  <a:pt x="1395577" y="3442080"/>
                </a:lnTo>
                <a:lnTo>
                  <a:pt x="1401292" y="3441573"/>
                </a:lnTo>
                <a:lnTo>
                  <a:pt x="1402277" y="3425698"/>
                </a:lnTo>
                <a:lnTo>
                  <a:pt x="1396466" y="3425698"/>
                </a:lnTo>
                <a:lnTo>
                  <a:pt x="1386814" y="3421888"/>
                </a:lnTo>
                <a:close/>
              </a:path>
              <a:path w="3477260" h="3469640">
                <a:moveTo>
                  <a:pt x="1402308" y="3425190"/>
                </a:moveTo>
                <a:lnTo>
                  <a:pt x="1396466" y="3425698"/>
                </a:lnTo>
                <a:lnTo>
                  <a:pt x="1402277" y="3425698"/>
                </a:lnTo>
                <a:lnTo>
                  <a:pt x="1402308" y="3425190"/>
                </a:lnTo>
                <a:close/>
              </a:path>
              <a:path w="3477260" h="3469640">
                <a:moveTo>
                  <a:pt x="808329" y="3185795"/>
                </a:moveTo>
                <a:lnTo>
                  <a:pt x="800201" y="3199257"/>
                </a:lnTo>
                <a:lnTo>
                  <a:pt x="804011" y="3203702"/>
                </a:lnTo>
                <a:lnTo>
                  <a:pt x="813663" y="3207512"/>
                </a:lnTo>
                <a:lnTo>
                  <a:pt x="820902" y="3196463"/>
                </a:lnTo>
                <a:lnTo>
                  <a:pt x="816965" y="3192018"/>
                </a:lnTo>
                <a:lnTo>
                  <a:pt x="812266" y="3190113"/>
                </a:lnTo>
                <a:lnTo>
                  <a:pt x="808329" y="3185795"/>
                </a:lnTo>
                <a:close/>
              </a:path>
              <a:path w="3477260" h="3469640">
                <a:moveTo>
                  <a:pt x="1461324" y="3450208"/>
                </a:moveTo>
                <a:lnTo>
                  <a:pt x="1450949" y="3450208"/>
                </a:lnTo>
                <a:lnTo>
                  <a:pt x="1455775" y="3452114"/>
                </a:lnTo>
                <a:lnTo>
                  <a:pt x="1460474" y="3454019"/>
                </a:lnTo>
                <a:lnTo>
                  <a:pt x="1461324" y="3450208"/>
                </a:lnTo>
                <a:close/>
              </a:path>
              <a:path w="3477260" h="3469640">
                <a:moveTo>
                  <a:pt x="1454251" y="3434842"/>
                </a:moveTo>
                <a:lnTo>
                  <a:pt x="1448536" y="3435350"/>
                </a:lnTo>
                <a:lnTo>
                  <a:pt x="1447520" y="3451605"/>
                </a:lnTo>
                <a:lnTo>
                  <a:pt x="1450949" y="3450208"/>
                </a:lnTo>
                <a:lnTo>
                  <a:pt x="1461324" y="3450208"/>
                </a:lnTo>
                <a:lnTo>
                  <a:pt x="1463903" y="3438652"/>
                </a:lnTo>
                <a:lnTo>
                  <a:pt x="1454251" y="3434842"/>
                </a:lnTo>
                <a:close/>
              </a:path>
              <a:path w="3477260" h="3469640">
                <a:moveTo>
                  <a:pt x="757783" y="3151759"/>
                </a:moveTo>
                <a:lnTo>
                  <a:pt x="747242" y="3164205"/>
                </a:lnTo>
                <a:lnTo>
                  <a:pt x="751052" y="3168523"/>
                </a:lnTo>
                <a:lnTo>
                  <a:pt x="755878" y="3170555"/>
                </a:lnTo>
                <a:lnTo>
                  <a:pt x="759688" y="3174873"/>
                </a:lnTo>
                <a:lnTo>
                  <a:pt x="770229" y="3162300"/>
                </a:lnTo>
                <a:lnTo>
                  <a:pt x="766419" y="3157982"/>
                </a:lnTo>
                <a:lnTo>
                  <a:pt x="761593" y="3156077"/>
                </a:lnTo>
                <a:lnTo>
                  <a:pt x="757783" y="3151759"/>
                </a:lnTo>
                <a:close/>
              </a:path>
              <a:path w="3477260" h="3469640">
                <a:moveTo>
                  <a:pt x="1524507" y="3460750"/>
                </a:moveTo>
                <a:lnTo>
                  <a:pt x="1519275" y="3460750"/>
                </a:lnTo>
                <a:lnTo>
                  <a:pt x="1524101" y="3462654"/>
                </a:lnTo>
                <a:lnTo>
                  <a:pt x="1524507" y="3460750"/>
                </a:lnTo>
                <a:close/>
              </a:path>
              <a:path w="3477260" h="3469640">
                <a:moveTo>
                  <a:pt x="1512036" y="3443858"/>
                </a:moveTo>
                <a:lnTo>
                  <a:pt x="1508734" y="3459226"/>
                </a:lnTo>
                <a:lnTo>
                  <a:pt x="1513560" y="3461257"/>
                </a:lnTo>
                <a:lnTo>
                  <a:pt x="1519275" y="3460750"/>
                </a:lnTo>
                <a:lnTo>
                  <a:pt x="1524507" y="3460750"/>
                </a:lnTo>
                <a:lnTo>
                  <a:pt x="1527403" y="3447161"/>
                </a:lnTo>
                <a:lnTo>
                  <a:pt x="1523864" y="3445764"/>
                </a:lnTo>
                <a:lnTo>
                  <a:pt x="1516862" y="3445764"/>
                </a:lnTo>
                <a:lnTo>
                  <a:pt x="1512036" y="3443858"/>
                </a:lnTo>
                <a:close/>
              </a:path>
              <a:path w="3477260" h="3469640">
                <a:moveTo>
                  <a:pt x="1522577" y="3445255"/>
                </a:moveTo>
                <a:lnTo>
                  <a:pt x="1516862" y="3445764"/>
                </a:lnTo>
                <a:lnTo>
                  <a:pt x="1523864" y="3445764"/>
                </a:lnTo>
                <a:lnTo>
                  <a:pt x="1522577" y="3445255"/>
                </a:lnTo>
                <a:close/>
              </a:path>
              <a:path w="3477260" h="3469640">
                <a:moveTo>
                  <a:pt x="705713" y="3114294"/>
                </a:moveTo>
                <a:lnTo>
                  <a:pt x="695172" y="3126740"/>
                </a:lnTo>
                <a:lnTo>
                  <a:pt x="698982" y="3131058"/>
                </a:lnTo>
                <a:lnTo>
                  <a:pt x="703808" y="3132963"/>
                </a:lnTo>
                <a:lnTo>
                  <a:pt x="707618" y="3137281"/>
                </a:lnTo>
                <a:lnTo>
                  <a:pt x="718286" y="3124835"/>
                </a:lnTo>
                <a:lnTo>
                  <a:pt x="713460" y="3122930"/>
                </a:lnTo>
                <a:lnTo>
                  <a:pt x="709523" y="3118612"/>
                </a:lnTo>
                <a:lnTo>
                  <a:pt x="705713" y="3114294"/>
                </a:lnTo>
                <a:close/>
              </a:path>
              <a:path w="3477260" h="3469640">
                <a:moveTo>
                  <a:pt x="1588693" y="3467354"/>
                </a:moveTo>
                <a:lnTo>
                  <a:pt x="1578076" y="3467354"/>
                </a:lnTo>
                <a:lnTo>
                  <a:pt x="1582775" y="3469258"/>
                </a:lnTo>
                <a:lnTo>
                  <a:pt x="1588617" y="3468751"/>
                </a:lnTo>
                <a:lnTo>
                  <a:pt x="1588693" y="3467354"/>
                </a:lnTo>
                <a:close/>
              </a:path>
              <a:path w="3477260" h="3469640">
                <a:moveTo>
                  <a:pt x="1573123" y="3451479"/>
                </a:moveTo>
                <a:lnTo>
                  <a:pt x="1572234" y="3467862"/>
                </a:lnTo>
                <a:lnTo>
                  <a:pt x="1578076" y="3467354"/>
                </a:lnTo>
                <a:lnTo>
                  <a:pt x="1588693" y="3467354"/>
                </a:lnTo>
                <a:lnTo>
                  <a:pt x="1589457" y="3453383"/>
                </a:lnTo>
                <a:lnTo>
                  <a:pt x="1577949" y="3453383"/>
                </a:lnTo>
                <a:lnTo>
                  <a:pt x="1573123" y="3451479"/>
                </a:lnTo>
                <a:close/>
              </a:path>
              <a:path w="3477260" h="3469640">
                <a:moveTo>
                  <a:pt x="1589506" y="3452495"/>
                </a:moveTo>
                <a:lnTo>
                  <a:pt x="1583791" y="3452876"/>
                </a:lnTo>
                <a:lnTo>
                  <a:pt x="1577949" y="3453383"/>
                </a:lnTo>
                <a:lnTo>
                  <a:pt x="1589457" y="3453383"/>
                </a:lnTo>
                <a:lnTo>
                  <a:pt x="1589506" y="3452495"/>
                </a:lnTo>
                <a:close/>
              </a:path>
              <a:path w="3477260" h="3469640">
                <a:moveTo>
                  <a:pt x="656082" y="3077718"/>
                </a:moveTo>
                <a:lnTo>
                  <a:pt x="645502" y="3090291"/>
                </a:lnTo>
                <a:lnTo>
                  <a:pt x="650328" y="3092196"/>
                </a:lnTo>
                <a:lnTo>
                  <a:pt x="654177" y="3096514"/>
                </a:lnTo>
                <a:lnTo>
                  <a:pt x="659002" y="3098419"/>
                </a:lnTo>
                <a:lnTo>
                  <a:pt x="668616" y="3088259"/>
                </a:lnTo>
                <a:lnTo>
                  <a:pt x="660895" y="3079623"/>
                </a:lnTo>
                <a:lnTo>
                  <a:pt x="656082" y="3077718"/>
                </a:lnTo>
                <a:close/>
              </a:path>
              <a:path w="3477260" h="3469640">
                <a:moveTo>
                  <a:pt x="608368" y="3036443"/>
                </a:moveTo>
                <a:lnTo>
                  <a:pt x="597789" y="3048889"/>
                </a:lnTo>
                <a:lnTo>
                  <a:pt x="601649" y="3053207"/>
                </a:lnTo>
                <a:lnTo>
                  <a:pt x="606463" y="3055112"/>
                </a:lnTo>
                <a:lnTo>
                  <a:pt x="607910" y="3058541"/>
                </a:lnTo>
                <a:lnTo>
                  <a:pt x="618490" y="3045968"/>
                </a:lnTo>
                <a:lnTo>
                  <a:pt x="614629" y="3041650"/>
                </a:lnTo>
                <a:lnTo>
                  <a:pt x="612228" y="3040761"/>
                </a:lnTo>
                <a:lnTo>
                  <a:pt x="608368" y="3036443"/>
                </a:lnTo>
                <a:close/>
              </a:path>
              <a:path w="3477260" h="3469640">
                <a:moveTo>
                  <a:pt x="560654" y="2995041"/>
                </a:moveTo>
                <a:lnTo>
                  <a:pt x="551040" y="3005201"/>
                </a:lnTo>
                <a:lnTo>
                  <a:pt x="554888" y="3009519"/>
                </a:lnTo>
                <a:lnTo>
                  <a:pt x="556348" y="3012821"/>
                </a:lnTo>
                <a:lnTo>
                  <a:pt x="561162" y="3014726"/>
                </a:lnTo>
                <a:lnTo>
                  <a:pt x="573189" y="3005582"/>
                </a:lnTo>
                <a:lnTo>
                  <a:pt x="565467" y="2996946"/>
                </a:lnTo>
                <a:lnTo>
                  <a:pt x="560654" y="2995041"/>
                </a:lnTo>
                <a:close/>
              </a:path>
              <a:path w="3477260" h="3469640">
                <a:moveTo>
                  <a:pt x="514858" y="2948940"/>
                </a:moveTo>
                <a:lnTo>
                  <a:pt x="504278" y="2961386"/>
                </a:lnTo>
                <a:lnTo>
                  <a:pt x="512000" y="2970022"/>
                </a:lnTo>
                <a:lnTo>
                  <a:pt x="516813" y="2972054"/>
                </a:lnTo>
                <a:lnTo>
                  <a:pt x="526427" y="2961894"/>
                </a:lnTo>
                <a:lnTo>
                  <a:pt x="514858" y="2948940"/>
                </a:lnTo>
                <a:close/>
              </a:path>
              <a:path w="3477260" h="3469640">
                <a:moveTo>
                  <a:pt x="471474" y="2903728"/>
                </a:moveTo>
                <a:lnTo>
                  <a:pt x="460895" y="2916174"/>
                </a:lnTo>
                <a:lnTo>
                  <a:pt x="462343" y="2919603"/>
                </a:lnTo>
                <a:lnTo>
                  <a:pt x="467156" y="2921508"/>
                </a:lnTo>
                <a:lnTo>
                  <a:pt x="471017" y="2925826"/>
                </a:lnTo>
                <a:lnTo>
                  <a:pt x="483044" y="2916682"/>
                </a:lnTo>
                <a:lnTo>
                  <a:pt x="471474" y="2903728"/>
                </a:lnTo>
                <a:close/>
              </a:path>
              <a:path w="3477260" h="3469640">
                <a:moveTo>
                  <a:pt x="431444" y="2857119"/>
                </a:moveTo>
                <a:lnTo>
                  <a:pt x="418464" y="2868676"/>
                </a:lnTo>
                <a:lnTo>
                  <a:pt x="422325" y="2872994"/>
                </a:lnTo>
                <a:lnTo>
                  <a:pt x="423773" y="2876296"/>
                </a:lnTo>
                <a:lnTo>
                  <a:pt x="428586" y="2878201"/>
                </a:lnTo>
                <a:lnTo>
                  <a:pt x="440613" y="2869057"/>
                </a:lnTo>
                <a:lnTo>
                  <a:pt x="432892" y="2860421"/>
                </a:lnTo>
                <a:lnTo>
                  <a:pt x="431444" y="2857119"/>
                </a:lnTo>
                <a:close/>
              </a:path>
              <a:path w="3477260" h="3469640">
                <a:moveTo>
                  <a:pt x="1963648" y="3445129"/>
                </a:moveTo>
                <a:lnTo>
                  <a:pt x="1960219" y="3446653"/>
                </a:lnTo>
                <a:lnTo>
                  <a:pt x="1948662" y="3447669"/>
                </a:lnTo>
                <a:lnTo>
                  <a:pt x="1951075" y="3462528"/>
                </a:lnTo>
                <a:lnTo>
                  <a:pt x="1962632" y="3461512"/>
                </a:lnTo>
                <a:lnTo>
                  <a:pt x="1966061" y="3460115"/>
                </a:lnTo>
                <a:lnTo>
                  <a:pt x="1963648" y="3445129"/>
                </a:lnTo>
                <a:close/>
              </a:path>
              <a:path w="3477260" h="3469640">
                <a:moveTo>
                  <a:pt x="389026" y="2809494"/>
                </a:moveTo>
                <a:lnTo>
                  <a:pt x="376999" y="2818638"/>
                </a:lnTo>
                <a:lnTo>
                  <a:pt x="388569" y="2831592"/>
                </a:lnTo>
                <a:lnTo>
                  <a:pt x="400596" y="2822448"/>
                </a:lnTo>
                <a:lnTo>
                  <a:pt x="389026" y="2809494"/>
                </a:lnTo>
                <a:close/>
              </a:path>
              <a:path w="3477260" h="3469640">
                <a:moveTo>
                  <a:pt x="2026640" y="3434079"/>
                </a:moveTo>
                <a:lnTo>
                  <a:pt x="2023211" y="3435477"/>
                </a:lnTo>
                <a:lnTo>
                  <a:pt x="2017496" y="3435985"/>
                </a:lnTo>
                <a:lnTo>
                  <a:pt x="2010765" y="3438905"/>
                </a:lnTo>
                <a:lnTo>
                  <a:pt x="2013178" y="3453765"/>
                </a:lnTo>
                <a:lnTo>
                  <a:pt x="2024735" y="3452749"/>
                </a:lnTo>
                <a:lnTo>
                  <a:pt x="2028164" y="3451352"/>
                </a:lnTo>
                <a:lnTo>
                  <a:pt x="2026640" y="3434079"/>
                </a:lnTo>
                <a:close/>
              </a:path>
              <a:path w="3477260" h="3469640">
                <a:moveTo>
                  <a:pt x="350926" y="2758059"/>
                </a:moveTo>
                <a:lnTo>
                  <a:pt x="338899" y="2767203"/>
                </a:lnTo>
                <a:lnTo>
                  <a:pt x="346608" y="2775839"/>
                </a:lnTo>
                <a:lnTo>
                  <a:pt x="348056" y="2779141"/>
                </a:lnTo>
                <a:lnTo>
                  <a:pt x="362496" y="2771013"/>
                </a:lnTo>
                <a:lnTo>
                  <a:pt x="350926" y="2758059"/>
                </a:lnTo>
                <a:close/>
              </a:path>
              <a:path w="3477260" h="3469640">
                <a:moveTo>
                  <a:pt x="2089632" y="3422904"/>
                </a:moveTo>
                <a:lnTo>
                  <a:pt x="2082901" y="3425825"/>
                </a:lnTo>
                <a:lnTo>
                  <a:pt x="2077186" y="3426205"/>
                </a:lnTo>
                <a:lnTo>
                  <a:pt x="2073757" y="3427729"/>
                </a:lnTo>
                <a:lnTo>
                  <a:pt x="2076297" y="3442589"/>
                </a:lnTo>
                <a:lnTo>
                  <a:pt x="2082012" y="3442080"/>
                </a:lnTo>
                <a:lnTo>
                  <a:pt x="2085441" y="3440683"/>
                </a:lnTo>
                <a:lnTo>
                  <a:pt x="2092172" y="3437763"/>
                </a:lnTo>
                <a:lnTo>
                  <a:pt x="2089632" y="3422904"/>
                </a:lnTo>
                <a:close/>
              </a:path>
              <a:path w="3477260" h="3469640">
                <a:moveTo>
                  <a:pt x="315226" y="2707513"/>
                </a:moveTo>
                <a:lnTo>
                  <a:pt x="303212" y="2716657"/>
                </a:lnTo>
                <a:lnTo>
                  <a:pt x="304660" y="2720086"/>
                </a:lnTo>
                <a:lnTo>
                  <a:pt x="312369" y="2728722"/>
                </a:lnTo>
                <a:lnTo>
                  <a:pt x="324396" y="2719578"/>
                </a:lnTo>
                <a:lnTo>
                  <a:pt x="320535" y="2715133"/>
                </a:lnTo>
                <a:lnTo>
                  <a:pt x="319087" y="2711831"/>
                </a:lnTo>
                <a:lnTo>
                  <a:pt x="315226" y="2707513"/>
                </a:lnTo>
                <a:close/>
              </a:path>
              <a:path w="3477260" h="3469640">
                <a:moveTo>
                  <a:pt x="2150338" y="3410712"/>
                </a:moveTo>
                <a:lnTo>
                  <a:pt x="2138781" y="3411728"/>
                </a:lnTo>
                <a:lnTo>
                  <a:pt x="2135352" y="3413125"/>
                </a:lnTo>
                <a:lnTo>
                  <a:pt x="2137892" y="3428111"/>
                </a:lnTo>
                <a:lnTo>
                  <a:pt x="2143607" y="3427603"/>
                </a:lnTo>
                <a:lnTo>
                  <a:pt x="2147036" y="3426205"/>
                </a:lnTo>
                <a:lnTo>
                  <a:pt x="2152751" y="3425698"/>
                </a:lnTo>
                <a:lnTo>
                  <a:pt x="2150338" y="3410712"/>
                </a:lnTo>
                <a:close/>
              </a:path>
              <a:path w="3477260" h="3469640">
                <a:moveTo>
                  <a:pt x="280492" y="2654554"/>
                </a:moveTo>
                <a:lnTo>
                  <a:pt x="268477" y="2663698"/>
                </a:lnTo>
                <a:lnTo>
                  <a:pt x="269925" y="2667127"/>
                </a:lnTo>
                <a:lnTo>
                  <a:pt x="277634" y="2675763"/>
                </a:lnTo>
                <a:lnTo>
                  <a:pt x="289661" y="2666619"/>
                </a:lnTo>
                <a:lnTo>
                  <a:pt x="288213" y="2663190"/>
                </a:lnTo>
                <a:lnTo>
                  <a:pt x="280492" y="2654554"/>
                </a:lnTo>
                <a:close/>
              </a:path>
              <a:path w="3477260" h="3469640">
                <a:moveTo>
                  <a:pt x="2210536" y="3392804"/>
                </a:moveTo>
                <a:lnTo>
                  <a:pt x="2204694" y="3393313"/>
                </a:lnTo>
                <a:lnTo>
                  <a:pt x="2200376" y="3397250"/>
                </a:lnTo>
                <a:lnTo>
                  <a:pt x="2194661" y="3397757"/>
                </a:lnTo>
                <a:lnTo>
                  <a:pt x="2199487" y="3413632"/>
                </a:lnTo>
                <a:lnTo>
                  <a:pt x="2205202" y="3413125"/>
                </a:lnTo>
                <a:lnTo>
                  <a:pt x="2209520" y="3409188"/>
                </a:lnTo>
                <a:lnTo>
                  <a:pt x="2215362" y="3408806"/>
                </a:lnTo>
                <a:lnTo>
                  <a:pt x="2210536" y="3392804"/>
                </a:lnTo>
                <a:close/>
              </a:path>
              <a:path w="3477260" h="3469640">
                <a:moveTo>
                  <a:pt x="249135" y="2600198"/>
                </a:moveTo>
                <a:lnTo>
                  <a:pt x="234695" y="2608453"/>
                </a:lnTo>
                <a:lnTo>
                  <a:pt x="238556" y="2612771"/>
                </a:lnTo>
                <a:lnTo>
                  <a:pt x="240004" y="2616073"/>
                </a:lnTo>
                <a:lnTo>
                  <a:pt x="242900" y="2622804"/>
                </a:lnTo>
                <a:lnTo>
                  <a:pt x="257340" y="2614676"/>
                </a:lnTo>
                <a:lnTo>
                  <a:pt x="253479" y="2610358"/>
                </a:lnTo>
                <a:lnTo>
                  <a:pt x="252983" y="2604516"/>
                </a:lnTo>
                <a:lnTo>
                  <a:pt x="249135" y="2600198"/>
                </a:lnTo>
                <a:close/>
              </a:path>
              <a:path w="3477260" h="3469640">
                <a:moveTo>
                  <a:pt x="2270607" y="3375025"/>
                </a:moveTo>
                <a:lnTo>
                  <a:pt x="2264892" y="3375405"/>
                </a:lnTo>
                <a:lnTo>
                  <a:pt x="2260574" y="3379343"/>
                </a:lnTo>
                <a:lnTo>
                  <a:pt x="2254732" y="3379851"/>
                </a:lnTo>
                <a:lnTo>
                  <a:pt x="2259558" y="3395726"/>
                </a:lnTo>
                <a:lnTo>
                  <a:pt x="2266289" y="3392804"/>
                </a:lnTo>
                <a:lnTo>
                  <a:pt x="2269718" y="3391280"/>
                </a:lnTo>
                <a:lnTo>
                  <a:pt x="2275433" y="3390900"/>
                </a:lnTo>
                <a:lnTo>
                  <a:pt x="2270607" y="3375025"/>
                </a:lnTo>
                <a:close/>
              </a:path>
              <a:path w="3477260" h="3469640">
                <a:moveTo>
                  <a:pt x="217766" y="2545842"/>
                </a:moveTo>
                <a:lnTo>
                  <a:pt x="204292" y="2551684"/>
                </a:lnTo>
                <a:lnTo>
                  <a:pt x="207187" y="2558415"/>
                </a:lnTo>
                <a:lnTo>
                  <a:pt x="208635" y="2561717"/>
                </a:lnTo>
                <a:lnTo>
                  <a:pt x="212496" y="2566162"/>
                </a:lnTo>
                <a:lnTo>
                  <a:pt x="225971" y="2560320"/>
                </a:lnTo>
                <a:lnTo>
                  <a:pt x="223075" y="2553589"/>
                </a:lnTo>
                <a:lnTo>
                  <a:pt x="221627" y="2550160"/>
                </a:lnTo>
                <a:lnTo>
                  <a:pt x="217766" y="2545842"/>
                </a:lnTo>
                <a:close/>
              </a:path>
              <a:path w="3477260" h="3469640">
                <a:moveTo>
                  <a:pt x="2329281" y="3353689"/>
                </a:moveTo>
                <a:lnTo>
                  <a:pt x="2324963" y="3357626"/>
                </a:lnTo>
                <a:lnTo>
                  <a:pt x="2319248" y="3358006"/>
                </a:lnTo>
                <a:lnTo>
                  <a:pt x="2315819" y="3359530"/>
                </a:lnTo>
                <a:lnTo>
                  <a:pt x="2320645" y="3375405"/>
                </a:lnTo>
                <a:lnTo>
                  <a:pt x="2325090" y="3371469"/>
                </a:lnTo>
                <a:lnTo>
                  <a:pt x="2330805" y="3371088"/>
                </a:lnTo>
                <a:lnTo>
                  <a:pt x="2334234" y="3369564"/>
                </a:lnTo>
                <a:lnTo>
                  <a:pt x="2329281" y="3353689"/>
                </a:lnTo>
                <a:close/>
              </a:path>
              <a:path w="3477260" h="3469640">
                <a:moveTo>
                  <a:pt x="189776" y="2490089"/>
                </a:moveTo>
                <a:lnTo>
                  <a:pt x="176301" y="2495804"/>
                </a:lnTo>
                <a:lnTo>
                  <a:pt x="176783" y="2501646"/>
                </a:lnTo>
                <a:lnTo>
                  <a:pt x="180644" y="2505964"/>
                </a:lnTo>
                <a:lnTo>
                  <a:pt x="182092" y="2509393"/>
                </a:lnTo>
                <a:lnTo>
                  <a:pt x="195567" y="2503551"/>
                </a:lnTo>
                <a:lnTo>
                  <a:pt x="194119" y="2500122"/>
                </a:lnTo>
                <a:lnTo>
                  <a:pt x="191223" y="2493391"/>
                </a:lnTo>
                <a:lnTo>
                  <a:pt x="189776" y="2490089"/>
                </a:lnTo>
                <a:close/>
              </a:path>
              <a:path w="3477260" h="3469640">
                <a:moveTo>
                  <a:pt x="2388082" y="3332479"/>
                </a:moveTo>
                <a:lnTo>
                  <a:pt x="2384653" y="3333877"/>
                </a:lnTo>
                <a:lnTo>
                  <a:pt x="2377922" y="3336798"/>
                </a:lnTo>
                <a:lnTo>
                  <a:pt x="2374620" y="3338195"/>
                </a:lnTo>
                <a:lnTo>
                  <a:pt x="2380335" y="3351656"/>
                </a:lnTo>
                <a:lnTo>
                  <a:pt x="2383764" y="3350260"/>
                </a:lnTo>
                <a:lnTo>
                  <a:pt x="2389479" y="3349752"/>
                </a:lnTo>
                <a:lnTo>
                  <a:pt x="2393797" y="3345942"/>
                </a:lnTo>
                <a:lnTo>
                  <a:pt x="2388082" y="3332479"/>
                </a:lnTo>
                <a:close/>
              </a:path>
              <a:path w="3477260" h="3469640">
                <a:moveTo>
                  <a:pt x="162737" y="2431796"/>
                </a:moveTo>
                <a:lnTo>
                  <a:pt x="149263" y="2437638"/>
                </a:lnTo>
                <a:lnTo>
                  <a:pt x="152158" y="2444369"/>
                </a:lnTo>
                <a:lnTo>
                  <a:pt x="153606" y="2447798"/>
                </a:lnTo>
                <a:lnTo>
                  <a:pt x="154101" y="2453513"/>
                </a:lnTo>
                <a:lnTo>
                  <a:pt x="170942" y="2446274"/>
                </a:lnTo>
                <a:lnTo>
                  <a:pt x="167081" y="2441956"/>
                </a:lnTo>
                <a:lnTo>
                  <a:pt x="165633" y="2438654"/>
                </a:lnTo>
                <a:lnTo>
                  <a:pt x="162737" y="2431796"/>
                </a:lnTo>
                <a:close/>
              </a:path>
              <a:path w="3477260" h="3469640">
                <a:moveTo>
                  <a:pt x="2445232" y="3307842"/>
                </a:moveTo>
                <a:lnTo>
                  <a:pt x="2441930" y="3309239"/>
                </a:lnTo>
                <a:lnTo>
                  <a:pt x="2436088" y="3309747"/>
                </a:lnTo>
                <a:lnTo>
                  <a:pt x="2431770" y="3313556"/>
                </a:lnTo>
                <a:lnTo>
                  <a:pt x="2437612" y="3327146"/>
                </a:lnTo>
                <a:lnTo>
                  <a:pt x="2443454" y="3326638"/>
                </a:lnTo>
                <a:lnTo>
                  <a:pt x="2447772" y="3322701"/>
                </a:lnTo>
                <a:lnTo>
                  <a:pt x="2453487" y="3322193"/>
                </a:lnTo>
                <a:lnTo>
                  <a:pt x="2445232" y="3307842"/>
                </a:lnTo>
                <a:close/>
              </a:path>
              <a:path w="3477260" h="3469640">
                <a:moveTo>
                  <a:pt x="138099" y="2374646"/>
                </a:moveTo>
                <a:lnTo>
                  <a:pt x="124637" y="2380361"/>
                </a:lnTo>
                <a:lnTo>
                  <a:pt x="126085" y="2383790"/>
                </a:lnTo>
                <a:lnTo>
                  <a:pt x="128981" y="2390521"/>
                </a:lnTo>
                <a:lnTo>
                  <a:pt x="130428" y="2393823"/>
                </a:lnTo>
                <a:lnTo>
                  <a:pt x="146303" y="2388997"/>
                </a:lnTo>
                <a:lnTo>
                  <a:pt x="142455" y="2384679"/>
                </a:lnTo>
                <a:lnTo>
                  <a:pt x="141960" y="2378964"/>
                </a:lnTo>
                <a:lnTo>
                  <a:pt x="138099" y="2374646"/>
                </a:lnTo>
                <a:close/>
              </a:path>
              <a:path w="3477260" h="3469640">
                <a:moveTo>
                  <a:pt x="2503525" y="3280791"/>
                </a:moveTo>
                <a:lnTo>
                  <a:pt x="2497683" y="3281299"/>
                </a:lnTo>
                <a:lnTo>
                  <a:pt x="2493365" y="3285108"/>
                </a:lnTo>
                <a:lnTo>
                  <a:pt x="2490063" y="3286632"/>
                </a:lnTo>
                <a:lnTo>
                  <a:pt x="2495778" y="3300095"/>
                </a:lnTo>
                <a:lnTo>
                  <a:pt x="2501620" y="3299587"/>
                </a:lnTo>
                <a:lnTo>
                  <a:pt x="2505938" y="3295650"/>
                </a:lnTo>
                <a:lnTo>
                  <a:pt x="2509240" y="3294253"/>
                </a:lnTo>
                <a:lnTo>
                  <a:pt x="2503525" y="3280791"/>
                </a:lnTo>
                <a:close/>
              </a:path>
              <a:path w="3477260" h="3469640">
                <a:moveTo>
                  <a:pt x="116839" y="2315845"/>
                </a:moveTo>
                <a:lnTo>
                  <a:pt x="100964" y="2320798"/>
                </a:lnTo>
                <a:lnTo>
                  <a:pt x="104825" y="2325116"/>
                </a:lnTo>
                <a:lnTo>
                  <a:pt x="105308" y="2330831"/>
                </a:lnTo>
                <a:lnTo>
                  <a:pt x="108203" y="2337562"/>
                </a:lnTo>
                <a:lnTo>
                  <a:pt x="122643" y="2329434"/>
                </a:lnTo>
                <a:lnTo>
                  <a:pt x="118287" y="2319274"/>
                </a:lnTo>
                <a:lnTo>
                  <a:pt x="116839" y="2315845"/>
                </a:lnTo>
                <a:close/>
              </a:path>
              <a:path w="3477260" h="3469640">
                <a:moveTo>
                  <a:pt x="2559278" y="3252851"/>
                </a:moveTo>
                <a:lnTo>
                  <a:pt x="2553563" y="3253231"/>
                </a:lnTo>
                <a:lnTo>
                  <a:pt x="2549245" y="3257169"/>
                </a:lnTo>
                <a:lnTo>
                  <a:pt x="2545816" y="3258566"/>
                </a:lnTo>
                <a:lnTo>
                  <a:pt x="2551658" y="3272028"/>
                </a:lnTo>
                <a:lnTo>
                  <a:pt x="2557373" y="3271520"/>
                </a:lnTo>
                <a:lnTo>
                  <a:pt x="2566009" y="3263900"/>
                </a:lnTo>
                <a:lnTo>
                  <a:pt x="2559278" y="3252851"/>
                </a:lnTo>
                <a:close/>
              </a:path>
              <a:path w="3477260" h="3469640">
                <a:moveTo>
                  <a:pt x="96545" y="2254758"/>
                </a:moveTo>
                <a:lnTo>
                  <a:pt x="83070" y="2260600"/>
                </a:lnTo>
                <a:lnTo>
                  <a:pt x="83553" y="2266315"/>
                </a:lnTo>
                <a:lnTo>
                  <a:pt x="87909" y="2276475"/>
                </a:lnTo>
                <a:lnTo>
                  <a:pt x="101371" y="2270633"/>
                </a:lnTo>
                <a:lnTo>
                  <a:pt x="99923" y="2267331"/>
                </a:lnTo>
                <a:lnTo>
                  <a:pt x="99440" y="2261489"/>
                </a:lnTo>
                <a:lnTo>
                  <a:pt x="96545" y="2254758"/>
                </a:lnTo>
                <a:close/>
              </a:path>
              <a:path w="3477260" h="3469640">
                <a:moveTo>
                  <a:pt x="2613634" y="3221482"/>
                </a:moveTo>
                <a:lnTo>
                  <a:pt x="2610332" y="3222879"/>
                </a:lnTo>
                <a:lnTo>
                  <a:pt x="2603601" y="3225800"/>
                </a:lnTo>
                <a:lnTo>
                  <a:pt x="2600172" y="3227197"/>
                </a:lnTo>
                <a:lnTo>
                  <a:pt x="2608427" y="3241675"/>
                </a:lnTo>
                <a:lnTo>
                  <a:pt x="2611729" y="3240151"/>
                </a:lnTo>
                <a:lnTo>
                  <a:pt x="2616047" y="3236341"/>
                </a:lnTo>
                <a:lnTo>
                  <a:pt x="2622778" y="3233420"/>
                </a:lnTo>
                <a:lnTo>
                  <a:pt x="2613634" y="3221482"/>
                </a:lnTo>
                <a:close/>
              </a:path>
              <a:path w="3477260" h="3469640">
                <a:moveTo>
                  <a:pt x="78651" y="2194687"/>
                </a:moveTo>
                <a:lnTo>
                  <a:pt x="65176" y="2200402"/>
                </a:lnTo>
                <a:lnTo>
                  <a:pt x="65671" y="2206244"/>
                </a:lnTo>
                <a:lnTo>
                  <a:pt x="67119" y="2209546"/>
                </a:lnTo>
                <a:lnTo>
                  <a:pt x="67602" y="2215388"/>
                </a:lnTo>
                <a:lnTo>
                  <a:pt x="83489" y="2210562"/>
                </a:lnTo>
                <a:lnTo>
                  <a:pt x="82029" y="2207133"/>
                </a:lnTo>
                <a:lnTo>
                  <a:pt x="81546" y="2201418"/>
                </a:lnTo>
                <a:lnTo>
                  <a:pt x="78651" y="2194687"/>
                </a:lnTo>
                <a:close/>
              </a:path>
              <a:path w="3477260" h="3469640">
                <a:moveTo>
                  <a:pt x="2666593" y="3186684"/>
                </a:moveTo>
                <a:lnTo>
                  <a:pt x="2662275" y="3190494"/>
                </a:lnTo>
                <a:lnTo>
                  <a:pt x="2658846" y="3192018"/>
                </a:lnTo>
                <a:lnTo>
                  <a:pt x="2654528" y="3195828"/>
                </a:lnTo>
                <a:lnTo>
                  <a:pt x="2662783" y="3210306"/>
                </a:lnTo>
                <a:lnTo>
                  <a:pt x="2667101" y="3206369"/>
                </a:lnTo>
                <a:lnTo>
                  <a:pt x="2671419" y="3202559"/>
                </a:lnTo>
                <a:lnTo>
                  <a:pt x="2674721" y="3201162"/>
                </a:lnTo>
                <a:lnTo>
                  <a:pt x="2666593" y="3186684"/>
                </a:lnTo>
                <a:close/>
              </a:path>
              <a:path w="3477260" h="3469640">
                <a:moveTo>
                  <a:pt x="63169" y="2135504"/>
                </a:moveTo>
                <a:lnTo>
                  <a:pt x="48247" y="2137917"/>
                </a:lnTo>
                <a:lnTo>
                  <a:pt x="49225" y="2149475"/>
                </a:lnTo>
                <a:lnTo>
                  <a:pt x="53073" y="2153792"/>
                </a:lnTo>
                <a:lnTo>
                  <a:pt x="67995" y="2151379"/>
                </a:lnTo>
                <a:lnTo>
                  <a:pt x="65100" y="2144649"/>
                </a:lnTo>
                <a:lnTo>
                  <a:pt x="63652" y="2141220"/>
                </a:lnTo>
                <a:lnTo>
                  <a:pt x="63169" y="2135504"/>
                </a:lnTo>
                <a:close/>
              </a:path>
              <a:path w="3477260" h="3469640">
                <a:moveTo>
                  <a:pt x="2719425" y="3152013"/>
                </a:moveTo>
                <a:lnTo>
                  <a:pt x="2710789" y="3159633"/>
                </a:lnTo>
                <a:lnTo>
                  <a:pt x="2707487" y="3161157"/>
                </a:lnTo>
                <a:lnTo>
                  <a:pt x="2715615" y="3175508"/>
                </a:lnTo>
                <a:lnTo>
                  <a:pt x="2719933" y="3171698"/>
                </a:lnTo>
                <a:lnTo>
                  <a:pt x="2724378" y="3167888"/>
                </a:lnTo>
                <a:lnTo>
                  <a:pt x="2727680" y="3166364"/>
                </a:lnTo>
                <a:lnTo>
                  <a:pt x="2719425" y="3152013"/>
                </a:lnTo>
                <a:close/>
              </a:path>
              <a:path w="3477260" h="3469640">
                <a:moveTo>
                  <a:pt x="51041" y="2074799"/>
                </a:moveTo>
                <a:lnTo>
                  <a:pt x="33718" y="2076323"/>
                </a:lnTo>
                <a:lnTo>
                  <a:pt x="36614" y="2083053"/>
                </a:lnTo>
                <a:lnTo>
                  <a:pt x="37109" y="2088769"/>
                </a:lnTo>
                <a:lnTo>
                  <a:pt x="38557" y="2092198"/>
                </a:lnTo>
                <a:lnTo>
                  <a:pt x="53479" y="2089785"/>
                </a:lnTo>
                <a:lnTo>
                  <a:pt x="52984" y="2083942"/>
                </a:lnTo>
                <a:lnTo>
                  <a:pt x="51536" y="2080640"/>
                </a:lnTo>
                <a:lnTo>
                  <a:pt x="51041" y="2074799"/>
                </a:lnTo>
                <a:close/>
              </a:path>
              <a:path w="3477260" h="3469640">
                <a:moveTo>
                  <a:pt x="2769971" y="3116326"/>
                </a:moveTo>
                <a:lnTo>
                  <a:pt x="2766669" y="3117723"/>
                </a:lnTo>
                <a:lnTo>
                  <a:pt x="2762224" y="3121533"/>
                </a:lnTo>
                <a:lnTo>
                  <a:pt x="2757906" y="3125470"/>
                </a:lnTo>
                <a:lnTo>
                  <a:pt x="2767177" y="3137408"/>
                </a:lnTo>
                <a:lnTo>
                  <a:pt x="2771495" y="3133598"/>
                </a:lnTo>
                <a:lnTo>
                  <a:pt x="2774797" y="3132201"/>
                </a:lnTo>
                <a:lnTo>
                  <a:pt x="2779115" y="3128264"/>
                </a:lnTo>
                <a:lnTo>
                  <a:pt x="2769971" y="3116326"/>
                </a:lnTo>
                <a:close/>
              </a:path>
              <a:path w="3477260" h="3469640">
                <a:moveTo>
                  <a:pt x="39890" y="2011807"/>
                </a:moveTo>
                <a:lnTo>
                  <a:pt x="24968" y="2014220"/>
                </a:lnTo>
                <a:lnTo>
                  <a:pt x="26441" y="2031491"/>
                </a:lnTo>
                <a:lnTo>
                  <a:pt x="42316" y="2026665"/>
                </a:lnTo>
                <a:lnTo>
                  <a:pt x="40868" y="2023364"/>
                </a:lnTo>
                <a:lnTo>
                  <a:pt x="39890" y="2011807"/>
                </a:lnTo>
                <a:close/>
              </a:path>
              <a:path w="3477260" h="3469640">
                <a:moveTo>
                  <a:pt x="2818993" y="3077210"/>
                </a:moveTo>
                <a:lnTo>
                  <a:pt x="2814675" y="3081020"/>
                </a:lnTo>
                <a:lnTo>
                  <a:pt x="2811373" y="3082544"/>
                </a:lnTo>
                <a:lnTo>
                  <a:pt x="2807055" y="3086354"/>
                </a:lnTo>
                <a:lnTo>
                  <a:pt x="2818612" y="3099308"/>
                </a:lnTo>
                <a:lnTo>
                  <a:pt x="2822930" y="3095498"/>
                </a:lnTo>
                <a:lnTo>
                  <a:pt x="2826232" y="3094101"/>
                </a:lnTo>
                <a:lnTo>
                  <a:pt x="2830550" y="3090164"/>
                </a:lnTo>
                <a:lnTo>
                  <a:pt x="2818993" y="3077210"/>
                </a:lnTo>
                <a:close/>
              </a:path>
              <a:path w="3477260" h="3469640">
                <a:moveTo>
                  <a:pt x="31140" y="1949703"/>
                </a:moveTo>
                <a:lnTo>
                  <a:pt x="13817" y="1951101"/>
                </a:lnTo>
                <a:lnTo>
                  <a:pt x="15278" y="1968500"/>
                </a:lnTo>
                <a:lnTo>
                  <a:pt x="32613" y="1966976"/>
                </a:lnTo>
                <a:lnTo>
                  <a:pt x="31140" y="1949703"/>
                </a:lnTo>
                <a:close/>
              </a:path>
              <a:path w="3477260" h="3469640">
                <a:moveTo>
                  <a:pt x="2869031" y="3035681"/>
                </a:moveTo>
                <a:lnTo>
                  <a:pt x="2864713" y="3039618"/>
                </a:lnTo>
                <a:lnTo>
                  <a:pt x="2860395" y="3043428"/>
                </a:lnTo>
                <a:lnTo>
                  <a:pt x="2856077" y="3047365"/>
                </a:lnTo>
                <a:lnTo>
                  <a:pt x="2867634" y="3060319"/>
                </a:lnTo>
                <a:lnTo>
                  <a:pt x="2869539" y="3055493"/>
                </a:lnTo>
                <a:lnTo>
                  <a:pt x="2873857" y="3051556"/>
                </a:lnTo>
                <a:lnTo>
                  <a:pt x="2878175" y="3047746"/>
                </a:lnTo>
                <a:lnTo>
                  <a:pt x="2869031" y="3035681"/>
                </a:lnTo>
                <a:close/>
              </a:path>
              <a:path w="3477260" h="3469640">
                <a:moveTo>
                  <a:pt x="22390" y="1887601"/>
                </a:moveTo>
                <a:lnTo>
                  <a:pt x="7467" y="1890014"/>
                </a:lnTo>
                <a:lnTo>
                  <a:pt x="8915" y="1893315"/>
                </a:lnTo>
                <a:lnTo>
                  <a:pt x="9893" y="1904873"/>
                </a:lnTo>
                <a:lnTo>
                  <a:pt x="24815" y="1902460"/>
                </a:lnTo>
                <a:lnTo>
                  <a:pt x="23367" y="1899158"/>
                </a:lnTo>
                <a:lnTo>
                  <a:pt x="22390" y="1887601"/>
                </a:lnTo>
                <a:close/>
              </a:path>
              <a:path w="3477260" h="3469640">
                <a:moveTo>
                  <a:pt x="2915640" y="2995676"/>
                </a:moveTo>
                <a:lnTo>
                  <a:pt x="2912338" y="2997200"/>
                </a:lnTo>
                <a:lnTo>
                  <a:pt x="2903702" y="3004820"/>
                </a:lnTo>
                <a:lnTo>
                  <a:pt x="2915259" y="3017901"/>
                </a:lnTo>
                <a:lnTo>
                  <a:pt x="2917164" y="3013075"/>
                </a:lnTo>
                <a:lnTo>
                  <a:pt x="2921482" y="3009138"/>
                </a:lnTo>
                <a:lnTo>
                  <a:pt x="2925800" y="3005328"/>
                </a:lnTo>
                <a:lnTo>
                  <a:pt x="2915640" y="2995676"/>
                </a:lnTo>
                <a:close/>
              </a:path>
              <a:path w="3477260" h="3469640">
                <a:moveTo>
                  <a:pt x="19418" y="1824989"/>
                </a:moveTo>
                <a:lnTo>
                  <a:pt x="2095" y="1826514"/>
                </a:lnTo>
                <a:lnTo>
                  <a:pt x="2578" y="1832228"/>
                </a:lnTo>
                <a:lnTo>
                  <a:pt x="4025" y="1835658"/>
                </a:lnTo>
                <a:lnTo>
                  <a:pt x="4521" y="1841373"/>
                </a:lnTo>
                <a:lnTo>
                  <a:pt x="18478" y="1841373"/>
                </a:lnTo>
                <a:lnTo>
                  <a:pt x="20396" y="1836547"/>
                </a:lnTo>
                <a:lnTo>
                  <a:pt x="19418" y="1824989"/>
                </a:lnTo>
                <a:close/>
              </a:path>
              <a:path w="3477260" h="3469640">
                <a:moveTo>
                  <a:pt x="2961868" y="2949956"/>
                </a:moveTo>
                <a:lnTo>
                  <a:pt x="2953232" y="2957576"/>
                </a:lnTo>
                <a:lnTo>
                  <a:pt x="2948914" y="2961513"/>
                </a:lnTo>
                <a:lnTo>
                  <a:pt x="2961360" y="2972054"/>
                </a:lnTo>
                <a:lnTo>
                  <a:pt x="2964789" y="2970657"/>
                </a:lnTo>
                <a:lnTo>
                  <a:pt x="2966694" y="2965831"/>
                </a:lnTo>
                <a:lnTo>
                  <a:pt x="2971012" y="2961894"/>
                </a:lnTo>
                <a:lnTo>
                  <a:pt x="2961868" y="2949956"/>
                </a:lnTo>
                <a:close/>
              </a:path>
              <a:path w="3477260" h="3469640">
                <a:moveTo>
                  <a:pt x="16446" y="1762378"/>
                </a:moveTo>
                <a:lnTo>
                  <a:pt x="2489" y="1762378"/>
                </a:lnTo>
                <a:lnTo>
                  <a:pt x="571" y="1767204"/>
                </a:lnTo>
                <a:lnTo>
                  <a:pt x="1549" y="1778762"/>
                </a:lnTo>
                <a:lnTo>
                  <a:pt x="17906" y="1779777"/>
                </a:lnTo>
                <a:lnTo>
                  <a:pt x="16446" y="1762378"/>
                </a:lnTo>
                <a:close/>
              </a:path>
              <a:path w="3477260" h="3469640">
                <a:moveTo>
                  <a:pt x="3004667" y="2905633"/>
                </a:moveTo>
                <a:lnTo>
                  <a:pt x="2996031" y="2913253"/>
                </a:lnTo>
                <a:lnTo>
                  <a:pt x="2993999" y="2918079"/>
                </a:lnTo>
                <a:lnTo>
                  <a:pt x="3004159" y="2927731"/>
                </a:lnTo>
                <a:lnTo>
                  <a:pt x="3008477" y="2923921"/>
                </a:lnTo>
                <a:lnTo>
                  <a:pt x="3012795" y="2919984"/>
                </a:lnTo>
                <a:lnTo>
                  <a:pt x="3014700" y="2915158"/>
                </a:lnTo>
                <a:lnTo>
                  <a:pt x="3004667" y="2905633"/>
                </a:lnTo>
                <a:close/>
              </a:path>
              <a:path w="3477260" h="3469640">
                <a:moveTo>
                  <a:pt x="15875" y="1700784"/>
                </a:moveTo>
                <a:lnTo>
                  <a:pt x="1917" y="1700784"/>
                </a:lnTo>
                <a:lnTo>
                  <a:pt x="0" y="1705610"/>
                </a:lnTo>
                <a:lnTo>
                  <a:pt x="1447" y="1709039"/>
                </a:lnTo>
                <a:lnTo>
                  <a:pt x="1943" y="1714753"/>
                </a:lnTo>
                <a:lnTo>
                  <a:pt x="18313" y="1715770"/>
                </a:lnTo>
                <a:lnTo>
                  <a:pt x="17335" y="1704213"/>
                </a:lnTo>
                <a:lnTo>
                  <a:pt x="15875" y="1700784"/>
                </a:lnTo>
                <a:close/>
              </a:path>
              <a:path w="3477260" h="3469640">
                <a:moveTo>
                  <a:pt x="3045942" y="2857881"/>
                </a:moveTo>
                <a:lnTo>
                  <a:pt x="3041624" y="2861691"/>
                </a:lnTo>
                <a:lnTo>
                  <a:pt x="3039719" y="2866517"/>
                </a:lnTo>
                <a:lnTo>
                  <a:pt x="3035401" y="2870454"/>
                </a:lnTo>
                <a:lnTo>
                  <a:pt x="3047974" y="2880995"/>
                </a:lnTo>
                <a:lnTo>
                  <a:pt x="3049879" y="2876169"/>
                </a:lnTo>
                <a:lnTo>
                  <a:pt x="3054197" y="2872232"/>
                </a:lnTo>
                <a:lnTo>
                  <a:pt x="3058515" y="2868422"/>
                </a:lnTo>
                <a:lnTo>
                  <a:pt x="3045942" y="2857881"/>
                </a:lnTo>
                <a:close/>
              </a:path>
              <a:path w="3477260" h="3469640">
                <a:moveTo>
                  <a:pt x="18681" y="1637791"/>
                </a:moveTo>
                <a:lnTo>
                  <a:pt x="4724" y="1637791"/>
                </a:lnTo>
                <a:lnTo>
                  <a:pt x="3759" y="1640204"/>
                </a:lnTo>
                <a:lnTo>
                  <a:pt x="4737" y="1651762"/>
                </a:lnTo>
                <a:lnTo>
                  <a:pt x="18707" y="1651635"/>
                </a:lnTo>
                <a:lnTo>
                  <a:pt x="20624" y="1646936"/>
                </a:lnTo>
                <a:lnTo>
                  <a:pt x="19176" y="1643507"/>
                </a:lnTo>
                <a:lnTo>
                  <a:pt x="18681" y="1637791"/>
                </a:lnTo>
                <a:close/>
              </a:path>
              <a:path w="3477260" h="3469640">
                <a:moveTo>
                  <a:pt x="3084931" y="2809240"/>
                </a:moveTo>
                <a:lnTo>
                  <a:pt x="3083026" y="2814066"/>
                </a:lnTo>
                <a:lnTo>
                  <a:pt x="3078581" y="2817876"/>
                </a:lnTo>
                <a:lnTo>
                  <a:pt x="3076676" y="2822702"/>
                </a:lnTo>
                <a:lnTo>
                  <a:pt x="3087852" y="2829941"/>
                </a:lnTo>
                <a:lnTo>
                  <a:pt x="3092170" y="2826004"/>
                </a:lnTo>
                <a:lnTo>
                  <a:pt x="3096488" y="2822194"/>
                </a:lnTo>
                <a:lnTo>
                  <a:pt x="3097377" y="2819781"/>
                </a:lnTo>
                <a:lnTo>
                  <a:pt x="3084931" y="2809240"/>
                </a:lnTo>
                <a:close/>
              </a:path>
              <a:path w="3477260" h="3469640">
                <a:moveTo>
                  <a:pt x="8483" y="1572260"/>
                </a:moveTo>
                <a:lnTo>
                  <a:pt x="8978" y="1578102"/>
                </a:lnTo>
                <a:lnTo>
                  <a:pt x="7061" y="1582927"/>
                </a:lnTo>
                <a:lnTo>
                  <a:pt x="7543" y="1588642"/>
                </a:lnTo>
                <a:lnTo>
                  <a:pt x="23914" y="1589532"/>
                </a:lnTo>
                <a:lnTo>
                  <a:pt x="23431" y="1583816"/>
                </a:lnTo>
                <a:lnTo>
                  <a:pt x="25349" y="1578990"/>
                </a:lnTo>
                <a:lnTo>
                  <a:pt x="24853" y="1573276"/>
                </a:lnTo>
                <a:lnTo>
                  <a:pt x="8483" y="1572260"/>
                </a:lnTo>
                <a:close/>
              </a:path>
              <a:path w="3477260" h="3469640">
                <a:moveTo>
                  <a:pt x="3124809" y="2758059"/>
                </a:moveTo>
                <a:lnTo>
                  <a:pt x="3120491" y="2761996"/>
                </a:lnTo>
                <a:lnTo>
                  <a:pt x="3118586" y="2766822"/>
                </a:lnTo>
                <a:lnTo>
                  <a:pt x="3114141" y="2770632"/>
                </a:lnTo>
                <a:lnTo>
                  <a:pt x="3126714" y="2781173"/>
                </a:lnTo>
                <a:lnTo>
                  <a:pt x="3131032" y="2777363"/>
                </a:lnTo>
                <a:lnTo>
                  <a:pt x="3132937" y="2772537"/>
                </a:lnTo>
                <a:lnTo>
                  <a:pt x="3137255" y="2768727"/>
                </a:lnTo>
                <a:lnTo>
                  <a:pt x="3124809" y="2758059"/>
                </a:lnTo>
                <a:close/>
              </a:path>
              <a:path w="3477260" h="3469640">
                <a:moveTo>
                  <a:pt x="16103" y="1511173"/>
                </a:moveTo>
                <a:lnTo>
                  <a:pt x="14185" y="1515999"/>
                </a:lnTo>
                <a:lnTo>
                  <a:pt x="14681" y="1521714"/>
                </a:lnTo>
                <a:lnTo>
                  <a:pt x="13715" y="1524127"/>
                </a:lnTo>
                <a:lnTo>
                  <a:pt x="29121" y="1527428"/>
                </a:lnTo>
                <a:lnTo>
                  <a:pt x="31051" y="1522602"/>
                </a:lnTo>
                <a:lnTo>
                  <a:pt x="30556" y="1516888"/>
                </a:lnTo>
                <a:lnTo>
                  <a:pt x="32473" y="1512062"/>
                </a:lnTo>
                <a:lnTo>
                  <a:pt x="16103" y="1511173"/>
                </a:lnTo>
                <a:close/>
              </a:path>
              <a:path w="3477260" h="3469640">
                <a:moveTo>
                  <a:pt x="3161258" y="2708529"/>
                </a:moveTo>
                <a:lnTo>
                  <a:pt x="3156940" y="2712339"/>
                </a:lnTo>
                <a:lnTo>
                  <a:pt x="3155035" y="2717165"/>
                </a:lnTo>
                <a:lnTo>
                  <a:pt x="3150717" y="2720975"/>
                </a:lnTo>
                <a:lnTo>
                  <a:pt x="3164179" y="2729103"/>
                </a:lnTo>
                <a:lnTo>
                  <a:pt x="3168497" y="2725293"/>
                </a:lnTo>
                <a:lnTo>
                  <a:pt x="3170402" y="2720467"/>
                </a:lnTo>
                <a:lnTo>
                  <a:pt x="3174847" y="2716657"/>
                </a:lnTo>
                <a:lnTo>
                  <a:pt x="3161258" y="2708529"/>
                </a:lnTo>
                <a:close/>
              </a:path>
              <a:path w="3477260" h="3469640">
                <a:moveTo>
                  <a:pt x="24688" y="1447546"/>
                </a:moveTo>
                <a:lnTo>
                  <a:pt x="25171" y="1453388"/>
                </a:lnTo>
                <a:lnTo>
                  <a:pt x="23253" y="1458214"/>
                </a:lnTo>
                <a:lnTo>
                  <a:pt x="23748" y="1463928"/>
                </a:lnTo>
                <a:lnTo>
                  <a:pt x="40119" y="1464817"/>
                </a:lnTo>
                <a:lnTo>
                  <a:pt x="39623" y="1459102"/>
                </a:lnTo>
                <a:lnTo>
                  <a:pt x="41541" y="1454277"/>
                </a:lnTo>
                <a:lnTo>
                  <a:pt x="41059" y="1448562"/>
                </a:lnTo>
                <a:lnTo>
                  <a:pt x="24688" y="1447546"/>
                </a:lnTo>
                <a:close/>
              </a:path>
              <a:path w="3477260" h="3469640">
                <a:moveTo>
                  <a:pt x="3196310" y="2655443"/>
                </a:moveTo>
                <a:lnTo>
                  <a:pt x="3191992" y="2659380"/>
                </a:lnTo>
                <a:lnTo>
                  <a:pt x="3190087" y="2664079"/>
                </a:lnTo>
                <a:lnTo>
                  <a:pt x="3185769" y="2668016"/>
                </a:lnTo>
                <a:lnTo>
                  <a:pt x="3199231" y="2676144"/>
                </a:lnTo>
                <a:lnTo>
                  <a:pt x="3203549" y="2672334"/>
                </a:lnTo>
                <a:lnTo>
                  <a:pt x="3205581" y="2667508"/>
                </a:lnTo>
                <a:lnTo>
                  <a:pt x="3207486" y="2662682"/>
                </a:lnTo>
                <a:lnTo>
                  <a:pt x="3196310" y="2655443"/>
                </a:lnTo>
                <a:close/>
              </a:path>
              <a:path w="3477260" h="3469640">
                <a:moveTo>
                  <a:pt x="38087" y="1385951"/>
                </a:moveTo>
                <a:lnTo>
                  <a:pt x="34239" y="1395602"/>
                </a:lnTo>
                <a:lnTo>
                  <a:pt x="34734" y="1401317"/>
                </a:lnTo>
                <a:lnTo>
                  <a:pt x="50139" y="1404747"/>
                </a:lnTo>
                <a:lnTo>
                  <a:pt x="49656" y="1398904"/>
                </a:lnTo>
                <a:lnTo>
                  <a:pt x="53492" y="1389252"/>
                </a:lnTo>
                <a:lnTo>
                  <a:pt x="38087" y="1385951"/>
                </a:lnTo>
                <a:close/>
              </a:path>
              <a:path w="3477260" h="3469640">
                <a:moveTo>
                  <a:pt x="3226663" y="2600579"/>
                </a:moveTo>
                <a:lnTo>
                  <a:pt x="3224758" y="2605405"/>
                </a:lnTo>
                <a:lnTo>
                  <a:pt x="3222726" y="2610231"/>
                </a:lnTo>
                <a:lnTo>
                  <a:pt x="3220821" y="2615057"/>
                </a:lnTo>
                <a:lnTo>
                  <a:pt x="3234410" y="2623185"/>
                </a:lnTo>
                <a:lnTo>
                  <a:pt x="3240125" y="2608707"/>
                </a:lnTo>
                <a:lnTo>
                  <a:pt x="3226663" y="2600579"/>
                </a:lnTo>
                <a:close/>
              </a:path>
              <a:path w="3477260" h="3469640">
                <a:moveTo>
                  <a:pt x="51473" y="1324355"/>
                </a:moveTo>
                <a:lnTo>
                  <a:pt x="49555" y="1329054"/>
                </a:lnTo>
                <a:lnTo>
                  <a:pt x="47637" y="1333880"/>
                </a:lnTo>
                <a:lnTo>
                  <a:pt x="48132" y="1339723"/>
                </a:lnTo>
                <a:lnTo>
                  <a:pt x="63538" y="1343025"/>
                </a:lnTo>
                <a:lnTo>
                  <a:pt x="63055" y="1337310"/>
                </a:lnTo>
                <a:lnTo>
                  <a:pt x="66890" y="1327658"/>
                </a:lnTo>
                <a:lnTo>
                  <a:pt x="51473" y="1324355"/>
                </a:lnTo>
                <a:close/>
              </a:path>
              <a:path w="3477260" h="3469640">
                <a:moveTo>
                  <a:pt x="3256889" y="2545588"/>
                </a:moveTo>
                <a:lnTo>
                  <a:pt x="3251174" y="2560066"/>
                </a:lnTo>
                <a:lnTo>
                  <a:pt x="3264636" y="2568194"/>
                </a:lnTo>
                <a:lnTo>
                  <a:pt x="3266541" y="2563368"/>
                </a:lnTo>
                <a:lnTo>
                  <a:pt x="3268446" y="2558669"/>
                </a:lnTo>
                <a:lnTo>
                  <a:pt x="3272764" y="2554732"/>
                </a:lnTo>
                <a:lnTo>
                  <a:pt x="3256889" y="2545588"/>
                </a:lnTo>
                <a:close/>
              </a:path>
              <a:path w="3477260" h="3469640">
                <a:moveTo>
                  <a:pt x="68237" y="1261237"/>
                </a:moveTo>
                <a:lnTo>
                  <a:pt x="64401" y="1270889"/>
                </a:lnTo>
                <a:lnTo>
                  <a:pt x="64896" y="1276603"/>
                </a:lnTo>
                <a:lnTo>
                  <a:pt x="79349" y="1282319"/>
                </a:lnTo>
                <a:lnTo>
                  <a:pt x="78854" y="1276603"/>
                </a:lnTo>
                <a:lnTo>
                  <a:pt x="82689" y="1266952"/>
                </a:lnTo>
                <a:lnTo>
                  <a:pt x="68237" y="1261237"/>
                </a:lnTo>
                <a:close/>
              </a:path>
              <a:path w="3477260" h="3469640">
                <a:moveTo>
                  <a:pt x="3287115" y="2490724"/>
                </a:moveTo>
                <a:lnTo>
                  <a:pt x="3285210" y="2495550"/>
                </a:lnTo>
                <a:lnTo>
                  <a:pt x="3280892" y="2499360"/>
                </a:lnTo>
                <a:lnTo>
                  <a:pt x="3278987" y="2504186"/>
                </a:lnTo>
                <a:lnTo>
                  <a:pt x="3292449" y="2512314"/>
                </a:lnTo>
                <a:lnTo>
                  <a:pt x="3294354" y="2507488"/>
                </a:lnTo>
                <a:lnTo>
                  <a:pt x="3299688" y="2501265"/>
                </a:lnTo>
                <a:lnTo>
                  <a:pt x="3301593" y="2496439"/>
                </a:lnTo>
                <a:lnTo>
                  <a:pt x="3287115" y="2490724"/>
                </a:lnTo>
                <a:close/>
              </a:path>
              <a:path w="3477260" h="3469640">
                <a:moveTo>
                  <a:pt x="86461" y="1201547"/>
                </a:moveTo>
                <a:lnTo>
                  <a:pt x="84531" y="1206246"/>
                </a:lnTo>
                <a:lnTo>
                  <a:pt x="80695" y="1215898"/>
                </a:lnTo>
                <a:lnTo>
                  <a:pt x="95148" y="1221739"/>
                </a:lnTo>
                <a:lnTo>
                  <a:pt x="101866" y="1204849"/>
                </a:lnTo>
                <a:lnTo>
                  <a:pt x="86461" y="1201547"/>
                </a:lnTo>
                <a:close/>
              </a:path>
              <a:path w="3477260" h="3469640">
                <a:moveTo>
                  <a:pt x="3312515" y="2433828"/>
                </a:moveTo>
                <a:lnTo>
                  <a:pt x="3306800" y="2448306"/>
                </a:lnTo>
                <a:lnTo>
                  <a:pt x="3321278" y="2454021"/>
                </a:lnTo>
                <a:lnTo>
                  <a:pt x="3323183" y="2449195"/>
                </a:lnTo>
                <a:lnTo>
                  <a:pt x="3325088" y="2444496"/>
                </a:lnTo>
                <a:lnTo>
                  <a:pt x="3326993" y="2439670"/>
                </a:lnTo>
                <a:lnTo>
                  <a:pt x="3312515" y="2433828"/>
                </a:lnTo>
                <a:close/>
              </a:path>
              <a:path w="3477260" h="3469640">
                <a:moveTo>
                  <a:pt x="108038" y="1140333"/>
                </a:moveTo>
                <a:lnTo>
                  <a:pt x="101320" y="1157224"/>
                </a:lnTo>
                <a:lnTo>
                  <a:pt x="116725" y="1160526"/>
                </a:lnTo>
                <a:lnTo>
                  <a:pt x="122491" y="1146048"/>
                </a:lnTo>
                <a:lnTo>
                  <a:pt x="108038" y="1140333"/>
                </a:lnTo>
                <a:close/>
              </a:path>
              <a:path w="3477260" h="3469640">
                <a:moveTo>
                  <a:pt x="3337534" y="2371217"/>
                </a:moveTo>
                <a:lnTo>
                  <a:pt x="3331819" y="2385695"/>
                </a:lnTo>
                <a:lnTo>
                  <a:pt x="3329787" y="2390521"/>
                </a:lnTo>
                <a:lnTo>
                  <a:pt x="3344265" y="2396236"/>
                </a:lnTo>
                <a:lnTo>
                  <a:pt x="3348075" y="2386584"/>
                </a:lnTo>
                <a:lnTo>
                  <a:pt x="3350107" y="2381885"/>
                </a:lnTo>
                <a:lnTo>
                  <a:pt x="3352012" y="2377059"/>
                </a:lnTo>
                <a:lnTo>
                  <a:pt x="3337534" y="2371217"/>
                </a:lnTo>
                <a:close/>
              </a:path>
              <a:path w="3477260" h="3469640">
                <a:moveTo>
                  <a:pt x="131064" y="1082548"/>
                </a:moveTo>
                <a:lnTo>
                  <a:pt x="125310" y="1097026"/>
                </a:lnTo>
                <a:lnTo>
                  <a:pt x="139763" y="1102740"/>
                </a:lnTo>
                <a:lnTo>
                  <a:pt x="145516" y="1088263"/>
                </a:lnTo>
                <a:lnTo>
                  <a:pt x="131064" y="1082548"/>
                </a:lnTo>
                <a:close/>
              </a:path>
              <a:path w="3477260" h="3469640">
                <a:moveTo>
                  <a:pt x="3360521" y="2313432"/>
                </a:moveTo>
                <a:lnTo>
                  <a:pt x="3354806" y="2327910"/>
                </a:lnTo>
                <a:lnTo>
                  <a:pt x="3369284" y="2333625"/>
                </a:lnTo>
                <a:lnTo>
                  <a:pt x="3374999" y="2319147"/>
                </a:lnTo>
                <a:lnTo>
                  <a:pt x="3360521" y="2313432"/>
                </a:lnTo>
                <a:close/>
              </a:path>
              <a:path w="3477260" h="3469640">
                <a:moveTo>
                  <a:pt x="154089" y="1024763"/>
                </a:moveTo>
                <a:lnTo>
                  <a:pt x="150253" y="1034414"/>
                </a:lnTo>
                <a:lnTo>
                  <a:pt x="148336" y="1039113"/>
                </a:lnTo>
                <a:lnTo>
                  <a:pt x="162788" y="1044955"/>
                </a:lnTo>
                <a:lnTo>
                  <a:pt x="168541" y="1030477"/>
                </a:lnTo>
                <a:lnTo>
                  <a:pt x="154089" y="1024763"/>
                </a:lnTo>
                <a:close/>
              </a:path>
              <a:path w="3477260" h="3469640">
                <a:moveTo>
                  <a:pt x="3381222" y="2254631"/>
                </a:moveTo>
                <a:lnTo>
                  <a:pt x="3379190" y="2259457"/>
                </a:lnTo>
                <a:lnTo>
                  <a:pt x="3375380" y="2269109"/>
                </a:lnTo>
                <a:lnTo>
                  <a:pt x="3389858" y="2274951"/>
                </a:lnTo>
                <a:lnTo>
                  <a:pt x="3395573" y="2260473"/>
                </a:lnTo>
                <a:lnTo>
                  <a:pt x="3381222" y="2254631"/>
                </a:lnTo>
                <a:close/>
              </a:path>
              <a:path w="3477260" h="3469640">
                <a:moveTo>
                  <a:pt x="182905" y="966470"/>
                </a:moveTo>
                <a:lnTo>
                  <a:pt x="179057" y="976122"/>
                </a:lnTo>
                <a:lnTo>
                  <a:pt x="174739" y="979932"/>
                </a:lnTo>
                <a:lnTo>
                  <a:pt x="188226" y="988060"/>
                </a:lnTo>
                <a:lnTo>
                  <a:pt x="192557" y="984250"/>
                </a:lnTo>
                <a:lnTo>
                  <a:pt x="196392" y="974598"/>
                </a:lnTo>
                <a:lnTo>
                  <a:pt x="182905" y="966470"/>
                </a:lnTo>
                <a:close/>
              </a:path>
              <a:path w="3477260" h="3469640">
                <a:moveTo>
                  <a:pt x="3396970" y="2194052"/>
                </a:moveTo>
                <a:lnTo>
                  <a:pt x="3397478" y="2199767"/>
                </a:lnTo>
                <a:lnTo>
                  <a:pt x="3393668" y="2209419"/>
                </a:lnTo>
                <a:lnTo>
                  <a:pt x="3409035" y="2212721"/>
                </a:lnTo>
                <a:lnTo>
                  <a:pt x="3410940" y="2207895"/>
                </a:lnTo>
                <a:lnTo>
                  <a:pt x="3412845" y="2203196"/>
                </a:lnTo>
                <a:lnTo>
                  <a:pt x="3412337" y="2197354"/>
                </a:lnTo>
                <a:lnTo>
                  <a:pt x="3396970" y="2194052"/>
                </a:lnTo>
                <a:close/>
              </a:path>
              <a:path w="3477260" h="3469640">
                <a:moveTo>
                  <a:pt x="210743" y="910589"/>
                </a:moveTo>
                <a:lnTo>
                  <a:pt x="206908" y="920241"/>
                </a:lnTo>
                <a:lnTo>
                  <a:pt x="204990" y="924940"/>
                </a:lnTo>
                <a:lnTo>
                  <a:pt x="219443" y="930783"/>
                </a:lnTo>
                <a:lnTo>
                  <a:pt x="225196" y="916304"/>
                </a:lnTo>
                <a:lnTo>
                  <a:pt x="210743" y="910589"/>
                </a:lnTo>
                <a:close/>
              </a:path>
              <a:path w="3477260" h="3469640">
                <a:moveTo>
                  <a:pt x="3412718" y="2133346"/>
                </a:moveTo>
                <a:lnTo>
                  <a:pt x="3413226" y="2139061"/>
                </a:lnTo>
                <a:lnTo>
                  <a:pt x="3409416" y="2148713"/>
                </a:lnTo>
                <a:lnTo>
                  <a:pt x="3424783" y="2152141"/>
                </a:lnTo>
                <a:lnTo>
                  <a:pt x="3426815" y="2147316"/>
                </a:lnTo>
                <a:lnTo>
                  <a:pt x="3428720" y="2142490"/>
                </a:lnTo>
                <a:lnTo>
                  <a:pt x="3428212" y="2136648"/>
                </a:lnTo>
                <a:lnTo>
                  <a:pt x="3412718" y="2133346"/>
                </a:lnTo>
                <a:close/>
              </a:path>
              <a:path w="3477260" h="3469640">
                <a:moveTo>
                  <a:pt x="243408" y="856614"/>
                </a:moveTo>
                <a:lnTo>
                  <a:pt x="239077" y="860425"/>
                </a:lnTo>
                <a:lnTo>
                  <a:pt x="235242" y="870076"/>
                </a:lnTo>
                <a:lnTo>
                  <a:pt x="249694" y="875791"/>
                </a:lnTo>
                <a:lnTo>
                  <a:pt x="251612" y="870965"/>
                </a:lnTo>
                <a:lnTo>
                  <a:pt x="253530" y="866266"/>
                </a:lnTo>
                <a:lnTo>
                  <a:pt x="257860" y="862329"/>
                </a:lnTo>
                <a:lnTo>
                  <a:pt x="243408" y="856614"/>
                </a:lnTo>
                <a:close/>
              </a:path>
              <a:path w="3477260" h="3469640">
                <a:moveTo>
                  <a:pt x="3426180" y="2071751"/>
                </a:moveTo>
                <a:lnTo>
                  <a:pt x="3426688" y="2077465"/>
                </a:lnTo>
                <a:lnTo>
                  <a:pt x="3422878" y="2087117"/>
                </a:lnTo>
                <a:lnTo>
                  <a:pt x="3438245" y="2090420"/>
                </a:lnTo>
                <a:lnTo>
                  <a:pt x="3442055" y="2080767"/>
                </a:lnTo>
                <a:lnTo>
                  <a:pt x="3441547" y="2075052"/>
                </a:lnTo>
                <a:lnTo>
                  <a:pt x="3426180" y="2071751"/>
                </a:lnTo>
                <a:close/>
              </a:path>
              <a:path w="3477260" h="3469640">
                <a:moveTo>
                  <a:pt x="277037" y="800226"/>
                </a:moveTo>
                <a:lnTo>
                  <a:pt x="272707" y="804037"/>
                </a:lnTo>
                <a:lnTo>
                  <a:pt x="268871" y="813688"/>
                </a:lnTo>
                <a:lnTo>
                  <a:pt x="282359" y="821816"/>
                </a:lnTo>
                <a:lnTo>
                  <a:pt x="283311" y="819530"/>
                </a:lnTo>
                <a:lnTo>
                  <a:pt x="285229" y="814704"/>
                </a:lnTo>
                <a:lnTo>
                  <a:pt x="289560" y="810767"/>
                </a:lnTo>
                <a:lnTo>
                  <a:pt x="277037" y="800226"/>
                </a:lnTo>
                <a:close/>
              </a:path>
              <a:path w="3477260" h="3469640">
                <a:moveTo>
                  <a:pt x="3437102" y="2009139"/>
                </a:moveTo>
                <a:lnTo>
                  <a:pt x="3437610" y="2014854"/>
                </a:lnTo>
                <a:lnTo>
                  <a:pt x="3435705" y="2019680"/>
                </a:lnTo>
                <a:lnTo>
                  <a:pt x="3436213" y="2025523"/>
                </a:lnTo>
                <a:lnTo>
                  <a:pt x="3451580" y="2028825"/>
                </a:lnTo>
                <a:lnTo>
                  <a:pt x="3451199" y="2022983"/>
                </a:lnTo>
                <a:lnTo>
                  <a:pt x="3453104" y="2018284"/>
                </a:lnTo>
                <a:lnTo>
                  <a:pt x="3452596" y="2012441"/>
                </a:lnTo>
                <a:lnTo>
                  <a:pt x="3437102" y="2009139"/>
                </a:lnTo>
                <a:close/>
              </a:path>
              <a:path w="3477260" h="3469640">
                <a:moveTo>
                  <a:pt x="312102" y="747267"/>
                </a:moveTo>
                <a:lnTo>
                  <a:pt x="307771" y="751077"/>
                </a:lnTo>
                <a:lnTo>
                  <a:pt x="305854" y="755903"/>
                </a:lnTo>
                <a:lnTo>
                  <a:pt x="301523" y="759713"/>
                </a:lnTo>
                <a:lnTo>
                  <a:pt x="314058" y="770382"/>
                </a:lnTo>
                <a:lnTo>
                  <a:pt x="318389" y="766445"/>
                </a:lnTo>
                <a:lnTo>
                  <a:pt x="320306" y="761619"/>
                </a:lnTo>
                <a:lnTo>
                  <a:pt x="324637" y="757809"/>
                </a:lnTo>
                <a:lnTo>
                  <a:pt x="312102" y="747267"/>
                </a:lnTo>
                <a:close/>
              </a:path>
              <a:path w="3477260" h="3469640">
                <a:moveTo>
                  <a:pt x="3447135" y="1948941"/>
                </a:moveTo>
                <a:lnTo>
                  <a:pt x="3446246" y="1951354"/>
                </a:lnTo>
                <a:lnTo>
                  <a:pt x="3446754" y="1957070"/>
                </a:lnTo>
                <a:lnTo>
                  <a:pt x="3444849" y="1961896"/>
                </a:lnTo>
                <a:lnTo>
                  <a:pt x="3460216" y="1965198"/>
                </a:lnTo>
                <a:lnTo>
                  <a:pt x="3462121" y="1960499"/>
                </a:lnTo>
                <a:lnTo>
                  <a:pt x="3461613" y="1954657"/>
                </a:lnTo>
                <a:lnTo>
                  <a:pt x="3463518" y="1949830"/>
                </a:lnTo>
                <a:lnTo>
                  <a:pt x="3447135" y="1948941"/>
                </a:lnTo>
                <a:close/>
              </a:path>
              <a:path w="3477260" h="3469640">
                <a:moveTo>
                  <a:pt x="348627" y="697611"/>
                </a:moveTo>
                <a:lnTo>
                  <a:pt x="344296" y="701421"/>
                </a:lnTo>
                <a:lnTo>
                  <a:pt x="342379" y="706247"/>
                </a:lnTo>
                <a:lnTo>
                  <a:pt x="338048" y="710057"/>
                </a:lnTo>
                <a:lnTo>
                  <a:pt x="351536" y="718312"/>
                </a:lnTo>
                <a:lnTo>
                  <a:pt x="355866" y="714375"/>
                </a:lnTo>
                <a:lnTo>
                  <a:pt x="357784" y="709549"/>
                </a:lnTo>
                <a:lnTo>
                  <a:pt x="362115" y="705738"/>
                </a:lnTo>
                <a:lnTo>
                  <a:pt x="348627" y="697611"/>
                </a:lnTo>
                <a:close/>
              </a:path>
              <a:path w="3477260" h="3469640">
                <a:moveTo>
                  <a:pt x="3453358" y="1884426"/>
                </a:moveTo>
                <a:lnTo>
                  <a:pt x="3453866" y="1890140"/>
                </a:lnTo>
                <a:lnTo>
                  <a:pt x="3451961" y="1894966"/>
                </a:lnTo>
                <a:lnTo>
                  <a:pt x="3452469" y="1900809"/>
                </a:lnTo>
                <a:lnTo>
                  <a:pt x="3468725" y="1901698"/>
                </a:lnTo>
                <a:lnTo>
                  <a:pt x="3468344" y="1895983"/>
                </a:lnTo>
                <a:lnTo>
                  <a:pt x="3470249" y="1891157"/>
                </a:lnTo>
                <a:lnTo>
                  <a:pt x="3469741" y="1885314"/>
                </a:lnTo>
                <a:lnTo>
                  <a:pt x="3453358" y="1884426"/>
                </a:lnTo>
                <a:close/>
              </a:path>
              <a:path w="3477260" h="3469640">
                <a:moveTo>
                  <a:pt x="386105" y="645540"/>
                </a:moveTo>
                <a:lnTo>
                  <a:pt x="384187" y="650366"/>
                </a:lnTo>
                <a:lnTo>
                  <a:pt x="379857" y="654176"/>
                </a:lnTo>
                <a:lnTo>
                  <a:pt x="377939" y="659002"/>
                </a:lnTo>
                <a:lnTo>
                  <a:pt x="390461" y="669544"/>
                </a:lnTo>
                <a:lnTo>
                  <a:pt x="392391" y="664845"/>
                </a:lnTo>
                <a:lnTo>
                  <a:pt x="396709" y="660908"/>
                </a:lnTo>
                <a:lnTo>
                  <a:pt x="398627" y="656082"/>
                </a:lnTo>
                <a:lnTo>
                  <a:pt x="386105" y="645540"/>
                </a:lnTo>
                <a:close/>
              </a:path>
              <a:path w="3477260" h="3469640">
                <a:moveTo>
                  <a:pt x="3472535" y="1822323"/>
                </a:moveTo>
                <a:lnTo>
                  <a:pt x="3458565" y="1822323"/>
                </a:lnTo>
                <a:lnTo>
                  <a:pt x="3456660" y="1827149"/>
                </a:lnTo>
                <a:lnTo>
                  <a:pt x="3457676" y="1838705"/>
                </a:lnTo>
                <a:lnTo>
                  <a:pt x="3471646" y="1838578"/>
                </a:lnTo>
                <a:lnTo>
                  <a:pt x="3473551" y="1833879"/>
                </a:lnTo>
                <a:lnTo>
                  <a:pt x="3472535" y="1822323"/>
                </a:lnTo>
                <a:close/>
              </a:path>
              <a:path w="3477260" h="3469640">
                <a:moveTo>
                  <a:pt x="427443" y="597788"/>
                </a:moveTo>
                <a:lnTo>
                  <a:pt x="425513" y="602614"/>
                </a:lnTo>
                <a:lnTo>
                  <a:pt x="421195" y="606551"/>
                </a:lnTo>
                <a:lnTo>
                  <a:pt x="416864" y="610362"/>
                </a:lnTo>
                <a:lnTo>
                  <a:pt x="429399" y="620902"/>
                </a:lnTo>
                <a:lnTo>
                  <a:pt x="433717" y="617092"/>
                </a:lnTo>
                <a:lnTo>
                  <a:pt x="435648" y="612266"/>
                </a:lnTo>
                <a:lnTo>
                  <a:pt x="439966" y="608457"/>
                </a:lnTo>
                <a:lnTo>
                  <a:pt x="427443" y="597788"/>
                </a:lnTo>
                <a:close/>
              </a:path>
              <a:path w="3477260" h="3469640">
                <a:moveTo>
                  <a:pt x="3458946" y="1758314"/>
                </a:moveTo>
                <a:lnTo>
                  <a:pt x="3460470" y="1775587"/>
                </a:lnTo>
                <a:lnTo>
                  <a:pt x="3474440" y="1775587"/>
                </a:lnTo>
                <a:lnTo>
                  <a:pt x="3476345" y="1770761"/>
                </a:lnTo>
                <a:lnTo>
                  <a:pt x="3475329" y="1759203"/>
                </a:lnTo>
                <a:lnTo>
                  <a:pt x="3458946" y="1758314"/>
                </a:lnTo>
                <a:close/>
              </a:path>
              <a:path w="3477260" h="3469640">
                <a:moveTo>
                  <a:pt x="471182" y="551052"/>
                </a:moveTo>
                <a:lnTo>
                  <a:pt x="466852" y="554989"/>
                </a:lnTo>
                <a:lnTo>
                  <a:pt x="462533" y="558800"/>
                </a:lnTo>
                <a:lnTo>
                  <a:pt x="460603" y="563626"/>
                </a:lnTo>
                <a:lnTo>
                  <a:pt x="470725" y="573277"/>
                </a:lnTo>
                <a:lnTo>
                  <a:pt x="475056" y="569340"/>
                </a:lnTo>
                <a:lnTo>
                  <a:pt x="479386" y="565530"/>
                </a:lnTo>
                <a:lnTo>
                  <a:pt x="481304" y="560704"/>
                </a:lnTo>
                <a:lnTo>
                  <a:pt x="471182" y="551052"/>
                </a:lnTo>
                <a:close/>
              </a:path>
              <a:path w="3477260" h="3469640">
                <a:moveTo>
                  <a:pt x="3458438" y="1696592"/>
                </a:moveTo>
                <a:lnTo>
                  <a:pt x="3458946" y="1702435"/>
                </a:lnTo>
                <a:lnTo>
                  <a:pt x="3459327" y="1708150"/>
                </a:lnTo>
                <a:lnTo>
                  <a:pt x="3459835" y="1713991"/>
                </a:lnTo>
                <a:lnTo>
                  <a:pt x="3474821" y="1711578"/>
                </a:lnTo>
                <a:lnTo>
                  <a:pt x="3476726" y="1706752"/>
                </a:lnTo>
                <a:lnTo>
                  <a:pt x="3476218" y="1700911"/>
                </a:lnTo>
                <a:lnTo>
                  <a:pt x="3474821" y="1697609"/>
                </a:lnTo>
                <a:lnTo>
                  <a:pt x="3458438" y="1696592"/>
                </a:lnTo>
                <a:close/>
              </a:path>
              <a:path w="3477260" h="3469640">
                <a:moveTo>
                  <a:pt x="514934" y="504316"/>
                </a:moveTo>
                <a:lnTo>
                  <a:pt x="510603" y="508126"/>
                </a:lnTo>
                <a:lnTo>
                  <a:pt x="506272" y="512063"/>
                </a:lnTo>
                <a:lnTo>
                  <a:pt x="504355" y="516889"/>
                </a:lnTo>
                <a:lnTo>
                  <a:pt x="514477" y="526414"/>
                </a:lnTo>
                <a:lnTo>
                  <a:pt x="523125" y="518795"/>
                </a:lnTo>
                <a:lnTo>
                  <a:pt x="526503" y="517271"/>
                </a:lnTo>
                <a:lnTo>
                  <a:pt x="514934" y="504316"/>
                </a:lnTo>
                <a:close/>
              </a:path>
              <a:path w="3477260" h="3469640">
                <a:moveTo>
                  <a:pt x="3472789" y="1632585"/>
                </a:moveTo>
                <a:lnTo>
                  <a:pt x="3455390" y="1634109"/>
                </a:lnTo>
                <a:lnTo>
                  <a:pt x="3456406" y="1645665"/>
                </a:lnTo>
                <a:lnTo>
                  <a:pt x="3457803" y="1648967"/>
                </a:lnTo>
                <a:lnTo>
                  <a:pt x="3474186" y="1649857"/>
                </a:lnTo>
                <a:lnTo>
                  <a:pt x="3473678" y="1644141"/>
                </a:lnTo>
                <a:lnTo>
                  <a:pt x="3473297" y="1638427"/>
                </a:lnTo>
                <a:lnTo>
                  <a:pt x="3472789" y="1632585"/>
                </a:lnTo>
                <a:close/>
              </a:path>
              <a:path w="3477260" h="3469640">
                <a:moveTo>
                  <a:pt x="560120" y="460883"/>
                </a:moveTo>
                <a:lnTo>
                  <a:pt x="555790" y="464820"/>
                </a:lnTo>
                <a:lnTo>
                  <a:pt x="553872" y="469646"/>
                </a:lnTo>
                <a:lnTo>
                  <a:pt x="550506" y="471042"/>
                </a:lnTo>
                <a:lnTo>
                  <a:pt x="559676" y="483108"/>
                </a:lnTo>
                <a:lnTo>
                  <a:pt x="563994" y="479171"/>
                </a:lnTo>
                <a:lnTo>
                  <a:pt x="568324" y="475361"/>
                </a:lnTo>
                <a:lnTo>
                  <a:pt x="571690" y="473963"/>
                </a:lnTo>
                <a:lnTo>
                  <a:pt x="560120" y="460883"/>
                </a:lnTo>
                <a:close/>
              </a:path>
              <a:path w="3477260" h="3469640">
                <a:moveTo>
                  <a:pt x="3467328" y="1569085"/>
                </a:moveTo>
                <a:lnTo>
                  <a:pt x="3452469" y="1571498"/>
                </a:lnTo>
                <a:lnTo>
                  <a:pt x="3453485" y="1583054"/>
                </a:lnTo>
                <a:lnTo>
                  <a:pt x="3451453" y="1587880"/>
                </a:lnTo>
                <a:lnTo>
                  <a:pt x="3468852" y="1586357"/>
                </a:lnTo>
                <a:lnTo>
                  <a:pt x="3467328" y="1569085"/>
                </a:lnTo>
                <a:close/>
              </a:path>
              <a:path w="3477260" h="3469640">
                <a:moveTo>
                  <a:pt x="607720" y="418464"/>
                </a:moveTo>
                <a:lnTo>
                  <a:pt x="603389" y="422401"/>
                </a:lnTo>
                <a:lnTo>
                  <a:pt x="599071" y="426212"/>
                </a:lnTo>
                <a:lnTo>
                  <a:pt x="598106" y="428625"/>
                </a:lnTo>
                <a:lnTo>
                  <a:pt x="607275" y="440689"/>
                </a:lnTo>
                <a:lnTo>
                  <a:pt x="611593" y="436752"/>
                </a:lnTo>
                <a:lnTo>
                  <a:pt x="614972" y="435355"/>
                </a:lnTo>
                <a:lnTo>
                  <a:pt x="619290" y="431546"/>
                </a:lnTo>
                <a:lnTo>
                  <a:pt x="607720" y="418464"/>
                </a:lnTo>
                <a:close/>
              </a:path>
              <a:path w="3477260" h="3469640">
                <a:moveTo>
                  <a:pt x="3460978" y="1507871"/>
                </a:moveTo>
                <a:lnTo>
                  <a:pt x="3443706" y="1509395"/>
                </a:lnTo>
                <a:lnTo>
                  <a:pt x="3444214" y="1515110"/>
                </a:lnTo>
                <a:lnTo>
                  <a:pt x="3445611" y="1518539"/>
                </a:lnTo>
                <a:lnTo>
                  <a:pt x="3446119" y="1524253"/>
                </a:lnTo>
                <a:lnTo>
                  <a:pt x="3463518" y="1522857"/>
                </a:lnTo>
                <a:lnTo>
                  <a:pt x="3461994" y="1519427"/>
                </a:lnTo>
                <a:lnTo>
                  <a:pt x="3460978" y="1507871"/>
                </a:lnTo>
                <a:close/>
              </a:path>
              <a:path w="3477260" h="3469640">
                <a:moveTo>
                  <a:pt x="656767" y="379475"/>
                </a:moveTo>
                <a:lnTo>
                  <a:pt x="653402" y="380873"/>
                </a:lnTo>
                <a:lnTo>
                  <a:pt x="649084" y="384810"/>
                </a:lnTo>
                <a:lnTo>
                  <a:pt x="644753" y="388620"/>
                </a:lnTo>
                <a:lnTo>
                  <a:pt x="653910" y="400685"/>
                </a:lnTo>
                <a:lnTo>
                  <a:pt x="658240" y="396748"/>
                </a:lnTo>
                <a:lnTo>
                  <a:pt x="662571" y="392938"/>
                </a:lnTo>
                <a:lnTo>
                  <a:pt x="665937" y="391413"/>
                </a:lnTo>
                <a:lnTo>
                  <a:pt x="656767" y="379475"/>
                </a:lnTo>
                <a:close/>
              </a:path>
              <a:path w="3477260" h="3469640">
                <a:moveTo>
                  <a:pt x="3449929" y="1444878"/>
                </a:moveTo>
                <a:lnTo>
                  <a:pt x="3434943" y="1447291"/>
                </a:lnTo>
                <a:lnTo>
                  <a:pt x="3435959" y="1458849"/>
                </a:lnTo>
                <a:lnTo>
                  <a:pt x="3437356" y="1462277"/>
                </a:lnTo>
                <a:lnTo>
                  <a:pt x="3452342" y="1459738"/>
                </a:lnTo>
                <a:lnTo>
                  <a:pt x="3451834" y="1454023"/>
                </a:lnTo>
                <a:lnTo>
                  <a:pt x="3450310" y="1450594"/>
                </a:lnTo>
                <a:lnTo>
                  <a:pt x="3449929" y="1444878"/>
                </a:lnTo>
                <a:close/>
              </a:path>
              <a:path w="3477260" h="3469640">
                <a:moveTo>
                  <a:pt x="709142" y="338963"/>
                </a:moveTo>
                <a:lnTo>
                  <a:pt x="704824" y="342773"/>
                </a:lnTo>
                <a:lnTo>
                  <a:pt x="700506" y="346710"/>
                </a:lnTo>
                <a:lnTo>
                  <a:pt x="696188" y="350520"/>
                </a:lnTo>
                <a:lnTo>
                  <a:pt x="705332" y="362585"/>
                </a:lnTo>
                <a:lnTo>
                  <a:pt x="709650" y="358648"/>
                </a:lnTo>
                <a:lnTo>
                  <a:pt x="713968" y="354838"/>
                </a:lnTo>
                <a:lnTo>
                  <a:pt x="717397" y="353313"/>
                </a:lnTo>
                <a:lnTo>
                  <a:pt x="709142" y="338963"/>
                </a:lnTo>
                <a:close/>
              </a:path>
              <a:path w="3477260" h="3469640">
                <a:moveTo>
                  <a:pt x="3438753" y="1381887"/>
                </a:moveTo>
                <a:lnTo>
                  <a:pt x="3422878" y="1386713"/>
                </a:lnTo>
                <a:lnTo>
                  <a:pt x="3424275" y="1390014"/>
                </a:lnTo>
                <a:lnTo>
                  <a:pt x="3425291" y="1401572"/>
                </a:lnTo>
                <a:lnTo>
                  <a:pt x="3441166" y="1396746"/>
                </a:lnTo>
                <a:lnTo>
                  <a:pt x="3439642" y="1393316"/>
                </a:lnTo>
                <a:lnTo>
                  <a:pt x="3439261" y="1387602"/>
                </a:lnTo>
                <a:lnTo>
                  <a:pt x="3438753" y="1381887"/>
                </a:lnTo>
                <a:close/>
              </a:path>
              <a:path w="3477260" h="3469640">
                <a:moveTo>
                  <a:pt x="759688" y="303275"/>
                </a:moveTo>
                <a:lnTo>
                  <a:pt x="755370" y="307086"/>
                </a:lnTo>
                <a:lnTo>
                  <a:pt x="751941" y="308610"/>
                </a:lnTo>
                <a:lnTo>
                  <a:pt x="747623" y="312420"/>
                </a:lnTo>
                <a:lnTo>
                  <a:pt x="756894" y="324485"/>
                </a:lnTo>
                <a:lnTo>
                  <a:pt x="760196" y="322961"/>
                </a:lnTo>
                <a:lnTo>
                  <a:pt x="764514" y="319150"/>
                </a:lnTo>
                <a:lnTo>
                  <a:pt x="768832" y="315213"/>
                </a:lnTo>
                <a:lnTo>
                  <a:pt x="759688" y="303275"/>
                </a:lnTo>
                <a:close/>
              </a:path>
              <a:path w="3477260" h="3469640">
                <a:moveTo>
                  <a:pt x="3424148" y="1320164"/>
                </a:moveTo>
                <a:lnTo>
                  <a:pt x="3408273" y="1325117"/>
                </a:lnTo>
                <a:lnTo>
                  <a:pt x="3409797" y="1328420"/>
                </a:lnTo>
                <a:lnTo>
                  <a:pt x="3412718" y="1335151"/>
                </a:lnTo>
                <a:lnTo>
                  <a:pt x="3413099" y="1340992"/>
                </a:lnTo>
                <a:lnTo>
                  <a:pt x="3428974" y="1336166"/>
                </a:lnTo>
                <a:lnTo>
                  <a:pt x="3425164" y="1331722"/>
                </a:lnTo>
                <a:lnTo>
                  <a:pt x="3424148" y="1320164"/>
                </a:lnTo>
                <a:close/>
              </a:path>
              <a:path w="3477260" h="3469640">
                <a:moveTo>
                  <a:pt x="812647" y="268477"/>
                </a:moveTo>
                <a:lnTo>
                  <a:pt x="808329" y="272414"/>
                </a:lnTo>
                <a:lnTo>
                  <a:pt x="804900" y="273812"/>
                </a:lnTo>
                <a:lnTo>
                  <a:pt x="800582" y="277622"/>
                </a:lnTo>
                <a:lnTo>
                  <a:pt x="809726" y="289687"/>
                </a:lnTo>
                <a:lnTo>
                  <a:pt x="813155" y="288289"/>
                </a:lnTo>
                <a:lnTo>
                  <a:pt x="817473" y="284352"/>
                </a:lnTo>
                <a:lnTo>
                  <a:pt x="821791" y="280542"/>
                </a:lnTo>
                <a:lnTo>
                  <a:pt x="812647" y="268477"/>
                </a:lnTo>
                <a:close/>
              </a:path>
              <a:path w="3477260" h="3469640">
                <a:moveTo>
                  <a:pt x="3408654" y="1260983"/>
                </a:moveTo>
                <a:lnTo>
                  <a:pt x="3393795" y="1263523"/>
                </a:lnTo>
                <a:lnTo>
                  <a:pt x="3394811" y="1274952"/>
                </a:lnTo>
                <a:lnTo>
                  <a:pt x="3396208" y="1278382"/>
                </a:lnTo>
                <a:lnTo>
                  <a:pt x="3411194" y="1275969"/>
                </a:lnTo>
                <a:lnTo>
                  <a:pt x="3410178" y="1264412"/>
                </a:lnTo>
                <a:lnTo>
                  <a:pt x="3408654" y="1260983"/>
                </a:lnTo>
                <a:close/>
              </a:path>
              <a:path w="3477260" h="3469640">
                <a:moveTo>
                  <a:pt x="867892" y="234696"/>
                </a:moveTo>
                <a:lnTo>
                  <a:pt x="863574" y="238633"/>
                </a:lnTo>
                <a:lnTo>
                  <a:pt x="856843" y="241426"/>
                </a:lnTo>
                <a:lnTo>
                  <a:pt x="853541" y="242950"/>
                </a:lnTo>
                <a:lnTo>
                  <a:pt x="861669" y="257428"/>
                </a:lnTo>
                <a:lnTo>
                  <a:pt x="865987" y="253491"/>
                </a:lnTo>
                <a:lnTo>
                  <a:pt x="869416" y="252095"/>
                </a:lnTo>
                <a:lnTo>
                  <a:pt x="876147" y="249174"/>
                </a:lnTo>
                <a:lnTo>
                  <a:pt x="867892" y="234696"/>
                </a:lnTo>
                <a:close/>
              </a:path>
              <a:path w="3477260" h="3469640">
                <a:moveTo>
                  <a:pt x="3388461" y="1199896"/>
                </a:moveTo>
                <a:lnTo>
                  <a:pt x="3375888" y="1203325"/>
                </a:lnTo>
                <a:lnTo>
                  <a:pt x="3376904" y="1214882"/>
                </a:lnTo>
                <a:lnTo>
                  <a:pt x="3378301" y="1218184"/>
                </a:lnTo>
                <a:lnTo>
                  <a:pt x="3394176" y="1213358"/>
                </a:lnTo>
                <a:lnTo>
                  <a:pt x="3392779" y="1210055"/>
                </a:lnTo>
                <a:lnTo>
                  <a:pt x="3392271" y="1204214"/>
                </a:lnTo>
                <a:lnTo>
                  <a:pt x="3388461" y="1199896"/>
                </a:lnTo>
                <a:close/>
              </a:path>
              <a:path w="3477260" h="3469640">
                <a:moveTo>
                  <a:pt x="922248" y="203326"/>
                </a:moveTo>
                <a:lnTo>
                  <a:pt x="917930" y="207263"/>
                </a:lnTo>
                <a:lnTo>
                  <a:pt x="913612" y="211074"/>
                </a:lnTo>
                <a:lnTo>
                  <a:pt x="910310" y="212471"/>
                </a:lnTo>
                <a:lnTo>
                  <a:pt x="916025" y="226060"/>
                </a:lnTo>
                <a:lnTo>
                  <a:pt x="920343" y="222123"/>
                </a:lnTo>
                <a:lnTo>
                  <a:pt x="926185" y="221614"/>
                </a:lnTo>
                <a:lnTo>
                  <a:pt x="930503" y="217804"/>
                </a:lnTo>
                <a:lnTo>
                  <a:pt x="922248" y="203326"/>
                </a:lnTo>
                <a:close/>
              </a:path>
              <a:path w="3477260" h="3469640">
                <a:moveTo>
                  <a:pt x="3368141" y="1138809"/>
                </a:moveTo>
                <a:lnTo>
                  <a:pt x="3354679" y="1144651"/>
                </a:lnTo>
                <a:lnTo>
                  <a:pt x="3355187" y="1150365"/>
                </a:lnTo>
                <a:lnTo>
                  <a:pt x="3356584" y="1153795"/>
                </a:lnTo>
                <a:lnTo>
                  <a:pt x="3359505" y="1160526"/>
                </a:lnTo>
                <a:lnTo>
                  <a:pt x="3372967" y="1154684"/>
                </a:lnTo>
                <a:lnTo>
                  <a:pt x="3372459" y="1148969"/>
                </a:lnTo>
                <a:lnTo>
                  <a:pt x="3371062" y="1145539"/>
                </a:lnTo>
                <a:lnTo>
                  <a:pt x="3368141" y="1138809"/>
                </a:lnTo>
                <a:close/>
              </a:path>
              <a:path w="3477260" h="3469640">
                <a:moveTo>
                  <a:pt x="980541" y="176275"/>
                </a:moveTo>
                <a:lnTo>
                  <a:pt x="973810" y="179197"/>
                </a:lnTo>
                <a:lnTo>
                  <a:pt x="970381" y="180721"/>
                </a:lnTo>
                <a:lnTo>
                  <a:pt x="966063" y="184530"/>
                </a:lnTo>
                <a:lnTo>
                  <a:pt x="971905" y="197992"/>
                </a:lnTo>
                <a:lnTo>
                  <a:pt x="976223" y="194183"/>
                </a:lnTo>
                <a:lnTo>
                  <a:pt x="981938" y="193675"/>
                </a:lnTo>
                <a:lnTo>
                  <a:pt x="986256" y="189864"/>
                </a:lnTo>
                <a:lnTo>
                  <a:pt x="980541" y="176275"/>
                </a:lnTo>
                <a:close/>
              </a:path>
              <a:path w="3477260" h="3469640">
                <a:moveTo>
                  <a:pt x="3346805" y="1080135"/>
                </a:moveTo>
                <a:lnTo>
                  <a:pt x="3330930" y="1084961"/>
                </a:lnTo>
                <a:lnTo>
                  <a:pt x="3333851" y="1091691"/>
                </a:lnTo>
                <a:lnTo>
                  <a:pt x="3335375" y="1094994"/>
                </a:lnTo>
                <a:lnTo>
                  <a:pt x="3335756" y="1100836"/>
                </a:lnTo>
                <a:lnTo>
                  <a:pt x="3351631" y="1096010"/>
                </a:lnTo>
                <a:lnTo>
                  <a:pt x="3348837" y="1089278"/>
                </a:lnTo>
                <a:lnTo>
                  <a:pt x="3347313" y="1085850"/>
                </a:lnTo>
                <a:lnTo>
                  <a:pt x="3346805" y="1080135"/>
                </a:lnTo>
                <a:close/>
              </a:path>
              <a:path w="3477260" h="3469640">
                <a:moveTo>
                  <a:pt x="1036294" y="148336"/>
                </a:moveTo>
                <a:lnTo>
                  <a:pt x="1031976" y="152146"/>
                </a:lnTo>
                <a:lnTo>
                  <a:pt x="1028547" y="153670"/>
                </a:lnTo>
                <a:lnTo>
                  <a:pt x="1021816" y="156590"/>
                </a:lnTo>
                <a:lnTo>
                  <a:pt x="1030071" y="170941"/>
                </a:lnTo>
                <a:lnTo>
                  <a:pt x="1034389" y="167132"/>
                </a:lnTo>
                <a:lnTo>
                  <a:pt x="1037818" y="165608"/>
                </a:lnTo>
                <a:lnTo>
                  <a:pt x="1043533" y="165226"/>
                </a:lnTo>
                <a:lnTo>
                  <a:pt x="1036294" y="148336"/>
                </a:lnTo>
                <a:close/>
              </a:path>
              <a:path w="3477260" h="3469640">
                <a:moveTo>
                  <a:pt x="3319754" y="1021841"/>
                </a:moveTo>
                <a:lnTo>
                  <a:pt x="3306292" y="1027684"/>
                </a:lnTo>
                <a:lnTo>
                  <a:pt x="3306800" y="1033526"/>
                </a:lnTo>
                <a:lnTo>
                  <a:pt x="3310737" y="1037844"/>
                </a:lnTo>
                <a:lnTo>
                  <a:pt x="3311118" y="1043559"/>
                </a:lnTo>
                <a:lnTo>
                  <a:pt x="3328009" y="1036320"/>
                </a:lnTo>
                <a:lnTo>
                  <a:pt x="3324199" y="1032001"/>
                </a:lnTo>
                <a:lnTo>
                  <a:pt x="3323691" y="1026160"/>
                </a:lnTo>
                <a:lnTo>
                  <a:pt x="3319754" y="1021841"/>
                </a:lnTo>
                <a:close/>
              </a:path>
              <a:path w="3477260" h="3469640">
                <a:moveTo>
                  <a:pt x="1095984" y="124713"/>
                </a:moveTo>
                <a:lnTo>
                  <a:pt x="1089253" y="127508"/>
                </a:lnTo>
                <a:lnTo>
                  <a:pt x="1085824" y="129032"/>
                </a:lnTo>
                <a:lnTo>
                  <a:pt x="1080109" y="129539"/>
                </a:lnTo>
                <a:lnTo>
                  <a:pt x="1087348" y="146303"/>
                </a:lnTo>
                <a:lnTo>
                  <a:pt x="1091666" y="142494"/>
                </a:lnTo>
                <a:lnTo>
                  <a:pt x="1097381" y="141986"/>
                </a:lnTo>
                <a:lnTo>
                  <a:pt x="1100810" y="140588"/>
                </a:lnTo>
                <a:lnTo>
                  <a:pt x="1095984" y="124713"/>
                </a:lnTo>
                <a:close/>
              </a:path>
              <a:path w="3477260" h="3469640">
                <a:moveTo>
                  <a:pt x="3292830" y="963676"/>
                </a:moveTo>
                <a:lnTo>
                  <a:pt x="3278352" y="971930"/>
                </a:lnTo>
                <a:lnTo>
                  <a:pt x="3282162" y="976249"/>
                </a:lnTo>
                <a:lnTo>
                  <a:pt x="3282670" y="981963"/>
                </a:lnTo>
                <a:lnTo>
                  <a:pt x="3286607" y="986282"/>
                </a:lnTo>
                <a:lnTo>
                  <a:pt x="3300958" y="978153"/>
                </a:lnTo>
                <a:lnTo>
                  <a:pt x="3297148" y="973836"/>
                </a:lnTo>
                <a:lnTo>
                  <a:pt x="3295624" y="970407"/>
                </a:lnTo>
                <a:lnTo>
                  <a:pt x="3292830" y="963676"/>
                </a:lnTo>
                <a:close/>
              </a:path>
              <a:path w="3477260" h="3469640">
                <a:moveTo>
                  <a:pt x="1154658" y="103377"/>
                </a:moveTo>
                <a:lnTo>
                  <a:pt x="1148816" y="103886"/>
                </a:lnTo>
                <a:lnTo>
                  <a:pt x="1145514" y="105283"/>
                </a:lnTo>
                <a:lnTo>
                  <a:pt x="1138783" y="108203"/>
                </a:lnTo>
                <a:lnTo>
                  <a:pt x="1144625" y="121665"/>
                </a:lnTo>
                <a:lnTo>
                  <a:pt x="1150340" y="121285"/>
                </a:lnTo>
                <a:lnTo>
                  <a:pt x="1153769" y="119761"/>
                </a:lnTo>
                <a:lnTo>
                  <a:pt x="1160500" y="116839"/>
                </a:lnTo>
                <a:lnTo>
                  <a:pt x="1154658" y="103377"/>
                </a:lnTo>
                <a:close/>
              </a:path>
              <a:path w="3477260" h="3469640">
                <a:moveTo>
                  <a:pt x="3264763" y="907923"/>
                </a:moveTo>
                <a:lnTo>
                  <a:pt x="3250285" y="916051"/>
                </a:lnTo>
                <a:lnTo>
                  <a:pt x="3251809" y="919479"/>
                </a:lnTo>
                <a:lnTo>
                  <a:pt x="3254730" y="926211"/>
                </a:lnTo>
                <a:lnTo>
                  <a:pt x="3258540" y="930528"/>
                </a:lnTo>
                <a:lnTo>
                  <a:pt x="3270605" y="921385"/>
                </a:lnTo>
                <a:lnTo>
                  <a:pt x="3269081" y="917955"/>
                </a:lnTo>
                <a:lnTo>
                  <a:pt x="3265271" y="913638"/>
                </a:lnTo>
                <a:lnTo>
                  <a:pt x="3264763" y="907923"/>
                </a:lnTo>
                <a:close/>
              </a:path>
              <a:path w="3477260" h="3469640">
                <a:moveTo>
                  <a:pt x="1215745" y="83058"/>
                </a:moveTo>
                <a:lnTo>
                  <a:pt x="1204188" y="84074"/>
                </a:lnTo>
                <a:lnTo>
                  <a:pt x="1199870" y="87884"/>
                </a:lnTo>
                <a:lnTo>
                  <a:pt x="1205712" y="101473"/>
                </a:lnTo>
                <a:lnTo>
                  <a:pt x="1209014" y="99949"/>
                </a:lnTo>
                <a:lnTo>
                  <a:pt x="1214856" y="99440"/>
                </a:lnTo>
                <a:lnTo>
                  <a:pt x="1218158" y="98044"/>
                </a:lnTo>
                <a:lnTo>
                  <a:pt x="1215745" y="83058"/>
                </a:lnTo>
                <a:close/>
              </a:path>
              <a:path w="3477260" h="3469640">
                <a:moveTo>
                  <a:pt x="3233394" y="853566"/>
                </a:moveTo>
                <a:lnTo>
                  <a:pt x="3219043" y="861695"/>
                </a:lnTo>
                <a:lnTo>
                  <a:pt x="3222853" y="866013"/>
                </a:lnTo>
                <a:lnTo>
                  <a:pt x="3224250" y="869441"/>
                </a:lnTo>
                <a:lnTo>
                  <a:pt x="3227171" y="876173"/>
                </a:lnTo>
                <a:lnTo>
                  <a:pt x="3239236" y="867028"/>
                </a:lnTo>
                <a:lnTo>
                  <a:pt x="3238728" y="861187"/>
                </a:lnTo>
                <a:lnTo>
                  <a:pt x="3234918" y="856869"/>
                </a:lnTo>
                <a:lnTo>
                  <a:pt x="3233394" y="853566"/>
                </a:lnTo>
                <a:close/>
              </a:path>
              <a:path w="3477260" h="3469640">
                <a:moveTo>
                  <a:pt x="1275943" y="65150"/>
                </a:moveTo>
                <a:lnTo>
                  <a:pt x="1270101" y="65659"/>
                </a:lnTo>
                <a:lnTo>
                  <a:pt x="1266799" y="67183"/>
                </a:lnTo>
                <a:lnTo>
                  <a:pt x="1260957" y="67690"/>
                </a:lnTo>
                <a:lnTo>
                  <a:pt x="1265783" y="83565"/>
                </a:lnTo>
                <a:lnTo>
                  <a:pt x="1269212" y="82041"/>
                </a:lnTo>
                <a:lnTo>
                  <a:pt x="1274927" y="81534"/>
                </a:lnTo>
                <a:lnTo>
                  <a:pt x="1278356" y="80137"/>
                </a:lnTo>
                <a:lnTo>
                  <a:pt x="1275943" y="65150"/>
                </a:lnTo>
                <a:close/>
              </a:path>
              <a:path w="3477260" h="3469640">
                <a:moveTo>
                  <a:pt x="3199612" y="798195"/>
                </a:moveTo>
                <a:lnTo>
                  <a:pt x="3185261" y="806450"/>
                </a:lnTo>
                <a:lnTo>
                  <a:pt x="3189071" y="810767"/>
                </a:lnTo>
                <a:lnTo>
                  <a:pt x="3191992" y="817499"/>
                </a:lnTo>
                <a:lnTo>
                  <a:pt x="3193389" y="820801"/>
                </a:lnTo>
                <a:lnTo>
                  <a:pt x="3207867" y="812673"/>
                </a:lnTo>
                <a:lnTo>
                  <a:pt x="3203930" y="808354"/>
                </a:lnTo>
                <a:lnTo>
                  <a:pt x="3202533" y="804926"/>
                </a:lnTo>
                <a:lnTo>
                  <a:pt x="3199612" y="798195"/>
                </a:lnTo>
                <a:close/>
              </a:path>
              <a:path w="3477260" h="3469640">
                <a:moveTo>
                  <a:pt x="1338427" y="48260"/>
                </a:moveTo>
                <a:lnTo>
                  <a:pt x="1332712" y="48767"/>
                </a:lnTo>
                <a:lnTo>
                  <a:pt x="1325981" y="51688"/>
                </a:lnTo>
                <a:lnTo>
                  <a:pt x="1322552" y="53086"/>
                </a:lnTo>
                <a:lnTo>
                  <a:pt x="1324965" y="68072"/>
                </a:lnTo>
                <a:lnTo>
                  <a:pt x="1330807" y="67563"/>
                </a:lnTo>
                <a:lnTo>
                  <a:pt x="1335125" y="63626"/>
                </a:lnTo>
                <a:lnTo>
                  <a:pt x="1340967" y="63246"/>
                </a:lnTo>
                <a:lnTo>
                  <a:pt x="1338427" y="48260"/>
                </a:lnTo>
                <a:close/>
              </a:path>
              <a:path w="3477260" h="3469640">
                <a:moveTo>
                  <a:pt x="3164941" y="745236"/>
                </a:moveTo>
                <a:lnTo>
                  <a:pt x="3149574" y="755903"/>
                </a:lnTo>
                <a:lnTo>
                  <a:pt x="3157194" y="764539"/>
                </a:lnTo>
                <a:lnTo>
                  <a:pt x="3161131" y="768858"/>
                </a:lnTo>
                <a:lnTo>
                  <a:pt x="3173069" y="759713"/>
                </a:lnTo>
                <a:lnTo>
                  <a:pt x="3169259" y="755396"/>
                </a:lnTo>
                <a:lnTo>
                  <a:pt x="3164941" y="745236"/>
                </a:lnTo>
                <a:close/>
              </a:path>
              <a:path w="3477260" h="3469640">
                <a:moveTo>
                  <a:pt x="1399133" y="36195"/>
                </a:moveTo>
                <a:lnTo>
                  <a:pt x="1393291" y="36702"/>
                </a:lnTo>
                <a:lnTo>
                  <a:pt x="1387576" y="37084"/>
                </a:lnTo>
                <a:lnTo>
                  <a:pt x="1384147" y="38608"/>
                </a:lnTo>
                <a:lnTo>
                  <a:pt x="1386687" y="53466"/>
                </a:lnTo>
                <a:lnTo>
                  <a:pt x="1392402" y="52959"/>
                </a:lnTo>
                <a:lnTo>
                  <a:pt x="1395831" y="51562"/>
                </a:lnTo>
                <a:lnTo>
                  <a:pt x="1401546" y="51053"/>
                </a:lnTo>
                <a:lnTo>
                  <a:pt x="1399133" y="36195"/>
                </a:lnTo>
                <a:close/>
              </a:path>
              <a:path w="3477260" h="3469640">
                <a:moveTo>
                  <a:pt x="3126841" y="693801"/>
                </a:moveTo>
                <a:lnTo>
                  <a:pt x="3113760" y="705358"/>
                </a:lnTo>
                <a:lnTo>
                  <a:pt x="3117697" y="709676"/>
                </a:lnTo>
                <a:lnTo>
                  <a:pt x="3119094" y="713104"/>
                </a:lnTo>
                <a:lnTo>
                  <a:pt x="3123031" y="717423"/>
                </a:lnTo>
                <a:lnTo>
                  <a:pt x="3134969" y="708278"/>
                </a:lnTo>
                <a:lnTo>
                  <a:pt x="3134461" y="702437"/>
                </a:lnTo>
                <a:lnTo>
                  <a:pt x="3126841" y="693801"/>
                </a:lnTo>
                <a:close/>
              </a:path>
              <a:path w="3477260" h="3469640">
                <a:moveTo>
                  <a:pt x="1459712" y="24002"/>
                </a:moveTo>
                <a:lnTo>
                  <a:pt x="1456410" y="25526"/>
                </a:lnTo>
                <a:lnTo>
                  <a:pt x="1450568" y="26035"/>
                </a:lnTo>
                <a:lnTo>
                  <a:pt x="1444853" y="26415"/>
                </a:lnTo>
                <a:lnTo>
                  <a:pt x="1447266" y="41401"/>
                </a:lnTo>
                <a:lnTo>
                  <a:pt x="1464538" y="39877"/>
                </a:lnTo>
                <a:lnTo>
                  <a:pt x="1459712" y="24002"/>
                </a:lnTo>
                <a:close/>
              </a:path>
              <a:path w="3477260" h="3469640">
                <a:moveTo>
                  <a:pt x="3087725" y="644778"/>
                </a:moveTo>
                <a:lnTo>
                  <a:pt x="3075660" y="653923"/>
                </a:lnTo>
                <a:lnTo>
                  <a:pt x="3079597" y="658240"/>
                </a:lnTo>
                <a:lnTo>
                  <a:pt x="3083407" y="662559"/>
                </a:lnTo>
                <a:lnTo>
                  <a:pt x="3084931" y="665988"/>
                </a:lnTo>
                <a:lnTo>
                  <a:pt x="3096869" y="656844"/>
                </a:lnTo>
                <a:lnTo>
                  <a:pt x="3095472" y="653414"/>
                </a:lnTo>
                <a:lnTo>
                  <a:pt x="3091662" y="649097"/>
                </a:lnTo>
                <a:lnTo>
                  <a:pt x="3087725" y="644778"/>
                </a:lnTo>
                <a:close/>
              </a:path>
              <a:path w="3477260" h="3469640">
                <a:moveTo>
                  <a:pt x="1525244" y="13842"/>
                </a:moveTo>
                <a:lnTo>
                  <a:pt x="1507845" y="15366"/>
                </a:lnTo>
                <a:lnTo>
                  <a:pt x="1509369" y="32638"/>
                </a:lnTo>
                <a:lnTo>
                  <a:pt x="1526641" y="31114"/>
                </a:lnTo>
                <a:lnTo>
                  <a:pt x="1525244" y="13842"/>
                </a:lnTo>
                <a:close/>
              </a:path>
              <a:path w="3477260" h="3469640">
                <a:moveTo>
                  <a:pt x="3046323" y="594740"/>
                </a:moveTo>
                <a:lnTo>
                  <a:pt x="3035655" y="607313"/>
                </a:lnTo>
                <a:lnTo>
                  <a:pt x="3037179" y="610615"/>
                </a:lnTo>
                <a:lnTo>
                  <a:pt x="3040989" y="615061"/>
                </a:lnTo>
                <a:lnTo>
                  <a:pt x="3044926" y="619378"/>
                </a:lnTo>
                <a:lnTo>
                  <a:pt x="3057880" y="607695"/>
                </a:lnTo>
                <a:lnTo>
                  <a:pt x="3053943" y="603376"/>
                </a:lnTo>
                <a:lnTo>
                  <a:pt x="3046323" y="594740"/>
                </a:lnTo>
                <a:close/>
              </a:path>
              <a:path w="3477260" h="3469640">
                <a:moveTo>
                  <a:pt x="1586331" y="7492"/>
                </a:moveTo>
                <a:lnTo>
                  <a:pt x="1580616" y="8000"/>
                </a:lnTo>
                <a:lnTo>
                  <a:pt x="1577187" y="9398"/>
                </a:lnTo>
                <a:lnTo>
                  <a:pt x="1571472" y="9905"/>
                </a:lnTo>
                <a:lnTo>
                  <a:pt x="1573885" y="24891"/>
                </a:lnTo>
                <a:lnTo>
                  <a:pt x="1577187" y="23367"/>
                </a:lnTo>
                <a:lnTo>
                  <a:pt x="1583029" y="22860"/>
                </a:lnTo>
                <a:lnTo>
                  <a:pt x="1588744" y="22478"/>
                </a:lnTo>
                <a:lnTo>
                  <a:pt x="1586331" y="7492"/>
                </a:lnTo>
                <a:close/>
              </a:path>
              <a:path w="3477260" h="3469640">
                <a:moveTo>
                  <a:pt x="3002889" y="549528"/>
                </a:moveTo>
                <a:lnTo>
                  <a:pt x="2993237" y="559688"/>
                </a:lnTo>
                <a:lnTo>
                  <a:pt x="2997174" y="564007"/>
                </a:lnTo>
                <a:lnTo>
                  <a:pt x="2998571" y="567436"/>
                </a:lnTo>
                <a:lnTo>
                  <a:pt x="3002381" y="571753"/>
                </a:lnTo>
                <a:lnTo>
                  <a:pt x="3015462" y="560197"/>
                </a:lnTo>
                <a:lnTo>
                  <a:pt x="3011525" y="555878"/>
                </a:lnTo>
                <a:lnTo>
                  <a:pt x="3007715" y="551561"/>
                </a:lnTo>
                <a:lnTo>
                  <a:pt x="3002889" y="549528"/>
                </a:lnTo>
                <a:close/>
              </a:path>
              <a:path w="3477260" h="3469640">
                <a:moveTo>
                  <a:pt x="1649831" y="2159"/>
                </a:moveTo>
                <a:lnTo>
                  <a:pt x="1644116" y="2666"/>
                </a:lnTo>
                <a:lnTo>
                  <a:pt x="1638274" y="3048"/>
                </a:lnTo>
                <a:lnTo>
                  <a:pt x="1634972" y="4572"/>
                </a:lnTo>
                <a:lnTo>
                  <a:pt x="1634083" y="20954"/>
                </a:lnTo>
                <a:lnTo>
                  <a:pt x="1651355" y="19430"/>
                </a:lnTo>
                <a:lnTo>
                  <a:pt x="1649831" y="2159"/>
                </a:lnTo>
                <a:close/>
              </a:path>
              <a:path w="3477260" h="3469640">
                <a:moveTo>
                  <a:pt x="2959455" y="504444"/>
                </a:moveTo>
                <a:lnTo>
                  <a:pt x="2949930" y="514476"/>
                </a:lnTo>
                <a:lnTo>
                  <a:pt x="2951327" y="517905"/>
                </a:lnTo>
                <a:lnTo>
                  <a:pt x="2955137" y="522224"/>
                </a:lnTo>
                <a:lnTo>
                  <a:pt x="2959074" y="526541"/>
                </a:lnTo>
                <a:lnTo>
                  <a:pt x="2972028" y="514985"/>
                </a:lnTo>
                <a:lnTo>
                  <a:pt x="2968218" y="510666"/>
                </a:lnTo>
                <a:lnTo>
                  <a:pt x="2964281" y="506349"/>
                </a:lnTo>
                <a:lnTo>
                  <a:pt x="2959455" y="504444"/>
                </a:lnTo>
                <a:close/>
              </a:path>
              <a:path w="3477260" h="3469640">
                <a:moveTo>
                  <a:pt x="1709140" y="635"/>
                </a:moveTo>
                <a:lnTo>
                  <a:pt x="1703298" y="1142"/>
                </a:lnTo>
                <a:lnTo>
                  <a:pt x="1697583" y="1524"/>
                </a:lnTo>
                <a:lnTo>
                  <a:pt x="1696567" y="17907"/>
                </a:lnTo>
                <a:lnTo>
                  <a:pt x="1702409" y="17399"/>
                </a:lnTo>
                <a:lnTo>
                  <a:pt x="1708124" y="17017"/>
                </a:lnTo>
                <a:lnTo>
                  <a:pt x="1713966" y="16510"/>
                </a:lnTo>
                <a:lnTo>
                  <a:pt x="1711553" y="1524"/>
                </a:lnTo>
                <a:lnTo>
                  <a:pt x="1709140" y="635"/>
                </a:lnTo>
                <a:close/>
              </a:path>
              <a:path w="3477260" h="3469640">
                <a:moveTo>
                  <a:pt x="2913735" y="458215"/>
                </a:moveTo>
                <a:lnTo>
                  <a:pt x="2903194" y="470788"/>
                </a:lnTo>
                <a:lnTo>
                  <a:pt x="2910814" y="479425"/>
                </a:lnTo>
                <a:lnTo>
                  <a:pt x="2915640" y="481329"/>
                </a:lnTo>
                <a:lnTo>
                  <a:pt x="2925292" y="471170"/>
                </a:lnTo>
                <a:lnTo>
                  <a:pt x="2921482" y="466851"/>
                </a:lnTo>
                <a:lnTo>
                  <a:pt x="2917545" y="462534"/>
                </a:lnTo>
                <a:lnTo>
                  <a:pt x="2913735" y="458215"/>
                </a:lnTo>
                <a:close/>
              </a:path>
              <a:path w="3477260" h="3469640">
                <a:moveTo>
                  <a:pt x="1770735" y="0"/>
                </a:moveTo>
                <a:lnTo>
                  <a:pt x="1759178" y="1015"/>
                </a:lnTo>
                <a:lnTo>
                  <a:pt x="1760575" y="18287"/>
                </a:lnTo>
                <a:lnTo>
                  <a:pt x="1766417" y="17907"/>
                </a:lnTo>
                <a:lnTo>
                  <a:pt x="1769719" y="16383"/>
                </a:lnTo>
                <a:lnTo>
                  <a:pt x="1775561" y="15875"/>
                </a:lnTo>
                <a:lnTo>
                  <a:pt x="1775561" y="1904"/>
                </a:lnTo>
                <a:lnTo>
                  <a:pt x="1770735" y="0"/>
                </a:lnTo>
                <a:close/>
              </a:path>
              <a:path w="3477260" h="3469640">
                <a:moveTo>
                  <a:pt x="2865983" y="416940"/>
                </a:moveTo>
                <a:lnTo>
                  <a:pt x="2855442" y="429387"/>
                </a:lnTo>
                <a:lnTo>
                  <a:pt x="2860268" y="431291"/>
                </a:lnTo>
                <a:lnTo>
                  <a:pt x="2864078" y="435737"/>
                </a:lnTo>
                <a:lnTo>
                  <a:pt x="2867888" y="440054"/>
                </a:lnTo>
                <a:lnTo>
                  <a:pt x="2878556" y="427482"/>
                </a:lnTo>
                <a:lnTo>
                  <a:pt x="2874619" y="423163"/>
                </a:lnTo>
                <a:lnTo>
                  <a:pt x="2869793" y="421259"/>
                </a:lnTo>
                <a:lnTo>
                  <a:pt x="2865983" y="416940"/>
                </a:lnTo>
                <a:close/>
              </a:path>
              <a:path w="3477260" h="3469640">
                <a:moveTo>
                  <a:pt x="1833727" y="2794"/>
                </a:moveTo>
                <a:lnTo>
                  <a:pt x="1822170" y="3810"/>
                </a:lnTo>
                <a:lnTo>
                  <a:pt x="1822297" y="17779"/>
                </a:lnTo>
                <a:lnTo>
                  <a:pt x="1827123" y="19685"/>
                </a:lnTo>
                <a:lnTo>
                  <a:pt x="1838680" y="18669"/>
                </a:lnTo>
                <a:lnTo>
                  <a:pt x="1838553" y="4699"/>
                </a:lnTo>
                <a:lnTo>
                  <a:pt x="1833727" y="2794"/>
                </a:lnTo>
                <a:close/>
              </a:path>
              <a:path w="3477260" h="3469640">
                <a:moveTo>
                  <a:pt x="2817342" y="377951"/>
                </a:moveTo>
                <a:lnTo>
                  <a:pt x="2807690" y="388112"/>
                </a:lnTo>
                <a:lnTo>
                  <a:pt x="2811500" y="392429"/>
                </a:lnTo>
                <a:lnTo>
                  <a:pt x="2815437" y="396748"/>
                </a:lnTo>
                <a:lnTo>
                  <a:pt x="2820263" y="398652"/>
                </a:lnTo>
                <a:lnTo>
                  <a:pt x="2830804" y="386079"/>
                </a:lnTo>
                <a:lnTo>
                  <a:pt x="2825978" y="384175"/>
                </a:lnTo>
                <a:lnTo>
                  <a:pt x="2822168" y="379857"/>
                </a:lnTo>
                <a:lnTo>
                  <a:pt x="2817342" y="377951"/>
                </a:lnTo>
                <a:close/>
              </a:path>
              <a:path w="3477260" h="3469640">
                <a:moveTo>
                  <a:pt x="1901083" y="22478"/>
                </a:moveTo>
                <a:lnTo>
                  <a:pt x="1890115" y="22478"/>
                </a:lnTo>
                <a:lnTo>
                  <a:pt x="1894941" y="24384"/>
                </a:lnTo>
                <a:lnTo>
                  <a:pt x="1900783" y="23875"/>
                </a:lnTo>
                <a:lnTo>
                  <a:pt x="1901083" y="22478"/>
                </a:lnTo>
                <a:close/>
              </a:path>
              <a:path w="3477260" h="3469640">
                <a:moveTo>
                  <a:pt x="1893544" y="7112"/>
                </a:moveTo>
                <a:lnTo>
                  <a:pt x="1887702" y="7620"/>
                </a:lnTo>
                <a:lnTo>
                  <a:pt x="1886813" y="24002"/>
                </a:lnTo>
                <a:lnTo>
                  <a:pt x="1890115" y="22478"/>
                </a:lnTo>
                <a:lnTo>
                  <a:pt x="1901083" y="22478"/>
                </a:lnTo>
                <a:lnTo>
                  <a:pt x="1903976" y="9016"/>
                </a:lnTo>
                <a:lnTo>
                  <a:pt x="1898243" y="9016"/>
                </a:lnTo>
                <a:lnTo>
                  <a:pt x="1893544" y="7112"/>
                </a:lnTo>
                <a:close/>
              </a:path>
              <a:path w="3477260" h="3469640">
                <a:moveTo>
                  <a:pt x="1904085" y="8509"/>
                </a:moveTo>
                <a:lnTo>
                  <a:pt x="1898243" y="9016"/>
                </a:lnTo>
                <a:lnTo>
                  <a:pt x="1903976" y="9016"/>
                </a:lnTo>
                <a:lnTo>
                  <a:pt x="1904085" y="8509"/>
                </a:lnTo>
                <a:close/>
              </a:path>
              <a:path w="3477260" h="3469640">
                <a:moveTo>
                  <a:pt x="2766288" y="338074"/>
                </a:moveTo>
                <a:lnTo>
                  <a:pt x="2758033" y="351536"/>
                </a:lnTo>
                <a:lnTo>
                  <a:pt x="2762859" y="353440"/>
                </a:lnTo>
                <a:lnTo>
                  <a:pt x="2766796" y="357759"/>
                </a:lnTo>
                <a:lnTo>
                  <a:pt x="2771622" y="359790"/>
                </a:lnTo>
                <a:lnTo>
                  <a:pt x="2778734" y="348614"/>
                </a:lnTo>
                <a:lnTo>
                  <a:pt x="2774924" y="344297"/>
                </a:lnTo>
                <a:lnTo>
                  <a:pt x="2770098" y="342391"/>
                </a:lnTo>
                <a:lnTo>
                  <a:pt x="2766288" y="338074"/>
                </a:lnTo>
                <a:close/>
              </a:path>
              <a:path w="3477260" h="3469640">
                <a:moveTo>
                  <a:pt x="1964386" y="30607"/>
                </a:moveTo>
                <a:lnTo>
                  <a:pt x="1959457" y="30607"/>
                </a:lnTo>
                <a:lnTo>
                  <a:pt x="1964283" y="32512"/>
                </a:lnTo>
                <a:lnTo>
                  <a:pt x="1964386" y="30607"/>
                </a:lnTo>
                <a:close/>
              </a:path>
              <a:path w="3477260" h="3469640">
                <a:moveTo>
                  <a:pt x="1949805" y="12826"/>
                </a:moveTo>
                <a:lnTo>
                  <a:pt x="1948916" y="29210"/>
                </a:lnTo>
                <a:lnTo>
                  <a:pt x="1953742" y="31114"/>
                </a:lnTo>
                <a:lnTo>
                  <a:pt x="1959457" y="30607"/>
                </a:lnTo>
                <a:lnTo>
                  <a:pt x="1964386" y="30607"/>
                </a:lnTo>
                <a:lnTo>
                  <a:pt x="1965172" y="16128"/>
                </a:lnTo>
                <a:lnTo>
                  <a:pt x="1961633" y="14732"/>
                </a:lnTo>
                <a:lnTo>
                  <a:pt x="1954631" y="14732"/>
                </a:lnTo>
                <a:lnTo>
                  <a:pt x="1949805" y="12826"/>
                </a:lnTo>
                <a:close/>
              </a:path>
              <a:path w="3477260" h="3469640">
                <a:moveTo>
                  <a:pt x="1960346" y="14224"/>
                </a:moveTo>
                <a:lnTo>
                  <a:pt x="1954631" y="14732"/>
                </a:lnTo>
                <a:lnTo>
                  <a:pt x="1961633" y="14732"/>
                </a:lnTo>
                <a:lnTo>
                  <a:pt x="1960346" y="14224"/>
                </a:lnTo>
                <a:close/>
              </a:path>
              <a:path w="3477260" h="3469640">
                <a:moveTo>
                  <a:pt x="2714218" y="300609"/>
                </a:moveTo>
                <a:lnTo>
                  <a:pt x="2705963" y="314071"/>
                </a:lnTo>
                <a:lnTo>
                  <a:pt x="2709900" y="318388"/>
                </a:lnTo>
                <a:lnTo>
                  <a:pt x="2714726" y="320294"/>
                </a:lnTo>
                <a:lnTo>
                  <a:pt x="2718536" y="324612"/>
                </a:lnTo>
                <a:lnTo>
                  <a:pt x="2726664" y="311150"/>
                </a:lnTo>
                <a:lnTo>
                  <a:pt x="2722854" y="306832"/>
                </a:lnTo>
                <a:lnTo>
                  <a:pt x="2718028" y="304926"/>
                </a:lnTo>
                <a:lnTo>
                  <a:pt x="2714218" y="300609"/>
                </a:lnTo>
                <a:close/>
              </a:path>
              <a:path w="3477260" h="3469640">
                <a:moveTo>
                  <a:pt x="2025682" y="38735"/>
                </a:moveTo>
                <a:lnTo>
                  <a:pt x="2014829" y="38735"/>
                </a:lnTo>
                <a:lnTo>
                  <a:pt x="2019655" y="40639"/>
                </a:lnTo>
                <a:lnTo>
                  <a:pt x="2025370" y="40132"/>
                </a:lnTo>
                <a:lnTo>
                  <a:pt x="2025682" y="38735"/>
                </a:lnTo>
                <a:close/>
              </a:path>
              <a:path w="3477260" h="3469640">
                <a:moveTo>
                  <a:pt x="2018131" y="23240"/>
                </a:moveTo>
                <a:lnTo>
                  <a:pt x="2012416" y="23749"/>
                </a:lnTo>
                <a:lnTo>
                  <a:pt x="2009114" y="39242"/>
                </a:lnTo>
                <a:lnTo>
                  <a:pt x="2014829" y="38735"/>
                </a:lnTo>
                <a:lnTo>
                  <a:pt x="2025682" y="38735"/>
                </a:lnTo>
                <a:lnTo>
                  <a:pt x="2028686" y="25273"/>
                </a:lnTo>
                <a:lnTo>
                  <a:pt x="2022957" y="25273"/>
                </a:lnTo>
                <a:lnTo>
                  <a:pt x="2018131" y="23240"/>
                </a:lnTo>
                <a:close/>
              </a:path>
              <a:path w="3477260" h="3469640">
                <a:moveTo>
                  <a:pt x="2028799" y="24764"/>
                </a:moveTo>
                <a:lnTo>
                  <a:pt x="2022957" y="25273"/>
                </a:lnTo>
                <a:lnTo>
                  <a:pt x="2028686" y="25273"/>
                </a:lnTo>
                <a:lnTo>
                  <a:pt x="2028799" y="24764"/>
                </a:lnTo>
                <a:close/>
              </a:path>
              <a:path w="3477260" h="3469640">
                <a:moveTo>
                  <a:pt x="2661132" y="265557"/>
                </a:moveTo>
                <a:lnTo>
                  <a:pt x="2653004" y="279019"/>
                </a:lnTo>
                <a:lnTo>
                  <a:pt x="2656941" y="283337"/>
                </a:lnTo>
                <a:lnTo>
                  <a:pt x="2661640" y="285241"/>
                </a:lnTo>
                <a:lnTo>
                  <a:pt x="2665577" y="289560"/>
                </a:lnTo>
                <a:lnTo>
                  <a:pt x="2673705" y="276098"/>
                </a:lnTo>
                <a:lnTo>
                  <a:pt x="2669895" y="271779"/>
                </a:lnTo>
                <a:lnTo>
                  <a:pt x="2665069" y="269875"/>
                </a:lnTo>
                <a:lnTo>
                  <a:pt x="2661132" y="265557"/>
                </a:lnTo>
                <a:close/>
              </a:path>
              <a:path w="3477260" h="3469640">
                <a:moveTo>
                  <a:pt x="2087911" y="49657"/>
                </a:moveTo>
                <a:lnTo>
                  <a:pt x="2077440" y="49657"/>
                </a:lnTo>
                <a:lnTo>
                  <a:pt x="2087092" y="53466"/>
                </a:lnTo>
                <a:lnTo>
                  <a:pt x="2087911" y="49657"/>
                </a:lnTo>
                <a:close/>
              </a:path>
              <a:path w="3477260" h="3469640">
                <a:moveTo>
                  <a:pt x="2080742" y="34289"/>
                </a:moveTo>
                <a:lnTo>
                  <a:pt x="2075027" y="34798"/>
                </a:lnTo>
                <a:lnTo>
                  <a:pt x="2071598" y="50164"/>
                </a:lnTo>
                <a:lnTo>
                  <a:pt x="2077440" y="49657"/>
                </a:lnTo>
                <a:lnTo>
                  <a:pt x="2087911" y="49657"/>
                </a:lnTo>
                <a:lnTo>
                  <a:pt x="2090394" y="38100"/>
                </a:lnTo>
                <a:lnTo>
                  <a:pt x="2080742" y="34289"/>
                </a:lnTo>
                <a:close/>
              </a:path>
              <a:path w="3477260" h="3469640">
                <a:moveTo>
                  <a:pt x="2606268" y="235330"/>
                </a:moveTo>
                <a:lnTo>
                  <a:pt x="2598140" y="248792"/>
                </a:lnTo>
                <a:lnTo>
                  <a:pt x="2607792" y="252602"/>
                </a:lnTo>
                <a:lnTo>
                  <a:pt x="2612491" y="254508"/>
                </a:lnTo>
                <a:lnTo>
                  <a:pt x="2620746" y="241046"/>
                </a:lnTo>
                <a:lnTo>
                  <a:pt x="2606268" y="235330"/>
                </a:lnTo>
                <a:close/>
              </a:path>
              <a:path w="3477260" h="3469640">
                <a:moveTo>
                  <a:pt x="2149537" y="63119"/>
                </a:moveTo>
                <a:lnTo>
                  <a:pt x="2139035" y="63119"/>
                </a:lnTo>
                <a:lnTo>
                  <a:pt x="2148687" y="66928"/>
                </a:lnTo>
                <a:lnTo>
                  <a:pt x="2149537" y="63119"/>
                </a:lnTo>
                <a:close/>
              </a:path>
              <a:path w="3477260" h="3469640">
                <a:moveTo>
                  <a:pt x="2142464" y="47625"/>
                </a:moveTo>
                <a:lnTo>
                  <a:pt x="2136622" y="48133"/>
                </a:lnTo>
                <a:lnTo>
                  <a:pt x="2133320" y="63626"/>
                </a:lnTo>
                <a:lnTo>
                  <a:pt x="2139035" y="63119"/>
                </a:lnTo>
                <a:lnTo>
                  <a:pt x="2149537" y="63119"/>
                </a:lnTo>
                <a:lnTo>
                  <a:pt x="2152116" y="51562"/>
                </a:lnTo>
                <a:lnTo>
                  <a:pt x="2147290" y="49657"/>
                </a:lnTo>
                <a:lnTo>
                  <a:pt x="2142464" y="47625"/>
                </a:lnTo>
                <a:close/>
              </a:path>
              <a:path w="3477260" h="3469640">
                <a:moveTo>
                  <a:pt x="2552293" y="202564"/>
                </a:moveTo>
                <a:lnTo>
                  <a:pt x="2543149" y="218566"/>
                </a:lnTo>
                <a:lnTo>
                  <a:pt x="2557627" y="224282"/>
                </a:lnTo>
                <a:lnTo>
                  <a:pt x="2565755" y="210820"/>
                </a:lnTo>
                <a:lnTo>
                  <a:pt x="2560929" y="208914"/>
                </a:lnTo>
                <a:lnTo>
                  <a:pt x="2556103" y="206883"/>
                </a:lnTo>
                <a:lnTo>
                  <a:pt x="2552293" y="202564"/>
                </a:lnTo>
                <a:close/>
              </a:path>
              <a:path w="3477260" h="3469640">
                <a:moveTo>
                  <a:pt x="2210910" y="78866"/>
                </a:moveTo>
                <a:lnTo>
                  <a:pt x="2199741" y="78866"/>
                </a:lnTo>
                <a:lnTo>
                  <a:pt x="2209393" y="82676"/>
                </a:lnTo>
                <a:lnTo>
                  <a:pt x="2210910" y="78866"/>
                </a:lnTo>
                <a:close/>
              </a:path>
              <a:path w="3477260" h="3469640">
                <a:moveTo>
                  <a:pt x="2197328" y="64008"/>
                </a:moveTo>
                <a:lnTo>
                  <a:pt x="2194026" y="79375"/>
                </a:lnTo>
                <a:lnTo>
                  <a:pt x="2199741" y="78866"/>
                </a:lnTo>
                <a:lnTo>
                  <a:pt x="2210910" y="78866"/>
                </a:lnTo>
                <a:lnTo>
                  <a:pt x="2215108" y="68325"/>
                </a:lnTo>
                <a:lnTo>
                  <a:pt x="2210282" y="66421"/>
                </a:lnTo>
                <a:lnTo>
                  <a:pt x="2205456" y="64388"/>
                </a:lnTo>
                <a:lnTo>
                  <a:pt x="2197328" y="64008"/>
                </a:lnTo>
                <a:close/>
              </a:path>
              <a:path w="3477260" h="3469640">
                <a:moveTo>
                  <a:pt x="2496413" y="174751"/>
                </a:moveTo>
                <a:lnTo>
                  <a:pt x="2488285" y="188213"/>
                </a:lnTo>
                <a:lnTo>
                  <a:pt x="2492095" y="192532"/>
                </a:lnTo>
                <a:lnTo>
                  <a:pt x="2496921" y="194563"/>
                </a:lnTo>
                <a:lnTo>
                  <a:pt x="2501747" y="196469"/>
                </a:lnTo>
                <a:lnTo>
                  <a:pt x="2509875" y="182879"/>
                </a:lnTo>
                <a:lnTo>
                  <a:pt x="2505049" y="180975"/>
                </a:lnTo>
                <a:lnTo>
                  <a:pt x="2501239" y="176657"/>
                </a:lnTo>
                <a:lnTo>
                  <a:pt x="2496413" y="174751"/>
                </a:lnTo>
                <a:close/>
              </a:path>
              <a:path w="3477260" h="3469640">
                <a:moveTo>
                  <a:pt x="2260447" y="80772"/>
                </a:moveTo>
                <a:lnTo>
                  <a:pt x="2254605" y="95123"/>
                </a:lnTo>
                <a:lnTo>
                  <a:pt x="2259431" y="97154"/>
                </a:lnTo>
                <a:lnTo>
                  <a:pt x="2269083" y="100964"/>
                </a:lnTo>
                <a:lnTo>
                  <a:pt x="2274925" y="86487"/>
                </a:lnTo>
                <a:lnTo>
                  <a:pt x="2260447" y="80772"/>
                </a:lnTo>
                <a:close/>
              </a:path>
              <a:path w="3477260" h="3469640">
                <a:moveTo>
                  <a:pt x="2437231" y="148336"/>
                </a:moveTo>
                <a:lnTo>
                  <a:pt x="2431389" y="162813"/>
                </a:lnTo>
                <a:lnTo>
                  <a:pt x="2445867" y="168528"/>
                </a:lnTo>
                <a:lnTo>
                  <a:pt x="2451582" y="154177"/>
                </a:lnTo>
                <a:lnTo>
                  <a:pt x="2446756" y="152273"/>
                </a:lnTo>
                <a:lnTo>
                  <a:pt x="2442057" y="150240"/>
                </a:lnTo>
                <a:lnTo>
                  <a:pt x="2437231" y="148336"/>
                </a:lnTo>
                <a:close/>
              </a:path>
              <a:path w="3477260" h="3469640">
                <a:moveTo>
                  <a:pt x="2319121" y="101346"/>
                </a:moveTo>
                <a:lnTo>
                  <a:pt x="2315819" y="116712"/>
                </a:lnTo>
                <a:lnTo>
                  <a:pt x="2320645" y="118745"/>
                </a:lnTo>
                <a:lnTo>
                  <a:pt x="2330297" y="122554"/>
                </a:lnTo>
                <a:lnTo>
                  <a:pt x="2333599" y="107061"/>
                </a:lnTo>
                <a:lnTo>
                  <a:pt x="2319121" y="101346"/>
                </a:lnTo>
                <a:close/>
              </a:path>
              <a:path w="3477260" h="3469640">
                <a:moveTo>
                  <a:pt x="2379319" y="125349"/>
                </a:moveTo>
                <a:lnTo>
                  <a:pt x="2373604" y="139826"/>
                </a:lnTo>
                <a:lnTo>
                  <a:pt x="2376017" y="140715"/>
                </a:lnTo>
                <a:lnTo>
                  <a:pt x="2378430" y="141732"/>
                </a:lnTo>
                <a:lnTo>
                  <a:pt x="2388082" y="145541"/>
                </a:lnTo>
                <a:lnTo>
                  <a:pt x="2393797" y="131063"/>
                </a:lnTo>
                <a:lnTo>
                  <a:pt x="2384145" y="127253"/>
                </a:lnTo>
                <a:lnTo>
                  <a:pt x="2381732" y="126364"/>
                </a:lnTo>
                <a:lnTo>
                  <a:pt x="2379319" y="125349"/>
                </a:lnTo>
                <a:close/>
              </a:path>
            </a:pathLst>
          </a:custGeom>
          <a:solidFill>
            <a:srgbClr val="FFFFFF"/>
          </a:solidFill>
        </p:spPr>
        <p:txBody>
          <a:bodyPr wrap="square" lIns="0" tIns="0" rIns="0" bIns="0" rtlCol="0"/>
          <a:lstStyle/>
          <a:p>
            <a:endParaRPr/>
          </a:p>
        </p:txBody>
      </p:sp>
      <p:sp>
        <p:nvSpPr>
          <p:cNvPr id="57" name="object 57"/>
          <p:cNvSpPr/>
          <p:nvPr/>
        </p:nvSpPr>
        <p:spPr>
          <a:xfrm>
            <a:off x="0" y="0"/>
            <a:ext cx="4072064" cy="6706717"/>
          </a:xfrm>
          <a:prstGeom prst="rect">
            <a:avLst/>
          </a:prstGeom>
          <a:blipFill>
            <a:blip r:embed="rId4" cstate="print"/>
            <a:stretch>
              <a:fillRect/>
            </a:stretch>
          </a:blipFill>
        </p:spPr>
        <p:txBody>
          <a:bodyPr wrap="square" lIns="0" tIns="0" rIns="0" bIns="0" rtlCol="0"/>
          <a:lstStyle/>
          <a:p>
            <a:endParaRPr/>
          </a:p>
        </p:txBody>
      </p:sp>
      <p:sp>
        <p:nvSpPr>
          <p:cNvPr id="58" name="object 58"/>
          <p:cNvSpPr txBox="1"/>
          <p:nvPr/>
        </p:nvSpPr>
        <p:spPr>
          <a:xfrm>
            <a:off x="4056379" y="880618"/>
            <a:ext cx="7488555" cy="5584221"/>
          </a:xfrm>
          <a:prstGeom prst="rect">
            <a:avLst/>
          </a:prstGeom>
        </p:spPr>
        <p:txBody>
          <a:bodyPr vert="horz" wrap="square" lIns="0" tIns="13335" rIns="0" bIns="0" rtlCol="0">
            <a:spAutoFit/>
          </a:bodyPr>
          <a:lstStyle/>
          <a:p>
            <a:pPr marL="12700" marR="5080" algn="just">
              <a:lnSpc>
                <a:spcPct val="100000"/>
              </a:lnSpc>
              <a:spcBef>
                <a:spcPts val="105"/>
              </a:spcBef>
            </a:pPr>
            <a:r>
              <a:rPr sz="1100" b="1" spc="-5">
                <a:solidFill>
                  <a:srgbClr val="12ABDB"/>
                </a:solidFill>
                <a:latin typeface="Verdana"/>
                <a:cs typeface="Verdana"/>
              </a:rPr>
              <a:t>Capgemini </a:t>
            </a:r>
            <a:r>
              <a:rPr sz="1100" spc="-10">
                <a:latin typeface="Verdana"/>
                <a:cs typeface="Verdana"/>
              </a:rPr>
              <a:t>is </a:t>
            </a:r>
            <a:r>
              <a:rPr sz="1100">
                <a:latin typeface="Verdana"/>
                <a:cs typeface="Verdana"/>
              </a:rPr>
              <a:t>pleased </a:t>
            </a:r>
            <a:r>
              <a:rPr sz="1100" spc="-5">
                <a:latin typeface="Verdana"/>
                <a:cs typeface="Verdana"/>
              </a:rPr>
              <a:t>to </a:t>
            </a:r>
            <a:r>
              <a:rPr sz="1100">
                <a:latin typeface="Verdana"/>
                <a:cs typeface="Verdana"/>
              </a:rPr>
              <a:t>present </a:t>
            </a:r>
            <a:r>
              <a:rPr sz="1100" spc="-5">
                <a:latin typeface="Verdana"/>
                <a:cs typeface="Verdana"/>
              </a:rPr>
              <a:t>to </a:t>
            </a:r>
            <a:r>
              <a:rPr sz="1100" b="1" spc="-5">
                <a:solidFill>
                  <a:srgbClr val="C5003D"/>
                </a:solidFill>
                <a:latin typeface="Verdana"/>
                <a:cs typeface="Verdana"/>
              </a:rPr>
              <a:t>Marelli </a:t>
            </a:r>
            <a:r>
              <a:rPr sz="1100" spc="-5">
                <a:latin typeface="Verdana"/>
                <a:cs typeface="Verdana"/>
              </a:rPr>
              <a:t>its </a:t>
            </a:r>
            <a:r>
              <a:rPr sz="1100" b="1">
                <a:solidFill>
                  <a:srgbClr val="12ABDB"/>
                </a:solidFill>
                <a:latin typeface="Verdana"/>
                <a:cs typeface="Verdana"/>
              </a:rPr>
              <a:t>Technical </a:t>
            </a:r>
            <a:r>
              <a:rPr sz="1100" b="1" spc="-5">
                <a:solidFill>
                  <a:srgbClr val="12ABDB"/>
                </a:solidFill>
                <a:latin typeface="Verdana"/>
                <a:cs typeface="Verdana"/>
              </a:rPr>
              <a:t>Proposal </a:t>
            </a:r>
            <a:r>
              <a:rPr sz="1100">
                <a:latin typeface="Verdana"/>
                <a:cs typeface="Verdana"/>
              </a:rPr>
              <a:t>for the </a:t>
            </a:r>
            <a:r>
              <a:rPr sz="1100" b="1" spc="-5">
                <a:solidFill>
                  <a:srgbClr val="C5003D"/>
                </a:solidFill>
                <a:latin typeface="Verdana"/>
                <a:cs typeface="Verdana"/>
              </a:rPr>
              <a:t>Salesforce Rollout  Project. </a:t>
            </a:r>
            <a:r>
              <a:rPr sz="1100">
                <a:latin typeface="Verdana"/>
                <a:cs typeface="Verdana"/>
              </a:rPr>
              <a:t>In </a:t>
            </a:r>
            <a:r>
              <a:rPr sz="1100" spc="-5">
                <a:latin typeface="Verdana"/>
                <a:cs typeface="Verdana"/>
              </a:rPr>
              <a:t>the past weeks </a:t>
            </a:r>
            <a:r>
              <a:rPr sz="1100" b="1" spc="-5">
                <a:solidFill>
                  <a:srgbClr val="12ABDB"/>
                </a:solidFill>
                <a:latin typeface="Verdana"/>
                <a:cs typeface="Verdana"/>
              </a:rPr>
              <a:t>We </a:t>
            </a:r>
            <a:r>
              <a:rPr sz="1100" spc="-5">
                <a:latin typeface="Verdana"/>
                <a:cs typeface="Verdana"/>
              </a:rPr>
              <a:t>have collaborated </a:t>
            </a:r>
            <a:r>
              <a:rPr sz="1100" b="1">
                <a:solidFill>
                  <a:srgbClr val="C5003D"/>
                </a:solidFill>
                <a:latin typeface="Verdana"/>
                <a:cs typeface="Verdana"/>
              </a:rPr>
              <a:t>with </a:t>
            </a:r>
            <a:r>
              <a:rPr sz="1100" b="1" spc="-10">
                <a:solidFill>
                  <a:srgbClr val="C5003D"/>
                </a:solidFill>
                <a:latin typeface="Verdana"/>
                <a:cs typeface="Verdana"/>
              </a:rPr>
              <a:t>you </a:t>
            </a:r>
            <a:r>
              <a:rPr sz="1100" spc="-10">
                <a:latin typeface="Verdana"/>
                <a:cs typeface="Verdana"/>
              </a:rPr>
              <a:t>in </a:t>
            </a:r>
            <a:r>
              <a:rPr sz="1100">
                <a:latin typeface="Verdana"/>
                <a:cs typeface="Verdana"/>
              </a:rPr>
              <a:t>order </a:t>
            </a:r>
            <a:r>
              <a:rPr sz="1100" spc="-5">
                <a:latin typeface="Verdana"/>
                <a:cs typeface="Verdana"/>
              </a:rPr>
              <a:t>to gain the </a:t>
            </a:r>
            <a:r>
              <a:rPr sz="1100">
                <a:latin typeface="Verdana"/>
                <a:cs typeface="Verdana"/>
              </a:rPr>
              <a:t>best </a:t>
            </a:r>
            <a:r>
              <a:rPr sz="1100" spc="-5">
                <a:latin typeface="Verdana"/>
                <a:cs typeface="Verdana"/>
              </a:rPr>
              <a:t>possible  </a:t>
            </a:r>
            <a:r>
              <a:rPr sz="1100">
                <a:latin typeface="Verdana"/>
                <a:cs typeface="Verdana"/>
              </a:rPr>
              <a:t>understanding of the </a:t>
            </a:r>
            <a:r>
              <a:rPr sz="1100" b="1" spc="-5">
                <a:solidFill>
                  <a:srgbClr val="C5003D"/>
                </a:solidFill>
                <a:latin typeface="Verdana"/>
                <a:cs typeface="Verdana"/>
              </a:rPr>
              <a:t>Business Requirements</a:t>
            </a:r>
            <a:r>
              <a:rPr sz="1100" spc="-5">
                <a:latin typeface="Verdana"/>
                <a:cs typeface="Verdana"/>
              </a:rPr>
              <a:t>. The next slides </a:t>
            </a:r>
            <a:r>
              <a:rPr sz="1100">
                <a:latin typeface="Verdana"/>
                <a:cs typeface="Verdana"/>
              </a:rPr>
              <a:t>represent </a:t>
            </a:r>
            <a:r>
              <a:rPr sz="1100" spc="-5">
                <a:latin typeface="Verdana"/>
                <a:cs typeface="Verdana"/>
              </a:rPr>
              <a:t>the key </a:t>
            </a:r>
            <a:r>
              <a:rPr sz="1100">
                <a:latin typeface="Verdana"/>
                <a:cs typeface="Verdana"/>
              </a:rPr>
              <a:t>aspects of our  </a:t>
            </a:r>
            <a:r>
              <a:rPr sz="1100" b="1" spc="-5">
                <a:solidFill>
                  <a:srgbClr val="12ABDB"/>
                </a:solidFill>
                <a:latin typeface="Verdana"/>
                <a:cs typeface="Verdana"/>
              </a:rPr>
              <a:t>Technical Proposal, </a:t>
            </a:r>
            <a:r>
              <a:rPr sz="1100">
                <a:latin typeface="Verdana"/>
                <a:cs typeface="Verdana"/>
              </a:rPr>
              <a:t>that </a:t>
            </a:r>
            <a:r>
              <a:rPr sz="1100" spc="-5">
                <a:latin typeface="Verdana"/>
                <a:cs typeface="Verdana"/>
              </a:rPr>
              <a:t>have been designed </a:t>
            </a:r>
            <a:r>
              <a:rPr sz="1100" b="1">
                <a:solidFill>
                  <a:srgbClr val="12ABDB"/>
                </a:solidFill>
                <a:latin typeface="Verdana"/>
                <a:cs typeface="Verdana"/>
              </a:rPr>
              <a:t>by Our </a:t>
            </a:r>
            <a:r>
              <a:rPr sz="1100" b="1" spc="-5">
                <a:solidFill>
                  <a:srgbClr val="12ABDB"/>
                </a:solidFill>
                <a:latin typeface="Verdana"/>
                <a:cs typeface="Verdana"/>
              </a:rPr>
              <a:t>highest-level Technical and Functional  Professionals</a:t>
            </a:r>
            <a:r>
              <a:rPr sz="1100" spc="-5">
                <a:latin typeface="Verdana"/>
                <a:cs typeface="Verdana"/>
              </a:rPr>
              <a:t>, </a:t>
            </a:r>
            <a:r>
              <a:rPr sz="1100">
                <a:latin typeface="Verdana"/>
                <a:cs typeface="Verdana"/>
              </a:rPr>
              <a:t>based on </a:t>
            </a:r>
            <a:r>
              <a:rPr sz="1100" spc="-5">
                <a:latin typeface="Verdana"/>
                <a:cs typeface="Verdana"/>
              </a:rPr>
              <a:t>past </a:t>
            </a:r>
            <a:r>
              <a:rPr sz="1100">
                <a:latin typeface="Verdana"/>
                <a:cs typeface="Verdana"/>
              </a:rPr>
              <a:t>experiences, </a:t>
            </a:r>
            <a:r>
              <a:rPr sz="1100" spc="-5">
                <a:latin typeface="Verdana"/>
                <a:cs typeface="Verdana"/>
              </a:rPr>
              <a:t>proven practices that have </a:t>
            </a:r>
            <a:r>
              <a:rPr sz="1100">
                <a:latin typeface="Verdana"/>
                <a:cs typeface="Verdana"/>
              </a:rPr>
              <a:t>been </a:t>
            </a:r>
            <a:r>
              <a:rPr sz="1100" spc="-10">
                <a:latin typeface="Verdana"/>
                <a:cs typeface="Verdana"/>
              </a:rPr>
              <a:t>fit </a:t>
            </a:r>
            <a:r>
              <a:rPr sz="1100" spc="-5">
                <a:latin typeface="Verdana"/>
                <a:cs typeface="Verdana"/>
              </a:rPr>
              <a:t>to </a:t>
            </a:r>
            <a:r>
              <a:rPr sz="1100" b="1">
                <a:solidFill>
                  <a:srgbClr val="C5003D"/>
                </a:solidFill>
                <a:latin typeface="Verdana"/>
                <a:cs typeface="Verdana"/>
              </a:rPr>
              <a:t>Your</a:t>
            </a:r>
            <a:r>
              <a:rPr sz="1100" b="1" spc="100">
                <a:solidFill>
                  <a:srgbClr val="C5003D"/>
                </a:solidFill>
                <a:latin typeface="Verdana"/>
                <a:cs typeface="Verdana"/>
              </a:rPr>
              <a:t> </a:t>
            </a:r>
            <a:r>
              <a:rPr sz="1100" b="1" spc="-5">
                <a:solidFill>
                  <a:srgbClr val="C5003D"/>
                </a:solidFill>
                <a:latin typeface="Verdana"/>
                <a:cs typeface="Verdana"/>
              </a:rPr>
              <a:t>Requirements</a:t>
            </a:r>
            <a:r>
              <a:rPr sz="1100" spc="-5">
                <a:solidFill>
                  <a:srgbClr val="C5003D"/>
                </a:solidFill>
                <a:latin typeface="Verdana"/>
                <a:cs typeface="Verdana"/>
              </a:rPr>
              <a:t>.</a:t>
            </a:r>
            <a:endParaRPr sz="1100">
              <a:latin typeface="Verdana"/>
              <a:cs typeface="Verdana"/>
            </a:endParaRPr>
          </a:p>
          <a:p>
            <a:pPr>
              <a:lnSpc>
                <a:spcPct val="100000"/>
              </a:lnSpc>
            </a:pPr>
            <a:endParaRPr sz="1300">
              <a:latin typeface="Times New Roman"/>
              <a:cs typeface="Times New Roman"/>
            </a:endParaRPr>
          </a:p>
          <a:p>
            <a:pPr marL="12700" algn="just">
              <a:lnSpc>
                <a:spcPct val="100000"/>
              </a:lnSpc>
              <a:spcBef>
                <a:spcPts val="1025"/>
              </a:spcBef>
            </a:pPr>
            <a:r>
              <a:rPr sz="1100">
                <a:latin typeface="Verdana"/>
                <a:cs typeface="Verdana"/>
              </a:rPr>
              <a:t>At a </a:t>
            </a:r>
            <a:r>
              <a:rPr sz="1100" spc="-5">
                <a:latin typeface="Verdana"/>
                <a:cs typeface="Verdana"/>
              </a:rPr>
              <a:t>high level, the topics </a:t>
            </a:r>
            <a:r>
              <a:rPr sz="1100">
                <a:latin typeface="Verdana"/>
                <a:cs typeface="Verdana"/>
              </a:rPr>
              <a:t>covered</a:t>
            </a:r>
            <a:r>
              <a:rPr sz="1100" spc="10">
                <a:latin typeface="Verdana"/>
                <a:cs typeface="Verdana"/>
              </a:rPr>
              <a:t> </a:t>
            </a:r>
            <a:r>
              <a:rPr sz="1100" spc="-5">
                <a:latin typeface="Verdana"/>
                <a:cs typeface="Verdana"/>
              </a:rPr>
              <a:t>are:</a:t>
            </a:r>
            <a:endParaRPr sz="1100">
              <a:latin typeface="Verdana"/>
              <a:cs typeface="Verdana"/>
            </a:endParaRPr>
          </a:p>
          <a:p>
            <a:pPr marL="186055" marR="5715" indent="-173990" algn="just">
              <a:lnSpc>
                <a:spcPct val="100000"/>
              </a:lnSpc>
              <a:spcBef>
                <a:spcPts val="600"/>
              </a:spcBef>
              <a:buClr>
                <a:srgbClr val="006FAC"/>
              </a:buClr>
              <a:buFont typeface="Wingdings"/>
              <a:buChar char=""/>
              <a:tabLst>
                <a:tab pos="186690" algn="l"/>
              </a:tabLst>
            </a:pPr>
            <a:r>
              <a:rPr sz="1100" b="1" spc="-5">
                <a:solidFill>
                  <a:srgbClr val="12ABDB"/>
                </a:solidFill>
                <a:latin typeface="Verdana"/>
                <a:cs typeface="Verdana"/>
              </a:rPr>
              <a:t>Requirements understanding</a:t>
            </a:r>
            <a:r>
              <a:rPr sz="1100" b="1" spc="-5">
                <a:latin typeface="Verdana"/>
                <a:cs typeface="Verdana"/>
              </a:rPr>
              <a:t>: </a:t>
            </a:r>
            <a:r>
              <a:rPr sz="1100">
                <a:latin typeface="Verdana"/>
                <a:cs typeface="Verdana"/>
              </a:rPr>
              <a:t>We </a:t>
            </a:r>
            <a:r>
              <a:rPr sz="1100" spc="-5">
                <a:latin typeface="Verdana"/>
                <a:cs typeface="Verdana"/>
              </a:rPr>
              <a:t>have </a:t>
            </a:r>
            <a:r>
              <a:rPr sz="1100">
                <a:latin typeface="Verdana"/>
                <a:cs typeface="Verdana"/>
              </a:rPr>
              <a:t>reported here our current understanding of </a:t>
            </a:r>
            <a:r>
              <a:rPr sz="1100" spc="-5">
                <a:latin typeface="Verdana"/>
                <a:cs typeface="Verdana"/>
              </a:rPr>
              <a:t>the Salesforce  Rollout </a:t>
            </a:r>
            <a:r>
              <a:rPr sz="1100">
                <a:latin typeface="Verdana"/>
                <a:cs typeface="Verdana"/>
              </a:rPr>
              <a:t>Project, how </a:t>
            </a:r>
            <a:r>
              <a:rPr sz="1100" spc="-5">
                <a:latin typeface="Verdana"/>
                <a:cs typeface="Verdana"/>
              </a:rPr>
              <a:t>it </a:t>
            </a:r>
            <a:r>
              <a:rPr sz="1100">
                <a:latin typeface="Verdana"/>
                <a:cs typeface="Verdana"/>
              </a:rPr>
              <a:t>fits </a:t>
            </a:r>
            <a:r>
              <a:rPr sz="1100" spc="-10">
                <a:latin typeface="Verdana"/>
                <a:cs typeface="Verdana"/>
              </a:rPr>
              <a:t>in </a:t>
            </a:r>
            <a:r>
              <a:rPr sz="1100" spc="-5">
                <a:latin typeface="Verdana"/>
                <a:cs typeface="Verdana"/>
              </a:rPr>
              <a:t>the overall </a:t>
            </a:r>
            <a:r>
              <a:rPr sz="1100" b="1" spc="-5">
                <a:solidFill>
                  <a:srgbClr val="C5003D"/>
                </a:solidFill>
                <a:latin typeface="Verdana"/>
                <a:cs typeface="Verdana"/>
              </a:rPr>
              <a:t>Marelli Business </a:t>
            </a:r>
            <a:r>
              <a:rPr sz="1100" b="1">
                <a:solidFill>
                  <a:srgbClr val="C5003D"/>
                </a:solidFill>
                <a:latin typeface="Verdana"/>
                <a:cs typeface="Verdana"/>
              </a:rPr>
              <a:t>Strategy, </a:t>
            </a:r>
            <a:r>
              <a:rPr sz="1100" spc="-5">
                <a:latin typeface="Verdana"/>
                <a:cs typeface="Verdana"/>
              </a:rPr>
              <a:t>its </a:t>
            </a:r>
            <a:r>
              <a:rPr sz="1100">
                <a:latin typeface="Verdana"/>
                <a:cs typeface="Verdana"/>
              </a:rPr>
              <a:t>short-term and </a:t>
            </a:r>
            <a:r>
              <a:rPr sz="1100" spc="-5">
                <a:latin typeface="Verdana"/>
                <a:cs typeface="Verdana"/>
              </a:rPr>
              <a:t>long-term  goals, as well as </a:t>
            </a:r>
            <a:r>
              <a:rPr sz="1100">
                <a:latin typeface="Verdana"/>
                <a:cs typeface="Verdana"/>
              </a:rPr>
              <a:t>how </a:t>
            </a:r>
            <a:r>
              <a:rPr sz="1100" spc="-5">
                <a:latin typeface="Verdana"/>
                <a:cs typeface="Verdana"/>
              </a:rPr>
              <a:t>Capgemini </a:t>
            </a:r>
            <a:r>
              <a:rPr sz="1100" spc="-10">
                <a:latin typeface="Verdana"/>
                <a:cs typeface="Verdana"/>
              </a:rPr>
              <a:t>is </a:t>
            </a:r>
            <a:r>
              <a:rPr sz="1100">
                <a:latin typeface="Verdana"/>
                <a:cs typeface="Verdana"/>
              </a:rPr>
              <a:t>setup </a:t>
            </a:r>
            <a:r>
              <a:rPr sz="1100" spc="-5">
                <a:latin typeface="Verdana"/>
                <a:cs typeface="Verdana"/>
              </a:rPr>
              <a:t>to address </a:t>
            </a:r>
            <a:r>
              <a:rPr sz="1100">
                <a:latin typeface="Verdana"/>
                <a:cs typeface="Verdana"/>
              </a:rPr>
              <a:t>those</a:t>
            </a:r>
            <a:r>
              <a:rPr sz="1100" spc="60">
                <a:latin typeface="Verdana"/>
                <a:cs typeface="Verdana"/>
              </a:rPr>
              <a:t> </a:t>
            </a:r>
            <a:r>
              <a:rPr sz="1100" spc="-5">
                <a:latin typeface="Verdana"/>
                <a:cs typeface="Verdana"/>
              </a:rPr>
              <a:t>goals.</a:t>
            </a:r>
            <a:endParaRPr sz="1100">
              <a:latin typeface="Verdana"/>
              <a:cs typeface="Verdana"/>
            </a:endParaRPr>
          </a:p>
          <a:p>
            <a:pPr>
              <a:lnSpc>
                <a:spcPct val="100000"/>
              </a:lnSpc>
              <a:buClr>
                <a:srgbClr val="006FAC"/>
              </a:buClr>
              <a:buFont typeface="Wingdings"/>
              <a:buChar char=""/>
            </a:pPr>
            <a:endParaRPr sz="1300">
              <a:latin typeface="Times New Roman"/>
              <a:cs typeface="Times New Roman"/>
            </a:endParaRPr>
          </a:p>
          <a:p>
            <a:pPr marL="186055" marR="5715" indent="-173990" algn="just">
              <a:lnSpc>
                <a:spcPct val="100000"/>
              </a:lnSpc>
              <a:spcBef>
                <a:spcPts val="1025"/>
              </a:spcBef>
              <a:buClr>
                <a:srgbClr val="006FAC"/>
              </a:buClr>
              <a:buFont typeface="Wingdings"/>
              <a:buChar char=""/>
              <a:tabLst>
                <a:tab pos="186690" algn="l"/>
              </a:tabLst>
            </a:pPr>
            <a:r>
              <a:rPr sz="1100" b="1" spc="-5">
                <a:solidFill>
                  <a:srgbClr val="12ABDB"/>
                </a:solidFill>
                <a:latin typeface="Verdana"/>
                <a:cs typeface="Verdana"/>
              </a:rPr>
              <a:t>Organization Introduction</a:t>
            </a:r>
            <a:r>
              <a:rPr sz="1100" b="1" spc="-5">
                <a:latin typeface="Verdana"/>
                <a:cs typeface="Verdana"/>
              </a:rPr>
              <a:t>: </a:t>
            </a:r>
            <a:r>
              <a:rPr sz="1100">
                <a:latin typeface="Verdana"/>
                <a:cs typeface="Verdana"/>
              </a:rPr>
              <a:t>In </a:t>
            </a:r>
            <a:r>
              <a:rPr sz="1100" spc="-5">
                <a:latin typeface="Verdana"/>
                <a:cs typeface="Verdana"/>
              </a:rPr>
              <a:t>this section </a:t>
            </a:r>
            <a:r>
              <a:rPr sz="1100">
                <a:latin typeface="Verdana"/>
                <a:cs typeface="Verdana"/>
              </a:rPr>
              <a:t>we present </a:t>
            </a:r>
            <a:r>
              <a:rPr sz="1100" spc="-5">
                <a:latin typeface="Verdana"/>
                <a:cs typeface="Verdana"/>
              </a:rPr>
              <a:t>ourselves, </a:t>
            </a:r>
            <a:r>
              <a:rPr sz="1100">
                <a:latin typeface="Verdana"/>
                <a:cs typeface="Verdana"/>
              </a:rPr>
              <a:t>our core </a:t>
            </a:r>
            <a:r>
              <a:rPr sz="1100" spc="-5">
                <a:latin typeface="Verdana"/>
                <a:cs typeface="Verdana"/>
              </a:rPr>
              <a:t>values </a:t>
            </a:r>
            <a:r>
              <a:rPr sz="1100">
                <a:latin typeface="Verdana"/>
                <a:cs typeface="Verdana"/>
              </a:rPr>
              <a:t>that </a:t>
            </a:r>
            <a:r>
              <a:rPr sz="1100" spc="-5">
                <a:latin typeface="Verdana"/>
                <a:cs typeface="Verdana"/>
              </a:rPr>
              <a:t>make  Capgemini </a:t>
            </a:r>
            <a:r>
              <a:rPr sz="1100">
                <a:latin typeface="Verdana"/>
                <a:cs typeface="Verdana"/>
              </a:rPr>
              <a:t>a </a:t>
            </a:r>
            <a:r>
              <a:rPr sz="1100" spc="-5">
                <a:latin typeface="Verdana"/>
                <a:cs typeface="Verdana"/>
              </a:rPr>
              <a:t>people company, ready to </a:t>
            </a:r>
            <a:r>
              <a:rPr sz="1100" spc="-10">
                <a:latin typeface="Verdana"/>
                <a:cs typeface="Verdana"/>
              </a:rPr>
              <a:t>walk </a:t>
            </a:r>
            <a:r>
              <a:rPr sz="1100">
                <a:latin typeface="Verdana"/>
                <a:cs typeface="Verdana"/>
              </a:rPr>
              <a:t>a </a:t>
            </a:r>
            <a:r>
              <a:rPr sz="1100" spc="-5">
                <a:latin typeface="Verdana"/>
                <a:cs typeface="Verdana"/>
              </a:rPr>
              <a:t>long </a:t>
            </a:r>
            <a:r>
              <a:rPr sz="1100">
                <a:latin typeface="Verdana"/>
                <a:cs typeface="Verdana"/>
              </a:rPr>
              <a:t>path with </a:t>
            </a:r>
            <a:r>
              <a:rPr sz="1100" spc="-5">
                <a:latin typeface="Verdana"/>
                <a:cs typeface="Verdana"/>
              </a:rPr>
              <a:t>its clients. </a:t>
            </a:r>
            <a:endParaRPr lang="it-IT" sz="1100" spc="-5">
              <a:latin typeface="Verdana"/>
              <a:cs typeface="Verdana"/>
            </a:endParaRPr>
          </a:p>
          <a:p>
            <a:pPr marL="186055" marR="5715" indent="-173990" algn="just">
              <a:lnSpc>
                <a:spcPct val="100000"/>
              </a:lnSpc>
              <a:spcBef>
                <a:spcPts val="1025"/>
              </a:spcBef>
              <a:buClr>
                <a:srgbClr val="006FAC"/>
              </a:buClr>
              <a:buFont typeface="Wingdings"/>
              <a:buChar char=""/>
              <a:tabLst>
                <a:tab pos="186690" algn="l"/>
              </a:tabLst>
            </a:pPr>
            <a:endParaRPr sz="1300">
              <a:latin typeface="Times New Roman"/>
              <a:cs typeface="Times New Roman"/>
            </a:endParaRPr>
          </a:p>
          <a:p>
            <a:pPr marL="186055" marR="5715" indent="-173990" algn="just">
              <a:lnSpc>
                <a:spcPct val="100000"/>
              </a:lnSpc>
              <a:spcBef>
                <a:spcPts val="1030"/>
              </a:spcBef>
              <a:buClr>
                <a:srgbClr val="006FAC"/>
              </a:buClr>
              <a:buFont typeface="Wingdings"/>
              <a:buChar char=""/>
              <a:tabLst>
                <a:tab pos="186690" algn="l"/>
              </a:tabLst>
            </a:pPr>
            <a:r>
              <a:rPr sz="1100" b="1" spc="-5">
                <a:solidFill>
                  <a:srgbClr val="12ABDB"/>
                </a:solidFill>
                <a:latin typeface="Verdana"/>
                <a:cs typeface="Verdana"/>
              </a:rPr>
              <a:t>Project Governance, Organization and Methodologies</a:t>
            </a:r>
            <a:r>
              <a:rPr sz="1100" b="1" spc="-5">
                <a:latin typeface="Verdana"/>
                <a:cs typeface="Verdana"/>
              </a:rPr>
              <a:t>: </a:t>
            </a:r>
            <a:r>
              <a:rPr sz="1100">
                <a:latin typeface="Verdana"/>
                <a:cs typeface="Verdana"/>
              </a:rPr>
              <a:t>We </a:t>
            </a:r>
            <a:r>
              <a:rPr sz="1100" spc="-5">
                <a:latin typeface="Verdana"/>
                <a:cs typeface="Verdana"/>
              </a:rPr>
              <a:t>present the </a:t>
            </a:r>
            <a:r>
              <a:rPr sz="1100">
                <a:latin typeface="Verdana"/>
                <a:cs typeface="Verdana"/>
              </a:rPr>
              <a:t>best </a:t>
            </a:r>
            <a:r>
              <a:rPr sz="1100" spc="-5">
                <a:latin typeface="Verdana"/>
                <a:cs typeface="Verdana"/>
              </a:rPr>
              <a:t>people </a:t>
            </a:r>
            <a:r>
              <a:rPr sz="1100" spc="-10">
                <a:latin typeface="Verdana"/>
                <a:cs typeface="Verdana"/>
              </a:rPr>
              <a:t>we </a:t>
            </a:r>
            <a:r>
              <a:rPr sz="1100" spc="-5">
                <a:latin typeface="Verdana"/>
                <a:cs typeface="Verdana"/>
              </a:rPr>
              <a:t>have  identified, their organization, </a:t>
            </a:r>
            <a:r>
              <a:rPr sz="1100">
                <a:latin typeface="Verdana"/>
                <a:cs typeface="Verdana"/>
              </a:rPr>
              <a:t>structure, </a:t>
            </a:r>
            <a:r>
              <a:rPr sz="1100" spc="-5">
                <a:latin typeface="Verdana"/>
                <a:cs typeface="Verdana"/>
              </a:rPr>
              <a:t>tools and methodologies </a:t>
            </a:r>
            <a:r>
              <a:rPr sz="1100">
                <a:latin typeface="Verdana"/>
                <a:cs typeface="Verdana"/>
              </a:rPr>
              <a:t>that can support a </a:t>
            </a:r>
            <a:r>
              <a:rPr sz="1100" spc="-5">
                <a:latin typeface="Verdana"/>
                <a:cs typeface="Verdana"/>
              </a:rPr>
              <a:t>multi-year, multi-  </a:t>
            </a:r>
            <a:r>
              <a:rPr sz="1100">
                <a:latin typeface="Verdana"/>
                <a:cs typeface="Verdana"/>
              </a:rPr>
              <a:t>country </a:t>
            </a:r>
            <a:r>
              <a:rPr sz="1100" spc="-5">
                <a:latin typeface="Verdana"/>
                <a:cs typeface="Verdana"/>
              </a:rPr>
              <a:t>complex program </a:t>
            </a:r>
            <a:r>
              <a:rPr sz="1100">
                <a:latin typeface="Verdana"/>
                <a:cs typeface="Verdana"/>
              </a:rPr>
              <a:t>such </a:t>
            </a:r>
            <a:r>
              <a:rPr sz="1100" spc="-5">
                <a:latin typeface="Verdana"/>
                <a:cs typeface="Verdana"/>
              </a:rPr>
              <a:t>as</a:t>
            </a:r>
            <a:r>
              <a:rPr sz="1100" spc="30">
                <a:latin typeface="Verdana"/>
                <a:cs typeface="Verdana"/>
              </a:rPr>
              <a:t> </a:t>
            </a:r>
            <a:r>
              <a:rPr sz="1100" spc="-5">
                <a:latin typeface="Verdana"/>
                <a:cs typeface="Verdana"/>
              </a:rPr>
              <a:t>yours.</a:t>
            </a:r>
            <a:endParaRPr sz="1100">
              <a:latin typeface="Verdana"/>
              <a:cs typeface="Verdana"/>
            </a:endParaRPr>
          </a:p>
          <a:p>
            <a:pPr>
              <a:lnSpc>
                <a:spcPct val="100000"/>
              </a:lnSpc>
              <a:buClr>
                <a:srgbClr val="006FAC"/>
              </a:buClr>
              <a:buFont typeface="Wingdings"/>
              <a:buChar char=""/>
            </a:pPr>
            <a:endParaRPr sz="1300">
              <a:latin typeface="Times New Roman"/>
              <a:cs typeface="Times New Roman"/>
            </a:endParaRPr>
          </a:p>
          <a:p>
            <a:pPr marL="186055" marR="5715" indent="-173990" algn="just">
              <a:lnSpc>
                <a:spcPct val="100000"/>
              </a:lnSpc>
              <a:spcBef>
                <a:spcPts val="1025"/>
              </a:spcBef>
              <a:buClr>
                <a:srgbClr val="006FAC"/>
              </a:buClr>
              <a:buFont typeface="Wingdings"/>
              <a:buChar char=""/>
              <a:tabLst>
                <a:tab pos="186690" algn="l"/>
              </a:tabLst>
            </a:pPr>
            <a:r>
              <a:rPr sz="1100" b="1" spc="-5">
                <a:solidFill>
                  <a:srgbClr val="12ABDB"/>
                </a:solidFill>
                <a:latin typeface="Verdana"/>
                <a:cs typeface="Verdana"/>
              </a:rPr>
              <a:t>Technical Solution Details</a:t>
            </a:r>
            <a:r>
              <a:rPr sz="1100" b="1" spc="-5">
                <a:latin typeface="Verdana"/>
                <a:cs typeface="Verdana"/>
              </a:rPr>
              <a:t>: </a:t>
            </a:r>
            <a:r>
              <a:rPr sz="1100" spc="-5">
                <a:latin typeface="Verdana"/>
                <a:cs typeface="Verdana"/>
              </a:rPr>
              <a:t>Based </a:t>
            </a:r>
            <a:r>
              <a:rPr sz="1100">
                <a:latin typeface="Verdana"/>
                <a:cs typeface="Verdana"/>
              </a:rPr>
              <a:t>on our </a:t>
            </a:r>
            <a:r>
              <a:rPr sz="1100" spc="-5">
                <a:latin typeface="Verdana"/>
                <a:cs typeface="Verdana"/>
              </a:rPr>
              <a:t>previous </a:t>
            </a:r>
            <a:r>
              <a:rPr sz="1100">
                <a:latin typeface="Verdana"/>
                <a:cs typeface="Verdana"/>
              </a:rPr>
              <a:t>experiences we </a:t>
            </a:r>
            <a:r>
              <a:rPr sz="1100" spc="-5">
                <a:latin typeface="Verdana"/>
                <a:cs typeface="Verdana"/>
              </a:rPr>
              <a:t>have detailed </a:t>
            </a:r>
            <a:r>
              <a:rPr sz="1100">
                <a:latin typeface="Verdana"/>
                <a:cs typeface="Verdana"/>
              </a:rPr>
              <a:t>Our Vision of </a:t>
            </a:r>
            <a:r>
              <a:rPr sz="1100" spc="-5">
                <a:latin typeface="Verdana"/>
                <a:cs typeface="Verdana"/>
              </a:rPr>
              <a:t>the  technical </a:t>
            </a:r>
            <a:r>
              <a:rPr sz="1100">
                <a:latin typeface="Verdana"/>
                <a:cs typeface="Verdana"/>
              </a:rPr>
              <a:t>solution, how </a:t>
            </a:r>
            <a:r>
              <a:rPr sz="1100" spc="-5">
                <a:latin typeface="Verdana"/>
                <a:cs typeface="Verdana"/>
              </a:rPr>
              <a:t>will integrate in </a:t>
            </a:r>
            <a:r>
              <a:rPr sz="1100">
                <a:latin typeface="Verdana"/>
                <a:cs typeface="Verdana"/>
              </a:rPr>
              <a:t>the </a:t>
            </a:r>
            <a:r>
              <a:rPr sz="1100" spc="-5">
                <a:latin typeface="Verdana"/>
                <a:cs typeface="Verdana"/>
              </a:rPr>
              <a:t>current </a:t>
            </a:r>
            <a:r>
              <a:rPr sz="1100" b="1" spc="-5">
                <a:solidFill>
                  <a:srgbClr val="C5003D"/>
                </a:solidFill>
                <a:latin typeface="Verdana"/>
                <a:cs typeface="Verdana"/>
              </a:rPr>
              <a:t>Marelli architecture</a:t>
            </a:r>
            <a:r>
              <a:rPr sz="1100" spc="-5">
                <a:latin typeface="Verdana"/>
                <a:cs typeface="Verdana"/>
              </a:rPr>
              <a:t>, the transitory coexistence  period </a:t>
            </a:r>
            <a:r>
              <a:rPr sz="1100">
                <a:latin typeface="Verdana"/>
                <a:cs typeface="Verdana"/>
              </a:rPr>
              <a:t>for </a:t>
            </a:r>
            <a:r>
              <a:rPr sz="1100" spc="-5">
                <a:latin typeface="Verdana"/>
                <a:cs typeface="Verdana"/>
              </a:rPr>
              <a:t>migration and </a:t>
            </a:r>
            <a:r>
              <a:rPr sz="1100">
                <a:latin typeface="Verdana"/>
                <a:cs typeface="Verdana"/>
              </a:rPr>
              <a:t>how we </a:t>
            </a:r>
            <a:r>
              <a:rPr sz="1100" spc="-5">
                <a:latin typeface="Verdana"/>
                <a:cs typeface="Verdana"/>
              </a:rPr>
              <a:t>plan to </a:t>
            </a:r>
            <a:r>
              <a:rPr sz="1100">
                <a:latin typeface="Verdana"/>
                <a:cs typeface="Verdana"/>
              </a:rPr>
              <a:t>setup </a:t>
            </a:r>
            <a:r>
              <a:rPr sz="1100" spc="-5">
                <a:latin typeface="Verdana"/>
                <a:cs typeface="Verdana"/>
              </a:rPr>
              <a:t>and manage </a:t>
            </a:r>
            <a:r>
              <a:rPr sz="1100" spc="5">
                <a:latin typeface="Verdana"/>
                <a:cs typeface="Verdana"/>
              </a:rPr>
              <a:t>the </a:t>
            </a:r>
            <a:r>
              <a:rPr sz="1100" spc="-5">
                <a:latin typeface="Verdana"/>
                <a:cs typeface="Verdana"/>
              </a:rPr>
              <a:t>environments </a:t>
            </a:r>
            <a:r>
              <a:rPr sz="1100">
                <a:latin typeface="Verdana"/>
                <a:cs typeface="Verdana"/>
              </a:rPr>
              <a:t>and </a:t>
            </a:r>
            <a:r>
              <a:rPr sz="1100" spc="-5">
                <a:latin typeface="Verdana"/>
                <a:cs typeface="Verdana"/>
              </a:rPr>
              <a:t>shared </a:t>
            </a:r>
            <a:r>
              <a:rPr sz="1100">
                <a:latin typeface="Verdana"/>
                <a:cs typeface="Verdana"/>
              </a:rPr>
              <a:t>metadata  between </a:t>
            </a:r>
            <a:r>
              <a:rPr sz="1100" spc="-5">
                <a:latin typeface="Verdana"/>
                <a:cs typeface="Verdana"/>
              </a:rPr>
              <a:t>localized </a:t>
            </a:r>
            <a:r>
              <a:rPr sz="1100" b="1">
                <a:solidFill>
                  <a:srgbClr val="C5003D"/>
                </a:solidFill>
                <a:latin typeface="Verdana"/>
                <a:cs typeface="Verdana"/>
              </a:rPr>
              <a:t>Business</a:t>
            </a:r>
            <a:r>
              <a:rPr sz="1100" b="1" spc="-50">
                <a:solidFill>
                  <a:srgbClr val="C5003D"/>
                </a:solidFill>
                <a:latin typeface="Verdana"/>
                <a:cs typeface="Verdana"/>
              </a:rPr>
              <a:t> </a:t>
            </a:r>
            <a:r>
              <a:rPr sz="1100" b="1">
                <a:solidFill>
                  <a:srgbClr val="C5003D"/>
                </a:solidFill>
                <a:latin typeface="Verdana"/>
                <a:cs typeface="Verdana"/>
              </a:rPr>
              <a:t>Units</a:t>
            </a:r>
            <a:endParaRPr sz="1100">
              <a:latin typeface="Verdana"/>
              <a:cs typeface="Verdana"/>
            </a:endParaRPr>
          </a:p>
          <a:p>
            <a:pPr>
              <a:lnSpc>
                <a:spcPct val="100000"/>
              </a:lnSpc>
              <a:buClr>
                <a:srgbClr val="006FAC"/>
              </a:buClr>
              <a:buFont typeface="Wingdings"/>
              <a:buChar char=""/>
            </a:pPr>
            <a:endParaRPr sz="1300">
              <a:latin typeface="Times New Roman"/>
              <a:cs typeface="Times New Roman"/>
            </a:endParaRPr>
          </a:p>
          <a:p>
            <a:pPr marL="186055" marR="6985" indent="-173990" algn="just">
              <a:lnSpc>
                <a:spcPct val="100000"/>
              </a:lnSpc>
              <a:spcBef>
                <a:spcPts val="1025"/>
              </a:spcBef>
              <a:buClr>
                <a:srgbClr val="006FAC"/>
              </a:buClr>
              <a:buFont typeface="Wingdings"/>
              <a:buChar char=""/>
              <a:tabLst>
                <a:tab pos="186690" algn="l"/>
              </a:tabLst>
            </a:pPr>
            <a:r>
              <a:rPr sz="1100" b="1" spc="-5">
                <a:solidFill>
                  <a:srgbClr val="12ABDB"/>
                </a:solidFill>
                <a:latin typeface="Verdana"/>
                <a:cs typeface="Verdana"/>
              </a:rPr>
              <a:t>Project Strategy Details</a:t>
            </a:r>
            <a:r>
              <a:rPr sz="1100" b="1" spc="-5">
                <a:latin typeface="Verdana"/>
                <a:cs typeface="Verdana"/>
              </a:rPr>
              <a:t>: </a:t>
            </a:r>
            <a:r>
              <a:rPr sz="1100">
                <a:latin typeface="Verdana"/>
                <a:cs typeface="Verdana"/>
              </a:rPr>
              <a:t>From </a:t>
            </a:r>
            <a:r>
              <a:rPr sz="1100" spc="-5">
                <a:latin typeface="Verdana"/>
                <a:cs typeface="Verdana"/>
              </a:rPr>
              <a:t>Analysis and </a:t>
            </a:r>
            <a:r>
              <a:rPr sz="1100">
                <a:latin typeface="Verdana"/>
                <a:cs typeface="Verdana"/>
              </a:rPr>
              <a:t>Design Phase </a:t>
            </a:r>
            <a:r>
              <a:rPr sz="1100" spc="-5">
                <a:latin typeface="Verdana"/>
                <a:cs typeface="Verdana"/>
              </a:rPr>
              <a:t>(Pre-Game), </a:t>
            </a:r>
            <a:r>
              <a:rPr sz="1100">
                <a:latin typeface="Verdana"/>
                <a:cs typeface="Verdana"/>
              </a:rPr>
              <a:t>up </a:t>
            </a:r>
            <a:r>
              <a:rPr sz="1100" spc="-5">
                <a:latin typeface="Verdana"/>
                <a:cs typeface="Verdana"/>
              </a:rPr>
              <a:t>to Rollout </a:t>
            </a:r>
            <a:r>
              <a:rPr sz="1100">
                <a:latin typeface="Verdana"/>
                <a:cs typeface="Verdana"/>
              </a:rPr>
              <a:t>we </a:t>
            </a:r>
            <a:r>
              <a:rPr sz="1100" spc="-5">
                <a:latin typeface="Verdana"/>
                <a:cs typeface="Verdana"/>
              </a:rPr>
              <a:t>have  identified </a:t>
            </a:r>
            <a:r>
              <a:rPr sz="1100">
                <a:latin typeface="Verdana"/>
                <a:cs typeface="Verdana"/>
              </a:rPr>
              <a:t>the best strategy to approach each </a:t>
            </a:r>
            <a:r>
              <a:rPr sz="1100" spc="-5">
                <a:latin typeface="Verdana"/>
                <a:cs typeface="Verdana"/>
              </a:rPr>
              <a:t>phase with </a:t>
            </a:r>
            <a:r>
              <a:rPr sz="1100" spc="-10">
                <a:latin typeface="Verdana"/>
                <a:cs typeface="Verdana"/>
              </a:rPr>
              <a:t>its </a:t>
            </a:r>
            <a:r>
              <a:rPr sz="1100" spc="-5">
                <a:latin typeface="Verdana"/>
                <a:cs typeface="Verdana"/>
              </a:rPr>
              <a:t>deliverables. </a:t>
            </a:r>
            <a:r>
              <a:rPr sz="1100">
                <a:latin typeface="Verdana"/>
                <a:cs typeface="Verdana"/>
              </a:rPr>
              <a:t>The </a:t>
            </a:r>
            <a:r>
              <a:rPr sz="1100" spc="-5">
                <a:latin typeface="Verdana"/>
                <a:cs typeface="Verdana"/>
              </a:rPr>
              <a:t>goal </a:t>
            </a:r>
            <a:r>
              <a:rPr sz="1100" spc="-10">
                <a:latin typeface="Verdana"/>
                <a:cs typeface="Verdana"/>
              </a:rPr>
              <a:t>is </a:t>
            </a:r>
            <a:r>
              <a:rPr sz="1100">
                <a:latin typeface="Verdana"/>
                <a:cs typeface="Verdana"/>
              </a:rPr>
              <a:t>to speedup </a:t>
            </a:r>
            <a:r>
              <a:rPr sz="1100" spc="-5">
                <a:latin typeface="Verdana"/>
                <a:cs typeface="Verdana"/>
              </a:rPr>
              <a:t>the  project as </a:t>
            </a:r>
            <a:r>
              <a:rPr sz="1100">
                <a:latin typeface="Verdana"/>
                <a:cs typeface="Verdana"/>
              </a:rPr>
              <a:t>much </a:t>
            </a:r>
            <a:r>
              <a:rPr sz="1100" spc="-5">
                <a:latin typeface="Verdana"/>
                <a:cs typeface="Verdana"/>
              </a:rPr>
              <a:t>as possible </a:t>
            </a:r>
            <a:r>
              <a:rPr sz="1100">
                <a:latin typeface="Verdana"/>
                <a:cs typeface="Verdana"/>
              </a:rPr>
              <a:t>– </a:t>
            </a:r>
            <a:r>
              <a:rPr sz="1100" spc="-5">
                <a:latin typeface="Verdana"/>
                <a:cs typeface="Verdana"/>
              </a:rPr>
              <a:t>given </a:t>
            </a:r>
            <a:r>
              <a:rPr sz="1100" b="1" spc="-5">
                <a:solidFill>
                  <a:srgbClr val="C5003D"/>
                </a:solidFill>
                <a:latin typeface="Verdana"/>
                <a:cs typeface="Verdana"/>
              </a:rPr>
              <a:t>Marelli’s and technical constraints </a:t>
            </a:r>
            <a:r>
              <a:rPr sz="1100">
                <a:latin typeface="Verdana"/>
                <a:cs typeface="Verdana"/>
              </a:rPr>
              <a:t>– </a:t>
            </a:r>
            <a:r>
              <a:rPr sz="1100" spc="-5">
                <a:latin typeface="Verdana"/>
                <a:cs typeface="Verdana"/>
              </a:rPr>
              <a:t>minimizing </a:t>
            </a:r>
            <a:r>
              <a:rPr sz="1100">
                <a:latin typeface="Verdana"/>
                <a:cs typeface="Verdana"/>
              </a:rPr>
              <a:t>project </a:t>
            </a:r>
            <a:r>
              <a:rPr sz="1100" spc="-5">
                <a:latin typeface="Verdana"/>
                <a:cs typeface="Verdana"/>
              </a:rPr>
              <a:t>risks  and business</a:t>
            </a:r>
            <a:r>
              <a:rPr sz="1100" spc="10">
                <a:latin typeface="Verdana"/>
                <a:cs typeface="Verdana"/>
              </a:rPr>
              <a:t> </a:t>
            </a:r>
            <a:r>
              <a:rPr sz="1100" spc="-5">
                <a:latin typeface="Verdana"/>
                <a:cs typeface="Verdana"/>
              </a:rPr>
              <a:t>distraction.</a:t>
            </a:r>
            <a:endParaRPr sz="1100">
              <a:latin typeface="Verdana"/>
              <a:cs typeface="Verdana"/>
            </a:endParaRPr>
          </a:p>
        </p:txBody>
      </p:sp>
      <p:sp>
        <p:nvSpPr>
          <p:cNvPr id="60" name="object 6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1" name="object 61"/>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4</a:t>
            </a:fld>
            <a:endParaRPr sz="800">
              <a:latin typeface="Verdana"/>
              <a:cs typeface="Verdana"/>
            </a:endParaRPr>
          </a:p>
        </p:txBody>
      </p:sp>
      <p:sp>
        <p:nvSpPr>
          <p:cNvPr id="59" name="object 59"/>
          <p:cNvSpPr txBox="1">
            <a:spLocks noGrp="1"/>
          </p:cNvSpPr>
          <p:nvPr>
            <p:ph type="title"/>
          </p:nvPr>
        </p:nvSpPr>
        <p:spPr>
          <a:xfrm>
            <a:off x="214680" y="318896"/>
            <a:ext cx="2066289" cy="422275"/>
          </a:xfrm>
          <a:prstGeom prst="rect">
            <a:avLst/>
          </a:prstGeom>
        </p:spPr>
        <p:txBody>
          <a:bodyPr vert="horz" wrap="square" lIns="0" tIns="12700" rIns="0" bIns="0" rtlCol="0">
            <a:spAutoFit/>
          </a:bodyPr>
          <a:lstStyle/>
          <a:p>
            <a:pPr marL="12700">
              <a:lnSpc>
                <a:spcPct val="100000"/>
              </a:lnSpc>
              <a:spcBef>
                <a:spcPts val="100"/>
              </a:spcBef>
            </a:pPr>
            <a:r>
              <a:rPr sz="2600"/>
              <a:t>I</a:t>
            </a:r>
            <a:r>
              <a:rPr sz="2600" spc="-10"/>
              <a:t>n</a:t>
            </a:r>
            <a:r>
              <a:rPr sz="2600" spc="-5"/>
              <a:t>t</a:t>
            </a:r>
            <a:r>
              <a:rPr sz="2600" spc="5"/>
              <a:t>r</a:t>
            </a:r>
            <a:r>
              <a:rPr sz="2600"/>
              <a:t>oduct</a:t>
            </a:r>
            <a:r>
              <a:rPr sz="2600" spc="10"/>
              <a:t>i</a:t>
            </a:r>
            <a:r>
              <a:rPr sz="2600"/>
              <a:t>on</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6638645"/>
            <a:ext cx="3124835"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Capgemini’s Response Salesforce </a:t>
            </a:r>
            <a:r>
              <a:rPr sz="800" spc="-5">
                <a:solidFill>
                  <a:srgbClr val="A6A6A6"/>
                </a:solidFill>
                <a:latin typeface="Verdana"/>
                <a:cs typeface="Verdana"/>
              </a:rPr>
              <a:t>Rollout Project </a:t>
            </a:r>
            <a:r>
              <a:rPr sz="800">
                <a:solidFill>
                  <a:srgbClr val="A6A6A6"/>
                </a:solidFill>
                <a:latin typeface="Verdana"/>
                <a:cs typeface="Verdana"/>
              </a:rPr>
              <a:t>| Sep</a:t>
            </a:r>
            <a:r>
              <a:rPr sz="800" spc="-40">
                <a:solidFill>
                  <a:srgbClr val="A6A6A6"/>
                </a:solidFill>
                <a:latin typeface="Verdana"/>
                <a:cs typeface="Verdana"/>
              </a:rPr>
              <a:t> </a:t>
            </a:r>
            <a:r>
              <a:rPr sz="800">
                <a:solidFill>
                  <a:srgbClr val="A6A6A6"/>
                </a:solidFill>
                <a:latin typeface="Verdana"/>
                <a:cs typeface="Verdana"/>
              </a:rPr>
              <a:t>2020</a:t>
            </a:r>
            <a:endParaRPr sz="800">
              <a:latin typeface="Verdana"/>
              <a:cs typeface="Verdana"/>
            </a:endParaRPr>
          </a:p>
        </p:txBody>
      </p:sp>
      <p:sp>
        <p:nvSpPr>
          <p:cNvPr id="3" name="object 3"/>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38</a:t>
            </a:r>
            <a:endParaRPr sz="800">
              <a:latin typeface="Verdana"/>
              <a:cs typeface="Verdana"/>
            </a:endParaRPr>
          </a:p>
        </p:txBody>
      </p:sp>
      <p:sp>
        <p:nvSpPr>
          <p:cNvPr id="4" name="object 4"/>
          <p:cNvSpPr/>
          <p:nvPr/>
        </p:nvSpPr>
        <p:spPr>
          <a:xfrm>
            <a:off x="4046220" y="1708404"/>
            <a:ext cx="4069079" cy="297180"/>
          </a:xfrm>
          <a:custGeom>
            <a:avLst/>
            <a:gdLst/>
            <a:ahLst/>
            <a:cxnLst/>
            <a:rect l="l" t="t" r="r" b="b"/>
            <a:pathLst>
              <a:path w="4069079" h="297180">
                <a:moveTo>
                  <a:pt x="4019550" y="0"/>
                </a:moveTo>
                <a:lnTo>
                  <a:pt x="49529" y="0"/>
                </a:lnTo>
                <a:lnTo>
                  <a:pt x="30271" y="3899"/>
                </a:lnTo>
                <a:lnTo>
                  <a:pt x="14525" y="14525"/>
                </a:lnTo>
                <a:lnTo>
                  <a:pt x="3899" y="30271"/>
                </a:lnTo>
                <a:lnTo>
                  <a:pt x="0" y="49530"/>
                </a:lnTo>
                <a:lnTo>
                  <a:pt x="0" y="247650"/>
                </a:lnTo>
                <a:lnTo>
                  <a:pt x="3899" y="266908"/>
                </a:lnTo>
                <a:lnTo>
                  <a:pt x="14525" y="282654"/>
                </a:lnTo>
                <a:lnTo>
                  <a:pt x="30271" y="293280"/>
                </a:lnTo>
                <a:lnTo>
                  <a:pt x="49529" y="297180"/>
                </a:lnTo>
                <a:lnTo>
                  <a:pt x="4019550" y="297180"/>
                </a:lnTo>
                <a:lnTo>
                  <a:pt x="4038808" y="293280"/>
                </a:lnTo>
                <a:lnTo>
                  <a:pt x="4054554" y="282654"/>
                </a:lnTo>
                <a:lnTo>
                  <a:pt x="4065180" y="266908"/>
                </a:lnTo>
                <a:lnTo>
                  <a:pt x="4069079" y="247650"/>
                </a:lnTo>
                <a:lnTo>
                  <a:pt x="4069079" y="49530"/>
                </a:lnTo>
                <a:lnTo>
                  <a:pt x="4065180" y="30271"/>
                </a:lnTo>
                <a:lnTo>
                  <a:pt x="4054554" y="14525"/>
                </a:lnTo>
                <a:lnTo>
                  <a:pt x="4038808" y="3899"/>
                </a:lnTo>
                <a:lnTo>
                  <a:pt x="4019550" y="0"/>
                </a:lnTo>
                <a:close/>
              </a:path>
            </a:pathLst>
          </a:custGeom>
          <a:solidFill>
            <a:srgbClr val="12ABDB"/>
          </a:solidFill>
        </p:spPr>
        <p:txBody>
          <a:bodyPr wrap="square" lIns="0" tIns="0" rIns="0" bIns="0" rtlCol="0"/>
          <a:lstStyle/>
          <a:p>
            <a:endParaRPr/>
          </a:p>
        </p:txBody>
      </p:sp>
      <p:sp>
        <p:nvSpPr>
          <p:cNvPr id="5" name="object 5"/>
          <p:cNvSpPr/>
          <p:nvPr/>
        </p:nvSpPr>
        <p:spPr>
          <a:xfrm>
            <a:off x="518159" y="1708404"/>
            <a:ext cx="3030220" cy="297180"/>
          </a:xfrm>
          <a:custGeom>
            <a:avLst/>
            <a:gdLst/>
            <a:ahLst/>
            <a:cxnLst/>
            <a:rect l="l" t="t" r="r" b="b"/>
            <a:pathLst>
              <a:path w="3030220" h="297180">
                <a:moveTo>
                  <a:pt x="2980181" y="0"/>
                </a:moveTo>
                <a:lnTo>
                  <a:pt x="49530" y="0"/>
                </a:lnTo>
                <a:lnTo>
                  <a:pt x="30250" y="3899"/>
                </a:lnTo>
                <a:lnTo>
                  <a:pt x="14506" y="14525"/>
                </a:lnTo>
                <a:lnTo>
                  <a:pt x="3892" y="30271"/>
                </a:lnTo>
                <a:lnTo>
                  <a:pt x="0" y="49530"/>
                </a:lnTo>
                <a:lnTo>
                  <a:pt x="0" y="247650"/>
                </a:lnTo>
                <a:lnTo>
                  <a:pt x="3892" y="266908"/>
                </a:lnTo>
                <a:lnTo>
                  <a:pt x="14506" y="282654"/>
                </a:lnTo>
                <a:lnTo>
                  <a:pt x="30250" y="293280"/>
                </a:lnTo>
                <a:lnTo>
                  <a:pt x="49530" y="297180"/>
                </a:lnTo>
                <a:lnTo>
                  <a:pt x="2980181" y="297180"/>
                </a:lnTo>
                <a:lnTo>
                  <a:pt x="2999440" y="293280"/>
                </a:lnTo>
                <a:lnTo>
                  <a:pt x="3015186" y="282654"/>
                </a:lnTo>
                <a:lnTo>
                  <a:pt x="3025812" y="266908"/>
                </a:lnTo>
                <a:lnTo>
                  <a:pt x="3029712" y="247650"/>
                </a:lnTo>
                <a:lnTo>
                  <a:pt x="3029712" y="49530"/>
                </a:lnTo>
                <a:lnTo>
                  <a:pt x="3025812" y="30271"/>
                </a:lnTo>
                <a:lnTo>
                  <a:pt x="3015186" y="14525"/>
                </a:lnTo>
                <a:lnTo>
                  <a:pt x="2999440" y="3899"/>
                </a:lnTo>
                <a:lnTo>
                  <a:pt x="2980181" y="0"/>
                </a:lnTo>
                <a:close/>
              </a:path>
            </a:pathLst>
          </a:custGeom>
          <a:solidFill>
            <a:srgbClr val="006FAC"/>
          </a:solidFill>
        </p:spPr>
        <p:txBody>
          <a:bodyPr wrap="square" lIns="0" tIns="0" rIns="0" bIns="0" rtlCol="0"/>
          <a:lstStyle/>
          <a:p>
            <a:endParaRPr/>
          </a:p>
        </p:txBody>
      </p:sp>
      <p:sp>
        <p:nvSpPr>
          <p:cNvPr id="6" name="object 6"/>
          <p:cNvSpPr/>
          <p:nvPr/>
        </p:nvSpPr>
        <p:spPr>
          <a:xfrm>
            <a:off x="229591" y="1656586"/>
            <a:ext cx="420370" cy="407034"/>
          </a:xfrm>
          <a:custGeom>
            <a:avLst/>
            <a:gdLst/>
            <a:ahLst/>
            <a:cxnLst/>
            <a:rect l="l" t="t" r="r" b="b"/>
            <a:pathLst>
              <a:path w="420370" h="407035">
                <a:moveTo>
                  <a:pt x="221105" y="0"/>
                </a:moveTo>
                <a:lnTo>
                  <a:pt x="174584" y="3335"/>
                </a:lnTo>
                <a:lnTo>
                  <a:pt x="129207" y="16838"/>
                </a:lnTo>
                <a:lnTo>
                  <a:pt x="86765" y="40768"/>
                </a:lnTo>
                <a:lnTo>
                  <a:pt x="50814" y="73375"/>
                </a:lnTo>
                <a:lnTo>
                  <a:pt x="24187" y="111794"/>
                </a:lnTo>
                <a:lnTo>
                  <a:pt x="7158" y="154278"/>
                </a:lnTo>
                <a:lnTo>
                  <a:pt x="0" y="199081"/>
                </a:lnTo>
                <a:lnTo>
                  <a:pt x="2986" y="244458"/>
                </a:lnTo>
                <a:lnTo>
                  <a:pt x="16390" y="288662"/>
                </a:lnTo>
                <a:lnTo>
                  <a:pt x="40486" y="329947"/>
                </a:lnTo>
                <a:lnTo>
                  <a:pt x="73318" y="364270"/>
                </a:lnTo>
                <a:lnTo>
                  <a:pt x="111449" y="388418"/>
                </a:lnTo>
                <a:lnTo>
                  <a:pt x="153369" y="402542"/>
                </a:lnTo>
                <a:lnTo>
                  <a:pt x="197572" y="406794"/>
                </a:lnTo>
                <a:lnTo>
                  <a:pt x="242548" y="401324"/>
                </a:lnTo>
                <a:lnTo>
                  <a:pt x="286790" y="386284"/>
                </a:lnTo>
                <a:lnTo>
                  <a:pt x="328789" y="361824"/>
                </a:lnTo>
                <a:lnTo>
                  <a:pt x="365164" y="329727"/>
                </a:lnTo>
                <a:lnTo>
                  <a:pt x="392885" y="292799"/>
                </a:lnTo>
                <a:lnTo>
                  <a:pt x="411411" y="252396"/>
                </a:lnTo>
                <a:lnTo>
                  <a:pt x="420199" y="209875"/>
                </a:lnTo>
                <a:lnTo>
                  <a:pt x="418708" y="166595"/>
                </a:lnTo>
                <a:lnTo>
                  <a:pt x="406398" y="123913"/>
                </a:lnTo>
                <a:lnTo>
                  <a:pt x="382726" y="83186"/>
                </a:lnTo>
                <a:lnTo>
                  <a:pt x="349578" y="48425"/>
                </a:lnTo>
                <a:lnTo>
                  <a:pt x="310395" y="22802"/>
                </a:lnTo>
                <a:lnTo>
                  <a:pt x="266973" y="6575"/>
                </a:lnTo>
                <a:lnTo>
                  <a:pt x="221105" y="0"/>
                </a:lnTo>
                <a:close/>
              </a:path>
            </a:pathLst>
          </a:custGeom>
          <a:solidFill>
            <a:srgbClr val="006FAC"/>
          </a:solidFill>
        </p:spPr>
        <p:txBody>
          <a:bodyPr wrap="square" lIns="0" tIns="0" rIns="0" bIns="0" rtlCol="0"/>
          <a:lstStyle/>
          <a:p>
            <a:endParaRPr/>
          </a:p>
        </p:txBody>
      </p:sp>
      <p:sp>
        <p:nvSpPr>
          <p:cNvPr id="7" name="object 7"/>
          <p:cNvSpPr/>
          <p:nvPr/>
        </p:nvSpPr>
        <p:spPr>
          <a:xfrm>
            <a:off x="229591" y="1656586"/>
            <a:ext cx="420370" cy="407034"/>
          </a:xfrm>
          <a:custGeom>
            <a:avLst/>
            <a:gdLst/>
            <a:ahLst/>
            <a:cxnLst/>
            <a:rect l="l" t="t" r="r" b="b"/>
            <a:pathLst>
              <a:path w="420370" h="407035">
                <a:moveTo>
                  <a:pt x="40486" y="329947"/>
                </a:moveTo>
                <a:lnTo>
                  <a:pt x="16390" y="288662"/>
                </a:lnTo>
                <a:lnTo>
                  <a:pt x="2986" y="244458"/>
                </a:lnTo>
                <a:lnTo>
                  <a:pt x="0" y="199081"/>
                </a:lnTo>
                <a:lnTo>
                  <a:pt x="7158" y="154278"/>
                </a:lnTo>
                <a:lnTo>
                  <a:pt x="24187" y="111794"/>
                </a:lnTo>
                <a:lnTo>
                  <a:pt x="50814" y="73375"/>
                </a:lnTo>
                <a:lnTo>
                  <a:pt x="86765" y="40768"/>
                </a:lnTo>
                <a:lnTo>
                  <a:pt x="129207" y="16838"/>
                </a:lnTo>
                <a:lnTo>
                  <a:pt x="174584" y="3335"/>
                </a:lnTo>
                <a:lnTo>
                  <a:pt x="221105" y="0"/>
                </a:lnTo>
                <a:lnTo>
                  <a:pt x="266973" y="6575"/>
                </a:lnTo>
                <a:lnTo>
                  <a:pt x="310395" y="22802"/>
                </a:lnTo>
                <a:lnTo>
                  <a:pt x="349578" y="48425"/>
                </a:lnTo>
                <a:lnTo>
                  <a:pt x="382726" y="83186"/>
                </a:lnTo>
                <a:lnTo>
                  <a:pt x="406398" y="123913"/>
                </a:lnTo>
                <a:lnTo>
                  <a:pt x="418708" y="166595"/>
                </a:lnTo>
                <a:lnTo>
                  <a:pt x="420199" y="209875"/>
                </a:lnTo>
                <a:lnTo>
                  <a:pt x="411411" y="252396"/>
                </a:lnTo>
                <a:lnTo>
                  <a:pt x="392885" y="292799"/>
                </a:lnTo>
                <a:lnTo>
                  <a:pt x="365164" y="329727"/>
                </a:lnTo>
                <a:lnTo>
                  <a:pt x="328789" y="361824"/>
                </a:lnTo>
                <a:lnTo>
                  <a:pt x="286790" y="386284"/>
                </a:lnTo>
                <a:lnTo>
                  <a:pt x="242548" y="401324"/>
                </a:lnTo>
                <a:lnTo>
                  <a:pt x="197572" y="406794"/>
                </a:lnTo>
                <a:lnTo>
                  <a:pt x="153369" y="402542"/>
                </a:lnTo>
                <a:lnTo>
                  <a:pt x="111449" y="388418"/>
                </a:lnTo>
                <a:lnTo>
                  <a:pt x="73318" y="364270"/>
                </a:lnTo>
                <a:lnTo>
                  <a:pt x="40486" y="329947"/>
                </a:lnTo>
              </a:path>
            </a:pathLst>
          </a:custGeom>
          <a:ln w="9144">
            <a:solidFill>
              <a:srgbClr val="FFFFFF"/>
            </a:solidFill>
          </a:ln>
        </p:spPr>
        <p:txBody>
          <a:bodyPr wrap="square" lIns="0" tIns="0" rIns="0" bIns="0" rtlCol="0"/>
          <a:lstStyle/>
          <a:p>
            <a:endParaRPr/>
          </a:p>
        </p:txBody>
      </p:sp>
      <p:sp>
        <p:nvSpPr>
          <p:cNvPr id="8" name="object 8"/>
          <p:cNvSpPr/>
          <p:nvPr/>
        </p:nvSpPr>
        <p:spPr>
          <a:xfrm>
            <a:off x="353568" y="1741439"/>
            <a:ext cx="172745" cy="213598"/>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214375" y="2098675"/>
            <a:ext cx="3324225" cy="1040130"/>
          </a:xfrm>
          <a:prstGeom prst="rect">
            <a:avLst/>
          </a:prstGeom>
        </p:spPr>
        <p:txBody>
          <a:bodyPr vert="horz" wrap="square" lIns="0" tIns="13335" rIns="0" bIns="0" rtlCol="0">
            <a:spAutoFit/>
          </a:bodyPr>
          <a:lstStyle/>
          <a:p>
            <a:pPr marL="182880" indent="-170815">
              <a:lnSpc>
                <a:spcPct val="100000"/>
              </a:lnSpc>
              <a:spcBef>
                <a:spcPts val="105"/>
              </a:spcBef>
              <a:buClr>
                <a:srgbClr val="006FAC"/>
              </a:buClr>
              <a:buFont typeface="Wingdings"/>
              <a:buChar char=""/>
              <a:tabLst>
                <a:tab pos="183515" algn="l"/>
              </a:tabLst>
            </a:pPr>
            <a:r>
              <a:rPr sz="800" spc="-5">
                <a:latin typeface="Verdana"/>
                <a:cs typeface="Verdana"/>
              </a:rPr>
              <a:t>The </a:t>
            </a:r>
            <a:r>
              <a:rPr sz="800">
                <a:latin typeface="Verdana"/>
                <a:cs typeface="Verdana"/>
              </a:rPr>
              <a:t>client </a:t>
            </a:r>
            <a:r>
              <a:rPr sz="800" spc="-5">
                <a:latin typeface="Verdana"/>
                <a:cs typeface="Verdana"/>
              </a:rPr>
              <a:t>wanted to change their </a:t>
            </a:r>
            <a:r>
              <a:rPr sz="800">
                <a:latin typeface="Verdana"/>
                <a:cs typeface="Verdana"/>
              </a:rPr>
              <a:t>business model</a:t>
            </a:r>
            <a:r>
              <a:rPr sz="800" spc="40">
                <a:latin typeface="Verdana"/>
                <a:cs typeface="Verdana"/>
              </a:rPr>
              <a:t> </a:t>
            </a:r>
            <a:r>
              <a:rPr sz="800">
                <a:latin typeface="Verdana"/>
                <a:cs typeface="Verdana"/>
              </a:rPr>
              <a:t>from</a:t>
            </a:r>
          </a:p>
          <a:p>
            <a:pPr marL="182880" marR="44450">
              <a:lnSpc>
                <a:spcPct val="100000"/>
              </a:lnSpc>
            </a:pPr>
            <a:r>
              <a:rPr sz="800">
                <a:latin typeface="Verdana"/>
                <a:cs typeface="Verdana"/>
              </a:rPr>
              <a:t>‘product focused’ </a:t>
            </a:r>
            <a:r>
              <a:rPr sz="800" spc="-5">
                <a:latin typeface="Verdana"/>
                <a:cs typeface="Verdana"/>
              </a:rPr>
              <a:t>to </a:t>
            </a:r>
            <a:r>
              <a:rPr sz="800">
                <a:latin typeface="Verdana"/>
                <a:cs typeface="Verdana"/>
              </a:rPr>
              <a:t>‘customer </a:t>
            </a:r>
            <a:r>
              <a:rPr sz="800" spc="-5">
                <a:latin typeface="Verdana"/>
                <a:cs typeface="Verdana"/>
              </a:rPr>
              <a:t>centric’ </a:t>
            </a:r>
            <a:r>
              <a:rPr sz="800">
                <a:latin typeface="Verdana"/>
                <a:cs typeface="Verdana"/>
              </a:rPr>
              <a:t>– </a:t>
            </a:r>
            <a:r>
              <a:rPr sz="800" spc="-5">
                <a:latin typeface="Verdana"/>
                <a:cs typeface="Verdana"/>
              </a:rPr>
              <a:t>They wanted to </a:t>
            </a:r>
            <a:r>
              <a:rPr sz="800">
                <a:latin typeface="Verdana"/>
                <a:cs typeface="Verdana"/>
              </a:rPr>
              <a:t>put  </a:t>
            </a:r>
            <a:r>
              <a:rPr sz="800" spc="-5">
                <a:latin typeface="Verdana"/>
                <a:cs typeface="Verdana"/>
              </a:rPr>
              <a:t>the </a:t>
            </a:r>
            <a:r>
              <a:rPr sz="800">
                <a:latin typeface="Verdana"/>
                <a:cs typeface="Verdana"/>
              </a:rPr>
              <a:t>customer </a:t>
            </a:r>
            <a:r>
              <a:rPr sz="800" spc="-5">
                <a:latin typeface="Verdana"/>
                <a:cs typeface="Verdana"/>
              </a:rPr>
              <a:t>at the </a:t>
            </a:r>
            <a:r>
              <a:rPr sz="800">
                <a:latin typeface="Verdana"/>
                <a:cs typeface="Verdana"/>
              </a:rPr>
              <a:t>core of </a:t>
            </a:r>
            <a:r>
              <a:rPr sz="800" spc="-5">
                <a:latin typeface="Verdana"/>
                <a:cs typeface="Verdana"/>
              </a:rPr>
              <a:t>the </a:t>
            </a:r>
            <a:r>
              <a:rPr sz="800">
                <a:latin typeface="Verdana"/>
                <a:cs typeface="Verdana"/>
              </a:rPr>
              <a:t>business </a:t>
            </a:r>
            <a:r>
              <a:rPr sz="800" spc="-5">
                <a:latin typeface="Verdana"/>
                <a:cs typeface="Verdana"/>
              </a:rPr>
              <a:t>and </a:t>
            </a:r>
            <a:r>
              <a:rPr sz="800">
                <a:latin typeface="Verdana"/>
                <a:cs typeface="Verdana"/>
              </a:rPr>
              <a:t>increase sales  </a:t>
            </a:r>
            <a:r>
              <a:rPr sz="800" spc="-5">
                <a:latin typeface="Verdana"/>
                <a:cs typeface="Verdana"/>
              </a:rPr>
              <a:t>leads through this</a:t>
            </a:r>
            <a:r>
              <a:rPr sz="800" spc="15">
                <a:latin typeface="Verdana"/>
                <a:cs typeface="Verdana"/>
              </a:rPr>
              <a:t> </a:t>
            </a:r>
            <a:r>
              <a:rPr sz="800">
                <a:latin typeface="Verdana"/>
                <a:cs typeface="Verdana"/>
              </a:rPr>
              <a:t>approach</a:t>
            </a:r>
          </a:p>
          <a:p>
            <a:pPr marL="182880" marR="5080" indent="-170815">
              <a:lnSpc>
                <a:spcPct val="100000"/>
              </a:lnSpc>
              <a:spcBef>
                <a:spcPts val="300"/>
              </a:spcBef>
              <a:buClr>
                <a:srgbClr val="006FAC"/>
              </a:buClr>
              <a:buFont typeface="Wingdings"/>
              <a:buChar char=""/>
              <a:tabLst>
                <a:tab pos="183515" algn="l"/>
              </a:tabLst>
            </a:pPr>
            <a:r>
              <a:rPr sz="800">
                <a:latin typeface="Verdana"/>
                <a:cs typeface="Verdana"/>
              </a:rPr>
              <a:t>PSA earlier </a:t>
            </a:r>
            <a:r>
              <a:rPr sz="800" spc="-5">
                <a:latin typeface="Verdana"/>
                <a:cs typeface="Verdana"/>
              </a:rPr>
              <a:t>had stand-alone applications </a:t>
            </a:r>
            <a:r>
              <a:rPr sz="800">
                <a:latin typeface="Verdana"/>
                <a:cs typeface="Verdana"/>
              </a:rPr>
              <a:t>for different regions  </a:t>
            </a:r>
            <a:r>
              <a:rPr sz="800" spc="-5">
                <a:latin typeface="Verdana"/>
                <a:cs typeface="Verdana"/>
              </a:rPr>
              <a:t>and multiple </a:t>
            </a:r>
            <a:r>
              <a:rPr sz="800">
                <a:latin typeface="Verdana"/>
                <a:cs typeface="Verdana"/>
              </a:rPr>
              <a:t>brands </a:t>
            </a:r>
            <a:r>
              <a:rPr sz="800" spc="-5">
                <a:latin typeface="Verdana"/>
                <a:cs typeface="Verdana"/>
              </a:rPr>
              <a:t>(Peugeot, </a:t>
            </a:r>
            <a:r>
              <a:rPr sz="800">
                <a:latin typeface="Verdana"/>
                <a:cs typeface="Verdana"/>
              </a:rPr>
              <a:t>Citroën &amp; DS), </a:t>
            </a:r>
            <a:r>
              <a:rPr sz="800" spc="-5">
                <a:latin typeface="Verdana"/>
                <a:cs typeface="Verdana"/>
              </a:rPr>
              <a:t>which </a:t>
            </a:r>
            <a:r>
              <a:rPr sz="800">
                <a:latin typeface="Verdana"/>
                <a:cs typeface="Verdana"/>
              </a:rPr>
              <a:t>made </a:t>
            </a:r>
            <a:r>
              <a:rPr sz="800" spc="-5">
                <a:latin typeface="Verdana"/>
                <a:cs typeface="Verdana"/>
              </a:rPr>
              <a:t>it  difficult to </a:t>
            </a:r>
            <a:r>
              <a:rPr sz="800">
                <a:latin typeface="Verdana"/>
                <a:cs typeface="Verdana"/>
              </a:rPr>
              <a:t>get a consolidated view of business </a:t>
            </a:r>
            <a:r>
              <a:rPr sz="800" spc="-5">
                <a:latin typeface="Verdana"/>
                <a:cs typeface="Verdana"/>
              </a:rPr>
              <a:t>and  opportunities</a:t>
            </a:r>
            <a:endParaRPr sz="800">
              <a:latin typeface="Verdana"/>
              <a:cs typeface="Verdana"/>
            </a:endParaRPr>
          </a:p>
        </p:txBody>
      </p:sp>
      <p:sp>
        <p:nvSpPr>
          <p:cNvPr id="10" name="object 10"/>
          <p:cNvSpPr txBox="1"/>
          <p:nvPr/>
        </p:nvSpPr>
        <p:spPr>
          <a:xfrm>
            <a:off x="3807967" y="2098675"/>
            <a:ext cx="4158615" cy="1482090"/>
          </a:xfrm>
          <a:prstGeom prst="rect">
            <a:avLst/>
          </a:prstGeom>
        </p:spPr>
        <p:txBody>
          <a:bodyPr vert="horz" wrap="square" lIns="0" tIns="13335" rIns="0" bIns="0" rtlCol="0">
            <a:spAutoFit/>
          </a:bodyPr>
          <a:lstStyle/>
          <a:p>
            <a:pPr marL="182880" marR="5080" indent="-170815">
              <a:lnSpc>
                <a:spcPct val="100000"/>
              </a:lnSpc>
              <a:spcBef>
                <a:spcPts val="105"/>
              </a:spcBef>
              <a:buClr>
                <a:srgbClr val="006FAC"/>
              </a:buClr>
              <a:buFont typeface="Wingdings"/>
              <a:buChar char=""/>
              <a:tabLst>
                <a:tab pos="183515" algn="l"/>
              </a:tabLst>
            </a:pPr>
            <a:r>
              <a:rPr sz="800">
                <a:latin typeface="Verdana"/>
                <a:cs typeface="Verdana"/>
              </a:rPr>
              <a:t>Capgemini implemented Salesforce CRM </a:t>
            </a:r>
            <a:r>
              <a:rPr sz="800" spc="-5">
                <a:latin typeface="Verdana"/>
                <a:cs typeface="Verdana"/>
              </a:rPr>
              <a:t>to integrate all the disparate  applications and have </a:t>
            </a:r>
            <a:r>
              <a:rPr sz="800">
                <a:latin typeface="Verdana"/>
                <a:cs typeface="Verdana"/>
              </a:rPr>
              <a:t>a </a:t>
            </a:r>
            <a:r>
              <a:rPr sz="800" spc="-5">
                <a:latin typeface="Verdana"/>
                <a:cs typeface="Verdana"/>
              </a:rPr>
              <a:t>single </a:t>
            </a:r>
            <a:r>
              <a:rPr sz="800">
                <a:latin typeface="Verdana"/>
                <a:cs typeface="Verdana"/>
              </a:rPr>
              <a:t>worldwide core business model. </a:t>
            </a:r>
            <a:r>
              <a:rPr sz="800" spc="-5">
                <a:latin typeface="Verdana"/>
                <a:cs typeface="Verdana"/>
              </a:rPr>
              <a:t>This </a:t>
            </a:r>
            <a:r>
              <a:rPr sz="800">
                <a:latin typeface="Verdana"/>
                <a:cs typeface="Verdana"/>
              </a:rPr>
              <a:t>helped </a:t>
            </a:r>
            <a:r>
              <a:rPr sz="800" spc="-5">
                <a:latin typeface="Verdana"/>
                <a:cs typeface="Verdana"/>
              </a:rPr>
              <a:t>in  shifting the </a:t>
            </a:r>
            <a:r>
              <a:rPr sz="800">
                <a:latin typeface="Verdana"/>
                <a:cs typeface="Verdana"/>
              </a:rPr>
              <a:t>model </a:t>
            </a:r>
            <a:r>
              <a:rPr sz="800" spc="-5">
                <a:latin typeface="Verdana"/>
                <a:cs typeface="Verdana"/>
              </a:rPr>
              <a:t>to </a:t>
            </a:r>
            <a:r>
              <a:rPr sz="800">
                <a:latin typeface="Verdana"/>
                <a:cs typeface="Verdana"/>
              </a:rPr>
              <a:t>Customer</a:t>
            </a:r>
            <a:r>
              <a:rPr sz="800" spc="25">
                <a:latin typeface="Verdana"/>
                <a:cs typeface="Verdana"/>
              </a:rPr>
              <a:t> </a:t>
            </a:r>
            <a:r>
              <a:rPr sz="800">
                <a:latin typeface="Verdana"/>
                <a:cs typeface="Verdana"/>
              </a:rPr>
              <a:t>First</a:t>
            </a:r>
          </a:p>
          <a:p>
            <a:pPr marL="182880" marR="52069" indent="-170815">
              <a:lnSpc>
                <a:spcPct val="100000"/>
              </a:lnSpc>
              <a:spcBef>
                <a:spcPts val="295"/>
              </a:spcBef>
              <a:buClr>
                <a:srgbClr val="006FAC"/>
              </a:buClr>
              <a:buFont typeface="Wingdings"/>
              <a:buChar char=""/>
              <a:tabLst>
                <a:tab pos="183515" algn="l"/>
              </a:tabLst>
            </a:pPr>
            <a:r>
              <a:rPr sz="800" spc="-5">
                <a:latin typeface="Verdana"/>
                <a:cs typeface="Verdana"/>
              </a:rPr>
              <a:t>The team </a:t>
            </a:r>
            <a:r>
              <a:rPr sz="800">
                <a:latin typeface="Verdana"/>
                <a:cs typeface="Verdana"/>
              </a:rPr>
              <a:t>developed an </a:t>
            </a:r>
            <a:r>
              <a:rPr sz="800" spc="-5">
                <a:latin typeface="Verdana"/>
                <a:cs typeface="Verdana"/>
              </a:rPr>
              <a:t>integration </a:t>
            </a:r>
            <a:r>
              <a:rPr sz="800">
                <a:latin typeface="Verdana"/>
                <a:cs typeface="Verdana"/>
              </a:rPr>
              <a:t>layer </a:t>
            </a:r>
            <a:r>
              <a:rPr sz="800" spc="-5">
                <a:latin typeface="Verdana"/>
                <a:cs typeface="Verdana"/>
              </a:rPr>
              <a:t>connecting </a:t>
            </a:r>
            <a:r>
              <a:rPr sz="800">
                <a:latin typeface="Verdana"/>
                <a:cs typeface="Verdana"/>
              </a:rPr>
              <a:t>PSA legacy </a:t>
            </a:r>
            <a:r>
              <a:rPr sz="800" spc="-5">
                <a:latin typeface="Verdana"/>
                <a:cs typeface="Verdana"/>
              </a:rPr>
              <a:t>applications  and </a:t>
            </a:r>
            <a:r>
              <a:rPr sz="800">
                <a:latin typeface="Verdana"/>
                <a:cs typeface="Verdana"/>
              </a:rPr>
              <a:t>Salesforce. </a:t>
            </a:r>
            <a:r>
              <a:rPr sz="800" spc="-5">
                <a:latin typeface="Verdana"/>
                <a:cs typeface="Verdana"/>
              </a:rPr>
              <a:t>This </a:t>
            </a:r>
            <a:r>
              <a:rPr sz="800">
                <a:latin typeface="Verdana"/>
                <a:cs typeface="Verdana"/>
              </a:rPr>
              <a:t>created an </a:t>
            </a:r>
            <a:r>
              <a:rPr sz="800" spc="-5">
                <a:latin typeface="Verdana"/>
                <a:cs typeface="Verdana"/>
              </a:rPr>
              <a:t>integrated </a:t>
            </a:r>
            <a:r>
              <a:rPr sz="800">
                <a:latin typeface="Verdana"/>
                <a:cs typeface="Verdana"/>
              </a:rPr>
              <a:t>system </a:t>
            </a:r>
            <a:r>
              <a:rPr sz="800" spc="-5">
                <a:latin typeface="Verdana"/>
                <a:cs typeface="Verdana"/>
              </a:rPr>
              <a:t>to </a:t>
            </a:r>
            <a:r>
              <a:rPr sz="800">
                <a:latin typeface="Verdana"/>
                <a:cs typeface="Verdana"/>
              </a:rPr>
              <a:t>understand PSA’s  customers </a:t>
            </a:r>
            <a:r>
              <a:rPr sz="800" spc="-5">
                <a:latin typeface="Verdana"/>
                <a:cs typeface="Verdana"/>
              </a:rPr>
              <a:t>and their </a:t>
            </a:r>
            <a:r>
              <a:rPr sz="800">
                <a:latin typeface="Verdana"/>
                <a:cs typeface="Verdana"/>
              </a:rPr>
              <a:t>needs</a:t>
            </a:r>
            <a:r>
              <a:rPr sz="800" spc="-20">
                <a:latin typeface="Verdana"/>
                <a:cs typeface="Verdana"/>
              </a:rPr>
              <a:t> </a:t>
            </a:r>
            <a:r>
              <a:rPr sz="800">
                <a:latin typeface="Verdana"/>
                <a:cs typeface="Verdana"/>
              </a:rPr>
              <a:t>better</a:t>
            </a:r>
          </a:p>
          <a:p>
            <a:pPr marL="182880" marR="97155" indent="-170815">
              <a:lnSpc>
                <a:spcPct val="100000"/>
              </a:lnSpc>
              <a:spcBef>
                <a:spcPts val="305"/>
              </a:spcBef>
              <a:buClr>
                <a:srgbClr val="006FAC"/>
              </a:buClr>
              <a:buFont typeface="Wingdings"/>
              <a:buChar char=""/>
              <a:tabLst>
                <a:tab pos="183515" algn="l"/>
              </a:tabLst>
            </a:pPr>
            <a:r>
              <a:rPr sz="800">
                <a:latin typeface="Verdana"/>
                <a:cs typeface="Verdana"/>
              </a:rPr>
              <a:t>Capgemini </a:t>
            </a:r>
            <a:r>
              <a:rPr sz="800" spc="-5">
                <a:latin typeface="Verdana"/>
                <a:cs typeface="Verdana"/>
              </a:rPr>
              <a:t>was also </a:t>
            </a:r>
            <a:r>
              <a:rPr sz="800">
                <a:latin typeface="Verdana"/>
                <a:cs typeface="Verdana"/>
              </a:rPr>
              <a:t>responsible for </a:t>
            </a:r>
            <a:r>
              <a:rPr sz="800" spc="-5">
                <a:latin typeface="Verdana"/>
                <a:cs typeface="Verdana"/>
              </a:rPr>
              <a:t>building </a:t>
            </a:r>
            <a:r>
              <a:rPr sz="800">
                <a:latin typeface="Verdana"/>
                <a:cs typeface="Verdana"/>
              </a:rPr>
              <a:t>a </a:t>
            </a:r>
            <a:r>
              <a:rPr sz="800" spc="-5">
                <a:latin typeface="Verdana"/>
                <a:cs typeface="Verdana"/>
              </a:rPr>
              <a:t>testing </a:t>
            </a:r>
            <a:r>
              <a:rPr sz="800">
                <a:latin typeface="Verdana"/>
                <a:cs typeface="Verdana"/>
              </a:rPr>
              <a:t>factory, providing </a:t>
            </a:r>
            <a:r>
              <a:rPr sz="800" spc="-5">
                <a:latin typeface="Verdana"/>
                <a:cs typeface="Verdana"/>
              </a:rPr>
              <a:t>the  </a:t>
            </a:r>
            <a:r>
              <a:rPr sz="800">
                <a:latin typeface="Verdana"/>
                <a:cs typeface="Verdana"/>
              </a:rPr>
              <a:t>environment </a:t>
            </a:r>
            <a:r>
              <a:rPr sz="800" spc="-5">
                <a:latin typeface="Verdana"/>
                <a:cs typeface="Verdana"/>
              </a:rPr>
              <a:t>and end-to-end</a:t>
            </a:r>
            <a:r>
              <a:rPr sz="800" spc="15">
                <a:latin typeface="Verdana"/>
                <a:cs typeface="Verdana"/>
              </a:rPr>
              <a:t> </a:t>
            </a:r>
            <a:r>
              <a:rPr sz="800" spc="-5">
                <a:latin typeface="Verdana"/>
                <a:cs typeface="Verdana"/>
              </a:rPr>
              <a:t>maintenance</a:t>
            </a:r>
            <a:endParaRPr sz="800">
              <a:latin typeface="Verdana"/>
              <a:cs typeface="Verdana"/>
            </a:endParaRPr>
          </a:p>
          <a:p>
            <a:pPr marL="182880" marR="13970" indent="-170815">
              <a:lnSpc>
                <a:spcPct val="100000"/>
              </a:lnSpc>
              <a:spcBef>
                <a:spcPts val="300"/>
              </a:spcBef>
              <a:buClr>
                <a:srgbClr val="006FAC"/>
              </a:buClr>
              <a:buFont typeface="Wingdings"/>
              <a:buChar char=""/>
              <a:tabLst>
                <a:tab pos="183515" algn="l"/>
              </a:tabLst>
            </a:pPr>
            <a:r>
              <a:rPr sz="800">
                <a:latin typeface="Verdana"/>
                <a:cs typeface="Verdana"/>
              </a:rPr>
              <a:t>We created a customer journey </a:t>
            </a:r>
            <a:r>
              <a:rPr sz="800" spc="-5">
                <a:latin typeface="Verdana"/>
                <a:cs typeface="Verdana"/>
              </a:rPr>
              <a:t>which includes Digital marketing, </a:t>
            </a:r>
            <a:r>
              <a:rPr sz="800">
                <a:latin typeface="Verdana"/>
                <a:cs typeface="Verdana"/>
              </a:rPr>
              <a:t>Lead  </a:t>
            </a:r>
            <a:r>
              <a:rPr sz="800" spc="-5">
                <a:latin typeface="Verdana"/>
                <a:cs typeface="Verdana"/>
              </a:rPr>
              <a:t>Management, </a:t>
            </a:r>
            <a:r>
              <a:rPr sz="800">
                <a:latin typeface="Verdana"/>
                <a:cs typeface="Verdana"/>
              </a:rPr>
              <a:t>Sales </a:t>
            </a:r>
            <a:r>
              <a:rPr sz="800" spc="-5">
                <a:latin typeface="Verdana"/>
                <a:cs typeface="Verdana"/>
              </a:rPr>
              <a:t>Management and </a:t>
            </a:r>
            <a:r>
              <a:rPr sz="800">
                <a:latin typeface="Verdana"/>
                <a:cs typeface="Verdana"/>
              </a:rPr>
              <a:t>Customer care. Customer </a:t>
            </a:r>
            <a:r>
              <a:rPr sz="800" spc="-5">
                <a:latin typeface="Verdana"/>
                <a:cs typeface="Verdana"/>
              </a:rPr>
              <a:t>Journey </a:t>
            </a:r>
            <a:r>
              <a:rPr sz="800">
                <a:latin typeface="Verdana"/>
                <a:cs typeface="Verdana"/>
              </a:rPr>
              <a:t>now  provides PSA </a:t>
            </a:r>
            <a:r>
              <a:rPr sz="800" spc="-5">
                <a:latin typeface="Verdana"/>
                <a:cs typeface="Verdana"/>
              </a:rPr>
              <a:t>with </a:t>
            </a:r>
            <a:r>
              <a:rPr sz="800">
                <a:latin typeface="Verdana"/>
                <a:cs typeface="Verdana"/>
              </a:rPr>
              <a:t>a 360° customer</a:t>
            </a:r>
            <a:r>
              <a:rPr sz="800" spc="-35">
                <a:latin typeface="Verdana"/>
                <a:cs typeface="Verdana"/>
              </a:rPr>
              <a:t> </a:t>
            </a:r>
            <a:r>
              <a:rPr sz="800">
                <a:latin typeface="Verdana"/>
                <a:cs typeface="Verdana"/>
              </a:rPr>
              <a:t>view</a:t>
            </a:r>
          </a:p>
        </p:txBody>
      </p:sp>
      <p:sp>
        <p:nvSpPr>
          <p:cNvPr id="11" name="object 11"/>
          <p:cNvSpPr txBox="1"/>
          <p:nvPr/>
        </p:nvSpPr>
        <p:spPr>
          <a:xfrm>
            <a:off x="8160511" y="2098675"/>
            <a:ext cx="3685540" cy="712470"/>
          </a:xfrm>
          <a:prstGeom prst="rect">
            <a:avLst/>
          </a:prstGeom>
        </p:spPr>
        <p:txBody>
          <a:bodyPr vert="horz" wrap="square" lIns="0" tIns="13335" rIns="0" bIns="0" rtlCol="0">
            <a:spAutoFit/>
          </a:bodyPr>
          <a:lstStyle/>
          <a:p>
            <a:pPr marL="182880" marR="38100" indent="-170815">
              <a:lnSpc>
                <a:spcPct val="100000"/>
              </a:lnSpc>
              <a:spcBef>
                <a:spcPts val="105"/>
              </a:spcBef>
              <a:buClr>
                <a:srgbClr val="006FAC"/>
              </a:buClr>
              <a:buFont typeface="Wingdings"/>
              <a:buChar char=""/>
              <a:tabLst>
                <a:tab pos="183515" algn="l"/>
              </a:tabLst>
            </a:pPr>
            <a:r>
              <a:rPr sz="800" spc="-5">
                <a:latin typeface="Verdana"/>
                <a:cs typeface="Verdana"/>
              </a:rPr>
              <a:t>The implementation </a:t>
            </a:r>
            <a:r>
              <a:rPr sz="800">
                <a:latin typeface="Verdana"/>
                <a:cs typeface="Verdana"/>
              </a:rPr>
              <a:t>resulted </a:t>
            </a:r>
            <a:r>
              <a:rPr sz="800" spc="-5">
                <a:latin typeface="Verdana"/>
                <a:cs typeface="Verdana"/>
              </a:rPr>
              <a:t>in </a:t>
            </a:r>
            <a:r>
              <a:rPr sz="800">
                <a:latin typeface="Verdana"/>
                <a:cs typeface="Verdana"/>
              </a:rPr>
              <a:t>an increase of 20% </a:t>
            </a:r>
            <a:r>
              <a:rPr sz="800" spc="-5">
                <a:latin typeface="Verdana"/>
                <a:cs typeface="Verdana"/>
              </a:rPr>
              <a:t>in </a:t>
            </a:r>
            <a:r>
              <a:rPr sz="800">
                <a:latin typeface="Verdana"/>
                <a:cs typeface="Verdana"/>
              </a:rPr>
              <a:t>sales leads;  Sales </a:t>
            </a:r>
            <a:r>
              <a:rPr sz="800" spc="-5">
                <a:latin typeface="Verdana"/>
                <a:cs typeface="Verdana"/>
              </a:rPr>
              <a:t>is </a:t>
            </a:r>
            <a:r>
              <a:rPr sz="800">
                <a:latin typeface="Verdana"/>
                <a:cs typeface="Verdana"/>
              </a:rPr>
              <a:t>expected </a:t>
            </a:r>
            <a:r>
              <a:rPr sz="800" spc="-5">
                <a:latin typeface="Verdana"/>
                <a:cs typeface="Verdana"/>
              </a:rPr>
              <a:t>to </a:t>
            </a:r>
            <a:r>
              <a:rPr sz="800">
                <a:latin typeface="Verdana"/>
                <a:cs typeface="Verdana"/>
              </a:rPr>
              <a:t>increase 2% </a:t>
            </a:r>
            <a:r>
              <a:rPr sz="800" spc="-5">
                <a:latin typeface="Verdana"/>
                <a:cs typeface="Verdana"/>
              </a:rPr>
              <a:t>as </a:t>
            </a:r>
            <a:r>
              <a:rPr sz="800">
                <a:latin typeface="Verdana"/>
                <a:cs typeface="Verdana"/>
              </a:rPr>
              <a:t>a result of </a:t>
            </a:r>
            <a:r>
              <a:rPr sz="800" spc="-5">
                <a:latin typeface="Verdana"/>
                <a:cs typeface="Verdana"/>
              </a:rPr>
              <a:t>this</a:t>
            </a:r>
            <a:r>
              <a:rPr sz="800" spc="5">
                <a:latin typeface="Verdana"/>
                <a:cs typeface="Verdana"/>
              </a:rPr>
              <a:t> </a:t>
            </a:r>
            <a:r>
              <a:rPr sz="800" spc="-5">
                <a:latin typeface="Verdana"/>
                <a:cs typeface="Verdana"/>
              </a:rPr>
              <a:t>implementation</a:t>
            </a:r>
            <a:endParaRPr sz="800">
              <a:latin typeface="Verdana"/>
              <a:cs typeface="Verdana"/>
            </a:endParaRPr>
          </a:p>
          <a:p>
            <a:pPr marL="182880" indent="-170815">
              <a:lnSpc>
                <a:spcPct val="100000"/>
              </a:lnSpc>
              <a:spcBef>
                <a:spcPts val="295"/>
              </a:spcBef>
              <a:buClr>
                <a:srgbClr val="006FAC"/>
              </a:buClr>
              <a:buFont typeface="Wingdings"/>
              <a:buChar char=""/>
              <a:tabLst>
                <a:tab pos="183515" algn="l"/>
              </a:tabLst>
            </a:pPr>
            <a:r>
              <a:rPr sz="800">
                <a:latin typeface="Verdana"/>
                <a:cs typeface="Verdana"/>
              </a:rPr>
              <a:t>Expanded </a:t>
            </a:r>
            <a:r>
              <a:rPr sz="800" spc="-5">
                <a:latin typeface="Verdana"/>
                <a:cs typeface="Verdana"/>
              </a:rPr>
              <a:t>the </a:t>
            </a:r>
            <a:r>
              <a:rPr sz="800">
                <a:latin typeface="Verdana"/>
                <a:cs typeface="Verdana"/>
              </a:rPr>
              <a:t>CRM </a:t>
            </a:r>
            <a:r>
              <a:rPr sz="800" spc="-5">
                <a:latin typeface="Verdana"/>
                <a:cs typeface="Verdana"/>
              </a:rPr>
              <a:t>solution to </a:t>
            </a:r>
            <a:r>
              <a:rPr sz="800">
                <a:latin typeface="Verdana"/>
                <a:cs typeface="Verdana"/>
              </a:rPr>
              <a:t>48 </a:t>
            </a:r>
            <a:r>
              <a:rPr sz="800" spc="-5">
                <a:latin typeface="Verdana"/>
                <a:cs typeface="Verdana"/>
              </a:rPr>
              <a:t>countries and </a:t>
            </a:r>
            <a:r>
              <a:rPr sz="800">
                <a:latin typeface="Verdana"/>
                <a:cs typeface="Verdana"/>
              </a:rPr>
              <a:t>110K</a:t>
            </a:r>
            <a:r>
              <a:rPr sz="800" spc="45">
                <a:latin typeface="Verdana"/>
                <a:cs typeface="Verdana"/>
              </a:rPr>
              <a:t> </a:t>
            </a:r>
            <a:r>
              <a:rPr sz="800">
                <a:latin typeface="Verdana"/>
                <a:cs typeface="Verdana"/>
              </a:rPr>
              <a:t>users</a:t>
            </a:r>
          </a:p>
          <a:p>
            <a:pPr marL="182880" marR="5080" indent="-170815">
              <a:lnSpc>
                <a:spcPct val="100000"/>
              </a:lnSpc>
              <a:spcBef>
                <a:spcPts val="305"/>
              </a:spcBef>
              <a:buClr>
                <a:srgbClr val="006FAC"/>
              </a:buClr>
              <a:buFont typeface="Wingdings"/>
              <a:buChar char=""/>
              <a:tabLst>
                <a:tab pos="183515" algn="l"/>
              </a:tabLst>
            </a:pPr>
            <a:r>
              <a:rPr sz="800">
                <a:latin typeface="Verdana"/>
                <a:cs typeface="Verdana"/>
              </a:rPr>
              <a:t>Provided a core model </a:t>
            </a:r>
            <a:r>
              <a:rPr sz="800" spc="-5">
                <a:latin typeface="Verdana"/>
                <a:cs typeface="Verdana"/>
              </a:rPr>
              <a:t>which </a:t>
            </a:r>
            <a:r>
              <a:rPr sz="800">
                <a:latin typeface="Verdana"/>
                <a:cs typeface="Verdana"/>
              </a:rPr>
              <a:t>gives 90% </a:t>
            </a:r>
            <a:r>
              <a:rPr sz="800" spc="-5">
                <a:latin typeface="Verdana"/>
                <a:cs typeface="Verdana"/>
              </a:rPr>
              <a:t>standard </a:t>
            </a:r>
            <a:r>
              <a:rPr sz="800">
                <a:latin typeface="Verdana"/>
                <a:cs typeface="Verdana"/>
              </a:rPr>
              <a:t>coverage; 10% of  </a:t>
            </a:r>
            <a:r>
              <a:rPr sz="800" spc="-5">
                <a:latin typeface="Verdana"/>
                <a:cs typeface="Verdana"/>
              </a:rPr>
              <a:t>the </a:t>
            </a:r>
            <a:r>
              <a:rPr sz="800">
                <a:latin typeface="Verdana"/>
                <a:cs typeface="Verdana"/>
              </a:rPr>
              <a:t>model </a:t>
            </a:r>
            <a:r>
              <a:rPr sz="800" spc="-5">
                <a:latin typeface="Verdana"/>
                <a:cs typeface="Verdana"/>
              </a:rPr>
              <a:t>is </a:t>
            </a:r>
            <a:r>
              <a:rPr sz="800">
                <a:latin typeface="Verdana"/>
                <a:cs typeface="Verdana"/>
              </a:rPr>
              <a:t>tweaked </a:t>
            </a:r>
            <a:r>
              <a:rPr sz="800" spc="-5">
                <a:latin typeface="Verdana"/>
                <a:cs typeface="Verdana"/>
              </a:rPr>
              <a:t>to align with </a:t>
            </a:r>
            <a:r>
              <a:rPr sz="800">
                <a:latin typeface="Verdana"/>
                <a:cs typeface="Verdana"/>
              </a:rPr>
              <a:t>country specific</a:t>
            </a:r>
            <a:r>
              <a:rPr sz="800" spc="5">
                <a:latin typeface="Verdana"/>
                <a:cs typeface="Verdana"/>
              </a:rPr>
              <a:t> </a:t>
            </a:r>
            <a:r>
              <a:rPr sz="800">
                <a:latin typeface="Verdana"/>
                <a:cs typeface="Verdana"/>
              </a:rPr>
              <a:t>needs</a:t>
            </a:r>
          </a:p>
        </p:txBody>
      </p:sp>
      <p:sp>
        <p:nvSpPr>
          <p:cNvPr id="12" name="object 12"/>
          <p:cNvSpPr/>
          <p:nvPr/>
        </p:nvSpPr>
        <p:spPr>
          <a:xfrm>
            <a:off x="0" y="4315967"/>
            <a:ext cx="12192000" cy="365760"/>
          </a:xfrm>
          <a:custGeom>
            <a:avLst/>
            <a:gdLst/>
            <a:ahLst/>
            <a:cxnLst/>
            <a:rect l="l" t="t" r="r" b="b"/>
            <a:pathLst>
              <a:path w="12192000" h="365760">
                <a:moveTo>
                  <a:pt x="0" y="365760"/>
                </a:moveTo>
                <a:lnTo>
                  <a:pt x="12192000" y="365760"/>
                </a:lnTo>
                <a:lnTo>
                  <a:pt x="12192000" y="0"/>
                </a:lnTo>
                <a:lnTo>
                  <a:pt x="0" y="0"/>
                </a:lnTo>
                <a:lnTo>
                  <a:pt x="0" y="365760"/>
                </a:lnTo>
                <a:close/>
              </a:path>
            </a:pathLst>
          </a:custGeom>
          <a:solidFill>
            <a:srgbClr val="CDEFFA"/>
          </a:solidFill>
        </p:spPr>
        <p:txBody>
          <a:bodyPr wrap="square" lIns="0" tIns="0" rIns="0" bIns="0" rtlCol="0"/>
          <a:lstStyle/>
          <a:p>
            <a:endParaRPr/>
          </a:p>
        </p:txBody>
      </p:sp>
      <p:sp>
        <p:nvSpPr>
          <p:cNvPr id="13" name="object 13"/>
          <p:cNvSpPr txBox="1"/>
          <p:nvPr/>
        </p:nvSpPr>
        <p:spPr>
          <a:xfrm>
            <a:off x="170179" y="4348098"/>
            <a:ext cx="11882120" cy="299720"/>
          </a:xfrm>
          <a:prstGeom prst="rect">
            <a:avLst/>
          </a:prstGeom>
        </p:spPr>
        <p:txBody>
          <a:bodyPr vert="horz" wrap="square" lIns="0" tIns="12700" rIns="0" bIns="0" rtlCol="0">
            <a:spAutoFit/>
          </a:bodyPr>
          <a:lstStyle/>
          <a:p>
            <a:pPr marL="12700" marR="5080">
              <a:lnSpc>
                <a:spcPct val="100000"/>
              </a:lnSpc>
              <a:spcBef>
                <a:spcPts val="100"/>
              </a:spcBef>
            </a:pPr>
            <a:r>
              <a:rPr sz="900" b="1" spc="-5">
                <a:latin typeface="Verdana"/>
                <a:cs typeface="Verdana"/>
              </a:rPr>
              <a:t>Market Unit: </a:t>
            </a:r>
            <a:r>
              <a:rPr sz="900" spc="-5">
                <a:latin typeface="Verdana"/>
                <a:cs typeface="Verdana"/>
              </a:rPr>
              <a:t>MALS </a:t>
            </a:r>
            <a:r>
              <a:rPr sz="900" b="1">
                <a:latin typeface="Verdana"/>
                <a:cs typeface="Verdana"/>
              </a:rPr>
              <a:t>| </a:t>
            </a:r>
            <a:r>
              <a:rPr sz="900" b="1" spc="-5">
                <a:latin typeface="Verdana"/>
                <a:cs typeface="Verdana"/>
              </a:rPr>
              <a:t>Technology: </a:t>
            </a:r>
            <a:r>
              <a:rPr sz="900" spc="-5">
                <a:latin typeface="Verdana"/>
                <a:cs typeface="Verdana"/>
              </a:rPr>
              <a:t>Salesforce </a:t>
            </a:r>
            <a:r>
              <a:rPr sz="900">
                <a:latin typeface="Verdana"/>
                <a:cs typeface="Verdana"/>
              </a:rPr>
              <a:t>Sales </a:t>
            </a:r>
            <a:r>
              <a:rPr sz="900" spc="-5">
                <a:latin typeface="Verdana"/>
                <a:cs typeface="Verdana"/>
              </a:rPr>
              <a:t>Cloud, Service Cloud, Wave Analytics, Marketing Cloud </a:t>
            </a:r>
            <a:r>
              <a:rPr sz="900">
                <a:latin typeface="Verdana"/>
                <a:cs typeface="Verdana"/>
              </a:rPr>
              <a:t>&amp; </a:t>
            </a:r>
            <a:r>
              <a:rPr sz="900" spc="-5">
                <a:latin typeface="Verdana"/>
                <a:cs typeface="Verdana"/>
              </a:rPr>
              <a:t>Community </a:t>
            </a:r>
            <a:r>
              <a:rPr sz="900">
                <a:latin typeface="Verdana"/>
                <a:cs typeface="Verdana"/>
              </a:rPr>
              <a:t>Cloud</a:t>
            </a:r>
            <a:r>
              <a:rPr sz="900" b="1">
                <a:latin typeface="Verdana"/>
                <a:cs typeface="Verdana"/>
              </a:rPr>
              <a:t>| </a:t>
            </a:r>
            <a:r>
              <a:rPr sz="900" b="1" spc="-5">
                <a:latin typeface="Verdana"/>
                <a:cs typeface="Verdana"/>
              </a:rPr>
              <a:t>Project duration: </a:t>
            </a:r>
            <a:r>
              <a:rPr sz="900" spc="-5">
                <a:latin typeface="Verdana"/>
                <a:cs typeface="Verdana"/>
              </a:rPr>
              <a:t>Oct </a:t>
            </a:r>
            <a:r>
              <a:rPr sz="900">
                <a:latin typeface="Verdana"/>
                <a:cs typeface="Verdana"/>
              </a:rPr>
              <a:t>2017 – </a:t>
            </a:r>
            <a:r>
              <a:rPr sz="900" spc="-5">
                <a:latin typeface="Verdana"/>
                <a:cs typeface="Verdana"/>
              </a:rPr>
              <a:t>Ongoing </a:t>
            </a:r>
            <a:r>
              <a:rPr sz="900" b="1">
                <a:latin typeface="Verdana"/>
                <a:cs typeface="Verdana"/>
              </a:rPr>
              <a:t>| # </a:t>
            </a:r>
            <a:r>
              <a:rPr sz="900" b="1" spc="-5">
                <a:latin typeface="Verdana"/>
                <a:cs typeface="Verdana"/>
              </a:rPr>
              <a:t>TeamMix: </a:t>
            </a:r>
            <a:r>
              <a:rPr sz="900" spc="-5">
                <a:latin typeface="Verdana"/>
                <a:cs typeface="Verdana"/>
              </a:rPr>
              <a:t>EU (Spain, France,  etc.) with Offshore (India) </a:t>
            </a:r>
            <a:r>
              <a:rPr sz="900" b="1">
                <a:latin typeface="Verdana"/>
                <a:cs typeface="Verdana"/>
              </a:rPr>
              <a:t>| </a:t>
            </a:r>
            <a:r>
              <a:rPr sz="900" b="1" spc="-5">
                <a:latin typeface="Verdana"/>
                <a:cs typeface="Verdana"/>
              </a:rPr>
              <a:t>Deal value: </a:t>
            </a:r>
            <a:r>
              <a:rPr sz="900">
                <a:latin typeface="Verdana"/>
                <a:cs typeface="Verdana"/>
              </a:rPr>
              <a:t>€ </a:t>
            </a:r>
            <a:r>
              <a:rPr sz="900" spc="-5">
                <a:latin typeface="Verdana"/>
                <a:cs typeface="Verdana"/>
              </a:rPr>
              <a:t>8.5 Mn </a:t>
            </a:r>
            <a:r>
              <a:rPr sz="900" b="1">
                <a:latin typeface="Verdana"/>
                <a:cs typeface="Verdana"/>
              </a:rPr>
              <a:t>| </a:t>
            </a:r>
            <a:r>
              <a:rPr sz="900" b="1" spc="-5">
                <a:latin typeface="Verdana"/>
                <a:cs typeface="Verdana"/>
              </a:rPr>
              <a:t>Country:</a:t>
            </a:r>
            <a:r>
              <a:rPr sz="900" b="1" spc="105">
                <a:latin typeface="Verdana"/>
                <a:cs typeface="Verdana"/>
              </a:rPr>
              <a:t> </a:t>
            </a:r>
            <a:r>
              <a:rPr sz="900" spc="-5">
                <a:latin typeface="Verdana"/>
                <a:cs typeface="Verdana"/>
              </a:rPr>
              <a:t>France</a:t>
            </a:r>
            <a:endParaRPr sz="900">
              <a:latin typeface="Verdana"/>
              <a:cs typeface="Verdana"/>
            </a:endParaRPr>
          </a:p>
        </p:txBody>
      </p:sp>
      <p:sp>
        <p:nvSpPr>
          <p:cNvPr id="14" name="object 14"/>
          <p:cNvSpPr/>
          <p:nvPr/>
        </p:nvSpPr>
        <p:spPr>
          <a:xfrm>
            <a:off x="3748419" y="1656586"/>
            <a:ext cx="419100" cy="407034"/>
          </a:xfrm>
          <a:custGeom>
            <a:avLst/>
            <a:gdLst/>
            <a:ahLst/>
            <a:cxnLst/>
            <a:rect l="l" t="t" r="r" b="b"/>
            <a:pathLst>
              <a:path w="419100" h="407035">
                <a:moveTo>
                  <a:pt x="220410" y="0"/>
                </a:moveTo>
                <a:lnTo>
                  <a:pt x="174041" y="3335"/>
                </a:lnTo>
                <a:lnTo>
                  <a:pt x="128800" y="16838"/>
                </a:lnTo>
                <a:lnTo>
                  <a:pt x="86472" y="40768"/>
                </a:lnTo>
                <a:lnTo>
                  <a:pt x="50641" y="73375"/>
                </a:lnTo>
                <a:lnTo>
                  <a:pt x="24104" y="111794"/>
                </a:lnTo>
                <a:lnTo>
                  <a:pt x="7132" y="154278"/>
                </a:lnTo>
                <a:lnTo>
                  <a:pt x="0" y="199081"/>
                </a:lnTo>
                <a:lnTo>
                  <a:pt x="2980" y="244458"/>
                </a:lnTo>
                <a:lnTo>
                  <a:pt x="16346" y="288662"/>
                </a:lnTo>
                <a:lnTo>
                  <a:pt x="40371" y="329947"/>
                </a:lnTo>
                <a:lnTo>
                  <a:pt x="73073" y="364270"/>
                </a:lnTo>
                <a:lnTo>
                  <a:pt x="111067" y="388418"/>
                </a:lnTo>
                <a:lnTo>
                  <a:pt x="152848" y="402542"/>
                </a:lnTo>
                <a:lnTo>
                  <a:pt x="196914" y="406794"/>
                </a:lnTo>
                <a:lnTo>
                  <a:pt x="241759" y="401324"/>
                </a:lnTo>
                <a:lnTo>
                  <a:pt x="285879" y="386284"/>
                </a:lnTo>
                <a:lnTo>
                  <a:pt x="327772" y="361824"/>
                </a:lnTo>
                <a:lnTo>
                  <a:pt x="364025" y="329727"/>
                </a:lnTo>
                <a:lnTo>
                  <a:pt x="391651" y="292799"/>
                </a:lnTo>
                <a:lnTo>
                  <a:pt x="410111" y="252396"/>
                </a:lnTo>
                <a:lnTo>
                  <a:pt x="418865" y="209875"/>
                </a:lnTo>
                <a:lnTo>
                  <a:pt x="417374" y="166595"/>
                </a:lnTo>
                <a:lnTo>
                  <a:pt x="405096" y="123913"/>
                </a:lnTo>
                <a:lnTo>
                  <a:pt x="381493" y="83186"/>
                </a:lnTo>
                <a:lnTo>
                  <a:pt x="348449" y="48425"/>
                </a:lnTo>
                <a:lnTo>
                  <a:pt x="309398" y="22802"/>
                </a:lnTo>
                <a:lnTo>
                  <a:pt x="266123" y="6575"/>
                </a:lnTo>
                <a:lnTo>
                  <a:pt x="220410" y="0"/>
                </a:lnTo>
                <a:close/>
              </a:path>
            </a:pathLst>
          </a:custGeom>
          <a:solidFill>
            <a:srgbClr val="12ABDB"/>
          </a:solidFill>
        </p:spPr>
        <p:txBody>
          <a:bodyPr wrap="square" lIns="0" tIns="0" rIns="0" bIns="0" rtlCol="0"/>
          <a:lstStyle/>
          <a:p>
            <a:endParaRPr/>
          </a:p>
        </p:txBody>
      </p:sp>
      <p:sp>
        <p:nvSpPr>
          <p:cNvPr id="15" name="object 15"/>
          <p:cNvSpPr/>
          <p:nvPr/>
        </p:nvSpPr>
        <p:spPr>
          <a:xfrm>
            <a:off x="3748419" y="1656586"/>
            <a:ext cx="419100" cy="407034"/>
          </a:xfrm>
          <a:custGeom>
            <a:avLst/>
            <a:gdLst/>
            <a:ahLst/>
            <a:cxnLst/>
            <a:rect l="l" t="t" r="r" b="b"/>
            <a:pathLst>
              <a:path w="419100" h="407035">
                <a:moveTo>
                  <a:pt x="40371" y="329947"/>
                </a:moveTo>
                <a:lnTo>
                  <a:pt x="16346" y="288662"/>
                </a:lnTo>
                <a:lnTo>
                  <a:pt x="2980" y="244458"/>
                </a:lnTo>
                <a:lnTo>
                  <a:pt x="0" y="199081"/>
                </a:lnTo>
                <a:lnTo>
                  <a:pt x="7132" y="154278"/>
                </a:lnTo>
                <a:lnTo>
                  <a:pt x="24104" y="111794"/>
                </a:lnTo>
                <a:lnTo>
                  <a:pt x="50641" y="73375"/>
                </a:lnTo>
                <a:lnTo>
                  <a:pt x="86472" y="40768"/>
                </a:lnTo>
                <a:lnTo>
                  <a:pt x="128800" y="16838"/>
                </a:lnTo>
                <a:lnTo>
                  <a:pt x="174041" y="3335"/>
                </a:lnTo>
                <a:lnTo>
                  <a:pt x="220410" y="0"/>
                </a:lnTo>
                <a:lnTo>
                  <a:pt x="266123" y="6575"/>
                </a:lnTo>
                <a:lnTo>
                  <a:pt x="309398" y="22802"/>
                </a:lnTo>
                <a:lnTo>
                  <a:pt x="348449" y="48425"/>
                </a:lnTo>
                <a:lnTo>
                  <a:pt x="381493" y="83186"/>
                </a:lnTo>
                <a:lnTo>
                  <a:pt x="405096" y="123913"/>
                </a:lnTo>
                <a:lnTo>
                  <a:pt x="417374" y="166595"/>
                </a:lnTo>
                <a:lnTo>
                  <a:pt x="418865" y="209875"/>
                </a:lnTo>
                <a:lnTo>
                  <a:pt x="410111" y="252396"/>
                </a:lnTo>
                <a:lnTo>
                  <a:pt x="391651" y="292799"/>
                </a:lnTo>
                <a:lnTo>
                  <a:pt x="364025" y="329727"/>
                </a:lnTo>
                <a:lnTo>
                  <a:pt x="327772" y="361824"/>
                </a:lnTo>
                <a:lnTo>
                  <a:pt x="285879" y="386284"/>
                </a:lnTo>
                <a:lnTo>
                  <a:pt x="241759" y="401324"/>
                </a:lnTo>
                <a:lnTo>
                  <a:pt x="196914" y="406794"/>
                </a:lnTo>
                <a:lnTo>
                  <a:pt x="152848" y="402542"/>
                </a:lnTo>
                <a:lnTo>
                  <a:pt x="111067" y="388418"/>
                </a:lnTo>
                <a:lnTo>
                  <a:pt x="73073" y="364270"/>
                </a:lnTo>
                <a:lnTo>
                  <a:pt x="40371" y="329947"/>
                </a:lnTo>
              </a:path>
            </a:pathLst>
          </a:custGeom>
          <a:ln w="9144">
            <a:solidFill>
              <a:srgbClr val="FFFFFF"/>
            </a:solidFill>
          </a:ln>
        </p:spPr>
        <p:txBody>
          <a:bodyPr wrap="square" lIns="0" tIns="0" rIns="0" bIns="0" rtlCol="0"/>
          <a:lstStyle/>
          <a:p>
            <a:endParaRPr/>
          </a:p>
        </p:txBody>
      </p:sp>
      <p:sp>
        <p:nvSpPr>
          <p:cNvPr id="16" name="object 16"/>
          <p:cNvSpPr/>
          <p:nvPr/>
        </p:nvSpPr>
        <p:spPr>
          <a:xfrm>
            <a:off x="8497823" y="1708404"/>
            <a:ext cx="3418840" cy="297180"/>
          </a:xfrm>
          <a:custGeom>
            <a:avLst/>
            <a:gdLst/>
            <a:ahLst/>
            <a:cxnLst/>
            <a:rect l="l" t="t" r="r" b="b"/>
            <a:pathLst>
              <a:path w="3418840" h="297180">
                <a:moveTo>
                  <a:pt x="3368802" y="0"/>
                </a:moveTo>
                <a:lnTo>
                  <a:pt x="49529" y="0"/>
                </a:lnTo>
                <a:lnTo>
                  <a:pt x="30271" y="3899"/>
                </a:lnTo>
                <a:lnTo>
                  <a:pt x="14525" y="14525"/>
                </a:lnTo>
                <a:lnTo>
                  <a:pt x="3899" y="30271"/>
                </a:lnTo>
                <a:lnTo>
                  <a:pt x="0" y="49530"/>
                </a:lnTo>
                <a:lnTo>
                  <a:pt x="0" y="247650"/>
                </a:lnTo>
                <a:lnTo>
                  <a:pt x="3899" y="266908"/>
                </a:lnTo>
                <a:lnTo>
                  <a:pt x="14525" y="282654"/>
                </a:lnTo>
                <a:lnTo>
                  <a:pt x="30271" y="293280"/>
                </a:lnTo>
                <a:lnTo>
                  <a:pt x="49529" y="297180"/>
                </a:lnTo>
                <a:lnTo>
                  <a:pt x="3368802" y="297180"/>
                </a:lnTo>
                <a:lnTo>
                  <a:pt x="3388060" y="293280"/>
                </a:lnTo>
                <a:lnTo>
                  <a:pt x="3403806" y="282654"/>
                </a:lnTo>
                <a:lnTo>
                  <a:pt x="3414432" y="266908"/>
                </a:lnTo>
                <a:lnTo>
                  <a:pt x="3418331" y="247650"/>
                </a:lnTo>
                <a:lnTo>
                  <a:pt x="3418331" y="49530"/>
                </a:lnTo>
                <a:lnTo>
                  <a:pt x="3414432" y="30271"/>
                </a:lnTo>
                <a:lnTo>
                  <a:pt x="3403806" y="14525"/>
                </a:lnTo>
                <a:lnTo>
                  <a:pt x="3388060" y="3899"/>
                </a:lnTo>
                <a:lnTo>
                  <a:pt x="3368802" y="0"/>
                </a:lnTo>
                <a:close/>
              </a:path>
            </a:pathLst>
          </a:custGeom>
          <a:solidFill>
            <a:srgbClr val="7E7E7E"/>
          </a:solidFill>
        </p:spPr>
        <p:txBody>
          <a:bodyPr wrap="square" lIns="0" tIns="0" rIns="0" bIns="0" rtlCol="0"/>
          <a:lstStyle/>
          <a:p>
            <a:endParaRPr/>
          </a:p>
        </p:txBody>
      </p:sp>
      <p:sp>
        <p:nvSpPr>
          <p:cNvPr id="17" name="object 17"/>
          <p:cNvSpPr/>
          <p:nvPr/>
        </p:nvSpPr>
        <p:spPr>
          <a:xfrm>
            <a:off x="8200023" y="1656586"/>
            <a:ext cx="419100" cy="407034"/>
          </a:xfrm>
          <a:custGeom>
            <a:avLst/>
            <a:gdLst/>
            <a:ahLst/>
            <a:cxnLst/>
            <a:rect l="l" t="t" r="r" b="b"/>
            <a:pathLst>
              <a:path w="419100" h="407035">
                <a:moveTo>
                  <a:pt x="220410" y="0"/>
                </a:moveTo>
                <a:lnTo>
                  <a:pt x="174041" y="3335"/>
                </a:lnTo>
                <a:lnTo>
                  <a:pt x="128800" y="16838"/>
                </a:lnTo>
                <a:lnTo>
                  <a:pt x="86472" y="40768"/>
                </a:lnTo>
                <a:lnTo>
                  <a:pt x="50641" y="73375"/>
                </a:lnTo>
                <a:lnTo>
                  <a:pt x="24104" y="111794"/>
                </a:lnTo>
                <a:lnTo>
                  <a:pt x="7132" y="154278"/>
                </a:lnTo>
                <a:lnTo>
                  <a:pt x="0" y="199081"/>
                </a:lnTo>
                <a:lnTo>
                  <a:pt x="2980" y="244458"/>
                </a:lnTo>
                <a:lnTo>
                  <a:pt x="16346" y="288662"/>
                </a:lnTo>
                <a:lnTo>
                  <a:pt x="40371" y="329947"/>
                </a:lnTo>
                <a:lnTo>
                  <a:pt x="73073" y="364270"/>
                </a:lnTo>
                <a:lnTo>
                  <a:pt x="111067" y="388418"/>
                </a:lnTo>
                <a:lnTo>
                  <a:pt x="152848" y="402542"/>
                </a:lnTo>
                <a:lnTo>
                  <a:pt x="196914" y="406794"/>
                </a:lnTo>
                <a:lnTo>
                  <a:pt x="241759" y="401324"/>
                </a:lnTo>
                <a:lnTo>
                  <a:pt x="285879" y="386284"/>
                </a:lnTo>
                <a:lnTo>
                  <a:pt x="327772" y="361824"/>
                </a:lnTo>
                <a:lnTo>
                  <a:pt x="364025" y="329727"/>
                </a:lnTo>
                <a:lnTo>
                  <a:pt x="391651" y="292799"/>
                </a:lnTo>
                <a:lnTo>
                  <a:pt x="410111" y="252396"/>
                </a:lnTo>
                <a:lnTo>
                  <a:pt x="418865" y="209875"/>
                </a:lnTo>
                <a:lnTo>
                  <a:pt x="417374" y="166595"/>
                </a:lnTo>
                <a:lnTo>
                  <a:pt x="405096" y="123913"/>
                </a:lnTo>
                <a:lnTo>
                  <a:pt x="381493" y="83186"/>
                </a:lnTo>
                <a:lnTo>
                  <a:pt x="348449" y="48425"/>
                </a:lnTo>
                <a:lnTo>
                  <a:pt x="309398" y="22802"/>
                </a:lnTo>
                <a:lnTo>
                  <a:pt x="266123" y="6575"/>
                </a:lnTo>
                <a:lnTo>
                  <a:pt x="220410" y="0"/>
                </a:lnTo>
                <a:close/>
              </a:path>
            </a:pathLst>
          </a:custGeom>
          <a:solidFill>
            <a:srgbClr val="7E7E7E"/>
          </a:solidFill>
        </p:spPr>
        <p:txBody>
          <a:bodyPr wrap="square" lIns="0" tIns="0" rIns="0" bIns="0" rtlCol="0"/>
          <a:lstStyle/>
          <a:p>
            <a:endParaRPr/>
          </a:p>
        </p:txBody>
      </p:sp>
      <p:sp>
        <p:nvSpPr>
          <p:cNvPr id="18" name="object 18"/>
          <p:cNvSpPr/>
          <p:nvPr/>
        </p:nvSpPr>
        <p:spPr>
          <a:xfrm>
            <a:off x="8200023" y="1656586"/>
            <a:ext cx="419100" cy="407034"/>
          </a:xfrm>
          <a:custGeom>
            <a:avLst/>
            <a:gdLst/>
            <a:ahLst/>
            <a:cxnLst/>
            <a:rect l="l" t="t" r="r" b="b"/>
            <a:pathLst>
              <a:path w="419100" h="407035">
                <a:moveTo>
                  <a:pt x="40371" y="329947"/>
                </a:moveTo>
                <a:lnTo>
                  <a:pt x="16346" y="288662"/>
                </a:lnTo>
                <a:lnTo>
                  <a:pt x="2980" y="244458"/>
                </a:lnTo>
                <a:lnTo>
                  <a:pt x="0" y="199081"/>
                </a:lnTo>
                <a:lnTo>
                  <a:pt x="7132" y="154278"/>
                </a:lnTo>
                <a:lnTo>
                  <a:pt x="24104" y="111794"/>
                </a:lnTo>
                <a:lnTo>
                  <a:pt x="50641" y="73375"/>
                </a:lnTo>
                <a:lnTo>
                  <a:pt x="86472" y="40768"/>
                </a:lnTo>
                <a:lnTo>
                  <a:pt x="128800" y="16838"/>
                </a:lnTo>
                <a:lnTo>
                  <a:pt x="174041" y="3335"/>
                </a:lnTo>
                <a:lnTo>
                  <a:pt x="220410" y="0"/>
                </a:lnTo>
                <a:lnTo>
                  <a:pt x="266123" y="6575"/>
                </a:lnTo>
                <a:lnTo>
                  <a:pt x="309398" y="22802"/>
                </a:lnTo>
                <a:lnTo>
                  <a:pt x="348449" y="48425"/>
                </a:lnTo>
                <a:lnTo>
                  <a:pt x="381493" y="83186"/>
                </a:lnTo>
                <a:lnTo>
                  <a:pt x="405096" y="123913"/>
                </a:lnTo>
                <a:lnTo>
                  <a:pt x="417374" y="166595"/>
                </a:lnTo>
                <a:lnTo>
                  <a:pt x="418865" y="209875"/>
                </a:lnTo>
                <a:lnTo>
                  <a:pt x="410111" y="252396"/>
                </a:lnTo>
                <a:lnTo>
                  <a:pt x="391651" y="292799"/>
                </a:lnTo>
                <a:lnTo>
                  <a:pt x="364025" y="329727"/>
                </a:lnTo>
                <a:lnTo>
                  <a:pt x="327772" y="361824"/>
                </a:lnTo>
                <a:lnTo>
                  <a:pt x="285879" y="386284"/>
                </a:lnTo>
                <a:lnTo>
                  <a:pt x="241759" y="401324"/>
                </a:lnTo>
                <a:lnTo>
                  <a:pt x="196914" y="406794"/>
                </a:lnTo>
                <a:lnTo>
                  <a:pt x="152848" y="402542"/>
                </a:lnTo>
                <a:lnTo>
                  <a:pt x="111067" y="388418"/>
                </a:lnTo>
                <a:lnTo>
                  <a:pt x="73073" y="364270"/>
                </a:lnTo>
                <a:lnTo>
                  <a:pt x="40371" y="329947"/>
                </a:lnTo>
              </a:path>
            </a:pathLst>
          </a:custGeom>
          <a:ln w="9144">
            <a:solidFill>
              <a:srgbClr val="FFFFFF"/>
            </a:solidFill>
          </a:ln>
        </p:spPr>
        <p:txBody>
          <a:bodyPr wrap="square" lIns="0" tIns="0" rIns="0" bIns="0" rtlCol="0"/>
          <a:lstStyle/>
          <a:p>
            <a:endParaRPr/>
          </a:p>
        </p:txBody>
      </p:sp>
      <p:sp>
        <p:nvSpPr>
          <p:cNvPr id="19" name="object 19"/>
          <p:cNvSpPr/>
          <p:nvPr/>
        </p:nvSpPr>
        <p:spPr>
          <a:xfrm>
            <a:off x="3802361" y="1722977"/>
            <a:ext cx="283482" cy="232314"/>
          </a:xfrm>
          <a:prstGeom prst="rect">
            <a:avLst/>
          </a:prstGeom>
          <a:blipFill>
            <a:blip r:embed="rId3" cstate="print"/>
            <a:stretch>
              <a:fillRect/>
            </a:stretch>
          </a:blipFill>
        </p:spPr>
        <p:txBody>
          <a:bodyPr wrap="square" lIns="0" tIns="0" rIns="0" bIns="0" rtlCol="0"/>
          <a:lstStyle/>
          <a:p>
            <a:endParaRPr/>
          </a:p>
        </p:txBody>
      </p:sp>
      <p:sp>
        <p:nvSpPr>
          <p:cNvPr id="20" name="object 20"/>
          <p:cNvSpPr/>
          <p:nvPr/>
        </p:nvSpPr>
        <p:spPr>
          <a:xfrm>
            <a:off x="8289035" y="1767839"/>
            <a:ext cx="245364" cy="179832"/>
          </a:xfrm>
          <a:prstGeom prst="rect">
            <a:avLst/>
          </a:prstGeom>
          <a:blipFill>
            <a:blip r:embed="rId4" cstate="print"/>
            <a:stretch>
              <a:fillRect/>
            </a:stretch>
          </a:blipFill>
        </p:spPr>
        <p:txBody>
          <a:bodyPr wrap="square" lIns="0" tIns="0" rIns="0" bIns="0" rtlCol="0"/>
          <a:lstStyle/>
          <a:p>
            <a:endParaRPr/>
          </a:p>
        </p:txBody>
      </p:sp>
      <p:sp>
        <p:nvSpPr>
          <p:cNvPr id="21" name="object 21"/>
          <p:cNvSpPr/>
          <p:nvPr/>
        </p:nvSpPr>
        <p:spPr>
          <a:xfrm>
            <a:off x="3489959" y="1908048"/>
            <a:ext cx="76200" cy="1981200"/>
          </a:xfrm>
          <a:custGeom>
            <a:avLst/>
            <a:gdLst/>
            <a:ahLst/>
            <a:cxnLst/>
            <a:rect l="l" t="t" r="r" b="b"/>
            <a:pathLst>
              <a:path w="76200" h="1981200">
                <a:moveTo>
                  <a:pt x="31750" y="1905777"/>
                </a:moveTo>
                <a:lnTo>
                  <a:pt x="23252" y="1907498"/>
                </a:lnTo>
                <a:lnTo>
                  <a:pt x="11144" y="1915683"/>
                </a:lnTo>
                <a:lnTo>
                  <a:pt x="2988" y="1927798"/>
                </a:lnTo>
                <a:lnTo>
                  <a:pt x="0" y="1942591"/>
                </a:lnTo>
                <a:lnTo>
                  <a:pt x="2988" y="1957439"/>
                </a:lnTo>
                <a:lnTo>
                  <a:pt x="11144" y="1969547"/>
                </a:lnTo>
                <a:lnTo>
                  <a:pt x="23252" y="1977703"/>
                </a:lnTo>
                <a:lnTo>
                  <a:pt x="38100" y="1980691"/>
                </a:lnTo>
                <a:lnTo>
                  <a:pt x="52947" y="1977703"/>
                </a:lnTo>
                <a:lnTo>
                  <a:pt x="65055" y="1969547"/>
                </a:lnTo>
                <a:lnTo>
                  <a:pt x="73211" y="1957439"/>
                </a:lnTo>
                <a:lnTo>
                  <a:pt x="76200" y="1942591"/>
                </a:lnTo>
                <a:lnTo>
                  <a:pt x="31750" y="1942591"/>
                </a:lnTo>
                <a:lnTo>
                  <a:pt x="31750" y="1905777"/>
                </a:lnTo>
                <a:close/>
              </a:path>
              <a:path w="76200" h="1981200">
                <a:moveTo>
                  <a:pt x="38100" y="1904491"/>
                </a:moveTo>
                <a:lnTo>
                  <a:pt x="31750" y="1905777"/>
                </a:lnTo>
                <a:lnTo>
                  <a:pt x="31750" y="1942591"/>
                </a:lnTo>
                <a:lnTo>
                  <a:pt x="44450" y="1942591"/>
                </a:lnTo>
                <a:lnTo>
                  <a:pt x="44450" y="1905777"/>
                </a:lnTo>
                <a:lnTo>
                  <a:pt x="38100" y="1904491"/>
                </a:lnTo>
                <a:close/>
              </a:path>
              <a:path w="76200" h="1981200">
                <a:moveTo>
                  <a:pt x="44450" y="1905777"/>
                </a:moveTo>
                <a:lnTo>
                  <a:pt x="44450" y="1942591"/>
                </a:lnTo>
                <a:lnTo>
                  <a:pt x="76200" y="1942591"/>
                </a:lnTo>
                <a:lnTo>
                  <a:pt x="73211" y="1927798"/>
                </a:lnTo>
                <a:lnTo>
                  <a:pt x="65055" y="1915683"/>
                </a:lnTo>
                <a:lnTo>
                  <a:pt x="52947" y="1907498"/>
                </a:lnTo>
                <a:lnTo>
                  <a:pt x="44450" y="1905777"/>
                </a:lnTo>
                <a:close/>
              </a:path>
              <a:path w="76200" h="1981200">
                <a:moveTo>
                  <a:pt x="44450" y="0"/>
                </a:moveTo>
                <a:lnTo>
                  <a:pt x="31750" y="0"/>
                </a:lnTo>
                <a:lnTo>
                  <a:pt x="31750" y="1905777"/>
                </a:lnTo>
                <a:lnTo>
                  <a:pt x="38100" y="1904491"/>
                </a:lnTo>
                <a:lnTo>
                  <a:pt x="44450" y="1904492"/>
                </a:lnTo>
                <a:lnTo>
                  <a:pt x="44450" y="0"/>
                </a:lnTo>
                <a:close/>
              </a:path>
              <a:path w="76200" h="1981200">
                <a:moveTo>
                  <a:pt x="44450" y="1904492"/>
                </a:moveTo>
                <a:lnTo>
                  <a:pt x="38100" y="1904491"/>
                </a:lnTo>
                <a:lnTo>
                  <a:pt x="44450" y="1905777"/>
                </a:lnTo>
                <a:lnTo>
                  <a:pt x="44450" y="1904492"/>
                </a:lnTo>
                <a:close/>
              </a:path>
            </a:pathLst>
          </a:custGeom>
          <a:solidFill>
            <a:srgbClr val="006FAC"/>
          </a:solidFill>
        </p:spPr>
        <p:txBody>
          <a:bodyPr wrap="square" lIns="0" tIns="0" rIns="0" bIns="0" rtlCol="0"/>
          <a:lstStyle/>
          <a:p>
            <a:endParaRPr/>
          </a:p>
        </p:txBody>
      </p:sp>
      <p:sp>
        <p:nvSpPr>
          <p:cNvPr id="22" name="object 22"/>
          <p:cNvSpPr/>
          <p:nvPr/>
        </p:nvSpPr>
        <p:spPr>
          <a:xfrm>
            <a:off x="8048243" y="1908048"/>
            <a:ext cx="76200" cy="1981200"/>
          </a:xfrm>
          <a:custGeom>
            <a:avLst/>
            <a:gdLst/>
            <a:ahLst/>
            <a:cxnLst/>
            <a:rect l="l" t="t" r="r" b="b"/>
            <a:pathLst>
              <a:path w="76200" h="1981200">
                <a:moveTo>
                  <a:pt x="31750" y="1905777"/>
                </a:moveTo>
                <a:lnTo>
                  <a:pt x="23252" y="1907498"/>
                </a:lnTo>
                <a:lnTo>
                  <a:pt x="11144" y="1915683"/>
                </a:lnTo>
                <a:lnTo>
                  <a:pt x="2988" y="1927798"/>
                </a:lnTo>
                <a:lnTo>
                  <a:pt x="0" y="1942591"/>
                </a:lnTo>
                <a:lnTo>
                  <a:pt x="2988" y="1957439"/>
                </a:lnTo>
                <a:lnTo>
                  <a:pt x="11144" y="1969547"/>
                </a:lnTo>
                <a:lnTo>
                  <a:pt x="23252" y="1977703"/>
                </a:lnTo>
                <a:lnTo>
                  <a:pt x="38100" y="1980691"/>
                </a:lnTo>
                <a:lnTo>
                  <a:pt x="52947" y="1977703"/>
                </a:lnTo>
                <a:lnTo>
                  <a:pt x="65055" y="1969547"/>
                </a:lnTo>
                <a:lnTo>
                  <a:pt x="73211" y="1957439"/>
                </a:lnTo>
                <a:lnTo>
                  <a:pt x="76200" y="1942591"/>
                </a:lnTo>
                <a:lnTo>
                  <a:pt x="31750" y="1942591"/>
                </a:lnTo>
                <a:lnTo>
                  <a:pt x="31750" y="1905777"/>
                </a:lnTo>
                <a:close/>
              </a:path>
              <a:path w="76200" h="1981200">
                <a:moveTo>
                  <a:pt x="38100" y="1904491"/>
                </a:moveTo>
                <a:lnTo>
                  <a:pt x="31750" y="1905777"/>
                </a:lnTo>
                <a:lnTo>
                  <a:pt x="31750" y="1942591"/>
                </a:lnTo>
                <a:lnTo>
                  <a:pt x="44450" y="1942591"/>
                </a:lnTo>
                <a:lnTo>
                  <a:pt x="44450" y="1905777"/>
                </a:lnTo>
                <a:lnTo>
                  <a:pt x="38100" y="1904491"/>
                </a:lnTo>
                <a:close/>
              </a:path>
              <a:path w="76200" h="1981200">
                <a:moveTo>
                  <a:pt x="44450" y="1905777"/>
                </a:moveTo>
                <a:lnTo>
                  <a:pt x="44450" y="1942591"/>
                </a:lnTo>
                <a:lnTo>
                  <a:pt x="76200" y="1942591"/>
                </a:lnTo>
                <a:lnTo>
                  <a:pt x="73211" y="1927798"/>
                </a:lnTo>
                <a:lnTo>
                  <a:pt x="65055" y="1915683"/>
                </a:lnTo>
                <a:lnTo>
                  <a:pt x="52947" y="1907498"/>
                </a:lnTo>
                <a:lnTo>
                  <a:pt x="44450" y="1905777"/>
                </a:lnTo>
                <a:close/>
              </a:path>
              <a:path w="76200" h="1981200">
                <a:moveTo>
                  <a:pt x="44450" y="0"/>
                </a:moveTo>
                <a:lnTo>
                  <a:pt x="31750" y="0"/>
                </a:lnTo>
                <a:lnTo>
                  <a:pt x="31750" y="1905777"/>
                </a:lnTo>
                <a:lnTo>
                  <a:pt x="38100" y="1904491"/>
                </a:lnTo>
                <a:lnTo>
                  <a:pt x="44450" y="1904492"/>
                </a:lnTo>
                <a:lnTo>
                  <a:pt x="44450" y="0"/>
                </a:lnTo>
                <a:close/>
              </a:path>
              <a:path w="76200" h="1981200">
                <a:moveTo>
                  <a:pt x="44450" y="1904492"/>
                </a:moveTo>
                <a:lnTo>
                  <a:pt x="38100" y="1904491"/>
                </a:lnTo>
                <a:lnTo>
                  <a:pt x="44450" y="1905777"/>
                </a:lnTo>
                <a:lnTo>
                  <a:pt x="44450" y="1904492"/>
                </a:lnTo>
                <a:close/>
              </a:path>
            </a:pathLst>
          </a:custGeom>
          <a:solidFill>
            <a:srgbClr val="12ABDB"/>
          </a:solidFill>
        </p:spPr>
        <p:txBody>
          <a:bodyPr wrap="square" lIns="0" tIns="0" rIns="0" bIns="0" rtlCol="0"/>
          <a:lstStyle/>
          <a:p>
            <a:endParaRPr/>
          </a:p>
        </p:txBody>
      </p:sp>
      <p:sp>
        <p:nvSpPr>
          <p:cNvPr id="23" name="object 23"/>
          <p:cNvSpPr/>
          <p:nvPr/>
        </p:nvSpPr>
        <p:spPr>
          <a:xfrm>
            <a:off x="11867388" y="1908048"/>
            <a:ext cx="76200" cy="1981200"/>
          </a:xfrm>
          <a:custGeom>
            <a:avLst/>
            <a:gdLst/>
            <a:ahLst/>
            <a:cxnLst/>
            <a:rect l="l" t="t" r="r" b="b"/>
            <a:pathLst>
              <a:path w="76200" h="1981200">
                <a:moveTo>
                  <a:pt x="31750" y="1905777"/>
                </a:moveTo>
                <a:lnTo>
                  <a:pt x="23252" y="1907498"/>
                </a:lnTo>
                <a:lnTo>
                  <a:pt x="11144" y="1915683"/>
                </a:lnTo>
                <a:lnTo>
                  <a:pt x="2988" y="1927798"/>
                </a:lnTo>
                <a:lnTo>
                  <a:pt x="0" y="1942591"/>
                </a:lnTo>
                <a:lnTo>
                  <a:pt x="2988" y="1957439"/>
                </a:lnTo>
                <a:lnTo>
                  <a:pt x="11144" y="1969547"/>
                </a:lnTo>
                <a:lnTo>
                  <a:pt x="23252" y="1977703"/>
                </a:lnTo>
                <a:lnTo>
                  <a:pt x="38100" y="1980691"/>
                </a:lnTo>
                <a:lnTo>
                  <a:pt x="52947" y="1977703"/>
                </a:lnTo>
                <a:lnTo>
                  <a:pt x="65055" y="1969547"/>
                </a:lnTo>
                <a:lnTo>
                  <a:pt x="73211" y="1957439"/>
                </a:lnTo>
                <a:lnTo>
                  <a:pt x="76200" y="1942591"/>
                </a:lnTo>
                <a:lnTo>
                  <a:pt x="31750" y="1942591"/>
                </a:lnTo>
                <a:lnTo>
                  <a:pt x="31750" y="1905777"/>
                </a:lnTo>
                <a:close/>
              </a:path>
              <a:path w="76200" h="1981200">
                <a:moveTo>
                  <a:pt x="38100" y="1904491"/>
                </a:moveTo>
                <a:lnTo>
                  <a:pt x="31750" y="1905777"/>
                </a:lnTo>
                <a:lnTo>
                  <a:pt x="31750" y="1942591"/>
                </a:lnTo>
                <a:lnTo>
                  <a:pt x="44450" y="1942591"/>
                </a:lnTo>
                <a:lnTo>
                  <a:pt x="44450" y="1905777"/>
                </a:lnTo>
                <a:lnTo>
                  <a:pt x="38100" y="1904491"/>
                </a:lnTo>
                <a:close/>
              </a:path>
              <a:path w="76200" h="1981200">
                <a:moveTo>
                  <a:pt x="44450" y="1905777"/>
                </a:moveTo>
                <a:lnTo>
                  <a:pt x="44450" y="1942591"/>
                </a:lnTo>
                <a:lnTo>
                  <a:pt x="76200" y="1942591"/>
                </a:lnTo>
                <a:lnTo>
                  <a:pt x="73211" y="1927798"/>
                </a:lnTo>
                <a:lnTo>
                  <a:pt x="65055" y="1915683"/>
                </a:lnTo>
                <a:lnTo>
                  <a:pt x="52947" y="1907498"/>
                </a:lnTo>
                <a:lnTo>
                  <a:pt x="44450" y="1905777"/>
                </a:lnTo>
                <a:close/>
              </a:path>
              <a:path w="76200" h="1981200">
                <a:moveTo>
                  <a:pt x="44450" y="0"/>
                </a:moveTo>
                <a:lnTo>
                  <a:pt x="31750" y="0"/>
                </a:lnTo>
                <a:lnTo>
                  <a:pt x="31750" y="1905777"/>
                </a:lnTo>
                <a:lnTo>
                  <a:pt x="38100" y="1904491"/>
                </a:lnTo>
                <a:lnTo>
                  <a:pt x="44450" y="1904492"/>
                </a:lnTo>
                <a:lnTo>
                  <a:pt x="44450" y="0"/>
                </a:lnTo>
                <a:close/>
              </a:path>
              <a:path w="76200" h="1981200">
                <a:moveTo>
                  <a:pt x="44450" y="1904492"/>
                </a:moveTo>
                <a:lnTo>
                  <a:pt x="38100" y="1904491"/>
                </a:lnTo>
                <a:lnTo>
                  <a:pt x="44450" y="1905777"/>
                </a:lnTo>
                <a:lnTo>
                  <a:pt x="44450" y="1904492"/>
                </a:lnTo>
                <a:close/>
              </a:path>
            </a:pathLst>
          </a:custGeom>
          <a:solidFill>
            <a:srgbClr val="7E7E7E"/>
          </a:solidFill>
        </p:spPr>
        <p:txBody>
          <a:bodyPr wrap="square" lIns="0" tIns="0" rIns="0" bIns="0" rtlCol="0"/>
          <a:lstStyle/>
          <a:p>
            <a:endParaRPr/>
          </a:p>
        </p:txBody>
      </p:sp>
      <p:sp>
        <p:nvSpPr>
          <p:cNvPr id="24" name="object 24"/>
          <p:cNvSpPr txBox="1"/>
          <p:nvPr/>
        </p:nvSpPr>
        <p:spPr>
          <a:xfrm>
            <a:off x="703580" y="1214119"/>
            <a:ext cx="11006455" cy="746760"/>
          </a:xfrm>
          <a:prstGeom prst="rect">
            <a:avLst/>
          </a:prstGeom>
        </p:spPr>
        <p:txBody>
          <a:bodyPr vert="horz" wrap="square" lIns="0" tIns="12065" rIns="0" bIns="0" rtlCol="0">
            <a:spAutoFit/>
          </a:bodyPr>
          <a:lstStyle/>
          <a:p>
            <a:pPr marL="1143635" marR="5080">
              <a:lnSpc>
                <a:spcPct val="100000"/>
              </a:lnSpc>
              <a:spcBef>
                <a:spcPts val="95"/>
              </a:spcBef>
            </a:pPr>
            <a:r>
              <a:rPr sz="1000" b="1" spc="-5">
                <a:latin typeface="Verdana"/>
                <a:cs typeface="Verdana"/>
              </a:rPr>
              <a:t>PSA </a:t>
            </a:r>
            <a:r>
              <a:rPr sz="1000">
                <a:latin typeface="Verdana"/>
                <a:cs typeface="Verdana"/>
              </a:rPr>
              <a:t>is </a:t>
            </a:r>
            <a:r>
              <a:rPr sz="1000" spc="-5">
                <a:latin typeface="Verdana"/>
                <a:cs typeface="Verdana"/>
              </a:rPr>
              <a:t>a French </a:t>
            </a:r>
            <a:r>
              <a:rPr sz="1000">
                <a:latin typeface="Verdana"/>
                <a:cs typeface="Verdana"/>
              </a:rPr>
              <a:t>multinational </a:t>
            </a:r>
            <a:r>
              <a:rPr sz="1000" spc="-5">
                <a:latin typeface="Verdana"/>
                <a:cs typeface="Verdana"/>
              </a:rPr>
              <a:t>manufacturer of automobiles and motorcycles. </a:t>
            </a:r>
            <a:r>
              <a:rPr sz="1000" spc="-10">
                <a:latin typeface="Verdana"/>
                <a:cs typeface="Verdana"/>
              </a:rPr>
              <a:t>Headquartered </a:t>
            </a:r>
            <a:r>
              <a:rPr sz="1000">
                <a:latin typeface="Verdana"/>
                <a:cs typeface="Verdana"/>
              </a:rPr>
              <a:t>in Rueil-Malmaison, </a:t>
            </a:r>
            <a:r>
              <a:rPr sz="1000" spc="-5">
                <a:latin typeface="Verdana"/>
                <a:cs typeface="Verdana"/>
              </a:rPr>
              <a:t>PSA </a:t>
            </a:r>
            <a:r>
              <a:rPr sz="1000" spc="-10">
                <a:latin typeface="Verdana"/>
                <a:cs typeface="Verdana"/>
              </a:rPr>
              <a:t>was </a:t>
            </a:r>
            <a:r>
              <a:rPr sz="1000" spc="-5">
                <a:latin typeface="Verdana"/>
                <a:cs typeface="Verdana"/>
              </a:rPr>
              <a:t>the </a:t>
            </a:r>
            <a:r>
              <a:rPr sz="1000">
                <a:latin typeface="Verdana"/>
                <a:cs typeface="Verdana"/>
              </a:rPr>
              <a:t>third-largest </a:t>
            </a:r>
            <a:r>
              <a:rPr sz="1000" spc="-5">
                <a:latin typeface="Verdana"/>
                <a:cs typeface="Verdana"/>
              </a:rPr>
              <a:t>Europe-based  automaker </a:t>
            </a:r>
            <a:r>
              <a:rPr sz="1000">
                <a:latin typeface="Verdana"/>
                <a:cs typeface="Verdana"/>
              </a:rPr>
              <a:t>in </a:t>
            </a:r>
            <a:r>
              <a:rPr sz="1000" spc="-5">
                <a:latin typeface="Verdana"/>
                <a:cs typeface="Verdana"/>
              </a:rPr>
              <a:t>2017 </a:t>
            </a:r>
            <a:r>
              <a:rPr sz="1000">
                <a:latin typeface="Verdana"/>
                <a:cs typeface="Verdana"/>
              </a:rPr>
              <a:t>with </a:t>
            </a:r>
            <a:r>
              <a:rPr sz="1000" spc="-5">
                <a:latin typeface="Verdana"/>
                <a:cs typeface="Verdana"/>
              </a:rPr>
              <a:t>sales of 4.106 </a:t>
            </a:r>
            <a:r>
              <a:rPr sz="1000">
                <a:latin typeface="Verdana"/>
                <a:cs typeface="Verdana"/>
              </a:rPr>
              <a:t>million</a:t>
            </a:r>
            <a:r>
              <a:rPr sz="1000" spc="40">
                <a:latin typeface="Verdana"/>
                <a:cs typeface="Verdana"/>
              </a:rPr>
              <a:t> </a:t>
            </a:r>
            <a:r>
              <a:rPr sz="1000">
                <a:latin typeface="Verdana"/>
                <a:cs typeface="Verdana"/>
              </a:rPr>
              <a:t>units</a:t>
            </a:r>
          </a:p>
          <a:p>
            <a:pPr>
              <a:lnSpc>
                <a:spcPct val="100000"/>
              </a:lnSpc>
            </a:pPr>
            <a:endParaRPr sz="1600">
              <a:latin typeface="Times New Roman"/>
              <a:cs typeface="Times New Roman"/>
            </a:endParaRPr>
          </a:p>
          <a:p>
            <a:pPr marL="12700">
              <a:lnSpc>
                <a:spcPct val="100000"/>
              </a:lnSpc>
              <a:tabLst>
                <a:tab pos="3539490" algn="l"/>
                <a:tab pos="7992745" algn="l"/>
              </a:tabLst>
            </a:pPr>
            <a:r>
              <a:rPr sz="1200" b="1" spc="-5">
                <a:solidFill>
                  <a:srgbClr val="FFFFFF"/>
                </a:solidFill>
                <a:latin typeface="Verdana"/>
                <a:cs typeface="Verdana"/>
              </a:rPr>
              <a:t>The</a:t>
            </a:r>
            <a:r>
              <a:rPr sz="1200" b="1">
                <a:solidFill>
                  <a:srgbClr val="FFFFFF"/>
                </a:solidFill>
                <a:latin typeface="Verdana"/>
                <a:cs typeface="Verdana"/>
              </a:rPr>
              <a:t> </a:t>
            </a:r>
            <a:r>
              <a:rPr sz="1200" b="1" spc="-5">
                <a:solidFill>
                  <a:srgbClr val="FFFFFF"/>
                </a:solidFill>
                <a:latin typeface="Verdana"/>
                <a:cs typeface="Verdana"/>
              </a:rPr>
              <a:t>Challenge	The</a:t>
            </a:r>
            <a:r>
              <a:rPr sz="1200" b="1" spc="15">
                <a:solidFill>
                  <a:srgbClr val="FFFFFF"/>
                </a:solidFill>
                <a:latin typeface="Verdana"/>
                <a:cs typeface="Verdana"/>
              </a:rPr>
              <a:t> </a:t>
            </a:r>
            <a:r>
              <a:rPr sz="1200" b="1" spc="-5">
                <a:solidFill>
                  <a:srgbClr val="FFFFFF"/>
                </a:solidFill>
                <a:latin typeface="Verdana"/>
                <a:cs typeface="Verdana"/>
              </a:rPr>
              <a:t>Solution	The</a:t>
            </a:r>
            <a:r>
              <a:rPr sz="1200" b="1">
                <a:solidFill>
                  <a:srgbClr val="FFFFFF"/>
                </a:solidFill>
                <a:latin typeface="Verdana"/>
                <a:cs typeface="Verdana"/>
              </a:rPr>
              <a:t> </a:t>
            </a:r>
            <a:r>
              <a:rPr sz="1200" b="1" spc="-5">
                <a:solidFill>
                  <a:srgbClr val="FFFFFF"/>
                </a:solidFill>
                <a:latin typeface="Verdana"/>
                <a:cs typeface="Verdana"/>
              </a:rPr>
              <a:t>Outcome</a:t>
            </a:r>
            <a:endParaRPr sz="1200">
              <a:latin typeface="Verdana"/>
              <a:cs typeface="Verdana"/>
            </a:endParaRPr>
          </a:p>
        </p:txBody>
      </p:sp>
      <p:sp>
        <p:nvSpPr>
          <p:cNvPr id="25" name="object 25"/>
          <p:cNvSpPr/>
          <p:nvPr/>
        </p:nvSpPr>
        <p:spPr>
          <a:xfrm>
            <a:off x="271272" y="1173480"/>
            <a:ext cx="723900" cy="411479"/>
          </a:xfrm>
          <a:prstGeom prst="rect">
            <a:avLst/>
          </a:prstGeom>
          <a:blipFill>
            <a:blip r:embed="rId5" cstate="print"/>
            <a:stretch>
              <a:fillRect/>
            </a:stretch>
          </a:blipFill>
        </p:spPr>
        <p:txBody>
          <a:bodyPr wrap="square" lIns="0" tIns="0" rIns="0" bIns="0" rtlCol="0"/>
          <a:lstStyle/>
          <a:p>
            <a:endParaRPr/>
          </a:p>
        </p:txBody>
      </p:sp>
      <p:sp>
        <p:nvSpPr>
          <p:cNvPr id="26" name="object 26"/>
          <p:cNvSpPr/>
          <p:nvPr/>
        </p:nvSpPr>
        <p:spPr>
          <a:xfrm>
            <a:off x="156210" y="6201765"/>
            <a:ext cx="11917680" cy="134620"/>
          </a:xfrm>
          <a:custGeom>
            <a:avLst/>
            <a:gdLst/>
            <a:ahLst/>
            <a:cxnLst/>
            <a:rect l="l" t="t" r="r" b="b"/>
            <a:pathLst>
              <a:path w="11917680" h="134620">
                <a:moveTo>
                  <a:pt x="11859786" y="67208"/>
                </a:moveTo>
                <a:lnTo>
                  <a:pt x="11787378" y="109397"/>
                </a:lnTo>
                <a:lnTo>
                  <a:pt x="11785092" y="118275"/>
                </a:lnTo>
                <a:lnTo>
                  <a:pt x="11793220" y="132080"/>
                </a:lnTo>
                <a:lnTo>
                  <a:pt x="11801983" y="134416"/>
                </a:lnTo>
                <a:lnTo>
                  <a:pt x="11892475" y="81686"/>
                </a:lnTo>
                <a:lnTo>
                  <a:pt x="11888851" y="81686"/>
                </a:lnTo>
                <a:lnTo>
                  <a:pt x="11888851" y="79717"/>
                </a:lnTo>
                <a:lnTo>
                  <a:pt x="11881231" y="79717"/>
                </a:lnTo>
                <a:lnTo>
                  <a:pt x="11859786" y="67208"/>
                </a:lnTo>
                <a:close/>
              </a:path>
              <a:path w="11917680" h="134620">
                <a:moveTo>
                  <a:pt x="11834966" y="52730"/>
                </a:moveTo>
                <a:lnTo>
                  <a:pt x="0" y="52730"/>
                </a:lnTo>
                <a:lnTo>
                  <a:pt x="0" y="81686"/>
                </a:lnTo>
                <a:lnTo>
                  <a:pt x="11834966" y="81686"/>
                </a:lnTo>
                <a:lnTo>
                  <a:pt x="11859786" y="67208"/>
                </a:lnTo>
                <a:lnTo>
                  <a:pt x="11834966" y="52730"/>
                </a:lnTo>
                <a:close/>
              </a:path>
              <a:path w="11917680" h="134620">
                <a:moveTo>
                  <a:pt x="11892475" y="52730"/>
                </a:moveTo>
                <a:lnTo>
                  <a:pt x="11888851" y="52730"/>
                </a:lnTo>
                <a:lnTo>
                  <a:pt x="11888851" y="81686"/>
                </a:lnTo>
                <a:lnTo>
                  <a:pt x="11892475" y="81686"/>
                </a:lnTo>
                <a:lnTo>
                  <a:pt x="11917299" y="67208"/>
                </a:lnTo>
                <a:lnTo>
                  <a:pt x="11892475" y="52730"/>
                </a:lnTo>
                <a:close/>
              </a:path>
              <a:path w="11917680" h="134620">
                <a:moveTo>
                  <a:pt x="11881231" y="54698"/>
                </a:moveTo>
                <a:lnTo>
                  <a:pt x="11859786" y="67208"/>
                </a:lnTo>
                <a:lnTo>
                  <a:pt x="11881231" y="79717"/>
                </a:lnTo>
                <a:lnTo>
                  <a:pt x="11881231" y="54698"/>
                </a:lnTo>
                <a:close/>
              </a:path>
              <a:path w="11917680" h="134620">
                <a:moveTo>
                  <a:pt x="11888851" y="54698"/>
                </a:moveTo>
                <a:lnTo>
                  <a:pt x="11881231" y="54698"/>
                </a:lnTo>
                <a:lnTo>
                  <a:pt x="11881231" y="79717"/>
                </a:lnTo>
                <a:lnTo>
                  <a:pt x="11888851" y="79717"/>
                </a:lnTo>
                <a:lnTo>
                  <a:pt x="11888851" y="54698"/>
                </a:lnTo>
                <a:close/>
              </a:path>
              <a:path w="11917680" h="134620">
                <a:moveTo>
                  <a:pt x="11801983" y="0"/>
                </a:moveTo>
                <a:lnTo>
                  <a:pt x="11793220" y="2336"/>
                </a:lnTo>
                <a:lnTo>
                  <a:pt x="11785092" y="16141"/>
                </a:lnTo>
                <a:lnTo>
                  <a:pt x="11787378" y="25006"/>
                </a:lnTo>
                <a:lnTo>
                  <a:pt x="11859786" y="67208"/>
                </a:lnTo>
                <a:lnTo>
                  <a:pt x="11881231" y="54698"/>
                </a:lnTo>
                <a:lnTo>
                  <a:pt x="11888851" y="54698"/>
                </a:lnTo>
                <a:lnTo>
                  <a:pt x="11888851" y="52730"/>
                </a:lnTo>
                <a:lnTo>
                  <a:pt x="11892475" y="52730"/>
                </a:lnTo>
                <a:lnTo>
                  <a:pt x="11801983" y="0"/>
                </a:lnTo>
                <a:close/>
              </a:path>
            </a:pathLst>
          </a:custGeom>
          <a:solidFill>
            <a:srgbClr val="7E7E7E"/>
          </a:solidFill>
        </p:spPr>
        <p:txBody>
          <a:bodyPr wrap="square" lIns="0" tIns="0" rIns="0" bIns="0" rtlCol="0"/>
          <a:lstStyle/>
          <a:p>
            <a:endParaRPr/>
          </a:p>
        </p:txBody>
      </p:sp>
      <p:sp>
        <p:nvSpPr>
          <p:cNvPr id="27" name="object 27"/>
          <p:cNvSpPr/>
          <p:nvPr/>
        </p:nvSpPr>
        <p:spPr>
          <a:xfrm>
            <a:off x="156210" y="6201765"/>
            <a:ext cx="11917680" cy="134620"/>
          </a:xfrm>
          <a:custGeom>
            <a:avLst/>
            <a:gdLst/>
            <a:ahLst/>
            <a:cxnLst/>
            <a:rect l="l" t="t" r="r" b="b"/>
            <a:pathLst>
              <a:path w="11917680" h="134620">
                <a:moveTo>
                  <a:pt x="11859786" y="67208"/>
                </a:moveTo>
                <a:lnTo>
                  <a:pt x="11787378" y="109397"/>
                </a:lnTo>
                <a:lnTo>
                  <a:pt x="11785092" y="118275"/>
                </a:lnTo>
                <a:lnTo>
                  <a:pt x="11793220" y="132080"/>
                </a:lnTo>
                <a:lnTo>
                  <a:pt x="11801983" y="134416"/>
                </a:lnTo>
                <a:lnTo>
                  <a:pt x="11892475" y="81686"/>
                </a:lnTo>
                <a:lnTo>
                  <a:pt x="11888851" y="81686"/>
                </a:lnTo>
                <a:lnTo>
                  <a:pt x="11888851" y="79717"/>
                </a:lnTo>
                <a:lnTo>
                  <a:pt x="11881231" y="79717"/>
                </a:lnTo>
                <a:lnTo>
                  <a:pt x="11859786" y="67208"/>
                </a:lnTo>
                <a:close/>
              </a:path>
              <a:path w="11917680" h="134620">
                <a:moveTo>
                  <a:pt x="11834966" y="52730"/>
                </a:moveTo>
                <a:lnTo>
                  <a:pt x="0" y="52730"/>
                </a:lnTo>
                <a:lnTo>
                  <a:pt x="0" y="81686"/>
                </a:lnTo>
                <a:lnTo>
                  <a:pt x="11834966" y="81686"/>
                </a:lnTo>
                <a:lnTo>
                  <a:pt x="11859786" y="67208"/>
                </a:lnTo>
                <a:lnTo>
                  <a:pt x="11834966" y="52730"/>
                </a:lnTo>
                <a:close/>
              </a:path>
              <a:path w="11917680" h="134620">
                <a:moveTo>
                  <a:pt x="11892475" y="52730"/>
                </a:moveTo>
                <a:lnTo>
                  <a:pt x="11888851" y="52730"/>
                </a:lnTo>
                <a:lnTo>
                  <a:pt x="11888851" y="81686"/>
                </a:lnTo>
                <a:lnTo>
                  <a:pt x="11892475" y="81686"/>
                </a:lnTo>
                <a:lnTo>
                  <a:pt x="11917299" y="67208"/>
                </a:lnTo>
                <a:lnTo>
                  <a:pt x="11892475" y="52730"/>
                </a:lnTo>
                <a:close/>
              </a:path>
              <a:path w="11917680" h="134620">
                <a:moveTo>
                  <a:pt x="11881231" y="54698"/>
                </a:moveTo>
                <a:lnTo>
                  <a:pt x="11859786" y="67208"/>
                </a:lnTo>
                <a:lnTo>
                  <a:pt x="11881231" y="79717"/>
                </a:lnTo>
                <a:lnTo>
                  <a:pt x="11881231" y="54698"/>
                </a:lnTo>
                <a:close/>
              </a:path>
              <a:path w="11917680" h="134620">
                <a:moveTo>
                  <a:pt x="11888851" y="54698"/>
                </a:moveTo>
                <a:lnTo>
                  <a:pt x="11881231" y="54698"/>
                </a:lnTo>
                <a:lnTo>
                  <a:pt x="11881231" y="79717"/>
                </a:lnTo>
                <a:lnTo>
                  <a:pt x="11888851" y="79717"/>
                </a:lnTo>
                <a:lnTo>
                  <a:pt x="11888851" y="54698"/>
                </a:lnTo>
                <a:close/>
              </a:path>
              <a:path w="11917680" h="134620">
                <a:moveTo>
                  <a:pt x="11801983" y="0"/>
                </a:moveTo>
                <a:lnTo>
                  <a:pt x="11793220" y="2336"/>
                </a:lnTo>
                <a:lnTo>
                  <a:pt x="11785092" y="16141"/>
                </a:lnTo>
                <a:lnTo>
                  <a:pt x="11787378" y="25006"/>
                </a:lnTo>
                <a:lnTo>
                  <a:pt x="11859786" y="67208"/>
                </a:lnTo>
                <a:lnTo>
                  <a:pt x="11881231" y="54698"/>
                </a:lnTo>
                <a:lnTo>
                  <a:pt x="11888851" y="54698"/>
                </a:lnTo>
                <a:lnTo>
                  <a:pt x="11888851" y="52730"/>
                </a:lnTo>
                <a:lnTo>
                  <a:pt x="11892475" y="52730"/>
                </a:lnTo>
                <a:lnTo>
                  <a:pt x="11801983" y="0"/>
                </a:lnTo>
                <a:close/>
              </a:path>
            </a:pathLst>
          </a:custGeom>
          <a:solidFill>
            <a:srgbClr val="7E7E7E"/>
          </a:solidFill>
        </p:spPr>
        <p:txBody>
          <a:bodyPr wrap="square" lIns="0" tIns="0" rIns="0" bIns="0" rtlCol="0"/>
          <a:lstStyle/>
          <a:p>
            <a:endParaRPr/>
          </a:p>
        </p:txBody>
      </p:sp>
      <p:sp>
        <p:nvSpPr>
          <p:cNvPr id="28" name="object 28"/>
          <p:cNvSpPr/>
          <p:nvPr/>
        </p:nvSpPr>
        <p:spPr>
          <a:xfrm>
            <a:off x="41148" y="5911596"/>
            <a:ext cx="717804" cy="717804"/>
          </a:xfrm>
          <a:prstGeom prst="rect">
            <a:avLst/>
          </a:prstGeom>
          <a:blipFill>
            <a:blip r:embed="rId6" cstate="print"/>
            <a:stretch>
              <a:fillRect/>
            </a:stretch>
          </a:blipFill>
        </p:spPr>
        <p:txBody>
          <a:bodyPr wrap="square" lIns="0" tIns="0" rIns="0" bIns="0" rtlCol="0"/>
          <a:lstStyle/>
          <a:p>
            <a:endParaRPr/>
          </a:p>
        </p:txBody>
      </p:sp>
      <p:sp>
        <p:nvSpPr>
          <p:cNvPr id="29" name="object 29"/>
          <p:cNvSpPr/>
          <p:nvPr/>
        </p:nvSpPr>
        <p:spPr>
          <a:xfrm>
            <a:off x="135636" y="6048755"/>
            <a:ext cx="524256" cy="502919"/>
          </a:xfrm>
          <a:prstGeom prst="rect">
            <a:avLst/>
          </a:prstGeom>
          <a:blipFill>
            <a:blip r:embed="rId7" cstate="print"/>
            <a:stretch>
              <a:fillRect/>
            </a:stretch>
          </a:blipFill>
        </p:spPr>
        <p:txBody>
          <a:bodyPr wrap="square" lIns="0" tIns="0" rIns="0" bIns="0" rtlCol="0"/>
          <a:lstStyle/>
          <a:p>
            <a:endParaRPr/>
          </a:p>
        </p:txBody>
      </p:sp>
      <p:sp>
        <p:nvSpPr>
          <p:cNvPr id="30" name="object 30"/>
          <p:cNvSpPr txBox="1"/>
          <p:nvPr/>
        </p:nvSpPr>
        <p:spPr>
          <a:xfrm>
            <a:off x="240893" y="6196380"/>
            <a:ext cx="318135" cy="147955"/>
          </a:xfrm>
          <a:prstGeom prst="rect">
            <a:avLst/>
          </a:prstGeom>
        </p:spPr>
        <p:txBody>
          <a:bodyPr vert="horz" wrap="square" lIns="0" tIns="12700" rIns="0" bIns="0" rtlCol="0">
            <a:spAutoFit/>
          </a:bodyPr>
          <a:lstStyle/>
          <a:p>
            <a:pPr marL="12700">
              <a:lnSpc>
                <a:spcPct val="100000"/>
              </a:lnSpc>
              <a:spcBef>
                <a:spcPts val="100"/>
              </a:spcBef>
            </a:pPr>
            <a:r>
              <a:rPr sz="800" b="1">
                <a:latin typeface="Verdana"/>
                <a:cs typeface="Verdana"/>
              </a:rPr>
              <a:t>2017</a:t>
            </a:r>
            <a:endParaRPr sz="800">
              <a:latin typeface="Verdana"/>
              <a:cs typeface="Verdana"/>
            </a:endParaRPr>
          </a:p>
        </p:txBody>
      </p:sp>
      <p:sp>
        <p:nvSpPr>
          <p:cNvPr id="31" name="object 31"/>
          <p:cNvSpPr/>
          <p:nvPr/>
        </p:nvSpPr>
        <p:spPr>
          <a:xfrm>
            <a:off x="397763" y="4904232"/>
            <a:ext cx="2540" cy="1125220"/>
          </a:xfrm>
          <a:custGeom>
            <a:avLst/>
            <a:gdLst/>
            <a:ahLst/>
            <a:cxnLst/>
            <a:rect l="l" t="t" r="r" b="b"/>
            <a:pathLst>
              <a:path w="2539" h="1125220">
                <a:moveTo>
                  <a:pt x="0" y="1124712"/>
                </a:moveTo>
                <a:lnTo>
                  <a:pt x="2235" y="0"/>
                </a:lnTo>
              </a:path>
            </a:pathLst>
          </a:custGeom>
          <a:ln w="6096">
            <a:solidFill>
              <a:srgbClr val="7E7E7E"/>
            </a:solidFill>
          </a:ln>
        </p:spPr>
        <p:txBody>
          <a:bodyPr wrap="square" lIns="0" tIns="0" rIns="0" bIns="0" rtlCol="0"/>
          <a:lstStyle/>
          <a:p>
            <a:endParaRPr/>
          </a:p>
        </p:txBody>
      </p:sp>
      <p:sp>
        <p:nvSpPr>
          <p:cNvPr id="32" name="object 32"/>
          <p:cNvSpPr/>
          <p:nvPr/>
        </p:nvSpPr>
        <p:spPr>
          <a:xfrm>
            <a:off x="10808969" y="6145529"/>
            <a:ext cx="1001394" cy="259079"/>
          </a:xfrm>
          <a:custGeom>
            <a:avLst/>
            <a:gdLst/>
            <a:ahLst/>
            <a:cxnLst/>
            <a:rect l="l" t="t" r="r" b="b"/>
            <a:pathLst>
              <a:path w="1001395" h="259079">
                <a:moveTo>
                  <a:pt x="958087" y="0"/>
                </a:moveTo>
                <a:lnTo>
                  <a:pt x="43179" y="0"/>
                </a:lnTo>
                <a:lnTo>
                  <a:pt x="26360" y="3392"/>
                </a:lnTo>
                <a:lnTo>
                  <a:pt x="12636" y="12646"/>
                </a:lnTo>
                <a:lnTo>
                  <a:pt x="3389" y="26371"/>
                </a:lnTo>
                <a:lnTo>
                  <a:pt x="0" y="43180"/>
                </a:lnTo>
                <a:lnTo>
                  <a:pt x="0" y="215900"/>
                </a:lnTo>
                <a:lnTo>
                  <a:pt x="3389" y="232708"/>
                </a:lnTo>
                <a:lnTo>
                  <a:pt x="12636" y="246433"/>
                </a:lnTo>
                <a:lnTo>
                  <a:pt x="26360" y="255687"/>
                </a:lnTo>
                <a:lnTo>
                  <a:pt x="43179" y="259080"/>
                </a:lnTo>
                <a:lnTo>
                  <a:pt x="958087" y="259080"/>
                </a:lnTo>
                <a:lnTo>
                  <a:pt x="974907" y="255687"/>
                </a:lnTo>
                <a:lnTo>
                  <a:pt x="988631" y="246433"/>
                </a:lnTo>
                <a:lnTo>
                  <a:pt x="997878" y="232708"/>
                </a:lnTo>
                <a:lnTo>
                  <a:pt x="1001268" y="215900"/>
                </a:lnTo>
                <a:lnTo>
                  <a:pt x="1001268" y="43180"/>
                </a:lnTo>
                <a:lnTo>
                  <a:pt x="997878" y="26371"/>
                </a:lnTo>
                <a:lnTo>
                  <a:pt x="988631" y="12646"/>
                </a:lnTo>
                <a:lnTo>
                  <a:pt x="974907" y="3392"/>
                </a:lnTo>
                <a:lnTo>
                  <a:pt x="958087" y="0"/>
                </a:lnTo>
                <a:close/>
              </a:path>
            </a:pathLst>
          </a:custGeom>
          <a:solidFill>
            <a:srgbClr val="FFFFFF"/>
          </a:solidFill>
        </p:spPr>
        <p:txBody>
          <a:bodyPr wrap="square" lIns="0" tIns="0" rIns="0" bIns="0" rtlCol="0"/>
          <a:lstStyle/>
          <a:p>
            <a:endParaRPr/>
          </a:p>
        </p:txBody>
      </p:sp>
      <p:sp>
        <p:nvSpPr>
          <p:cNvPr id="33" name="object 33"/>
          <p:cNvSpPr/>
          <p:nvPr/>
        </p:nvSpPr>
        <p:spPr>
          <a:xfrm>
            <a:off x="10808969" y="6145529"/>
            <a:ext cx="1001394" cy="259079"/>
          </a:xfrm>
          <a:custGeom>
            <a:avLst/>
            <a:gdLst/>
            <a:ahLst/>
            <a:cxnLst/>
            <a:rect l="l" t="t" r="r" b="b"/>
            <a:pathLst>
              <a:path w="1001395" h="259079">
                <a:moveTo>
                  <a:pt x="0" y="43180"/>
                </a:moveTo>
                <a:lnTo>
                  <a:pt x="3389" y="26371"/>
                </a:lnTo>
                <a:lnTo>
                  <a:pt x="12636" y="12646"/>
                </a:lnTo>
                <a:lnTo>
                  <a:pt x="26360" y="3392"/>
                </a:lnTo>
                <a:lnTo>
                  <a:pt x="43179" y="0"/>
                </a:lnTo>
                <a:lnTo>
                  <a:pt x="958087" y="0"/>
                </a:lnTo>
                <a:lnTo>
                  <a:pt x="974907" y="3392"/>
                </a:lnTo>
                <a:lnTo>
                  <a:pt x="988631" y="12646"/>
                </a:lnTo>
                <a:lnTo>
                  <a:pt x="997878" y="26371"/>
                </a:lnTo>
                <a:lnTo>
                  <a:pt x="1001268" y="43180"/>
                </a:lnTo>
                <a:lnTo>
                  <a:pt x="1001268" y="215900"/>
                </a:lnTo>
                <a:lnTo>
                  <a:pt x="997878" y="232708"/>
                </a:lnTo>
                <a:lnTo>
                  <a:pt x="988631" y="246433"/>
                </a:lnTo>
                <a:lnTo>
                  <a:pt x="974907" y="255687"/>
                </a:lnTo>
                <a:lnTo>
                  <a:pt x="958087" y="259080"/>
                </a:lnTo>
                <a:lnTo>
                  <a:pt x="43179" y="259080"/>
                </a:lnTo>
                <a:lnTo>
                  <a:pt x="26360" y="255687"/>
                </a:lnTo>
                <a:lnTo>
                  <a:pt x="12636" y="246433"/>
                </a:lnTo>
                <a:lnTo>
                  <a:pt x="3389" y="232708"/>
                </a:lnTo>
                <a:lnTo>
                  <a:pt x="0" y="215900"/>
                </a:lnTo>
                <a:lnTo>
                  <a:pt x="0" y="43180"/>
                </a:lnTo>
                <a:close/>
              </a:path>
            </a:pathLst>
          </a:custGeom>
          <a:ln w="28956">
            <a:solidFill>
              <a:srgbClr val="0D80A3"/>
            </a:solidFill>
          </a:ln>
        </p:spPr>
        <p:txBody>
          <a:bodyPr wrap="square" lIns="0" tIns="0" rIns="0" bIns="0" rtlCol="0"/>
          <a:lstStyle/>
          <a:p>
            <a:endParaRPr/>
          </a:p>
        </p:txBody>
      </p:sp>
      <p:sp>
        <p:nvSpPr>
          <p:cNvPr id="34" name="object 34"/>
          <p:cNvSpPr txBox="1"/>
          <p:nvPr/>
        </p:nvSpPr>
        <p:spPr>
          <a:xfrm>
            <a:off x="11057001" y="6200343"/>
            <a:ext cx="506730" cy="147955"/>
          </a:xfrm>
          <a:prstGeom prst="rect">
            <a:avLst/>
          </a:prstGeom>
        </p:spPr>
        <p:txBody>
          <a:bodyPr vert="horz" wrap="square" lIns="0" tIns="12700" rIns="0" bIns="0" rtlCol="0">
            <a:spAutoFit/>
          </a:bodyPr>
          <a:lstStyle/>
          <a:p>
            <a:pPr marL="12700">
              <a:lnSpc>
                <a:spcPct val="100000"/>
              </a:lnSpc>
              <a:spcBef>
                <a:spcPts val="100"/>
              </a:spcBef>
            </a:pPr>
            <a:r>
              <a:rPr sz="800" b="1" spc="-5">
                <a:latin typeface="Verdana"/>
                <a:cs typeface="Verdana"/>
              </a:rPr>
              <a:t>O</a:t>
            </a:r>
            <a:r>
              <a:rPr sz="800" b="1">
                <a:latin typeface="Verdana"/>
                <a:cs typeface="Verdana"/>
              </a:rPr>
              <a:t>n</a:t>
            </a:r>
            <a:r>
              <a:rPr sz="800" b="1" spc="-5">
                <a:latin typeface="Verdana"/>
                <a:cs typeface="Verdana"/>
              </a:rPr>
              <a:t>go</a:t>
            </a:r>
            <a:r>
              <a:rPr sz="800" b="1">
                <a:latin typeface="Verdana"/>
                <a:cs typeface="Verdana"/>
              </a:rPr>
              <a:t>ing</a:t>
            </a:r>
            <a:endParaRPr sz="800">
              <a:latin typeface="Verdana"/>
              <a:cs typeface="Verdana"/>
            </a:endParaRPr>
          </a:p>
        </p:txBody>
      </p:sp>
      <p:sp>
        <p:nvSpPr>
          <p:cNvPr id="35" name="object 35"/>
          <p:cNvSpPr txBox="1"/>
          <p:nvPr/>
        </p:nvSpPr>
        <p:spPr>
          <a:xfrm>
            <a:off x="324713" y="4804105"/>
            <a:ext cx="1256665" cy="148590"/>
          </a:xfrm>
          <a:prstGeom prst="rect">
            <a:avLst/>
          </a:prstGeom>
        </p:spPr>
        <p:txBody>
          <a:bodyPr vert="horz" wrap="square" lIns="0" tIns="13335" rIns="0" bIns="0" rtlCol="0">
            <a:spAutoFit/>
          </a:bodyPr>
          <a:lstStyle/>
          <a:p>
            <a:pPr marL="184785" indent="-172720">
              <a:lnSpc>
                <a:spcPct val="100000"/>
              </a:lnSpc>
              <a:spcBef>
                <a:spcPts val="105"/>
              </a:spcBef>
              <a:buClr>
                <a:srgbClr val="006FAC"/>
              </a:buClr>
              <a:buSzPct val="118750"/>
              <a:buFont typeface="Wingdings"/>
              <a:buChar char=""/>
              <a:tabLst>
                <a:tab pos="185420" algn="l"/>
              </a:tabLst>
            </a:pPr>
            <a:r>
              <a:rPr sz="800">
                <a:solidFill>
                  <a:srgbClr val="16091F"/>
                </a:solidFill>
                <a:latin typeface="Verdana"/>
                <a:cs typeface="Verdana"/>
              </a:rPr>
              <a:t>On-boarding Wave</a:t>
            </a:r>
            <a:r>
              <a:rPr sz="800" spc="-100">
                <a:solidFill>
                  <a:srgbClr val="16091F"/>
                </a:solidFill>
                <a:latin typeface="Verdana"/>
                <a:cs typeface="Verdana"/>
              </a:rPr>
              <a:t> </a:t>
            </a:r>
            <a:r>
              <a:rPr sz="800">
                <a:solidFill>
                  <a:srgbClr val="16091F"/>
                </a:solidFill>
                <a:latin typeface="Verdana"/>
                <a:cs typeface="Verdana"/>
              </a:rPr>
              <a:t>0</a:t>
            </a:r>
            <a:endParaRPr sz="800">
              <a:latin typeface="Verdana"/>
              <a:cs typeface="Verdana"/>
            </a:endParaRPr>
          </a:p>
        </p:txBody>
      </p:sp>
      <p:sp>
        <p:nvSpPr>
          <p:cNvPr id="36" name="object 36"/>
          <p:cNvSpPr/>
          <p:nvPr/>
        </p:nvSpPr>
        <p:spPr>
          <a:xfrm>
            <a:off x="2790444" y="5919215"/>
            <a:ext cx="717804" cy="717804"/>
          </a:xfrm>
          <a:prstGeom prst="rect">
            <a:avLst/>
          </a:prstGeom>
          <a:blipFill>
            <a:blip r:embed="rId6" cstate="print"/>
            <a:stretch>
              <a:fillRect/>
            </a:stretch>
          </a:blipFill>
        </p:spPr>
        <p:txBody>
          <a:bodyPr wrap="square" lIns="0" tIns="0" rIns="0" bIns="0" rtlCol="0"/>
          <a:lstStyle/>
          <a:p>
            <a:endParaRPr/>
          </a:p>
        </p:txBody>
      </p:sp>
      <p:sp>
        <p:nvSpPr>
          <p:cNvPr id="37" name="object 37"/>
          <p:cNvSpPr/>
          <p:nvPr/>
        </p:nvSpPr>
        <p:spPr>
          <a:xfrm>
            <a:off x="2884932" y="6057900"/>
            <a:ext cx="524256" cy="502920"/>
          </a:xfrm>
          <a:prstGeom prst="rect">
            <a:avLst/>
          </a:prstGeom>
          <a:blipFill>
            <a:blip r:embed="rId8" cstate="print"/>
            <a:stretch>
              <a:fillRect/>
            </a:stretch>
          </a:blipFill>
        </p:spPr>
        <p:txBody>
          <a:bodyPr wrap="square" lIns="0" tIns="0" rIns="0" bIns="0" rtlCol="0"/>
          <a:lstStyle/>
          <a:p>
            <a:endParaRPr/>
          </a:p>
        </p:txBody>
      </p:sp>
      <p:sp>
        <p:nvSpPr>
          <p:cNvPr id="38" name="object 38"/>
          <p:cNvSpPr txBox="1"/>
          <p:nvPr/>
        </p:nvSpPr>
        <p:spPr>
          <a:xfrm>
            <a:off x="2990469" y="6204915"/>
            <a:ext cx="318135" cy="147955"/>
          </a:xfrm>
          <a:prstGeom prst="rect">
            <a:avLst/>
          </a:prstGeom>
        </p:spPr>
        <p:txBody>
          <a:bodyPr vert="horz" wrap="square" lIns="0" tIns="12700" rIns="0" bIns="0" rtlCol="0">
            <a:spAutoFit/>
          </a:bodyPr>
          <a:lstStyle/>
          <a:p>
            <a:pPr marL="12700">
              <a:lnSpc>
                <a:spcPct val="100000"/>
              </a:lnSpc>
              <a:spcBef>
                <a:spcPts val="100"/>
              </a:spcBef>
            </a:pPr>
            <a:r>
              <a:rPr sz="800" b="1">
                <a:latin typeface="Verdana"/>
                <a:cs typeface="Verdana"/>
              </a:rPr>
              <a:t>2018</a:t>
            </a:r>
            <a:endParaRPr sz="800">
              <a:latin typeface="Verdana"/>
              <a:cs typeface="Verdana"/>
            </a:endParaRPr>
          </a:p>
        </p:txBody>
      </p:sp>
      <p:sp>
        <p:nvSpPr>
          <p:cNvPr id="39" name="object 39"/>
          <p:cNvSpPr txBox="1"/>
          <p:nvPr/>
        </p:nvSpPr>
        <p:spPr>
          <a:xfrm>
            <a:off x="3074670" y="4789092"/>
            <a:ext cx="2562860" cy="327660"/>
          </a:xfrm>
          <a:prstGeom prst="rect">
            <a:avLst/>
          </a:prstGeom>
        </p:spPr>
        <p:txBody>
          <a:bodyPr vert="horz" wrap="square" lIns="0" tIns="28575" rIns="0" bIns="0" rtlCol="0">
            <a:spAutoFit/>
          </a:bodyPr>
          <a:lstStyle/>
          <a:p>
            <a:pPr marL="184785" indent="-172720">
              <a:lnSpc>
                <a:spcPct val="100000"/>
              </a:lnSpc>
              <a:spcBef>
                <a:spcPts val="225"/>
              </a:spcBef>
              <a:buClr>
                <a:srgbClr val="006FAC"/>
              </a:buClr>
              <a:buSzPct val="118750"/>
              <a:buFont typeface="Wingdings"/>
              <a:buChar char=""/>
              <a:tabLst>
                <a:tab pos="185420" algn="l"/>
              </a:tabLst>
            </a:pPr>
            <a:r>
              <a:rPr sz="800" spc="-5">
                <a:solidFill>
                  <a:srgbClr val="16091F"/>
                </a:solidFill>
                <a:latin typeface="Verdana"/>
                <a:cs typeface="Verdana"/>
              </a:rPr>
              <a:t>Build solution </a:t>
            </a:r>
            <a:r>
              <a:rPr sz="800">
                <a:solidFill>
                  <a:srgbClr val="16091F"/>
                </a:solidFill>
                <a:latin typeface="Verdana"/>
                <a:cs typeface="Verdana"/>
              </a:rPr>
              <a:t>9</a:t>
            </a:r>
            <a:r>
              <a:rPr sz="800" spc="50">
                <a:solidFill>
                  <a:srgbClr val="16091F"/>
                </a:solidFill>
                <a:latin typeface="Verdana"/>
                <a:cs typeface="Verdana"/>
              </a:rPr>
              <a:t> </a:t>
            </a:r>
            <a:r>
              <a:rPr sz="800" spc="-5">
                <a:solidFill>
                  <a:srgbClr val="16091F"/>
                </a:solidFill>
                <a:latin typeface="Verdana"/>
                <a:cs typeface="Verdana"/>
              </a:rPr>
              <a:t>interfaces</a:t>
            </a:r>
            <a:endParaRPr sz="800">
              <a:latin typeface="Verdana"/>
              <a:cs typeface="Verdana"/>
            </a:endParaRPr>
          </a:p>
          <a:p>
            <a:pPr marL="184785" indent="-172720">
              <a:lnSpc>
                <a:spcPct val="100000"/>
              </a:lnSpc>
              <a:spcBef>
                <a:spcPts val="300"/>
              </a:spcBef>
              <a:buClr>
                <a:srgbClr val="006FAC"/>
              </a:buClr>
              <a:buSzPct val="118750"/>
              <a:buFont typeface="Wingdings"/>
              <a:buChar char=""/>
              <a:tabLst>
                <a:tab pos="185420" algn="l"/>
              </a:tabLst>
            </a:pPr>
            <a:r>
              <a:rPr sz="800">
                <a:solidFill>
                  <a:srgbClr val="16091F"/>
                </a:solidFill>
                <a:latin typeface="Verdana"/>
                <a:cs typeface="Verdana"/>
              </a:rPr>
              <a:t>Wave 1 – </a:t>
            </a:r>
            <a:r>
              <a:rPr sz="800" spc="-5">
                <a:solidFill>
                  <a:srgbClr val="16091F"/>
                </a:solidFill>
                <a:latin typeface="Verdana"/>
                <a:cs typeface="Verdana"/>
              </a:rPr>
              <a:t>Chile and Poland. </a:t>
            </a:r>
            <a:r>
              <a:rPr sz="800">
                <a:solidFill>
                  <a:srgbClr val="16091F"/>
                </a:solidFill>
                <a:latin typeface="Verdana"/>
                <a:cs typeface="Verdana"/>
              </a:rPr>
              <a:t>There are 65</a:t>
            </a:r>
            <a:r>
              <a:rPr sz="800" spc="15">
                <a:solidFill>
                  <a:srgbClr val="16091F"/>
                </a:solidFill>
                <a:latin typeface="Verdana"/>
                <a:cs typeface="Verdana"/>
              </a:rPr>
              <a:t> </a:t>
            </a:r>
            <a:r>
              <a:rPr sz="800" spc="-5">
                <a:solidFill>
                  <a:srgbClr val="16091F"/>
                </a:solidFill>
                <a:latin typeface="Verdana"/>
                <a:cs typeface="Verdana"/>
              </a:rPr>
              <a:t>pilot</a:t>
            </a:r>
            <a:endParaRPr sz="800">
              <a:latin typeface="Verdana"/>
              <a:cs typeface="Verdana"/>
            </a:endParaRPr>
          </a:p>
        </p:txBody>
      </p:sp>
      <p:sp>
        <p:nvSpPr>
          <p:cNvPr id="40" name="object 40"/>
          <p:cNvSpPr txBox="1"/>
          <p:nvPr/>
        </p:nvSpPr>
        <p:spPr>
          <a:xfrm>
            <a:off x="3074670" y="5071798"/>
            <a:ext cx="2458720" cy="768985"/>
          </a:xfrm>
          <a:prstGeom prst="rect">
            <a:avLst/>
          </a:prstGeom>
        </p:spPr>
        <p:txBody>
          <a:bodyPr vert="horz" wrap="square" lIns="0" tIns="27940" rIns="0" bIns="0" rtlCol="0">
            <a:spAutoFit/>
          </a:bodyPr>
          <a:lstStyle/>
          <a:p>
            <a:pPr marL="184785">
              <a:lnSpc>
                <a:spcPct val="100000"/>
              </a:lnSpc>
              <a:spcBef>
                <a:spcPts val="220"/>
              </a:spcBef>
            </a:pPr>
            <a:r>
              <a:rPr sz="800">
                <a:solidFill>
                  <a:srgbClr val="16091F"/>
                </a:solidFill>
                <a:latin typeface="Verdana"/>
                <a:cs typeface="Verdana"/>
              </a:rPr>
              <a:t>users</a:t>
            </a:r>
            <a:endParaRPr sz="800">
              <a:latin typeface="Verdana"/>
              <a:cs typeface="Verdana"/>
            </a:endParaRPr>
          </a:p>
          <a:p>
            <a:pPr marL="184785" indent="-172720">
              <a:lnSpc>
                <a:spcPct val="100000"/>
              </a:lnSpc>
              <a:spcBef>
                <a:spcPts val="300"/>
              </a:spcBef>
              <a:buClr>
                <a:srgbClr val="006FAC"/>
              </a:buClr>
              <a:buSzPct val="118750"/>
              <a:buFont typeface="Wingdings"/>
              <a:buChar char=""/>
              <a:tabLst>
                <a:tab pos="185420" algn="l"/>
              </a:tabLst>
            </a:pPr>
            <a:r>
              <a:rPr sz="800" spc="-5">
                <a:solidFill>
                  <a:srgbClr val="16091F"/>
                </a:solidFill>
                <a:latin typeface="Verdana"/>
                <a:cs typeface="Verdana"/>
              </a:rPr>
              <a:t>Initiated </a:t>
            </a:r>
            <a:r>
              <a:rPr sz="800">
                <a:solidFill>
                  <a:srgbClr val="16091F"/>
                </a:solidFill>
                <a:latin typeface="Verdana"/>
                <a:cs typeface="Verdana"/>
              </a:rPr>
              <a:t>Wave 2 –</a:t>
            </a:r>
            <a:r>
              <a:rPr sz="800" spc="5">
                <a:solidFill>
                  <a:srgbClr val="16091F"/>
                </a:solidFill>
                <a:latin typeface="Verdana"/>
                <a:cs typeface="Verdana"/>
              </a:rPr>
              <a:t> </a:t>
            </a:r>
            <a:r>
              <a:rPr sz="800">
                <a:solidFill>
                  <a:srgbClr val="16091F"/>
                </a:solidFill>
                <a:latin typeface="Verdana"/>
                <a:cs typeface="Verdana"/>
              </a:rPr>
              <a:t>Algeria</a:t>
            </a:r>
            <a:endParaRPr sz="800">
              <a:latin typeface="Verdana"/>
              <a:cs typeface="Verdana"/>
            </a:endParaRPr>
          </a:p>
          <a:p>
            <a:pPr marL="184785" marR="5080" indent="-172720">
              <a:lnSpc>
                <a:spcPct val="100000"/>
              </a:lnSpc>
              <a:spcBef>
                <a:spcPts val="300"/>
              </a:spcBef>
              <a:buClr>
                <a:srgbClr val="006FAC"/>
              </a:buClr>
              <a:buSzPct val="118750"/>
              <a:buFont typeface="Wingdings"/>
              <a:buChar char=""/>
              <a:tabLst>
                <a:tab pos="185420" algn="l"/>
              </a:tabLst>
            </a:pPr>
            <a:r>
              <a:rPr sz="800" spc="-5">
                <a:solidFill>
                  <a:srgbClr val="16091F"/>
                </a:solidFill>
                <a:latin typeface="Verdana"/>
                <a:cs typeface="Verdana"/>
              </a:rPr>
              <a:t>Additionally </a:t>
            </a:r>
            <a:r>
              <a:rPr sz="800">
                <a:solidFill>
                  <a:srgbClr val="16091F"/>
                </a:solidFill>
                <a:latin typeface="Verdana"/>
                <a:cs typeface="Verdana"/>
              </a:rPr>
              <a:t>developed 40 interfaces, </a:t>
            </a:r>
            <a:r>
              <a:rPr sz="800" spc="-5">
                <a:solidFill>
                  <a:srgbClr val="16091F"/>
                </a:solidFill>
                <a:latin typeface="Verdana"/>
                <a:cs typeface="Verdana"/>
              </a:rPr>
              <a:t>will </a:t>
            </a:r>
            <a:r>
              <a:rPr sz="800">
                <a:solidFill>
                  <a:srgbClr val="16091F"/>
                </a:solidFill>
                <a:latin typeface="Verdana"/>
                <a:cs typeface="Verdana"/>
              </a:rPr>
              <a:t>be  releasing </a:t>
            </a:r>
            <a:r>
              <a:rPr sz="800" spc="-5">
                <a:solidFill>
                  <a:srgbClr val="16091F"/>
                </a:solidFill>
                <a:latin typeface="Verdana"/>
                <a:cs typeface="Verdana"/>
              </a:rPr>
              <a:t>to </a:t>
            </a:r>
            <a:r>
              <a:rPr sz="800">
                <a:solidFill>
                  <a:srgbClr val="16091F"/>
                </a:solidFill>
                <a:latin typeface="Verdana"/>
                <a:cs typeface="Verdana"/>
              </a:rPr>
              <a:t>3</a:t>
            </a:r>
            <a:r>
              <a:rPr sz="800" spc="-5">
                <a:solidFill>
                  <a:srgbClr val="16091F"/>
                </a:solidFill>
                <a:latin typeface="Verdana"/>
                <a:cs typeface="Verdana"/>
              </a:rPr>
              <a:t> countries</a:t>
            </a:r>
            <a:endParaRPr sz="800">
              <a:latin typeface="Verdana"/>
              <a:cs typeface="Verdana"/>
            </a:endParaRPr>
          </a:p>
          <a:p>
            <a:pPr marL="184785" indent="-172720">
              <a:lnSpc>
                <a:spcPct val="100000"/>
              </a:lnSpc>
              <a:spcBef>
                <a:spcPts val="300"/>
              </a:spcBef>
              <a:buClr>
                <a:srgbClr val="006FAC"/>
              </a:buClr>
              <a:buSzPct val="118750"/>
              <a:buFont typeface="Wingdings"/>
              <a:buChar char=""/>
              <a:tabLst>
                <a:tab pos="185420" algn="l"/>
              </a:tabLst>
            </a:pPr>
            <a:r>
              <a:rPr sz="800" spc="-5">
                <a:solidFill>
                  <a:srgbClr val="16091F"/>
                </a:solidFill>
                <a:latin typeface="Verdana"/>
                <a:cs typeface="Verdana"/>
              </a:rPr>
              <a:t>Planning </a:t>
            </a:r>
            <a:r>
              <a:rPr sz="800">
                <a:solidFill>
                  <a:srgbClr val="16091F"/>
                </a:solidFill>
                <a:latin typeface="Verdana"/>
                <a:cs typeface="Verdana"/>
              </a:rPr>
              <a:t>for </a:t>
            </a:r>
            <a:r>
              <a:rPr sz="800" spc="-5">
                <a:solidFill>
                  <a:srgbClr val="16091F"/>
                </a:solidFill>
                <a:latin typeface="Verdana"/>
                <a:cs typeface="Verdana"/>
              </a:rPr>
              <a:t>future</a:t>
            </a:r>
            <a:r>
              <a:rPr sz="800" spc="40">
                <a:solidFill>
                  <a:srgbClr val="16091F"/>
                </a:solidFill>
                <a:latin typeface="Verdana"/>
                <a:cs typeface="Verdana"/>
              </a:rPr>
              <a:t> </a:t>
            </a:r>
            <a:r>
              <a:rPr sz="800">
                <a:solidFill>
                  <a:srgbClr val="16091F"/>
                </a:solidFill>
                <a:latin typeface="Verdana"/>
                <a:cs typeface="Verdana"/>
              </a:rPr>
              <a:t>releases</a:t>
            </a:r>
            <a:endParaRPr sz="800">
              <a:latin typeface="Verdana"/>
              <a:cs typeface="Verdana"/>
            </a:endParaRPr>
          </a:p>
        </p:txBody>
      </p:sp>
      <p:sp>
        <p:nvSpPr>
          <p:cNvPr id="41" name="object 41"/>
          <p:cNvSpPr/>
          <p:nvPr/>
        </p:nvSpPr>
        <p:spPr>
          <a:xfrm>
            <a:off x="3147060" y="4904232"/>
            <a:ext cx="2540" cy="1125220"/>
          </a:xfrm>
          <a:custGeom>
            <a:avLst/>
            <a:gdLst/>
            <a:ahLst/>
            <a:cxnLst/>
            <a:rect l="l" t="t" r="r" b="b"/>
            <a:pathLst>
              <a:path w="2539" h="1125220">
                <a:moveTo>
                  <a:pt x="0" y="1124712"/>
                </a:moveTo>
                <a:lnTo>
                  <a:pt x="2285" y="0"/>
                </a:lnTo>
              </a:path>
            </a:pathLst>
          </a:custGeom>
          <a:ln w="6096">
            <a:solidFill>
              <a:srgbClr val="7E7E7E"/>
            </a:solidFill>
          </a:ln>
        </p:spPr>
        <p:txBody>
          <a:bodyPr wrap="square" lIns="0" tIns="0" rIns="0" bIns="0" rtlCol="0"/>
          <a:lstStyle/>
          <a:p>
            <a:endParaRPr/>
          </a:p>
        </p:txBody>
      </p:sp>
      <p:sp>
        <p:nvSpPr>
          <p:cNvPr id="42" name="object 42"/>
          <p:cNvSpPr txBox="1">
            <a:spLocks noGrp="1"/>
          </p:cNvSpPr>
          <p:nvPr>
            <p:ph type="title"/>
          </p:nvPr>
        </p:nvSpPr>
        <p:spPr>
          <a:xfrm>
            <a:off x="214680" y="318896"/>
            <a:ext cx="2893060" cy="422275"/>
          </a:xfrm>
          <a:prstGeom prst="rect">
            <a:avLst/>
          </a:prstGeom>
        </p:spPr>
        <p:txBody>
          <a:bodyPr vert="horz" wrap="square" lIns="0" tIns="12700" rIns="0" bIns="0" rtlCol="0">
            <a:spAutoFit/>
          </a:bodyPr>
          <a:lstStyle/>
          <a:p>
            <a:pPr marL="12700">
              <a:lnSpc>
                <a:spcPct val="100000"/>
              </a:lnSpc>
              <a:spcBef>
                <a:spcPts val="100"/>
              </a:spcBef>
            </a:pPr>
            <a:r>
              <a:rPr sz="2600" spc="-10"/>
              <a:t>PSA </a:t>
            </a:r>
            <a:r>
              <a:rPr sz="2600"/>
              <a:t>&amp;</a:t>
            </a:r>
            <a:r>
              <a:rPr sz="2600" spc="-80"/>
              <a:t> </a:t>
            </a:r>
            <a:r>
              <a:rPr sz="2600" spc="-5"/>
              <a:t>Capgemini</a:t>
            </a:r>
            <a:endParaRPr sz="260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6588252"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0" y="4855464"/>
            <a:ext cx="10015855" cy="1728470"/>
          </a:xfrm>
          <a:custGeom>
            <a:avLst/>
            <a:gdLst/>
            <a:ahLst/>
            <a:cxnLst/>
            <a:rect l="l" t="t" r="r" b="b"/>
            <a:pathLst>
              <a:path w="10015855" h="1728470">
                <a:moveTo>
                  <a:pt x="10015728" y="0"/>
                </a:moveTo>
                <a:lnTo>
                  <a:pt x="0" y="0"/>
                </a:lnTo>
                <a:lnTo>
                  <a:pt x="0" y="1728216"/>
                </a:lnTo>
                <a:lnTo>
                  <a:pt x="10015728" y="1728216"/>
                </a:lnTo>
                <a:lnTo>
                  <a:pt x="9927336" y="1723758"/>
                </a:lnTo>
                <a:lnTo>
                  <a:pt x="9879340" y="1717520"/>
                </a:lnTo>
                <a:lnTo>
                  <a:pt x="9832207" y="1708693"/>
                </a:lnTo>
                <a:lnTo>
                  <a:pt x="9786009" y="1697350"/>
                </a:lnTo>
                <a:lnTo>
                  <a:pt x="9740822" y="1683566"/>
                </a:lnTo>
                <a:lnTo>
                  <a:pt x="9696720" y="1667416"/>
                </a:lnTo>
                <a:lnTo>
                  <a:pt x="9653778" y="1648973"/>
                </a:lnTo>
                <a:lnTo>
                  <a:pt x="9612069" y="1628313"/>
                </a:lnTo>
                <a:lnTo>
                  <a:pt x="9571669" y="1605510"/>
                </a:lnTo>
                <a:lnTo>
                  <a:pt x="9532652" y="1580639"/>
                </a:lnTo>
                <a:lnTo>
                  <a:pt x="9495093" y="1553773"/>
                </a:lnTo>
                <a:lnTo>
                  <a:pt x="9459065" y="1524987"/>
                </a:lnTo>
                <a:lnTo>
                  <a:pt x="9424644" y="1494356"/>
                </a:lnTo>
                <a:lnTo>
                  <a:pt x="9391904" y="1461955"/>
                </a:lnTo>
                <a:lnTo>
                  <a:pt x="9360919" y="1427857"/>
                </a:lnTo>
                <a:lnTo>
                  <a:pt x="9331764" y="1392138"/>
                </a:lnTo>
                <a:lnTo>
                  <a:pt x="9304513" y="1354871"/>
                </a:lnTo>
                <a:lnTo>
                  <a:pt x="9279241" y="1316131"/>
                </a:lnTo>
                <a:lnTo>
                  <a:pt x="9256023" y="1275992"/>
                </a:lnTo>
                <a:lnTo>
                  <a:pt x="9234932" y="1234530"/>
                </a:lnTo>
                <a:lnTo>
                  <a:pt x="9216044" y="1191819"/>
                </a:lnTo>
                <a:lnTo>
                  <a:pt x="9199432" y="1147932"/>
                </a:lnTo>
                <a:lnTo>
                  <a:pt x="9185172" y="1102945"/>
                </a:lnTo>
                <a:lnTo>
                  <a:pt x="9173337" y="1056932"/>
                </a:lnTo>
                <a:lnTo>
                  <a:pt x="9164003" y="1009967"/>
                </a:lnTo>
                <a:lnTo>
                  <a:pt x="9157244" y="962125"/>
                </a:lnTo>
                <a:lnTo>
                  <a:pt x="9153133" y="913480"/>
                </a:lnTo>
                <a:lnTo>
                  <a:pt x="9151747" y="864108"/>
                </a:lnTo>
                <a:lnTo>
                  <a:pt x="9153133" y="814734"/>
                </a:lnTo>
                <a:lnTo>
                  <a:pt x="9157244" y="766088"/>
                </a:lnTo>
                <a:lnTo>
                  <a:pt x="9164003" y="718247"/>
                </a:lnTo>
                <a:lnTo>
                  <a:pt x="9173337" y="671282"/>
                </a:lnTo>
                <a:lnTo>
                  <a:pt x="9185172" y="625270"/>
                </a:lnTo>
                <a:lnTo>
                  <a:pt x="9199432" y="580284"/>
                </a:lnTo>
                <a:lnTo>
                  <a:pt x="9216044" y="536398"/>
                </a:lnTo>
                <a:lnTo>
                  <a:pt x="9234932" y="493688"/>
                </a:lnTo>
                <a:lnTo>
                  <a:pt x="9256023" y="452228"/>
                </a:lnTo>
                <a:lnTo>
                  <a:pt x="9279241" y="412091"/>
                </a:lnTo>
                <a:lnTo>
                  <a:pt x="9304513" y="373353"/>
                </a:lnTo>
                <a:lnTo>
                  <a:pt x="9331764" y="336088"/>
                </a:lnTo>
                <a:lnTo>
                  <a:pt x="9360919" y="300370"/>
                </a:lnTo>
                <a:lnTo>
                  <a:pt x="9391904" y="266273"/>
                </a:lnTo>
                <a:lnTo>
                  <a:pt x="9424644" y="233873"/>
                </a:lnTo>
                <a:lnTo>
                  <a:pt x="9459065" y="203243"/>
                </a:lnTo>
                <a:lnTo>
                  <a:pt x="9495093" y="174458"/>
                </a:lnTo>
                <a:lnTo>
                  <a:pt x="9532652" y="147592"/>
                </a:lnTo>
                <a:lnTo>
                  <a:pt x="9571669" y="122720"/>
                </a:lnTo>
                <a:lnTo>
                  <a:pt x="9612069" y="99916"/>
                </a:lnTo>
                <a:lnTo>
                  <a:pt x="9653778" y="79255"/>
                </a:lnTo>
                <a:lnTo>
                  <a:pt x="9696720" y="60810"/>
                </a:lnTo>
                <a:lnTo>
                  <a:pt x="9740822" y="44657"/>
                </a:lnTo>
                <a:lnTo>
                  <a:pt x="9786009" y="30869"/>
                </a:lnTo>
                <a:lnTo>
                  <a:pt x="9832207" y="19522"/>
                </a:lnTo>
                <a:lnTo>
                  <a:pt x="9879340" y="10689"/>
                </a:lnTo>
                <a:lnTo>
                  <a:pt x="9927336" y="4444"/>
                </a:lnTo>
                <a:lnTo>
                  <a:pt x="10015728" y="0"/>
                </a:lnTo>
                <a:close/>
              </a:path>
            </a:pathLst>
          </a:custGeom>
          <a:solidFill>
            <a:srgbClr val="12ABDB">
              <a:alpha val="32940"/>
            </a:srgbClr>
          </a:solidFill>
        </p:spPr>
        <p:txBody>
          <a:bodyPr wrap="square" lIns="0" tIns="0" rIns="0" bIns="0" rtlCol="0"/>
          <a:lstStyle/>
          <a:p>
            <a:endParaRPr/>
          </a:p>
        </p:txBody>
      </p:sp>
      <p:sp>
        <p:nvSpPr>
          <p:cNvPr id="4" name="object 4"/>
          <p:cNvSpPr/>
          <p:nvPr/>
        </p:nvSpPr>
        <p:spPr>
          <a:xfrm>
            <a:off x="9152381" y="4856226"/>
            <a:ext cx="1728470" cy="1728470"/>
          </a:xfrm>
          <a:custGeom>
            <a:avLst/>
            <a:gdLst/>
            <a:ahLst/>
            <a:cxnLst/>
            <a:rect l="l" t="t" r="r" b="b"/>
            <a:pathLst>
              <a:path w="1728470" h="1728470">
                <a:moveTo>
                  <a:pt x="864108" y="0"/>
                </a:moveTo>
                <a:lnTo>
                  <a:pt x="816693" y="1278"/>
                </a:lnTo>
                <a:lnTo>
                  <a:pt x="769948" y="5070"/>
                </a:lnTo>
                <a:lnTo>
                  <a:pt x="723937" y="11308"/>
                </a:lnTo>
                <a:lnTo>
                  <a:pt x="678726" y="19928"/>
                </a:lnTo>
                <a:lnTo>
                  <a:pt x="634382" y="30864"/>
                </a:lnTo>
                <a:lnTo>
                  <a:pt x="590970" y="44049"/>
                </a:lnTo>
                <a:lnTo>
                  <a:pt x="548556" y="59418"/>
                </a:lnTo>
                <a:lnTo>
                  <a:pt x="507206" y="76905"/>
                </a:lnTo>
                <a:lnTo>
                  <a:pt x="466986" y="96444"/>
                </a:lnTo>
                <a:lnTo>
                  <a:pt x="427961" y="117968"/>
                </a:lnTo>
                <a:lnTo>
                  <a:pt x="390198" y="141413"/>
                </a:lnTo>
                <a:lnTo>
                  <a:pt x="353763" y="166713"/>
                </a:lnTo>
                <a:lnTo>
                  <a:pt x="318720" y="193801"/>
                </a:lnTo>
                <a:lnTo>
                  <a:pt x="285137" y="222611"/>
                </a:lnTo>
                <a:lnTo>
                  <a:pt x="253079" y="253079"/>
                </a:lnTo>
                <a:lnTo>
                  <a:pt x="222611" y="285137"/>
                </a:lnTo>
                <a:lnTo>
                  <a:pt x="193801" y="318720"/>
                </a:lnTo>
                <a:lnTo>
                  <a:pt x="166713" y="353763"/>
                </a:lnTo>
                <a:lnTo>
                  <a:pt x="141413" y="390198"/>
                </a:lnTo>
                <a:lnTo>
                  <a:pt x="117968" y="427961"/>
                </a:lnTo>
                <a:lnTo>
                  <a:pt x="96444" y="466986"/>
                </a:lnTo>
                <a:lnTo>
                  <a:pt x="76905" y="507206"/>
                </a:lnTo>
                <a:lnTo>
                  <a:pt x="59418" y="548556"/>
                </a:lnTo>
                <a:lnTo>
                  <a:pt x="44049" y="590970"/>
                </a:lnTo>
                <a:lnTo>
                  <a:pt x="30864" y="634382"/>
                </a:lnTo>
                <a:lnTo>
                  <a:pt x="19928" y="678726"/>
                </a:lnTo>
                <a:lnTo>
                  <a:pt x="11308" y="723937"/>
                </a:lnTo>
                <a:lnTo>
                  <a:pt x="5070" y="769948"/>
                </a:lnTo>
                <a:lnTo>
                  <a:pt x="1278" y="816693"/>
                </a:lnTo>
                <a:lnTo>
                  <a:pt x="0" y="864108"/>
                </a:lnTo>
                <a:lnTo>
                  <a:pt x="1278" y="911518"/>
                </a:lnTo>
                <a:lnTo>
                  <a:pt x="5070" y="958261"/>
                </a:lnTo>
                <a:lnTo>
                  <a:pt x="11308" y="1004269"/>
                </a:lnTo>
                <a:lnTo>
                  <a:pt x="19928" y="1049477"/>
                </a:lnTo>
                <a:lnTo>
                  <a:pt x="30864" y="1093820"/>
                </a:lnTo>
                <a:lnTo>
                  <a:pt x="44049" y="1137230"/>
                </a:lnTo>
                <a:lnTo>
                  <a:pt x="59418" y="1179643"/>
                </a:lnTo>
                <a:lnTo>
                  <a:pt x="76905" y="1220992"/>
                </a:lnTo>
                <a:lnTo>
                  <a:pt x="96444" y="1261212"/>
                </a:lnTo>
                <a:lnTo>
                  <a:pt x="117968" y="1300237"/>
                </a:lnTo>
                <a:lnTo>
                  <a:pt x="141413" y="1338000"/>
                </a:lnTo>
                <a:lnTo>
                  <a:pt x="166713" y="1374436"/>
                </a:lnTo>
                <a:lnTo>
                  <a:pt x="193801" y="1409479"/>
                </a:lnTo>
                <a:lnTo>
                  <a:pt x="222611" y="1443063"/>
                </a:lnTo>
                <a:lnTo>
                  <a:pt x="253079" y="1475122"/>
                </a:lnTo>
                <a:lnTo>
                  <a:pt x="285137" y="1505590"/>
                </a:lnTo>
                <a:lnTo>
                  <a:pt x="318720" y="1534402"/>
                </a:lnTo>
                <a:lnTo>
                  <a:pt x="353763" y="1561491"/>
                </a:lnTo>
                <a:lnTo>
                  <a:pt x="390198" y="1586792"/>
                </a:lnTo>
                <a:lnTo>
                  <a:pt x="427961" y="1610238"/>
                </a:lnTo>
                <a:lnTo>
                  <a:pt x="466986" y="1631764"/>
                </a:lnTo>
                <a:lnTo>
                  <a:pt x="507206" y="1651304"/>
                </a:lnTo>
                <a:lnTo>
                  <a:pt x="548556" y="1668792"/>
                </a:lnTo>
                <a:lnTo>
                  <a:pt x="590970" y="1684162"/>
                </a:lnTo>
                <a:lnTo>
                  <a:pt x="634382" y="1697348"/>
                </a:lnTo>
                <a:lnTo>
                  <a:pt x="678726" y="1708285"/>
                </a:lnTo>
                <a:lnTo>
                  <a:pt x="723937" y="1716906"/>
                </a:lnTo>
                <a:lnTo>
                  <a:pt x="769948" y="1723145"/>
                </a:lnTo>
                <a:lnTo>
                  <a:pt x="816693" y="1726937"/>
                </a:lnTo>
                <a:lnTo>
                  <a:pt x="864108" y="1728216"/>
                </a:lnTo>
                <a:lnTo>
                  <a:pt x="911522" y="1726937"/>
                </a:lnTo>
                <a:lnTo>
                  <a:pt x="958267" y="1723145"/>
                </a:lnTo>
                <a:lnTo>
                  <a:pt x="1004278" y="1716906"/>
                </a:lnTo>
                <a:lnTo>
                  <a:pt x="1049489" y="1708285"/>
                </a:lnTo>
                <a:lnTo>
                  <a:pt x="1093833" y="1697348"/>
                </a:lnTo>
                <a:lnTo>
                  <a:pt x="1137245" y="1684162"/>
                </a:lnTo>
                <a:lnTo>
                  <a:pt x="1179659" y="1668792"/>
                </a:lnTo>
                <a:lnTo>
                  <a:pt x="1221009" y="1651304"/>
                </a:lnTo>
                <a:lnTo>
                  <a:pt x="1261229" y="1631764"/>
                </a:lnTo>
                <a:lnTo>
                  <a:pt x="1300254" y="1610238"/>
                </a:lnTo>
                <a:lnTo>
                  <a:pt x="1338017" y="1586792"/>
                </a:lnTo>
                <a:lnTo>
                  <a:pt x="1374452" y="1561491"/>
                </a:lnTo>
                <a:lnTo>
                  <a:pt x="1409495" y="1534402"/>
                </a:lnTo>
                <a:lnTo>
                  <a:pt x="1443078" y="1505590"/>
                </a:lnTo>
                <a:lnTo>
                  <a:pt x="1475136" y="1475122"/>
                </a:lnTo>
                <a:lnTo>
                  <a:pt x="1505604" y="1443063"/>
                </a:lnTo>
                <a:lnTo>
                  <a:pt x="1534414" y="1409479"/>
                </a:lnTo>
                <a:lnTo>
                  <a:pt x="1561502" y="1374436"/>
                </a:lnTo>
                <a:lnTo>
                  <a:pt x="1586802" y="1338000"/>
                </a:lnTo>
                <a:lnTo>
                  <a:pt x="1610247" y="1300237"/>
                </a:lnTo>
                <a:lnTo>
                  <a:pt x="1631771" y="1261212"/>
                </a:lnTo>
                <a:lnTo>
                  <a:pt x="1651310" y="1220992"/>
                </a:lnTo>
                <a:lnTo>
                  <a:pt x="1668797" y="1179643"/>
                </a:lnTo>
                <a:lnTo>
                  <a:pt x="1684166" y="1137230"/>
                </a:lnTo>
                <a:lnTo>
                  <a:pt x="1697351" y="1093820"/>
                </a:lnTo>
                <a:lnTo>
                  <a:pt x="1708287" y="1049477"/>
                </a:lnTo>
                <a:lnTo>
                  <a:pt x="1716907" y="1004269"/>
                </a:lnTo>
                <a:lnTo>
                  <a:pt x="1723145" y="958261"/>
                </a:lnTo>
                <a:lnTo>
                  <a:pt x="1726937" y="911518"/>
                </a:lnTo>
                <a:lnTo>
                  <a:pt x="1728216" y="864108"/>
                </a:lnTo>
                <a:lnTo>
                  <a:pt x="1726937" y="816693"/>
                </a:lnTo>
                <a:lnTo>
                  <a:pt x="1723145" y="769948"/>
                </a:lnTo>
                <a:lnTo>
                  <a:pt x="1716907" y="723937"/>
                </a:lnTo>
                <a:lnTo>
                  <a:pt x="1708287" y="678726"/>
                </a:lnTo>
                <a:lnTo>
                  <a:pt x="1697351" y="634382"/>
                </a:lnTo>
                <a:lnTo>
                  <a:pt x="1684166" y="590970"/>
                </a:lnTo>
                <a:lnTo>
                  <a:pt x="1668797" y="548556"/>
                </a:lnTo>
                <a:lnTo>
                  <a:pt x="1651310" y="507206"/>
                </a:lnTo>
                <a:lnTo>
                  <a:pt x="1631771" y="466986"/>
                </a:lnTo>
                <a:lnTo>
                  <a:pt x="1610247" y="427961"/>
                </a:lnTo>
                <a:lnTo>
                  <a:pt x="1586802" y="390198"/>
                </a:lnTo>
                <a:lnTo>
                  <a:pt x="1561502" y="353763"/>
                </a:lnTo>
                <a:lnTo>
                  <a:pt x="1534414" y="318720"/>
                </a:lnTo>
                <a:lnTo>
                  <a:pt x="1505604" y="285137"/>
                </a:lnTo>
                <a:lnTo>
                  <a:pt x="1475136" y="253079"/>
                </a:lnTo>
                <a:lnTo>
                  <a:pt x="1443078" y="222611"/>
                </a:lnTo>
                <a:lnTo>
                  <a:pt x="1409495" y="193801"/>
                </a:lnTo>
                <a:lnTo>
                  <a:pt x="1374452" y="166713"/>
                </a:lnTo>
                <a:lnTo>
                  <a:pt x="1338017" y="141413"/>
                </a:lnTo>
                <a:lnTo>
                  <a:pt x="1300254" y="117968"/>
                </a:lnTo>
                <a:lnTo>
                  <a:pt x="1261229" y="96444"/>
                </a:lnTo>
                <a:lnTo>
                  <a:pt x="1221009" y="76905"/>
                </a:lnTo>
                <a:lnTo>
                  <a:pt x="1179659" y="59418"/>
                </a:lnTo>
                <a:lnTo>
                  <a:pt x="1137245" y="44049"/>
                </a:lnTo>
                <a:lnTo>
                  <a:pt x="1093833" y="30864"/>
                </a:lnTo>
                <a:lnTo>
                  <a:pt x="1049489" y="19928"/>
                </a:lnTo>
                <a:lnTo>
                  <a:pt x="1004278" y="11308"/>
                </a:lnTo>
                <a:lnTo>
                  <a:pt x="958267" y="5070"/>
                </a:lnTo>
                <a:lnTo>
                  <a:pt x="911522" y="1278"/>
                </a:lnTo>
                <a:lnTo>
                  <a:pt x="864108" y="0"/>
                </a:lnTo>
                <a:close/>
              </a:path>
            </a:pathLst>
          </a:custGeom>
          <a:solidFill>
            <a:srgbClr val="12ABDB"/>
          </a:solidFill>
        </p:spPr>
        <p:txBody>
          <a:bodyPr wrap="square" lIns="0" tIns="0" rIns="0" bIns="0" rtlCol="0"/>
          <a:lstStyle/>
          <a:p>
            <a:endParaRPr/>
          </a:p>
        </p:txBody>
      </p:sp>
      <p:sp>
        <p:nvSpPr>
          <p:cNvPr id="5" name="object 5"/>
          <p:cNvSpPr/>
          <p:nvPr/>
        </p:nvSpPr>
        <p:spPr>
          <a:xfrm>
            <a:off x="9152381" y="4856226"/>
            <a:ext cx="1728470" cy="1728470"/>
          </a:xfrm>
          <a:custGeom>
            <a:avLst/>
            <a:gdLst/>
            <a:ahLst/>
            <a:cxnLst/>
            <a:rect l="l" t="t" r="r" b="b"/>
            <a:pathLst>
              <a:path w="1728470" h="1728470">
                <a:moveTo>
                  <a:pt x="0" y="864108"/>
                </a:moveTo>
                <a:lnTo>
                  <a:pt x="1278" y="816693"/>
                </a:lnTo>
                <a:lnTo>
                  <a:pt x="5070" y="769948"/>
                </a:lnTo>
                <a:lnTo>
                  <a:pt x="11308" y="723937"/>
                </a:lnTo>
                <a:lnTo>
                  <a:pt x="19928" y="678726"/>
                </a:lnTo>
                <a:lnTo>
                  <a:pt x="30864" y="634382"/>
                </a:lnTo>
                <a:lnTo>
                  <a:pt x="44049" y="590970"/>
                </a:lnTo>
                <a:lnTo>
                  <a:pt x="59418" y="548556"/>
                </a:lnTo>
                <a:lnTo>
                  <a:pt x="76905" y="507206"/>
                </a:lnTo>
                <a:lnTo>
                  <a:pt x="96444" y="466986"/>
                </a:lnTo>
                <a:lnTo>
                  <a:pt x="117968" y="427961"/>
                </a:lnTo>
                <a:lnTo>
                  <a:pt x="141413" y="390198"/>
                </a:lnTo>
                <a:lnTo>
                  <a:pt x="166713" y="353763"/>
                </a:lnTo>
                <a:lnTo>
                  <a:pt x="193801" y="318720"/>
                </a:lnTo>
                <a:lnTo>
                  <a:pt x="222611" y="285137"/>
                </a:lnTo>
                <a:lnTo>
                  <a:pt x="253079" y="253079"/>
                </a:lnTo>
                <a:lnTo>
                  <a:pt x="285137" y="222611"/>
                </a:lnTo>
                <a:lnTo>
                  <a:pt x="318720" y="193801"/>
                </a:lnTo>
                <a:lnTo>
                  <a:pt x="353763" y="166713"/>
                </a:lnTo>
                <a:lnTo>
                  <a:pt x="390198" y="141413"/>
                </a:lnTo>
                <a:lnTo>
                  <a:pt x="427961" y="117968"/>
                </a:lnTo>
                <a:lnTo>
                  <a:pt x="466986" y="96444"/>
                </a:lnTo>
                <a:lnTo>
                  <a:pt x="507206" y="76905"/>
                </a:lnTo>
                <a:lnTo>
                  <a:pt x="548556" y="59418"/>
                </a:lnTo>
                <a:lnTo>
                  <a:pt x="590970" y="44049"/>
                </a:lnTo>
                <a:lnTo>
                  <a:pt x="634382" y="30864"/>
                </a:lnTo>
                <a:lnTo>
                  <a:pt x="678726" y="19928"/>
                </a:lnTo>
                <a:lnTo>
                  <a:pt x="723937" y="11308"/>
                </a:lnTo>
                <a:lnTo>
                  <a:pt x="769948" y="5070"/>
                </a:lnTo>
                <a:lnTo>
                  <a:pt x="816693" y="1278"/>
                </a:lnTo>
                <a:lnTo>
                  <a:pt x="864108" y="0"/>
                </a:lnTo>
                <a:lnTo>
                  <a:pt x="911522" y="1278"/>
                </a:lnTo>
                <a:lnTo>
                  <a:pt x="958267" y="5070"/>
                </a:lnTo>
                <a:lnTo>
                  <a:pt x="1004278" y="11308"/>
                </a:lnTo>
                <a:lnTo>
                  <a:pt x="1049489" y="19928"/>
                </a:lnTo>
                <a:lnTo>
                  <a:pt x="1093833" y="30864"/>
                </a:lnTo>
                <a:lnTo>
                  <a:pt x="1137245" y="44049"/>
                </a:lnTo>
                <a:lnTo>
                  <a:pt x="1179659" y="59418"/>
                </a:lnTo>
                <a:lnTo>
                  <a:pt x="1221009" y="76905"/>
                </a:lnTo>
                <a:lnTo>
                  <a:pt x="1261229" y="96444"/>
                </a:lnTo>
                <a:lnTo>
                  <a:pt x="1300254" y="117968"/>
                </a:lnTo>
                <a:lnTo>
                  <a:pt x="1338017" y="141413"/>
                </a:lnTo>
                <a:lnTo>
                  <a:pt x="1374452" y="166713"/>
                </a:lnTo>
                <a:lnTo>
                  <a:pt x="1409495" y="193801"/>
                </a:lnTo>
                <a:lnTo>
                  <a:pt x="1443078" y="222611"/>
                </a:lnTo>
                <a:lnTo>
                  <a:pt x="1475136" y="253079"/>
                </a:lnTo>
                <a:lnTo>
                  <a:pt x="1505604" y="285137"/>
                </a:lnTo>
                <a:lnTo>
                  <a:pt x="1534414" y="318720"/>
                </a:lnTo>
                <a:lnTo>
                  <a:pt x="1561502" y="353763"/>
                </a:lnTo>
                <a:lnTo>
                  <a:pt x="1586802" y="390198"/>
                </a:lnTo>
                <a:lnTo>
                  <a:pt x="1610247" y="427961"/>
                </a:lnTo>
                <a:lnTo>
                  <a:pt x="1631771" y="466986"/>
                </a:lnTo>
                <a:lnTo>
                  <a:pt x="1651310" y="507206"/>
                </a:lnTo>
                <a:lnTo>
                  <a:pt x="1668797" y="548556"/>
                </a:lnTo>
                <a:lnTo>
                  <a:pt x="1684166" y="590970"/>
                </a:lnTo>
                <a:lnTo>
                  <a:pt x="1697351" y="634382"/>
                </a:lnTo>
                <a:lnTo>
                  <a:pt x="1708287" y="678726"/>
                </a:lnTo>
                <a:lnTo>
                  <a:pt x="1716907" y="723937"/>
                </a:lnTo>
                <a:lnTo>
                  <a:pt x="1723145" y="769948"/>
                </a:lnTo>
                <a:lnTo>
                  <a:pt x="1726937" y="816693"/>
                </a:lnTo>
                <a:lnTo>
                  <a:pt x="1728216" y="864108"/>
                </a:lnTo>
                <a:lnTo>
                  <a:pt x="1726937" y="911518"/>
                </a:lnTo>
                <a:lnTo>
                  <a:pt x="1723145" y="958261"/>
                </a:lnTo>
                <a:lnTo>
                  <a:pt x="1716907" y="1004269"/>
                </a:lnTo>
                <a:lnTo>
                  <a:pt x="1708287" y="1049477"/>
                </a:lnTo>
                <a:lnTo>
                  <a:pt x="1697351" y="1093820"/>
                </a:lnTo>
                <a:lnTo>
                  <a:pt x="1684166" y="1137230"/>
                </a:lnTo>
                <a:lnTo>
                  <a:pt x="1668797" y="1179643"/>
                </a:lnTo>
                <a:lnTo>
                  <a:pt x="1651310" y="1220992"/>
                </a:lnTo>
                <a:lnTo>
                  <a:pt x="1631771" y="1261212"/>
                </a:lnTo>
                <a:lnTo>
                  <a:pt x="1610247" y="1300237"/>
                </a:lnTo>
                <a:lnTo>
                  <a:pt x="1586802" y="1338000"/>
                </a:lnTo>
                <a:lnTo>
                  <a:pt x="1561502" y="1374436"/>
                </a:lnTo>
                <a:lnTo>
                  <a:pt x="1534414" y="1409479"/>
                </a:lnTo>
                <a:lnTo>
                  <a:pt x="1505604" y="1443063"/>
                </a:lnTo>
                <a:lnTo>
                  <a:pt x="1475136" y="1475122"/>
                </a:lnTo>
                <a:lnTo>
                  <a:pt x="1443078" y="1505590"/>
                </a:lnTo>
                <a:lnTo>
                  <a:pt x="1409495" y="1534402"/>
                </a:lnTo>
                <a:lnTo>
                  <a:pt x="1374452" y="1561491"/>
                </a:lnTo>
                <a:lnTo>
                  <a:pt x="1338017" y="1586792"/>
                </a:lnTo>
                <a:lnTo>
                  <a:pt x="1300254" y="1610238"/>
                </a:lnTo>
                <a:lnTo>
                  <a:pt x="1261229" y="1631764"/>
                </a:lnTo>
                <a:lnTo>
                  <a:pt x="1221009" y="1651304"/>
                </a:lnTo>
                <a:lnTo>
                  <a:pt x="1179659" y="1668792"/>
                </a:lnTo>
                <a:lnTo>
                  <a:pt x="1137245" y="1684162"/>
                </a:lnTo>
                <a:lnTo>
                  <a:pt x="1093833" y="1697348"/>
                </a:lnTo>
                <a:lnTo>
                  <a:pt x="1049489" y="1708285"/>
                </a:lnTo>
                <a:lnTo>
                  <a:pt x="1004278" y="1716906"/>
                </a:lnTo>
                <a:lnTo>
                  <a:pt x="958267" y="1723145"/>
                </a:lnTo>
                <a:lnTo>
                  <a:pt x="911522" y="1726937"/>
                </a:lnTo>
                <a:lnTo>
                  <a:pt x="864108" y="1728216"/>
                </a:lnTo>
                <a:lnTo>
                  <a:pt x="816693" y="1726937"/>
                </a:lnTo>
                <a:lnTo>
                  <a:pt x="769948" y="1723145"/>
                </a:lnTo>
                <a:lnTo>
                  <a:pt x="723937" y="1716906"/>
                </a:lnTo>
                <a:lnTo>
                  <a:pt x="678726" y="1708285"/>
                </a:lnTo>
                <a:lnTo>
                  <a:pt x="634382" y="1697348"/>
                </a:lnTo>
                <a:lnTo>
                  <a:pt x="590970" y="1684162"/>
                </a:lnTo>
                <a:lnTo>
                  <a:pt x="548556" y="1668792"/>
                </a:lnTo>
                <a:lnTo>
                  <a:pt x="507206" y="1651304"/>
                </a:lnTo>
                <a:lnTo>
                  <a:pt x="466986" y="1631764"/>
                </a:lnTo>
                <a:lnTo>
                  <a:pt x="427961" y="1610238"/>
                </a:lnTo>
                <a:lnTo>
                  <a:pt x="390198" y="1586792"/>
                </a:lnTo>
                <a:lnTo>
                  <a:pt x="353763" y="1561491"/>
                </a:lnTo>
                <a:lnTo>
                  <a:pt x="318720" y="1534402"/>
                </a:lnTo>
                <a:lnTo>
                  <a:pt x="285137" y="1505590"/>
                </a:lnTo>
                <a:lnTo>
                  <a:pt x="253079" y="1475122"/>
                </a:lnTo>
                <a:lnTo>
                  <a:pt x="222611" y="1443063"/>
                </a:lnTo>
                <a:lnTo>
                  <a:pt x="193801" y="1409479"/>
                </a:lnTo>
                <a:lnTo>
                  <a:pt x="166713" y="1374436"/>
                </a:lnTo>
                <a:lnTo>
                  <a:pt x="141413" y="1338000"/>
                </a:lnTo>
                <a:lnTo>
                  <a:pt x="117968" y="1300237"/>
                </a:lnTo>
                <a:lnTo>
                  <a:pt x="96444" y="1261212"/>
                </a:lnTo>
                <a:lnTo>
                  <a:pt x="76905" y="1220992"/>
                </a:lnTo>
                <a:lnTo>
                  <a:pt x="59418" y="1179643"/>
                </a:lnTo>
                <a:lnTo>
                  <a:pt x="44049" y="1137230"/>
                </a:lnTo>
                <a:lnTo>
                  <a:pt x="30864" y="1093820"/>
                </a:lnTo>
                <a:lnTo>
                  <a:pt x="19928" y="1049477"/>
                </a:lnTo>
                <a:lnTo>
                  <a:pt x="11308" y="1004269"/>
                </a:lnTo>
                <a:lnTo>
                  <a:pt x="5070" y="958261"/>
                </a:lnTo>
                <a:lnTo>
                  <a:pt x="1278" y="911518"/>
                </a:lnTo>
                <a:lnTo>
                  <a:pt x="0" y="864108"/>
                </a:lnTo>
                <a:close/>
              </a:path>
            </a:pathLst>
          </a:custGeom>
          <a:ln w="19812">
            <a:solidFill>
              <a:srgbClr val="FFFFFF"/>
            </a:solidFill>
            <a:prstDash val="sysDot"/>
          </a:ln>
        </p:spPr>
        <p:txBody>
          <a:bodyPr wrap="square" lIns="0" tIns="0" rIns="0" bIns="0" rtlCol="0"/>
          <a:lstStyle/>
          <a:p>
            <a:endParaRPr/>
          </a:p>
        </p:txBody>
      </p:sp>
      <p:sp>
        <p:nvSpPr>
          <p:cNvPr id="6" name="object 6"/>
          <p:cNvSpPr txBox="1"/>
          <p:nvPr/>
        </p:nvSpPr>
        <p:spPr>
          <a:xfrm>
            <a:off x="6962647" y="1186941"/>
            <a:ext cx="4742180" cy="1854835"/>
          </a:xfrm>
          <a:prstGeom prst="rect">
            <a:avLst/>
          </a:prstGeom>
        </p:spPr>
        <p:txBody>
          <a:bodyPr vert="horz" wrap="square" lIns="0" tIns="12700" rIns="0" bIns="0" rtlCol="0">
            <a:spAutoFit/>
          </a:bodyPr>
          <a:lstStyle/>
          <a:p>
            <a:pPr marL="12700" marR="8890">
              <a:lnSpc>
                <a:spcPct val="100000"/>
              </a:lnSpc>
              <a:spcBef>
                <a:spcPts val="100"/>
              </a:spcBef>
            </a:pPr>
            <a:r>
              <a:rPr sz="1200" spc="-10">
                <a:latin typeface="Verdana"/>
                <a:cs typeface="Verdana"/>
              </a:rPr>
              <a:t>Jetstar’s ambition </a:t>
            </a:r>
            <a:r>
              <a:rPr sz="1200" spc="-5">
                <a:latin typeface="Verdana"/>
                <a:cs typeface="Verdana"/>
              </a:rPr>
              <a:t>was to become </a:t>
            </a:r>
            <a:r>
              <a:rPr sz="1200">
                <a:latin typeface="Verdana"/>
                <a:cs typeface="Verdana"/>
              </a:rPr>
              <a:t>a </a:t>
            </a:r>
            <a:r>
              <a:rPr sz="1200" spc="-5">
                <a:latin typeface="Verdana"/>
                <a:cs typeface="Verdana"/>
              </a:rPr>
              <a:t>Smart Retailer with data  enabled customer servicing. This was impeded by </a:t>
            </a:r>
            <a:r>
              <a:rPr sz="1200" spc="-10">
                <a:latin typeface="Verdana"/>
                <a:cs typeface="Verdana"/>
              </a:rPr>
              <a:t>its  </a:t>
            </a:r>
            <a:r>
              <a:rPr sz="1200" spc="-5">
                <a:latin typeface="Verdana"/>
                <a:cs typeface="Verdana"/>
              </a:rPr>
              <a:t>expensive stand-alone chat product with limited features and  no access to customer</a:t>
            </a:r>
            <a:r>
              <a:rPr sz="1200" spc="20">
                <a:latin typeface="Verdana"/>
                <a:cs typeface="Verdana"/>
              </a:rPr>
              <a:t> </a:t>
            </a:r>
            <a:r>
              <a:rPr sz="1200" spc="-5">
                <a:latin typeface="Verdana"/>
                <a:cs typeface="Verdana"/>
              </a:rPr>
              <a:t>information</a:t>
            </a:r>
            <a:endParaRPr sz="1200">
              <a:latin typeface="Verdana"/>
              <a:cs typeface="Verdana"/>
            </a:endParaRPr>
          </a:p>
          <a:p>
            <a:pPr marL="12700" marR="50800">
              <a:lnSpc>
                <a:spcPct val="100000"/>
              </a:lnSpc>
            </a:pPr>
            <a:r>
              <a:rPr sz="1200" spc="-5">
                <a:latin typeface="Verdana"/>
                <a:cs typeface="Verdana"/>
              </a:rPr>
              <a:t>Agents had no access to the customer profile and booking  history effectively starting </a:t>
            </a:r>
            <a:r>
              <a:rPr sz="1200">
                <a:latin typeface="Verdana"/>
                <a:cs typeface="Verdana"/>
              </a:rPr>
              <a:t>each </a:t>
            </a:r>
            <a:r>
              <a:rPr sz="1200" spc="-5">
                <a:latin typeface="Verdana"/>
                <a:cs typeface="Verdana"/>
              </a:rPr>
              <a:t>customer </a:t>
            </a:r>
            <a:r>
              <a:rPr sz="1200" spc="-10">
                <a:latin typeface="Verdana"/>
                <a:cs typeface="Verdana"/>
              </a:rPr>
              <a:t>interaction </a:t>
            </a:r>
            <a:r>
              <a:rPr sz="1200" spc="-5">
                <a:latin typeface="Verdana"/>
                <a:cs typeface="Verdana"/>
              </a:rPr>
              <a:t>without  context</a:t>
            </a:r>
            <a:endParaRPr sz="1200">
              <a:latin typeface="Verdana"/>
              <a:cs typeface="Verdana"/>
            </a:endParaRPr>
          </a:p>
          <a:p>
            <a:pPr marL="12700" marR="5080">
              <a:lnSpc>
                <a:spcPct val="100000"/>
              </a:lnSpc>
            </a:pPr>
            <a:r>
              <a:rPr sz="1200" spc="-5">
                <a:latin typeface="Verdana"/>
                <a:cs typeface="Verdana"/>
              </a:rPr>
              <a:t>Missed revenue </a:t>
            </a:r>
            <a:r>
              <a:rPr sz="1200">
                <a:latin typeface="Verdana"/>
                <a:cs typeface="Verdana"/>
              </a:rPr>
              <a:t>from </a:t>
            </a:r>
            <a:r>
              <a:rPr sz="1200" spc="-5">
                <a:latin typeface="Verdana"/>
                <a:cs typeface="Verdana"/>
              </a:rPr>
              <a:t>potential product sale due to lack </a:t>
            </a:r>
            <a:r>
              <a:rPr sz="1200">
                <a:latin typeface="Verdana"/>
                <a:cs typeface="Verdana"/>
              </a:rPr>
              <a:t>of  </a:t>
            </a:r>
            <a:r>
              <a:rPr sz="1200" spc="-5">
                <a:latin typeface="Verdana"/>
                <a:cs typeface="Verdana"/>
              </a:rPr>
              <a:t>background </a:t>
            </a:r>
            <a:r>
              <a:rPr sz="1200">
                <a:latin typeface="Verdana"/>
                <a:cs typeface="Verdana"/>
              </a:rPr>
              <a:t>on </a:t>
            </a:r>
            <a:r>
              <a:rPr sz="1200" spc="-5">
                <a:latin typeface="Verdana"/>
                <a:cs typeface="Verdana"/>
              </a:rPr>
              <a:t>the </a:t>
            </a:r>
            <a:r>
              <a:rPr sz="1200" spc="-25">
                <a:latin typeface="Verdana"/>
                <a:cs typeface="Verdana"/>
              </a:rPr>
              <a:t>customer, </a:t>
            </a:r>
            <a:r>
              <a:rPr sz="1200" spc="-5">
                <a:latin typeface="Verdana"/>
                <a:cs typeface="Verdana"/>
              </a:rPr>
              <a:t>agents </a:t>
            </a:r>
            <a:r>
              <a:rPr sz="1200">
                <a:latin typeface="Verdana"/>
                <a:cs typeface="Verdana"/>
              </a:rPr>
              <a:t>were </a:t>
            </a:r>
            <a:r>
              <a:rPr sz="1200" spc="-5">
                <a:latin typeface="Verdana"/>
                <a:cs typeface="Verdana"/>
              </a:rPr>
              <a:t>unable to upsell </a:t>
            </a:r>
            <a:r>
              <a:rPr sz="1200">
                <a:latin typeface="Verdana"/>
                <a:cs typeface="Verdana"/>
              </a:rPr>
              <a:t>or  cross sell</a:t>
            </a:r>
            <a:r>
              <a:rPr sz="1200" spc="-15">
                <a:latin typeface="Verdana"/>
                <a:cs typeface="Verdana"/>
              </a:rPr>
              <a:t> </a:t>
            </a:r>
            <a:r>
              <a:rPr sz="1200" spc="-5">
                <a:latin typeface="Verdana"/>
                <a:cs typeface="Verdana"/>
              </a:rPr>
              <a:t>effectively</a:t>
            </a:r>
            <a:endParaRPr sz="1200">
              <a:latin typeface="Verdana"/>
              <a:cs typeface="Verdana"/>
            </a:endParaRPr>
          </a:p>
        </p:txBody>
      </p:sp>
      <p:sp>
        <p:nvSpPr>
          <p:cNvPr id="7" name="object 7"/>
          <p:cNvSpPr txBox="1"/>
          <p:nvPr/>
        </p:nvSpPr>
        <p:spPr>
          <a:xfrm>
            <a:off x="8503411" y="4275201"/>
            <a:ext cx="130365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5</a:t>
            </a:r>
            <a:r>
              <a:rPr sz="1600" b="1" spc="-40">
                <a:latin typeface="Verdana"/>
                <a:cs typeface="Verdana"/>
              </a:rPr>
              <a:t> </a:t>
            </a:r>
            <a:r>
              <a:rPr sz="1600" b="1" spc="-10">
                <a:latin typeface="Verdana"/>
                <a:cs typeface="Verdana"/>
              </a:rPr>
              <a:t>countries</a:t>
            </a:r>
            <a:endParaRPr sz="1600">
              <a:latin typeface="Verdana"/>
              <a:cs typeface="Verdana"/>
            </a:endParaRPr>
          </a:p>
        </p:txBody>
      </p:sp>
      <p:sp>
        <p:nvSpPr>
          <p:cNvPr id="8" name="object 8"/>
          <p:cNvSpPr txBox="1"/>
          <p:nvPr/>
        </p:nvSpPr>
        <p:spPr>
          <a:xfrm>
            <a:off x="6751701" y="4275201"/>
            <a:ext cx="132524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770+</a:t>
            </a:r>
            <a:r>
              <a:rPr sz="1600" b="1" spc="-55">
                <a:latin typeface="Verdana"/>
                <a:cs typeface="Verdana"/>
              </a:rPr>
              <a:t> </a:t>
            </a:r>
            <a:r>
              <a:rPr sz="1600" b="1" spc="-10">
                <a:latin typeface="Verdana"/>
                <a:cs typeface="Verdana"/>
              </a:rPr>
              <a:t>users</a:t>
            </a:r>
            <a:endParaRPr sz="1600">
              <a:latin typeface="Verdana"/>
              <a:cs typeface="Verdana"/>
            </a:endParaRPr>
          </a:p>
        </p:txBody>
      </p:sp>
      <p:sp>
        <p:nvSpPr>
          <p:cNvPr id="9" name="object 9"/>
          <p:cNvSpPr/>
          <p:nvPr/>
        </p:nvSpPr>
        <p:spPr>
          <a:xfrm>
            <a:off x="7593226" y="3846576"/>
            <a:ext cx="447675" cy="230504"/>
          </a:xfrm>
          <a:custGeom>
            <a:avLst/>
            <a:gdLst/>
            <a:ahLst/>
            <a:cxnLst/>
            <a:rect l="l" t="t" r="r" b="b"/>
            <a:pathLst>
              <a:path w="447675" h="230504">
                <a:moveTo>
                  <a:pt x="57507" y="0"/>
                </a:moveTo>
                <a:lnTo>
                  <a:pt x="46458" y="0"/>
                </a:lnTo>
                <a:lnTo>
                  <a:pt x="35536" y="10922"/>
                </a:lnTo>
                <a:lnTo>
                  <a:pt x="30075" y="16510"/>
                </a:lnTo>
                <a:lnTo>
                  <a:pt x="10461" y="42120"/>
                </a:lnTo>
                <a:lnTo>
                  <a:pt x="611" y="69278"/>
                </a:lnTo>
                <a:lnTo>
                  <a:pt x="0" y="97484"/>
                </a:lnTo>
                <a:lnTo>
                  <a:pt x="8104" y="126237"/>
                </a:lnTo>
                <a:lnTo>
                  <a:pt x="21339" y="150651"/>
                </a:lnTo>
                <a:lnTo>
                  <a:pt x="43791" y="173529"/>
                </a:lnTo>
                <a:lnTo>
                  <a:pt x="74433" y="193335"/>
                </a:lnTo>
                <a:lnTo>
                  <a:pt x="112244" y="208534"/>
                </a:lnTo>
                <a:lnTo>
                  <a:pt x="112244" y="213994"/>
                </a:lnTo>
                <a:lnTo>
                  <a:pt x="158562" y="225067"/>
                </a:lnTo>
                <a:lnTo>
                  <a:pt x="206981" y="230093"/>
                </a:lnTo>
                <a:lnTo>
                  <a:pt x="255585" y="229073"/>
                </a:lnTo>
                <a:lnTo>
                  <a:pt x="302464" y="222011"/>
                </a:lnTo>
                <a:lnTo>
                  <a:pt x="345703" y="208909"/>
                </a:lnTo>
                <a:lnTo>
                  <a:pt x="383391" y="189768"/>
                </a:lnTo>
                <a:lnTo>
                  <a:pt x="407974" y="169290"/>
                </a:lnTo>
                <a:lnTo>
                  <a:pt x="222075" y="169290"/>
                </a:lnTo>
                <a:lnTo>
                  <a:pt x="174423" y="165671"/>
                </a:lnTo>
                <a:lnTo>
                  <a:pt x="128754" y="153669"/>
                </a:lnTo>
                <a:lnTo>
                  <a:pt x="75271" y="124809"/>
                </a:lnTo>
                <a:lnTo>
                  <a:pt x="46458" y="87756"/>
                </a:lnTo>
                <a:lnTo>
                  <a:pt x="39647" y="51387"/>
                </a:lnTo>
                <a:lnTo>
                  <a:pt x="44975" y="31410"/>
                </a:lnTo>
                <a:lnTo>
                  <a:pt x="57507" y="10922"/>
                </a:lnTo>
                <a:lnTo>
                  <a:pt x="62968" y="5461"/>
                </a:lnTo>
                <a:lnTo>
                  <a:pt x="57507" y="5461"/>
                </a:lnTo>
                <a:lnTo>
                  <a:pt x="57507" y="0"/>
                </a:lnTo>
                <a:close/>
              </a:path>
              <a:path w="447675" h="230504">
                <a:moveTo>
                  <a:pt x="397232" y="0"/>
                </a:moveTo>
                <a:lnTo>
                  <a:pt x="386183" y="0"/>
                </a:lnTo>
                <a:lnTo>
                  <a:pt x="386183" y="10922"/>
                </a:lnTo>
                <a:lnTo>
                  <a:pt x="396581" y="23302"/>
                </a:lnTo>
                <a:lnTo>
                  <a:pt x="403359" y="35671"/>
                </a:lnTo>
                <a:lnTo>
                  <a:pt x="407042" y="48015"/>
                </a:lnTo>
                <a:lnTo>
                  <a:pt x="408154" y="60325"/>
                </a:lnTo>
                <a:lnTo>
                  <a:pt x="403885" y="73558"/>
                </a:lnTo>
                <a:lnTo>
                  <a:pt x="380722" y="115188"/>
                </a:lnTo>
                <a:lnTo>
                  <a:pt x="312970" y="154431"/>
                </a:lnTo>
                <a:lnTo>
                  <a:pt x="269120" y="165290"/>
                </a:lnTo>
                <a:lnTo>
                  <a:pt x="222075" y="169290"/>
                </a:lnTo>
                <a:lnTo>
                  <a:pt x="407974" y="169290"/>
                </a:lnTo>
                <a:lnTo>
                  <a:pt x="413615" y="164592"/>
                </a:lnTo>
                <a:lnTo>
                  <a:pt x="431095" y="143164"/>
                </a:lnTo>
                <a:lnTo>
                  <a:pt x="442396" y="120713"/>
                </a:lnTo>
                <a:lnTo>
                  <a:pt x="447530" y="98262"/>
                </a:lnTo>
                <a:lnTo>
                  <a:pt x="446508" y="76835"/>
                </a:lnTo>
                <a:lnTo>
                  <a:pt x="440344" y="56346"/>
                </a:lnTo>
                <a:lnTo>
                  <a:pt x="430061" y="36369"/>
                </a:lnTo>
                <a:lnTo>
                  <a:pt x="415682" y="17416"/>
                </a:lnTo>
                <a:lnTo>
                  <a:pt x="397232" y="0"/>
                </a:lnTo>
                <a:close/>
              </a:path>
            </a:pathLst>
          </a:custGeom>
          <a:solidFill>
            <a:srgbClr val="006FAC"/>
          </a:solidFill>
        </p:spPr>
        <p:txBody>
          <a:bodyPr wrap="square" lIns="0" tIns="0" rIns="0" bIns="0" rtlCol="0"/>
          <a:lstStyle/>
          <a:p>
            <a:endParaRPr/>
          </a:p>
        </p:txBody>
      </p:sp>
      <p:sp>
        <p:nvSpPr>
          <p:cNvPr id="10" name="object 10"/>
          <p:cNvSpPr/>
          <p:nvPr/>
        </p:nvSpPr>
        <p:spPr>
          <a:xfrm>
            <a:off x="7765159" y="3736847"/>
            <a:ext cx="104776" cy="26685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7908035" y="3634740"/>
            <a:ext cx="48895" cy="53340"/>
          </a:xfrm>
          <a:custGeom>
            <a:avLst/>
            <a:gdLst/>
            <a:ahLst/>
            <a:cxnLst/>
            <a:rect l="l" t="t" r="r" b="b"/>
            <a:pathLst>
              <a:path w="48895" h="53339">
                <a:moveTo>
                  <a:pt x="24384" y="0"/>
                </a:moveTo>
                <a:lnTo>
                  <a:pt x="14894" y="2095"/>
                </a:lnTo>
                <a:lnTo>
                  <a:pt x="7143" y="7810"/>
                </a:lnTo>
                <a:lnTo>
                  <a:pt x="1916" y="16287"/>
                </a:lnTo>
                <a:lnTo>
                  <a:pt x="0" y="26670"/>
                </a:lnTo>
                <a:lnTo>
                  <a:pt x="1916" y="37052"/>
                </a:lnTo>
                <a:lnTo>
                  <a:pt x="7143" y="45529"/>
                </a:lnTo>
                <a:lnTo>
                  <a:pt x="14894" y="51244"/>
                </a:lnTo>
                <a:lnTo>
                  <a:pt x="24384" y="53340"/>
                </a:lnTo>
                <a:lnTo>
                  <a:pt x="33873" y="51244"/>
                </a:lnTo>
                <a:lnTo>
                  <a:pt x="41624" y="45529"/>
                </a:lnTo>
                <a:lnTo>
                  <a:pt x="46851" y="37052"/>
                </a:lnTo>
                <a:lnTo>
                  <a:pt x="48768" y="26670"/>
                </a:lnTo>
                <a:lnTo>
                  <a:pt x="46851" y="16287"/>
                </a:lnTo>
                <a:lnTo>
                  <a:pt x="41624" y="7810"/>
                </a:lnTo>
                <a:lnTo>
                  <a:pt x="33873" y="2095"/>
                </a:lnTo>
                <a:lnTo>
                  <a:pt x="24384" y="0"/>
                </a:lnTo>
                <a:close/>
              </a:path>
            </a:pathLst>
          </a:custGeom>
          <a:solidFill>
            <a:srgbClr val="006FAC"/>
          </a:solidFill>
        </p:spPr>
        <p:txBody>
          <a:bodyPr wrap="square" lIns="0" tIns="0" rIns="0" bIns="0" rtlCol="0"/>
          <a:lstStyle/>
          <a:p>
            <a:endParaRPr/>
          </a:p>
        </p:txBody>
      </p:sp>
      <p:sp>
        <p:nvSpPr>
          <p:cNvPr id="12" name="object 12"/>
          <p:cNvSpPr/>
          <p:nvPr/>
        </p:nvSpPr>
        <p:spPr>
          <a:xfrm>
            <a:off x="7879459"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6836" y="246634"/>
                </a:lnTo>
                <a:lnTo>
                  <a:pt x="88266" y="241173"/>
                </a:lnTo>
                <a:lnTo>
                  <a:pt x="88266" y="125984"/>
                </a:lnTo>
                <a:lnTo>
                  <a:pt x="97043" y="116510"/>
                </a:lnTo>
                <a:lnTo>
                  <a:pt x="100665" y="103441"/>
                </a:lnTo>
                <a:lnTo>
                  <a:pt x="102215" y="85228"/>
                </a:lnTo>
                <a:lnTo>
                  <a:pt x="104776" y="60325"/>
                </a:lnTo>
                <a:lnTo>
                  <a:pt x="102713" y="20558"/>
                </a:lnTo>
                <a:lnTo>
                  <a:pt x="67042" y="682"/>
                </a:lnTo>
                <a:lnTo>
                  <a:pt x="58209" y="85"/>
                </a:lnTo>
                <a:lnTo>
                  <a:pt x="49912" y="0"/>
                </a:lnTo>
                <a:close/>
              </a:path>
              <a:path w="104775" h="257810">
                <a:moveTo>
                  <a:pt x="86836" y="246634"/>
                </a:moveTo>
                <a:lnTo>
                  <a:pt x="49912" y="246634"/>
                </a:lnTo>
                <a:lnTo>
                  <a:pt x="60834" y="257556"/>
                </a:lnTo>
                <a:lnTo>
                  <a:pt x="66422" y="257556"/>
                </a:lnTo>
                <a:lnTo>
                  <a:pt x="74443" y="256532"/>
                </a:lnTo>
                <a:lnTo>
                  <a:pt x="81440" y="253460"/>
                </a:lnTo>
                <a:lnTo>
                  <a:pt x="86389" y="248340"/>
                </a:lnTo>
                <a:lnTo>
                  <a:pt x="86836" y="246634"/>
                </a:lnTo>
                <a:close/>
              </a:path>
            </a:pathLst>
          </a:custGeom>
          <a:solidFill>
            <a:srgbClr val="006FAC"/>
          </a:solidFill>
        </p:spPr>
        <p:txBody>
          <a:bodyPr wrap="square" lIns="0" tIns="0" rIns="0" bIns="0" rtlCol="0"/>
          <a:lstStyle/>
          <a:p>
            <a:endParaRPr/>
          </a:p>
        </p:txBody>
      </p:sp>
      <p:sp>
        <p:nvSpPr>
          <p:cNvPr id="13" name="object 13"/>
          <p:cNvSpPr/>
          <p:nvPr/>
        </p:nvSpPr>
        <p:spPr>
          <a:xfrm>
            <a:off x="7671816" y="3634740"/>
            <a:ext cx="55244" cy="53340"/>
          </a:xfrm>
          <a:custGeom>
            <a:avLst/>
            <a:gdLst/>
            <a:ahLst/>
            <a:cxnLst/>
            <a:rect l="l" t="t" r="r" b="b"/>
            <a:pathLst>
              <a:path w="55245" h="53339">
                <a:moveTo>
                  <a:pt x="27431" y="0"/>
                </a:moveTo>
                <a:lnTo>
                  <a:pt x="16769" y="2095"/>
                </a:lnTo>
                <a:lnTo>
                  <a:pt x="8048" y="7810"/>
                </a:lnTo>
                <a:lnTo>
                  <a:pt x="2160" y="16287"/>
                </a:lnTo>
                <a:lnTo>
                  <a:pt x="0" y="26670"/>
                </a:lnTo>
                <a:lnTo>
                  <a:pt x="2160" y="37052"/>
                </a:lnTo>
                <a:lnTo>
                  <a:pt x="8048" y="45529"/>
                </a:lnTo>
                <a:lnTo>
                  <a:pt x="16769" y="51244"/>
                </a:lnTo>
                <a:lnTo>
                  <a:pt x="27431" y="53340"/>
                </a:lnTo>
                <a:lnTo>
                  <a:pt x="38094" y="51244"/>
                </a:lnTo>
                <a:lnTo>
                  <a:pt x="46815" y="45529"/>
                </a:lnTo>
                <a:lnTo>
                  <a:pt x="52703" y="37052"/>
                </a:lnTo>
                <a:lnTo>
                  <a:pt x="54863" y="26670"/>
                </a:lnTo>
                <a:lnTo>
                  <a:pt x="52703" y="16287"/>
                </a:lnTo>
                <a:lnTo>
                  <a:pt x="46815" y="7810"/>
                </a:lnTo>
                <a:lnTo>
                  <a:pt x="38094" y="2095"/>
                </a:lnTo>
                <a:lnTo>
                  <a:pt x="27431" y="0"/>
                </a:lnTo>
                <a:close/>
              </a:path>
            </a:pathLst>
          </a:custGeom>
          <a:solidFill>
            <a:srgbClr val="006FAC"/>
          </a:solidFill>
        </p:spPr>
        <p:txBody>
          <a:bodyPr wrap="square" lIns="0" tIns="0" rIns="0" bIns="0" rtlCol="0"/>
          <a:lstStyle/>
          <a:p>
            <a:endParaRPr/>
          </a:p>
        </p:txBody>
      </p:sp>
      <p:sp>
        <p:nvSpPr>
          <p:cNvPr id="14" name="object 14"/>
          <p:cNvSpPr/>
          <p:nvPr/>
        </p:nvSpPr>
        <p:spPr>
          <a:xfrm>
            <a:off x="7649334"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2805" y="246634"/>
                </a:lnTo>
                <a:lnTo>
                  <a:pt x="82805" y="125984"/>
                </a:lnTo>
                <a:lnTo>
                  <a:pt x="94740" y="116510"/>
                </a:lnTo>
                <a:lnTo>
                  <a:pt x="99982" y="103441"/>
                </a:lnTo>
                <a:lnTo>
                  <a:pt x="102129" y="85228"/>
                </a:lnTo>
                <a:lnTo>
                  <a:pt x="104776" y="60325"/>
                </a:lnTo>
                <a:lnTo>
                  <a:pt x="103665" y="37875"/>
                </a:lnTo>
                <a:lnTo>
                  <a:pt x="74594" y="2303"/>
                </a:lnTo>
                <a:lnTo>
                  <a:pt x="58124" y="85"/>
                </a:lnTo>
                <a:lnTo>
                  <a:pt x="49912" y="0"/>
                </a:lnTo>
                <a:close/>
              </a:path>
              <a:path w="104775" h="257810">
                <a:moveTo>
                  <a:pt x="82805" y="246634"/>
                </a:moveTo>
                <a:lnTo>
                  <a:pt x="49912" y="246634"/>
                </a:lnTo>
                <a:lnTo>
                  <a:pt x="49912" y="252095"/>
                </a:lnTo>
                <a:lnTo>
                  <a:pt x="60834" y="257556"/>
                </a:lnTo>
                <a:lnTo>
                  <a:pt x="77344" y="257556"/>
                </a:lnTo>
                <a:lnTo>
                  <a:pt x="82805" y="252095"/>
                </a:lnTo>
                <a:lnTo>
                  <a:pt x="82805" y="246634"/>
                </a:lnTo>
                <a:close/>
              </a:path>
            </a:pathLst>
          </a:custGeom>
          <a:solidFill>
            <a:srgbClr val="006FAC"/>
          </a:solidFill>
        </p:spPr>
        <p:txBody>
          <a:bodyPr wrap="square" lIns="0" tIns="0" rIns="0" bIns="0" rtlCol="0"/>
          <a:lstStyle/>
          <a:p>
            <a:endParaRPr/>
          </a:p>
        </p:txBody>
      </p:sp>
      <p:sp>
        <p:nvSpPr>
          <p:cNvPr id="15" name="object 15"/>
          <p:cNvSpPr/>
          <p:nvPr/>
        </p:nvSpPr>
        <p:spPr>
          <a:xfrm>
            <a:off x="8909684" y="3651884"/>
            <a:ext cx="476884" cy="464184"/>
          </a:xfrm>
          <a:custGeom>
            <a:avLst/>
            <a:gdLst/>
            <a:ahLst/>
            <a:cxnLst/>
            <a:rect l="l" t="t" r="r" b="b"/>
            <a:pathLst>
              <a:path w="476884" h="464185">
                <a:moveTo>
                  <a:pt x="221360" y="0"/>
                </a:moveTo>
                <a:lnTo>
                  <a:pt x="176974" y="5762"/>
                </a:lnTo>
                <a:lnTo>
                  <a:pt x="138302" y="20954"/>
                </a:lnTo>
                <a:lnTo>
                  <a:pt x="98631" y="44386"/>
                </a:lnTo>
                <a:lnTo>
                  <a:pt x="63245" y="73532"/>
                </a:lnTo>
                <a:lnTo>
                  <a:pt x="34147" y="108394"/>
                </a:lnTo>
                <a:lnTo>
                  <a:pt x="13334" y="148970"/>
                </a:lnTo>
                <a:lnTo>
                  <a:pt x="3095" y="189928"/>
                </a:lnTo>
                <a:lnTo>
                  <a:pt x="0" y="238886"/>
                </a:lnTo>
                <a:lnTo>
                  <a:pt x="4333" y="287845"/>
                </a:lnTo>
                <a:lnTo>
                  <a:pt x="16382" y="328802"/>
                </a:lnTo>
                <a:lnTo>
                  <a:pt x="38960" y="367574"/>
                </a:lnTo>
                <a:lnTo>
                  <a:pt x="70795" y="400324"/>
                </a:lnTo>
                <a:lnTo>
                  <a:pt x="109854" y="426677"/>
                </a:lnTo>
                <a:lnTo>
                  <a:pt x="154107" y="446257"/>
                </a:lnTo>
                <a:lnTo>
                  <a:pt x="201520" y="458687"/>
                </a:lnTo>
                <a:lnTo>
                  <a:pt x="250062" y="463592"/>
                </a:lnTo>
                <a:lnTo>
                  <a:pt x="297702" y="460594"/>
                </a:lnTo>
                <a:lnTo>
                  <a:pt x="342406" y="449318"/>
                </a:lnTo>
                <a:lnTo>
                  <a:pt x="382142" y="429387"/>
                </a:lnTo>
                <a:lnTo>
                  <a:pt x="413564" y="401217"/>
                </a:lnTo>
                <a:lnTo>
                  <a:pt x="439441" y="365263"/>
                </a:lnTo>
                <a:lnTo>
                  <a:pt x="459080" y="323817"/>
                </a:lnTo>
                <a:lnTo>
                  <a:pt x="471787" y="279173"/>
                </a:lnTo>
                <a:lnTo>
                  <a:pt x="476870" y="233621"/>
                </a:lnTo>
                <a:lnTo>
                  <a:pt x="473636" y="189456"/>
                </a:lnTo>
                <a:lnTo>
                  <a:pt x="461390" y="148970"/>
                </a:lnTo>
                <a:lnTo>
                  <a:pt x="434149" y="100917"/>
                </a:lnTo>
                <a:lnTo>
                  <a:pt x="398906" y="59435"/>
                </a:lnTo>
                <a:lnTo>
                  <a:pt x="356806" y="27670"/>
                </a:lnTo>
                <a:lnTo>
                  <a:pt x="308990" y="8762"/>
                </a:lnTo>
                <a:lnTo>
                  <a:pt x="266890" y="1666"/>
                </a:lnTo>
                <a:lnTo>
                  <a:pt x="221360" y="0"/>
                </a:lnTo>
                <a:close/>
              </a:path>
            </a:pathLst>
          </a:custGeom>
          <a:solidFill>
            <a:srgbClr val="9AE0F7"/>
          </a:solidFill>
        </p:spPr>
        <p:txBody>
          <a:bodyPr wrap="square" lIns="0" tIns="0" rIns="0" bIns="0" rtlCol="0"/>
          <a:lstStyle/>
          <a:p>
            <a:endParaRPr/>
          </a:p>
        </p:txBody>
      </p:sp>
      <p:sp>
        <p:nvSpPr>
          <p:cNvPr id="16" name="object 16"/>
          <p:cNvSpPr/>
          <p:nvPr/>
        </p:nvSpPr>
        <p:spPr>
          <a:xfrm>
            <a:off x="9025128" y="3651503"/>
            <a:ext cx="135890" cy="40005"/>
          </a:xfrm>
          <a:custGeom>
            <a:avLst/>
            <a:gdLst/>
            <a:ahLst/>
            <a:cxnLst/>
            <a:rect l="l" t="t" r="r" b="b"/>
            <a:pathLst>
              <a:path w="135890" h="40004">
                <a:moveTo>
                  <a:pt x="135636" y="0"/>
                </a:moveTo>
                <a:lnTo>
                  <a:pt x="88564" y="1428"/>
                </a:lnTo>
                <a:lnTo>
                  <a:pt x="53101" y="9144"/>
                </a:lnTo>
                <a:lnTo>
                  <a:pt x="24997" y="21431"/>
                </a:lnTo>
                <a:lnTo>
                  <a:pt x="0" y="36576"/>
                </a:lnTo>
                <a:lnTo>
                  <a:pt x="24643" y="39862"/>
                </a:lnTo>
                <a:lnTo>
                  <a:pt x="64883" y="32718"/>
                </a:lnTo>
                <a:lnTo>
                  <a:pt x="113426" y="16002"/>
                </a:lnTo>
                <a:lnTo>
                  <a:pt x="135636" y="0"/>
                </a:lnTo>
                <a:close/>
              </a:path>
            </a:pathLst>
          </a:custGeom>
          <a:solidFill>
            <a:srgbClr val="12ABDB"/>
          </a:solidFill>
        </p:spPr>
        <p:txBody>
          <a:bodyPr wrap="square" lIns="0" tIns="0" rIns="0" bIns="0" rtlCol="0"/>
          <a:lstStyle/>
          <a:p>
            <a:endParaRPr/>
          </a:p>
        </p:txBody>
      </p:sp>
      <p:sp>
        <p:nvSpPr>
          <p:cNvPr id="17" name="object 17"/>
          <p:cNvSpPr/>
          <p:nvPr/>
        </p:nvSpPr>
        <p:spPr>
          <a:xfrm>
            <a:off x="9108947" y="3672840"/>
            <a:ext cx="242570" cy="387350"/>
          </a:xfrm>
          <a:custGeom>
            <a:avLst/>
            <a:gdLst/>
            <a:ahLst/>
            <a:cxnLst/>
            <a:rect l="l" t="t" r="r" b="b"/>
            <a:pathLst>
              <a:path w="242570" h="387350">
                <a:moveTo>
                  <a:pt x="151304" y="227171"/>
                </a:moveTo>
                <a:lnTo>
                  <a:pt x="135254" y="230886"/>
                </a:lnTo>
                <a:lnTo>
                  <a:pt x="120919" y="238029"/>
                </a:lnTo>
                <a:lnTo>
                  <a:pt x="109727" y="246887"/>
                </a:lnTo>
                <a:lnTo>
                  <a:pt x="117205" y="259889"/>
                </a:lnTo>
                <a:lnTo>
                  <a:pt x="116966" y="270891"/>
                </a:lnTo>
                <a:lnTo>
                  <a:pt x="109299" y="279034"/>
                </a:lnTo>
                <a:lnTo>
                  <a:pt x="94487" y="283464"/>
                </a:lnTo>
                <a:lnTo>
                  <a:pt x="94868" y="302466"/>
                </a:lnTo>
                <a:lnTo>
                  <a:pt x="102107" y="318897"/>
                </a:lnTo>
                <a:lnTo>
                  <a:pt x="111632" y="333613"/>
                </a:lnTo>
                <a:lnTo>
                  <a:pt x="118872" y="347472"/>
                </a:lnTo>
                <a:lnTo>
                  <a:pt x="123110" y="360092"/>
                </a:lnTo>
                <a:lnTo>
                  <a:pt x="127634" y="370713"/>
                </a:lnTo>
                <a:lnTo>
                  <a:pt x="133873" y="379618"/>
                </a:lnTo>
                <a:lnTo>
                  <a:pt x="143255" y="387096"/>
                </a:lnTo>
                <a:lnTo>
                  <a:pt x="167925" y="363235"/>
                </a:lnTo>
                <a:lnTo>
                  <a:pt x="194309" y="340232"/>
                </a:lnTo>
                <a:lnTo>
                  <a:pt x="219551" y="315515"/>
                </a:lnTo>
                <a:lnTo>
                  <a:pt x="240792" y="286512"/>
                </a:lnTo>
                <a:lnTo>
                  <a:pt x="235981" y="279082"/>
                </a:lnTo>
                <a:lnTo>
                  <a:pt x="234389" y="270891"/>
                </a:lnTo>
                <a:lnTo>
                  <a:pt x="234390" y="259889"/>
                </a:lnTo>
                <a:lnTo>
                  <a:pt x="234696" y="249936"/>
                </a:lnTo>
                <a:lnTo>
                  <a:pt x="225504" y="243887"/>
                </a:lnTo>
                <a:lnTo>
                  <a:pt x="213741" y="238125"/>
                </a:lnTo>
                <a:lnTo>
                  <a:pt x="202549" y="230647"/>
                </a:lnTo>
                <a:lnTo>
                  <a:pt x="201180" y="228600"/>
                </a:lnTo>
                <a:lnTo>
                  <a:pt x="167640" y="228600"/>
                </a:lnTo>
                <a:lnTo>
                  <a:pt x="151304" y="227171"/>
                </a:lnTo>
                <a:close/>
              </a:path>
              <a:path w="242570" h="387350">
                <a:moveTo>
                  <a:pt x="237886" y="115824"/>
                </a:moveTo>
                <a:lnTo>
                  <a:pt x="124968" y="115824"/>
                </a:lnTo>
                <a:lnTo>
                  <a:pt x="134540" y="122205"/>
                </a:lnTo>
                <a:lnTo>
                  <a:pt x="146685" y="137159"/>
                </a:lnTo>
                <a:lnTo>
                  <a:pt x="157114" y="154400"/>
                </a:lnTo>
                <a:lnTo>
                  <a:pt x="161544" y="167640"/>
                </a:lnTo>
                <a:lnTo>
                  <a:pt x="161544" y="170687"/>
                </a:lnTo>
                <a:lnTo>
                  <a:pt x="155448" y="176784"/>
                </a:lnTo>
                <a:lnTo>
                  <a:pt x="155448" y="179832"/>
                </a:lnTo>
                <a:lnTo>
                  <a:pt x="164592" y="188976"/>
                </a:lnTo>
                <a:lnTo>
                  <a:pt x="164592" y="192024"/>
                </a:lnTo>
                <a:lnTo>
                  <a:pt x="169354" y="199882"/>
                </a:lnTo>
                <a:lnTo>
                  <a:pt x="172974" y="209169"/>
                </a:lnTo>
                <a:lnTo>
                  <a:pt x="173164" y="219027"/>
                </a:lnTo>
                <a:lnTo>
                  <a:pt x="167640" y="228600"/>
                </a:lnTo>
                <a:lnTo>
                  <a:pt x="201180" y="228600"/>
                </a:lnTo>
                <a:lnTo>
                  <a:pt x="195072" y="219456"/>
                </a:lnTo>
                <a:lnTo>
                  <a:pt x="193881" y="209264"/>
                </a:lnTo>
                <a:lnTo>
                  <a:pt x="194691" y="195072"/>
                </a:lnTo>
                <a:lnTo>
                  <a:pt x="215646" y="159258"/>
                </a:lnTo>
                <a:lnTo>
                  <a:pt x="225171" y="156972"/>
                </a:lnTo>
                <a:lnTo>
                  <a:pt x="234696" y="152400"/>
                </a:lnTo>
                <a:lnTo>
                  <a:pt x="242220" y="137255"/>
                </a:lnTo>
                <a:lnTo>
                  <a:pt x="240029" y="120395"/>
                </a:lnTo>
                <a:lnTo>
                  <a:pt x="237886" y="115824"/>
                </a:lnTo>
                <a:close/>
              </a:path>
              <a:path w="242570" h="387350">
                <a:moveTo>
                  <a:pt x="235608" y="110966"/>
                </a:moveTo>
                <a:lnTo>
                  <a:pt x="42814" y="110966"/>
                </a:lnTo>
                <a:lnTo>
                  <a:pt x="54482" y="118872"/>
                </a:lnTo>
                <a:lnTo>
                  <a:pt x="65579" y="129063"/>
                </a:lnTo>
                <a:lnTo>
                  <a:pt x="79248" y="134112"/>
                </a:lnTo>
                <a:lnTo>
                  <a:pt x="91963" y="132111"/>
                </a:lnTo>
                <a:lnTo>
                  <a:pt x="103250" y="124968"/>
                </a:lnTo>
                <a:lnTo>
                  <a:pt x="113966" y="117824"/>
                </a:lnTo>
                <a:lnTo>
                  <a:pt x="124968" y="115824"/>
                </a:lnTo>
                <a:lnTo>
                  <a:pt x="237886" y="115824"/>
                </a:lnTo>
                <a:lnTo>
                  <a:pt x="235608" y="110966"/>
                </a:lnTo>
                <a:close/>
              </a:path>
              <a:path w="242570" h="387350">
                <a:moveTo>
                  <a:pt x="121920" y="0"/>
                </a:moveTo>
                <a:lnTo>
                  <a:pt x="112775" y="1476"/>
                </a:lnTo>
                <a:lnTo>
                  <a:pt x="103631" y="4953"/>
                </a:lnTo>
                <a:lnTo>
                  <a:pt x="94487" y="9001"/>
                </a:lnTo>
                <a:lnTo>
                  <a:pt x="85344" y="12192"/>
                </a:lnTo>
                <a:lnTo>
                  <a:pt x="77581" y="27813"/>
                </a:lnTo>
                <a:lnTo>
                  <a:pt x="62102" y="36576"/>
                </a:lnTo>
                <a:lnTo>
                  <a:pt x="43767" y="43053"/>
                </a:lnTo>
                <a:lnTo>
                  <a:pt x="27431" y="51816"/>
                </a:lnTo>
                <a:lnTo>
                  <a:pt x="23574" y="70008"/>
                </a:lnTo>
                <a:lnTo>
                  <a:pt x="14859" y="85343"/>
                </a:lnTo>
                <a:lnTo>
                  <a:pt x="5572" y="100679"/>
                </a:lnTo>
                <a:lnTo>
                  <a:pt x="0" y="118872"/>
                </a:lnTo>
                <a:lnTo>
                  <a:pt x="6096" y="118872"/>
                </a:lnTo>
                <a:lnTo>
                  <a:pt x="6096" y="106680"/>
                </a:lnTo>
                <a:lnTo>
                  <a:pt x="233598" y="106680"/>
                </a:lnTo>
                <a:lnTo>
                  <a:pt x="209121" y="68056"/>
                </a:lnTo>
                <a:lnTo>
                  <a:pt x="180070" y="36528"/>
                </a:lnTo>
                <a:lnTo>
                  <a:pt x="142875" y="8381"/>
                </a:lnTo>
                <a:lnTo>
                  <a:pt x="131968" y="2476"/>
                </a:lnTo>
                <a:lnTo>
                  <a:pt x="121920" y="0"/>
                </a:lnTo>
                <a:close/>
              </a:path>
              <a:path w="242570" h="387350">
                <a:moveTo>
                  <a:pt x="233598" y="106680"/>
                </a:moveTo>
                <a:lnTo>
                  <a:pt x="21335" y="106680"/>
                </a:lnTo>
                <a:lnTo>
                  <a:pt x="21335" y="112776"/>
                </a:lnTo>
                <a:lnTo>
                  <a:pt x="27431" y="112776"/>
                </a:lnTo>
                <a:lnTo>
                  <a:pt x="42814" y="110966"/>
                </a:lnTo>
                <a:lnTo>
                  <a:pt x="235608" y="110966"/>
                </a:lnTo>
                <a:lnTo>
                  <a:pt x="233598" y="106680"/>
                </a:lnTo>
                <a:close/>
              </a:path>
            </a:pathLst>
          </a:custGeom>
          <a:solidFill>
            <a:srgbClr val="12ABDB"/>
          </a:solidFill>
        </p:spPr>
        <p:txBody>
          <a:bodyPr wrap="square" lIns="0" tIns="0" rIns="0" bIns="0" rtlCol="0"/>
          <a:lstStyle/>
          <a:p>
            <a:endParaRPr/>
          </a:p>
        </p:txBody>
      </p:sp>
      <p:sp>
        <p:nvSpPr>
          <p:cNvPr id="18" name="object 18"/>
          <p:cNvSpPr/>
          <p:nvPr/>
        </p:nvSpPr>
        <p:spPr>
          <a:xfrm>
            <a:off x="8908923" y="3761232"/>
            <a:ext cx="123823" cy="222504"/>
          </a:xfrm>
          <a:prstGeom prst="rect">
            <a:avLst/>
          </a:prstGeom>
          <a:blipFill>
            <a:blip r:embed="rId4" cstate="print"/>
            <a:stretch>
              <a:fillRect/>
            </a:stretch>
          </a:blipFill>
        </p:spPr>
        <p:txBody>
          <a:bodyPr wrap="square" lIns="0" tIns="0" rIns="0" bIns="0" rtlCol="0"/>
          <a:lstStyle/>
          <a:p>
            <a:endParaRPr/>
          </a:p>
        </p:txBody>
      </p:sp>
      <p:sp>
        <p:nvSpPr>
          <p:cNvPr id="19" name="object 19"/>
          <p:cNvSpPr txBox="1"/>
          <p:nvPr/>
        </p:nvSpPr>
        <p:spPr>
          <a:xfrm>
            <a:off x="10058527" y="4275201"/>
            <a:ext cx="179895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CTI</a:t>
            </a:r>
            <a:r>
              <a:rPr sz="1600" b="1" spc="-45">
                <a:latin typeface="Verdana"/>
                <a:cs typeface="Verdana"/>
              </a:rPr>
              <a:t> </a:t>
            </a:r>
            <a:r>
              <a:rPr sz="1600" b="1" spc="-5">
                <a:latin typeface="Verdana"/>
                <a:cs typeface="Verdana"/>
              </a:rPr>
              <a:t>Integration</a:t>
            </a:r>
            <a:endParaRPr sz="1600">
              <a:latin typeface="Verdana"/>
              <a:cs typeface="Verdana"/>
            </a:endParaRPr>
          </a:p>
        </p:txBody>
      </p:sp>
      <p:sp>
        <p:nvSpPr>
          <p:cNvPr id="20" name="object 20"/>
          <p:cNvSpPr/>
          <p:nvPr/>
        </p:nvSpPr>
        <p:spPr>
          <a:xfrm>
            <a:off x="227075" y="716280"/>
            <a:ext cx="1229868" cy="344424"/>
          </a:xfrm>
          <a:prstGeom prst="rect">
            <a:avLst/>
          </a:prstGeom>
          <a:blipFill>
            <a:blip r:embed="rId5" cstate="print"/>
            <a:stretch>
              <a:fillRect/>
            </a:stretch>
          </a:blipFill>
        </p:spPr>
        <p:txBody>
          <a:bodyPr wrap="square" lIns="0" tIns="0" rIns="0" bIns="0" rtlCol="0"/>
          <a:lstStyle/>
          <a:p>
            <a:endParaRPr/>
          </a:p>
        </p:txBody>
      </p:sp>
      <p:sp>
        <p:nvSpPr>
          <p:cNvPr id="21" name="object 21"/>
          <p:cNvSpPr/>
          <p:nvPr/>
        </p:nvSpPr>
        <p:spPr>
          <a:xfrm>
            <a:off x="10711053" y="3651884"/>
            <a:ext cx="476884" cy="464184"/>
          </a:xfrm>
          <a:custGeom>
            <a:avLst/>
            <a:gdLst/>
            <a:ahLst/>
            <a:cxnLst/>
            <a:rect l="l" t="t" r="r" b="b"/>
            <a:pathLst>
              <a:path w="476884" h="464185">
                <a:moveTo>
                  <a:pt x="221360" y="0"/>
                </a:moveTo>
                <a:lnTo>
                  <a:pt x="176974" y="5762"/>
                </a:lnTo>
                <a:lnTo>
                  <a:pt x="138302" y="20954"/>
                </a:lnTo>
                <a:lnTo>
                  <a:pt x="98631" y="44386"/>
                </a:lnTo>
                <a:lnTo>
                  <a:pt x="63245" y="73532"/>
                </a:lnTo>
                <a:lnTo>
                  <a:pt x="34147" y="108394"/>
                </a:lnTo>
                <a:lnTo>
                  <a:pt x="13334" y="148970"/>
                </a:lnTo>
                <a:lnTo>
                  <a:pt x="3095" y="189928"/>
                </a:lnTo>
                <a:lnTo>
                  <a:pt x="0" y="238886"/>
                </a:lnTo>
                <a:lnTo>
                  <a:pt x="4333" y="287845"/>
                </a:lnTo>
                <a:lnTo>
                  <a:pt x="16382" y="328802"/>
                </a:lnTo>
                <a:lnTo>
                  <a:pt x="38960" y="367574"/>
                </a:lnTo>
                <a:lnTo>
                  <a:pt x="70795" y="400324"/>
                </a:lnTo>
                <a:lnTo>
                  <a:pt x="109854" y="426677"/>
                </a:lnTo>
                <a:lnTo>
                  <a:pt x="154107" y="446257"/>
                </a:lnTo>
                <a:lnTo>
                  <a:pt x="201520" y="458687"/>
                </a:lnTo>
                <a:lnTo>
                  <a:pt x="250062" y="463592"/>
                </a:lnTo>
                <a:lnTo>
                  <a:pt x="297702" y="460594"/>
                </a:lnTo>
                <a:lnTo>
                  <a:pt x="342406" y="449318"/>
                </a:lnTo>
                <a:lnTo>
                  <a:pt x="382142" y="429387"/>
                </a:lnTo>
                <a:lnTo>
                  <a:pt x="413564" y="401217"/>
                </a:lnTo>
                <a:lnTo>
                  <a:pt x="439441" y="365263"/>
                </a:lnTo>
                <a:lnTo>
                  <a:pt x="459080" y="323817"/>
                </a:lnTo>
                <a:lnTo>
                  <a:pt x="471787" y="279173"/>
                </a:lnTo>
                <a:lnTo>
                  <a:pt x="476870" y="233621"/>
                </a:lnTo>
                <a:lnTo>
                  <a:pt x="473636" y="189456"/>
                </a:lnTo>
                <a:lnTo>
                  <a:pt x="461390" y="148970"/>
                </a:lnTo>
                <a:lnTo>
                  <a:pt x="434149" y="100917"/>
                </a:lnTo>
                <a:lnTo>
                  <a:pt x="398906" y="59435"/>
                </a:lnTo>
                <a:lnTo>
                  <a:pt x="356806" y="27670"/>
                </a:lnTo>
                <a:lnTo>
                  <a:pt x="308990" y="8762"/>
                </a:lnTo>
                <a:lnTo>
                  <a:pt x="266890" y="1666"/>
                </a:lnTo>
                <a:lnTo>
                  <a:pt x="221360" y="0"/>
                </a:lnTo>
                <a:close/>
              </a:path>
            </a:pathLst>
          </a:custGeom>
          <a:solidFill>
            <a:srgbClr val="9AE0F7"/>
          </a:solidFill>
        </p:spPr>
        <p:txBody>
          <a:bodyPr wrap="square" lIns="0" tIns="0" rIns="0" bIns="0" rtlCol="0"/>
          <a:lstStyle/>
          <a:p>
            <a:endParaRPr/>
          </a:p>
        </p:txBody>
      </p:sp>
      <p:sp>
        <p:nvSpPr>
          <p:cNvPr id="22" name="object 22"/>
          <p:cNvSpPr/>
          <p:nvPr/>
        </p:nvSpPr>
        <p:spPr>
          <a:xfrm>
            <a:off x="10826495" y="3651503"/>
            <a:ext cx="135890" cy="40005"/>
          </a:xfrm>
          <a:custGeom>
            <a:avLst/>
            <a:gdLst/>
            <a:ahLst/>
            <a:cxnLst/>
            <a:rect l="l" t="t" r="r" b="b"/>
            <a:pathLst>
              <a:path w="135890" h="40004">
                <a:moveTo>
                  <a:pt x="135635" y="0"/>
                </a:moveTo>
                <a:lnTo>
                  <a:pt x="88564" y="1428"/>
                </a:lnTo>
                <a:lnTo>
                  <a:pt x="53101" y="9144"/>
                </a:lnTo>
                <a:lnTo>
                  <a:pt x="24997" y="21431"/>
                </a:lnTo>
                <a:lnTo>
                  <a:pt x="0" y="36576"/>
                </a:lnTo>
                <a:lnTo>
                  <a:pt x="24643" y="39862"/>
                </a:lnTo>
                <a:lnTo>
                  <a:pt x="64883" y="32718"/>
                </a:lnTo>
                <a:lnTo>
                  <a:pt x="113426" y="16002"/>
                </a:lnTo>
                <a:lnTo>
                  <a:pt x="135635" y="0"/>
                </a:lnTo>
                <a:close/>
              </a:path>
            </a:pathLst>
          </a:custGeom>
          <a:solidFill>
            <a:srgbClr val="12ABDB"/>
          </a:solidFill>
        </p:spPr>
        <p:txBody>
          <a:bodyPr wrap="square" lIns="0" tIns="0" rIns="0" bIns="0" rtlCol="0"/>
          <a:lstStyle/>
          <a:p>
            <a:endParaRPr/>
          </a:p>
        </p:txBody>
      </p:sp>
      <p:sp>
        <p:nvSpPr>
          <p:cNvPr id="23" name="object 23"/>
          <p:cNvSpPr/>
          <p:nvPr/>
        </p:nvSpPr>
        <p:spPr>
          <a:xfrm>
            <a:off x="10911840" y="3672840"/>
            <a:ext cx="241300" cy="387350"/>
          </a:xfrm>
          <a:custGeom>
            <a:avLst/>
            <a:gdLst/>
            <a:ahLst/>
            <a:cxnLst/>
            <a:rect l="l" t="t" r="r" b="b"/>
            <a:pathLst>
              <a:path w="241300" h="387350">
                <a:moveTo>
                  <a:pt x="150383" y="227171"/>
                </a:moveTo>
                <a:lnTo>
                  <a:pt x="134429" y="230886"/>
                </a:lnTo>
                <a:lnTo>
                  <a:pt x="120189" y="238029"/>
                </a:lnTo>
                <a:lnTo>
                  <a:pt x="109092" y="246887"/>
                </a:lnTo>
                <a:lnTo>
                  <a:pt x="116500" y="259889"/>
                </a:lnTo>
                <a:lnTo>
                  <a:pt x="116252" y="270891"/>
                </a:lnTo>
                <a:lnTo>
                  <a:pt x="108646" y="279034"/>
                </a:lnTo>
                <a:lnTo>
                  <a:pt x="93979" y="283464"/>
                </a:lnTo>
                <a:lnTo>
                  <a:pt x="94339" y="302466"/>
                </a:lnTo>
                <a:lnTo>
                  <a:pt x="101520" y="318897"/>
                </a:lnTo>
                <a:lnTo>
                  <a:pt x="110964" y="333613"/>
                </a:lnTo>
                <a:lnTo>
                  <a:pt x="118109" y="347472"/>
                </a:lnTo>
                <a:lnTo>
                  <a:pt x="122346" y="360092"/>
                </a:lnTo>
                <a:lnTo>
                  <a:pt x="126857" y="370713"/>
                </a:lnTo>
                <a:lnTo>
                  <a:pt x="133058" y="379618"/>
                </a:lnTo>
                <a:lnTo>
                  <a:pt x="142366" y="387096"/>
                </a:lnTo>
                <a:lnTo>
                  <a:pt x="166921" y="363235"/>
                </a:lnTo>
                <a:lnTo>
                  <a:pt x="193166" y="340232"/>
                </a:lnTo>
                <a:lnTo>
                  <a:pt x="218269" y="315515"/>
                </a:lnTo>
                <a:lnTo>
                  <a:pt x="239394" y="286512"/>
                </a:lnTo>
                <a:lnTo>
                  <a:pt x="234584" y="279082"/>
                </a:lnTo>
                <a:lnTo>
                  <a:pt x="232992" y="270891"/>
                </a:lnTo>
                <a:lnTo>
                  <a:pt x="232993" y="259889"/>
                </a:lnTo>
                <a:lnTo>
                  <a:pt x="233299" y="249936"/>
                </a:lnTo>
                <a:lnTo>
                  <a:pt x="224129" y="243887"/>
                </a:lnTo>
                <a:lnTo>
                  <a:pt x="212423" y="238125"/>
                </a:lnTo>
                <a:lnTo>
                  <a:pt x="201312" y="230647"/>
                </a:lnTo>
                <a:lnTo>
                  <a:pt x="199961" y="228600"/>
                </a:lnTo>
                <a:lnTo>
                  <a:pt x="166624" y="228600"/>
                </a:lnTo>
                <a:lnTo>
                  <a:pt x="150383" y="227171"/>
                </a:lnTo>
                <a:close/>
              </a:path>
              <a:path w="241300" h="387350">
                <a:moveTo>
                  <a:pt x="236449" y="115824"/>
                </a:moveTo>
                <a:lnTo>
                  <a:pt x="124205" y="115824"/>
                </a:lnTo>
                <a:lnTo>
                  <a:pt x="133738" y="122205"/>
                </a:lnTo>
                <a:lnTo>
                  <a:pt x="145795" y="137159"/>
                </a:lnTo>
                <a:lnTo>
                  <a:pt x="156138" y="154400"/>
                </a:lnTo>
                <a:lnTo>
                  <a:pt x="160527" y="167640"/>
                </a:lnTo>
                <a:lnTo>
                  <a:pt x="160527" y="170687"/>
                </a:lnTo>
                <a:lnTo>
                  <a:pt x="154558" y="176784"/>
                </a:lnTo>
                <a:lnTo>
                  <a:pt x="154558" y="179832"/>
                </a:lnTo>
                <a:lnTo>
                  <a:pt x="163575" y="188976"/>
                </a:lnTo>
                <a:lnTo>
                  <a:pt x="163575" y="192024"/>
                </a:lnTo>
                <a:lnTo>
                  <a:pt x="168320" y="199882"/>
                </a:lnTo>
                <a:lnTo>
                  <a:pt x="171910" y="209169"/>
                </a:lnTo>
                <a:lnTo>
                  <a:pt x="172094" y="219027"/>
                </a:lnTo>
                <a:lnTo>
                  <a:pt x="166624" y="228600"/>
                </a:lnTo>
                <a:lnTo>
                  <a:pt x="199961" y="228600"/>
                </a:lnTo>
                <a:lnTo>
                  <a:pt x="193928" y="219456"/>
                </a:lnTo>
                <a:lnTo>
                  <a:pt x="192736" y="209264"/>
                </a:lnTo>
                <a:lnTo>
                  <a:pt x="193532" y="195072"/>
                </a:lnTo>
                <a:lnTo>
                  <a:pt x="214312" y="159258"/>
                </a:lnTo>
                <a:lnTo>
                  <a:pt x="223793" y="156972"/>
                </a:lnTo>
                <a:lnTo>
                  <a:pt x="233299" y="152400"/>
                </a:lnTo>
                <a:lnTo>
                  <a:pt x="240770" y="137255"/>
                </a:lnTo>
                <a:lnTo>
                  <a:pt x="238585" y="120395"/>
                </a:lnTo>
                <a:lnTo>
                  <a:pt x="236449" y="115824"/>
                </a:lnTo>
                <a:close/>
              </a:path>
              <a:path w="241300" h="387350">
                <a:moveTo>
                  <a:pt x="234180" y="110966"/>
                </a:moveTo>
                <a:lnTo>
                  <a:pt x="42592" y="110966"/>
                </a:lnTo>
                <a:lnTo>
                  <a:pt x="54165" y="118872"/>
                </a:lnTo>
                <a:lnTo>
                  <a:pt x="65166" y="129063"/>
                </a:lnTo>
                <a:lnTo>
                  <a:pt x="78739" y="134112"/>
                </a:lnTo>
                <a:lnTo>
                  <a:pt x="91380" y="132111"/>
                </a:lnTo>
                <a:lnTo>
                  <a:pt x="102616" y="124968"/>
                </a:lnTo>
                <a:lnTo>
                  <a:pt x="113280" y="117824"/>
                </a:lnTo>
                <a:lnTo>
                  <a:pt x="124205" y="115824"/>
                </a:lnTo>
                <a:lnTo>
                  <a:pt x="236449" y="115824"/>
                </a:lnTo>
                <a:lnTo>
                  <a:pt x="234180" y="110966"/>
                </a:lnTo>
                <a:close/>
              </a:path>
              <a:path w="241300" h="387350">
                <a:moveTo>
                  <a:pt x="121157" y="0"/>
                </a:moveTo>
                <a:lnTo>
                  <a:pt x="112089" y="1476"/>
                </a:lnTo>
                <a:lnTo>
                  <a:pt x="102997" y="4953"/>
                </a:lnTo>
                <a:lnTo>
                  <a:pt x="93904" y="9001"/>
                </a:lnTo>
                <a:lnTo>
                  <a:pt x="84835" y="12192"/>
                </a:lnTo>
                <a:lnTo>
                  <a:pt x="77114" y="27813"/>
                </a:lnTo>
                <a:lnTo>
                  <a:pt x="61737" y="36576"/>
                </a:lnTo>
                <a:lnTo>
                  <a:pt x="43527" y="43053"/>
                </a:lnTo>
                <a:lnTo>
                  <a:pt x="27304" y="51816"/>
                </a:lnTo>
                <a:lnTo>
                  <a:pt x="23467" y="70008"/>
                </a:lnTo>
                <a:lnTo>
                  <a:pt x="14795" y="85343"/>
                </a:lnTo>
                <a:lnTo>
                  <a:pt x="5552" y="100679"/>
                </a:lnTo>
                <a:lnTo>
                  <a:pt x="0" y="118872"/>
                </a:lnTo>
                <a:lnTo>
                  <a:pt x="6095" y="118872"/>
                </a:lnTo>
                <a:lnTo>
                  <a:pt x="6095" y="106680"/>
                </a:lnTo>
                <a:lnTo>
                  <a:pt x="232177" y="106680"/>
                </a:lnTo>
                <a:lnTo>
                  <a:pt x="207819" y="68056"/>
                </a:lnTo>
                <a:lnTo>
                  <a:pt x="178958" y="36528"/>
                </a:lnTo>
                <a:lnTo>
                  <a:pt x="142033" y="8381"/>
                </a:lnTo>
                <a:lnTo>
                  <a:pt x="131185" y="2476"/>
                </a:lnTo>
                <a:lnTo>
                  <a:pt x="121157" y="0"/>
                </a:lnTo>
                <a:close/>
              </a:path>
              <a:path w="241300" h="387350">
                <a:moveTo>
                  <a:pt x="232177" y="106680"/>
                </a:moveTo>
                <a:lnTo>
                  <a:pt x="21208" y="106680"/>
                </a:lnTo>
                <a:lnTo>
                  <a:pt x="21208" y="112776"/>
                </a:lnTo>
                <a:lnTo>
                  <a:pt x="27304" y="112776"/>
                </a:lnTo>
                <a:lnTo>
                  <a:pt x="42592" y="110966"/>
                </a:lnTo>
                <a:lnTo>
                  <a:pt x="234180" y="110966"/>
                </a:lnTo>
                <a:lnTo>
                  <a:pt x="232177" y="106680"/>
                </a:lnTo>
                <a:close/>
              </a:path>
            </a:pathLst>
          </a:custGeom>
          <a:solidFill>
            <a:srgbClr val="12ABDB"/>
          </a:solidFill>
        </p:spPr>
        <p:txBody>
          <a:bodyPr wrap="square" lIns="0" tIns="0" rIns="0" bIns="0" rtlCol="0"/>
          <a:lstStyle/>
          <a:p>
            <a:endParaRPr/>
          </a:p>
        </p:txBody>
      </p:sp>
      <p:sp>
        <p:nvSpPr>
          <p:cNvPr id="24" name="object 24"/>
          <p:cNvSpPr/>
          <p:nvPr/>
        </p:nvSpPr>
        <p:spPr>
          <a:xfrm>
            <a:off x="10710379" y="3761232"/>
            <a:ext cx="125260" cy="222504"/>
          </a:xfrm>
          <a:prstGeom prst="rect">
            <a:avLst/>
          </a:prstGeom>
          <a:blipFill>
            <a:blip r:embed="rId6" cstate="print"/>
            <a:stretch>
              <a:fillRect/>
            </a:stretch>
          </a:blipFill>
        </p:spPr>
        <p:txBody>
          <a:bodyPr wrap="square" lIns="0" tIns="0" rIns="0" bIns="0" rtlCol="0"/>
          <a:lstStyle/>
          <a:p>
            <a:endParaRPr/>
          </a:p>
        </p:txBody>
      </p:sp>
      <p:sp>
        <p:nvSpPr>
          <p:cNvPr id="25" name="object 25"/>
          <p:cNvSpPr/>
          <p:nvPr/>
        </p:nvSpPr>
        <p:spPr>
          <a:xfrm>
            <a:off x="9401556" y="5547359"/>
            <a:ext cx="1229868" cy="344424"/>
          </a:xfrm>
          <a:prstGeom prst="rect">
            <a:avLst/>
          </a:prstGeom>
          <a:blipFill>
            <a:blip r:embed="rId7" cstate="print"/>
            <a:stretch>
              <a:fillRect/>
            </a:stretch>
          </a:blipFill>
        </p:spPr>
        <p:txBody>
          <a:bodyPr wrap="square" lIns="0" tIns="0" rIns="0" bIns="0" rtlCol="0"/>
          <a:lstStyle/>
          <a:p>
            <a:endParaRPr/>
          </a:p>
        </p:txBody>
      </p:sp>
      <p:sp>
        <p:nvSpPr>
          <p:cNvPr id="26" name="object 26"/>
          <p:cNvSpPr txBox="1">
            <a:spLocks noGrp="1"/>
          </p:cNvSpPr>
          <p:nvPr>
            <p:ph type="title"/>
          </p:nvPr>
        </p:nvSpPr>
        <p:spPr>
          <a:prstGeom prst="rect">
            <a:avLst/>
          </a:prstGeom>
        </p:spPr>
        <p:txBody>
          <a:bodyPr vert="horz" wrap="square" lIns="0" tIns="12700" rIns="0" bIns="0" rtlCol="0">
            <a:spAutoFit/>
          </a:bodyPr>
          <a:lstStyle/>
          <a:p>
            <a:pPr marL="3430904">
              <a:lnSpc>
                <a:spcPct val="100000"/>
              </a:lnSpc>
              <a:spcBef>
                <a:spcPts val="100"/>
              </a:spcBef>
            </a:pPr>
            <a:r>
              <a:rPr spc="-5"/>
              <a:t>Challenges</a:t>
            </a:r>
          </a:p>
        </p:txBody>
      </p:sp>
      <p:sp>
        <p:nvSpPr>
          <p:cNvPr id="27" name="object 27"/>
          <p:cNvSpPr/>
          <p:nvPr/>
        </p:nvSpPr>
        <p:spPr>
          <a:xfrm>
            <a:off x="347472" y="5178552"/>
            <a:ext cx="2161031" cy="1080516"/>
          </a:xfrm>
          <a:prstGeom prst="rect">
            <a:avLst/>
          </a:prstGeom>
          <a:blipFill>
            <a:blip r:embed="rId8" cstate="print"/>
            <a:stretch>
              <a:fillRect/>
            </a:stretch>
          </a:blipFill>
        </p:spPr>
        <p:txBody>
          <a:bodyPr wrap="square" lIns="0" tIns="0" rIns="0" bIns="0" rtlCol="0"/>
          <a:lstStyle/>
          <a:p>
            <a:endParaRPr/>
          </a:p>
        </p:txBody>
      </p:sp>
      <p:sp>
        <p:nvSpPr>
          <p:cNvPr id="28" name="object 28"/>
          <p:cNvSpPr/>
          <p:nvPr/>
        </p:nvSpPr>
        <p:spPr>
          <a:xfrm>
            <a:off x="2933700" y="5178552"/>
            <a:ext cx="2159507" cy="1080516"/>
          </a:xfrm>
          <a:prstGeom prst="rect">
            <a:avLst/>
          </a:prstGeom>
          <a:blipFill>
            <a:blip r:embed="rId9" cstate="print"/>
            <a:stretch>
              <a:fillRect/>
            </a:stretch>
          </a:blipFill>
        </p:spPr>
        <p:txBody>
          <a:bodyPr wrap="square" lIns="0" tIns="0" rIns="0" bIns="0" rtlCol="0"/>
          <a:lstStyle/>
          <a:p>
            <a:endParaRPr/>
          </a:p>
        </p:txBody>
      </p:sp>
      <p:sp>
        <p:nvSpPr>
          <p:cNvPr id="29" name="object 29"/>
          <p:cNvSpPr txBox="1"/>
          <p:nvPr/>
        </p:nvSpPr>
        <p:spPr>
          <a:xfrm>
            <a:off x="227380" y="6650797"/>
            <a:ext cx="3099435" cy="124460"/>
          </a:xfrm>
          <a:prstGeom prst="rect">
            <a:avLst/>
          </a:prstGeom>
        </p:spPr>
        <p:txBody>
          <a:bodyPr vert="horz" wrap="square" lIns="0" tIns="635" rIns="0" bIns="0" rtlCol="0">
            <a:spAutoFit/>
          </a:bodyPr>
          <a:lstStyle/>
          <a:p>
            <a:pPr>
              <a:lnSpc>
                <a:spcPct val="100000"/>
              </a:lnSpc>
              <a:spcBef>
                <a:spcPts val="5"/>
              </a:spcBef>
            </a:pPr>
            <a:r>
              <a:rPr sz="800">
                <a:solidFill>
                  <a:srgbClr val="A6A6A6"/>
                </a:solidFill>
                <a:latin typeface="Verdana"/>
                <a:cs typeface="Verdana"/>
              </a:rPr>
              <a:t>Capgemini’s Response Salesforce </a:t>
            </a:r>
            <a:r>
              <a:rPr sz="800" spc="-5">
                <a:solidFill>
                  <a:srgbClr val="A6A6A6"/>
                </a:solidFill>
                <a:latin typeface="Verdana"/>
                <a:cs typeface="Verdana"/>
              </a:rPr>
              <a:t>Rollout Project </a:t>
            </a:r>
            <a:r>
              <a:rPr sz="800">
                <a:solidFill>
                  <a:srgbClr val="A6A6A6"/>
                </a:solidFill>
                <a:latin typeface="Verdana"/>
                <a:cs typeface="Verdana"/>
              </a:rPr>
              <a:t>| Sep</a:t>
            </a:r>
            <a:r>
              <a:rPr sz="800" spc="-35">
                <a:solidFill>
                  <a:srgbClr val="A6A6A6"/>
                </a:solidFill>
                <a:latin typeface="Verdana"/>
                <a:cs typeface="Verdana"/>
              </a:rPr>
              <a:t> </a:t>
            </a:r>
            <a:r>
              <a:rPr sz="800">
                <a:solidFill>
                  <a:srgbClr val="A6A6A6"/>
                </a:solidFill>
                <a:latin typeface="Verdana"/>
                <a:cs typeface="Verdana"/>
              </a:rPr>
              <a:t>2020</a:t>
            </a:r>
            <a:endParaRPr sz="800">
              <a:latin typeface="Verdana"/>
              <a:cs typeface="Verdana"/>
            </a:endParaRPr>
          </a:p>
        </p:txBody>
      </p:sp>
      <p:sp>
        <p:nvSpPr>
          <p:cNvPr id="30" name="object 30"/>
          <p:cNvSpPr txBox="1"/>
          <p:nvPr/>
        </p:nvSpPr>
        <p:spPr>
          <a:xfrm>
            <a:off x="214680" y="6638097"/>
            <a:ext cx="3336290"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FFFFFF"/>
                </a:solidFill>
                <a:latin typeface="Verdana"/>
                <a:cs typeface="Verdana"/>
              </a:rPr>
              <a:t>Capgemini’s Response </a:t>
            </a:r>
            <a:r>
              <a:rPr sz="800" spc="-5">
                <a:solidFill>
                  <a:srgbClr val="FFFFFF"/>
                </a:solidFill>
                <a:latin typeface="Verdana"/>
                <a:cs typeface="Verdana"/>
              </a:rPr>
              <a:t>to </a:t>
            </a:r>
            <a:r>
              <a:rPr sz="800">
                <a:solidFill>
                  <a:srgbClr val="FFFFFF"/>
                </a:solidFill>
                <a:latin typeface="Verdana"/>
                <a:cs typeface="Verdana"/>
              </a:rPr>
              <a:t>RFP for System Integrator | April</a:t>
            </a:r>
            <a:r>
              <a:rPr sz="800" spc="-85">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31" name="object 3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1</a:t>
            </a:fld>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6595872" cy="6857999"/>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0" y="4855464"/>
            <a:ext cx="10015855" cy="1728470"/>
          </a:xfrm>
          <a:custGeom>
            <a:avLst/>
            <a:gdLst/>
            <a:ahLst/>
            <a:cxnLst/>
            <a:rect l="l" t="t" r="r" b="b"/>
            <a:pathLst>
              <a:path w="10015855" h="1728470">
                <a:moveTo>
                  <a:pt x="10015728" y="0"/>
                </a:moveTo>
                <a:lnTo>
                  <a:pt x="0" y="0"/>
                </a:lnTo>
                <a:lnTo>
                  <a:pt x="0" y="1728216"/>
                </a:lnTo>
                <a:lnTo>
                  <a:pt x="10015728" y="1728216"/>
                </a:lnTo>
                <a:lnTo>
                  <a:pt x="9927336" y="1723758"/>
                </a:lnTo>
                <a:lnTo>
                  <a:pt x="9879340" y="1717520"/>
                </a:lnTo>
                <a:lnTo>
                  <a:pt x="9832207" y="1708693"/>
                </a:lnTo>
                <a:lnTo>
                  <a:pt x="9786009" y="1697350"/>
                </a:lnTo>
                <a:lnTo>
                  <a:pt x="9740822" y="1683566"/>
                </a:lnTo>
                <a:lnTo>
                  <a:pt x="9696720" y="1667416"/>
                </a:lnTo>
                <a:lnTo>
                  <a:pt x="9653778" y="1648973"/>
                </a:lnTo>
                <a:lnTo>
                  <a:pt x="9612069" y="1628313"/>
                </a:lnTo>
                <a:lnTo>
                  <a:pt x="9571669" y="1605510"/>
                </a:lnTo>
                <a:lnTo>
                  <a:pt x="9532652" y="1580639"/>
                </a:lnTo>
                <a:lnTo>
                  <a:pt x="9495093" y="1553773"/>
                </a:lnTo>
                <a:lnTo>
                  <a:pt x="9459065" y="1524987"/>
                </a:lnTo>
                <a:lnTo>
                  <a:pt x="9424644" y="1494356"/>
                </a:lnTo>
                <a:lnTo>
                  <a:pt x="9391904" y="1461955"/>
                </a:lnTo>
                <a:lnTo>
                  <a:pt x="9360919" y="1427857"/>
                </a:lnTo>
                <a:lnTo>
                  <a:pt x="9331764" y="1392138"/>
                </a:lnTo>
                <a:lnTo>
                  <a:pt x="9304513" y="1354871"/>
                </a:lnTo>
                <a:lnTo>
                  <a:pt x="9279241" y="1316131"/>
                </a:lnTo>
                <a:lnTo>
                  <a:pt x="9256023" y="1275992"/>
                </a:lnTo>
                <a:lnTo>
                  <a:pt x="9234932" y="1234530"/>
                </a:lnTo>
                <a:lnTo>
                  <a:pt x="9216044" y="1191819"/>
                </a:lnTo>
                <a:lnTo>
                  <a:pt x="9199432" y="1147932"/>
                </a:lnTo>
                <a:lnTo>
                  <a:pt x="9185172" y="1102945"/>
                </a:lnTo>
                <a:lnTo>
                  <a:pt x="9173337" y="1056932"/>
                </a:lnTo>
                <a:lnTo>
                  <a:pt x="9164003" y="1009967"/>
                </a:lnTo>
                <a:lnTo>
                  <a:pt x="9157244" y="962125"/>
                </a:lnTo>
                <a:lnTo>
                  <a:pt x="9153133" y="913480"/>
                </a:lnTo>
                <a:lnTo>
                  <a:pt x="9151747" y="864108"/>
                </a:lnTo>
                <a:lnTo>
                  <a:pt x="9153133" y="814734"/>
                </a:lnTo>
                <a:lnTo>
                  <a:pt x="9157244" y="766088"/>
                </a:lnTo>
                <a:lnTo>
                  <a:pt x="9164003" y="718247"/>
                </a:lnTo>
                <a:lnTo>
                  <a:pt x="9173337" y="671282"/>
                </a:lnTo>
                <a:lnTo>
                  <a:pt x="9185172" y="625270"/>
                </a:lnTo>
                <a:lnTo>
                  <a:pt x="9199432" y="580284"/>
                </a:lnTo>
                <a:lnTo>
                  <a:pt x="9216044" y="536398"/>
                </a:lnTo>
                <a:lnTo>
                  <a:pt x="9234932" y="493688"/>
                </a:lnTo>
                <a:lnTo>
                  <a:pt x="9256023" y="452228"/>
                </a:lnTo>
                <a:lnTo>
                  <a:pt x="9279241" y="412091"/>
                </a:lnTo>
                <a:lnTo>
                  <a:pt x="9304513" y="373353"/>
                </a:lnTo>
                <a:lnTo>
                  <a:pt x="9331764" y="336088"/>
                </a:lnTo>
                <a:lnTo>
                  <a:pt x="9360919" y="300370"/>
                </a:lnTo>
                <a:lnTo>
                  <a:pt x="9391904" y="266273"/>
                </a:lnTo>
                <a:lnTo>
                  <a:pt x="9424644" y="233873"/>
                </a:lnTo>
                <a:lnTo>
                  <a:pt x="9459065" y="203243"/>
                </a:lnTo>
                <a:lnTo>
                  <a:pt x="9495093" y="174458"/>
                </a:lnTo>
                <a:lnTo>
                  <a:pt x="9532652" y="147592"/>
                </a:lnTo>
                <a:lnTo>
                  <a:pt x="9571669" y="122720"/>
                </a:lnTo>
                <a:lnTo>
                  <a:pt x="9612069" y="99916"/>
                </a:lnTo>
                <a:lnTo>
                  <a:pt x="9653778" y="79255"/>
                </a:lnTo>
                <a:lnTo>
                  <a:pt x="9696720" y="60810"/>
                </a:lnTo>
                <a:lnTo>
                  <a:pt x="9740822" y="44657"/>
                </a:lnTo>
                <a:lnTo>
                  <a:pt x="9786009" y="30869"/>
                </a:lnTo>
                <a:lnTo>
                  <a:pt x="9832207" y="19522"/>
                </a:lnTo>
                <a:lnTo>
                  <a:pt x="9879340" y="10689"/>
                </a:lnTo>
                <a:lnTo>
                  <a:pt x="9927336" y="4444"/>
                </a:lnTo>
                <a:lnTo>
                  <a:pt x="10015728" y="0"/>
                </a:lnTo>
                <a:close/>
              </a:path>
            </a:pathLst>
          </a:custGeom>
          <a:solidFill>
            <a:srgbClr val="12ABDB">
              <a:alpha val="32940"/>
            </a:srgbClr>
          </a:solidFill>
        </p:spPr>
        <p:txBody>
          <a:bodyPr wrap="square" lIns="0" tIns="0" rIns="0" bIns="0" rtlCol="0"/>
          <a:lstStyle/>
          <a:p>
            <a:endParaRPr/>
          </a:p>
        </p:txBody>
      </p:sp>
      <p:sp>
        <p:nvSpPr>
          <p:cNvPr id="4" name="object 4"/>
          <p:cNvSpPr/>
          <p:nvPr/>
        </p:nvSpPr>
        <p:spPr>
          <a:xfrm>
            <a:off x="9152381" y="4856226"/>
            <a:ext cx="1728470" cy="1728470"/>
          </a:xfrm>
          <a:custGeom>
            <a:avLst/>
            <a:gdLst/>
            <a:ahLst/>
            <a:cxnLst/>
            <a:rect l="l" t="t" r="r" b="b"/>
            <a:pathLst>
              <a:path w="1728470" h="1728470">
                <a:moveTo>
                  <a:pt x="864108" y="0"/>
                </a:moveTo>
                <a:lnTo>
                  <a:pt x="816693" y="1278"/>
                </a:lnTo>
                <a:lnTo>
                  <a:pt x="769948" y="5070"/>
                </a:lnTo>
                <a:lnTo>
                  <a:pt x="723937" y="11308"/>
                </a:lnTo>
                <a:lnTo>
                  <a:pt x="678726" y="19928"/>
                </a:lnTo>
                <a:lnTo>
                  <a:pt x="634382" y="30864"/>
                </a:lnTo>
                <a:lnTo>
                  <a:pt x="590970" y="44049"/>
                </a:lnTo>
                <a:lnTo>
                  <a:pt x="548556" y="59418"/>
                </a:lnTo>
                <a:lnTo>
                  <a:pt x="507206" y="76905"/>
                </a:lnTo>
                <a:lnTo>
                  <a:pt x="466986" y="96444"/>
                </a:lnTo>
                <a:lnTo>
                  <a:pt x="427961" y="117968"/>
                </a:lnTo>
                <a:lnTo>
                  <a:pt x="390198" y="141413"/>
                </a:lnTo>
                <a:lnTo>
                  <a:pt x="353763" y="166713"/>
                </a:lnTo>
                <a:lnTo>
                  <a:pt x="318720" y="193801"/>
                </a:lnTo>
                <a:lnTo>
                  <a:pt x="285137" y="222611"/>
                </a:lnTo>
                <a:lnTo>
                  <a:pt x="253079" y="253079"/>
                </a:lnTo>
                <a:lnTo>
                  <a:pt x="222611" y="285137"/>
                </a:lnTo>
                <a:lnTo>
                  <a:pt x="193801" y="318720"/>
                </a:lnTo>
                <a:lnTo>
                  <a:pt x="166713" y="353763"/>
                </a:lnTo>
                <a:lnTo>
                  <a:pt x="141413" y="390198"/>
                </a:lnTo>
                <a:lnTo>
                  <a:pt x="117968" y="427961"/>
                </a:lnTo>
                <a:lnTo>
                  <a:pt x="96444" y="466986"/>
                </a:lnTo>
                <a:lnTo>
                  <a:pt x="76905" y="507206"/>
                </a:lnTo>
                <a:lnTo>
                  <a:pt x="59418" y="548556"/>
                </a:lnTo>
                <a:lnTo>
                  <a:pt x="44049" y="590970"/>
                </a:lnTo>
                <a:lnTo>
                  <a:pt x="30864" y="634382"/>
                </a:lnTo>
                <a:lnTo>
                  <a:pt x="19928" y="678726"/>
                </a:lnTo>
                <a:lnTo>
                  <a:pt x="11308" y="723937"/>
                </a:lnTo>
                <a:lnTo>
                  <a:pt x="5070" y="769948"/>
                </a:lnTo>
                <a:lnTo>
                  <a:pt x="1278" y="816693"/>
                </a:lnTo>
                <a:lnTo>
                  <a:pt x="0" y="864108"/>
                </a:lnTo>
                <a:lnTo>
                  <a:pt x="1278" y="911518"/>
                </a:lnTo>
                <a:lnTo>
                  <a:pt x="5070" y="958261"/>
                </a:lnTo>
                <a:lnTo>
                  <a:pt x="11308" y="1004269"/>
                </a:lnTo>
                <a:lnTo>
                  <a:pt x="19928" y="1049477"/>
                </a:lnTo>
                <a:lnTo>
                  <a:pt x="30864" y="1093820"/>
                </a:lnTo>
                <a:lnTo>
                  <a:pt x="44049" y="1137230"/>
                </a:lnTo>
                <a:lnTo>
                  <a:pt x="59418" y="1179643"/>
                </a:lnTo>
                <a:lnTo>
                  <a:pt x="76905" y="1220992"/>
                </a:lnTo>
                <a:lnTo>
                  <a:pt x="96444" y="1261212"/>
                </a:lnTo>
                <a:lnTo>
                  <a:pt x="117968" y="1300237"/>
                </a:lnTo>
                <a:lnTo>
                  <a:pt x="141413" y="1338000"/>
                </a:lnTo>
                <a:lnTo>
                  <a:pt x="166713" y="1374436"/>
                </a:lnTo>
                <a:lnTo>
                  <a:pt x="193801" y="1409479"/>
                </a:lnTo>
                <a:lnTo>
                  <a:pt x="222611" y="1443063"/>
                </a:lnTo>
                <a:lnTo>
                  <a:pt x="253079" y="1475122"/>
                </a:lnTo>
                <a:lnTo>
                  <a:pt x="285137" y="1505590"/>
                </a:lnTo>
                <a:lnTo>
                  <a:pt x="318720" y="1534402"/>
                </a:lnTo>
                <a:lnTo>
                  <a:pt x="353763" y="1561491"/>
                </a:lnTo>
                <a:lnTo>
                  <a:pt x="390198" y="1586792"/>
                </a:lnTo>
                <a:lnTo>
                  <a:pt x="427961" y="1610238"/>
                </a:lnTo>
                <a:lnTo>
                  <a:pt x="466986" y="1631764"/>
                </a:lnTo>
                <a:lnTo>
                  <a:pt x="507206" y="1651304"/>
                </a:lnTo>
                <a:lnTo>
                  <a:pt x="548556" y="1668792"/>
                </a:lnTo>
                <a:lnTo>
                  <a:pt x="590970" y="1684162"/>
                </a:lnTo>
                <a:lnTo>
                  <a:pt x="634382" y="1697348"/>
                </a:lnTo>
                <a:lnTo>
                  <a:pt x="678726" y="1708285"/>
                </a:lnTo>
                <a:lnTo>
                  <a:pt x="723937" y="1716906"/>
                </a:lnTo>
                <a:lnTo>
                  <a:pt x="769948" y="1723145"/>
                </a:lnTo>
                <a:lnTo>
                  <a:pt x="816693" y="1726937"/>
                </a:lnTo>
                <a:lnTo>
                  <a:pt x="864108" y="1728216"/>
                </a:lnTo>
                <a:lnTo>
                  <a:pt x="911522" y="1726937"/>
                </a:lnTo>
                <a:lnTo>
                  <a:pt x="958267" y="1723145"/>
                </a:lnTo>
                <a:lnTo>
                  <a:pt x="1004278" y="1716906"/>
                </a:lnTo>
                <a:lnTo>
                  <a:pt x="1049489" y="1708285"/>
                </a:lnTo>
                <a:lnTo>
                  <a:pt x="1093833" y="1697348"/>
                </a:lnTo>
                <a:lnTo>
                  <a:pt x="1137245" y="1684162"/>
                </a:lnTo>
                <a:lnTo>
                  <a:pt x="1179659" y="1668792"/>
                </a:lnTo>
                <a:lnTo>
                  <a:pt x="1221009" y="1651304"/>
                </a:lnTo>
                <a:lnTo>
                  <a:pt x="1261229" y="1631764"/>
                </a:lnTo>
                <a:lnTo>
                  <a:pt x="1300254" y="1610238"/>
                </a:lnTo>
                <a:lnTo>
                  <a:pt x="1338017" y="1586792"/>
                </a:lnTo>
                <a:lnTo>
                  <a:pt x="1374452" y="1561491"/>
                </a:lnTo>
                <a:lnTo>
                  <a:pt x="1409495" y="1534402"/>
                </a:lnTo>
                <a:lnTo>
                  <a:pt x="1443078" y="1505590"/>
                </a:lnTo>
                <a:lnTo>
                  <a:pt x="1475136" y="1475122"/>
                </a:lnTo>
                <a:lnTo>
                  <a:pt x="1505604" y="1443063"/>
                </a:lnTo>
                <a:lnTo>
                  <a:pt x="1534414" y="1409479"/>
                </a:lnTo>
                <a:lnTo>
                  <a:pt x="1561502" y="1374436"/>
                </a:lnTo>
                <a:lnTo>
                  <a:pt x="1586802" y="1338000"/>
                </a:lnTo>
                <a:lnTo>
                  <a:pt x="1610247" y="1300237"/>
                </a:lnTo>
                <a:lnTo>
                  <a:pt x="1631771" y="1261212"/>
                </a:lnTo>
                <a:lnTo>
                  <a:pt x="1651310" y="1220992"/>
                </a:lnTo>
                <a:lnTo>
                  <a:pt x="1668797" y="1179643"/>
                </a:lnTo>
                <a:lnTo>
                  <a:pt x="1684166" y="1137230"/>
                </a:lnTo>
                <a:lnTo>
                  <a:pt x="1697351" y="1093820"/>
                </a:lnTo>
                <a:lnTo>
                  <a:pt x="1708287" y="1049477"/>
                </a:lnTo>
                <a:lnTo>
                  <a:pt x="1716907" y="1004269"/>
                </a:lnTo>
                <a:lnTo>
                  <a:pt x="1723145" y="958261"/>
                </a:lnTo>
                <a:lnTo>
                  <a:pt x="1726937" y="911518"/>
                </a:lnTo>
                <a:lnTo>
                  <a:pt x="1728216" y="864108"/>
                </a:lnTo>
                <a:lnTo>
                  <a:pt x="1726937" y="816693"/>
                </a:lnTo>
                <a:lnTo>
                  <a:pt x="1723145" y="769948"/>
                </a:lnTo>
                <a:lnTo>
                  <a:pt x="1716907" y="723937"/>
                </a:lnTo>
                <a:lnTo>
                  <a:pt x="1708287" y="678726"/>
                </a:lnTo>
                <a:lnTo>
                  <a:pt x="1697351" y="634382"/>
                </a:lnTo>
                <a:lnTo>
                  <a:pt x="1684166" y="590970"/>
                </a:lnTo>
                <a:lnTo>
                  <a:pt x="1668797" y="548556"/>
                </a:lnTo>
                <a:lnTo>
                  <a:pt x="1651310" y="507206"/>
                </a:lnTo>
                <a:lnTo>
                  <a:pt x="1631771" y="466986"/>
                </a:lnTo>
                <a:lnTo>
                  <a:pt x="1610247" y="427961"/>
                </a:lnTo>
                <a:lnTo>
                  <a:pt x="1586802" y="390198"/>
                </a:lnTo>
                <a:lnTo>
                  <a:pt x="1561502" y="353763"/>
                </a:lnTo>
                <a:lnTo>
                  <a:pt x="1534414" y="318720"/>
                </a:lnTo>
                <a:lnTo>
                  <a:pt x="1505604" y="285137"/>
                </a:lnTo>
                <a:lnTo>
                  <a:pt x="1475136" y="253079"/>
                </a:lnTo>
                <a:lnTo>
                  <a:pt x="1443078" y="222611"/>
                </a:lnTo>
                <a:lnTo>
                  <a:pt x="1409495" y="193801"/>
                </a:lnTo>
                <a:lnTo>
                  <a:pt x="1374452" y="166713"/>
                </a:lnTo>
                <a:lnTo>
                  <a:pt x="1338017" y="141413"/>
                </a:lnTo>
                <a:lnTo>
                  <a:pt x="1300254" y="117968"/>
                </a:lnTo>
                <a:lnTo>
                  <a:pt x="1261229" y="96444"/>
                </a:lnTo>
                <a:lnTo>
                  <a:pt x="1221009" y="76905"/>
                </a:lnTo>
                <a:lnTo>
                  <a:pt x="1179659" y="59418"/>
                </a:lnTo>
                <a:lnTo>
                  <a:pt x="1137245" y="44049"/>
                </a:lnTo>
                <a:lnTo>
                  <a:pt x="1093833" y="30864"/>
                </a:lnTo>
                <a:lnTo>
                  <a:pt x="1049489" y="19928"/>
                </a:lnTo>
                <a:lnTo>
                  <a:pt x="1004278" y="11308"/>
                </a:lnTo>
                <a:lnTo>
                  <a:pt x="958267" y="5070"/>
                </a:lnTo>
                <a:lnTo>
                  <a:pt x="911522" y="1278"/>
                </a:lnTo>
                <a:lnTo>
                  <a:pt x="864108" y="0"/>
                </a:lnTo>
                <a:close/>
              </a:path>
            </a:pathLst>
          </a:custGeom>
          <a:solidFill>
            <a:srgbClr val="12ABDB"/>
          </a:solidFill>
        </p:spPr>
        <p:txBody>
          <a:bodyPr wrap="square" lIns="0" tIns="0" rIns="0" bIns="0" rtlCol="0"/>
          <a:lstStyle/>
          <a:p>
            <a:endParaRPr/>
          </a:p>
        </p:txBody>
      </p:sp>
      <p:sp>
        <p:nvSpPr>
          <p:cNvPr id="5" name="object 5"/>
          <p:cNvSpPr/>
          <p:nvPr/>
        </p:nvSpPr>
        <p:spPr>
          <a:xfrm>
            <a:off x="9152381" y="4856226"/>
            <a:ext cx="1728470" cy="1728470"/>
          </a:xfrm>
          <a:custGeom>
            <a:avLst/>
            <a:gdLst/>
            <a:ahLst/>
            <a:cxnLst/>
            <a:rect l="l" t="t" r="r" b="b"/>
            <a:pathLst>
              <a:path w="1728470" h="1728470">
                <a:moveTo>
                  <a:pt x="0" y="864108"/>
                </a:moveTo>
                <a:lnTo>
                  <a:pt x="1278" y="816693"/>
                </a:lnTo>
                <a:lnTo>
                  <a:pt x="5070" y="769948"/>
                </a:lnTo>
                <a:lnTo>
                  <a:pt x="11308" y="723937"/>
                </a:lnTo>
                <a:lnTo>
                  <a:pt x="19928" y="678726"/>
                </a:lnTo>
                <a:lnTo>
                  <a:pt x="30864" y="634382"/>
                </a:lnTo>
                <a:lnTo>
                  <a:pt x="44049" y="590970"/>
                </a:lnTo>
                <a:lnTo>
                  <a:pt x="59418" y="548556"/>
                </a:lnTo>
                <a:lnTo>
                  <a:pt x="76905" y="507206"/>
                </a:lnTo>
                <a:lnTo>
                  <a:pt x="96444" y="466986"/>
                </a:lnTo>
                <a:lnTo>
                  <a:pt x="117968" y="427961"/>
                </a:lnTo>
                <a:lnTo>
                  <a:pt x="141413" y="390198"/>
                </a:lnTo>
                <a:lnTo>
                  <a:pt x="166713" y="353763"/>
                </a:lnTo>
                <a:lnTo>
                  <a:pt x="193801" y="318720"/>
                </a:lnTo>
                <a:lnTo>
                  <a:pt x="222611" y="285137"/>
                </a:lnTo>
                <a:lnTo>
                  <a:pt x="253079" y="253079"/>
                </a:lnTo>
                <a:lnTo>
                  <a:pt x="285137" y="222611"/>
                </a:lnTo>
                <a:lnTo>
                  <a:pt x="318720" y="193801"/>
                </a:lnTo>
                <a:lnTo>
                  <a:pt x="353763" y="166713"/>
                </a:lnTo>
                <a:lnTo>
                  <a:pt x="390198" y="141413"/>
                </a:lnTo>
                <a:lnTo>
                  <a:pt x="427961" y="117968"/>
                </a:lnTo>
                <a:lnTo>
                  <a:pt x="466986" y="96444"/>
                </a:lnTo>
                <a:lnTo>
                  <a:pt x="507206" y="76905"/>
                </a:lnTo>
                <a:lnTo>
                  <a:pt x="548556" y="59418"/>
                </a:lnTo>
                <a:lnTo>
                  <a:pt x="590970" y="44049"/>
                </a:lnTo>
                <a:lnTo>
                  <a:pt x="634382" y="30864"/>
                </a:lnTo>
                <a:lnTo>
                  <a:pt x="678726" y="19928"/>
                </a:lnTo>
                <a:lnTo>
                  <a:pt x="723937" y="11308"/>
                </a:lnTo>
                <a:lnTo>
                  <a:pt x="769948" y="5070"/>
                </a:lnTo>
                <a:lnTo>
                  <a:pt x="816693" y="1278"/>
                </a:lnTo>
                <a:lnTo>
                  <a:pt x="864108" y="0"/>
                </a:lnTo>
                <a:lnTo>
                  <a:pt x="911522" y="1278"/>
                </a:lnTo>
                <a:lnTo>
                  <a:pt x="958267" y="5070"/>
                </a:lnTo>
                <a:lnTo>
                  <a:pt x="1004278" y="11308"/>
                </a:lnTo>
                <a:lnTo>
                  <a:pt x="1049489" y="19928"/>
                </a:lnTo>
                <a:lnTo>
                  <a:pt x="1093833" y="30864"/>
                </a:lnTo>
                <a:lnTo>
                  <a:pt x="1137245" y="44049"/>
                </a:lnTo>
                <a:lnTo>
                  <a:pt x="1179659" y="59418"/>
                </a:lnTo>
                <a:lnTo>
                  <a:pt x="1221009" y="76905"/>
                </a:lnTo>
                <a:lnTo>
                  <a:pt x="1261229" y="96444"/>
                </a:lnTo>
                <a:lnTo>
                  <a:pt x="1300254" y="117968"/>
                </a:lnTo>
                <a:lnTo>
                  <a:pt x="1338017" y="141413"/>
                </a:lnTo>
                <a:lnTo>
                  <a:pt x="1374452" y="166713"/>
                </a:lnTo>
                <a:lnTo>
                  <a:pt x="1409495" y="193801"/>
                </a:lnTo>
                <a:lnTo>
                  <a:pt x="1443078" y="222611"/>
                </a:lnTo>
                <a:lnTo>
                  <a:pt x="1475136" y="253079"/>
                </a:lnTo>
                <a:lnTo>
                  <a:pt x="1505604" y="285137"/>
                </a:lnTo>
                <a:lnTo>
                  <a:pt x="1534414" y="318720"/>
                </a:lnTo>
                <a:lnTo>
                  <a:pt x="1561502" y="353763"/>
                </a:lnTo>
                <a:lnTo>
                  <a:pt x="1586802" y="390198"/>
                </a:lnTo>
                <a:lnTo>
                  <a:pt x="1610247" y="427961"/>
                </a:lnTo>
                <a:lnTo>
                  <a:pt x="1631771" y="466986"/>
                </a:lnTo>
                <a:lnTo>
                  <a:pt x="1651310" y="507206"/>
                </a:lnTo>
                <a:lnTo>
                  <a:pt x="1668797" y="548556"/>
                </a:lnTo>
                <a:lnTo>
                  <a:pt x="1684166" y="590970"/>
                </a:lnTo>
                <a:lnTo>
                  <a:pt x="1697351" y="634382"/>
                </a:lnTo>
                <a:lnTo>
                  <a:pt x="1708287" y="678726"/>
                </a:lnTo>
                <a:lnTo>
                  <a:pt x="1716907" y="723937"/>
                </a:lnTo>
                <a:lnTo>
                  <a:pt x="1723145" y="769948"/>
                </a:lnTo>
                <a:lnTo>
                  <a:pt x="1726937" y="816693"/>
                </a:lnTo>
                <a:lnTo>
                  <a:pt x="1728216" y="864108"/>
                </a:lnTo>
                <a:lnTo>
                  <a:pt x="1726937" y="911518"/>
                </a:lnTo>
                <a:lnTo>
                  <a:pt x="1723145" y="958261"/>
                </a:lnTo>
                <a:lnTo>
                  <a:pt x="1716907" y="1004269"/>
                </a:lnTo>
                <a:lnTo>
                  <a:pt x="1708287" y="1049477"/>
                </a:lnTo>
                <a:lnTo>
                  <a:pt x="1697351" y="1093820"/>
                </a:lnTo>
                <a:lnTo>
                  <a:pt x="1684166" y="1137230"/>
                </a:lnTo>
                <a:lnTo>
                  <a:pt x="1668797" y="1179643"/>
                </a:lnTo>
                <a:lnTo>
                  <a:pt x="1651310" y="1220992"/>
                </a:lnTo>
                <a:lnTo>
                  <a:pt x="1631771" y="1261212"/>
                </a:lnTo>
                <a:lnTo>
                  <a:pt x="1610247" y="1300237"/>
                </a:lnTo>
                <a:lnTo>
                  <a:pt x="1586802" y="1338000"/>
                </a:lnTo>
                <a:lnTo>
                  <a:pt x="1561502" y="1374436"/>
                </a:lnTo>
                <a:lnTo>
                  <a:pt x="1534414" y="1409479"/>
                </a:lnTo>
                <a:lnTo>
                  <a:pt x="1505604" y="1443063"/>
                </a:lnTo>
                <a:lnTo>
                  <a:pt x="1475136" y="1475122"/>
                </a:lnTo>
                <a:lnTo>
                  <a:pt x="1443078" y="1505590"/>
                </a:lnTo>
                <a:lnTo>
                  <a:pt x="1409495" y="1534402"/>
                </a:lnTo>
                <a:lnTo>
                  <a:pt x="1374452" y="1561491"/>
                </a:lnTo>
                <a:lnTo>
                  <a:pt x="1338017" y="1586792"/>
                </a:lnTo>
                <a:lnTo>
                  <a:pt x="1300254" y="1610238"/>
                </a:lnTo>
                <a:lnTo>
                  <a:pt x="1261229" y="1631764"/>
                </a:lnTo>
                <a:lnTo>
                  <a:pt x="1221009" y="1651304"/>
                </a:lnTo>
                <a:lnTo>
                  <a:pt x="1179659" y="1668792"/>
                </a:lnTo>
                <a:lnTo>
                  <a:pt x="1137245" y="1684162"/>
                </a:lnTo>
                <a:lnTo>
                  <a:pt x="1093833" y="1697348"/>
                </a:lnTo>
                <a:lnTo>
                  <a:pt x="1049489" y="1708285"/>
                </a:lnTo>
                <a:lnTo>
                  <a:pt x="1004278" y="1716906"/>
                </a:lnTo>
                <a:lnTo>
                  <a:pt x="958267" y="1723145"/>
                </a:lnTo>
                <a:lnTo>
                  <a:pt x="911522" y="1726937"/>
                </a:lnTo>
                <a:lnTo>
                  <a:pt x="864108" y="1728216"/>
                </a:lnTo>
                <a:lnTo>
                  <a:pt x="816693" y="1726937"/>
                </a:lnTo>
                <a:lnTo>
                  <a:pt x="769948" y="1723145"/>
                </a:lnTo>
                <a:lnTo>
                  <a:pt x="723937" y="1716906"/>
                </a:lnTo>
                <a:lnTo>
                  <a:pt x="678726" y="1708285"/>
                </a:lnTo>
                <a:lnTo>
                  <a:pt x="634382" y="1697348"/>
                </a:lnTo>
                <a:lnTo>
                  <a:pt x="590970" y="1684162"/>
                </a:lnTo>
                <a:lnTo>
                  <a:pt x="548556" y="1668792"/>
                </a:lnTo>
                <a:lnTo>
                  <a:pt x="507206" y="1651304"/>
                </a:lnTo>
                <a:lnTo>
                  <a:pt x="466986" y="1631764"/>
                </a:lnTo>
                <a:lnTo>
                  <a:pt x="427961" y="1610238"/>
                </a:lnTo>
                <a:lnTo>
                  <a:pt x="390198" y="1586792"/>
                </a:lnTo>
                <a:lnTo>
                  <a:pt x="353763" y="1561491"/>
                </a:lnTo>
                <a:lnTo>
                  <a:pt x="318720" y="1534402"/>
                </a:lnTo>
                <a:lnTo>
                  <a:pt x="285137" y="1505590"/>
                </a:lnTo>
                <a:lnTo>
                  <a:pt x="253079" y="1475122"/>
                </a:lnTo>
                <a:lnTo>
                  <a:pt x="222611" y="1443063"/>
                </a:lnTo>
                <a:lnTo>
                  <a:pt x="193801" y="1409479"/>
                </a:lnTo>
                <a:lnTo>
                  <a:pt x="166713" y="1374436"/>
                </a:lnTo>
                <a:lnTo>
                  <a:pt x="141413" y="1338000"/>
                </a:lnTo>
                <a:lnTo>
                  <a:pt x="117968" y="1300237"/>
                </a:lnTo>
                <a:lnTo>
                  <a:pt x="96444" y="1261212"/>
                </a:lnTo>
                <a:lnTo>
                  <a:pt x="76905" y="1220992"/>
                </a:lnTo>
                <a:lnTo>
                  <a:pt x="59418" y="1179643"/>
                </a:lnTo>
                <a:lnTo>
                  <a:pt x="44049" y="1137230"/>
                </a:lnTo>
                <a:lnTo>
                  <a:pt x="30864" y="1093820"/>
                </a:lnTo>
                <a:lnTo>
                  <a:pt x="19928" y="1049477"/>
                </a:lnTo>
                <a:lnTo>
                  <a:pt x="11308" y="1004269"/>
                </a:lnTo>
                <a:lnTo>
                  <a:pt x="5070" y="958261"/>
                </a:lnTo>
                <a:lnTo>
                  <a:pt x="1278" y="911518"/>
                </a:lnTo>
                <a:lnTo>
                  <a:pt x="0" y="864108"/>
                </a:lnTo>
                <a:close/>
              </a:path>
            </a:pathLst>
          </a:custGeom>
          <a:ln w="19812">
            <a:solidFill>
              <a:srgbClr val="FFFFFF"/>
            </a:solidFill>
            <a:prstDash val="sysDot"/>
          </a:ln>
        </p:spPr>
        <p:txBody>
          <a:bodyPr wrap="square" lIns="0" tIns="0" rIns="0" bIns="0" rtlCol="0"/>
          <a:lstStyle/>
          <a:p>
            <a:endParaRPr/>
          </a:p>
        </p:txBody>
      </p:sp>
      <p:sp>
        <p:nvSpPr>
          <p:cNvPr id="6" name="object 6"/>
          <p:cNvSpPr txBox="1">
            <a:spLocks noGrp="1"/>
          </p:cNvSpPr>
          <p:nvPr>
            <p:ph type="title"/>
          </p:nvPr>
        </p:nvSpPr>
        <p:spPr>
          <a:prstGeom prst="rect">
            <a:avLst/>
          </a:prstGeom>
        </p:spPr>
        <p:txBody>
          <a:bodyPr vert="horz" wrap="square" lIns="0" tIns="12700" rIns="0" bIns="0" rtlCol="0">
            <a:spAutoFit/>
          </a:bodyPr>
          <a:lstStyle/>
          <a:p>
            <a:pPr marL="3430904">
              <a:lnSpc>
                <a:spcPct val="100000"/>
              </a:lnSpc>
              <a:spcBef>
                <a:spcPts val="100"/>
              </a:spcBef>
            </a:pPr>
            <a:r>
              <a:rPr spc="-5"/>
              <a:t>Challenges</a:t>
            </a:r>
          </a:p>
        </p:txBody>
      </p:sp>
      <p:sp>
        <p:nvSpPr>
          <p:cNvPr id="7" name="object 7"/>
          <p:cNvSpPr txBox="1"/>
          <p:nvPr/>
        </p:nvSpPr>
        <p:spPr>
          <a:xfrm>
            <a:off x="6962647" y="1186941"/>
            <a:ext cx="4827270" cy="2220595"/>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Verdana"/>
                <a:cs typeface="Verdana"/>
              </a:rPr>
              <a:t>BMW was using </a:t>
            </a:r>
            <a:r>
              <a:rPr sz="1200">
                <a:latin typeface="Verdana"/>
                <a:cs typeface="Verdana"/>
              </a:rPr>
              <a:t>a </a:t>
            </a:r>
            <a:r>
              <a:rPr sz="1200" spc="-5">
                <a:latin typeface="Verdana"/>
                <a:cs typeface="Verdana"/>
              </a:rPr>
              <a:t>very hands on, manual </a:t>
            </a:r>
            <a:r>
              <a:rPr sz="1200">
                <a:latin typeface="Verdana"/>
                <a:cs typeface="Verdana"/>
              </a:rPr>
              <a:t>process </a:t>
            </a:r>
            <a:r>
              <a:rPr sz="1200" spc="-5">
                <a:latin typeface="Verdana"/>
                <a:cs typeface="Verdana"/>
              </a:rPr>
              <a:t>to </a:t>
            </a:r>
            <a:r>
              <a:rPr sz="1200">
                <a:latin typeface="Verdana"/>
                <a:cs typeface="Verdana"/>
              </a:rPr>
              <a:t>sell </a:t>
            </a:r>
            <a:r>
              <a:rPr sz="1200" spc="-5">
                <a:latin typeface="Verdana"/>
                <a:cs typeface="Verdana"/>
              </a:rPr>
              <a:t>and  </a:t>
            </a:r>
            <a:r>
              <a:rPr sz="1200">
                <a:latin typeface="Verdana"/>
                <a:cs typeface="Verdana"/>
              </a:rPr>
              <a:t>process </a:t>
            </a:r>
            <a:r>
              <a:rPr sz="1200" spc="-5">
                <a:latin typeface="Verdana"/>
                <a:cs typeface="Verdana"/>
              </a:rPr>
              <a:t>their </a:t>
            </a:r>
            <a:r>
              <a:rPr sz="1200" spc="-10">
                <a:latin typeface="Verdana"/>
                <a:cs typeface="Verdana"/>
              </a:rPr>
              <a:t>warranty </a:t>
            </a:r>
            <a:r>
              <a:rPr sz="1200" spc="-5">
                <a:latin typeface="Verdana"/>
                <a:cs typeface="Verdana"/>
              </a:rPr>
              <a:t>products after the consumer purchased  the </a:t>
            </a:r>
            <a:r>
              <a:rPr sz="1200" spc="-10">
                <a:latin typeface="Verdana"/>
                <a:cs typeface="Verdana"/>
              </a:rPr>
              <a:t>vehicle </a:t>
            </a:r>
            <a:r>
              <a:rPr sz="1200" spc="-5">
                <a:latin typeface="Verdana"/>
                <a:cs typeface="Verdana"/>
              </a:rPr>
              <a:t>which </a:t>
            </a:r>
            <a:r>
              <a:rPr sz="1200" spc="-10">
                <a:latin typeface="Verdana"/>
                <a:cs typeface="Verdana"/>
              </a:rPr>
              <a:t>involved </a:t>
            </a:r>
            <a:r>
              <a:rPr sz="1200">
                <a:latin typeface="Verdana"/>
                <a:cs typeface="Verdana"/>
              </a:rPr>
              <a:t>a </a:t>
            </a:r>
            <a:r>
              <a:rPr sz="1200" spc="-5">
                <a:latin typeface="Verdana"/>
                <a:cs typeface="Verdana"/>
              </a:rPr>
              <a:t>myriad </a:t>
            </a:r>
            <a:r>
              <a:rPr sz="1200">
                <a:latin typeface="Verdana"/>
                <a:cs typeface="Verdana"/>
              </a:rPr>
              <a:t>of on </a:t>
            </a:r>
            <a:r>
              <a:rPr sz="1200" spc="-5">
                <a:latin typeface="Verdana"/>
                <a:cs typeface="Verdana"/>
              </a:rPr>
              <a:t>premise</a:t>
            </a:r>
            <a:r>
              <a:rPr sz="1200" spc="50">
                <a:latin typeface="Verdana"/>
                <a:cs typeface="Verdana"/>
              </a:rPr>
              <a:t> </a:t>
            </a:r>
            <a:r>
              <a:rPr sz="1200" spc="-5">
                <a:latin typeface="Verdana"/>
                <a:cs typeface="Verdana"/>
              </a:rPr>
              <a:t>systems</a:t>
            </a:r>
            <a:endParaRPr sz="1200">
              <a:latin typeface="Verdana"/>
              <a:cs typeface="Verdana"/>
            </a:endParaRPr>
          </a:p>
          <a:p>
            <a:pPr marL="184785" indent="-172720">
              <a:lnSpc>
                <a:spcPct val="100000"/>
              </a:lnSpc>
              <a:buClr>
                <a:srgbClr val="006FAC"/>
              </a:buClr>
              <a:buFont typeface="Wingdings"/>
              <a:buChar char=""/>
              <a:tabLst>
                <a:tab pos="185420" algn="l"/>
              </a:tabLst>
            </a:pPr>
            <a:r>
              <a:rPr sz="1200" spc="-5">
                <a:latin typeface="Verdana"/>
                <a:cs typeface="Verdana"/>
              </a:rPr>
              <a:t>High touch time to </a:t>
            </a:r>
            <a:r>
              <a:rPr sz="1200">
                <a:latin typeface="Verdana"/>
                <a:cs typeface="Verdana"/>
              </a:rPr>
              <a:t>sell </a:t>
            </a:r>
            <a:r>
              <a:rPr sz="1200" spc="-5">
                <a:latin typeface="Verdana"/>
                <a:cs typeface="Verdana"/>
              </a:rPr>
              <a:t>and </a:t>
            </a:r>
            <a:r>
              <a:rPr sz="1200">
                <a:latin typeface="Verdana"/>
                <a:cs typeface="Verdana"/>
              </a:rPr>
              <a:t>process </a:t>
            </a:r>
            <a:r>
              <a:rPr sz="1200" spc="-5">
                <a:latin typeface="Verdana"/>
                <a:cs typeface="Verdana"/>
              </a:rPr>
              <a:t>warranty</a:t>
            </a:r>
            <a:r>
              <a:rPr sz="1200" spc="25">
                <a:latin typeface="Verdana"/>
                <a:cs typeface="Verdana"/>
              </a:rPr>
              <a:t> </a:t>
            </a:r>
            <a:r>
              <a:rPr sz="1200" spc="-5">
                <a:latin typeface="Verdana"/>
                <a:cs typeface="Verdana"/>
              </a:rPr>
              <a:t>products</a:t>
            </a:r>
            <a:endParaRPr sz="1200">
              <a:latin typeface="Verdana"/>
              <a:cs typeface="Verdana"/>
            </a:endParaRPr>
          </a:p>
          <a:p>
            <a:pPr marL="184785" marR="35560" indent="-172720">
              <a:lnSpc>
                <a:spcPct val="100000"/>
              </a:lnSpc>
              <a:buClr>
                <a:srgbClr val="006FAC"/>
              </a:buClr>
              <a:buFont typeface="Wingdings"/>
              <a:buChar char=""/>
              <a:tabLst>
                <a:tab pos="185420" algn="l"/>
              </a:tabLst>
            </a:pPr>
            <a:r>
              <a:rPr sz="1200">
                <a:latin typeface="Verdana"/>
                <a:cs typeface="Verdana"/>
              </a:rPr>
              <a:t>When </a:t>
            </a:r>
            <a:r>
              <a:rPr sz="1200" spc="-5">
                <a:latin typeface="Verdana"/>
                <a:cs typeface="Verdana"/>
              </a:rPr>
              <a:t>new warranty products </a:t>
            </a:r>
            <a:r>
              <a:rPr sz="1200">
                <a:latin typeface="Verdana"/>
                <a:cs typeface="Verdana"/>
              </a:rPr>
              <a:t>or </a:t>
            </a:r>
            <a:r>
              <a:rPr sz="1200" spc="-5">
                <a:latin typeface="Verdana"/>
                <a:cs typeface="Verdana"/>
              </a:rPr>
              <a:t>programs </a:t>
            </a:r>
            <a:r>
              <a:rPr sz="1200">
                <a:latin typeface="Verdana"/>
                <a:cs typeface="Verdana"/>
              </a:rPr>
              <a:t>were </a:t>
            </a:r>
            <a:r>
              <a:rPr sz="1200" spc="-5">
                <a:latin typeface="Verdana"/>
                <a:cs typeface="Verdana"/>
              </a:rPr>
              <a:t>released,  the time to market was </a:t>
            </a:r>
            <a:r>
              <a:rPr sz="1200">
                <a:latin typeface="Verdana"/>
                <a:cs typeface="Verdana"/>
              </a:rPr>
              <a:t>3+ </a:t>
            </a:r>
            <a:r>
              <a:rPr sz="1200" spc="-5">
                <a:latin typeface="Verdana"/>
                <a:cs typeface="Verdana"/>
              </a:rPr>
              <a:t>months due to system </a:t>
            </a:r>
            <a:r>
              <a:rPr sz="1200" spc="-10">
                <a:latin typeface="Verdana"/>
                <a:cs typeface="Verdana"/>
              </a:rPr>
              <a:t>upgrades  </a:t>
            </a:r>
            <a:r>
              <a:rPr sz="1200" spc="-5">
                <a:latin typeface="Verdana"/>
                <a:cs typeface="Verdana"/>
              </a:rPr>
              <a:t>to manage the new</a:t>
            </a:r>
            <a:r>
              <a:rPr sz="1200" spc="35">
                <a:latin typeface="Verdana"/>
                <a:cs typeface="Verdana"/>
              </a:rPr>
              <a:t> </a:t>
            </a:r>
            <a:r>
              <a:rPr sz="1200" spc="-5">
                <a:latin typeface="Verdana"/>
                <a:cs typeface="Verdana"/>
              </a:rPr>
              <a:t>products</a:t>
            </a:r>
            <a:endParaRPr sz="1200">
              <a:latin typeface="Verdana"/>
              <a:cs typeface="Verdana"/>
            </a:endParaRPr>
          </a:p>
          <a:p>
            <a:pPr marL="184785" marR="419100" indent="-172720">
              <a:lnSpc>
                <a:spcPct val="100000"/>
              </a:lnSpc>
              <a:buClr>
                <a:srgbClr val="006FAC"/>
              </a:buClr>
              <a:buFont typeface="Wingdings"/>
              <a:buChar char=""/>
              <a:tabLst>
                <a:tab pos="185420" algn="l"/>
              </a:tabLst>
            </a:pPr>
            <a:r>
              <a:rPr sz="1200" spc="-5">
                <a:latin typeface="Verdana"/>
                <a:cs typeface="Verdana"/>
              </a:rPr>
              <a:t>Manual enter </a:t>
            </a:r>
            <a:r>
              <a:rPr sz="1200" spc="-10">
                <a:latin typeface="Verdana"/>
                <a:cs typeface="Verdana"/>
              </a:rPr>
              <a:t>many </a:t>
            </a:r>
            <a:r>
              <a:rPr sz="1200" spc="-5">
                <a:latin typeface="Verdana"/>
                <a:cs typeface="Verdana"/>
              </a:rPr>
              <a:t>data points into </a:t>
            </a:r>
            <a:r>
              <a:rPr sz="1200">
                <a:latin typeface="Verdana"/>
                <a:cs typeface="Verdana"/>
              </a:rPr>
              <a:t>a </a:t>
            </a:r>
            <a:r>
              <a:rPr sz="1200" spc="-5">
                <a:latin typeface="Verdana"/>
                <a:cs typeface="Verdana"/>
              </a:rPr>
              <a:t>contract and </a:t>
            </a:r>
            <a:r>
              <a:rPr sz="1200" spc="5">
                <a:latin typeface="Verdana"/>
                <a:cs typeface="Verdana"/>
              </a:rPr>
              <a:t>on-  </a:t>
            </a:r>
            <a:r>
              <a:rPr sz="1200" spc="-5">
                <a:latin typeface="Verdana"/>
                <a:cs typeface="Verdana"/>
              </a:rPr>
              <a:t>premise</a:t>
            </a:r>
            <a:r>
              <a:rPr sz="1200" spc="-15">
                <a:latin typeface="Verdana"/>
                <a:cs typeface="Verdana"/>
              </a:rPr>
              <a:t> </a:t>
            </a:r>
            <a:r>
              <a:rPr sz="1200" spc="-5">
                <a:latin typeface="Verdana"/>
                <a:cs typeface="Verdana"/>
              </a:rPr>
              <a:t>systems</a:t>
            </a:r>
            <a:endParaRPr sz="1200">
              <a:latin typeface="Verdana"/>
              <a:cs typeface="Verdana"/>
            </a:endParaRPr>
          </a:p>
          <a:p>
            <a:pPr marL="184785" indent="-172720">
              <a:lnSpc>
                <a:spcPct val="100000"/>
              </a:lnSpc>
              <a:buClr>
                <a:srgbClr val="006FAC"/>
              </a:buClr>
              <a:buFont typeface="Wingdings"/>
              <a:buChar char=""/>
              <a:tabLst>
                <a:tab pos="185420" algn="l"/>
              </a:tabLst>
            </a:pPr>
            <a:r>
              <a:rPr sz="1200" spc="-5">
                <a:latin typeface="Verdana"/>
                <a:cs typeface="Verdana"/>
              </a:rPr>
              <a:t>No real-time access to the contracts, </a:t>
            </a:r>
            <a:r>
              <a:rPr sz="1200">
                <a:latin typeface="Verdana"/>
                <a:cs typeface="Verdana"/>
              </a:rPr>
              <a:t>or</a:t>
            </a:r>
            <a:r>
              <a:rPr sz="1200" spc="65">
                <a:latin typeface="Verdana"/>
                <a:cs typeface="Verdana"/>
              </a:rPr>
              <a:t> </a:t>
            </a:r>
            <a:r>
              <a:rPr sz="1200" spc="-5">
                <a:latin typeface="Verdana"/>
                <a:cs typeface="Verdana"/>
              </a:rPr>
              <a:t>quotes</a:t>
            </a:r>
            <a:endParaRPr sz="1200">
              <a:latin typeface="Verdana"/>
              <a:cs typeface="Verdana"/>
            </a:endParaRPr>
          </a:p>
          <a:p>
            <a:pPr marL="184785" marR="184150" indent="-172720">
              <a:lnSpc>
                <a:spcPct val="100000"/>
              </a:lnSpc>
              <a:spcBef>
                <a:spcPts val="5"/>
              </a:spcBef>
              <a:buClr>
                <a:srgbClr val="006FAC"/>
              </a:buClr>
              <a:buFont typeface="Wingdings"/>
              <a:buChar char=""/>
              <a:tabLst>
                <a:tab pos="185420" algn="l"/>
              </a:tabLst>
            </a:pPr>
            <a:r>
              <a:rPr sz="1200" spc="-10">
                <a:latin typeface="Verdana"/>
                <a:cs typeface="Verdana"/>
              </a:rPr>
              <a:t>Challenging </a:t>
            </a:r>
            <a:r>
              <a:rPr sz="1200">
                <a:latin typeface="Verdana"/>
                <a:cs typeface="Verdana"/>
              </a:rPr>
              <a:t>for </a:t>
            </a:r>
            <a:r>
              <a:rPr sz="1200" spc="-5">
                <a:latin typeface="Verdana"/>
                <a:cs typeface="Verdana"/>
              </a:rPr>
              <a:t>service providers to access information </a:t>
            </a:r>
            <a:r>
              <a:rPr sz="1200">
                <a:latin typeface="Verdana"/>
                <a:cs typeface="Verdana"/>
              </a:rPr>
              <a:t>on  </a:t>
            </a:r>
            <a:r>
              <a:rPr sz="1200" spc="-5">
                <a:latin typeface="Verdana"/>
                <a:cs typeface="Verdana"/>
              </a:rPr>
              <a:t>what kind </a:t>
            </a:r>
            <a:r>
              <a:rPr sz="1200">
                <a:latin typeface="Verdana"/>
                <a:cs typeface="Verdana"/>
              </a:rPr>
              <a:t>of</a:t>
            </a:r>
            <a:r>
              <a:rPr sz="1200" spc="25">
                <a:latin typeface="Verdana"/>
                <a:cs typeface="Verdana"/>
              </a:rPr>
              <a:t> </a:t>
            </a:r>
            <a:r>
              <a:rPr sz="1200" spc="-5">
                <a:latin typeface="Verdana"/>
                <a:cs typeface="Verdana"/>
              </a:rPr>
              <a:t>warranty</a:t>
            </a:r>
            <a:endParaRPr sz="1200">
              <a:latin typeface="Verdana"/>
              <a:cs typeface="Verdana"/>
            </a:endParaRPr>
          </a:p>
        </p:txBody>
      </p:sp>
      <p:sp>
        <p:nvSpPr>
          <p:cNvPr id="8" name="object 8"/>
          <p:cNvSpPr txBox="1"/>
          <p:nvPr/>
        </p:nvSpPr>
        <p:spPr>
          <a:xfrm>
            <a:off x="8728964" y="4275201"/>
            <a:ext cx="855344" cy="513080"/>
          </a:xfrm>
          <a:prstGeom prst="rect">
            <a:avLst/>
          </a:prstGeom>
        </p:spPr>
        <p:txBody>
          <a:bodyPr vert="horz" wrap="square" lIns="0" tIns="12065" rIns="0" bIns="0" rtlCol="0">
            <a:spAutoFit/>
          </a:bodyPr>
          <a:lstStyle/>
          <a:p>
            <a:pPr marL="27305">
              <a:lnSpc>
                <a:spcPct val="100000"/>
              </a:lnSpc>
              <a:spcBef>
                <a:spcPts val="95"/>
              </a:spcBef>
            </a:pPr>
            <a:r>
              <a:rPr sz="1600" b="1" spc="-5">
                <a:latin typeface="Verdana"/>
                <a:cs typeface="Verdana"/>
              </a:rPr>
              <a:t>NA</a:t>
            </a:r>
            <a:r>
              <a:rPr sz="1600" b="1" spc="-85">
                <a:latin typeface="Verdana"/>
                <a:cs typeface="Verdana"/>
              </a:rPr>
              <a:t> </a:t>
            </a:r>
            <a:r>
              <a:rPr sz="1600" b="1" spc="-10">
                <a:latin typeface="Verdana"/>
                <a:cs typeface="Verdana"/>
              </a:rPr>
              <a:t>(50</a:t>
            </a:r>
            <a:endParaRPr sz="1600">
              <a:latin typeface="Verdana"/>
              <a:cs typeface="Verdana"/>
            </a:endParaRPr>
          </a:p>
          <a:p>
            <a:pPr marL="12700">
              <a:lnSpc>
                <a:spcPct val="100000"/>
              </a:lnSpc>
            </a:pPr>
            <a:r>
              <a:rPr sz="1600" b="1" spc="-15">
                <a:latin typeface="Verdana"/>
                <a:cs typeface="Verdana"/>
              </a:rPr>
              <a:t>S</a:t>
            </a:r>
            <a:r>
              <a:rPr sz="1600" b="1" spc="-5">
                <a:latin typeface="Verdana"/>
                <a:cs typeface="Verdana"/>
              </a:rPr>
              <a:t>t</a:t>
            </a:r>
            <a:r>
              <a:rPr sz="1600" b="1">
                <a:latin typeface="Verdana"/>
                <a:cs typeface="Verdana"/>
              </a:rPr>
              <a:t>a</a:t>
            </a:r>
            <a:r>
              <a:rPr sz="1600" b="1" spc="-5">
                <a:latin typeface="Verdana"/>
                <a:cs typeface="Verdana"/>
              </a:rPr>
              <a:t>tes)</a:t>
            </a:r>
            <a:endParaRPr sz="1600">
              <a:latin typeface="Verdana"/>
              <a:cs typeface="Verdana"/>
            </a:endParaRPr>
          </a:p>
        </p:txBody>
      </p:sp>
      <p:sp>
        <p:nvSpPr>
          <p:cNvPr id="9" name="object 9"/>
          <p:cNvSpPr txBox="1"/>
          <p:nvPr/>
        </p:nvSpPr>
        <p:spPr>
          <a:xfrm>
            <a:off x="6751701" y="4275201"/>
            <a:ext cx="147002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1500+</a:t>
            </a:r>
            <a:r>
              <a:rPr sz="1600" b="1" spc="-50">
                <a:latin typeface="Verdana"/>
                <a:cs typeface="Verdana"/>
              </a:rPr>
              <a:t> </a:t>
            </a:r>
            <a:r>
              <a:rPr sz="1600" b="1" spc="-10">
                <a:latin typeface="Verdana"/>
                <a:cs typeface="Verdana"/>
              </a:rPr>
              <a:t>users</a:t>
            </a:r>
            <a:endParaRPr sz="1600">
              <a:latin typeface="Verdana"/>
              <a:cs typeface="Verdana"/>
            </a:endParaRPr>
          </a:p>
        </p:txBody>
      </p:sp>
      <p:sp>
        <p:nvSpPr>
          <p:cNvPr id="10" name="object 10"/>
          <p:cNvSpPr/>
          <p:nvPr/>
        </p:nvSpPr>
        <p:spPr>
          <a:xfrm>
            <a:off x="7593226" y="3846576"/>
            <a:ext cx="447675" cy="230504"/>
          </a:xfrm>
          <a:custGeom>
            <a:avLst/>
            <a:gdLst/>
            <a:ahLst/>
            <a:cxnLst/>
            <a:rect l="l" t="t" r="r" b="b"/>
            <a:pathLst>
              <a:path w="447675" h="230504">
                <a:moveTo>
                  <a:pt x="57507" y="0"/>
                </a:moveTo>
                <a:lnTo>
                  <a:pt x="46458" y="0"/>
                </a:lnTo>
                <a:lnTo>
                  <a:pt x="35536" y="10922"/>
                </a:lnTo>
                <a:lnTo>
                  <a:pt x="30075" y="16510"/>
                </a:lnTo>
                <a:lnTo>
                  <a:pt x="10461" y="42120"/>
                </a:lnTo>
                <a:lnTo>
                  <a:pt x="611" y="69278"/>
                </a:lnTo>
                <a:lnTo>
                  <a:pt x="0" y="97484"/>
                </a:lnTo>
                <a:lnTo>
                  <a:pt x="8104" y="126237"/>
                </a:lnTo>
                <a:lnTo>
                  <a:pt x="21339" y="150651"/>
                </a:lnTo>
                <a:lnTo>
                  <a:pt x="43791" y="173529"/>
                </a:lnTo>
                <a:lnTo>
                  <a:pt x="74433" y="193335"/>
                </a:lnTo>
                <a:lnTo>
                  <a:pt x="112244" y="208534"/>
                </a:lnTo>
                <a:lnTo>
                  <a:pt x="112244" y="213994"/>
                </a:lnTo>
                <a:lnTo>
                  <a:pt x="158562" y="225067"/>
                </a:lnTo>
                <a:lnTo>
                  <a:pt x="206981" y="230093"/>
                </a:lnTo>
                <a:lnTo>
                  <a:pt x="255585" y="229073"/>
                </a:lnTo>
                <a:lnTo>
                  <a:pt x="302464" y="222011"/>
                </a:lnTo>
                <a:lnTo>
                  <a:pt x="345703" y="208909"/>
                </a:lnTo>
                <a:lnTo>
                  <a:pt x="383391" y="189768"/>
                </a:lnTo>
                <a:lnTo>
                  <a:pt x="407974" y="169290"/>
                </a:lnTo>
                <a:lnTo>
                  <a:pt x="222075" y="169290"/>
                </a:lnTo>
                <a:lnTo>
                  <a:pt x="174423" y="165671"/>
                </a:lnTo>
                <a:lnTo>
                  <a:pt x="128754" y="153669"/>
                </a:lnTo>
                <a:lnTo>
                  <a:pt x="75271" y="124809"/>
                </a:lnTo>
                <a:lnTo>
                  <a:pt x="46458" y="87756"/>
                </a:lnTo>
                <a:lnTo>
                  <a:pt x="39647" y="51387"/>
                </a:lnTo>
                <a:lnTo>
                  <a:pt x="44975" y="31410"/>
                </a:lnTo>
                <a:lnTo>
                  <a:pt x="57507" y="10922"/>
                </a:lnTo>
                <a:lnTo>
                  <a:pt x="62968" y="5461"/>
                </a:lnTo>
                <a:lnTo>
                  <a:pt x="57507" y="5461"/>
                </a:lnTo>
                <a:lnTo>
                  <a:pt x="57507" y="0"/>
                </a:lnTo>
                <a:close/>
              </a:path>
              <a:path w="447675" h="230504">
                <a:moveTo>
                  <a:pt x="397232" y="0"/>
                </a:moveTo>
                <a:lnTo>
                  <a:pt x="386183" y="0"/>
                </a:lnTo>
                <a:lnTo>
                  <a:pt x="386183" y="10922"/>
                </a:lnTo>
                <a:lnTo>
                  <a:pt x="396581" y="23302"/>
                </a:lnTo>
                <a:lnTo>
                  <a:pt x="403359" y="35671"/>
                </a:lnTo>
                <a:lnTo>
                  <a:pt x="407042" y="48015"/>
                </a:lnTo>
                <a:lnTo>
                  <a:pt x="408154" y="60325"/>
                </a:lnTo>
                <a:lnTo>
                  <a:pt x="403885" y="73558"/>
                </a:lnTo>
                <a:lnTo>
                  <a:pt x="380722" y="115188"/>
                </a:lnTo>
                <a:lnTo>
                  <a:pt x="312970" y="154431"/>
                </a:lnTo>
                <a:lnTo>
                  <a:pt x="269120" y="165290"/>
                </a:lnTo>
                <a:lnTo>
                  <a:pt x="222075" y="169290"/>
                </a:lnTo>
                <a:lnTo>
                  <a:pt x="407974" y="169290"/>
                </a:lnTo>
                <a:lnTo>
                  <a:pt x="413615" y="164592"/>
                </a:lnTo>
                <a:lnTo>
                  <a:pt x="431095" y="143164"/>
                </a:lnTo>
                <a:lnTo>
                  <a:pt x="442396" y="120713"/>
                </a:lnTo>
                <a:lnTo>
                  <a:pt x="447530" y="98262"/>
                </a:lnTo>
                <a:lnTo>
                  <a:pt x="446508" y="76835"/>
                </a:lnTo>
                <a:lnTo>
                  <a:pt x="440344" y="56346"/>
                </a:lnTo>
                <a:lnTo>
                  <a:pt x="430061" y="36369"/>
                </a:lnTo>
                <a:lnTo>
                  <a:pt x="415682" y="17416"/>
                </a:lnTo>
                <a:lnTo>
                  <a:pt x="397232" y="0"/>
                </a:lnTo>
                <a:close/>
              </a:path>
            </a:pathLst>
          </a:custGeom>
          <a:solidFill>
            <a:srgbClr val="006FAC"/>
          </a:solidFill>
        </p:spPr>
        <p:txBody>
          <a:bodyPr wrap="square" lIns="0" tIns="0" rIns="0" bIns="0" rtlCol="0"/>
          <a:lstStyle/>
          <a:p>
            <a:endParaRPr/>
          </a:p>
        </p:txBody>
      </p:sp>
      <p:sp>
        <p:nvSpPr>
          <p:cNvPr id="11" name="object 11"/>
          <p:cNvSpPr/>
          <p:nvPr/>
        </p:nvSpPr>
        <p:spPr>
          <a:xfrm>
            <a:off x="7765159" y="3736847"/>
            <a:ext cx="104776" cy="266858"/>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7908035" y="3634740"/>
            <a:ext cx="48895" cy="53340"/>
          </a:xfrm>
          <a:custGeom>
            <a:avLst/>
            <a:gdLst/>
            <a:ahLst/>
            <a:cxnLst/>
            <a:rect l="l" t="t" r="r" b="b"/>
            <a:pathLst>
              <a:path w="48895" h="53339">
                <a:moveTo>
                  <a:pt x="24384" y="0"/>
                </a:moveTo>
                <a:lnTo>
                  <a:pt x="14894" y="2095"/>
                </a:lnTo>
                <a:lnTo>
                  <a:pt x="7143" y="7810"/>
                </a:lnTo>
                <a:lnTo>
                  <a:pt x="1916" y="16287"/>
                </a:lnTo>
                <a:lnTo>
                  <a:pt x="0" y="26670"/>
                </a:lnTo>
                <a:lnTo>
                  <a:pt x="1916" y="37052"/>
                </a:lnTo>
                <a:lnTo>
                  <a:pt x="7143" y="45529"/>
                </a:lnTo>
                <a:lnTo>
                  <a:pt x="14894" y="51244"/>
                </a:lnTo>
                <a:lnTo>
                  <a:pt x="24384" y="53340"/>
                </a:lnTo>
                <a:lnTo>
                  <a:pt x="33873" y="51244"/>
                </a:lnTo>
                <a:lnTo>
                  <a:pt x="41624" y="45529"/>
                </a:lnTo>
                <a:lnTo>
                  <a:pt x="46851" y="37052"/>
                </a:lnTo>
                <a:lnTo>
                  <a:pt x="48768" y="26670"/>
                </a:lnTo>
                <a:lnTo>
                  <a:pt x="46851" y="16287"/>
                </a:lnTo>
                <a:lnTo>
                  <a:pt x="41624" y="7810"/>
                </a:lnTo>
                <a:lnTo>
                  <a:pt x="33873" y="2095"/>
                </a:lnTo>
                <a:lnTo>
                  <a:pt x="24384" y="0"/>
                </a:lnTo>
                <a:close/>
              </a:path>
            </a:pathLst>
          </a:custGeom>
          <a:solidFill>
            <a:srgbClr val="006FAC"/>
          </a:solidFill>
        </p:spPr>
        <p:txBody>
          <a:bodyPr wrap="square" lIns="0" tIns="0" rIns="0" bIns="0" rtlCol="0"/>
          <a:lstStyle/>
          <a:p>
            <a:endParaRPr/>
          </a:p>
        </p:txBody>
      </p:sp>
      <p:sp>
        <p:nvSpPr>
          <p:cNvPr id="13" name="object 13"/>
          <p:cNvSpPr/>
          <p:nvPr/>
        </p:nvSpPr>
        <p:spPr>
          <a:xfrm>
            <a:off x="7879459"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6836" y="246634"/>
                </a:lnTo>
                <a:lnTo>
                  <a:pt x="88266" y="241173"/>
                </a:lnTo>
                <a:lnTo>
                  <a:pt x="88266" y="125984"/>
                </a:lnTo>
                <a:lnTo>
                  <a:pt x="97043" y="116510"/>
                </a:lnTo>
                <a:lnTo>
                  <a:pt x="100665" y="103441"/>
                </a:lnTo>
                <a:lnTo>
                  <a:pt x="102215" y="85228"/>
                </a:lnTo>
                <a:lnTo>
                  <a:pt x="104776" y="60325"/>
                </a:lnTo>
                <a:lnTo>
                  <a:pt x="102713" y="20558"/>
                </a:lnTo>
                <a:lnTo>
                  <a:pt x="67042" y="682"/>
                </a:lnTo>
                <a:lnTo>
                  <a:pt x="58209" y="85"/>
                </a:lnTo>
                <a:lnTo>
                  <a:pt x="49912" y="0"/>
                </a:lnTo>
                <a:close/>
              </a:path>
              <a:path w="104775" h="257810">
                <a:moveTo>
                  <a:pt x="86836" y="246634"/>
                </a:moveTo>
                <a:lnTo>
                  <a:pt x="49912" y="246634"/>
                </a:lnTo>
                <a:lnTo>
                  <a:pt x="60834" y="257556"/>
                </a:lnTo>
                <a:lnTo>
                  <a:pt x="66422" y="257556"/>
                </a:lnTo>
                <a:lnTo>
                  <a:pt x="74443" y="256532"/>
                </a:lnTo>
                <a:lnTo>
                  <a:pt x="81440" y="253460"/>
                </a:lnTo>
                <a:lnTo>
                  <a:pt x="86389" y="248340"/>
                </a:lnTo>
                <a:lnTo>
                  <a:pt x="86836" y="246634"/>
                </a:lnTo>
                <a:close/>
              </a:path>
            </a:pathLst>
          </a:custGeom>
          <a:solidFill>
            <a:srgbClr val="006FAC"/>
          </a:solidFill>
        </p:spPr>
        <p:txBody>
          <a:bodyPr wrap="square" lIns="0" tIns="0" rIns="0" bIns="0" rtlCol="0"/>
          <a:lstStyle/>
          <a:p>
            <a:endParaRPr/>
          </a:p>
        </p:txBody>
      </p:sp>
      <p:sp>
        <p:nvSpPr>
          <p:cNvPr id="14" name="object 14"/>
          <p:cNvSpPr/>
          <p:nvPr/>
        </p:nvSpPr>
        <p:spPr>
          <a:xfrm>
            <a:off x="7671816" y="3634740"/>
            <a:ext cx="55244" cy="53340"/>
          </a:xfrm>
          <a:custGeom>
            <a:avLst/>
            <a:gdLst/>
            <a:ahLst/>
            <a:cxnLst/>
            <a:rect l="l" t="t" r="r" b="b"/>
            <a:pathLst>
              <a:path w="55245" h="53339">
                <a:moveTo>
                  <a:pt x="27431" y="0"/>
                </a:moveTo>
                <a:lnTo>
                  <a:pt x="16769" y="2095"/>
                </a:lnTo>
                <a:lnTo>
                  <a:pt x="8048" y="7810"/>
                </a:lnTo>
                <a:lnTo>
                  <a:pt x="2160" y="16287"/>
                </a:lnTo>
                <a:lnTo>
                  <a:pt x="0" y="26670"/>
                </a:lnTo>
                <a:lnTo>
                  <a:pt x="2160" y="37052"/>
                </a:lnTo>
                <a:lnTo>
                  <a:pt x="8048" y="45529"/>
                </a:lnTo>
                <a:lnTo>
                  <a:pt x="16769" y="51244"/>
                </a:lnTo>
                <a:lnTo>
                  <a:pt x="27431" y="53340"/>
                </a:lnTo>
                <a:lnTo>
                  <a:pt x="38094" y="51244"/>
                </a:lnTo>
                <a:lnTo>
                  <a:pt x="46815" y="45529"/>
                </a:lnTo>
                <a:lnTo>
                  <a:pt x="52703" y="37052"/>
                </a:lnTo>
                <a:lnTo>
                  <a:pt x="54863" y="26670"/>
                </a:lnTo>
                <a:lnTo>
                  <a:pt x="52703" y="16287"/>
                </a:lnTo>
                <a:lnTo>
                  <a:pt x="46815" y="7810"/>
                </a:lnTo>
                <a:lnTo>
                  <a:pt x="38094" y="2095"/>
                </a:lnTo>
                <a:lnTo>
                  <a:pt x="27431" y="0"/>
                </a:lnTo>
                <a:close/>
              </a:path>
            </a:pathLst>
          </a:custGeom>
          <a:solidFill>
            <a:srgbClr val="006FAC"/>
          </a:solidFill>
        </p:spPr>
        <p:txBody>
          <a:bodyPr wrap="square" lIns="0" tIns="0" rIns="0" bIns="0" rtlCol="0"/>
          <a:lstStyle/>
          <a:p>
            <a:endParaRPr/>
          </a:p>
        </p:txBody>
      </p:sp>
      <p:sp>
        <p:nvSpPr>
          <p:cNvPr id="15" name="object 15"/>
          <p:cNvSpPr/>
          <p:nvPr/>
        </p:nvSpPr>
        <p:spPr>
          <a:xfrm>
            <a:off x="7649334" y="3688079"/>
            <a:ext cx="104775" cy="257810"/>
          </a:xfrm>
          <a:custGeom>
            <a:avLst/>
            <a:gdLst/>
            <a:ahLst/>
            <a:cxnLst/>
            <a:rect l="l" t="t" r="r" b="b"/>
            <a:pathLst>
              <a:path w="104775" h="257810">
                <a:moveTo>
                  <a:pt x="49912" y="0"/>
                </a:moveTo>
                <a:lnTo>
                  <a:pt x="7475" y="9407"/>
                </a:lnTo>
                <a:lnTo>
                  <a:pt x="509" y="60325"/>
                </a:lnTo>
                <a:lnTo>
                  <a:pt x="0" y="85228"/>
                </a:lnTo>
                <a:lnTo>
                  <a:pt x="525" y="103441"/>
                </a:lnTo>
                <a:lnTo>
                  <a:pt x="5171" y="116510"/>
                </a:lnTo>
                <a:lnTo>
                  <a:pt x="17019" y="125984"/>
                </a:lnTo>
                <a:lnTo>
                  <a:pt x="17019" y="252095"/>
                </a:lnTo>
                <a:lnTo>
                  <a:pt x="22480" y="257556"/>
                </a:lnTo>
                <a:lnTo>
                  <a:pt x="44451" y="257556"/>
                </a:lnTo>
                <a:lnTo>
                  <a:pt x="49912" y="252095"/>
                </a:lnTo>
                <a:lnTo>
                  <a:pt x="49912" y="246634"/>
                </a:lnTo>
                <a:lnTo>
                  <a:pt x="82805" y="246634"/>
                </a:lnTo>
                <a:lnTo>
                  <a:pt x="82805" y="125984"/>
                </a:lnTo>
                <a:lnTo>
                  <a:pt x="94740" y="116510"/>
                </a:lnTo>
                <a:lnTo>
                  <a:pt x="99982" y="103441"/>
                </a:lnTo>
                <a:lnTo>
                  <a:pt x="102129" y="85228"/>
                </a:lnTo>
                <a:lnTo>
                  <a:pt x="104776" y="60325"/>
                </a:lnTo>
                <a:lnTo>
                  <a:pt x="103665" y="37875"/>
                </a:lnTo>
                <a:lnTo>
                  <a:pt x="74594" y="2303"/>
                </a:lnTo>
                <a:lnTo>
                  <a:pt x="58124" y="85"/>
                </a:lnTo>
                <a:lnTo>
                  <a:pt x="49912" y="0"/>
                </a:lnTo>
                <a:close/>
              </a:path>
              <a:path w="104775" h="257810">
                <a:moveTo>
                  <a:pt x="82805" y="246634"/>
                </a:moveTo>
                <a:lnTo>
                  <a:pt x="49912" y="246634"/>
                </a:lnTo>
                <a:lnTo>
                  <a:pt x="49912" y="252095"/>
                </a:lnTo>
                <a:lnTo>
                  <a:pt x="60834" y="257556"/>
                </a:lnTo>
                <a:lnTo>
                  <a:pt x="77344" y="257556"/>
                </a:lnTo>
                <a:lnTo>
                  <a:pt x="82805" y="252095"/>
                </a:lnTo>
                <a:lnTo>
                  <a:pt x="82805" y="246634"/>
                </a:lnTo>
                <a:close/>
              </a:path>
            </a:pathLst>
          </a:custGeom>
          <a:solidFill>
            <a:srgbClr val="006FAC"/>
          </a:solidFill>
        </p:spPr>
        <p:txBody>
          <a:bodyPr wrap="square" lIns="0" tIns="0" rIns="0" bIns="0" rtlCol="0"/>
          <a:lstStyle/>
          <a:p>
            <a:endParaRPr/>
          </a:p>
        </p:txBody>
      </p:sp>
      <p:sp>
        <p:nvSpPr>
          <p:cNvPr id="16" name="object 16"/>
          <p:cNvSpPr/>
          <p:nvPr/>
        </p:nvSpPr>
        <p:spPr>
          <a:xfrm>
            <a:off x="8909684" y="3651884"/>
            <a:ext cx="476884" cy="464184"/>
          </a:xfrm>
          <a:custGeom>
            <a:avLst/>
            <a:gdLst/>
            <a:ahLst/>
            <a:cxnLst/>
            <a:rect l="l" t="t" r="r" b="b"/>
            <a:pathLst>
              <a:path w="476884" h="464185">
                <a:moveTo>
                  <a:pt x="221360" y="0"/>
                </a:moveTo>
                <a:lnTo>
                  <a:pt x="176974" y="5762"/>
                </a:lnTo>
                <a:lnTo>
                  <a:pt x="138302" y="20954"/>
                </a:lnTo>
                <a:lnTo>
                  <a:pt x="98631" y="44386"/>
                </a:lnTo>
                <a:lnTo>
                  <a:pt x="63245" y="73532"/>
                </a:lnTo>
                <a:lnTo>
                  <a:pt x="34147" y="108394"/>
                </a:lnTo>
                <a:lnTo>
                  <a:pt x="13334" y="148970"/>
                </a:lnTo>
                <a:lnTo>
                  <a:pt x="3095" y="189928"/>
                </a:lnTo>
                <a:lnTo>
                  <a:pt x="0" y="238886"/>
                </a:lnTo>
                <a:lnTo>
                  <a:pt x="4333" y="287845"/>
                </a:lnTo>
                <a:lnTo>
                  <a:pt x="16382" y="328802"/>
                </a:lnTo>
                <a:lnTo>
                  <a:pt x="38960" y="367574"/>
                </a:lnTo>
                <a:lnTo>
                  <a:pt x="70795" y="400324"/>
                </a:lnTo>
                <a:lnTo>
                  <a:pt x="109854" y="426677"/>
                </a:lnTo>
                <a:lnTo>
                  <a:pt x="154107" y="446257"/>
                </a:lnTo>
                <a:lnTo>
                  <a:pt x="201520" y="458687"/>
                </a:lnTo>
                <a:lnTo>
                  <a:pt x="250062" y="463592"/>
                </a:lnTo>
                <a:lnTo>
                  <a:pt x="297702" y="460594"/>
                </a:lnTo>
                <a:lnTo>
                  <a:pt x="342406" y="449318"/>
                </a:lnTo>
                <a:lnTo>
                  <a:pt x="382142" y="429387"/>
                </a:lnTo>
                <a:lnTo>
                  <a:pt x="413564" y="401217"/>
                </a:lnTo>
                <a:lnTo>
                  <a:pt x="439441" y="365263"/>
                </a:lnTo>
                <a:lnTo>
                  <a:pt x="459080" y="323817"/>
                </a:lnTo>
                <a:lnTo>
                  <a:pt x="471787" y="279173"/>
                </a:lnTo>
                <a:lnTo>
                  <a:pt x="476870" y="233621"/>
                </a:lnTo>
                <a:lnTo>
                  <a:pt x="473636" y="189456"/>
                </a:lnTo>
                <a:lnTo>
                  <a:pt x="461390" y="148970"/>
                </a:lnTo>
                <a:lnTo>
                  <a:pt x="434149" y="100917"/>
                </a:lnTo>
                <a:lnTo>
                  <a:pt x="398906" y="59435"/>
                </a:lnTo>
                <a:lnTo>
                  <a:pt x="356806" y="27670"/>
                </a:lnTo>
                <a:lnTo>
                  <a:pt x="308990" y="8762"/>
                </a:lnTo>
                <a:lnTo>
                  <a:pt x="266890" y="1666"/>
                </a:lnTo>
                <a:lnTo>
                  <a:pt x="221360" y="0"/>
                </a:lnTo>
                <a:close/>
              </a:path>
            </a:pathLst>
          </a:custGeom>
          <a:solidFill>
            <a:srgbClr val="9AE0F7"/>
          </a:solidFill>
        </p:spPr>
        <p:txBody>
          <a:bodyPr wrap="square" lIns="0" tIns="0" rIns="0" bIns="0" rtlCol="0"/>
          <a:lstStyle/>
          <a:p>
            <a:endParaRPr/>
          </a:p>
        </p:txBody>
      </p:sp>
      <p:sp>
        <p:nvSpPr>
          <p:cNvPr id="17" name="object 17"/>
          <p:cNvSpPr/>
          <p:nvPr/>
        </p:nvSpPr>
        <p:spPr>
          <a:xfrm>
            <a:off x="9025128" y="3651503"/>
            <a:ext cx="135890" cy="40005"/>
          </a:xfrm>
          <a:custGeom>
            <a:avLst/>
            <a:gdLst/>
            <a:ahLst/>
            <a:cxnLst/>
            <a:rect l="l" t="t" r="r" b="b"/>
            <a:pathLst>
              <a:path w="135890" h="40004">
                <a:moveTo>
                  <a:pt x="135636" y="0"/>
                </a:moveTo>
                <a:lnTo>
                  <a:pt x="88564" y="1428"/>
                </a:lnTo>
                <a:lnTo>
                  <a:pt x="53101" y="9144"/>
                </a:lnTo>
                <a:lnTo>
                  <a:pt x="24997" y="21431"/>
                </a:lnTo>
                <a:lnTo>
                  <a:pt x="0" y="36576"/>
                </a:lnTo>
                <a:lnTo>
                  <a:pt x="24643" y="39862"/>
                </a:lnTo>
                <a:lnTo>
                  <a:pt x="64883" y="32718"/>
                </a:lnTo>
                <a:lnTo>
                  <a:pt x="113426" y="16002"/>
                </a:lnTo>
                <a:lnTo>
                  <a:pt x="135636" y="0"/>
                </a:lnTo>
                <a:close/>
              </a:path>
            </a:pathLst>
          </a:custGeom>
          <a:solidFill>
            <a:srgbClr val="12ABDB"/>
          </a:solidFill>
        </p:spPr>
        <p:txBody>
          <a:bodyPr wrap="square" lIns="0" tIns="0" rIns="0" bIns="0" rtlCol="0"/>
          <a:lstStyle/>
          <a:p>
            <a:endParaRPr/>
          </a:p>
        </p:txBody>
      </p:sp>
      <p:sp>
        <p:nvSpPr>
          <p:cNvPr id="18" name="object 18"/>
          <p:cNvSpPr/>
          <p:nvPr/>
        </p:nvSpPr>
        <p:spPr>
          <a:xfrm>
            <a:off x="9108947" y="3672840"/>
            <a:ext cx="242570" cy="387350"/>
          </a:xfrm>
          <a:custGeom>
            <a:avLst/>
            <a:gdLst/>
            <a:ahLst/>
            <a:cxnLst/>
            <a:rect l="l" t="t" r="r" b="b"/>
            <a:pathLst>
              <a:path w="242570" h="387350">
                <a:moveTo>
                  <a:pt x="151304" y="227171"/>
                </a:moveTo>
                <a:lnTo>
                  <a:pt x="135254" y="230886"/>
                </a:lnTo>
                <a:lnTo>
                  <a:pt x="120919" y="238029"/>
                </a:lnTo>
                <a:lnTo>
                  <a:pt x="109727" y="246887"/>
                </a:lnTo>
                <a:lnTo>
                  <a:pt x="117205" y="259889"/>
                </a:lnTo>
                <a:lnTo>
                  <a:pt x="116966" y="270891"/>
                </a:lnTo>
                <a:lnTo>
                  <a:pt x="109299" y="279034"/>
                </a:lnTo>
                <a:lnTo>
                  <a:pt x="94487" y="283464"/>
                </a:lnTo>
                <a:lnTo>
                  <a:pt x="94868" y="302466"/>
                </a:lnTo>
                <a:lnTo>
                  <a:pt x="102107" y="318897"/>
                </a:lnTo>
                <a:lnTo>
                  <a:pt x="111632" y="333613"/>
                </a:lnTo>
                <a:lnTo>
                  <a:pt x="118872" y="347472"/>
                </a:lnTo>
                <a:lnTo>
                  <a:pt x="123110" y="360092"/>
                </a:lnTo>
                <a:lnTo>
                  <a:pt x="127634" y="370713"/>
                </a:lnTo>
                <a:lnTo>
                  <a:pt x="133873" y="379618"/>
                </a:lnTo>
                <a:lnTo>
                  <a:pt x="143255" y="387096"/>
                </a:lnTo>
                <a:lnTo>
                  <a:pt x="167925" y="363235"/>
                </a:lnTo>
                <a:lnTo>
                  <a:pt x="194309" y="340232"/>
                </a:lnTo>
                <a:lnTo>
                  <a:pt x="219551" y="315515"/>
                </a:lnTo>
                <a:lnTo>
                  <a:pt x="240792" y="286512"/>
                </a:lnTo>
                <a:lnTo>
                  <a:pt x="235981" y="279082"/>
                </a:lnTo>
                <a:lnTo>
                  <a:pt x="234389" y="270891"/>
                </a:lnTo>
                <a:lnTo>
                  <a:pt x="234390" y="259889"/>
                </a:lnTo>
                <a:lnTo>
                  <a:pt x="234696" y="249936"/>
                </a:lnTo>
                <a:lnTo>
                  <a:pt x="225504" y="243887"/>
                </a:lnTo>
                <a:lnTo>
                  <a:pt x="213741" y="238125"/>
                </a:lnTo>
                <a:lnTo>
                  <a:pt x="202549" y="230647"/>
                </a:lnTo>
                <a:lnTo>
                  <a:pt x="201180" y="228600"/>
                </a:lnTo>
                <a:lnTo>
                  <a:pt x="167640" y="228600"/>
                </a:lnTo>
                <a:lnTo>
                  <a:pt x="151304" y="227171"/>
                </a:lnTo>
                <a:close/>
              </a:path>
              <a:path w="242570" h="387350">
                <a:moveTo>
                  <a:pt x="237886" y="115824"/>
                </a:moveTo>
                <a:lnTo>
                  <a:pt x="124968" y="115824"/>
                </a:lnTo>
                <a:lnTo>
                  <a:pt x="134540" y="122205"/>
                </a:lnTo>
                <a:lnTo>
                  <a:pt x="146685" y="137159"/>
                </a:lnTo>
                <a:lnTo>
                  <a:pt x="157114" y="154400"/>
                </a:lnTo>
                <a:lnTo>
                  <a:pt x="161544" y="167640"/>
                </a:lnTo>
                <a:lnTo>
                  <a:pt x="161544" y="170687"/>
                </a:lnTo>
                <a:lnTo>
                  <a:pt x="155448" y="176784"/>
                </a:lnTo>
                <a:lnTo>
                  <a:pt x="155448" y="179832"/>
                </a:lnTo>
                <a:lnTo>
                  <a:pt x="164592" y="188976"/>
                </a:lnTo>
                <a:lnTo>
                  <a:pt x="164592" y="192024"/>
                </a:lnTo>
                <a:lnTo>
                  <a:pt x="169354" y="199882"/>
                </a:lnTo>
                <a:lnTo>
                  <a:pt x="172974" y="209169"/>
                </a:lnTo>
                <a:lnTo>
                  <a:pt x="173164" y="219027"/>
                </a:lnTo>
                <a:lnTo>
                  <a:pt x="167640" y="228600"/>
                </a:lnTo>
                <a:lnTo>
                  <a:pt x="201180" y="228600"/>
                </a:lnTo>
                <a:lnTo>
                  <a:pt x="195072" y="219456"/>
                </a:lnTo>
                <a:lnTo>
                  <a:pt x="193881" y="209264"/>
                </a:lnTo>
                <a:lnTo>
                  <a:pt x="194691" y="195072"/>
                </a:lnTo>
                <a:lnTo>
                  <a:pt x="215646" y="159258"/>
                </a:lnTo>
                <a:lnTo>
                  <a:pt x="225171" y="156972"/>
                </a:lnTo>
                <a:lnTo>
                  <a:pt x="234696" y="152400"/>
                </a:lnTo>
                <a:lnTo>
                  <a:pt x="242220" y="137255"/>
                </a:lnTo>
                <a:lnTo>
                  <a:pt x="240029" y="120395"/>
                </a:lnTo>
                <a:lnTo>
                  <a:pt x="237886" y="115824"/>
                </a:lnTo>
                <a:close/>
              </a:path>
              <a:path w="242570" h="387350">
                <a:moveTo>
                  <a:pt x="235608" y="110966"/>
                </a:moveTo>
                <a:lnTo>
                  <a:pt x="42814" y="110966"/>
                </a:lnTo>
                <a:lnTo>
                  <a:pt x="54482" y="118872"/>
                </a:lnTo>
                <a:lnTo>
                  <a:pt x="65579" y="129063"/>
                </a:lnTo>
                <a:lnTo>
                  <a:pt x="79248" y="134112"/>
                </a:lnTo>
                <a:lnTo>
                  <a:pt x="91963" y="132111"/>
                </a:lnTo>
                <a:lnTo>
                  <a:pt x="103250" y="124968"/>
                </a:lnTo>
                <a:lnTo>
                  <a:pt x="113966" y="117824"/>
                </a:lnTo>
                <a:lnTo>
                  <a:pt x="124968" y="115824"/>
                </a:lnTo>
                <a:lnTo>
                  <a:pt x="237886" y="115824"/>
                </a:lnTo>
                <a:lnTo>
                  <a:pt x="235608" y="110966"/>
                </a:lnTo>
                <a:close/>
              </a:path>
              <a:path w="242570" h="387350">
                <a:moveTo>
                  <a:pt x="121920" y="0"/>
                </a:moveTo>
                <a:lnTo>
                  <a:pt x="112775" y="1476"/>
                </a:lnTo>
                <a:lnTo>
                  <a:pt x="103631" y="4953"/>
                </a:lnTo>
                <a:lnTo>
                  <a:pt x="94487" y="9001"/>
                </a:lnTo>
                <a:lnTo>
                  <a:pt x="85344" y="12192"/>
                </a:lnTo>
                <a:lnTo>
                  <a:pt x="77581" y="27813"/>
                </a:lnTo>
                <a:lnTo>
                  <a:pt x="62102" y="36576"/>
                </a:lnTo>
                <a:lnTo>
                  <a:pt x="43767" y="43053"/>
                </a:lnTo>
                <a:lnTo>
                  <a:pt x="27431" y="51816"/>
                </a:lnTo>
                <a:lnTo>
                  <a:pt x="23574" y="70008"/>
                </a:lnTo>
                <a:lnTo>
                  <a:pt x="14859" y="85343"/>
                </a:lnTo>
                <a:lnTo>
                  <a:pt x="5572" y="100679"/>
                </a:lnTo>
                <a:lnTo>
                  <a:pt x="0" y="118872"/>
                </a:lnTo>
                <a:lnTo>
                  <a:pt x="6096" y="118872"/>
                </a:lnTo>
                <a:lnTo>
                  <a:pt x="6096" y="106680"/>
                </a:lnTo>
                <a:lnTo>
                  <a:pt x="233598" y="106680"/>
                </a:lnTo>
                <a:lnTo>
                  <a:pt x="209121" y="68056"/>
                </a:lnTo>
                <a:lnTo>
                  <a:pt x="180070" y="36528"/>
                </a:lnTo>
                <a:lnTo>
                  <a:pt x="142875" y="8381"/>
                </a:lnTo>
                <a:lnTo>
                  <a:pt x="131968" y="2476"/>
                </a:lnTo>
                <a:lnTo>
                  <a:pt x="121920" y="0"/>
                </a:lnTo>
                <a:close/>
              </a:path>
              <a:path w="242570" h="387350">
                <a:moveTo>
                  <a:pt x="233598" y="106680"/>
                </a:moveTo>
                <a:lnTo>
                  <a:pt x="21335" y="106680"/>
                </a:lnTo>
                <a:lnTo>
                  <a:pt x="21335" y="112776"/>
                </a:lnTo>
                <a:lnTo>
                  <a:pt x="27431" y="112776"/>
                </a:lnTo>
                <a:lnTo>
                  <a:pt x="42814" y="110966"/>
                </a:lnTo>
                <a:lnTo>
                  <a:pt x="235608" y="110966"/>
                </a:lnTo>
                <a:lnTo>
                  <a:pt x="233598" y="106680"/>
                </a:lnTo>
                <a:close/>
              </a:path>
            </a:pathLst>
          </a:custGeom>
          <a:solidFill>
            <a:srgbClr val="12ABDB"/>
          </a:solidFill>
        </p:spPr>
        <p:txBody>
          <a:bodyPr wrap="square" lIns="0" tIns="0" rIns="0" bIns="0" rtlCol="0"/>
          <a:lstStyle/>
          <a:p>
            <a:endParaRPr/>
          </a:p>
        </p:txBody>
      </p:sp>
      <p:sp>
        <p:nvSpPr>
          <p:cNvPr id="19" name="object 19"/>
          <p:cNvSpPr/>
          <p:nvPr/>
        </p:nvSpPr>
        <p:spPr>
          <a:xfrm>
            <a:off x="8908923" y="3761232"/>
            <a:ext cx="123823" cy="222504"/>
          </a:xfrm>
          <a:prstGeom prst="rect">
            <a:avLst/>
          </a:prstGeom>
          <a:blipFill>
            <a:blip r:embed="rId4" cstate="print"/>
            <a:stretch>
              <a:fillRect/>
            </a:stretch>
          </a:blipFill>
        </p:spPr>
        <p:txBody>
          <a:bodyPr wrap="square" lIns="0" tIns="0" rIns="0" bIns="0" rtlCol="0"/>
          <a:lstStyle/>
          <a:p>
            <a:endParaRPr/>
          </a:p>
        </p:txBody>
      </p:sp>
      <p:sp>
        <p:nvSpPr>
          <p:cNvPr id="20" name="object 20"/>
          <p:cNvSpPr txBox="1"/>
          <p:nvPr/>
        </p:nvSpPr>
        <p:spPr>
          <a:xfrm>
            <a:off x="10712577" y="4275201"/>
            <a:ext cx="492125" cy="269240"/>
          </a:xfrm>
          <a:prstGeom prst="rect">
            <a:avLst/>
          </a:prstGeom>
        </p:spPr>
        <p:txBody>
          <a:bodyPr vert="horz" wrap="square" lIns="0" tIns="12065" rIns="0" bIns="0" rtlCol="0">
            <a:spAutoFit/>
          </a:bodyPr>
          <a:lstStyle/>
          <a:p>
            <a:pPr marL="12700">
              <a:lnSpc>
                <a:spcPct val="100000"/>
              </a:lnSpc>
              <a:spcBef>
                <a:spcPts val="95"/>
              </a:spcBef>
            </a:pPr>
            <a:r>
              <a:rPr sz="1600" b="1" spc="-5">
                <a:latin typeface="Verdana"/>
                <a:cs typeface="Verdana"/>
              </a:rPr>
              <a:t>C</a:t>
            </a:r>
            <a:r>
              <a:rPr sz="1600" b="1" spc="-15">
                <a:latin typeface="Verdana"/>
                <a:cs typeface="Verdana"/>
              </a:rPr>
              <a:t>P</a:t>
            </a:r>
            <a:r>
              <a:rPr sz="1600" b="1" spc="-5">
                <a:latin typeface="Verdana"/>
                <a:cs typeface="Verdana"/>
              </a:rPr>
              <a:t>Q</a:t>
            </a:r>
            <a:endParaRPr sz="1600">
              <a:latin typeface="Verdana"/>
              <a:cs typeface="Verdana"/>
            </a:endParaRPr>
          </a:p>
        </p:txBody>
      </p:sp>
      <p:sp>
        <p:nvSpPr>
          <p:cNvPr id="21" name="object 21"/>
          <p:cNvSpPr/>
          <p:nvPr/>
        </p:nvSpPr>
        <p:spPr>
          <a:xfrm>
            <a:off x="10711053" y="3651884"/>
            <a:ext cx="476884" cy="464184"/>
          </a:xfrm>
          <a:custGeom>
            <a:avLst/>
            <a:gdLst/>
            <a:ahLst/>
            <a:cxnLst/>
            <a:rect l="l" t="t" r="r" b="b"/>
            <a:pathLst>
              <a:path w="476884" h="464185">
                <a:moveTo>
                  <a:pt x="221360" y="0"/>
                </a:moveTo>
                <a:lnTo>
                  <a:pt x="176974" y="5762"/>
                </a:lnTo>
                <a:lnTo>
                  <a:pt x="138302" y="20954"/>
                </a:lnTo>
                <a:lnTo>
                  <a:pt x="98631" y="44386"/>
                </a:lnTo>
                <a:lnTo>
                  <a:pt x="63245" y="73532"/>
                </a:lnTo>
                <a:lnTo>
                  <a:pt x="34147" y="108394"/>
                </a:lnTo>
                <a:lnTo>
                  <a:pt x="13334" y="148970"/>
                </a:lnTo>
                <a:lnTo>
                  <a:pt x="3095" y="189928"/>
                </a:lnTo>
                <a:lnTo>
                  <a:pt x="0" y="238886"/>
                </a:lnTo>
                <a:lnTo>
                  <a:pt x="4333" y="287845"/>
                </a:lnTo>
                <a:lnTo>
                  <a:pt x="16382" y="328802"/>
                </a:lnTo>
                <a:lnTo>
                  <a:pt x="38960" y="367574"/>
                </a:lnTo>
                <a:lnTo>
                  <a:pt x="70795" y="400324"/>
                </a:lnTo>
                <a:lnTo>
                  <a:pt x="109854" y="426677"/>
                </a:lnTo>
                <a:lnTo>
                  <a:pt x="154107" y="446257"/>
                </a:lnTo>
                <a:lnTo>
                  <a:pt x="201520" y="458687"/>
                </a:lnTo>
                <a:lnTo>
                  <a:pt x="250062" y="463592"/>
                </a:lnTo>
                <a:lnTo>
                  <a:pt x="297702" y="460594"/>
                </a:lnTo>
                <a:lnTo>
                  <a:pt x="342406" y="449318"/>
                </a:lnTo>
                <a:lnTo>
                  <a:pt x="382142" y="429387"/>
                </a:lnTo>
                <a:lnTo>
                  <a:pt x="413564" y="401217"/>
                </a:lnTo>
                <a:lnTo>
                  <a:pt x="439441" y="365263"/>
                </a:lnTo>
                <a:lnTo>
                  <a:pt x="459080" y="323817"/>
                </a:lnTo>
                <a:lnTo>
                  <a:pt x="471787" y="279173"/>
                </a:lnTo>
                <a:lnTo>
                  <a:pt x="476870" y="233621"/>
                </a:lnTo>
                <a:lnTo>
                  <a:pt x="473636" y="189456"/>
                </a:lnTo>
                <a:lnTo>
                  <a:pt x="461390" y="148970"/>
                </a:lnTo>
                <a:lnTo>
                  <a:pt x="434149" y="100917"/>
                </a:lnTo>
                <a:lnTo>
                  <a:pt x="398906" y="59435"/>
                </a:lnTo>
                <a:lnTo>
                  <a:pt x="356806" y="27670"/>
                </a:lnTo>
                <a:lnTo>
                  <a:pt x="308990" y="8762"/>
                </a:lnTo>
                <a:lnTo>
                  <a:pt x="266890" y="1666"/>
                </a:lnTo>
                <a:lnTo>
                  <a:pt x="221360" y="0"/>
                </a:lnTo>
                <a:close/>
              </a:path>
            </a:pathLst>
          </a:custGeom>
          <a:solidFill>
            <a:srgbClr val="9AE0F7"/>
          </a:solidFill>
        </p:spPr>
        <p:txBody>
          <a:bodyPr wrap="square" lIns="0" tIns="0" rIns="0" bIns="0" rtlCol="0"/>
          <a:lstStyle/>
          <a:p>
            <a:endParaRPr/>
          </a:p>
        </p:txBody>
      </p:sp>
      <p:sp>
        <p:nvSpPr>
          <p:cNvPr id="22" name="object 22"/>
          <p:cNvSpPr/>
          <p:nvPr/>
        </p:nvSpPr>
        <p:spPr>
          <a:xfrm>
            <a:off x="10826495" y="3651503"/>
            <a:ext cx="135890" cy="40005"/>
          </a:xfrm>
          <a:custGeom>
            <a:avLst/>
            <a:gdLst/>
            <a:ahLst/>
            <a:cxnLst/>
            <a:rect l="l" t="t" r="r" b="b"/>
            <a:pathLst>
              <a:path w="135890" h="40004">
                <a:moveTo>
                  <a:pt x="135635" y="0"/>
                </a:moveTo>
                <a:lnTo>
                  <a:pt x="88564" y="1428"/>
                </a:lnTo>
                <a:lnTo>
                  <a:pt x="53101" y="9144"/>
                </a:lnTo>
                <a:lnTo>
                  <a:pt x="24997" y="21431"/>
                </a:lnTo>
                <a:lnTo>
                  <a:pt x="0" y="36576"/>
                </a:lnTo>
                <a:lnTo>
                  <a:pt x="24643" y="39862"/>
                </a:lnTo>
                <a:lnTo>
                  <a:pt x="64883" y="32718"/>
                </a:lnTo>
                <a:lnTo>
                  <a:pt x="113426" y="16002"/>
                </a:lnTo>
                <a:lnTo>
                  <a:pt x="135635" y="0"/>
                </a:lnTo>
                <a:close/>
              </a:path>
            </a:pathLst>
          </a:custGeom>
          <a:solidFill>
            <a:srgbClr val="12ABDB"/>
          </a:solidFill>
        </p:spPr>
        <p:txBody>
          <a:bodyPr wrap="square" lIns="0" tIns="0" rIns="0" bIns="0" rtlCol="0"/>
          <a:lstStyle/>
          <a:p>
            <a:endParaRPr/>
          </a:p>
        </p:txBody>
      </p:sp>
      <p:sp>
        <p:nvSpPr>
          <p:cNvPr id="23" name="object 23"/>
          <p:cNvSpPr/>
          <p:nvPr/>
        </p:nvSpPr>
        <p:spPr>
          <a:xfrm>
            <a:off x="10911840" y="3672840"/>
            <a:ext cx="241300" cy="387350"/>
          </a:xfrm>
          <a:custGeom>
            <a:avLst/>
            <a:gdLst/>
            <a:ahLst/>
            <a:cxnLst/>
            <a:rect l="l" t="t" r="r" b="b"/>
            <a:pathLst>
              <a:path w="241300" h="387350">
                <a:moveTo>
                  <a:pt x="150383" y="227171"/>
                </a:moveTo>
                <a:lnTo>
                  <a:pt x="134429" y="230886"/>
                </a:lnTo>
                <a:lnTo>
                  <a:pt x="120189" y="238029"/>
                </a:lnTo>
                <a:lnTo>
                  <a:pt x="109092" y="246887"/>
                </a:lnTo>
                <a:lnTo>
                  <a:pt x="116500" y="259889"/>
                </a:lnTo>
                <a:lnTo>
                  <a:pt x="116252" y="270891"/>
                </a:lnTo>
                <a:lnTo>
                  <a:pt x="108646" y="279034"/>
                </a:lnTo>
                <a:lnTo>
                  <a:pt x="93979" y="283464"/>
                </a:lnTo>
                <a:lnTo>
                  <a:pt x="94339" y="302466"/>
                </a:lnTo>
                <a:lnTo>
                  <a:pt x="101520" y="318897"/>
                </a:lnTo>
                <a:lnTo>
                  <a:pt x="110964" y="333613"/>
                </a:lnTo>
                <a:lnTo>
                  <a:pt x="118109" y="347472"/>
                </a:lnTo>
                <a:lnTo>
                  <a:pt x="122346" y="360092"/>
                </a:lnTo>
                <a:lnTo>
                  <a:pt x="126857" y="370713"/>
                </a:lnTo>
                <a:lnTo>
                  <a:pt x="133058" y="379618"/>
                </a:lnTo>
                <a:lnTo>
                  <a:pt x="142366" y="387096"/>
                </a:lnTo>
                <a:lnTo>
                  <a:pt x="166921" y="363235"/>
                </a:lnTo>
                <a:lnTo>
                  <a:pt x="193166" y="340232"/>
                </a:lnTo>
                <a:lnTo>
                  <a:pt x="218269" y="315515"/>
                </a:lnTo>
                <a:lnTo>
                  <a:pt x="239394" y="286512"/>
                </a:lnTo>
                <a:lnTo>
                  <a:pt x="234584" y="279082"/>
                </a:lnTo>
                <a:lnTo>
                  <a:pt x="232992" y="270891"/>
                </a:lnTo>
                <a:lnTo>
                  <a:pt x="232993" y="259889"/>
                </a:lnTo>
                <a:lnTo>
                  <a:pt x="233299" y="249936"/>
                </a:lnTo>
                <a:lnTo>
                  <a:pt x="224129" y="243887"/>
                </a:lnTo>
                <a:lnTo>
                  <a:pt x="212423" y="238125"/>
                </a:lnTo>
                <a:lnTo>
                  <a:pt x="201312" y="230647"/>
                </a:lnTo>
                <a:lnTo>
                  <a:pt x="199961" y="228600"/>
                </a:lnTo>
                <a:lnTo>
                  <a:pt x="166624" y="228600"/>
                </a:lnTo>
                <a:lnTo>
                  <a:pt x="150383" y="227171"/>
                </a:lnTo>
                <a:close/>
              </a:path>
              <a:path w="241300" h="387350">
                <a:moveTo>
                  <a:pt x="236449" y="115824"/>
                </a:moveTo>
                <a:lnTo>
                  <a:pt x="124205" y="115824"/>
                </a:lnTo>
                <a:lnTo>
                  <a:pt x="133738" y="122205"/>
                </a:lnTo>
                <a:lnTo>
                  <a:pt x="145795" y="137159"/>
                </a:lnTo>
                <a:lnTo>
                  <a:pt x="156138" y="154400"/>
                </a:lnTo>
                <a:lnTo>
                  <a:pt x="160527" y="167640"/>
                </a:lnTo>
                <a:lnTo>
                  <a:pt x="160527" y="170687"/>
                </a:lnTo>
                <a:lnTo>
                  <a:pt x="154558" y="176784"/>
                </a:lnTo>
                <a:lnTo>
                  <a:pt x="154558" y="179832"/>
                </a:lnTo>
                <a:lnTo>
                  <a:pt x="163575" y="188976"/>
                </a:lnTo>
                <a:lnTo>
                  <a:pt x="163575" y="192024"/>
                </a:lnTo>
                <a:lnTo>
                  <a:pt x="168320" y="199882"/>
                </a:lnTo>
                <a:lnTo>
                  <a:pt x="171910" y="209169"/>
                </a:lnTo>
                <a:lnTo>
                  <a:pt x="172094" y="219027"/>
                </a:lnTo>
                <a:lnTo>
                  <a:pt x="166624" y="228600"/>
                </a:lnTo>
                <a:lnTo>
                  <a:pt x="199961" y="228600"/>
                </a:lnTo>
                <a:lnTo>
                  <a:pt x="193928" y="219456"/>
                </a:lnTo>
                <a:lnTo>
                  <a:pt x="192736" y="209264"/>
                </a:lnTo>
                <a:lnTo>
                  <a:pt x="193532" y="195072"/>
                </a:lnTo>
                <a:lnTo>
                  <a:pt x="214312" y="159258"/>
                </a:lnTo>
                <a:lnTo>
                  <a:pt x="223793" y="156972"/>
                </a:lnTo>
                <a:lnTo>
                  <a:pt x="233299" y="152400"/>
                </a:lnTo>
                <a:lnTo>
                  <a:pt x="240770" y="137255"/>
                </a:lnTo>
                <a:lnTo>
                  <a:pt x="238585" y="120395"/>
                </a:lnTo>
                <a:lnTo>
                  <a:pt x="236449" y="115824"/>
                </a:lnTo>
                <a:close/>
              </a:path>
              <a:path w="241300" h="387350">
                <a:moveTo>
                  <a:pt x="234180" y="110966"/>
                </a:moveTo>
                <a:lnTo>
                  <a:pt x="42592" y="110966"/>
                </a:lnTo>
                <a:lnTo>
                  <a:pt x="54165" y="118872"/>
                </a:lnTo>
                <a:lnTo>
                  <a:pt x="65166" y="129063"/>
                </a:lnTo>
                <a:lnTo>
                  <a:pt x="78739" y="134112"/>
                </a:lnTo>
                <a:lnTo>
                  <a:pt x="91380" y="132111"/>
                </a:lnTo>
                <a:lnTo>
                  <a:pt x="102616" y="124968"/>
                </a:lnTo>
                <a:lnTo>
                  <a:pt x="113280" y="117824"/>
                </a:lnTo>
                <a:lnTo>
                  <a:pt x="124205" y="115824"/>
                </a:lnTo>
                <a:lnTo>
                  <a:pt x="236449" y="115824"/>
                </a:lnTo>
                <a:lnTo>
                  <a:pt x="234180" y="110966"/>
                </a:lnTo>
                <a:close/>
              </a:path>
              <a:path w="241300" h="387350">
                <a:moveTo>
                  <a:pt x="121157" y="0"/>
                </a:moveTo>
                <a:lnTo>
                  <a:pt x="112089" y="1476"/>
                </a:lnTo>
                <a:lnTo>
                  <a:pt x="102997" y="4953"/>
                </a:lnTo>
                <a:lnTo>
                  <a:pt x="93904" y="9001"/>
                </a:lnTo>
                <a:lnTo>
                  <a:pt x="84835" y="12192"/>
                </a:lnTo>
                <a:lnTo>
                  <a:pt x="77114" y="27813"/>
                </a:lnTo>
                <a:lnTo>
                  <a:pt x="61737" y="36576"/>
                </a:lnTo>
                <a:lnTo>
                  <a:pt x="43527" y="43053"/>
                </a:lnTo>
                <a:lnTo>
                  <a:pt x="27304" y="51816"/>
                </a:lnTo>
                <a:lnTo>
                  <a:pt x="23467" y="70008"/>
                </a:lnTo>
                <a:lnTo>
                  <a:pt x="14795" y="85343"/>
                </a:lnTo>
                <a:lnTo>
                  <a:pt x="5552" y="100679"/>
                </a:lnTo>
                <a:lnTo>
                  <a:pt x="0" y="118872"/>
                </a:lnTo>
                <a:lnTo>
                  <a:pt x="6095" y="118872"/>
                </a:lnTo>
                <a:lnTo>
                  <a:pt x="6095" y="106680"/>
                </a:lnTo>
                <a:lnTo>
                  <a:pt x="232177" y="106680"/>
                </a:lnTo>
                <a:lnTo>
                  <a:pt x="207819" y="68056"/>
                </a:lnTo>
                <a:lnTo>
                  <a:pt x="178958" y="36528"/>
                </a:lnTo>
                <a:lnTo>
                  <a:pt x="142033" y="8381"/>
                </a:lnTo>
                <a:lnTo>
                  <a:pt x="131185" y="2476"/>
                </a:lnTo>
                <a:lnTo>
                  <a:pt x="121157" y="0"/>
                </a:lnTo>
                <a:close/>
              </a:path>
              <a:path w="241300" h="387350">
                <a:moveTo>
                  <a:pt x="232177" y="106680"/>
                </a:moveTo>
                <a:lnTo>
                  <a:pt x="21208" y="106680"/>
                </a:lnTo>
                <a:lnTo>
                  <a:pt x="21208" y="112776"/>
                </a:lnTo>
                <a:lnTo>
                  <a:pt x="27304" y="112776"/>
                </a:lnTo>
                <a:lnTo>
                  <a:pt x="42592" y="110966"/>
                </a:lnTo>
                <a:lnTo>
                  <a:pt x="234180" y="110966"/>
                </a:lnTo>
                <a:lnTo>
                  <a:pt x="232177" y="106680"/>
                </a:lnTo>
                <a:close/>
              </a:path>
            </a:pathLst>
          </a:custGeom>
          <a:solidFill>
            <a:srgbClr val="12ABDB"/>
          </a:solidFill>
        </p:spPr>
        <p:txBody>
          <a:bodyPr wrap="square" lIns="0" tIns="0" rIns="0" bIns="0" rtlCol="0"/>
          <a:lstStyle/>
          <a:p>
            <a:endParaRPr/>
          </a:p>
        </p:txBody>
      </p:sp>
      <p:sp>
        <p:nvSpPr>
          <p:cNvPr id="24" name="object 24"/>
          <p:cNvSpPr/>
          <p:nvPr/>
        </p:nvSpPr>
        <p:spPr>
          <a:xfrm>
            <a:off x="10710379" y="3761232"/>
            <a:ext cx="125260" cy="222504"/>
          </a:xfrm>
          <a:prstGeom prst="rect">
            <a:avLst/>
          </a:prstGeom>
          <a:blipFill>
            <a:blip r:embed="rId5" cstate="print"/>
            <a:stretch>
              <a:fillRect/>
            </a:stretch>
          </a:blipFill>
        </p:spPr>
        <p:txBody>
          <a:bodyPr wrap="square" lIns="0" tIns="0" rIns="0" bIns="0" rtlCol="0"/>
          <a:lstStyle/>
          <a:p>
            <a:endParaRPr/>
          </a:p>
        </p:txBody>
      </p:sp>
      <p:sp>
        <p:nvSpPr>
          <p:cNvPr id="25" name="object 25"/>
          <p:cNvSpPr/>
          <p:nvPr/>
        </p:nvSpPr>
        <p:spPr>
          <a:xfrm>
            <a:off x="227075" y="440436"/>
            <a:ext cx="684276" cy="684276"/>
          </a:xfrm>
          <a:prstGeom prst="rect">
            <a:avLst/>
          </a:prstGeom>
          <a:blipFill>
            <a:blip r:embed="rId6" cstate="print"/>
            <a:stretch>
              <a:fillRect/>
            </a:stretch>
          </a:blipFill>
        </p:spPr>
        <p:txBody>
          <a:bodyPr wrap="square" lIns="0" tIns="0" rIns="0" bIns="0" rtlCol="0"/>
          <a:lstStyle/>
          <a:p>
            <a:endParaRPr/>
          </a:p>
        </p:txBody>
      </p:sp>
      <p:sp>
        <p:nvSpPr>
          <p:cNvPr id="26" name="object 26"/>
          <p:cNvSpPr/>
          <p:nvPr/>
        </p:nvSpPr>
        <p:spPr>
          <a:xfrm>
            <a:off x="9428988" y="5131308"/>
            <a:ext cx="1175003" cy="1175003"/>
          </a:xfrm>
          <a:prstGeom prst="rect">
            <a:avLst/>
          </a:prstGeom>
          <a:blipFill>
            <a:blip r:embed="rId7" cstate="print"/>
            <a:stretch>
              <a:fillRect/>
            </a:stretch>
          </a:blipFill>
        </p:spPr>
        <p:txBody>
          <a:bodyPr wrap="square" lIns="0" tIns="0" rIns="0" bIns="0" rtlCol="0"/>
          <a:lstStyle/>
          <a:p>
            <a:endParaRPr/>
          </a:p>
        </p:txBody>
      </p:sp>
      <p:sp>
        <p:nvSpPr>
          <p:cNvPr id="27" name="object 27"/>
          <p:cNvSpPr/>
          <p:nvPr/>
        </p:nvSpPr>
        <p:spPr>
          <a:xfrm>
            <a:off x="4981955" y="5442203"/>
            <a:ext cx="2016252" cy="473963"/>
          </a:xfrm>
          <a:prstGeom prst="rect">
            <a:avLst/>
          </a:prstGeom>
          <a:blipFill>
            <a:blip r:embed="rId8" cstate="print"/>
            <a:stretch>
              <a:fillRect/>
            </a:stretch>
          </a:blipFill>
        </p:spPr>
        <p:txBody>
          <a:bodyPr wrap="square" lIns="0" tIns="0" rIns="0" bIns="0" rtlCol="0"/>
          <a:lstStyle/>
          <a:p>
            <a:endParaRPr/>
          </a:p>
        </p:txBody>
      </p:sp>
      <p:sp>
        <p:nvSpPr>
          <p:cNvPr id="28" name="object 28"/>
          <p:cNvSpPr/>
          <p:nvPr/>
        </p:nvSpPr>
        <p:spPr>
          <a:xfrm>
            <a:off x="2731007" y="5244084"/>
            <a:ext cx="1147571" cy="871728"/>
          </a:xfrm>
          <a:prstGeom prst="rect">
            <a:avLst/>
          </a:prstGeom>
          <a:blipFill>
            <a:blip r:embed="rId9" cstate="print"/>
            <a:stretch>
              <a:fillRect/>
            </a:stretch>
          </a:blipFill>
        </p:spPr>
        <p:txBody>
          <a:bodyPr wrap="square" lIns="0" tIns="0" rIns="0" bIns="0" rtlCol="0"/>
          <a:lstStyle/>
          <a:p>
            <a:endParaRPr/>
          </a:p>
        </p:txBody>
      </p:sp>
      <p:sp>
        <p:nvSpPr>
          <p:cNvPr id="29" name="object 29"/>
          <p:cNvSpPr/>
          <p:nvPr/>
        </p:nvSpPr>
        <p:spPr>
          <a:xfrm>
            <a:off x="347472" y="5178552"/>
            <a:ext cx="2161031" cy="1080516"/>
          </a:xfrm>
          <a:prstGeom prst="rect">
            <a:avLst/>
          </a:prstGeom>
          <a:blipFill>
            <a:blip r:embed="rId10" cstate="print"/>
            <a:stretch>
              <a:fillRect/>
            </a:stretch>
          </a:blipFill>
        </p:spPr>
        <p:txBody>
          <a:bodyPr wrap="square" lIns="0" tIns="0" rIns="0" bIns="0" rtlCol="0"/>
          <a:lstStyle/>
          <a:p>
            <a:endParaRPr/>
          </a:p>
        </p:txBody>
      </p:sp>
      <p:sp>
        <p:nvSpPr>
          <p:cNvPr id="30" name="object 30"/>
          <p:cNvSpPr txBox="1"/>
          <p:nvPr/>
        </p:nvSpPr>
        <p:spPr>
          <a:xfrm>
            <a:off x="227380" y="6650797"/>
            <a:ext cx="3099435" cy="124460"/>
          </a:xfrm>
          <a:prstGeom prst="rect">
            <a:avLst/>
          </a:prstGeom>
        </p:spPr>
        <p:txBody>
          <a:bodyPr vert="horz" wrap="square" lIns="0" tIns="635" rIns="0" bIns="0" rtlCol="0">
            <a:spAutoFit/>
          </a:bodyPr>
          <a:lstStyle/>
          <a:p>
            <a:pPr>
              <a:lnSpc>
                <a:spcPct val="100000"/>
              </a:lnSpc>
              <a:spcBef>
                <a:spcPts val="5"/>
              </a:spcBef>
            </a:pPr>
            <a:r>
              <a:rPr sz="800">
                <a:solidFill>
                  <a:srgbClr val="A6A6A6"/>
                </a:solidFill>
                <a:latin typeface="Verdana"/>
                <a:cs typeface="Verdana"/>
              </a:rPr>
              <a:t>Capgemini’s Response Salesforce </a:t>
            </a:r>
            <a:r>
              <a:rPr sz="800" spc="-5">
                <a:solidFill>
                  <a:srgbClr val="A6A6A6"/>
                </a:solidFill>
                <a:latin typeface="Verdana"/>
                <a:cs typeface="Verdana"/>
              </a:rPr>
              <a:t>Rollout Project </a:t>
            </a:r>
            <a:r>
              <a:rPr sz="800">
                <a:solidFill>
                  <a:srgbClr val="A6A6A6"/>
                </a:solidFill>
                <a:latin typeface="Verdana"/>
                <a:cs typeface="Verdana"/>
              </a:rPr>
              <a:t>| Sep</a:t>
            </a:r>
            <a:r>
              <a:rPr sz="800" spc="-35">
                <a:solidFill>
                  <a:srgbClr val="A6A6A6"/>
                </a:solidFill>
                <a:latin typeface="Verdana"/>
                <a:cs typeface="Verdana"/>
              </a:rPr>
              <a:t> </a:t>
            </a:r>
            <a:r>
              <a:rPr sz="800">
                <a:solidFill>
                  <a:srgbClr val="A6A6A6"/>
                </a:solidFill>
                <a:latin typeface="Verdana"/>
                <a:cs typeface="Verdana"/>
              </a:rPr>
              <a:t>2020</a:t>
            </a:r>
            <a:endParaRPr sz="800">
              <a:latin typeface="Verdana"/>
              <a:cs typeface="Verdana"/>
            </a:endParaRPr>
          </a:p>
        </p:txBody>
      </p:sp>
      <p:sp>
        <p:nvSpPr>
          <p:cNvPr id="31" name="object 31"/>
          <p:cNvSpPr txBox="1"/>
          <p:nvPr/>
        </p:nvSpPr>
        <p:spPr>
          <a:xfrm>
            <a:off x="214680" y="6638097"/>
            <a:ext cx="3336290"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FFFFFF"/>
                </a:solidFill>
                <a:latin typeface="Verdana"/>
                <a:cs typeface="Verdana"/>
              </a:rPr>
              <a:t>Capgemini’s Response </a:t>
            </a:r>
            <a:r>
              <a:rPr sz="800" spc="-5">
                <a:solidFill>
                  <a:srgbClr val="FFFFFF"/>
                </a:solidFill>
                <a:latin typeface="Verdana"/>
                <a:cs typeface="Verdana"/>
              </a:rPr>
              <a:t>to </a:t>
            </a:r>
            <a:r>
              <a:rPr sz="800">
                <a:solidFill>
                  <a:srgbClr val="FFFFFF"/>
                </a:solidFill>
                <a:latin typeface="Verdana"/>
                <a:cs typeface="Verdana"/>
              </a:rPr>
              <a:t>RFP for System Integrator | April</a:t>
            </a:r>
            <a:r>
              <a:rPr sz="800" spc="-85">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32" name="object 3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2</a:t>
            </a:fld>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046220" y="1725167"/>
            <a:ext cx="4069079" cy="297180"/>
          </a:xfrm>
          <a:custGeom>
            <a:avLst/>
            <a:gdLst/>
            <a:ahLst/>
            <a:cxnLst/>
            <a:rect l="l" t="t" r="r" b="b"/>
            <a:pathLst>
              <a:path w="4069079" h="297180">
                <a:moveTo>
                  <a:pt x="4019550" y="0"/>
                </a:moveTo>
                <a:lnTo>
                  <a:pt x="49529" y="0"/>
                </a:lnTo>
                <a:lnTo>
                  <a:pt x="30271" y="3899"/>
                </a:lnTo>
                <a:lnTo>
                  <a:pt x="14525" y="14525"/>
                </a:lnTo>
                <a:lnTo>
                  <a:pt x="3899" y="30271"/>
                </a:lnTo>
                <a:lnTo>
                  <a:pt x="0" y="49530"/>
                </a:lnTo>
                <a:lnTo>
                  <a:pt x="0" y="247650"/>
                </a:lnTo>
                <a:lnTo>
                  <a:pt x="3899" y="266908"/>
                </a:lnTo>
                <a:lnTo>
                  <a:pt x="14525" y="282654"/>
                </a:lnTo>
                <a:lnTo>
                  <a:pt x="30271" y="293280"/>
                </a:lnTo>
                <a:lnTo>
                  <a:pt x="49529" y="297180"/>
                </a:lnTo>
                <a:lnTo>
                  <a:pt x="4019550" y="297180"/>
                </a:lnTo>
                <a:lnTo>
                  <a:pt x="4038808" y="293280"/>
                </a:lnTo>
                <a:lnTo>
                  <a:pt x="4054554" y="282654"/>
                </a:lnTo>
                <a:lnTo>
                  <a:pt x="4065180" y="266908"/>
                </a:lnTo>
                <a:lnTo>
                  <a:pt x="4069079" y="247650"/>
                </a:lnTo>
                <a:lnTo>
                  <a:pt x="4069079" y="49530"/>
                </a:lnTo>
                <a:lnTo>
                  <a:pt x="4065180" y="30271"/>
                </a:lnTo>
                <a:lnTo>
                  <a:pt x="4054554" y="14525"/>
                </a:lnTo>
                <a:lnTo>
                  <a:pt x="4038808" y="3899"/>
                </a:lnTo>
                <a:lnTo>
                  <a:pt x="4019550" y="0"/>
                </a:lnTo>
                <a:close/>
              </a:path>
            </a:pathLst>
          </a:custGeom>
          <a:solidFill>
            <a:srgbClr val="12ABDB"/>
          </a:solidFill>
        </p:spPr>
        <p:txBody>
          <a:bodyPr wrap="square" lIns="0" tIns="0" rIns="0" bIns="0" rtlCol="0"/>
          <a:lstStyle/>
          <a:p>
            <a:endParaRPr/>
          </a:p>
        </p:txBody>
      </p:sp>
      <p:sp>
        <p:nvSpPr>
          <p:cNvPr id="3" name="object 3"/>
          <p:cNvSpPr/>
          <p:nvPr/>
        </p:nvSpPr>
        <p:spPr>
          <a:xfrm>
            <a:off x="518159" y="1725167"/>
            <a:ext cx="3030220" cy="297180"/>
          </a:xfrm>
          <a:custGeom>
            <a:avLst/>
            <a:gdLst/>
            <a:ahLst/>
            <a:cxnLst/>
            <a:rect l="l" t="t" r="r" b="b"/>
            <a:pathLst>
              <a:path w="3030220" h="297180">
                <a:moveTo>
                  <a:pt x="2980181" y="0"/>
                </a:moveTo>
                <a:lnTo>
                  <a:pt x="49530" y="0"/>
                </a:lnTo>
                <a:lnTo>
                  <a:pt x="30250" y="3899"/>
                </a:lnTo>
                <a:lnTo>
                  <a:pt x="14506" y="14525"/>
                </a:lnTo>
                <a:lnTo>
                  <a:pt x="3892" y="30271"/>
                </a:lnTo>
                <a:lnTo>
                  <a:pt x="0" y="49530"/>
                </a:lnTo>
                <a:lnTo>
                  <a:pt x="0" y="247650"/>
                </a:lnTo>
                <a:lnTo>
                  <a:pt x="3892" y="266908"/>
                </a:lnTo>
                <a:lnTo>
                  <a:pt x="14506" y="282654"/>
                </a:lnTo>
                <a:lnTo>
                  <a:pt x="30250" y="293280"/>
                </a:lnTo>
                <a:lnTo>
                  <a:pt x="49530" y="297180"/>
                </a:lnTo>
                <a:lnTo>
                  <a:pt x="2980181" y="297180"/>
                </a:lnTo>
                <a:lnTo>
                  <a:pt x="2999440" y="293280"/>
                </a:lnTo>
                <a:lnTo>
                  <a:pt x="3015186" y="282654"/>
                </a:lnTo>
                <a:lnTo>
                  <a:pt x="3025812" y="266908"/>
                </a:lnTo>
                <a:lnTo>
                  <a:pt x="3029712" y="247650"/>
                </a:lnTo>
                <a:lnTo>
                  <a:pt x="3029712" y="49530"/>
                </a:lnTo>
                <a:lnTo>
                  <a:pt x="3025812" y="30271"/>
                </a:lnTo>
                <a:lnTo>
                  <a:pt x="3015186" y="14525"/>
                </a:lnTo>
                <a:lnTo>
                  <a:pt x="2999440" y="3899"/>
                </a:lnTo>
                <a:lnTo>
                  <a:pt x="2980181" y="0"/>
                </a:lnTo>
                <a:close/>
              </a:path>
            </a:pathLst>
          </a:custGeom>
          <a:solidFill>
            <a:srgbClr val="006FAC"/>
          </a:solidFill>
        </p:spPr>
        <p:txBody>
          <a:bodyPr wrap="square" lIns="0" tIns="0" rIns="0" bIns="0" rtlCol="0"/>
          <a:lstStyle/>
          <a:p>
            <a:endParaRPr/>
          </a:p>
        </p:txBody>
      </p:sp>
      <p:sp>
        <p:nvSpPr>
          <p:cNvPr id="4" name="object 4"/>
          <p:cNvSpPr/>
          <p:nvPr/>
        </p:nvSpPr>
        <p:spPr>
          <a:xfrm>
            <a:off x="229591" y="1671904"/>
            <a:ext cx="420370" cy="408305"/>
          </a:xfrm>
          <a:custGeom>
            <a:avLst/>
            <a:gdLst/>
            <a:ahLst/>
            <a:cxnLst/>
            <a:rect l="l" t="t" r="r" b="b"/>
            <a:pathLst>
              <a:path w="420370" h="408305">
                <a:moveTo>
                  <a:pt x="221105" y="0"/>
                </a:moveTo>
                <a:lnTo>
                  <a:pt x="174584" y="3359"/>
                </a:lnTo>
                <a:lnTo>
                  <a:pt x="129207" y="16922"/>
                </a:lnTo>
                <a:lnTo>
                  <a:pt x="86765" y="40944"/>
                </a:lnTo>
                <a:lnTo>
                  <a:pt x="50814" y="73628"/>
                </a:lnTo>
                <a:lnTo>
                  <a:pt x="24187" y="112160"/>
                </a:lnTo>
                <a:lnTo>
                  <a:pt x="7158" y="154788"/>
                </a:lnTo>
                <a:lnTo>
                  <a:pt x="0" y="199754"/>
                </a:lnTo>
                <a:lnTo>
                  <a:pt x="2986" y="245305"/>
                </a:lnTo>
                <a:lnTo>
                  <a:pt x="16390" y="289685"/>
                </a:lnTo>
                <a:lnTo>
                  <a:pt x="40486" y="331139"/>
                </a:lnTo>
                <a:lnTo>
                  <a:pt x="73318" y="365516"/>
                </a:lnTo>
                <a:lnTo>
                  <a:pt x="111449" y="389713"/>
                </a:lnTo>
                <a:lnTo>
                  <a:pt x="153369" y="403878"/>
                </a:lnTo>
                <a:lnTo>
                  <a:pt x="197572" y="408157"/>
                </a:lnTo>
                <a:lnTo>
                  <a:pt x="242548" y="402696"/>
                </a:lnTo>
                <a:lnTo>
                  <a:pt x="286790" y="387643"/>
                </a:lnTo>
                <a:lnTo>
                  <a:pt x="328789" y="363143"/>
                </a:lnTo>
                <a:lnTo>
                  <a:pt x="365164" y="330924"/>
                </a:lnTo>
                <a:lnTo>
                  <a:pt x="392885" y="293850"/>
                </a:lnTo>
                <a:lnTo>
                  <a:pt x="411411" y="253289"/>
                </a:lnTo>
                <a:lnTo>
                  <a:pt x="420199" y="210605"/>
                </a:lnTo>
                <a:lnTo>
                  <a:pt x="418708" y="167167"/>
                </a:lnTo>
                <a:lnTo>
                  <a:pt x="406398" y="124340"/>
                </a:lnTo>
                <a:lnTo>
                  <a:pt x="382726" y="83489"/>
                </a:lnTo>
                <a:lnTo>
                  <a:pt x="349578" y="48589"/>
                </a:lnTo>
                <a:lnTo>
                  <a:pt x="310395" y="22870"/>
                </a:lnTo>
                <a:lnTo>
                  <a:pt x="266973" y="6588"/>
                </a:lnTo>
                <a:lnTo>
                  <a:pt x="221105" y="0"/>
                </a:lnTo>
                <a:close/>
              </a:path>
            </a:pathLst>
          </a:custGeom>
          <a:solidFill>
            <a:srgbClr val="006FAC"/>
          </a:solidFill>
        </p:spPr>
        <p:txBody>
          <a:bodyPr wrap="square" lIns="0" tIns="0" rIns="0" bIns="0" rtlCol="0"/>
          <a:lstStyle/>
          <a:p>
            <a:endParaRPr/>
          </a:p>
        </p:txBody>
      </p:sp>
      <p:sp>
        <p:nvSpPr>
          <p:cNvPr id="5" name="object 5"/>
          <p:cNvSpPr/>
          <p:nvPr/>
        </p:nvSpPr>
        <p:spPr>
          <a:xfrm>
            <a:off x="229591" y="1671904"/>
            <a:ext cx="420370" cy="408305"/>
          </a:xfrm>
          <a:custGeom>
            <a:avLst/>
            <a:gdLst/>
            <a:ahLst/>
            <a:cxnLst/>
            <a:rect l="l" t="t" r="r" b="b"/>
            <a:pathLst>
              <a:path w="420370" h="408305">
                <a:moveTo>
                  <a:pt x="40486" y="331139"/>
                </a:moveTo>
                <a:lnTo>
                  <a:pt x="16390" y="289685"/>
                </a:lnTo>
                <a:lnTo>
                  <a:pt x="2986" y="245305"/>
                </a:lnTo>
                <a:lnTo>
                  <a:pt x="0" y="199754"/>
                </a:lnTo>
                <a:lnTo>
                  <a:pt x="7158" y="154788"/>
                </a:lnTo>
                <a:lnTo>
                  <a:pt x="24187" y="112160"/>
                </a:lnTo>
                <a:lnTo>
                  <a:pt x="50814" y="73628"/>
                </a:lnTo>
                <a:lnTo>
                  <a:pt x="86765" y="40944"/>
                </a:lnTo>
                <a:lnTo>
                  <a:pt x="129207" y="16922"/>
                </a:lnTo>
                <a:lnTo>
                  <a:pt x="174584" y="3359"/>
                </a:lnTo>
                <a:lnTo>
                  <a:pt x="221105" y="0"/>
                </a:lnTo>
                <a:lnTo>
                  <a:pt x="266973" y="6588"/>
                </a:lnTo>
                <a:lnTo>
                  <a:pt x="310395" y="22870"/>
                </a:lnTo>
                <a:lnTo>
                  <a:pt x="349578" y="48589"/>
                </a:lnTo>
                <a:lnTo>
                  <a:pt x="382726" y="83489"/>
                </a:lnTo>
                <a:lnTo>
                  <a:pt x="406398" y="124340"/>
                </a:lnTo>
                <a:lnTo>
                  <a:pt x="418708" y="167167"/>
                </a:lnTo>
                <a:lnTo>
                  <a:pt x="420199" y="210605"/>
                </a:lnTo>
                <a:lnTo>
                  <a:pt x="411411" y="253289"/>
                </a:lnTo>
                <a:lnTo>
                  <a:pt x="392885" y="293850"/>
                </a:lnTo>
                <a:lnTo>
                  <a:pt x="365164" y="330924"/>
                </a:lnTo>
                <a:lnTo>
                  <a:pt x="328789" y="363143"/>
                </a:lnTo>
                <a:lnTo>
                  <a:pt x="286790" y="387643"/>
                </a:lnTo>
                <a:lnTo>
                  <a:pt x="242548" y="402696"/>
                </a:lnTo>
                <a:lnTo>
                  <a:pt x="197572" y="408157"/>
                </a:lnTo>
                <a:lnTo>
                  <a:pt x="153369" y="403878"/>
                </a:lnTo>
                <a:lnTo>
                  <a:pt x="111449" y="389713"/>
                </a:lnTo>
                <a:lnTo>
                  <a:pt x="73318" y="365516"/>
                </a:lnTo>
                <a:lnTo>
                  <a:pt x="40486" y="331139"/>
                </a:lnTo>
              </a:path>
            </a:pathLst>
          </a:custGeom>
          <a:ln w="9144">
            <a:solidFill>
              <a:srgbClr val="FFFFFF"/>
            </a:solidFill>
          </a:ln>
        </p:spPr>
        <p:txBody>
          <a:bodyPr wrap="square" lIns="0" tIns="0" rIns="0" bIns="0" rtlCol="0"/>
          <a:lstStyle/>
          <a:p>
            <a:endParaRPr/>
          </a:p>
        </p:txBody>
      </p:sp>
      <p:sp>
        <p:nvSpPr>
          <p:cNvPr id="6" name="object 6"/>
          <p:cNvSpPr/>
          <p:nvPr/>
        </p:nvSpPr>
        <p:spPr>
          <a:xfrm>
            <a:off x="353568" y="1758203"/>
            <a:ext cx="172745" cy="212074"/>
          </a:xfrm>
          <a:prstGeom prst="rect">
            <a:avLst/>
          </a:prstGeom>
          <a:blipFill>
            <a:blip r:embed="rId2" cstate="print"/>
            <a:stretch>
              <a:fillRect/>
            </a:stretch>
          </a:blipFill>
        </p:spPr>
        <p:txBody>
          <a:bodyPr wrap="square" lIns="0" tIns="0" rIns="0" bIns="0" rtlCol="0"/>
          <a:lstStyle/>
          <a:p>
            <a:endParaRPr/>
          </a:p>
        </p:txBody>
      </p:sp>
      <p:sp>
        <p:nvSpPr>
          <p:cNvPr id="7" name="object 7"/>
          <p:cNvSpPr txBox="1"/>
          <p:nvPr/>
        </p:nvSpPr>
        <p:spPr>
          <a:xfrm>
            <a:off x="214375" y="2114804"/>
            <a:ext cx="3341370" cy="1802130"/>
          </a:xfrm>
          <a:prstGeom prst="rect">
            <a:avLst/>
          </a:prstGeom>
        </p:spPr>
        <p:txBody>
          <a:bodyPr vert="horz" wrap="square" lIns="0" tIns="13335" rIns="0" bIns="0" rtlCol="0">
            <a:spAutoFit/>
          </a:bodyPr>
          <a:lstStyle/>
          <a:p>
            <a:pPr marL="182880" marR="5080" indent="-170815">
              <a:lnSpc>
                <a:spcPct val="100000"/>
              </a:lnSpc>
              <a:spcBef>
                <a:spcPts val="105"/>
              </a:spcBef>
              <a:buClr>
                <a:srgbClr val="006FAC"/>
              </a:buClr>
              <a:buFont typeface="Wingdings"/>
              <a:buChar char=""/>
              <a:tabLst>
                <a:tab pos="183515" algn="l"/>
              </a:tabLst>
            </a:pPr>
            <a:r>
              <a:rPr sz="800">
                <a:latin typeface="Verdana"/>
                <a:cs typeface="Verdana"/>
              </a:rPr>
              <a:t>BMW </a:t>
            </a:r>
            <a:r>
              <a:rPr sz="800" spc="-5">
                <a:latin typeface="Verdana"/>
                <a:cs typeface="Verdana"/>
              </a:rPr>
              <a:t>was using </a:t>
            </a:r>
            <a:r>
              <a:rPr sz="800">
                <a:latin typeface="Verdana"/>
                <a:cs typeface="Verdana"/>
              </a:rPr>
              <a:t>a very </a:t>
            </a:r>
            <a:r>
              <a:rPr sz="800" spc="-5">
                <a:latin typeface="Verdana"/>
                <a:cs typeface="Verdana"/>
              </a:rPr>
              <a:t>hands </a:t>
            </a:r>
            <a:r>
              <a:rPr sz="800">
                <a:latin typeface="Verdana"/>
                <a:cs typeface="Verdana"/>
              </a:rPr>
              <a:t>on, </a:t>
            </a:r>
            <a:r>
              <a:rPr sz="800" spc="-5">
                <a:latin typeface="Verdana"/>
                <a:cs typeface="Verdana"/>
              </a:rPr>
              <a:t>manual </a:t>
            </a:r>
            <a:r>
              <a:rPr sz="800">
                <a:latin typeface="Verdana"/>
                <a:cs typeface="Verdana"/>
              </a:rPr>
              <a:t>process </a:t>
            </a:r>
            <a:r>
              <a:rPr sz="800" spc="-5">
                <a:latin typeface="Verdana"/>
                <a:cs typeface="Verdana"/>
              </a:rPr>
              <a:t>to </a:t>
            </a:r>
            <a:r>
              <a:rPr sz="800">
                <a:latin typeface="Verdana"/>
                <a:cs typeface="Verdana"/>
              </a:rPr>
              <a:t>sell </a:t>
            </a:r>
            <a:r>
              <a:rPr sz="800" spc="-5">
                <a:latin typeface="Verdana"/>
                <a:cs typeface="Verdana"/>
              </a:rPr>
              <a:t>and  </a:t>
            </a:r>
            <a:r>
              <a:rPr sz="800">
                <a:latin typeface="Verdana"/>
                <a:cs typeface="Verdana"/>
              </a:rPr>
              <a:t>process </a:t>
            </a:r>
            <a:r>
              <a:rPr sz="800" spc="-5">
                <a:latin typeface="Verdana"/>
                <a:cs typeface="Verdana"/>
              </a:rPr>
              <a:t>their warranty </a:t>
            </a:r>
            <a:r>
              <a:rPr sz="800">
                <a:latin typeface="Verdana"/>
                <a:cs typeface="Verdana"/>
              </a:rPr>
              <a:t>products </a:t>
            </a:r>
            <a:r>
              <a:rPr sz="800" spc="-5">
                <a:latin typeface="Verdana"/>
                <a:cs typeface="Verdana"/>
              </a:rPr>
              <a:t>after the </a:t>
            </a:r>
            <a:r>
              <a:rPr sz="800">
                <a:latin typeface="Verdana"/>
                <a:cs typeface="Verdana"/>
              </a:rPr>
              <a:t>consumer  purchased </a:t>
            </a:r>
            <a:r>
              <a:rPr sz="800" spc="-5">
                <a:latin typeface="Verdana"/>
                <a:cs typeface="Verdana"/>
              </a:rPr>
              <a:t>the </a:t>
            </a:r>
            <a:r>
              <a:rPr sz="800">
                <a:latin typeface="Verdana"/>
                <a:cs typeface="Verdana"/>
              </a:rPr>
              <a:t>vehicle </a:t>
            </a:r>
            <a:r>
              <a:rPr sz="800" spc="-5">
                <a:latin typeface="Verdana"/>
                <a:cs typeface="Verdana"/>
              </a:rPr>
              <a:t>which </a:t>
            </a:r>
            <a:r>
              <a:rPr sz="800">
                <a:latin typeface="Verdana"/>
                <a:cs typeface="Verdana"/>
              </a:rPr>
              <a:t>involved a myriad of on premise  systems</a:t>
            </a:r>
          </a:p>
          <a:p>
            <a:pPr marL="182880" indent="-170815">
              <a:lnSpc>
                <a:spcPct val="100000"/>
              </a:lnSpc>
              <a:spcBef>
                <a:spcPts val="295"/>
              </a:spcBef>
              <a:buClr>
                <a:srgbClr val="006FAC"/>
              </a:buClr>
              <a:buFont typeface="Wingdings"/>
              <a:buChar char=""/>
              <a:tabLst>
                <a:tab pos="183515" algn="l"/>
              </a:tabLst>
            </a:pPr>
            <a:r>
              <a:rPr sz="800" spc="-5">
                <a:latin typeface="Verdana"/>
                <a:cs typeface="Verdana"/>
              </a:rPr>
              <a:t>High </a:t>
            </a:r>
            <a:r>
              <a:rPr sz="800">
                <a:latin typeface="Verdana"/>
                <a:cs typeface="Verdana"/>
              </a:rPr>
              <a:t>touch </a:t>
            </a:r>
            <a:r>
              <a:rPr sz="800" spc="-5">
                <a:latin typeface="Verdana"/>
                <a:cs typeface="Verdana"/>
              </a:rPr>
              <a:t>time to </a:t>
            </a:r>
            <a:r>
              <a:rPr sz="800">
                <a:latin typeface="Verdana"/>
                <a:cs typeface="Verdana"/>
              </a:rPr>
              <a:t>sell </a:t>
            </a:r>
            <a:r>
              <a:rPr sz="800" spc="-5">
                <a:latin typeface="Verdana"/>
                <a:cs typeface="Verdana"/>
              </a:rPr>
              <a:t>and </a:t>
            </a:r>
            <a:r>
              <a:rPr sz="800">
                <a:latin typeface="Verdana"/>
                <a:cs typeface="Verdana"/>
              </a:rPr>
              <a:t>process </a:t>
            </a:r>
            <a:r>
              <a:rPr sz="800" spc="-5">
                <a:latin typeface="Verdana"/>
                <a:cs typeface="Verdana"/>
              </a:rPr>
              <a:t>warranty</a:t>
            </a:r>
            <a:r>
              <a:rPr sz="800" spc="-25">
                <a:latin typeface="Verdana"/>
                <a:cs typeface="Verdana"/>
              </a:rPr>
              <a:t> </a:t>
            </a:r>
            <a:r>
              <a:rPr sz="800">
                <a:latin typeface="Verdana"/>
                <a:cs typeface="Verdana"/>
              </a:rPr>
              <a:t>products</a:t>
            </a:r>
          </a:p>
          <a:p>
            <a:pPr marL="182880" marR="76200" indent="-170815">
              <a:lnSpc>
                <a:spcPct val="100000"/>
              </a:lnSpc>
              <a:spcBef>
                <a:spcPts val="300"/>
              </a:spcBef>
              <a:buClr>
                <a:srgbClr val="006FAC"/>
              </a:buClr>
              <a:buFont typeface="Wingdings"/>
              <a:buChar char=""/>
              <a:tabLst>
                <a:tab pos="183515" algn="l"/>
              </a:tabLst>
            </a:pPr>
            <a:r>
              <a:rPr sz="800" spc="-5">
                <a:latin typeface="Verdana"/>
                <a:cs typeface="Verdana"/>
              </a:rPr>
              <a:t>When </a:t>
            </a:r>
            <a:r>
              <a:rPr sz="800">
                <a:latin typeface="Verdana"/>
                <a:cs typeface="Verdana"/>
              </a:rPr>
              <a:t>new </a:t>
            </a:r>
            <a:r>
              <a:rPr sz="800" spc="-5">
                <a:latin typeface="Verdana"/>
                <a:cs typeface="Verdana"/>
              </a:rPr>
              <a:t>warranty </a:t>
            </a:r>
            <a:r>
              <a:rPr sz="800">
                <a:latin typeface="Verdana"/>
                <a:cs typeface="Verdana"/>
              </a:rPr>
              <a:t>products or programs were released,  </a:t>
            </a:r>
            <a:r>
              <a:rPr sz="800" spc="-5">
                <a:latin typeface="Verdana"/>
                <a:cs typeface="Verdana"/>
              </a:rPr>
              <a:t>the time to </a:t>
            </a:r>
            <a:r>
              <a:rPr sz="800">
                <a:latin typeface="Verdana"/>
                <a:cs typeface="Verdana"/>
              </a:rPr>
              <a:t>market </a:t>
            </a:r>
            <a:r>
              <a:rPr sz="800" spc="-5">
                <a:latin typeface="Verdana"/>
                <a:cs typeface="Verdana"/>
              </a:rPr>
              <a:t>was </a:t>
            </a:r>
            <a:r>
              <a:rPr sz="800">
                <a:latin typeface="Verdana"/>
                <a:cs typeface="Verdana"/>
              </a:rPr>
              <a:t>3+ months due </a:t>
            </a:r>
            <a:r>
              <a:rPr sz="800" spc="-5">
                <a:latin typeface="Verdana"/>
                <a:cs typeface="Verdana"/>
              </a:rPr>
              <a:t>to </a:t>
            </a:r>
            <a:r>
              <a:rPr sz="800">
                <a:latin typeface="Verdana"/>
                <a:cs typeface="Verdana"/>
              </a:rPr>
              <a:t>system upgrades  </a:t>
            </a:r>
            <a:r>
              <a:rPr sz="800" spc="-5">
                <a:latin typeface="Verdana"/>
                <a:cs typeface="Verdana"/>
              </a:rPr>
              <a:t>to manage the </a:t>
            </a:r>
            <a:r>
              <a:rPr sz="800">
                <a:latin typeface="Verdana"/>
                <a:cs typeface="Verdana"/>
              </a:rPr>
              <a:t>new</a:t>
            </a:r>
            <a:r>
              <a:rPr sz="800" spc="5">
                <a:latin typeface="Verdana"/>
                <a:cs typeface="Verdana"/>
              </a:rPr>
              <a:t> </a:t>
            </a:r>
            <a:r>
              <a:rPr sz="800">
                <a:latin typeface="Verdana"/>
                <a:cs typeface="Verdana"/>
              </a:rPr>
              <a:t>products</a:t>
            </a:r>
          </a:p>
          <a:p>
            <a:pPr marL="182880" marR="337185" indent="-170815">
              <a:lnSpc>
                <a:spcPct val="100000"/>
              </a:lnSpc>
              <a:spcBef>
                <a:spcPts val="305"/>
              </a:spcBef>
              <a:buClr>
                <a:srgbClr val="006FAC"/>
              </a:buClr>
              <a:buFont typeface="Wingdings"/>
              <a:buChar char=""/>
              <a:tabLst>
                <a:tab pos="183515" algn="l"/>
              </a:tabLst>
            </a:pPr>
            <a:r>
              <a:rPr sz="800" spc="-5">
                <a:latin typeface="Verdana"/>
                <a:cs typeface="Verdana"/>
              </a:rPr>
              <a:t>Manual </a:t>
            </a:r>
            <a:r>
              <a:rPr sz="800">
                <a:latin typeface="Verdana"/>
                <a:cs typeface="Verdana"/>
              </a:rPr>
              <a:t>enter </a:t>
            </a:r>
            <a:r>
              <a:rPr sz="800" spc="-5">
                <a:latin typeface="Verdana"/>
                <a:cs typeface="Verdana"/>
              </a:rPr>
              <a:t>many data points into </a:t>
            </a:r>
            <a:r>
              <a:rPr sz="800">
                <a:latin typeface="Verdana"/>
                <a:cs typeface="Verdana"/>
              </a:rPr>
              <a:t>a contract </a:t>
            </a:r>
            <a:r>
              <a:rPr sz="800" spc="-5">
                <a:latin typeface="Verdana"/>
                <a:cs typeface="Verdana"/>
              </a:rPr>
              <a:t>and </a:t>
            </a:r>
            <a:r>
              <a:rPr sz="800">
                <a:latin typeface="Verdana"/>
                <a:cs typeface="Verdana"/>
              </a:rPr>
              <a:t>on-  premise</a:t>
            </a:r>
            <a:r>
              <a:rPr sz="800" spc="-25">
                <a:latin typeface="Verdana"/>
                <a:cs typeface="Verdana"/>
              </a:rPr>
              <a:t> </a:t>
            </a:r>
            <a:r>
              <a:rPr sz="800">
                <a:latin typeface="Verdana"/>
                <a:cs typeface="Verdana"/>
              </a:rPr>
              <a:t>systems</a:t>
            </a:r>
          </a:p>
          <a:p>
            <a:pPr marL="182880" indent="-170815">
              <a:lnSpc>
                <a:spcPct val="100000"/>
              </a:lnSpc>
              <a:spcBef>
                <a:spcPts val="300"/>
              </a:spcBef>
              <a:buClr>
                <a:srgbClr val="006FAC"/>
              </a:buClr>
              <a:buFont typeface="Wingdings"/>
              <a:buChar char=""/>
              <a:tabLst>
                <a:tab pos="183515" algn="l"/>
              </a:tabLst>
            </a:pPr>
            <a:r>
              <a:rPr sz="800">
                <a:latin typeface="Verdana"/>
                <a:cs typeface="Verdana"/>
              </a:rPr>
              <a:t>No </a:t>
            </a:r>
            <a:r>
              <a:rPr sz="800" spc="-5">
                <a:latin typeface="Verdana"/>
                <a:cs typeface="Verdana"/>
              </a:rPr>
              <a:t>real-time </a:t>
            </a:r>
            <a:r>
              <a:rPr sz="800">
                <a:latin typeface="Verdana"/>
                <a:cs typeface="Verdana"/>
              </a:rPr>
              <a:t>access </a:t>
            </a:r>
            <a:r>
              <a:rPr sz="800" spc="-5">
                <a:latin typeface="Verdana"/>
                <a:cs typeface="Verdana"/>
              </a:rPr>
              <a:t>to the </a:t>
            </a:r>
            <a:r>
              <a:rPr sz="800">
                <a:latin typeface="Verdana"/>
                <a:cs typeface="Verdana"/>
              </a:rPr>
              <a:t>contracts, or</a:t>
            </a:r>
            <a:r>
              <a:rPr sz="800" spc="-65">
                <a:latin typeface="Verdana"/>
                <a:cs typeface="Verdana"/>
              </a:rPr>
              <a:t> </a:t>
            </a:r>
            <a:r>
              <a:rPr sz="800">
                <a:latin typeface="Verdana"/>
                <a:cs typeface="Verdana"/>
              </a:rPr>
              <a:t>quotes</a:t>
            </a:r>
          </a:p>
          <a:p>
            <a:pPr marL="182880" marR="173990" indent="-170815">
              <a:lnSpc>
                <a:spcPct val="100000"/>
              </a:lnSpc>
              <a:spcBef>
                <a:spcPts val="300"/>
              </a:spcBef>
              <a:buClr>
                <a:srgbClr val="006FAC"/>
              </a:buClr>
              <a:buFont typeface="Wingdings"/>
              <a:buChar char=""/>
              <a:tabLst>
                <a:tab pos="183515" algn="l"/>
              </a:tabLst>
            </a:pPr>
            <a:r>
              <a:rPr sz="800" spc="-5">
                <a:latin typeface="Verdana"/>
                <a:cs typeface="Verdana"/>
              </a:rPr>
              <a:t>Challenging </a:t>
            </a:r>
            <a:r>
              <a:rPr sz="800">
                <a:latin typeface="Verdana"/>
                <a:cs typeface="Verdana"/>
              </a:rPr>
              <a:t>for service providers </a:t>
            </a:r>
            <a:r>
              <a:rPr sz="800" spc="-5">
                <a:latin typeface="Verdana"/>
                <a:cs typeface="Verdana"/>
              </a:rPr>
              <a:t>to </a:t>
            </a:r>
            <a:r>
              <a:rPr sz="800">
                <a:latin typeface="Verdana"/>
                <a:cs typeface="Verdana"/>
              </a:rPr>
              <a:t>access </a:t>
            </a:r>
            <a:r>
              <a:rPr sz="800" spc="-5">
                <a:latin typeface="Verdana"/>
                <a:cs typeface="Verdana"/>
              </a:rPr>
              <a:t>information </a:t>
            </a:r>
            <a:r>
              <a:rPr sz="800">
                <a:latin typeface="Verdana"/>
                <a:cs typeface="Verdana"/>
              </a:rPr>
              <a:t>on  </a:t>
            </a:r>
            <a:r>
              <a:rPr sz="800" spc="-5">
                <a:latin typeface="Verdana"/>
                <a:cs typeface="Verdana"/>
              </a:rPr>
              <a:t>what kind </a:t>
            </a:r>
            <a:r>
              <a:rPr sz="800">
                <a:latin typeface="Verdana"/>
                <a:cs typeface="Verdana"/>
              </a:rPr>
              <a:t>of</a:t>
            </a:r>
            <a:r>
              <a:rPr sz="800" spc="20">
                <a:latin typeface="Verdana"/>
                <a:cs typeface="Verdana"/>
              </a:rPr>
              <a:t> </a:t>
            </a:r>
            <a:r>
              <a:rPr sz="800" spc="-5">
                <a:latin typeface="Verdana"/>
                <a:cs typeface="Verdana"/>
              </a:rPr>
              <a:t>warranty</a:t>
            </a:r>
            <a:endParaRPr sz="800">
              <a:latin typeface="Verdana"/>
              <a:cs typeface="Verdana"/>
            </a:endParaRPr>
          </a:p>
        </p:txBody>
      </p:sp>
      <p:sp>
        <p:nvSpPr>
          <p:cNvPr id="8" name="object 8"/>
          <p:cNvSpPr txBox="1"/>
          <p:nvPr/>
        </p:nvSpPr>
        <p:spPr>
          <a:xfrm>
            <a:off x="3807967" y="2114804"/>
            <a:ext cx="4227195" cy="1078230"/>
          </a:xfrm>
          <a:prstGeom prst="rect">
            <a:avLst/>
          </a:prstGeom>
        </p:spPr>
        <p:txBody>
          <a:bodyPr vert="horz" wrap="square" lIns="0" tIns="13335" rIns="0" bIns="0" rtlCol="0">
            <a:spAutoFit/>
          </a:bodyPr>
          <a:lstStyle/>
          <a:p>
            <a:pPr marL="182880" marR="403860" indent="-170815">
              <a:lnSpc>
                <a:spcPct val="100000"/>
              </a:lnSpc>
              <a:spcBef>
                <a:spcPts val="105"/>
              </a:spcBef>
              <a:buClr>
                <a:srgbClr val="006FAC"/>
              </a:buClr>
              <a:buFont typeface="Wingdings"/>
              <a:buChar char=""/>
              <a:tabLst>
                <a:tab pos="183515" algn="l"/>
              </a:tabLst>
            </a:pPr>
            <a:r>
              <a:rPr sz="800">
                <a:latin typeface="Verdana"/>
                <a:cs typeface="Verdana"/>
              </a:rPr>
              <a:t>Salesforce Sales Cloud </a:t>
            </a:r>
            <a:r>
              <a:rPr sz="800" spc="-5">
                <a:latin typeface="Verdana"/>
                <a:cs typeface="Verdana"/>
              </a:rPr>
              <a:t>was </a:t>
            </a:r>
            <a:r>
              <a:rPr sz="800">
                <a:latin typeface="Verdana"/>
                <a:cs typeface="Verdana"/>
              </a:rPr>
              <a:t>used </a:t>
            </a:r>
            <a:r>
              <a:rPr sz="800" spc="-5">
                <a:latin typeface="Verdana"/>
                <a:cs typeface="Verdana"/>
              </a:rPr>
              <a:t>to enable </a:t>
            </a:r>
            <a:r>
              <a:rPr sz="800">
                <a:latin typeface="Verdana"/>
                <a:cs typeface="Verdana"/>
              </a:rPr>
              <a:t>workflows, </a:t>
            </a:r>
            <a:r>
              <a:rPr sz="800" spc="-5">
                <a:latin typeface="Verdana"/>
                <a:cs typeface="Verdana"/>
              </a:rPr>
              <a:t>approvals, </a:t>
            </a:r>
            <a:r>
              <a:rPr sz="800">
                <a:latin typeface="Verdana"/>
                <a:cs typeface="Verdana"/>
              </a:rPr>
              <a:t>APIs,  </a:t>
            </a:r>
            <a:r>
              <a:rPr sz="800" spc="-5">
                <a:latin typeface="Verdana"/>
                <a:cs typeface="Verdana"/>
              </a:rPr>
              <a:t>Lightning </a:t>
            </a:r>
            <a:r>
              <a:rPr sz="800">
                <a:latin typeface="Verdana"/>
                <a:cs typeface="Verdana"/>
              </a:rPr>
              <a:t>Components, </a:t>
            </a:r>
            <a:r>
              <a:rPr sz="800" spc="-5">
                <a:latin typeface="Verdana"/>
                <a:cs typeface="Verdana"/>
              </a:rPr>
              <a:t>and </a:t>
            </a:r>
            <a:r>
              <a:rPr sz="800">
                <a:latin typeface="Verdana"/>
                <a:cs typeface="Verdana"/>
              </a:rPr>
              <a:t>Reports &amp;</a:t>
            </a:r>
            <a:r>
              <a:rPr sz="800" spc="15">
                <a:latin typeface="Verdana"/>
                <a:cs typeface="Verdana"/>
              </a:rPr>
              <a:t> </a:t>
            </a:r>
            <a:r>
              <a:rPr sz="800">
                <a:latin typeface="Verdana"/>
                <a:cs typeface="Verdana"/>
              </a:rPr>
              <a:t>Dashboards</a:t>
            </a:r>
          </a:p>
          <a:p>
            <a:pPr marL="182880" marR="226060" indent="-170815">
              <a:lnSpc>
                <a:spcPct val="100000"/>
              </a:lnSpc>
              <a:spcBef>
                <a:spcPts val="300"/>
              </a:spcBef>
              <a:buClr>
                <a:srgbClr val="006FAC"/>
              </a:buClr>
              <a:buFont typeface="Wingdings"/>
              <a:buChar char=""/>
              <a:tabLst>
                <a:tab pos="183515" algn="l"/>
              </a:tabLst>
            </a:pPr>
            <a:r>
              <a:rPr sz="800">
                <a:latin typeface="Verdana"/>
                <a:cs typeface="Verdana"/>
              </a:rPr>
              <a:t>Salesforce </a:t>
            </a:r>
            <a:r>
              <a:rPr sz="800" b="1" spc="-5">
                <a:latin typeface="Verdana"/>
                <a:cs typeface="Verdana"/>
              </a:rPr>
              <a:t>CPQ </a:t>
            </a:r>
            <a:r>
              <a:rPr sz="800" spc="-5">
                <a:latin typeface="Verdana"/>
                <a:cs typeface="Verdana"/>
              </a:rPr>
              <a:t>was </a:t>
            </a:r>
            <a:r>
              <a:rPr sz="800">
                <a:latin typeface="Verdana"/>
                <a:cs typeface="Verdana"/>
              </a:rPr>
              <a:t>used </a:t>
            </a:r>
            <a:r>
              <a:rPr sz="800" spc="-5">
                <a:latin typeface="Verdana"/>
                <a:cs typeface="Verdana"/>
              </a:rPr>
              <a:t>to enable the enrollment </a:t>
            </a:r>
            <a:r>
              <a:rPr sz="800">
                <a:latin typeface="Verdana"/>
                <a:cs typeface="Verdana"/>
              </a:rPr>
              <a:t>of vehicles </a:t>
            </a:r>
            <a:r>
              <a:rPr sz="800" spc="-5">
                <a:latin typeface="Verdana"/>
                <a:cs typeface="Verdana"/>
              </a:rPr>
              <a:t>in warranty  </a:t>
            </a:r>
            <a:r>
              <a:rPr sz="800">
                <a:latin typeface="Verdana"/>
                <a:cs typeface="Verdana"/>
              </a:rPr>
              <a:t>contract programs, </a:t>
            </a:r>
            <a:r>
              <a:rPr sz="800" spc="-5">
                <a:latin typeface="Verdana"/>
                <a:cs typeface="Verdana"/>
              </a:rPr>
              <a:t>and </a:t>
            </a:r>
            <a:r>
              <a:rPr sz="800">
                <a:latin typeface="Verdana"/>
                <a:cs typeface="Verdana"/>
              </a:rPr>
              <a:t>store </a:t>
            </a:r>
            <a:r>
              <a:rPr sz="800" spc="-5">
                <a:latin typeface="Verdana"/>
                <a:cs typeface="Verdana"/>
              </a:rPr>
              <a:t>the data </a:t>
            </a:r>
            <a:r>
              <a:rPr sz="800">
                <a:latin typeface="Verdana"/>
                <a:cs typeface="Verdana"/>
              </a:rPr>
              <a:t>for </a:t>
            </a:r>
            <a:r>
              <a:rPr sz="800" spc="-5">
                <a:latin typeface="Verdana"/>
                <a:cs typeface="Verdana"/>
              </a:rPr>
              <a:t>future </a:t>
            </a:r>
            <a:r>
              <a:rPr sz="800">
                <a:latin typeface="Verdana"/>
                <a:cs typeface="Verdana"/>
              </a:rPr>
              <a:t>use </a:t>
            </a:r>
            <a:r>
              <a:rPr sz="800" spc="-5">
                <a:latin typeface="Verdana"/>
                <a:cs typeface="Verdana"/>
              </a:rPr>
              <a:t>and </a:t>
            </a:r>
            <a:r>
              <a:rPr sz="800">
                <a:latin typeface="Verdana"/>
                <a:cs typeface="Verdana"/>
              </a:rPr>
              <a:t>reference by  dealerships, BMW NA, </a:t>
            </a:r>
            <a:r>
              <a:rPr sz="800" spc="-5">
                <a:latin typeface="Verdana"/>
                <a:cs typeface="Verdana"/>
              </a:rPr>
              <a:t>and </a:t>
            </a:r>
            <a:r>
              <a:rPr sz="800">
                <a:latin typeface="Verdana"/>
                <a:cs typeface="Verdana"/>
              </a:rPr>
              <a:t>service</a:t>
            </a:r>
            <a:r>
              <a:rPr sz="800" spc="-50">
                <a:latin typeface="Verdana"/>
                <a:cs typeface="Verdana"/>
              </a:rPr>
              <a:t> </a:t>
            </a:r>
            <a:r>
              <a:rPr sz="800">
                <a:latin typeface="Verdana"/>
                <a:cs typeface="Verdana"/>
              </a:rPr>
              <a:t>providers</a:t>
            </a:r>
          </a:p>
          <a:p>
            <a:pPr marL="182880" marR="5080" indent="-170815">
              <a:lnSpc>
                <a:spcPct val="100000"/>
              </a:lnSpc>
              <a:spcBef>
                <a:spcPts val="295"/>
              </a:spcBef>
              <a:buClr>
                <a:srgbClr val="006FAC"/>
              </a:buClr>
              <a:buFont typeface="Wingdings"/>
              <a:buChar char=""/>
              <a:tabLst>
                <a:tab pos="183515" algn="l"/>
              </a:tabLst>
            </a:pPr>
            <a:r>
              <a:rPr sz="800">
                <a:latin typeface="Verdana"/>
                <a:cs typeface="Verdana"/>
              </a:rPr>
              <a:t>Salesforce </a:t>
            </a:r>
            <a:r>
              <a:rPr sz="800" spc="-5">
                <a:latin typeface="Verdana"/>
                <a:cs typeface="Verdana"/>
              </a:rPr>
              <a:t>Community Cloud </a:t>
            </a:r>
            <a:r>
              <a:rPr sz="800">
                <a:latin typeface="Verdana"/>
                <a:cs typeface="Verdana"/>
              </a:rPr>
              <a:t>was used </a:t>
            </a:r>
            <a:r>
              <a:rPr sz="800" spc="-5">
                <a:latin typeface="Verdana"/>
                <a:cs typeface="Verdana"/>
              </a:rPr>
              <a:t>to enable </a:t>
            </a:r>
            <a:r>
              <a:rPr sz="800">
                <a:latin typeface="Verdana"/>
                <a:cs typeface="Verdana"/>
              </a:rPr>
              <a:t>dealers </a:t>
            </a:r>
            <a:r>
              <a:rPr sz="800" spc="-5">
                <a:latin typeface="Verdana"/>
                <a:cs typeface="Verdana"/>
              </a:rPr>
              <a:t>to </a:t>
            </a:r>
            <a:r>
              <a:rPr sz="800">
                <a:latin typeface="Verdana"/>
                <a:cs typeface="Verdana"/>
              </a:rPr>
              <a:t>have access </a:t>
            </a:r>
            <a:r>
              <a:rPr sz="800" spc="-5">
                <a:latin typeface="Verdana"/>
                <a:cs typeface="Verdana"/>
              </a:rPr>
              <a:t>to the  </a:t>
            </a:r>
            <a:r>
              <a:rPr sz="800">
                <a:latin typeface="Verdana"/>
                <a:cs typeface="Verdana"/>
              </a:rPr>
              <a:t>CPQ </a:t>
            </a:r>
            <a:r>
              <a:rPr sz="800" spc="-5">
                <a:latin typeface="Verdana"/>
                <a:cs typeface="Verdana"/>
              </a:rPr>
              <a:t>engine to built and </a:t>
            </a:r>
            <a:r>
              <a:rPr sz="800">
                <a:latin typeface="Verdana"/>
                <a:cs typeface="Verdana"/>
              </a:rPr>
              <a:t>generate </a:t>
            </a:r>
            <a:r>
              <a:rPr sz="800" spc="-5">
                <a:latin typeface="Verdana"/>
                <a:cs typeface="Verdana"/>
              </a:rPr>
              <a:t>the </a:t>
            </a:r>
            <a:r>
              <a:rPr sz="800">
                <a:latin typeface="Verdana"/>
                <a:cs typeface="Verdana"/>
              </a:rPr>
              <a:t>quotes </a:t>
            </a:r>
            <a:r>
              <a:rPr sz="800" spc="-5">
                <a:latin typeface="Verdana"/>
                <a:cs typeface="Verdana"/>
              </a:rPr>
              <a:t>and </a:t>
            </a:r>
            <a:r>
              <a:rPr sz="800">
                <a:latin typeface="Verdana"/>
                <a:cs typeface="Verdana"/>
              </a:rPr>
              <a:t>contracts, but not expose  </a:t>
            </a:r>
            <a:r>
              <a:rPr sz="800" spc="-5">
                <a:latin typeface="Verdana"/>
                <a:cs typeface="Verdana"/>
              </a:rPr>
              <a:t>confidential and </a:t>
            </a:r>
            <a:r>
              <a:rPr sz="800">
                <a:latin typeface="Verdana"/>
                <a:cs typeface="Verdana"/>
              </a:rPr>
              <a:t>proprietary BMW North America</a:t>
            </a:r>
            <a:r>
              <a:rPr sz="800" spc="-50">
                <a:latin typeface="Verdana"/>
                <a:cs typeface="Verdana"/>
              </a:rPr>
              <a:t> </a:t>
            </a:r>
            <a:r>
              <a:rPr sz="800" spc="-5">
                <a:latin typeface="Verdana"/>
                <a:cs typeface="Verdana"/>
              </a:rPr>
              <a:t>data</a:t>
            </a:r>
            <a:endParaRPr sz="800">
              <a:latin typeface="Verdana"/>
              <a:cs typeface="Verdana"/>
            </a:endParaRPr>
          </a:p>
        </p:txBody>
      </p:sp>
      <p:sp>
        <p:nvSpPr>
          <p:cNvPr id="9" name="object 9"/>
          <p:cNvSpPr txBox="1"/>
          <p:nvPr/>
        </p:nvSpPr>
        <p:spPr>
          <a:xfrm>
            <a:off x="8160511" y="2077313"/>
            <a:ext cx="3676015" cy="1961514"/>
          </a:xfrm>
          <a:prstGeom prst="rect">
            <a:avLst/>
          </a:prstGeom>
        </p:spPr>
        <p:txBody>
          <a:bodyPr vert="horz" wrap="square" lIns="0" tIns="50800" rIns="0" bIns="0" rtlCol="0">
            <a:spAutoFit/>
          </a:bodyPr>
          <a:lstStyle/>
          <a:p>
            <a:pPr marL="182880" indent="-170815">
              <a:lnSpc>
                <a:spcPct val="100000"/>
              </a:lnSpc>
              <a:spcBef>
                <a:spcPts val="400"/>
              </a:spcBef>
              <a:buClr>
                <a:srgbClr val="006FAC"/>
              </a:buClr>
              <a:buFont typeface="Wingdings"/>
              <a:buChar char=""/>
              <a:tabLst>
                <a:tab pos="183515" algn="l"/>
              </a:tabLst>
            </a:pPr>
            <a:r>
              <a:rPr sz="800" spc="-5">
                <a:latin typeface="Verdana"/>
                <a:cs typeface="Verdana"/>
              </a:rPr>
              <a:t>This is </a:t>
            </a:r>
            <a:r>
              <a:rPr sz="800">
                <a:latin typeface="Verdana"/>
                <a:cs typeface="Verdana"/>
              </a:rPr>
              <a:t>one of </a:t>
            </a:r>
            <a:r>
              <a:rPr sz="800" spc="-5">
                <a:latin typeface="Verdana"/>
                <a:cs typeface="Verdana"/>
              </a:rPr>
              <a:t>the </a:t>
            </a:r>
            <a:r>
              <a:rPr sz="800">
                <a:latin typeface="Verdana"/>
                <a:cs typeface="Verdana"/>
              </a:rPr>
              <a:t>first large-scale cloud </a:t>
            </a:r>
            <a:r>
              <a:rPr sz="800" spc="-5">
                <a:latin typeface="Verdana"/>
                <a:cs typeface="Verdana"/>
              </a:rPr>
              <a:t>projects at </a:t>
            </a:r>
            <a:r>
              <a:rPr sz="800">
                <a:latin typeface="Verdana"/>
                <a:cs typeface="Verdana"/>
              </a:rPr>
              <a:t>BMW</a:t>
            </a:r>
            <a:r>
              <a:rPr sz="800" spc="-15">
                <a:latin typeface="Verdana"/>
                <a:cs typeface="Verdana"/>
              </a:rPr>
              <a:t> </a:t>
            </a:r>
            <a:r>
              <a:rPr sz="800">
                <a:latin typeface="Verdana"/>
                <a:cs typeface="Verdana"/>
              </a:rPr>
              <a:t>NA</a:t>
            </a:r>
          </a:p>
          <a:p>
            <a:pPr marL="182880" marR="111760" indent="-170815">
              <a:lnSpc>
                <a:spcPct val="100000"/>
              </a:lnSpc>
              <a:spcBef>
                <a:spcPts val="300"/>
              </a:spcBef>
              <a:buClr>
                <a:srgbClr val="006FAC"/>
              </a:buClr>
              <a:buFont typeface="Wingdings"/>
              <a:buChar char=""/>
              <a:tabLst>
                <a:tab pos="183515" algn="l"/>
              </a:tabLst>
            </a:pPr>
            <a:r>
              <a:rPr sz="800">
                <a:latin typeface="Verdana"/>
                <a:cs typeface="Verdana"/>
              </a:rPr>
              <a:t>Time </a:t>
            </a:r>
            <a:r>
              <a:rPr sz="800" spc="-5">
                <a:latin typeface="Verdana"/>
                <a:cs typeface="Verdana"/>
              </a:rPr>
              <a:t>to </a:t>
            </a:r>
            <a:r>
              <a:rPr sz="800">
                <a:latin typeface="Verdana"/>
                <a:cs typeface="Verdana"/>
              </a:rPr>
              <a:t>market </a:t>
            </a:r>
            <a:r>
              <a:rPr sz="800" spc="-5">
                <a:latin typeface="Verdana"/>
                <a:cs typeface="Verdana"/>
              </a:rPr>
              <a:t>has </a:t>
            </a:r>
            <a:r>
              <a:rPr sz="800">
                <a:latin typeface="Verdana"/>
                <a:cs typeface="Verdana"/>
              </a:rPr>
              <a:t>been reduced from 3+ months </a:t>
            </a:r>
            <a:r>
              <a:rPr sz="800" spc="-5">
                <a:latin typeface="Verdana"/>
                <a:cs typeface="Verdana"/>
              </a:rPr>
              <a:t>to minutes </a:t>
            </a:r>
            <a:r>
              <a:rPr sz="800">
                <a:latin typeface="Verdana"/>
                <a:cs typeface="Verdana"/>
              </a:rPr>
              <a:t>for  new </a:t>
            </a:r>
            <a:r>
              <a:rPr sz="800" spc="-5">
                <a:latin typeface="Verdana"/>
                <a:cs typeface="Verdana"/>
              </a:rPr>
              <a:t>warranty </a:t>
            </a:r>
            <a:r>
              <a:rPr sz="800">
                <a:latin typeface="Verdana"/>
                <a:cs typeface="Verdana"/>
              </a:rPr>
              <a:t>programs </a:t>
            </a:r>
            <a:r>
              <a:rPr sz="800" spc="-5">
                <a:latin typeface="Verdana"/>
                <a:cs typeface="Verdana"/>
              </a:rPr>
              <a:t>and </a:t>
            </a:r>
            <a:r>
              <a:rPr sz="800">
                <a:latin typeface="Verdana"/>
                <a:cs typeface="Verdana"/>
              </a:rPr>
              <a:t>products, </a:t>
            </a:r>
            <a:r>
              <a:rPr sz="800" spc="-5">
                <a:latin typeface="Verdana"/>
                <a:cs typeface="Verdana"/>
              </a:rPr>
              <a:t>which </a:t>
            </a:r>
            <a:r>
              <a:rPr sz="800">
                <a:latin typeface="Verdana"/>
                <a:cs typeface="Verdana"/>
              </a:rPr>
              <a:t>can be done by a  business person, </a:t>
            </a:r>
            <a:r>
              <a:rPr sz="800" spc="-5">
                <a:latin typeface="Verdana"/>
                <a:cs typeface="Verdana"/>
              </a:rPr>
              <a:t>rather than </a:t>
            </a:r>
            <a:r>
              <a:rPr sz="800">
                <a:latin typeface="Verdana"/>
                <a:cs typeface="Verdana"/>
              </a:rPr>
              <a:t>an IT </a:t>
            </a:r>
            <a:r>
              <a:rPr sz="800" spc="-5">
                <a:latin typeface="Verdana"/>
                <a:cs typeface="Verdana"/>
              </a:rPr>
              <a:t>project</a:t>
            </a:r>
            <a:r>
              <a:rPr sz="800" spc="-60">
                <a:latin typeface="Verdana"/>
                <a:cs typeface="Verdana"/>
              </a:rPr>
              <a:t> </a:t>
            </a:r>
            <a:r>
              <a:rPr sz="800">
                <a:latin typeface="Verdana"/>
                <a:cs typeface="Verdana"/>
              </a:rPr>
              <a:t>team</a:t>
            </a:r>
          </a:p>
          <a:p>
            <a:pPr marL="182880" marR="74295" indent="-170815">
              <a:lnSpc>
                <a:spcPct val="100000"/>
              </a:lnSpc>
              <a:spcBef>
                <a:spcPts val="300"/>
              </a:spcBef>
              <a:buClr>
                <a:srgbClr val="006FAC"/>
              </a:buClr>
              <a:buFont typeface="Wingdings"/>
              <a:buChar char=""/>
              <a:tabLst>
                <a:tab pos="183515" algn="l"/>
              </a:tabLst>
            </a:pPr>
            <a:r>
              <a:rPr sz="800" spc="-5">
                <a:latin typeface="Verdana"/>
                <a:cs typeface="Verdana"/>
              </a:rPr>
              <a:t>The </a:t>
            </a:r>
            <a:r>
              <a:rPr sz="800">
                <a:latin typeface="Verdana"/>
                <a:cs typeface="Verdana"/>
              </a:rPr>
              <a:t>system </a:t>
            </a:r>
            <a:r>
              <a:rPr sz="800" spc="-5">
                <a:latin typeface="Verdana"/>
                <a:cs typeface="Verdana"/>
              </a:rPr>
              <a:t>is easy-to-use and intuitive, which </a:t>
            </a:r>
            <a:r>
              <a:rPr sz="800">
                <a:latin typeface="Verdana"/>
                <a:cs typeface="Verdana"/>
              </a:rPr>
              <a:t>removes </a:t>
            </a:r>
            <a:r>
              <a:rPr sz="800" spc="-5">
                <a:latin typeface="Verdana"/>
                <a:cs typeface="Verdana"/>
              </a:rPr>
              <a:t>the </a:t>
            </a:r>
            <a:r>
              <a:rPr sz="800">
                <a:latin typeface="Verdana"/>
                <a:cs typeface="Verdana"/>
              </a:rPr>
              <a:t>need  for an admin or </a:t>
            </a:r>
            <a:r>
              <a:rPr sz="800" spc="-5">
                <a:latin typeface="Verdana"/>
                <a:cs typeface="Verdana"/>
              </a:rPr>
              <a:t>part-time </a:t>
            </a:r>
            <a:r>
              <a:rPr sz="800">
                <a:latin typeface="Verdana"/>
                <a:cs typeface="Verdana"/>
              </a:rPr>
              <a:t>employee </a:t>
            </a:r>
            <a:r>
              <a:rPr sz="800" spc="-5">
                <a:latin typeface="Verdana"/>
                <a:cs typeface="Verdana"/>
              </a:rPr>
              <a:t>to </a:t>
            </a:r>
            <a:r>
              <a:rPr sz="800">
                <a:latin typeface="Verdana"/>
                <a:cs typeface="Verdana"/>
              </a:rPr>
              <a:t>work on </a:t>
            </a:r>
            <a:r>
              <a:rPr sz="800" spc="-5">
                <a:latin typeface="Verdana"/>
                <a:cs typeface="Verdana"/>
              </a:rPr>
              <a:t>manually enrolling  the warranties at the</a:t>
            </a:r>
            <a:r>
              <a:rPr sz="800" spc="-10">
                <a:latin typeface="Verdana"/>
                <a:cs typeface="Verdana"/>
              </a:rPr>
              <a:t> </a:t>
            </a:r>
            <a:r>
              <a:rPr sz="800">
                <a:latin typeface="Verdana"/>
                <a:cs typeface="Verdana"/>
              </a:rPr>
              <a:t>dealership</a:t>
            </a:r>
          </a:p>
          <a:p>
            <a:pPr marL="182880" marR="5080" indent="-170815">
              <a:lnSpc>
                <a:spcPct val="100000"/>
              </a:lnSpc>
              <a:spcBef>
                <a:spcPts val="300"/>
              </a:spcBef>
              <a:buClr>
                <a:srgbClr val="006FAC"/>
              </a:buClr>
              <a:buFont typeface="Wingdings"/>
              <a:buChar char=""/>
              <a:tabLst>
                <a:tab pos="183515" algn="l"/>
              </a:tabLst>
            </a:pPr>
            <a:r>
              <a:rPr sz="800" spc="-5">
                <a:latin typeface="Verdana"/>
                <a:cs typeface="Verdana"/>
              </a:rPr>
              <a:t>Guided selling </a:t>
            </a:r>
            <a:r>
              <a:rPr sz="800">
                <a:latin typeface="Verdana"/>
                <a:cs typeface="Verdana"/>
              </a:rPr>
              <a:t>helps dealerships know </a:t>
            </a:r>
            <a:r>
              <a:rPr sz="800" spc="-5">
                <a:latin typeface="Verdana"/>
                <a:cs typeface="Verdana"/>
              </a:rPr>
              <a:t>what warranty </a:t>
            </a:r>
            <a:r>
              <a:rPr sz="800">
                <a:latin typeface="Verdana"/>
                <a:cs typeface="Verdana"/>
              </a:rPr>
              <a:t>products each  </a:t>
            </a:r>
            <a:r>
              <a:rPr sz="800" spc="5">
                <a:latin typeface="Verdana"/>
                <a:cs typeface="Verdana"/>
              </a:rPr>
              <a:t>VIN </a:t>
            </a:r>
            <a:r>
              <a:rPr sz="800" spc="-5">
                <a:latin typeface="Verdana"/>
                <a:cs typeface="Verdana"/>
              </a:rPr>
              <a:t>is eligible </a:t>
            </a:r>
            <a:r>
              <a:rPr sz="800">
                <a:latin typeface="Verdana"/>
                <a:cs typeface="Verdana"/>
              </a:rPr>
              <a:t>for </a:t>
            </a:r>
            <a:r>
              <a:rPr sz="800" spc="-5">
                <a:latin typeface="Verdana"/>
                <a:cs typeface="Verdana"/>
              </a:rPr>
              <a:t>to </a:t>
            </a:r>
            <a:r>
              <a:rPr sz="800">
                <a:latin typeface="Verdana"/>
                <a:cs typeface="Verdana"/>
              </a:rPr>
              <a:t>reduce </a:t>
            </a:r>
            <a:r>
              <a:rPr sz="800" spc="-5">
                <a:latin typeface="Verdana"/>
                <a:cs typeface="Verdana"/>
              </a:rPr>
              <a:t>human</a:t>
            </a:r>
            <a:r>
              <a:rPr sz="800" spc="10">
                <a:latin typeface="Verdana"/>
                <a:cs typeface="Verdana"/>
              </a:rPr>
              <a:t> </a:t>
            </a:r>
            <a:r>
              <a:rPr sz="800">
                <a:latin typeface="Verdana"/>
                <a:cs typeface="Verdana"/>
              </a:rPr>
              <a:t>error</a:t>
            </a:r>
          </a:p>
          <a:p>
            <a:pPr marL="182880" marR="137795" indent="-170815">
              <a:lnSpc>
                <a:spcPct val="100000"/>
              </a:lnSpc>
              <a:spcBef>
                <a:spcPts val="300"/>
              </a:spcBef>
              <a:buClr>
                <a:srgbClr val="006FAC"/>
              </a:buClr>
              <a:buFont typeface="Wingdings"/>
              <a:buChar char=""/>
              <a:tabLst>
                <a:tab pos="183515" algn="l"/>
              </a:tabLst>
            </a:pPr>
            <a:r>
              <a:rPr sz="800" spc="-5">
                <a:latin typeface="Verdana"/>
                <a:cs typeface="Verdana"/>
              </a:rPr>
              <a:t>Communities is the </a:t>
            </a:r>
            <a:r>
              <a:rPr sz="800">
                <a:latin typeface="Verdana"/>
                <a:cs typeface="Verdana"/>
              </a:rPr>
              <a:t>first </a:t>
            </a:r>
            <a:r>
              <a:rPr sz="800" spc="-5">
                <a:latin typeface="Verdana"/>
                <a:cs typeface="Verdana"/>
              </a:rPr>
              <a:t>project enabling </a:t>
            </a:r>
            <a:r>
              <a:rPr sz="800">
                <a:latin typeface="Verdana"/>
                <a:cs typeface="Verdana"/>
              </a:rPr>
              <a:t>a </a:t>
            </a:r>
            <a:r>
              <a:rPr sz="800" spc="-5">
                <a:latin typeface="Verdana"/>
                <a:cs typeface="Verdana"/>
              </a:rPr>
              <a:t>link </a:t>
            </a:r>
            <a:r>
              <a:rPr sz="800">
                <a:latin typeface="Verdana"/>
                <a:cs typeface="Verdana"/>
              </a:rPr>
              <a:t>between BMW </a:t>
            </a:r>
            <a:r>
              <a:rPr sz="800" spc="-5">
                <a:latin typeface="Verdana"/>
                <a:cs typeface="Verdana"/>
              </a:rPr>
              <a:t>NA  and the </a:t>
            </a:r>
            <a:r>
              <a:rPr sz="800">
                <a:latin typeface="Verdana"/>
                <a:cs typeface="Verdana"/>
              </a:rPr>
              <a:t>dealerships </a:t>
            </a:r>
            <a:r>
              <a:rPr sz="800" spc="-5">
                <a:latin typeface="Verdana"/>
                <a:cs typeface="Verdana"/>
              </a:rPr>
              <a:t>in the </a:t>
            </a:r>
            <a:r>
              <a:rPr sz="800">
                <a:latin typeface="Verdana"/>
                <a:cs typeface="Verdana"/>
              </a:rPr>
              <a:t>cloud, opening up a myriad of  </a:t>
            </a:r>
            <a:r>
              <a:rPr sz="800" spc="-5">
                <a:latin typeface="Verdana"/>
                <a:cs typeface="Verdana"/>
              </a:rPr>
              <a:t>opportunities to </a:t>
            </a:r>
            <a:r>
              <a:rPr sz="800">
                <a:latin typeface="Verdana"/>
                <a:cs typeface="Verdana"/>
              </a:rPr>
              <a:t>add</a:t>
            </a:r>
            <a:r>
              <a:rPr sz="800" spc="5">
                <a:latin typeface="Verdana"/>
                <a:cs typeface="Verdana"/>
              </a:rPr>
              <a:t> </a:t>
            </a:r>
            <a:r>
              <a:rPr sz="800" spc="-5">
                <a:latin typeface="Verdana"/>
                <a:cs typeface="Verdana"/>
              </a:rPr>
              <a:t>functionality</a:t>
            </a:r>
            <a:endParaRPr sz="800">
              <a:latin typeface="Verdana"/>
              <a:cs typeface="Verdana"/>
            </a:endParaRPr>
          </a:p>
          <a:p>
            <a:pPr marL="182880" marR="58419" indent="-170815">
              <a:lnSpc>
                <a:spcPct val="100000"/>
              </a:lnSpc>
              <a:spcBef>
                <a:spcPts val="300"/>
              </a:spcBef>
              <a:buClr>
                <a:srgbClr val="006FAC"/>
              </a:buClr>
              <a:buFont typeface="Wingdings"/>
              <a:buChar char=""/>
              <a:tabLst>
                <a:tab pos="183515" algn="l"/>
              </a:tabLst>
            </a:pPr>
            <a:r>
              <a:rPr sz="800">
                <a:latin typeface="Verdana"/>
                <a:cs typeface="Verdana"/>
              </a:rPr>
              <a:t>Service providers are </a:t>
            </a:r>
            <a:r>
              <a:rPr sz="800" spc="-5">
                <a:latin typeface="Verdana"/>
                <a:cs typeface="Verdana"/>
              </a:rPr>
              <a:t>able to pull warranty information </a:t>
            </a:r>
            <a:r>
              <a:rPr sz="800">
                <a:latin typeface="Verdana"/>
                <a:cs typeface="Verdana"/>
              </a:rPr>
              <a:t>on a </a:t>
            </a:r>
            <a:r>
              <a:rPr sz="800" spc="5">
                <a:latin typeface="Verdana"/>
                <a:cs typeface="Verdana"/>
              </a:rPr>
              <a:t>VIN </a:t>
            </a:r>
            <a:r>
              <a:rPr sz="800" spc="-5">
                <a:latin typeface="Verdana"/>
                <a:cs typeface="Verdana"/>
              </a:rPr>
              <a:t>in  real-time to </a:t>
            </a:r>
            <a:r>
              <a:rPr sz="800">
                <a:latin typeface="Verdana"/>
                <a:cs typeface="Verdana"/>
              </a:rPr>
              <a:t>ensure </a:t>
            </a:r>
            <a:r>
              <a:rPr sz="800" spc="-5">
                <a:latin typeface="Verdana"/>
                <a:cs typeface="Verdana"/>
              </a:rPr>
              <a:t>the </a:t>
            </a:r>
            <a:r>
              <a:rPr sz="800">
                <a:latin typeface="Verdana"/>
                <a:cs typeface="Verdana"/>
              </a:rPr>
              <a:t>vehicle </a:t>
            </a:r>
            <a:r>
              <a:rPr sz="800" spc="-5">
                <a:latin typeface="Verdana"/>
                <a:cs typeface="Verdana"/>
              </a:rPr>
              <a:t>is able to </a:t>
            </a:r>
            <a:r>
              <a:rPr sz="800">
                <a:latin typeface="Verdana"/>
                <a:cs typeface="Verdana"/>
              </a:rPr>
              <a:t>make a </a:t>
            </a:r>
            <a:r>
              <a:rPr sz="800" spc="-5">
                <a:latin typeface="Verdana"/>
                <a:cs typeface="Verdana"/>
              </a:rPr>
              <a:t>warranty</a:t>
            </a:r>
            <a:r>
              <a:rPr sz="800" spc="10">
                <a:latin typeface="Verdana"/>
                <a:cs typeface="Verdana"/>
              </a:rPr>
              <a:t> </a:t>
            </a:r>
            <a:r>
              <a:rPr sz="800">
                <a:latin typeface="Verdana"/>
                <a:cs typeface="Verdana"/>
              </a:rPr>
              <a:t>claim</a:t>
            </a:r>
          </a:p>
        </p:txBody>
      </p:sp>
      <p:sp>
        <p:nvSpPr>
          <p:cNvPr id="10" name="object 10"/>
          <p:cNvSpPr/>
          <p:nvPr/>
        </p:nvSpPr>
        <p:spPr>
          <a:xfrm>
            <a:off x="0" y="4315967"/>
            <a:ext cx="12192000" cy="365760"/>
          </a:xfrm>
          <a:custGeom>
            <a:avLst/>
            <a:gdLst/>
            <a:ahLst/>
            <a:cxnLst/>
            <a:rect l="l" t="t" r="r" b="b"/>
            <a:pathLst>
              <a:path w="12192000" h="365760">
                <a:moveTo>
                  <a:pt x="0" y="365760"/>
                </a:moveTo>
                <a:lnTo>
                  <a:pt x="12192000" y="365760"/>
                </a:lnTo>
                <a:lnTo>
                  <a:pt x="12192000" y="0"/>
                </a:lnTo>
                <a:lnTo>
                  <a:pt x="0" y="0"/>
                </a:lnTo>
                <a:lnTo>
                  <a:pt x="0" y="365760"/>
                </a:lnTo>
                <a:close/>
              </a:path>
            </a:pathLst>
          </a:custGeom>
          <a:solidFill>
            <a:srgbClr val="CDEFFA"/>
          </a:solidFill>
        </p:spPr>
        <p:txBody>
          <a:bodyPr wrap="square" lIns="0" tIns="0" rIns="0" bIns="0" rtlCol="0"/>
          <a:lstStyle/>
          <a:p>
            <a:endParaRPr/>
          </a:p>
        </p:txBody>
      </p:sp>
      <p:sp>
        <p:nvSpPr>
          <p:cNvPr id="11" name="object 11"/>
          <p:cNvSpPr txBox="1"/>
          <p:nvPr/>
        </p:nvSpPr>
        <p:spPr>
          <a:xfrm>
            <a:off x="170179" y="4348098"/>
            <a:ext cx="11937365" cy="299720"/>
          </a:xfrm>
          <a:prstGeom prst="rect">
            <a:avLst/>
          </a:prstGeom>
        </p:spPr>
        <p:txBody>
          <a:bodyPr vert="horz" wrap="square" lIns="0" tIns="12700" rIns="0" bIns="0" rtlCol="0">
            <a:spAutoFit/>
          </a:bodyPr>
          <a:lstStyle/>
          <a:p>
            <a:pPr marL="12700" marR="5080">
              <a:lnSpc>
                <a:spcPct val="100000"/>
              </a:lnSpc>
              <a:spcBef>
                <a:spcPts val="100"/>
              </a:spcBef>
            </a:pPr>
            <a:r>
              <a:rPr sz="900" b="1" spc="-5">
                <a:latin typeface="Verdana"/>
                <a:cs typeface="Verdana"/>
              </a:rPr>
              <a:t>Market Unit: </a:t>
            </a:r>
            <a:r>
              <a:rPr sz="900" spc="-5">
                <a:latin typeface="Verdana"/>
                <a:cs typeface="Verdana"/>
              </a:rPr>
              <a:t>Automotive </a:t>
            </a:r>
            <a:r>
              <a:rPr sz="900" b="1">
                <a:latin typeface="Verdana"/>
                <a:cs typeface="Verdana"/>
              </a:rPr>
              <a:t>| </a:t>
            </a:r>
            <a:r>
              <a:rPr sz="900" b="1" spc="-5">
                <a:latin typeface="Verdana"/>
                <a:cs typeface="Verdana"/>
              </a:rPr>
              <a:t>Technology: </a:t>
            </a:r>
            <a:r>
              <a:rPr sz="900" spc="-5">
                <a:latin typeface="Verdana"/>
                <a:cs typeface="Verdana"/>
              </a:rPr>
              <a:t>Salesforce </a:t>
            </a:r>
            <a:r>
              <a:rPr sz="900">
                <a:latin typeface="Verdana"/>
                <a:cs typeface="Verdana"/>
              </a:rPr>
              <a:t>Sales </a:t>
            </a:r>
            <a:r>
              <a:rPr sz="900" spc="-5">
                <a:latin typeface="Verdana"/>
                <a:cs typeface="Verdana"/>
              </a:rPr>
              <a:t>Cloud, CPQ and Community Cloud </a:t>
            </a:r>
            <a:r>
              <a:rPr sz="900" b="1">
                <a:latin typeface="Verdana"/>
                <a:cs typeface="Verdana"/>
              </a:rPr>
              <a:t>| </a:t>
            </a:r>
            <a:r>
              <a:rPr sz="900" b="1" spc="-5">
                <a:latin typeface="Verdana"/>
                <a:cs typeface="Verdana"/>
              </a:rPr>
              <a:t>Project duration: </a:t>
            </a:r>
            <a:r>
              <a:rPr sz="900">
                <a:latin typeface="Verdana"/>
                <a:cs typeface="Verdana"/>
              </a:rPr>
              <a:t>From 2018 </a:t>
            </a:r>
            <a:r>
              <a:rPr sz="900" b="1">
                <a:latin typeface="Verdana"/>
                <a:cs typeface="Verdana"/>
              </a:rPr>
              <a:t>| # </a:t>
            </a:r>
            <a:r>
              <a:rPr sz="900" b="1" spc="-5">
                <a:latin typeface="Verdana"/>
                <a:cs typeface="Verdana"/>
              </a:rPr>
              <a:t>Users: </a:t>
            </a:r>
            <a:r>
              <a:rPr sz="900" spc="-5">
                <a:latin typeface="Verdana"/>
                <a:cs typeface="Verdana"/>
              </a:rPr>
              <a:t>More than </a:t>
            </a:r>
            <a:r>
              <a:rPr sz="900">
                <a:latin typeface="Verdana"/>
                <a:cs typeface="Verdana"/>
              </a:rPr>
              <a:t>1500 </a:t>
            </a:r>
            <a:r>
              <a:rPr sz="900" b="1">
                <a:latin typeface="Verdana"/>
                <a:cs typeface="Verdana"/>
              </a:rPr>
              <a:t>| </a:t>
            </a:r>
            <a:r>
              <a:rPr sz="900" b="1" spc="-5">
                <a:latin typeface="Verdana"/>
                <a:cs typeface="Verdana"/>
              </a:rPr>
              <a:t>Deal value: </a:t>
            </a:r>
            <a:r>
              <a:rPr sz="900">
                <a:latin typeface="Verdana"/>
                <a:cs typeface="Verdana"/>
              </a:rPr>
              <a:t>$ </a:t>
            </a:r>
            <a:r>
              <a:rPr sz="900" spc="-5">
                <a:latin typeface="Verdana"/>
                <a:cs typeface="Verdana"/>
              </a:rPr>
              <a:t>1.6 Mn </a:t>
            </a:r>
            <a:r>
              <a:rPr sz="900" b="1">
                <a:latin typeface="Verdana"/>
                <a:cs typeface="Verdana"/>
              </a:rPr>
              <a:t>| </a:t>
            </a:r>
            <a:r>
              <a:rPr sz="900" b="1" spc="-5">
                <a:latin typeface="Verdana"/>
                <a:cs typeface="Verdana"/>
              </a:rPr>
              <a:t>Country: </a:t>
            </a:r>
            <a:r>
              <a:rPr sz="900">
                <a:latin typeface="Verdana"/>
                <a:cs typeface="Verdana"/>
              </a:rPr>
              <a:t>North America  </a:t>
            </a:r>
            <a:r>
              <a:rPr sz="900" spc="-5">
                <a:latin typeface="Verdana"/>
                <a:cs typeface="Verdana"/>
              </a:rPr>
              <a:t>with </a:t>
            </a:r>
            <a:r>
              <a:rPr sz="900">
                <a:latin typeface="Verdana"/>
                <a:cs typeface="Verdana"/>
              </a:rPr>
              <a:t>a </a:t>
            </a:r>
            <a:r>
              <a:rPr sz="900" spc="-5">
                <a:latin typeface="Verdana"/>
                <a:cs typeface="Verdana"/>
              </a:rPr>
              <a:t>deployment over </a:t>
            </a:r>
            <a:r>
              <a:rPr sz="900">
                <a:latin typeface="Verdana"/>
                <a:cs typeface="Verdana"/>
              </a:rPr>
              <a:t>50</a:t>
            </a:r>
            <a:r>
              <a:rPr sz="900" spc="-5">
                <a:latin typeface="Verdana"/>
                <a:cs typeface="Verdana"/>
              </a:rPr>
              <a:t> States</a:t>
            </a:r>
            <a:endParaRPr sz="900">
              <a:latin typeface="Verdana"/>
              <a:cs typeface="Verdana"/>
            </a:endParaRPr>
          </a:p>
        </p:txBody>
      </p:sp>
      <p:sp>
        <p:nvSpPr>
          <p:cNvPr id="12" name="object 12"/>
          <p:cNvSpPr/>
          <p:nvPr/>
        </p:nvSpPr>
        <p:spPr>
          <a:xfrm>
            <a:off x="3748419" y="1671904"/>
            <a:ext cx="419100" cy="408305"/>
          </a:xfrm>
          <a:custGeom>
            <a:avLst/>
            <a:gdLst/>
            <a:ahLst/>
            <a:cxnLst/>
            <a:rect l="l" t="t" r="r" b="b"/>
            <a:pathLst>
              <a:path w="419100" h="408305">
                <a:moveTo>
                  <a:pt x="220410" y="0"/>
                </a:moveTo>
                <a:lnTo>
                  <a:pt x="174041" y="3359"/>
                </a:lnTo>
                <a:lnTo>
                  <a:pt x="128800" y="16922"/>
                </a:lnTo>
                <a:lnTo>
                  <a:pt x="86472" y="40944"/>
                </a:lnTo>
                <a:lnTo>
                  <a:pt x="50641" y="73628"/>
                </a:lnTo>
                <a:lnTo>
                  <a:pt x="24104" y="112160"/>
                </a:lnTo>
                <a:lnTo>
                  <a:pt x="7132" y="154788"/>
                </a:lnTo>
                <a:lnTo>
                  <a:pt x="0" y="199754"/>
                </a:lnTo>
                <a:lnTo>
                  <a:pt x="2980" y="245305"/>
                </a:lnTo>
                <a:lnTo>
                  <a:pt x="16346" y="289685"/>
                </a:lnTo>
                <a:lnTo>
                  <a:pt x="40371" y="331139"/>
                </a:lnTo>
                <a:lnTo>
                  <a:pt x="73073" y="365516"/>
                </a:lnTo>
                <a:lnTo>
                  <a:pt x="111067" y="389713"/>
                </a:lnTo>
                <a:lnTo>
                  <a:pt x="152848" y="403878"/>
                </a:lnTo>
                <a:lnTo>
                  <a:pt x="196914" y="408157"/>
                </a:lnTo>
                <a:lnTo>
                  <a:pt x="241759" y="402696"/>
                </a:lnTo>
                <a:lnTo>
                  <a:pt x="285879" y="387643"/>
                </a:lnTo>
                <a:lnTo>
                  <a:pt x="327772" y="363143"/>
                </a:lnTo>
                <a:lnTo>
                  <a:pt x="364025" y="330924"/>
                </a:lnTo>
                <a:lnTo>
                  <a:pt x="391651" y="293850"/>
                </a:lnTo>
                <a:lnTo>
                  <a:pt x="410111" y="253289"/>
                </a:lnTo>
                <a:lnTo>
                  <a:pt x="418865" y="210605"/>
                </a:lnTo>
                <a:lnTo>
                  <a:pt x="417374" y="167167"/>
                </a:lnTo>
                <a:lnTo>
                  <a:pt x="405096" y="124340"/>
                </a:lnTo>
                <a:lnTo>
                  <a:pt x="381493" y="83489"/>
                </a:lnTo>
                <a:lnTo>
                  <a:pt x="348449" y="48589"/>
                </a:lnTo>
                <a:lnTo>
                  <a:pt x="309398" y="22870"/>
                </a:lnTo>
                <a:lnTo>
                  <a:pt x="266123" y="6588"/>
                </a:lnTo>
                <a:lnTo>
                  <a:pt x="220410" y="0"/>
                </a:lnTo>
                <a:close/>
              </a:path>
            </a:pathLst>
          </a:custGeom>
          <a:solidFill>
            <a:srgbClr val="12ABDB"/>
          </a:solidFill>
        </p:spPr>
        <p:txBody>
          <a:bodyPr wrap="square" lIns="0" tIns="0" rIns="0" bIns="0" rtlCol="0"/>
          <a:lstStyle/>
          <a:p>
            <a:endParaRPr/>
          </a:p>
        </p:txBody>
      </p:sp>
      <p:sp>
        <p:nvSpPr>
          <p:cNvPr id="13" name="object 13"/>
          <p:cNvSpPr/>
          <p:nvPr/>
        </p:nvSpPr>
        <p:spPr>
          <a:xfrm>
            <a:off x="3748419" y="1671904"/>
            <a:ext cx="419100" cy="408305"/>
          </a:xfrm>
          <a:custGeom>
            <a:avLst/>
            <a:gdLst/>
            <a:ahLst/>
            <a:cxnLst/>
            <a:rect l="l" t="t" r="r" b="b"/>
            <a:pathLst>
              <a:path w="419100" h="408305">
                <a:moveTo>
                  <a:pt x="40371" y="331139"/>
                </a:moveTo>
                <a:lnTo>
                  <a:pt x="16346" y="289685"/>
                </a:lnTo>
                <a:lnTo>
                  <a:pt x="2980" y="245305"/>
                </a:lnTo>
                <a:lnTo>
                  <a:pt x="0" y="199754"/>
                </a:lnTo>
                <a:lnTo>
                  <a:pt x="7132" y="154788"/>
                </a:lnTo>
                <a:lnTo>
                  <a:pt x="24104" y="112160"/>
                </a:lnTo>
                <a:lnTo>
                  <a:pt x="50641" y="73628"/>
                </a:lnTo>
                <a:lnTo>
                  <a:pt x="86472" y="40944"/>
                </a:lnTo>
                <a:lnTo>
                  <a:pt x="128800" y="16922"/>
                </a:lnTo>
                <a:lnTo>
                  <a:pt x="174041" y="3359"/>
                </a:lnTo>
                <a:lnTo>
                  <a:pt x="220410" y="0"/>
                </a:lnTo>
                <a:lnTo>
                  <a:pt x="266123" y="6588"/>
                </a:lnTo>
                <a:lnTo>
                  <a:pt x="309398" y="22870"/>
                </a:lnTo>
                <a:lnTo>
                  <a:pt x="348449" y="48589"/>
                </a:lnTo>
                <a:lnTo>
                  <a:pt x="381493" y="83489"/>
                </a:lnTo>
                <a:lnTo>
                  <a:pt x="405096" y="124340"/>
                </a:lnTo>
                <a:lnTo>
                  <a:pt x="417374" y="167167"/>
                </a:lnTo>
                <a:lnTo>
                  <a:pt x="418865" y="210605"/>
                </a:lnTo>
                <a:lnTo>
                  <a:pt x="410111" y="253289"/>
                </a:lnTo>
                <a:lnTo>
                  <a:pt x="391651" y="293850"/>
                </a:lnTo>
                <a:lnTo>
                  <a:pt x="364025" y="330924"/>
                </a:lnTo>
                <a:lnTo>
                  <a:pt x="327772" y="363143"/>
                </a:lnTo>
                <a:lnTo>
                  <a:pt x="285879" y="387643"/>
                </a:lnTo>
                <a:lnTo>
                  <a:pt x="241759" y="402696"/>
                </a:lnTo>
                <a:lnTo>
                  <a:pt x="196914" y="408157"/>
                </a:lnTo>
                <a:lnTo>
                  <a:pt x="152848" y="403878"/>
                </a:lnTo>
                <a:lnTo>
                  <a:pt x="111067" y="389713"/>
                </a:lnTo>
                <a:lnTo>
                  <a:pt x="73073" y="365516"/>
                </a:lnTo>
                <a:lnTo>
                  <a:pt x="40371" y="331139"/>
                </a:lnTo>
              </a:path>
            </a:pathLst>
          </a:custGeom>
          <a:ln w="9144">
            <a:solidFill>
              <a:srgbClr val="FFFFFF"/>
            </a:solidFill>
          </a:ln>
        </p:spPr>
        <p:txBody>
          <a:bodyPr wrap="square" lIns="0" tIns="0" rIns="0" bIns="0" rtlCol="0"/>
          <a:lstStyle/>
          <a:p>
            <a:endParaRPr/>
          </a:p>
        </p:txBody>
      </p:sp>
      <p:sp>
        <p:nvSpPr>
          <p:cNvPr id="14" name="object 14"/>
          <p:cNvSpPr/>
          <p:nvPr/>
        </p:nvSpPr>
        <p:spPr>
          <a:xfrm>
            <a:off x="8497823" y="1725167"/>
            <a:ext cx="3418840" cy="297180"/>
          </a:xfrm>
          <a:custGeom>
            <a:avLst/>
            <a:gdLst/>
            <a:ahLst/>
            <a:cxnLst/>
            <a:rect l="l" t="t" r="r" b="b"/>
            <a:pathLst>
              <a:path w="3418840" h="297180">
                <a:moveTo>
                  <a:pt x="3368802" y="0"/>
                </a:moveTo>
                <a:lnTo>
                  <a:pt x="49529" y="0"/>
                </a:lnTo>
                <a:lnTo>
                  <a:pt x="30271" y="3899"/>
                </a:lnTo>
                <a:lnTo>
                  <a:pt x="14525" y="14525"/>
                </a:lnTo>
                <a:lnTo>
                  <a:pt x="3899" y="30271"/>
                </a:lnTo>
                <a:lnTo>
                  <a:pt x="0" y="49530"/>
                </a:lnTo>
                <a:lnTo>
                  <a:pt x="0" y="247650"/>
                </a:lnTo>
                <a:lnTo>
                  <a:pt x="3899" y="266908"/>
                </a:lnTo>
                <a:lnTo>
                  <a:pt x="14525" y="282654"/>
                </a:lnTo>
                <a:lnTo>
                  <a:pt x="30271" y="293280"/>
                </a:lnTo>
                <a:lnTo>
                  <a:pt x="49529" y="297180"/>
                </a:lnTo>
                <a:lnTo>
                  <a:pt x="3368802" y="297180"/>
                </a:lnTo>
                <a:lnTo>
                  <a:pt x="3388060" y="293280"/>
                </a:lnTo>
                <a:lnTo>
                  <a:pt x="3403806" y="282654"/>
                </a:lnTo>
                <a:lnTo>
                  <a:pt x="3414432" y="266908"/>
                </a:lnTo>
                <a:lnTo>
                  <a:pt x="3418331" y="247650"/>
                </a:lnTo>
                <a:lnTo>
                  <a:pt x="3418331" y="49530"/>
                </a:lnTo>
                <a:lnTo>
                  <a:pt x="3414432" y="30271"/>
                </a:lnTo>
                <a:lnTo>
                  <a:pt x="3403806" y="14525"/>
                </a:lnTo>
                <a:lnTo>
                  <a:pt x="3388060" y="3899"/>
                </a:lnTo>
                <a:lnTo>
                  <a:pt x="3368802" y="0"/>
                </a:lnTo>
                <a:close/>
              </a:path>
            </a:pathLst>
          </a:custGeom>
          <a:solidFill>
            <a:srgbClr val="7E7E7E"/>
          </a:solidFill>
        </p:spPr>
        <p:txBody>
          <a:bodyPr wrap="square" lIns="0" tIns="0" rIns="0" bIns="0" rtlCol="0"/>
          <a:lstStyle/>
          <a:p>
            <a:endParaRPr/>
          </a:p>
        </p:txBody>
      </p:sp>
      <p:sp>
        <p:nvSpPr>
          <p:cNvPr id="15" name="object 15"/>
          <p:cNvSpPr/>
          <p:nvPr/>
        </p:nvSpPr>
        <p:spPr>
          <a:xfrm>
            <a:off x="8200023" y="1671904"/>
            <a:ext cx="419100" cy="408305"/>
          </a:xfrm>
          <a:custGeom>
            <a:avLst/>
            <a:gdLst/>
            <a:ahLst/>
            <a:cxnLst/>
            <a:rect l="l" t="t" r="r" b="b"/>
            <a:pathLst>
              <a:path w="419100" h="408305">
                <a:moveTo>
                  <a:pt x="220410" y="0"/>
                </a:moveTo>
                <a:lnTo>
                  <a:pt x="174041" y="3359"/>
                </a:lnTo>
                <a:lnTo>
                  <a:pt x="128800" y="16922"/>
                </a:lnTo>
                <a:lnTo>
                  <a:pt x="86472" y="40944"/>
                </a:lnTo>
                <a:lnTo>
                  <a:pt x="50641" y="73628"/>
                </a:lnTo>
                <a:lnTo>
                  <a:pt x="24104" y="112160"/>
                </a:lnTo>
                <a:lnTo>
                  <a:pt x="7132" y="154788"/>
                </a:lnTo>
                <a:lnTo>
                  <a:pt x="0" y="199754"/>
                </a:lnTo>
                <a:lnTo>
                  <a:pt x="2980" y="245305"/>
                </a:lnTo>
                <a:lnTo>
                  <a:pt x="16346" y="289685"/>
                </a:lnTo>
                <a:lnTo>
                  <a:pt x="40371" y="331139"/>
                </a:lnTo>
                <a:lnTo>
                  <a:pt x="73073" y="365516"/>
                </a:lnTo>
                <a:lnTo>
                  <a:pt x="111067" y="389713"/>
                </a:lnTo>
                <a:lnTo>
                  <a:pt x="152848" y="403878"/>
                </a:lnTo>
                <a:lnTo>
                  <a:pt x="196914" y="408157"/>
                </a:lnTo>
                <a:lnTo>
                  <a:pt x="241759" y="402696"/>
                </a:lnTo>
                <a:lnTo>
                  <a:pt x="285879" y="387643"/>
                </a:lnTo>
                <a:lnTo>
                  <a:pt x="327772" y="363143"/>
                </a:lnTo>
                <a:lnTo>
                  <a:pt x="364025" y="330924"/>
                </a:lnTo>
                <a:lnTo>
                  <a:pt x="391651" y="293850"/>
                </a:lnTo>
                <a:lnTo>
                  <a:pt x="410111" y="253289"/>
                </a:lnTo>
                <a:lnTo>
                  <a:pt x="418865" y="210605"/>
                </a:lnTo>
                <a:lnTo>
                  <a:pt x="417374" y="167167"/>
                </a:lnTo>
                <a:lnTo>
                  <a:pt x="405096" y="124340"/>
                </a:lnTo>
                <a:lnTo>
                  <a:pt x="381493" y="83489"/>
                </a:lnTo>
                <a:lnTo>
                  <a:pt x="348449" y="48589"/>
                </a:lnTo>
                <a:lnTo>
                  <a:pt x="309398" y="22870"/>
                </a:lnTo>
                <a:lnTo>
                  <a:pt x="266123" y="6588"/>
                </a:lnTo>
                <a:lnTo>
                  <a:pt x="220410" y="0"/>
                </a:lnTo>
                <a:close/>
              </a:path>
            </a:pathLst>
          </a:custGeom>
          <a:solidFill>
            <a:srgbClr val="7E7E7E"/>
          </a:solidFill>
        </p:spPr>
        <p:txBody>
          <a:bodyPr wrap="square" lIns="0" tIns="0" rIns="0" bIns="0" rtlCol="0"/>
          <a:lstStyle/>
          <a:p>
            <a:endParaRPr/>
          </a:p>
        </p:txBody>
      </p:sp>
      <p:sp>
        <p:nvSpPr>
          <p:cNvPr id="16" name="object 16"/>
          <p:cNvSpPr/>
          <p:nvPr/>
        </p:nvSpPr>
        <p:spPr>
          <a:xfrm>
            <a:off x="8200023" y="1671904"/>
            <a:ext cx="419100" cy="408305"/>
          </a:xfrm>
          <a:custGeom>
            <a:avLst/>
            <a:gdLst/>
            <a:ahLst/>
            <a:cxnLst/>
            <a:rect l="l" t="t" r="r" b="b"/>
            <a:pathLst>
              <a:path w="419100" h="408305">
                <a:moveTo>
                  <a:pt x="40371" y="331139"/>
                </a:moveTo>
                <a:lnTo>
                  <a:pt x="16346" y="289685"/>
                </a:lnTo>
                <a:lnTo>
                  <a:pt x="2980" y="245305"/>
                </a:lnTo>
                <a:lnTo>
                  <a:pt x="0" y="199754"/>
                </a:lnTo>
                <a:lnTo>
                  <a:pt x="7132" y="154788"/>
                </a:lnTo>
                <a:lnTo>
                  <a:pt x="24104" y="112160"/>
                </a:lnTo>
                <a:lnTo>
                  <a:pt x="50641" y="73628"/>
                </a:lnTo>
                <a:lnTo>
                  <a:pt x="86472" y="40944"/>
                </a:lnTo>
                <a:lnTo>
                  <a:pt x="128800" y="16922"/>
                </a:lnTo>
                <a:lnTo>
                  <a:pt x="174041" y="3359"/>
                </a:lnTo>
                <a:lnTo>
                  <a:pt x="220410" y="0"/>
                </a:lnTo>
                <a:lnTo>
                  <a:pt x="266123" y="6588"/>
                </a:lnTo>
                <a:lnTo>
                  <a:pt x="309398" y="22870"/>
                </a:lnTo>
                <a:lnTo>
                  <a:pt x="348449" y="48589"/>
                </a:lnTo>
                <a:lnTo>
                  <a:pt x="381493" y="83489"/>
                </a:lnTo>
                <a:lnTo>
                  <a:pt x="405096" y="124340"/>
                </a:lnTo>
                <a:lnTo>
                  <a:pt x="417374" y="167167"/>
                </a:lnTo>
                <a:lnTo>
                  <a:pt x="418865" y="210605"/>
                </a:lnTo>
                <a:lnTo>
                  <a:pt x="410111" y="253289"/>
                </a:lnTo>
                <a:lnTo>
                  <a:pt x="391651" y="293850"/>
                </a:lnTo>
                <a:lnTo>
                  <a:pt x="364025" y="330924"/>
                </a:lnTo>
                <a:lnTo>
                  <a:pt x="327772" y="363143"/>
                </a:lnTo>
                <a:lnTo>
                  <a:pt x="285879" y="387643"/>
                </a:lnTo>
                <a:lnTo>
                  <a:pt x="241759" y="402696"/>
                </a:lnTo>
                <a:lnTo>
                  <a:pt x="196914" y="408157"/>
                </a:lnTo>
                <a:lnTo>
                  <a:pt x="152848" y="403878"/>
                </a:lnTo>
                <a:lnTo>
                  <a:pt x="111067" y="389713"/>
                </a:lnTo>
                <a:lnTo>
                  <a:pt x="73073" y="365516"/>
                </a:lnTo>
                <a:lnTo>
                  <a:pt x="40371" y="331139"/>
                </a:lnTo>
              </a:path>
            </a:pathLst>
          </a:custGeom>
          <a:ln w="9144">
            <a:solidFill>
              <a:srgbClr val="FFFFFF"/>
            </a:solidFill>
          </a:ln>
        </p:spPr>
        <p:txBody>
          <a:bodyPr wrap="square" lIns="0" tIns="0" rIns="0" bIns="0" rtlCol="0"/>
          <a:lstStyle/>
          <a:p>
            <a:endParaRPr/>
          </a:p>
        </p:txBody>
      </p:sp>
      <p:sp>
        <p:nvSpPr>
          <p:cNvPr id="17" name="object 17"/>
          <p:cNvSpPr/>
          <p:nvPr/>
        </p:nvSpPr>
        <p:spPr>
          <a:xfrm>
            <a:off x="3802390" y="1738280"/>
            <a:ext cx="283453" cy="232251"/>
          </a:xfrm>
          <a:prstGeom prst="rect">
            <a:avLst/>
          </a:prstGeom>
          <a:blipFill>
            <a:blip r:embed="rId3" cstate="print"/>
            <a:stretch>
              <a:fillRect/>
            </a:stretch>
          </a:blipFill>
        </p:spPr>
        <p:txBody>
          <a:bodyPr wrap="square" lIns="0" tIns="0" rIns="0" bIns="0" rtlCol="0"/>
          <a:lstStyle/>
          <a:p>
            <a:endParaRPr/>
          </a:p>
        </p:txBody>
      </p:sp>
      <p:sp>
        <p:nvSpPr>
          <p:cNvPr id="18" name="object 18"/>
          <p:cNvSpPr/>
          <p:nvPr/>
        </p:nvSpPr>
        <p:spPr>
          <a:xfrm>
            <a:off x="8289035" y="1783079"/>
            <a:ext cx="245364" cy="179832"/>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89959" y="1924811"/>
            <a:ext cx="76200" cy="2297430"/>
          </a:xfrm>
          <a:custGeom>
            <a:avLst/>
            <a:gdLst/>
            <a:ahLst/>
            <a:cxnLst/>
            <a:rect l="l" t="t" r="r" b="b"/>
            <a:pathLst>
              <a:path w="76200" h="2297429">
                <a:moveTo>
                  <a:pt x="31750" y="2222254"/>
                </a:moveTo>
                <a:lnTo>
                  <a:pt x="23252" y="2223964"/>
                </a:lnTo>
                <a:lnTo>
                  <a:pt x="11144" y="2232120"/>
                </a:lnTo>
                <a:lnTo>
                  <a:pt x="2988" y="2244228"/>
                </a:lnTo>
                <a:lnTo>
                  <a:pt x="0" y="2259076"/>
                </a:lnTo>
                <a:lnTo>
                  <a:pt x="2988" y="2273923"/>
                </a:lnTo>
                <a:lnTo>
                  <a:pt x="11144" y="2286031"/>
                </a:lnTo>
                <a:lnTo>
                  <a:pt x="23252" y="2294187"/>
                </a:lnTo>
                <a:lnTo>
                  <a:pt x="38100" y="2297176"/>
                </a:lnTo>
                <a:lnTo>
                  <a:pt x="52947" y="2294187"/>
                </a:lnTo>
                <a:lnTo>
                  <a:pt x="65055" y="2286031"/>
                </a:lnTo>
                <a:lnTo>
                  <a:pt x="73211" y="2273923"/>
                </a:lnTo>
                <a:lnTo>
                  <a:pt x="76200" y="2259076"/>
                </a:lnTo>
                <a:lnTo>
                  <a:pt x="31750" y="2259076"/>
                </a:lnTo>
                <a:lnTo>
                  <a:pt x="31750" y="2222254"/>
                </a:lnTo>
                <a:close/>
              </a:path>
              <a:path w="76200" h="2297429">
                <a:moveTo>
                  <a:pt x="38100" y="2220976"/>
                </a:moveTo>
                <a:lnTo>
                  <a:pt x="31750" y="2222254"/>
                </a:lnTo>
                <a:lnTo>
                  <a:pt x="31750" y="2259076"/>
                </a:lnTo>
                <a:lnTo>
                  <a:pt x="44450" y="2259076"/>
                </a:lnTo>
                <a:lnTo>
                  <a:pt x="44450" y="2222254"/>
                </a:lnTo>
                <a:lnTo>
                  <a:pt x="38100" y="2220976"/>
                </a:lnTo>
                <a:close/>
              </a:path>
              <a:path w="76200" h="2297429">
                <a:moveTo>
                  <a:pt x="44450" y="2222254"/>
                </a:moveTo>
                <a:lnTo>
                  <a:pt x="44450" y="2259076"/>
                </a:lnTo>
                <a:lnTo>
                  <a:pt x="76200" y="2259076"/>
                </a:lnTo>
                <a:lnTo>
                  <a:pt x="73211" y="2244228"/>
                </a:lnTo>
                <a:lnTo>
                  <a:pt x="65055" y="2232120"/>
                </a:lnTo>
                <a:lnTo>
                  <a:pt x="52947" y="2223964"/>
                </a:lnTo>
                <a:lnTo>
                  <a:pt x="44450" y="2222254"/>
                </a:lnTo>
                <a:close/>
              </a:path>
              <a:path w="76200" h="2297429">
                <a:moveTo>
                  <a:pt x="44450" y="0"/>
                </a:moveTo>
                <a:lnTo>
                  <a:pt x="31750" y="0"/>
                </a:lnTo>
                <a:lnTo>
                  <a:pt x="31750" y="2222254"/>
                </a:lnTo>
                <a:lnTo>
                  <a:pt x="38100" y="2220976"/>
                </a:lnTo>
                <a:lnTo>
                  <a:pt x="44450" y="2220976"/>
                </a:lnTo>
                <a:lnTo>
                  <a:pt x="44450" y="0"/>
                </a:lnTo>
                <a:close/>
              </a:path>
              <a:path w="76200" h="2297429">
                <a:moveTo>
                  <a:pt x="44450" y="2220976"/>
                </a:moveTo>
                <a:lnTo>
                  <a:pt x="38100" y="2220976"/>
                </a:lnTo>
                <a:lnTo>
                  <a:pt x="44450" y="2222254"/>
                </a:lnTo>
                <a:lnTo>
                  <a:pt x="44450" y="2220976"/>
                </a:lnTo>
                <a:close/>
              </a:path>
            </a:pathLst>
          </a:custGeom>
          <a:solidFill>
            <a:srgbClr val="006FAC"/>
          </a:solidFill>
        </p:spPr>
        <p:txBody>
          <a:bodyPr wrap="square" lIns="0" tIns="0" rIns="0" bIns="0" rtlCol="0"/>
          <a:lstStyle/>
          <a:p>
            <a:endParaRPr/>
          </a:p>
        </p:txBody>
      </p:sp>
      <p:sp>
        <p:nvSpPr>
          <p:cNvPr id="20" name="object 20"/>
          <p:cNvSpPr/>
          <p:nvPr/>
        </p:nvSpPr>
        <p:spPr>
          <a:xfrm>
            <a:off x="8048243" y="1924811"/>
            <a:ext cx="76200" cy="2297430"/>
          </a:xfrm>
          <a:custGeom>
            <a:avLst/>
            <a:gdLst/>
            <a:ahLst/>
            <a:cxnLst/>
            <a:rect l="l" t="t" r="r" b="b"/>
            <a:pathLst>
              <a:path w="76200" h="2297429">
                <a:moveTo>
                  <a:pt x="31750" y="2222254"/>
                </a:moveTo>
                <a:lnTo>
                  <a:pt x="23252" y="2223964"/>
                </a:lnTo>
                <a:lnTo>
                  <a:pt x="11144" y="2232120"/>
                </a:lnTo>
                <a:lnTo>
                  <a:pt x="2988" y="2244228"/>
                </a:lnTo>
                <a:lnTo>
                  <a:pt x="0" y="2259076"/>
                </a:lnTo>
                <a:lnTo>
                  <a:pt x="2988" y="2273923"/>
                </a:lnTo>
                <a:lnTo>
                  <a:pt x="11144" y="2286031"/>
                </a:lnTo>
                <a:lnTo>
                  <a:pt x="23252" y="2294187"/>
                </a:lnTo>
                <a:lnTo>
                  <a:pt x="38100" y="2297176"/>
                </a:lnTo>
                <a:lnTo>
                  <a:pt x="52947" y="2294187"/>
                </a:lnTo>
                <a:lnTo>
                  <a:pt x="65055" y="2286031"/>
                </a:lnTo>
                <a:lnTo>
                  <a:pt x="73211" y="2273923"/>
                </a:lnTo>
                <a:lnTo>
                  <a:pt x="76200" y="2259076"/>
                </a:lnTo>
                <a:lnTo>
                  <a:pt x="31750" y="2259076"/>
                </a:lnTo>
                <a:lnTo>
                  <a:pt x="31750" y="2222254"/>
                </a:lnTo>
                <a:close/>
              </a:path>
              <a:path w="76200" h="2297429">
                <a:moveTo>
                  <a:pt x="38100" y="2220976"/>
                </a:moveTo>
                <a:lnTo>
                  <a:pt x="31750" y="2222254"/>
                </a:lnTo>
                <a:lnTo>
                  <a:pt x="31750" y="2259076"/>
                </a:lnTo>
                <a:lnTo>
                  <a:pt x="44450" y="2259076"/>
                </a:lnTo>
                <a:lnTo>
                  <a:pt x="44450" y="2222254"/>
                </a:lnTo>
                <a:lnTo>
                  <a:pt x="38100" y="2220976"/>
                </a:lnTo>
                <a:close/>
              </a:path>
              <a:path w="76200" h="2297429">
                <a:moveTo>
                  <a:pt x="44450" y="2222254"/>
                </a:moveTo>
                <a:lnTo>
                  <a:pt x="44450" y="2259076"/>
                </a:lnTo>
                <a:lnTo>
                  <a:pt x="76200" y="2259076"/>
                </a:lnTo>
                <a:lnTo>
                  <a:pt x="73211" y="2244228"/>
                </a:lnTo>
                <a:lnTo>
                  <a:pt x="65055" y="2232120"/>
                </a:lnTo>
                <a:lnTo>
                  <a:pt x="52947" y="2223964"/>
                </a:lnTo>
                <a:lnTo>
                  <a:pt x="44450" y="2222254"/>
                </a:lnTo>
                <a:close/>
              </a:path>
              <a:path w="76200" h="2297429">
                <a:moveTo>
                  <a:pt x="44450" y="0"/>
                </a:moveTo>
                <a:lnTo>
                  <a:pt x="31750" y="0"/>
                </a:lnTo>
                <a:lnTo>
                  <a:pt x="31750" y="2222254"/>
                </a:lnTo>
                <a:lnTo>
                  <a:pt x="38100" y="2220976"/>
                </a:lnTo>
                <a:lnTo>
                  <a:pt x="44450" y="2220976"/>
                </a:lnTo>
                <a:lnTo>
                  <a:pt x="44450" y="0"/>
                </a:lnTo>
                <a:close/>
              </a:path>
              <a:path w="76200" h="2297429">
                <a:moveTo>
                  <a:pt x="44450" y="2220976"/>
                </a:moveTo>
                <a:lnTo>
                  <a:pt x="38100" y="2220976"/>
                </a:lnTo>
                <a:lnTo>
                  <a:pt x="44450" y="2222254"/>
                </a:lnTo>
                <a:lnTo>
                  <a:pt x="44450" y="2220976"/>
                </a:lnTo>
                <a:close/>
              </a:path>
            </a:pathLst>
          </a:custGeom>
          <a:solidFill>
            <a:srgbClr val="12ABDB"/>
          </a:solidFill>
        </p:spPr>
        <p:txBody>
          <a:bodyPr wrap="square" lIns="0" tIns="0" rIns="0" bIns="0" rtlCol="0"/>
          <a:lstStyle/>
          <a:p>
            <a:endParaRPr/>
          </a:p>
        </p:txBody>
      </p:sp>
      <p:sp>
        <p:nvSpPr>
          <p:cNvPr id="21" name="object 21"/>
          <p:cNvSpPr/>
          <p:nvPr/>
        </p:nvSpPr>
        <p:spPr>
          <a:xfrm>
            <a:off x="11867388" y="1924811"/>
            <a:ext cx="76200" cy="2297430"/>
          </a:xfrm>
          <a:custGeom>
            <a:avLst/>
            <a:gdLst/>
            <a:ahLst/>
            <a:cxnLst/>
            <a:rect l="l" t="t" r="r" b="b"/>
            <a:pathLst>
              <a:path w="76200" h="2297429">
                <a:moveTo>
                  <a:pt x="31750" y="2222254"/>
                </a:moveTo>
                <a:lnTo>
                  <a:pt x="23252" y="2223964"/>
                </a:lnTo>
                <a:lnTo>
                  <a:pt x="11144" y="2232120"/>
                </a:lnTo>
                <a:lnTo>
                  <a:pt x="2988" y="2244228"/>
                </a:lnTo>
                <a:lnTo>
                  <a:pt x="0" y="2259076"/>
                </a:lnTo>
                <a:lnTo>
                  <a:pt x="2988" y="2273923"/>
                </a:lnTo>
                <a:lnTo>
                  <a:pt x="11144" y="2286031"/>
                </a:lnTo>
                <a:lnTo>
                  <a:pt x="23252" y="2294187"/>
                </a:lnTo>
                <a:lnTo>
                  <a:pt x="38100" y="2297176"/>
                </a:lnTo>
                <a:lnTo>
                  <a:pt x="52947" y="2294187"/>
                </a:lnTo>
                <a:lnTo>
                  <a:pt x="65055" y="2286031"/>
                </a:lnTo>
                <a:lnTo>
                  <a:pt x="73211" y="2273923"/>
                </a:lnTo>
                <a:lnTo>
                  <a:pt x="76200" y="2259076"/>
                </a:lnTo>
                <a:lnTo>
                  <a:pt x="31750" y="2259076"/>
                </a:lnTo>
                <a:lnTo>
                  <a:pt x="31750" y="2222254"/>
                </a:lnTo>
                <a:close/>
              </a:path>
              <a:path w="76200" h="2297429">
                <a:moveTo>
                  <a:pt x="38100" y="2220976"/>
                </a:moveTo>
                <a:lnTo>
                  <a:pt x="31750" y="2222254"/>
                </a:lnTo>
                <a:lnTo>
                  <a:pt x="31750" y="2259076"/>
                </a:lnTo>
                <a:lnTo>
                  <a:pt x="44450" y="2259076"/>
                </a:lnTo>
                <a:lnTo>
                  <a:pt x="44450" y="2222254"/>
                </a:lnTo>
                <a:lnTo>
                  <a:pt x="38100" y="2220976"/>
                </a:lnTo>
                <a:close/>
              </a:path>
              <a:path w="76200" h="2297429">
                <a:moveTo>
                  <a:pt x="44450" y="2222254"/>
                </a:moveTo>
                <a:lnTo>
                  <a:pt x="44450" y="2259076"/>
                </a:lnTo>
                <a:lnTo>
                  <a:pt x="76200" y="2259076"/>
                </a:lnTo>
                <a:lnTo>
                  <a:pt x="73211" y="2244228"/>
                </a:lnTo>
                <a:lnTo>
                  <a:pt x="65055" y="2232120"/>
                </a:lnTo>
                <a:lnTo>
                  <a:pt x="52947" y="2223964"/>
                </a:lnTo>
                <a:lnTo>
                  <a:pt x="44450" y="2222254"/>
                </a:lnTo>
                <a:close/>
              </a:path>
              <a:path w="76200" h="2297429">
                <a:moveTo>
                  <a:pt x="44450" y="0"/>
                </a:moveTo>
                <a:lnTo>
                  <a:pt x="31750" y="0"/>
                </a:lnTo>
                <a:lnTo>
                  <a:pt x="31750" y="2222254"/>
                </a:lnTo>
                <a:lnTo>
                  <a:pt x="38100" y="2220976"/>
                </a:lnTo>
                <a:lnTo>
                  <a:pt x="44450" y="2220976"/>
                </a:lnTo>
                <a:lnTo>
                  <a:pt x="44450" y="0"/>
                </a:lnTo>
                <a:close/>
              </a:path>
              <a:path w="76200" h="2297429">
                <a:moveTo>
                  <a:pt x="44450" y="2220976"/>
                </a:moveTo>
                <a:lnTo>
                  <a:pt x="38100" y="2220976"/>
                </a:lnTo>
                <a:lnTo>
                  <a:pt x="44450" y="2222254"/>
                </a:lnTo>
                <a:lnTo>
                  <a:pt x="44450" y="2220976"/>
                </a:lnTo>
                <a:close/>
              </a:path>
            </a:pathLst>
          </a:custGeom>
          <a:solidFill>
            <a:srgbClr val="7E7E7E"/>
          </a:solidFill>
        </p:spPr>
        <p:txBody>
          <a:bodyPr wrap="square" lIns="0" tIns="0" rIns="0" bIns="0" rtlCol="0"/>
          <a:lstStyle/>
          <a:p>
            <a:endParaRPr/>
          </a:p>
        </p:txBody>
      </p:sp>
      <p:sp>
        <p:nvSpPr>
          <p:cNvPr id="22" name="object 22"/>
          <p:cNvSpPr txBox="1"/>
          <p:nvPr/>
        </p:nvSpPr>
        <p:spPr>
          <a:xfrm>
            <a:off x="703580" y="1162049"/>
            <a:ext cx="11078845" cy="814705"/>
          </a:xfrm>
          <a:prstGeom prst="rect">
            <a:avLst/>
          </a:prstGeom>
        </p:spPr>
        <p:txBody>
          <a:bodyPr vert="horz" wrap="square" lIns="0" tIns="12065" rIns="0" bIns="0" rtlCol="0">
            <a:spAutoFit/>
          </a:bodyPr>
          <a:lstStyle/>
          <a:p>
            <a:pPr marL="783590" marR="5080">
              <a:lnSpc>
                <a:spcPct val="100000"/>
              </a:lnSpc>
              <a:spcBef>
                <a:spcPts val="95"/>
              </a:spcBef>
            </a:pPr>
            <a:r>
              <a:rPr sz="1000" b="1" spc="-5">
                <a:latin typeface="Verdana"/>
                <a:cs typeface="Verdana"/>
              </a:rPr>
              <a:t>BMW </a:t>
            </a:r>
            <a:r>
              <a:rPr sz="1000">
                <a:latin typeface="Verdana"/>
                <a:cs typeface="Verdana"/>
              </a:rPr>
              <a:t>is </a:t>
            </a:r>
            <a:r>
              <a:rPr sz="1000" spc="-5">
                <a:latin typeface="Verdana"/>
                <a:cs typeface="Verdana"/>
              </a:rPr>
              <a:t>a global </a:t>
            </a:r>
            <a:r>
              <a:rPr sz="1000">
                <a:latin typeface="Verdana"/>
                <a:cs typeface="Verdana"/>
              </a:rPr>
              <a:t>vehicle </a:t>
            </a:r>
            <a:r>
              <a:rPr sz="1000" spc="-5">
                <a:latin typeface="Verdana"/>
                <a:cs typeface="Verdana"/>
              </a:rPr>
              <a:t>manufacturer </a:t>
            </a:r>
            <a:r>
              <a:rPr sz="1000">
                <a:latin typeface="Verdana"/>
                <a:cs typeface="Verdana"/>
              </a:rPr>
              <a:t>specializing in </a:t>
            </a:r>
            <a:r>
              <a:rPr sz="1000" spc="-5">
                <a:latin typeface="Verdana"/>
                <a:cs typeface="Verdana"/>
              </a:rPr>
              <a:t>luxury cars and motorcycles. </a:t>
            </a:r>
            <a:r>
              <a:rPr sz="1000">
                <a:latin typeface="Verdana"/>
                <a:cs typeface="Verdana"/>
              </a:rPr>
              <a:t>With its </a:t>
            </a:r>
            <a:r>
              <a:rPr sz="1000" spc="-5">
                <a:latin typeface="Verdana"/>
                <a:cs typeface="Verdana"/>
              </a:rPr>
              <a:t>four brands BMW, </a:t>
            </a:r>
            <a:r>
              <a:rPr sz="1000" spc="-10">
                <a:latin typeface="Verdana"/>
                <a:cs typeface="Verdana"/>
              </a:rPr>
              <a:t>MINI, </a:t>
            </a:r>
            <a:r>
              <a:rPr sz="1000">
                <a:latin typeface="Verdana"/>
                <a:cs typeface="Verdana"/>
              </a:rPr>
              <a:t>Rolls-Royce </a:t>
            </a:r>
            <a:r>
              <a:rPr sz="1000" spc="-5">
                <a:latin typeface="Verdana"/>
                <a:cs typeface="Verdana"/>
              </a:rPr>
              <a:t>and BMW Motorrad, the BMW  Group </a:t>
            </a:r>
            <a:r>
              <a:rPr sz="1000">
                <a:latin typeface="Verdana"/>
                <a:cs typeface="Verdana"/>
              </a:rPr>
              <a:t>is </a:t>
            </a:r>
            <a:r>
              <a:rPr sz="1000" spc="-5">
                <a:latin typeface="Verdana"/>
                <a:cs typeface="Verdana"/>
              </a:rPr>
              <a:t>the world’s </a:t>
            </a:r>
            <a:r>
              <a:rPr sz="1000">
                <a:latin typeface="Verdana"/>
                <a:cs typeface="Verdana"/>
              </a:rPr>
              <a:t>leading </a:t>
            </a:r>
            <a:r>
              <a:rPr sz="1000" spc="-5">
                <a:latin typeface="Verdana"/>
                <a:cs typeface="Verdana"/>
              </a:rPr>
              <a:t>premium manufacturer of automobiles and motorcycles and </a:t>
            </a:r>
            <a:r>
              <a:rPr sz="1000">
                <a:latin typeface="Verdana"/>
                <a:cs typeface="Verdana"/>
              </a:rPr>
              <a:t>also </a:t>
            </a:r>
            <a:r>
              <a:rPr sz="1000" spc="-5">
                <a:latin typeface="Verdana"/>
                <a:cs typeface="Verdana"/>
              </a:rPr>
              <a:t>provides premium </a:t>
            </a:r>
            <a:r>
              <a:rPr sz="1000">
                <a:latin typeface="Verdana"/>
                <a:cs typeface="Verdana"/>
              </a:rPr>
              <a:t>financial </a:t>
            </a:r>
            <a:r>
              <a:rPr sz="1000" spc="-5">
                <a:latin typeface="Verdana"/>
                <a:cs typeface="Verdana"/>
              </a:rPr>
              <a:t>and </a:t>
            </a:r>
            <a:r>
              <a:rPr sz="1000" spc="5">
                <a:latin typeface="Verdana"/>
                <a:cs typeface="Verdana"/>
              </a:rPr>
              <a:t>mobility </a:t>
            </a:r>
            <a:r>
              <a:rPr sz="1000" spc="-5">
                <a:latin typeface="Verdana"/>
                <a:cs typeface="Verdana"/>
              </a:rPr>
              <a:t>services. The BMW Group  production </a:t>
            </a:r>
            <a:r>
              <a:rPr sz="1000" spc="-10">
                <a:latin typeface="Verdana"/>
                <a:cs typeface="Verdana"/>
              </a:rPr>
              <a:t>network </a:t>
            </a:r>
            <a:r>
              <a:rPr sz="1000" spc="-5">
                <a:latin typeface="Verdana"/>
                <a:cs typeface="Verdana"/>
              </a:rPr>
              <a:t>comprises 31 production and assembly </a:t>
            </a:r>
            <a:r>
              <a:rPr sz="1000">
                <a:latin typeface="Verdana"/>
                <a:cs typeface="Verdana"/>
              </a:rPr>
              <a:t>facilities in</a:t>
            </a:r>
            <a:r>
              <a:rPr sz="1000" spc="235">
                <a:latin typeface="Verdana"/>
                <a:cs typeface="Verdana"/>
              </a:rPr>
              <a:t> </a:t>
            </a:r>
            <a:r>
              <a:rPr sz="1000" spc="-5">
                <a:latin typeface="Verdana"/>
                <a:cs typeface="Verdana"/>
              </a:rPr>
              <a:t>15 countries; the company has a global sales </a:t>
            </a:r>
            <a:r>
              <a:rPr sz="1000" spc="-10">
                <a:latin typeface="Verdana"/>
                <a:cs typeface="Verdana"/>
              </a:rPr>
              <a:t>network </a:t>
            </a:r>
            <a:r>
              <a:rPr sz="1000">
                <a:latin typeface="Verdana"/>
                <a:cs typeface="Verdana"/>
              </a:rPr>
              <a:t>in </a:t>
            </a:r>
            <a:r>
              <a:rPr sz="1000" spc="-10">
                <a:latin typeface="Verdana"/>
                <a:cs typeface="Verdana"/>
              </a:rPr>
              <a:t>more </a:t>
            </a:r>
            <a:r>
              <a:rPr sz="1000" spc="-5">
                <a:latin typeface="Verdana"/>
                <a:cs typeface="Verdana"/>
              </a:rPr>
              <a:t>than 140 countries</a:t>
            </a:r>
            <a:endParaRPr sz="1000">
              <a:latin typeface="Verdana"/>
              <a:cs typeface="Verdana"/>
            </a:endParaRPr>
          </a:p>
          <a:p>
            <a:pPr>
              <a:lnSpc>
                <a:spcPct val="100000"/>
              </a:lnSpc>
              <a:spcBef>
                <a:spcPts val="25"/>
              </a:spcBef>
            </a:pPr>
            <a:endParaRPr sz="1000">
              <a:latin typeface="Times New Roman"/>
              <a:cs typeface="Times New Roman"/>
            </a:endParaRPr>
          </a:p>
          <a:p>
            <a:pPr marL="12700">
              <a:lnSpc>
                <a:spcPct val="100000"/>
              </a:lnSpc>
              <a:tabLst>
                <a:tab pos="3539490" algn="l"/>
                <a:tab pos="7992745" algn="l"/>
              </a:tabLst>
            </a:pPr>
            <a:r>
              <a:rPr sz="1200" b="1" spc="-5">
                <a:solidFill>
                  <a:srgbClr val="FFFFFF"/>
                </a:solidFill>
                <a:latin typeface="Verdana"/>
                <a:cs typeface="Verdana"/>
              </a:rPr>
              <a:t>The</a:t>
            </a:r>
            <a:r>
              <a:rPr sz="1200" b="1">
                <a:solidFill>
                  <a:srgbClr val="FFFFFF"/>
                </a:solidFill>
                <a:latin typeface="Verdana"/>
                <a:cs typeface="Verdana"/>
              </a:rPr>
              <a:t> </a:t>
            </a:r>
            <a:r>
              <a:rPr sz="1200" b="1" spc="-5">
                <a:solidFill>
                  <a:srgbClr val="FFFFFF"/>
                </a:solidFill>
                <a:latin typeface="Verdana"/>
                <a:cs typeface="Verdana"/>
              </a:rPr>
              <a:t>Challenge	The</a:t>
            </a:r>
            <a:r>
              <a:rPr sz="1200" b="1" spc="15">
                <a:solidFill>
                  <a:srgbClr val="FFFFFF"/>
                </a:solidFill>
                <a:latin typeface="Verdana"/>
                <a:cs typeface="Verdana"/>
              </a:rPr>
              <a:t> </a:t>
            </a:r>
            <a:r>
              <a:rPr sz="1200" b="1" spc="-5">
                <a:solidFill>
                  <a:srgbClr val="FFFFFF"/>
                </a:solidFill>
                <a:latin typeface="Verdana"/>
                <a:cs typeface="Verdana"/>
              </a:rPr>
              <a:t>Solution	The</a:t>
            </a:r>
            <a:r>
              <a:rPr sz="1200" b="1">
                <a:solidFill>
                  <a:srgbClr val="FFFFFF"/>
                </a:solidFill>
                <a:latin typeface="Verdana"/>
                <a:cs typeface="Verdana"/>
              </a:rPr>
              <a:t> </a:t>
            </a:r>
            <a:r>
              <a:rPr sz="1200" b="1" spc="-5">
                <a:solidFill>
                  <a:srgbClr val="FFFFFF"/>
                </a:solidFill>
                <a:latin typeface="Verdana"/>
                <a:cs typeface="Verdana"/>
              </a:rPr>
              <a:t>Outcome</a:t>
            </a:r>
            <a:endParaRPr sz="1200">
              <a:latin typeface="Verdana"/>
              <a:cs typeface="Verdana"/>
            </a:endParaRPr>
          </a:p>
        </p:txBody>
      </p:sp>
      <p:sp>
        <p:nvSpPr>
          <p:cNvPr id="23" name="object 23"/>
          <p:cNvSpPr/>
          <p:nvPr/>
        </p:nvSpPr>
        <p:spPr>
          <a:xfrm>
            <a:off x="156210" y="6201765"/>
            <a:ext cx="11917680" cy="134620"/>
          </a:xfrm>
          <a:custGeom>
            <a:avLst/>
            <a:gdLst/>
            <a:ahLst/>
            <a:cxnLst/>
            <a:rect l="l" t="t" r="r" b="b"/>
            <a:pathLst>
              <a:path w="11917680" h="134620">
                <a:moveTo>
                  <a:pt x="11859786" y="67208"/>
                </a:moveTo>
                <a:lnTo>
                  <a:pt x="11787378" y="109397"/>
                </a:lnTo>
                <a:lnTo>
                  <a:pt x="11785092" y="118275"/>
                </a:lnTo>
                <a:lnTo>
                  <a:pt x="11793220" y="132080"/>
                </a:lnTo>
                <a:lnTo>
                  <a:pt x="11801983" y="134416"/>
                </a:lnTo>
                <a:lnTo>
                  <a:pt x="11892475" y="81686"/>
                </a:lnTo>
                <a:lnTo>
                  <a:pt x="11888851" y="81686"/>
                </a:lnTo>
                <a:lnTo>
                  <a:pt x="11888851" y="79717"/>
                </a:lnTo>
                <a:lnTo>
                  <a:pt x="11881231" y="79717"/>
                </a:lnTo>
                <a:lnTo>
                  <a:pt x="11859786" y="67208"/>
                </a:lnTo>
                <a:close/>
              </a:path>
              <a:path w="11917680" h="134620">
                <a:moveTo>
                  <a:pt x="11834966" y="52730"/>
                </a:moveTo>
                <a:lnTo>
                  <a:pt x="0" y="52730"/>
                </a:lnTo>
                <a:lnTo>
                  <a:pt x="0" y="81686"/>
                </a:lnTo>
                <a:lnTo>
                  <a:pt x="11834966" y="81686"/>
                </a:lnTo>
                <a:lnTo>
                  <a:pt x="11859786" y="67208"/>
                </a:lnTo>
                <a:lnTo>
                  <a:pt x="11834966" y="52730"/>
                </a:lnTo>
                <a:close/>
              </a:path>
              <a:path w="11917680" h="134620">
                <a:moveTo>
                  <a:pt x="11892475" y="52730"/>
                </a:moveTo>
                <a:lnTo>
                  <a:pt x="11888851" y="52730"/>
                </a:lnTo>
                <a:lnTo>
                  <a:pt x="11888851" y="81686"/>
                </a:lnTo>
                <a:lnTo>
                  <a:pt x="11892475" y="81686"/>
                </a:lnTo>
                <a:lnTo>
                  <a:pt x="11917299" y="67208"/>
                </a:lnTo>
                <a:lnTo>
                  <a:pt x="11892475" y="52730"/>
                </a:lnTo>
                <a:close/>
              </a:path>
              <a:path w="11917680" h="134620">
                <a:moveTo>
                  <a:pt x="11881231" y="54698"/>
                </a:moveTo>
                <a:lnTo>
                  <a:pt x="11859786" y="67208"/>
                </a:lnTo>
                <a:lnTo>
                  <a:pt x="11881231" y="79717"/>
                </a:lnTo>
                <a:lnTo>
                  <a:pt x="11881231" y="54698"/>
                </a:lnTo>
                <a:close/>
              </a:path>
              <a:path w="11917680" h="134620">
                <a:moveTo>
                  <a:pt x="11888851" y="54698"/>
                </a:moveTo>
                <a:lnTo>
                  <a:pt x="11881231" y="54698"/>
                </a:lnTo>
                <a:lnTo>
                  <a:pt x="11881231" y="79717"/>
                </a:lnTo>
                <a:lnTo>
                  <a:pt x="11888851" y="79717"/>
                </a:lnTo>
                <a:lnTo>
                  <a:pt x="11888851" y="54698"/>
                </a:lnTo>
                <a:close/>
              </a:path>
              <a:path w="11917680" h="134620">
                <a:moveTo>
                  <a:pt x="11801983" y="0"/>
                </a:moveTo>
                <a:lnTo>
                  <a:pt x="11793220" y="2336"/>
                </a:lnTo>
                <a:lnTo>
                  <a:pt x="11785092" y="16141"/>
                </a:lnTo>
                <a:lnTo>
                  <a:pt x="11787378" y="25006"/>
                </a:lnTo>
                <a:lnTo>
                  <a:pt x="11859786" y="67208"/>
                </a:lnTo>
                <a:lnTo>
                  <a:pt x="11881231" y="54698"/>
                </a:lnTo>
                <a:lnTo>
                  <a:pt x="11888851" y="54698"/>
                </a:lnTo>
                <a:lnTo>
                  <a:pt x="11888851" y="52730"/>
                </a:lnTo>
                <a:lnTo>
                  <a:pt x="11892475" y="52730"/>
                </a:lnTo>
                <a:lnTo>
                  <a:pt x="11801983" y="0"/>
                </a:lnTo>
                <a:close/>
              </a:path>
            </a:pathLst>
          </a:custGeom>
          <a:solidFill>
            <a:srgbClr val="7E7E7E"/>
          </a:solidFill>
        </p:spPr>
        <p:txBody>
          <a:bodyPr wrap="square" lIns="0" tIns="0" rIns="0" bIns="0" rtlCol="0"/>
          <a:lstStyle/>
          <a:p>
            <a:endParaRPr/>
          </a:p>
        </p:txBody>
      </p:sp>
      <p:sp>
        <p:nvSpPr>
          <p:cNvPr id="24" name="object 24"/>
          <p:cNvSpPr/>
          <p:nvPr/>
        </p:nvSpPr>
        <p:spPr>
          <a:xfrm>
            <a:off x="156210" y="6201765"/>
            <a:ext cx="11917680" cy="134620"/>
          </a:xfrm>
          <a:custGeom>
            <a:avLst/>
            <a:gdLst/>
            <a:ahLst/>
            <a:cxnLst/>
            <a:rect l="l" t="t" r="r" b="b"/>
            <a:pathLst>
              <a:path w="11917680" h="134620">
                <a:moveTo>
                  <a:pt x="11859786" y="67208"/>
                </a:moveTo>
                <a:lnTo>
                  <a:pt x="11787378" y="109397"/>
                </a:lnTo>
                <a:lnTo>
                  <a:pt x="11785092" y="118275"/>
                </a:lnTo>
                <a:lnTo>
                  <a:pt x="11793220" y="132080"/>
                </a:lnTo>
                <a:lnTo>
                  <a:pt x="11801983" y="134416"/>
                </a:lnTo>
                <a:lnTo>
                  <a:pt x="11892475" y="81686"/>
                </a:lnTo>
                <a:lnTo>
                  <a:pt x="11888851" y="81686"/>
                </a:lnTo>
                <a:lnTo>
                  <a:pt x="11888851" y="79717"/>
                </a:lnTo>
                <a:lnTo>
                  <a:pt x="11881231" y="79717"/>
                </a:lnTo>
                <a:lnTo>
                  <a:pt x="11859786" y="67208"/>
                </a:lnTo>
                <a:close/>
              </a:path>
              <a:path w="11917680" h="134620">
                <a:moveTo>
                  <a:pt x="11834966" y="52730"/>
                </a:moveTo>
                <a:lnTo>
                  <a:pt x="0" y="52730"/>
                </a:lnTo>
                <a:lnTo>
                  <a:pt x="0" y="81686"/>
                </a:lnTo>
                <a:lnTo>
                  <a:pt x="11834966" y="81686"/>
                </a:lnTo>
                <a:lnTo>
                  <a:pt x="11859786" y="67208"/>
                </a:lnTo>
                <a:lnTo>
                  <a:pt x="11834966" y="52730"/>
                </a:lnTo>
                <a:close/>
              </a:path>
              <a:path w="11917680" h="134620">
                <a:moveTo>
                  <a:pt x="11892475" y="52730"/>
                </a:moveTo>
                <a:lnTo>
                  <a:pt x="11888851" y="52730"/>
                </a:lnTo>
                <a:lnTo>
                  <a:pt x="11888851" y="81686"/>
                </a:lnTo>
                <a:lnTo>
                  <a:pt x="11892475" y="81686"/>
                </a:lnTo>
                <a:lnTo>
                  <a:pt x="11917299" y="67208"/>
                </a:lnTo>
                <a:lnTo>
                  <a:pt x="11892475" y="52730"/>
                </a:lnTo>
                <a:close/>
              </a:path>
              <a:path w="11917680" h="134620">
                <a:moveTo>
                  <a:pt x="11881231" y="54698"/>
                </a:moveTo>
                <a:lnTo>
                  <a:pt x="11859786" y="67208"/>
                </a:lnTo>
                <a:lnTo>
                  <a:pt x="11881231" y="79717"/>
                </a:lnTo>
                <a:lnTo>
                  <a:pt x="11881231" y="54698"/>
                </a:lnTo>
                <a:close/>
              </a:path>
              <a:path w="11917680" h="134620">
                <a:moveTo>
                  <a:pt x="11888851" y="54698"/>
                </a:moveTo>
                <a:lnTo>
                  <a:pt x="11881231" y="54698"/>
                </a:lnTo>
                <a:lnTo>
                  <a:pt x="11881231" y="79717"/>
                </a:lnTo>
                <a:lnTo>
                  <a:pt x="11888851" y="79717"/>
                </a:lnTo>
                <a:lnTo>
                  <a:pt x="11888851" y="54698"/>
                </a:lnTo>
                <a:close/>
              </a:path>
              <a:path w="11917680" h="134620">
                <a:moveTo>
                  <a:pt x="11801983" y="0"/>
                </a:moveTo>
                <a:lnTo>
                  <a:pt x="11793220" y="2336"/>
                </a:lnTo>
                <a:lnTo>
                  <a:pt x="11785092" y="16141"/>
                </a:lnTo>
                <a:lnTo>
                  <a:pt x="11787378" y="25006"/>
                </a:lnTo>
                <a:lnTo>
                  <a:pt x="11859786" y="67208"/>
                </a:lnTo>
                <a:lnTo>
                  <a:pt x="11881231" y="54698"/>
                </a:lnTo>
                <a:lnTo>
                  <a:pt x="11888851" y="54698"/>
                </a:lnTo>
                <a:lnTo>
                  <a:pt x="11888851" y="52730"/>
                </a:lnTo>
                <a:lnTo>
                  <a:pt x="11892475" y="52730"/>
                </a:lnTo>
                <a:lnTo>
                  <a:pt x="11801983" y="0"/>
                </a:lnTo>
                <a:close/>
              </a:path>
            </a:pathLst>
          </a:custGeom>
          <a:solidFill>
            <a:srgbClr val="7E7E7E"/>
          </a:solidFill>
        </p:spPr>
        <p:txBody>
          <a:bodyPr wrap="square" lIns="0" tIns="0" rIns="0" bIns="0" rtlCol="0"/>
          <a:lstStyle/>
          <a:p>
            <a:endParaRPr/>
          </a:p>
        </p:txBody>
      </p:sp>
      <p:sp>
        <p:nvSpPr>
          <p:cNvPr id="25" name="object 25"/>
          <p:cNvSpPr/>
          <p:nvPr/>
        </p:nvSpPr>
        <p:spPr>
          <a:xfrm>
            <a:off x="41148" y="5911596"/>
            <a:ext cx="717804" cy="717804"/>
          </a:xfrm>
          <a:prstGeom prst="rect">
            <a:avLst/>
          </a:prstGeom>
          <a:blipFill>
            <a:blip r:embed="rId5" cstate="print"/>
            <a:stretch>
              <a:fillRect/>
            </a:stretch>
          </a:blipFill>
        </p:spPr>
        <p:txBody>
          <a:bodyPr wrap="square" lIns="0" tIns="0" rIns="0" bIns="0" rtlCol="0"/>
          <a:lstStyle/>
          <a:p>
            <a:endParaRPr/>
          </a:p>
        </p:txBody>
      </p:sp>
      <p:sp>
        <p:nvSpPr>
          <p:cNvPr id="26" name="object 26"/>
          <p:cNvSpPr/>
          <p:nvPr/>
        </p:nvSpPr>
        <p:spPr>
          <a:xfrm>
            <a:off x="135636" y="6048755"/>
            <a:ext cx="524256" cy="502919"/>
          </a:xfrm>
          <a:prstGeom prst="rect">
            <a:avLst/>
          </a:prstGeom>
          <a:blipFill>
            <a:blip r:embed="rId6" cstate="print"/>
            <a:stretch>
              <a:fillRect/>
            </a:stretch>
          </a:blipFill>
        </p:spPr>
        <p:txBody>
          <a:bodyPr wrap="square" lIns="0" tIns="0" rIns="0" bIns="0" rtlCol="0"/>
          <a:lstStyle/>
          <a:p>
            <a:endParaRPr/>
          </a:p>
        </p:txBody>
      </p:sp>
      <p:sp>
        <p:nvSpPr>
          <p:cNvPr id="27" name="object 27"/>
          <p:cNvSpPr txBox="1"/>
          <p:nvPr/>
        </p:nvSpPr>
        <p:spPr>
          <a:xfrm>
            <a:off x="240893" y="6196380"/>
            <a:ext cx="318135" cy="147955"/>
          </a:xfrm>
          <a:prstGeom prst="rect">
            <a:avLst/>
          </a:prstGeom>
        </p:spPr>
        <p:txBody>
          <a:bodyPr vert="horz" wrap="square" lIns="0" tIns="12700" rIns="0" bIns="0" rtlCol="0">
            <a:spAutoFit/>
          </a:bodyPr>
          <a:lstStyle/>
          <a:p>
            <a:pPr marL="12700">
              <a:lnSpc>
                <a:spcPct val="100000"/>
              </a:lnSpc>
              <a:spcBef>
                <a:spcPts val="100"/>
              </a:spcBef>
            </a:pPr>
            <a:r>
              <a:rPr sz="800" b="1">
                <a:latin typeface="Verdana"/>
                <a:cs typeface="Verdana"/>
              </a:rPr>
              <a:t>2018</a:t>
            </a:r>
            <a:endParaRPr sz="800">
              <a:latin typeface="Verdana"/>
              <a:cs typeface="Verdana"/>
            </a:endParaRPr>
          </a:p>
        </p:txBody>
      </p:sp>
      <p:sp>
        <p:nvSpPr>
          <p:cNvPr id="28" name="object 28"/>
          <p:cNvSpPr/>
          <p:nvPr/>
        </p:nvSpPr>
        <p:spPr>
          <a:xfrm>
            <a:off x="397763" y="4904232"/>
            <a:ext cx="2540" cy="1125220"/>
          </a:xfrm>
          <a:custGeom>
            <a:avLst/>
            <a:gdLst/>
            <a:ahLst/>
            <a:cxnLst/>
            <a:rect l="l" t="t" r="r" b="b"/>
            <a:pathLst>
              <a:path w="2539" h="1125220">
                <a:moveTo>
                  <a:pt x="0" y="1124712"/>
                </a:moveTo>
                <a:lnTo>
                  <a:pt x="2235" y="0"/>
                </a:lnTo>
              </a:path>
            </a:pathLst>
          </a:custGeom>
          <a:ln w="6096">
            <a:solidFill>
              <a:srgbClr val="7E7E7E"/>
            </a:solidFill>
          </a:ln>
        </p:spPr>
        <p:txBody>
          <a:bodyPr wrap="square" lIns="0" tIns="0" rIns="0" bIns="0" rtlCol="0"/>
          <a:lstStyle/>
          <a:p>
            <a:endParaRPr/>
          </a:p>
        </p:txBody>
      </p:sp>
      <p:sp>
        <p:nvSpPr>
          <p:cNvPr id="29" name="object 29"/>
          <p:cNvSpPr/>
          <p:nvPr/>
        </p:nvSpPr>
        <p:spPr>
          <a:xfrm>
            <a:off x="10808969" y="6145529"/>
            <a:ext cx="1001394" cy="259079"/>
          </a:xfrm>
          <a:custGeom>
            <a:avLst/>
            <a:gdLst/>
            <a:ahLst/>
            <a:cxnLst/>
            <a:rect l="l" t="t" r="r" b="b"/>
            <a:pathLst>
              <a:path w="1001395" h="259079">
                <a:moveTo>
                  <a:pt x="958087" y="0"/>
                </a:moveTo>
                <a:lnTo>
                  <a:pt x="43179" y="0"/>
                </a:lnTo>
                <a:lnTo>
                  <a:pt x="26360" y="3392"/>
                </a:lnTo>
                <a:lnTo>
                  <a:pt x="12636" y="12646"/>
                </a:lnTo>
                <a:lnTo>
                  <a:pt x="3389" y="26371"/>
                </a:lnTo>
                <a:lnTo>
                  <a:pt x="0" y="43180"/>
                </a:lnTo>
                <a:lnTo>
                  <a:pt x="0" y="215900"/>
                </a:lnTo>
                <a:lnTo>
                  <a:pt x="3389" y="232708"/>
                </a:lnTo>
                <a:lnTo>
                  <a:pt x="12636" y="246433"/>
                </a:lnTo>
                <a:lnTo>
                  <a:pt x="26360" y="255687"/>
                </a:lnTo>
                <a:lnTo>
                  <a:pt x="43179" y="259080"/>
                </a:lnTo>
                <a:lnTo>
                  <a:pt x="958087" y="259080"/>
                </a:lnTo>
                <a:lnTo>
                  <a:pt x="974907" y="255687"/>
                </a:lnTo>
                <a:lnTo>
                  <a:pt x="988631" y="246433"/>
                </a:lnTo>
                <a:lnTo>
                  <a:pt x="997878" y="232708"/>
                </a:lnTo>
                <a:lnTo>
                  <a:pt x="1001268" y="215900"/>
                </a:lnTo>
                <a:lnTo>
                  <a:pt x="1001268" y="43180"/>
                </a:lnTo>
                <a:lnTo>
                  <a:pt x="997878" y="26371"/>
                </a:lnTo>
                <a:lnTo>
                  <a:pt x="988631" y="12646"/>
                </a:lnTo>
                <a:lnTo>
                  <a:pt x="974907" y="3392"/>
                </a:lnTo>
                <a:lnTo>
                  <a:pt x="958087" y="0"/>
                </a:lnTo>
                <a:close/>
              </a:path>
            </a:pathLst>
          </a:custGeom>
          <a:solidFill>
            <a:srgbClr val="FFFFFF"/>
          </a:solidFill>
        </p:spPr>
        <p:txBody>
          <a:bodyPr wrap="square" lIns="0" tIns="0" rIns="0" bIns="0" rtlCol="0"/>
          <a:lstStyle/>
          <a:p>
            <a:endParaRPr/>
          </a:p>
        </p:txBody>
      </p:sp>
      <p:sp>
        <p:nvSpPr>
          <p:cNvPr id="30" name="object 30"/>
          <p:cNvSpPr/>
          <p:nvPr/>
        </p:nvSpPr>
        <p:spPr>
          <a:xfrm>
            <a:off x="10808969" y="6145529"/>
            <a:ext cx="1001394" cy="259079"/>
          </a:xfrm>
          <a:custGeom>
            <a:avLst/>
            <a:gdLst/>
            <a:ahLst/>
            <a:cxnLst/>
            <a:rect l="l" t="t" r="r" b="b"/>
            <a:pathLst>
              <a:path w="1001395" h="259079">
                <a:moveTo>
                  <a:pt x="0" y="43180"/>
                </a:moveTo>
                <a:lnTo>
                  <a:pt x="3389" y="26371"/>
                </a:lnTo>
                <a:lnTo>
                  <a:pt x="12636" y="12646"/>
                </a:lnTo>
                <a:lnTo>
                  <a:pt x="26360" y="3392"/>
                </a:lnTo>
                <a:lnTo>
                  <a:pt x="43179" y="0"/>
                </a:lnTo>
                <a:lnTo>
                  <a:pt x="958087" y="0"/>
                </a:lnTo>
                <a:lnTo>
                  <a:pt x="974907" y="3392"/>
                </a:lnTo>
                <a:lnTo>
                  <a:pt x="988631" y="12646"/>
                </a:lnTo>
                <a:lnTo>
                  <a:pt x="997878" y="26371"/>
                </a:lnTo>
                <a:lnTo>
                  <a:pt x="1001268" y="43180"/>
                </a:lnTo>
                <a:lnTo>
                  <a:pt x="1001268" y="215900"/>
                </a:lnTo>
                <a:lnTo>
                  <a:pt x="997878" y="232708"/>
                </a:lnTo>
                <a:lnTo>
                  <a:pt x="988631" y="246433"/>
                </a:lnTo>
                <a:lnTo>
                  <a:pt x="974907" y="255687"/>
                </a:lnTo>
                <a:lnTo>
                  <a:pt x="958087" y="259080"/>
                </a:lnTo>
                <a:lnTo>
                  <a:pt x="43179" y="259080"/>
                </a:lnTo>
                <a:lnTo>
                  <a:pt x="26360" y="255687"/>
                </a:lnTo>
                <a:lnTo>
                  <a:pt x="12636" y="246433"/>
                </a:lnTo>
                <a:lnTo>
                  <a:pt x="3389" y="232708"/>
                </a:lnTo>
                <a:lnTo>
                  <a:pt x="0" y="215900"/>
                </a:lnTo>
                <a:lnTo>
                  <a:pt x="0" y="43180"/>
                </a:lnTo>
                <a:close/>
              </a:path>
            </a:pathLst>
          </a:custGeom>
          <a:ln w="28956">
            <a:solidFill>
              <a:srgbClr val="0D80A3"/>
            </a:solidFill>
          </a:ln>
        </p:spPr>
        <p:txBody>
          <a:bodyPr wrap="square" lIns="0" tIns="0" rIns="0" bIns="0" rtlCol="0"/>
          <a:lstStyle/>
          <a:p>
            <a:endParaRPr/>
          </a:p>
        </p:txBody>
      </p:sp>
      <p:sp>
        <p:nvSpPr>
          <p:cNvPr id="31" name="object 31"/>
          <p:cNvSpPr txBox="1"/>
          <p:nvPr/>
        </p:nvSpPr>
        <p:spPr>
          <a:xfrm>
            <a:off x="11057001" y="6200343"/>
            <a:ext cx="506730" cy="147955"/>
          </a:xfrm>
          <a:prstGeom prst="rect">
            <a:avLst/>
          </a:prstGeom>
        </p:spPr>
        <p:txBody>
          <a:bodyPr vert="horz" wrap="square" lIns="0" tIns="12700" rIns="0" bIns="0" rtlCol="0">
            <a:spAutoFit/>
          </a:bodyPr>
          <a:lstStyle/>
          <a:p>
            <a:pPr marL="12700">
              <a:lnSpc>
                <a:spcPct val="100000"/>
              </a:lnSpc>
              <a:spcBef>
                <a:spcPts val="100"/>
              </a:spcBef>
            </a:pPr>
            <a:r>
              <a:rPr sz="800" b="1" spc="-5">
                <a:latin typeface="Verdana"/>
                <a:cs typeface="Verdana"/>
              </a:rPr>
              <a:t>O</a:t>
            </a:r>
            <a:r>
              <a:rPr sz="800" b="1">
                <a:latin typeface="Verdana"/>
                <a:cs typeface="Verdana"/>
              </a:rPr>
              <a:t>n</a:t>
            </a:r>
            <a:r>
              <a:rPr sz="800" b="1" spc="-5">
                <a:latin typeface="Verdana"/>
                <a:cs typeface="Verdana"/>
              </a:rPr>
              <a:t>go</a:t>
            </a:r>
            <a:r>
              <a:rPr sz="800" b="1">
                <a:latin typeface="Verdana"/>
                <a:cs typeface="Verdana"/>
              </a:rPr>
              <a:t>ing</a:t>
            </a:r>
            <a:endParaRPr sz="800">
              <a:latin typeface="Verdana"/>
              <a:cs typeface="Verdana"/>
            </a:endParaRPr>
          </a:p>
        </p:txBody>
      </p:sp>
      <p:sp>
        <p:nvSpPr>
          <p:cNvPr id="32" name="object 32"/>
          <p:cNvSpPr txBox="1"/>
          <p:nvPr/>
        </p:nvSpPr>
        <p:spPr>
          <a:xfrm>
            <a:off x="324713" y="4804105"/>
            <a:ext cx="1256665" cy="148590"/>
          </a:xfrm>
          <a:prstGeom prst="rect">
            <a:avLst/>
          </a:prstGeom>
        </p:spPr>
        <p:txBody>
          <a:bodyPr vert="horz" wrap="square" lIns="0" tIns="13335" rIns="0" bIns="0" rtlCol="0">
            <a:spAutoFit/>
          </a:bodyPr>
          <a:lstStyle/>
          <a:p>
            <a:pPr marL="184785" indent="-172720">
              <a:lnSpc>
                <a:spcPct val="100000"/>
              </a:lnSpc>
              <a:spcBef>
                <a:spcPts val="105"/>
              </a:spcBef>
              <a:buClr>
                <a:srgbClr val="006FAC"/>
              </a:buClr>
              <a:buSzPct val="118750"/>
              <a:buFont typeface="Wingdings"/>
              <a:buChar char=""/>
              <a:tabLst>
                <a:tab pos="185420" algn="l"/>
              </a:tabLst>
            </a:pPr>
            <a:r>
              <a:rPr sz="800">
                <a:solidFill>
                  <a:srgbClr val="16091F"/>
                </a:solidFill>
                <a:latin typeface="Verdana"/>
                <a:cs typeface="Verdana"/>
              </a:rPr>
              <a:t>On-boarding Wave</a:t>
            </a:r>
            <a:r>
              <a:rPr sz="800" spc="-100">
                <a:solidFill>
                  <a:srgbClr val="16091F"/>
                </a:solidFill>
                <a:latin typeface="Verdana"/>
                <a:cs typeface="Verdana"/>
              </a:rPr>
              <a:t> </a:t>
            </a:r>
            <a:r>
              <a:rPr sz="800">
                <a:solidFill>
                  <a:srgbClr val="16091F"/>
                </a:solidFill>
                <a:latin typeface="Verdana"/>
                <a:cs typeface="Verdana"/>
              </a:rPr>
              <a:t>0</a:t>
            </a:r>
            <a:endParaRPr sz="800">
              <a:latin typeface="Verdana"/>
              <a:cs typeface="Verdana"/>
            </a:endParaRPr>
          </a:p>
        </p:txBody>
      </p:sp>
      <p:sp>
        <p:nvSpPr>
          <p:cNvPr id="33" name="object 33"/>
          <p:cNvSpPr/>
          <p:nvPr/>
        </p:nvSpPr>
        <p:spPr>
          <a:xfrm>
            <a:off x="2790444" y="5919215"/>
            <a:ext cx="717804" cy="717804"/>
          </a:xfrm>
          <a:prstGeom prst="rect">
            <a:avLst/>
          </a:prstGeom>
          <a:blipFill>
            <a:blip r:embed="rId5" cstate="print"/>
            <a:stretch>
              <a:fillRect/>
            </a:stretch>
          </a:blipFill>
        </p:spPr>
        <p:txBody>
          <a:bodyPr wrap="square" lIns="0" tIns="0" rIns="0" bIns="0" rtlCol="0"/>
          <a:lstStyle/>
          <a:p>
            <a:endParaRPr/>
          </a:p>
        </p:txBody>
      </p:sp>
      <p:sp>
        <p:nvSpPr>
          <p:cNvPr id="34" name="object 34"/>
          <p:cNvSpPr/>
          <p:nvPr/>
        </p:nvSpPr>
        <p:spPr>
          <a:xfrm>
            <a:off x="2884932" y="6057900"/>
            <a:ext cx="524256" cy="502920"/>
          </a:xfrm>
          <a:prstGeom prst="rect">
            <a:avLst/>
          </a:prstGeom>
          <a:blipFill>
            <a:blip r:embed="rId7" cstate="print"/>
            <a:stretch>
              <a:fillRect/>
            </a:stretch>
          </a:blipFill>
        </p:spPr>
        <p:txBody>
          <a:bodyPr wrap="square" lIns="0" tIns="0" rIns="0" bIns="0" rtlCol="0"/>
          <a:lstStyle/>
          <a:p>
            <a:endParaRPr/>
          </a:p>
        </p:txBody>
      </p:sp>
      <p:sp>
        <p:nvSpPr>
          <p:cNvPr id="35" name="object 35"/>
          <p:cNvSpPr txBox="1"/>
          <p:nvPr/>
        </p:nvSpPr>
        <p:spPr>
          <a:xfrm>
            <a:off x="2990469" y="6204915"/>
            <a:ext cx="318135" cy="147955"/>
          </a:xfrm>
          <a:prstGeom prst="rect">
            <a:avLst/>
          </a:prstGeom>
        </p:spPr>
        <p:txBody>
          <a:bodyPr vert="horz" wrap="square" lIns="0" tIns="12700" rIns="0" bIns="0" rtlCol="0">
            <a:spAutoFit/>
          </a:bodyPr>
          <a:lstStyle/>
          <a:p>
            <a:pPr marL="12700">
              <a:lnSpc>
                <a:spcPct val="100000"/>
              </a:lnSpc>
              <a:spcBef>
                <a:spcPts val="100"/>
              </a:spcBef>
            </a:pPr>
            <a:r>
              <a:rPr sz="800" b="1">
                <a:latin typeface="Verdana"/>
                <a:cs typeface="Verdana"/>
              </a:rPr>
              <a:t>2019</a:t>
            </a:r>
            <a:endParaRPr sz="800">
              <a:latin typeface="Verdana"/>
              <a:cs typeface="Verdana"/>
            </a:endParaRPr>
          </a:p>
        </p:txBody>
      </p:sp>
      <p:sp>
        <p:nvSpPr>
          <p:cNvPr id="36" name="object 36"/>
          <p:cNvSpPr txBox="1"/>
          <p:nvPr/>
        </p:nvSpPr>
        <p:spPr>
          <a:xfrm>
            <a:off x="3074670" y="4789092"/>
            <a:ext cx="2405380" cy="487680"/>
          </a:xfrm>
          <a:prstGeom prst="rect">
            <a:avLst/>
          </a:prstGeom>
        </p:spPr>
        <p:txBody>
          <a:bodyPr vert="horz" wrap="square" lIns="0" tIns="28575" rIns="0" bIns="0" rtlCol="0">
            <a:spAutoFit/>
          </a:bodyPr>
          <a:lstStyle/>
          <a:p>
            <a:pPr marL="184785" indent="-172720">
              <a:lnSpc>
                <a:spcPct val="100000"/>
              </a:lnSpc>
              <a:spcBef>
                <a:spcPts val="225"/>
              </a:spcBef>
              <a:buClr>
                <a:srgbClr val="006FAC"/>
              </a:buClr>
              <a:buSzPct val="118750"/>
              <a:buFont typeface="Wingdings"/>
              <a:buChar char=""/>
              <a:tabLst>
                <a:tab pos="185420" algn="l"/>
              </a:tabLst>
            </a:pPr>
            <a:r>
              <a:rPr sz="800">
                <a:solidFill>
                  <a:srgbClr val="16091F"/>
                </a:solidFill>
                <a:latin typeface="Verdana"/>
                <a:cs typeface="Verdana"/>
              </a:rPr>
              <a:t>First</a:t>
            </a:r>
            <a:r>
              <a:rPr sz="800" spc="-20">
                <a:solidFill>
                  <a:srgbClr val="16091F"/>
                </a:solidFill>
                <a:latin typeface="Verdana"/>
                <a:cs typeface="Verdana"/>
              </a:rPr>
              <a:t> </a:t>
            </a:r>
            <a:r>
              <a:rPr sz="800">
                <a:solidFill>
                  <a:srgbClr val="16091F"/>
                </a:solidFill>
                <a:latin typeface="Verdana"/>
                <a:cs typeface="Verdana"/>
              </a:rPr>
              <a:t>Release</a:t>
            </a:r>
            <a:endParaRPr sz="800">
              <a:latin typeface="Verdana"/>
              <a:cs typeface="Verdana"/>
            </a:endParaRPr>
          </a:p>
          <a:p>
            <a:pPr marL="184785" indent="-172720">
              <a:lnSpc>
                <a:spcPct val="100000"/>
              </a:lnSpc>
              <a:spcBef>
                <a:spcPts val="300"/>
              </a:spcBef>
              <a:buClr>
                <a:srgbClr val="006FAC"/>
              </a:buClr>
              <a:buSzPct val="118750"/>
              <a:buFont typeface="Wingdings"/>
              <a:buChar char=""/>
              <a:tabLst>
                <a:tab pos="185420" algn="l"/>
              </a:tabLst>
            </a:pPr>
            <a:r>
              <a:rPr sz="800" spc="-5">
                <a:solidFill>
                  <a:srgbClr val="16091F"/>
                </a:solidFill>
                <a:latin typeface="Verdana"/>
                <a:cs typeface="Verdana"/>
              </a:rPr>
              <a:t>Multi</a:t>
            </a:r>
            <a:r>
              <a:rPr sz="800" spc="20">
                <a:solidFill>
                  <a:srgbClr val="16091F"/>
                </a:solidFill>
                <a:latin typeface="Verdana"/>
                <a:cs typeface="Verdana"/>
              </a:rPr>
              <a:t> </a:t>
            </a:r>
            <a:r>
              <a:rPr sz="800">
                <a:solidFill>
                  <a:srgbClr val="16091F"/>
                </a:solidFill>
                <a:latin typeface="Verdana"/>
                <a:cs typeface="Verdana"/>
              </a:rPr>
              <a:t>Deployment</a:t>
            </a:r>
            <a:endParaRPr sz="800">
              <a:latin typeface="Verdana"/>
              <a:cs typeface="Verdana"/>
            </a:endParaRPr>
          </a:p>
          <a:p>
            <a:pPr marL="184785" indent="-172720">
              <a:lnSpc>
                <a:spcPct val="100000"/>
              </a:lnSpc>
              <a:spcBef>
                <a:spcPts val="300"/>
              </a:spcBef>
              <a:buClr>
                <a:srgbClr val="006FAC"/>
              </a:buClr>
              <a:buSzPct val="118750"/>
              <a:buFont typeface="Wingdings"/>
              <a:buChar char=""/>
              <a:tabLst>
                <a:tab pos="185420" algn="l"/>
              </a:tabLst>
            </a:pPr>
            <a:r>
              <a:rPr sz="800" spc="-5">
                <a:solidFill>
                  <a:srgbClr val="16091F"/>
                </a:solidFill>
                <a:latin typeface="Verdana"/>
                <a:cs typeface="Verdana"/>
              </a:rPr>
              <a:t>Planning </a:t>
            </a:r>
            <a:r>
              <a:rPr sz="800">
                <a:solidFill>
                  <a:srgbClr val="16091F"/>
                </a:solidFill>
                <a:latin typeface="Verdana"/>
                <a:cs typeface="Verdana"/>
              </a:rPr>
              <a:t>for </a:t>
            </a:r>
            <a:r>
              <a:rPr sz="800" spc="-5">
                <a:solidFill>
                  <a:srgbClr val="16091F"/>
                </a:solidFill>
                <a:latin typeface="Verdana"/>
                <a:cs typeface="Verdana"/>
              </a:rPr>
              <a:t>future </a:t>
            </a:r>
            <a:r>
              <a:rPr sz="800">
                <a:solidFill>
                  <a:srgbClr val="16091F"/>
                </a:solidFill>
                <a:latin typeface="Verdana"/>
                <a:cs typeface="Verdana"/>
              </a:rPr>
              <a:t>releases </a:t>
            </a:r>
            <a:r>
              <a:rPr sz="800" spc="-5">
                <a:solidFill>
                  <a:srgbClr val="16091F"/>
                </a:solidFill>
                <a:latin typeface="Verdana"/>
                <a:cs typeface="Verdana"/>
              </a:rPr>
              <a:t>and</a:t>
            </a:r>
            <a:r>
              <a:rPr sz="800" spc="20">
                <a:solidFill>
                  <a:srgbClr val="16091F"/>
                </a:solidFill>
                <a:latin typeface="Verdana"/>
                <a:cs typeface="Verdana"/>
              </a:rPr>
              <a:t> </a:t>
            </a:r>
            <a:r>
              <a:rPr sz="800">
                <a:solidFill>
                  <a:srgbClr val="16091F"/>
                </a:solidFill>
                <a:latin typeface="Verdana"/>
                <a:cs typeface="Verdana"/>
              </a:rPr>
              <a:t>Salesforce</a:t>
            </a:r>
            <a:endParaRPr sz="800">
              <a:latin typeface="Verdana"/>
              <a:cs typeface="Verdana"/>
            </a:endParaRPr>
          </a:p>
        </p:txBody>
      </p:sp>
      <p:sp>
        <p:nvSpPr>
          <p:cNvPr id="37" name="object 37"/>
          <p:cNvSpPr txBox="1"/>
          <p:nvPr/>
        </p:nvSpPr>
        <p:spPr>
          <a:xfrm>
            <a:off x="3246882" y="5246623"/>
            <a:ext cx="36830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16091F"/>
                </a:solidFill>
                <a:latin typeface="Verdana"/>
                <a:cs typeface="Verdana"/>
              </a:rPr>
              <a:t>C</a:t>
            </a:r>
            <a:r>
              <a:rPr sz="800" spc="-5">
                <a:solidFill>
                  <a:srgbClr val="16091F"/>
                </a:solidFill>
                <a:latin typeface="Verdana"/>
                <a:cs typeface="Verdana"/>
              </a:rPr>
              <a:t>l</a:t>
            </a:r>
            <a:r>
              <a:rPr sz="800">
                <a:solidFill>
                  <a:srgbClr val="16091F"/>
                </a:solidFill>
                <a:latin typeface="Verdana"/>
                <a:cs typeface="Verdana"/>
              </a:rPr>
              <a:t>o</a:t>
            </a:r>
            <a:r>
              <a:rPr sz="800" spc="-5">
                <a:solidFill>
                  <a:srgbClr val="16091F"/>
                </a:solidFill>
                <a:latin typeface="Verdana"/>
                <a:cs typeface="Verdana"/>
              </a:rPr>
              <a:t>u</a:t>
            </a:r>
            <a:r>
              <a:rPr sz="800">
                <a:solidFill>
                  <a:srgbClr val="16091F"/>
                </a:solidFill>
                <a:latin typeface="Verdana"/>
                <a:cs typeface="Verdana"/>
              </a:rPr>
              <a:t>ds</a:t>
            </a:r>
            <a:endParaRPr sz="800">
              <a:latin typeface="Verdana"/>
              <a:cs typeface="Verdana"/>
            </a:endParaRPr>
          </a:p>
        </p:txBody>
      </p:sp>
      <p:sp>
        <p:nvSpPr>
          <p:cNvPr id="38" name="object 38"/>
          <p:cNvSpPr/>
          <p:nvPr/>
        </p:nvSpPr>
        <p:spPr>
          <a:xfrm>
            <a:off x="3147060" y="4904232"/>
            <a:ext cx="2540" cy="1125220"/>
          </a:xfrm>
          <a:custGeom>
            <a:avLst/>
            <a:gdLst/>
            <a:ahLst/>
            <a:cxnLst/>
            <a:rect l="l" t="t" r="r" b="b"/>
            <a:pathLst>
              <a:path w="2539" h="1125220">
                <a:moveTo>
                  <a:pt x="0" y="1124712"/>
                </a:moveTo>
                <a:lnTo>
                  <a:pt x="2285" y="0"/>
                </a:lnTo>
              </a:path>
            </a:pathLst>
          </a:custGeom>
          <a:ln w="6096">
            <a:solidFill>
              <a:srgbClr val="7E7E7E"/>
            </a:solidFill>
          </a:ln>
        </p:spPr>
        <p:txBody>
          <a:bodyPr wrap="square" lIns="0" tIns="0" rIns="0" bIns="0" rtlCol="0"/>
          <a:lstStyle/>
          <a:p>
            <a:endParaRPr/>
          </a:p>
        </p:txBody>
      </p:sp>
      <p:sp>
        <p:nvSpPr>
          <p:cNvPr id="39" name="object 39"/>
          <p:cNvSpPr/>
          <p:nvPr/>
        </p:nvSpPr>
        <p:spPr>
          <a:xfrm>
            <a:off x="257556" y="1156716"/>
            <a:ext cx="481584" cy="481583"/>
          </a:xfrm>
          <a:prstGeom prst="rect">
            <a:avLst/>
          </a:prstGeom>
          <a:blipFill>
            <a:blip r:embed="rId8" cstate="print"/>
            <a:stretch>
              <a:fillRect/>
            </a:stretch>
          </a:blipFill>
        </p:spPr>
        <p:txBody>
          <a:bodyPr wrap="square" lIns="0" tIns="0" rIns="0" bIns="0" rtlCol="0"/>
          <a:lstStyle/>
          <a:p>
            <a:endParaRPr/>
          </a:p>
        </p:txBody>
      </p:sp>
      <p:sp>
        <p:nvSpPr>
          <p:cNvPr id="40" name="object 40"/>
          <p:cNvSpPr txBox="1">
            <a:spLocks noGrp="1"/>
          </p:cNvSpPr>
          <p:nvPr>
            <p:ph type="title"/>
          </p:nvPr>
        </p:nvSpPr>
        <p:spPr>
          <a:xfrm>
            <a:off x="214680" y="318896"/>
            <a:ext cx="3079750" cy="422275"/>
          </a:xfrm>
          <a:prstGeom prst="rect">
            <a:avLst/>
          </a:prstGeom>
        </p:spPr>
        <p:txBody>
          <a:bodyPr vert="horz" wrap="square" lIns="0" tIns="12700" rIns="0" bIns="0" rtlCol="0">
            <a:spAutoFit/>
          </a:bodyPr>
          <a:lstStyle/>
          <a:p>
            <a:pPr marL="12700">
              <a:lnSpc>
                <a:spcPct val="100000"/>
              </a:lnSpc>
              <a:spcBef>
                <a:spcPts val="100"/>
              </a:spcBef>
            </a:pPr>
            <a:r>
              <a:rPr sz="2600"/>
              <a:t>BMW &amp;</a:t>
            </a:r>
            <a:r>
              <a:rPr sz="2600" spc="-75"/>
              <a:t> </a:t>
            </a:r>
            <a:r>
              <a:rPr sz="2600" spc="-5"/>
              <a:t>Capgemini</a:t>
            </a:r>
            <a:endParaRPr sz="2600"/>
          </a:p>
        </p:txBody>
      </p:sp>
      <p:sp>
        <p:nvSpPr>
          <p:cNvPr id="41" name="object 4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2" name="object 4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3</a:t>
            </a:fld>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40588"/>
            <a:ext cx="10457815" cy="779145"/>
          </a:xfrm>
          <a:prstGeom prst="rect">
            <a:avLst/>
          </a:prstGeom>
        </p:spPr>
        <p:txBody>
          <a:bodyPr vert="horz" wrap="square" lIns="0" tIns="57785" rIns="0" bIns="0" rtlCol="0">
            <a:spAutoFit/>
          </a:bodyPr>
          <a:lstStyle/>
          <a:p>
            <a:pPr marL="12700" marR="5080">
              <a:lnSpc>
                <a:spcPts val="2810"/>
              </a:lnSpc>
              <a:spcBef>
                <a:spcPts val="455"/>
              </a:spcBef>
            </a:pPr>
            <a:r>
              <a:rPr sz="2600"/>
              <a:t>Some credentials on Salesforce according </a:t>
            </a:r>
            <a:r>
              <a:rPr sz="2600" spc="-5"/>
              <a:t>to </a:t>
            </a:r>
            <a:r>
              <a:rPr sz="2600"/>
              <a:t>countries</a:t>
            </a:r>
            <a:r>
              <a:rPr sz="2600" spc="-95"/>
              <a:t> </a:t>
            </a:r>
            <a:r>
              <a:rPr sz="2600" spc="-10"/>
              <a:t>covered  by </a:t>
            </a:r>
            <a:r>
              <a:rPr sz="2600"/>
              <a:t>Marelli Business</a:t>
            </a:r>
            <a:r>
              <a:rPr sz="2600" spc="-40"/>
              <a:t> </a:t>
            </a:r>
            <a:r>
              <a:rPr sz="2600"/>
              <a:t>Units</a:t>
            </a:r>
          </a:p>
        </p:txBody>
      </p:sp>
      <p:sp>
        <p:nvSpPr>
          <p:cNvPr id="3" name="object 3"/>
          <p:cNvSpPr/>
          <p:nvPr/>
        </p:nvSpPr>
        <p:spPr>
          <a:xfrm>
            <a:off x="4719828" y="2055876"/>
            <a:ext cx="545591" cy="545591"/>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839211" y="2284476"/>
            <a:ext cx="172211" cy="198120"/>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5679947" y="2705100"/>
            <a:ext cx="172212" cy="196596"/>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5233415" y="2532888"/>
            <a:ext cx="391160" cy="226695"/>
          </a:xfrm>
          <a:custGeom>
            <a:avLst/>
            <a:gdLst/>
            <a:ahLst/>
            <a:cxnLst/>
            <a:rect l="l" t="t" r="r" b="b"/>
            <a:pathLst>
              <a:path w="391160" h="226694">
                <a:moveTo>
                  <a:pt x="0" y="0"/>
                </a:moveTo>
                <a:lnTo>
                  <a:pt x="391033" y="226313"/>
                </a:lnTo>
              </a:path>
            </a:pathLst>
          </a:custGeom>
          <a:ln w="6096">
            <a:solidFill>
              <a:srgbClr val="006FAC"/>
            </a:solidFill>
          </a:ln>
        </p:spPr>
        <p:txBody>
          <a:bodyPr wrap="square" lIns="0" tIns="0" rIns="0" bIns="0" rtlCol="0"/>
          <a:lstStyle/>
          <a:p>
            <a:endParaRPr/>
          </a:p>
        </p:txBody>
      </p:sp>
      <p:sp>
        <p:nvSpPr>
          <p:cNvPr id="7" name="object 7"/>
          <p:cNvSpPr/>
          <p:nvPr/>
        </p:nvSpPr>
        <p:spPr>
          <a:xfrm>
            <a:off x="4843271" y="3022092"/>
            <a:ext cx="711835" cy="342900"/>
          </a:xfrm>
          <a:custGeom>
            <a:avLst/>
            <a:gdLst/>
            <a:ahLst/>
            <a:cxnLst/>
            <a:rect l="l" t="t" r="r" b="b"/>
            <a:pathLst>
              <a:path w="711835" h="342900">
                <a:moveTo>
                  <a:pt x="0" y="342900"/>
                </a:moveTo>
                <a:lnTo>
                  <a:pt x="711707" y="0"/>
                </a:lnTo>
              </a:path>
            </a:pathLst>
          </a:custGeom>
          <a:ln w="6096">
            <a:solidFill>
              <a:srgbClr val="006FAC"/>
            </a:solidFill>
          </a:ln>
        </p:spPr>
        <p:txBody>
          <a:bodyPr wrap="square" lIns="0" tIns="0" rIns="0" bIns="0" rtlCol="0"/>
          <a:lstStyle/>
          <a:p>
            <a:endParaRPr/>
          </a:p>
        </p:txBody>
      </p:sp>
      <p:sp>
        <p:nvSpPr>
          <p:cNvPr id="8" name="object 8"/>
          <p:cNvSpPr/>
          <p:nvPr/>
        </p:nvSpPr>
        <p:spPr>
          <a:xfrm>
            <a:off x="5526023" y="2857500"/>
            <a:ext cx="172212" cy="198120"/>
          </a:xfrm>
          <a:prstGeom prst="rect">
            <a:avLst/>
          </a:prstGeom>
          <a:blipFill>
            <a:blip r:embed="rId5" cstate="print"/>
            <a:stretch>
              <a:fillRect/>
            </a:stretch>
          </a:blipFill>
        </p:spPr>
        <p:txBody>
          <a:bodyPr wrap="square" lIns="0" tIns="0" rIns="0" bIns="0" rtlCol="0"/>
          <a:lstStyle/>
          <a:p>
            <a:endParaRPr/>
          </a:p>
        </p:txBody>
      </p:sp>
      <p:sp>
        <p:nvSpPr>
          <p:cNvPr id="9" name="object 9"/>
          <p:cNvSpPr/>
          <p:nvPr/>
        </p:nvSpPr>
        <p:spPr>
          <a:xfrm>
            <a:off x="8889492" y="4866132"/>
            <a:ext cx="172211" cy="198119"/>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9095231" y="4434840"/>
            <a:ext cx="1287780" cy="505459"/>
          </a:xfrm>
          <a:custGeom>
            <a:avLst/>
            <a:gdLst/>
            <a:ahLst/>
            <a:cxnLst/>
            <a:rect l="l" t="t" r="r" b="b"/>
            <a:pathLst>
              <a:path w="1287779" h="505460">
                <a:moveTo>
                  <a:pt x="0" y="505206"/>
                </a:moveTo>
                <a:lnTo>
                  <a:pt x="1287652" y="0"/>
                </a:lnTo>
              </a:path>
            </a:pathLst>
          </a:custGeom>
          <a:ln w="6096">
            <a:solidFill>
              <a:srgbClr val="006FAC"/>
            </a:solidFill>
          </a:ln>
        </p:spPr>
        <p:txBody>
          <a:bodyPr wrap="square" lIns="0" tIns="0" rIns="0" bIns="0" rtlCol="0"/>
          <a:lstStyle/>
          <a:p>
            <a:endParaRPr/>
          </a:p>
        </p:txBody>
      </p:sp>
      <p:sp>
        <p:nvSpPr>
          <p:cNvPr id="11" name="object 11"/>
          <p:cNvSpPr/>
          <p:nvPr/>
        </p:nvSpPr>
        <p:spPr>
          <a:xfrm>
            <a:off x="3957828" y="3281171"/>
            <a:ext cx="1162812" cy="665988"/>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5417820" y="3268979"/>
            <a:ext cx="1335024" cy="280415"/>
          </a:xfrm>
          <a:prstGeom prst="rect">
            <a:avLst/>
          </a:prstGeom>
          <a:blipFill>
            <a:blip r:embed="rId7" cstate="print"/>
            <a:stretch>
              <a:fillRect/>
            </a:stretch>
          </a:blipFill>
        </p:spPr>
        <p:txBody>
          <a:bodyPr wrap="square" lIns="0" tIns="0" rIns="0" bIns="0" rtlCol="0"/>
          <a:lstStyle/>
          <a:p>
            <a:endParaRPr/>
          </a:p>
        </p:txBody>
      </p:sp>
      <p:sp>
        <p:nvSpPr>
          <p:cNvPr id="13" name="object 13"/>
          <p:cNvSpPr/>
          <p:nvPr/>
        </p:nvSpPr>
        <p:spPr>
          <a:xfrm>
            <a:off x="5788152" y="2951988"/>
            <a:ext cx="173736" cy="198120"/>
          </a:xfrm>
          <a:prstGeom prst="rect">
            <a:avLst/>
          </a:prstGeom>
          <a:blipFill>
            <a:blip r:embed="rId8" cstate="print"/>
            <a:stretch>
              <a:fillRect/>
            </a:stretch>
          </a:blipFill>
        </p:spPr>
        <p:txBody>
          <a:bodyPr wrap="square" lIns="0" tIns="0" rIns="0" bIns="0" rtlCol="0"/>
          <a:lstStyle/>
          <a:p>
            <a:endParaRPr/>
          </a:p>
        </p:txBody>
      </p:sp>
      <p:sp>
        <p:nvSpPr>
          <p:cNvPr id="14" name="object 14"/>
          <p:cNvSpPr/>
          <p:nvPr/>
        </p:nvSpPr>
        <p:spPr>
          <a:xfrm>
            <a:off x="10107168" y="3982211"/>
            <a:ext cx="813816" cy="452627"/>
          </a:xfrm>
          <a:prstGeom prst="rect">
            <a:avLst/>
          </a:prstGeom>
          <a:blipFill>
            <a:blip r:embed="rId9" cstate="print"/>
            <a:stretch>
              <a:fillRect/>
            </a:stretch>
          </a:blipFill>
        </p:spPr>
        <p:txBody>
          <a:bodyPr wrap="square" lIns="0" tIns="0" rIns="0" bIns="0" rtlCol="0"/>
          <a:lstStyle/>
          <a:p>
            <a:endParaRPr/>
          </a:p>
        </p:txBody>
      </p:sp>
      <p:sp>
        <p:nvSpPr>
          <p:cNvPr id="16" name="object 16"/>
          <p:cNvSpPr/>
          <p:nvPr/>
        </p:nvSpPr>
        <p:spPr>
          <a:xfrm>
            <a:off x="9011411" y="2999232"/>
            <a:ext cx="172212" cy="198120"/>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9177528" y="3098292"/>
            <a:ext cx="409575" cy="5715"/>
          </a:xfrm>
          <a:custGeom>
            <a:avLst/>
            <a:gdLst/>
            <a:ahLst/>
            <a:cxnLst/>
            <a:rect l="l" t="t" r="r" b="b"/>
            <a:pathLst>
              <a:path w="409575" h="5714">
                <a:moveTo>
                  <a:pt x="0" y="0"/>
                </a:moveTo>
                <a:lnTo>
                  <a:pt x="409575" y="5207"/>
                </a:lnTo>
              </a:path>
            </a:pathLst>
          </a:custGeom>
          <a:ln w="6095">
            <a:solidFill>
              <a:srgbClr val="006FAC"/>
            </a:solidFill>
          </a:ln>
        </p:spPr>
        <p:txBody>
          <a:bodyPr wrap="square" lIns="0" tIns="0" rIns="0" bIns="0" rtlCol="0"/>
          <a:lstStyle/>
          <a:p>
            <a:endParaRPr/>
          </a:p>
        </p:txBody>
      </p:sp>
      <p:sp>
        <p:nvSpPr>
          <p:cNvPr id="18" name="object 18"/>
          <p:cNvSpPr/>
          <p:nvPr/>
        </p:nvSpPr>
        <p:spPr>
          <a:xfrm>
            <a:off x="198120" y="2516123"/>
            <a:ext cx="2142744" cy="381000"/>
          </a:xfrm>
          <a:prstGeom prst="rect">
            <a:avLst/>
          </a:prstGeom>
          <a:blipFill>
            <a:blip r:embed="rId10" cstate="print"/>
            <a:stretch>
              <a:fillRect/>
            </a:stretch>
          </a:blipFill>
        </p:spPr>
        <p:txBody>
          <a:bodyPr wrap="square" lIns="0" tIns="0" rIns="0" bIns="0" rtlCol="0"/>
          <a:lstStyle/>
          <a:p>
            <a:endParaRPr/>
          </a:p>
        </p:txBody>
      </p:sp>
      <p:sp>
        <p:nvSpPr>
          <p:cNvPr id="19" name="object 19"/>
          <p:cNvSpPr/>
          <p:nvPr/>
        </p:nvSpPr>
        <p:spPr>
          <a:xfrm>
            <a:off x="1264919" y="2383535"/>
            <a:ext cx="1580515" cy="318770"/>
          </a:xfrm>
          <a:custGeom>
            <a:avLst/>
            <a:gdLst/>
            <a:ahLst/>
            <a:cxnLst/>
            <a:rect l="l" t="t" r="r" b="b"/>
            <a:pathLst>
              <a:path w="1580514" h="318769">
                <a:moveTo>
                  <a:pt x="0" y="318642"/>
                </a:moveTo>
                <a:lnTo>
                  <a:pt x="1580261" y="0"/>
                </a:lnTo>
              </a:path>
            </a:pathLst>
          </a:custGeom>
          <a:ln w="6096">
            <a:solidFill>
              <a:srgbClr val="006FAC"/>
            </a:solidFill>
          </a:ln>
        </p:spPr>
        <p:txBody>
          <a:bodyPr wrap="square" lIns="0" tIns="0" rIns="0" bIns="0" rtlCol="0"/>
          <a:lstStyle/>
          <a:p>
            <a:endParaRPr/>
          </a:p>
        </p:txBody>
      </p:sp>
      <p:sp>
        <p:nvSpPr>
          <p:cNvPr id="20" name="object 2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1" name="object 2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4</a:t>
            </a:fld>
            <a:endParaRPr/>
          </a:p>
        </p:txBody>
      </p:sp>
      <p:pic>
        <p:nvPicPr>
          <p:cNvPr id="22" name="Picture 21" descr="A close up of a logo&#10;&#10;Description automatically generated">
            <a:extLst>
              <a:ext uri="{FF2B5EF4-FFF2-40B4-BE49-F238E27FC236}">
                <a16:creationId xmlns:a16="http://schemas.microsoft.com/office/drawing/2014/main" id="{BEDBA0BA-434A-4D97-96C7-171E2F1F497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586895" y="3074590"/>
            <a:ext cx="746929" cy="746929"/>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9" name="object 9"/>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0" name="object 10"/>
          <p:cNvSpPr txBox="1">
            <a:spLocks noGrp="1"/>
          </p:cNvSpPr>
          <p:nvPr>
            <p:ph type="title"/>
          </p:nvPr>
        </p:nvSpPr>
        <p:spPr>
          <a:xfrm>
            <a:off x="521614" y="1876755"/>
            <a:ext cx="736600" cy="697230"/>
          </a:xfrm>
          <a:prstGeom prst="rect">
            <a:avLst/>
          </a:prstGeom>
        </p:spPr>
        <p:txBody>
          <a:bodyPr vert="horz" wrap="square" lIns="0" tIns="13335" rIns="0" bIns="0" rtlCol="0">
            <a:spAutoFit/>
          </a:bodyPr>
          <a:lstStyle/>
          <a:p>
            <a:pPr marL="12700">
              <a:lnSpc>
                <a:spcPct val="100000"/>
              </a:lnSpc>
              <a:spcBef>
                <a:spcPts val="105"/>
              </a:spcBef>
            </a:pPr>
            <a:r>
              <a:rPr sz="4400" spc="-5">
                <a:solidFill>
                  <a:srgbClr val="FFFFFF"/>
                </a:solidFill>
              </a:rPr>
              <a:t>04</a:t>
            </a:r>
            <a:endParaRPr sz="4400"/>
          </a:p>
        </p:txBody>
      </p:sp>
      <p:sp>
        <p:nvSpPr>
          <p:cNvPr id="11" name="object 11"/>
          <p:cNvSpPr/>
          <p:nvPr/>
        </p:nvSpPr>
        <p:spPr>
          <a:xfrm>
            <a:off x="464819" y="2657855"/>
            <a:ext cx="914400" cy="0"/>
          </a:xfrm>
          <a:custGeom>
            <a:avLst/>
            <a:gdLst/>
            <a:ahLst/>
            <a:cxnLst/>
            <a:rect l="l" t="t" r="r" b="b"/>
            <a:pathLst>
              <a:path w="914400">
                <a:moveTo>
                  <a:pt x="0" y="0"/>
                </a:moveTo>
                <a:lnTo>
                  <a:pt x="914400" y="0"/>
                </a:lnTo>
              </a:path>
            </a:pathLst>
          </a:custGeom>
          <a:ln w="6096">
            <a:solidFill>
              <a:srgbClr val="FFFFFF"/>
            </a:solidFill>
          </a:ln>
        </p:spPr>
        <p:txBody>
          <a:bodyPr wrap="square" lIns="0" tIns="0" rIns="0" bIns="0" rtlCol="0"/>
          <a:lstStyle/>
          <a:p>
            <a:endParaRPr/>
          </a:p>
        </p:txBody>
      </p:sp>
      <p:sp>
        <p:nvSpPr>
          <p:cNvPr id="12" name="object 12"/>
          <p:cNvSpPr txBox="1"/>
          <p:nvPr/>
        </p:nvSpPr>
        <p:spPr>
          <a:xfrm>
            <a:off x="540207" y="2902153"/>
            <a:ext cx="3551554" cy="6362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Project </a:t>
            </a:r>
            <a:r>
              <a:rPr sz="2000" b="1">
                <a:solidFill>
                  <a:srgbClr val="FFFFFF"/>
                </a:solidFill>
                <a:latin typeface="Verdana"/>
                <a:cs typeface="Verdana"/>
              </a:rPr>
              <a:t>organization</a:t>
            </a:r>
            <a:r>
              <a:rPr sz="2000" b="1" spc="-55">
                <a:solidFill>
                  <a:srgbClr val="FFFFFF"/>
                </a:solidFill>
                <a:latin typeface="Verdana"/>
                <a:cs typeface="Verdana"/>
              </a:rPr>
              <a:t> </a:t>
            </a:r>
            <a:r>
              <a:rPr sz="2000" b="1">
                <a:solidFill>
                  <a:srgbClr val="FFFFFF"/>
                </a:solidFill>
                <a:latin typeface="Verdana"/>
                <a:cs typeface="Verdana"/>
              </a:rPr>
              <a:t>and</a:t>
            </a:r>
            <a:endParaRPr sz="2000">
              <a:latin typeface="Verdana"/>
              <a:cs typeface="Verdana"/>
            </a:endParaRPr>
          </a:p>
          <a:p>
            <a:pPr marL="12700">
              <a:lnSpc>
                <a:spcPct val="100000"/>
              </a:lnSpc>
            </a:pPr>
            <a:r>
              <a:rPr sz="2000" b="1" spc="-5">
                <a:solidFill>
                  <a:srgbClr val="FFFFFF"/>
                </a:solidFill>
                <a:latin typeface="Verdana"/>
                <a:cs typeface="Verdana"/>
              </a:rPr>
              <a:t>roles </a:t>
            </a:r>
            <a:r>
              <a:rPr sz="2000" b="1">
                <a:solidFill>
                  <a:srgbClr val="FFFFFF"/>
                </a:solidFill>
                <a:latin typeface="Verdana"/>
                <a:cs typeface="Verdana"/>
              </a:rPr>
              <a:t>&amp;</a:t>
            </a:r>
            <a:r>
              <a:rPr sz="2000" b="1" spc="-10">
                <a:solidFill>
                  <a:srgbClr val="FFFFFF"/>
                </a:solidFill>
                <a:latin typeface="Verdana"/>
                <a:cs typeface="Verdana"/>
              </a:rPr>
              <a:t> </a:t>
            </a:r>
            <a:r>
              <a:rPr sz="2000" b="1" spc="-5">
                <a:solidFill>
                  <a:srgbClr val="FFFFFF"/>
                </a:solidFill>
                <a:latin typeface="Verdana"/>
                <a:cs typeface="Verdana"/>
              </a:rPr>
              <a:t>responsibilities</a:t>
            </a:r>
            <a:endParaRPr sz="2000">
              <a:latin typeface="Verdana"/>
              <a:cs typeface="Verdana"/>
            </a:endParaRPr>
          </a:p>
        </p:txBody>
      </p:sp>
      <p:sp>
        <p:nvSpPr>
          <p:cNvPr id="13" name="object 1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4" name="object 1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5</a:t>
            </a:fld>
            <a:endParaRPr/>
          </a:p>
        </p:txBody>
      </p:sp>
      <p:pic>
        <p:nvPicPr>
          <p:cNvPr id="15" name="Picture 14">
            <a:extLst>
              <a:ext uri="{FF2B5EF4-FFF2-40B4-BE49-F238E27FC236}">
                <a16:creationId xmlns:a16="http://schemas.microsoft.com/office/drawing/2014/main" id="{82DAB70E-3ABF-4D07-BDB5-AAE70999FD0A}"/>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871210" cy="422275"/>
          </a:xfrm>
          <a:prstGeom prst="rect">
            <a:avLst/>
          </a:prstGeom>
        </p:spPr>
        <p:txBody>
          <a:bodyPr vert="horz" wrap="square" lIns="0" tIns="12700" rIns="0" bIns="0" rtlCol="0">
            <a:spAutoFit/>
          </a:bodyPr>
          <a:lstStyle/>
          <a:p>
            <a:pPr marL="12700">
              <a:lnSpc>
                <a:spcPct val="100000"/>
              </a:lnSpc>
              <a:spcBef>
                <a:spcPts val="100"/>
              </a:spcBef>
            </a:pPr>
            <a:r>
              <a:rPr sz="2600" spc="-5"/>
              <a:t>Delivery </a:t>
            </a:r>
            <a:r>
              <a:rPr sz="2600"/>
              <a:t>Model – Guiding</a:t>
            </a:r>
            <a:r>
              <a:rPr sz="2600" spc="-80"/>
              <a:t> </a:t>
            </a:r>
            <a:r>
              <a:rPr sz="2600"/>
              <a:t>Principles</a:t>
            </a:r>
          </a:p>
        </p:txBody>
      </p:sp>
      <p:sp>
        <p:nvSpPr>
          <p:cNvPr id="4" name="object 4"/>
          <p:cNvSpPr/>
          <p:nvPr/>
        </p:nvSpPr>
        <p:spPr>
          <a:xfrm>
            <a:off x="327659" y="1328927"/>
            <a:ext cx="897890" cy="894715"/>
          </a:xfrm>
          <a:custGeom>
            <a:avLst/>
            <a:gdLst/>
            <a:ahLst/>
            <a:cxnLst/>
            <a:rect l="l" t="t" r="r" b="b"/>
            <a:pathLst>
              <a:path w="897890" h="894714">
                <a:moveTo>
                  <a:pt x="448818" y="0"/>
                </a:moveTo>
                <a:lnTo>
                  <a:pt x="400243" y="2648"/>
                </a:lnTo>
                <a:lnTo>
                  <a:pt x="353103" y="10405"/>
                </a:lnTo>
                <a:lnTo>
                  <a:pt x="307682" y="22988"/>
                </a:lnTo>
                <a:lnTo>
                  <a:pt x="264263" y="40112"/>
                </a:lnTo>
                <a:lnTo>
                  <a:pt x="223130" y="61496"/>
                </a:lnTo>
                <a:lnTo>
                  <a:pt x="184567" y="86855"/>
                </a:lnTo>
                <a:lnTo>
                  <a:pt x="148859" y="115908"/>
                </a:lnTo>
                <a:lnTo>
                  <a:pt x="116288" y="148370"/>
                </a:lnTo>
                <a:lnTo>
                  <a:pt x="87139" y="183958"/>
                </a:lnTo>
                <a:lnTo>
                  <a:pt x="61696" y="222391"/>
                </a:lnTo>
                <a:lnTo>
                  <a:pt x="40242" y="263383"/>
                </a:lnTo>
                <a:lnTo>
                  <a:pt x="23062" y="306653"/>
                </a:lnTo>
                <a:lnTo>
                  <a:pt x="10439" y="351916"/>
                </a:lnTo>
                <a:lnTo>
                  <a:pt x="2657" y="398891"/>
                </a:lnTo>
                <a:lnTo>
                  <a:pt x="0" y="447294"/>
                </a:lnTo>
                <a:lnTo>
                  <a:pt x="2657" y="496072"/>
                </a:lnTo>
                <a:lnTo>
                  <a:pt x="10439" y="543319"/>
                </a:lnTo>
                <a:lnTo>
                  <a:pt x="23062" y="588763"/>
                </a:lnTo>
                <a:lnTo>
                  <a:pt x="40242" y="632133"/>
                </a:lnTo>
                <a:lnTo>
                  <a:pt x="61696" y="673156"/>
                </a:lnTo>
                <a:lnTo>
                  <a:pt x="87139" y="711561"/>
                </a:lnTo>
                <a:lnTo>
                  <a:pt x="116288" y="747077"/>
                </a:lnTo>
                <a:lnTo>
                  <a:pt x="148859" y="779432"/>
                </a:lnTo>
                <a:lnTo>
                  <a:pt x="184567" y="808353"/>
                </a:lnTo>
                <a:lnTo>
                  <a:pt x="223130" y="833571"/>
                </a:lnTo>
                <a:lnTo>
                  <a:pt x="264263" y="854813"/>
                </a:lnTo>
                <a:lnTo>
                  <a:pt x="307682" y="871807"/>
                </a:lnTo>
                <a:lnTo>
                  <a:pt x="353103" y="884282"/>
                </a:lnTo>
                <a:lnTo>
                  <a:pt x="400243" y="891966"/>
                </a:lnTo>
                <a:lnTo>
                  <a:pt x="448818" y="894588"/>
                </a:lnTo>
                <a:lnTo>
                  <a:pt x="497768" y="891966"/>
                </a:lnTo>
                <a:lnTo>
                  <a:pt x="545181" y="884282"/>
                </a:lnTo>
                <a:lnTo>
                  <a:pt x="570181" y="877443"/>
                </a:lnTo>
                <a:lnTo>
                  <a:pt x="448818" y="877443"/>
                </a:lnTo>
                <a:lnTo>
                  <a:pt x="401967" y="874933"/>
                </a:lnTo>
                <a:lnTo>
                  <a:pt x="356536" y="867576"/>
                </a:lnTo>
                <a:lnTo>
                  <a:pt x="312793" y="855628"/>
                </a:lnTo>
                <a:lnTo>
                  <a:pt x="271006" y="839344"/>
                </a:lnTo>
                <a:lnTo>
                  <a:pt x="231443" y="818980"/>
                </a:lnTo>
                <a:lnTo>
                  <a:pt x="194374" y="794793"/>
                </a:lnTo>
                <a:lnTo>
                  <a:pt x="160066" y="767038"/>
                </a:lnTo>
                <a:lnTo>
                  <a:pt x="128789" y="735972"/>
                </a:lnTo>
                <a:lnTo>
                  <a:pt x="100811" y="701850"/>
                </a:lnTo>
                <a:lnTo>
                  <a:pt x="76400" y="664929"/>
                </a:lnTo>
                <a:lnTo>
                  <a:pt x="55825" y="625465"/>
                </a:lnTo>
                <a:lnTo>
                  <a:pt x="39355" y="583713"/>
                </a:lnTo>
                <a:lnTo>
                  <a:pt x="27258" y="539930"/>
                </a:lnTo>
                <a:lnTo>
                  <a:pt x="19803" y="494371"/>
                </a:lnTo>
                <a:lnTo>
                  <a:pt x="17259" y="447294"/>
                </a:lnTo>
                <a:lnTo>
                  <a:pt x="19803" y="400592"/>
                </a:lnTo>
                <a:lnTo>
                  <a:pt x="27258" y="355306"/>
                </a:lnTo>
                <a:lnTo>
                  <a:pt x="39355" y="311703"/>
                </a:lnTo>
                <a:lnTo>
                  <a:pt x="55825" y="270051"/>
                </a:lnTo>
                <a:lnTo>
                  <a:pt x="76400" y="230617"/>
                </a:lnTo>
                <a:lnTo>
                  <a:pt x="100811" y="193669"/>
                </a:lnTo>
                <a:lnTo>
                  <a:pt x="128789" y="159475"/>
                </a:lnTo>
                <a:lnTo>
                  <a:pt x="160066" y="128301"/>
                </a:lnTo>
                <a:lnTo>
                  <a:pt x="194374" y="100416"/>
                </a:lnTo>
                <a:lnTo>
                  <a:pt x="231443" y="76087"/>
                </a:lnTo>
                <a:lnTo>
                  <a:pt x="271006" y="55581"/>
                </a:lnTo>
                <a:lnTo>
                  <a:pt x="312793" y="39166"/>
                </a:lnTo>
                <a:lnTo>
                  <a:pt x="356536" y="27110"/>
                </a:lnTo>
                <a:lnTo>
                  <a:pt x="401967" y="19681"/>
                </a:lnTo>
                <a:lnTo>
                  <a:pt x="448818" y="17145"/>
                </a:lnTo>
                <a:lnTo>
                  <a:pt x="569606" y="17145"/>
                </a:lnTo>
                <a:lnTo>
                  <a:pt x="545181" y="10405"/>
                </a:lnTo>
                <a:lnTo>
                  <a:pt x="497768" y="2648"/>
                </a:lnTo>
                <a:lnTo>
                  <a:pt x="448818" y="0"/>
                </a:lnTo>
                <a:close/>
              </a:path>
              <a:path w="897890" h="894714">
                <a:moveTo>
                  <a:pt x="569606" y="17145"/>
                </a:moveTo>
                <a:lnTo>
                  <a:pt x="448818" y="17145"/>
                </a:lnTo>
                <a:lnTo>
                  <a:pt x="496044" y="19681"/>
                </a:lnTo>
                <a:lnTo>
                  <a:pt x="541747" y="27110"/>
                </a:lnTo>
                <a:lnTo>
                  <a:pt x="585671" y="39166"/>
                </a:lnTo>
                <a:lnTo>
                  <a:pt x="627558" y="55581"/>
                </a:lnTo>
                <a:lnTo>
                  <a:pt x="667152" y="76087"/>
                </a:lnTo>
                <a:lnTo>
                  <a:pt x="704194" y="100416"/>
                </a:lnTo>
                <a:lnTo>
                  <a:pt x="738429" y="128301"/>
                </a:lnTo>
                <a:lnTo>
                  <a:pt x="769599" y="159475"/>
                </a:lnTo>
                <a:lnTo>
                  <a:pt x="797446" y="193669"/>
                </a:lnTo>
                <a:lnTo>
                  <a:pt x="821715" y="230617"/>
                </a:lnTo>
                <a:lnTo>
                  <a:pt x="842148" y="270051"/>
                </a:lnTo>
                <a:lnTo>
                  <a:pt x="858487" y="311703"/>
                </a:lnTo>
                <a:lnTo>
                  <a:pt x="870476" y="355306"/>
                </a:lnTo>
                <a:lnTo>
                  <a:pt x="877858" y="400592"/>
                </a:lnTo>
                <a:lnTo>
                  <a:pt x="880376" y="447294"/>
                </a:lnTo>
                <a:lnTo>
                  <a:pt x="877858" y="494371"/>
                </a:lnTo>
                <a:lnTo>
                  <a:pt x="870476" y="539930"/>
                </a:lnTo>
                <a:lnTo>
                  <a:pt x="858487" y="583713"/>
                </a:lnTo>
                <a:lnTo>
                  <a:pt x="842148" y="625465"/>
                </a:lnTo>
                <a:lnTo>
                  <a:pt x="821715" y="664929"/>
                </a:lnTo>
                <a:lnTo>
                  <a:pt x="797446" y="701850"/>
                </a:lnTo>
                <a:lnTo>
                  <a:pt x="769599" y="735972"/>
                </a:lnTo>
                <a:lnTo>
                  <a:pt x="738429" y="767038"/>
                </a:lnTo>
                <a:lnTo>
                  <a:pt x="704194" y="794793"/>
                </a:lnTo>
                <a:lnTo>
                  <a:pt x="667152" y="818980"/>
                </a:lnTo>
                <a:lnTo>
                  <a:pt x="627558" y="839344"/>
                </a:lnTo>
                <a:lnTo>
                  <a:pt x="585671" y="855628"/>
                </a:lnTo>
                <a:lnTo>
                  <a:pt x="541747" y="867576"/>
                </a:lnTo>
                <a:lnTo>
                  <a:pt x="496044" y="874933"/>
                </a:lnTo>
                <a:lnTo>
                  <a:pt x="448818" y="877443"/>
                </a:lnTo>
                <a:lnTo>
                  <a:pt x="570181" y="877443"/>
                </a:lnTo>
                <a:lnTo>
                  <a:pt x="634301" y="854813"/>
                </a:lnTo>
                <a:lnTo>
                  <a:pt x="675465" y="833571"/>
                </a:lnTo>
                <a:lnTo>
                  <a:pt x="714000" y="808353"/>
                </a:lnTo>
                <a:lnTo>
                  <a:pt x="749636" y="779432"/>
                </a:lnTo>
                <a:lnTo>
                  <a:pt x="782099" y="747077"/>
                </a:lnTo>
                <a:lnTo>
                  <a:pt x="811117" y="711561"/>
                </a:lnTo>
                <a:lnTo>
                  <a:pt x="836419" y="673156"/>
                </a:lnTo>
                <a:lnTo>
                  <a:pt x="857730" y="632133"/>
                </a:lnTo>
                <a:lnTo>
                  <a:pt x="874780" y="588763"/>
                </a:lnTo>
                <a:lnTo>
                  <a:pt x="887296" y="543319"/>
                </a:lnTo>
                <a:lnTo>
                  <a:pt x="895005" y="496072"/>
                </a:lnTo>
                <a:lnTo>
                  <a:pt x="897636" y="447294"/>
                </a:lnTo>
                <a:lnTo>
                  <a:pt x="895005" y="398891"/>
                </a:lnTo>
                <a:lnTo>
                  <a:pt x="887296" y="351916"/>
                </a:lnTo>
                <a:lnTo>
                  <a:pt x="874780" y="306653"/>
                </a:lnTo>
                <a:lnTo>
                  <a:pt x="857730" y="263383"/>
                </a:lnTo>
                <a:lnTo>
                  <a:pt x="836419" y="222391"/>
                </a:lnTo>
                <a:lnTo>
                  <a:pt x="811117" y="183958"/>
                </a:lnTo>
                <a:lnTo>
                  <a:pt x="782099" y="148370"/>
                </a:lnTo>
                <a:lnTo>
                  <a:pt x="749636" y="115908"/>
                </a:lnTo>
                <a:lnTo>
                  <a:pt x="714000" y="86855"/>
                </a:lnTo>
                <a:lnTo>
                  <a:pt x="675465" y="61496"/>
                </a:lnTo>
                <a:lnTo>
                  <a:pt x="634301" y="40112"/>
                </a:lnTo>
                <a:lnTo>
                  <a:pt x="590782" y="22988"/>
                </a:lnTo>
                <a:lnTo>
                  <a:pt x="569606" y="17145"/>
                </a:lnTo>
                <a:close/>
              </a:path>
            </a:pathLst>
          </a:custGeom>
          <a:solidFill>
            <a:srgbClr val="12ABDB"/>
          </a:solidFill>
        </p:spPr>
        <p:txBody>
          <a:bodyPr wrap="square" lIns="0" tIns="0" rIns="0" bIns="0" rtlCol="0"/>
          <a:lstStyle/>
          <a:p>
            <a:endParaRPr/>
          </a:p>
        </p:txBody>
      </p:sp>
      <p:sp>
        <p:nvSpPr>
          <p:cNvPr id="5" name="object 5"/>
          <p:cNvSpPr/>
          <p:nvPr/>
        </p:nvSpPr>
        <p:spPr>
          <a:xfrm>
            <a:off x="372618" y="1372361"/>
            <a:ext cx="810895" cy="807720"/>
          </a:xfrm>
          <a:custGeom>
            <a:avLst/>
            <a:gdLst/>
            <a:ahLst/>
            <a:cxnLst/>
            <a:rect l="l" t="t" r="r" b="b"/>
            <a:pathLst>
              <a:path w="810894" h="807719">
                <a:moveTo>
                  <a:pt x="405384" y="0"/>
                </a:moveTo>
                <a:lnTo>
                  <a:pt x="358107" y="2717"/>
                </a:lnTo>
                <a:lnTo>
                  <a:pt x="312432" y="10668"/>
                </a:lnTo>
                <a:lnTo>
                  <a:pt x="268664" y="23548"/>
                </a:lnTo>
                <a:lnTo>
                  <a:pt x="227105" y="41054"/>
                </a:lnTo>
                <a:lnTo>
                  <a:pt x="188062" y="62884"/>
                </a:lnTo>
                <a:lnTo>
                  <a:pt x="151836" y="88734"/>
                </a:lnTo>
                <a:lnTo>
                  <a:pt x="118733" y="118300"/>
                </a:lnTo>
                <a:lnTo>
                  <a:pt x="89058" y="151280"/>
                </a:lnTo>
                <a:lnTo>
                  <a:pt x="63113" y="187370"/>
                </a:lnTo>
                <a:lnTo>
                  <a:pt x="41203" y="226267"/>
                </a:lnTo>
                <a:lnTo>
                  <a:pt x="23633" y="267668"/>
                </a:lnTo>
                <a:lnTo>
                  <a:pt x="10706" y="311269"/>
                </a:lnTo>
                <a:lnTo>
                  <a:pt x="2727" y="356767"/>
                </a:lnTo>
                <a:lnTo>
                  <a:pt x="0" y="403860"/>
                </a:lnTo>
                <a:lnTo>
                  <a:pt x="2727" y="450952"/>
                </a:lnTo>
                <a:lnTo>
                  <a:pt x="10706" y="496450"/>
                </a:lnTo>
                <a:lnTo>
                  <a:pt x="23633" y="540051"/>
                </a:lnTo>
                <a:lnTo>
                  <a:pt x="41203" y="581452"/>
                </a:lnTo>
                <a:lnTo>
                  <a:pt x="63113" y="620349"/>
                </a:lnTo>
                <a:lnTo>
                  <a:pt x="89058" y="656439"/>
                </a:lnTo>
                <a:lnTo>
                  <a:pt x="118733" y="689419"/>
                </a:lnTo>
                <a:lnTo>
                  <a:pt x="151836" y="718985"/>
                </a:lnTo>
                <a:lnTo>
                  <a:pt x="188062" y="744835"/>
                </a:lnTo>
                <a:lnTo>
                  <a:pt x="227105" y="766665"/>
                </a:lnTo>
                <a:lnTo>
                  <a:pt x="268664" y="784171"/>
                </a:lnTo>
                <a:lnTo>
                  <a:pt x="312432" y="797052"/>
                </a:lnTo>
                <a:lnTo>
                  <a:pt x="358107" y="805002"/>
                </a:lnTo>
                <a:lnTo>
                  <a:pt x="405384" y="807720"/>
                </a:lnTo>
                <a:lnTo>
                  <a:pt x="452660" y="805002"/>
                </a:lnTo>
                <a:lnTo>
                  <a:pt x="498335" y="797052"/>
                </a:lnTo>
                <a:lnTo>
                  <a:pt x="542103" y="784171"/>
                </a:lnTo>
                <a:lnTo>
                  <a:pt x="583662" y="766665"/>
                </a:lnTo>
                <a:lnTo>
                  <a:pt x="622705" y="744835"/>
                </a:lnTo>
                <a:lnTo>
                  <a:pt x="658931" y="718985"/>
                </a:lnTo>
                <a:lnTo>
                  <a:pt x="692034" y="689419"/>
                </a:lnTo>
                <a:lnTo>
                  <a:pt x="721709" y="656439"/>
                </a:lnTo>
                <a:lnTo>
                  <a:pt x="747654" y="620349"/>
                </a:lnTo>
                <a:lnTo>
                  <a:pt x="769564" y="581452"/>
                </a:lnTo>
                <a:lnTo>
                  <a:pt x="787134" y="540051"/>
                </a:lnTo>
                <a:lnTo>
                  <a:pt x="800061" y="496450"/>
                </a:lnTo>
                <a:lnTo>
                  <a:pt x="808040" y="450952"/>
                </a:lnTo>
                <a:lnTo>
                  <a:pt x="810768" y="403860"/>
                </a:lnTo>
                <a:lnTo>
                  <a:pt x="808040" y="356767"/>
                </a:lnTo>
                <a:lnTo>
                  <a:pt x="800061" y="311269"/>
                </a:lnTo>
                <a:lnTo>
                  <a:pt x="787134" y="267668"/>
                </a:lnTo>
                <a:lnTo>
                  <a:pt x="769564" y="226267"/>
                </a:lnTo>
                <a:lnTo>
                  <a:pt x="747654" y="187370"/>
                </a:lnTo>
                <a:lnTo>
                  <a:pt x="721709" y="151280"/>
                </a:lnTo>
                <a:lnTo>
                  <a:pt x="692034" y="118300"/>
                </a:lnTo>
                <a:lnTo>
                  <a:pt x="658931" y="88734"/>
                </a:lnTo>
                <a:lnTo>
                  <a:pt x="622705" y="62884"/>
                </a:lnTo>
                <a:lnTo>
                  <a:pt x="583662" y="41054"/>
                </a:lnTo>
                <a:lnTo>
                  <a:pt x="542103" y="23548"/>
                </a:lnTo>
                <a:lnTo>
                  <a:pt x="498335" y="10668"/>
                </a:lnTo>
                <a:lnTo>
                  <a:pt x="452660" y="2717"/>
                </a:lnTo>
                <a:lnTo>
                  <a:pt x="405384" y="0"/>
                </a:lnTo>
                <a:close/>
              </a:path>
            </a:pathLst>
          </a:custGeom>
          <a:solidFill>
            <a:srgbClr val="2B133C"/>
          </a:solidFill>
        </p:spPr>
        <p:txBody>
          <a:bodyPr wrap="square" lIns="0" tIns="0" rIns="0" bIns="0" rtlCol="0"/>
          <a:lstStyle/>
          <a:p>
            <a:endParaRPr/>
          </a:p>
        </p:txBody>
      </p:sp>
      <p:sp>
        <p:nvSpPr>
          <p:cNvPr id="6" name="object 6"/>
          <p:cNvSpPr/>
          <p:nvPr/>
        </p:nvSpPr>
        <p:spPr>
          <a:xfrm>
            <a:off x="372618" y="1372361"/>
            <a:ext cx="810895" cy="807720"/>
          </a:xfrm>
          <a:custGeom>
            <a:avLst/>
            <a:gdLst/>
            <a:ahLst/>
            <a:cxnLst/>
            <a:rect l="l" t="t" r="r" b="b"/>
            <a:pathLst>
              <a:path w="810894" h="807719">
                <a:moveTo>
                  <a:pt x="405384" y="0"/>
                </a:moveTo>
                <a:lnTo>
                  <a:pt x="452660" y="2717"/>
                </a:lnTo>
                <a:lnTo>
                  <a:pt x="498335" y="10667"/>
                </a:lnTo>
                <a:lnTo>
                  <a:pt x="542103" y="23548"/>
                </a:lnTo>
                <a:lnTo>
                  <a:pt x="583662" y="41054"/>
                </a:lnTo>
                <a:lnTo>
                  <a:pt x="622705" y="62884"/>
                </a:lnTo>
                <a:lnTo>
                  <a:pt x="658931" y="88734"/>
                </a:lnTo>
                <a:lnTo>
                  <a:pt x="692034" y="118300"/>
                </a:lnTo>
                <a:lnTo>
                  <a:pt x="721709" y="151280"/>
                </a:lnTo>
                <a:lnTo>
                  <a:pt x="747654" y="187370"/>
                </a:lnTo>
                <a:lnTo>
                  <a:pt x="769564" y="226267"/>
                </a:lnTo>
                <a:lnTo>
                  <a:pt x="787134" y="267668"/>
                </a:lnTo>
                <a:lnTo>
                  <a:pt x="800061" y="311269"/>
                </a:lnTo>
                <a:lnTo>
                  <a:pt x="808040" y="356767"/>
                </a:lnTo>
                <a:lnTo>
                  <a:pt x="810768" y="403860"/>
                </a:lnTo>
                <a:lnTo>
                  <a:pt x="808040" y="450952"/>
                </a:lnTo>
                <a:lnTo>
                  <a:pt x="800061" y="496450"/>
                </a:lnTo>
                <a:lnTo>
                  <a:pt x="787134" y="540051"/>
                </a:lnTo>
                <a:lnTo>
                  <a:pt x="769564" y="581452"/>
                </a:lnTo>
                <a:lnTo>
                  <a:pt x="747654" y="620349"/>
                </a:lnTo>
                <a:lnTo>
                  <a:pt x="721709" y="656439"/>
                </a:lnTo>
                <a:lnTo>
                  <a:pt x="692034" y="689419"/>
                </a:lnTo>
                <a:lnTo>
                  <a:pt x="658931" y="718985"/>
                </a:lnTo>
                <a:lnTo>
                  <a:pt x="622705" y="744835"/>
                </a:lnTo>
                <a:lnTo>
                  <a:pt x="583662" y="766665"/>
                </a:lnTo>
                <a:lnTo>
                  <a:pt x="542103" y="784171"/>
                </a:lnTo>
                <a:lnTo>
                  <a:pt x="498335" y="797051"/>
                </a:lnTo>
                <a:lnTo>
                  <a:pt x="452660" y="805002"/>
                </a:lnTo>
                <a:lnTo>
                  <a:pt x="405384" y="807720"/>
                </a:lnTo>
                <a:lnTo>
                  <a:pt x="358107" y="805002"/>
                </a:lnTo>
                <a:lnTo>
                  <a:pt x="312432" y="797052"/>
                </a:lnTo>
                <a:lnTo>
                  <a:pt x="268664" y="784171"/>
                </a:lnTo>
                <a:lnTo>
                  <a:pt x="227105" y="766665"/>
                </a:lnTo>
                <a:lnTo>
                  <a:pt x="188062" y="744835"/>
                </a:lnTo>
                <a:lnTo>
                  <a:pt x="151836" y="718985"/>
                </a:lnTo>
                <a:lnTo>
                  <a:pt x="118733" y="689419"/>
                </a:lnTo>
                <a:lnTo>
                  <a:pt x="89058" y="656439"/>
                </a:lnTo>
                <a:lnTo>
                  <a:pt x="63113" y="620349"/>
                </a:lnTo>
                <a:lnTo>
                  <a:pt x="41203" y="581452"/>
                </a:lnTo>
                <a:lnTo>
                  <a:pt x="23633" y="540051"/>
                </a:lnTo>
                <a:lnTo>
                  <a:pt x="10706" y="496450"/>
                </a:lnTo>
                <a:lnTo>
                  <a:pt x="2727" y="450952"/>
                </a:lnTo>
                <a:lnTo>
                  <a:pt x="0" y="403860"/>
                </a:lnTo>
                <a:lnTo>
                  <a:pt x="2727" y="356767"/>
                </a:lnTo>
                <a:lnTo>
                  <a:pt x="10706" y="311269"/>
                </a:lnTo>
                <a:lnTo>
                  <a:pt x="23633" y="267668"/>
                </a:lnTo>
                <a:lnTo>
                  <a:pt x="41203" y="226267"/>
                </a:lnTo>
                <a:lnTo>
                  <a:pt x="63113" y="187370"/>
                </a:lnTo>
                <a:lnTo>
                  <a:pt x="89058" y="151280"/>
                </a:lnTo>
                <a:lnTo>
                  <a:pt x="118733" y="118300"/>
                </a:lnTo>
                <a:lnTo>
                  <a:pt x="151836" y="88734"/>
                </a:lnTo>
                <a:lnTo>
                  <a:pt x="188062" y="62884"/>
                </a:lnTo>
                <a:lnTo>
                  <a:pt x="227105" y="41054"/>
                </a:lnTo>
                <a:lnTo>
                  <a:pt x="268664" y="23548"/>
                </a:lnTo>
                <a:lnTo>
                  <a:pt x="312432" y="10668"/>
                </a:lnTo>
                <a:lnTo>
                  <a:pt x="358107" y="2717"/>
                </a:lnTo>
                <a:lnTo>
                  <a:pt x="405384" y="0"/>
                </a:lnTo>
                <a:close/>
              </a:path>
            </a:pathLst>
          </a:custGeom>
          <a:ln w="19812">
            <a:solidFill>
              <a:srgbClr val="006FAC"/>
            </a:solidFill>
          </a:ln>
        </p:spPr>
        <p:txBody>
          <a:bodyPr wrap="square" lIns="0" tIns="0" rIns="0" bIns="0" rtlCol="0"/>
          <a:lstStyle/>
          <a:p>
            <a:endParaRPr/>
          </a:p>
        </p:txBody>
      </p:sp>
      <p:sp>
        <p:nvSpPr>
          <p:cNvPr id="7" name="object 7"/>
          <p:cNvSpPr/>
          <p:nvPr/>
        </p:nvSpPr>
        <p:spPr>
          <a:xfrm>
            <a:off x="198120" y="1748027"/>
            <a:ext cx="546100" cy="1450975"/>
          </a:xfrm>
          <a:custGeom>
            <a:avLst/>
            <a:gdLst/>
            <a:ahLst/>
            <a:cxnLst/>
            <a:rect l="l" t="t" r="r" b="b"/>
            <a:pathLst>
              <a:path w="546100" h="1450975">
                <a:moveTo>
                  <a:pt x="30187" y="0"/>
                </a:moveTo>
                <a:lnTo>
                  <a:pt x="18195" y="2258"/>
                </a:lnTo>
                <a:lnTo>
                  <a:pt x="8626" y="8350"/>
                </a:lnTo>
                <a:lnTo>
                  <a:pt x="2291" y="17252"/>
                </a:lnTo>
                <a:lnTo>
                  <a:pt x="0" y="27939"/>
                </a:lnTo>
                <a:lnTo>
                  <a:pt x="1549" y="38324"/>
                </a:lnTo>
                <a:lnTo>
                  <a:pt x="5929" y="46720"/>
                </a:lnTo>
                <a:lnTo>
                  <a:pt x="12735" y="52710"/>
                </a:lnTo>
                <a:lnTo>
                  <a:pt x="21564" y="55880"/>
                </a:lnTo>
                <a:lnTo>
                  <a:pt x="26159" y="105274"/>
                </a:lnTo>
                <a:lnTo>
                  <a:pt x="34971" y="153364"/>
                </a:lnTo>
                <a:lnTo>
                  <a:pt x="47820" y="199953"/>
                </a:lnTo>
                <a:lnTo>
                  <a:pt x="64526" y="244848"/>
                </a:lnTo>
                <a:lnTo>
                  <a:pt x="84908" y="287852"/>
                </a:lnTo>
                <a:lnTo>
                  <a:pt x="108788" y="328771"/>
                </a:lnTo>
                <a:lnTo>
                  <a:pt x="135984" y="367410"/>
                </a:lnTo>
                <a:lnTo>
                  <a:pt x="166317" y="403574"/>
                </a:lnTo>
                <a:lnTo>
                  <a:pt x="199607" y="437068"/>
                </a:lnTo>
                <a:lnTo>
                  <a:pt x="235674" y="467697"/>
                </a:lnTo>
                <a:lnTo>
                  <a:pt x="274337" y="495266"/>
                </a:lnTo>
                <a:lnTo>
                  <a:pt x="315417" y="519580"/>
                </a:lnTo>
                <a:lnTo>
                  <a:pt x="358734" y="540445"/>
                </a:lnTo>
                <a:lnTo>
                  <a:pt x="404107" y="557664"/>
                </a:lnTo>
                <a:lnTo>
                  <a:pt x="451357" y="571044"/>
                </a:lnTo>
                <a:lnTo>
                  <a:pt x="500303" y="580389"/>
                </a:lnTo>
                <a:lnTo>
                  <a:pt x="500303" y="1377823"/>
                </a:lnTo>
                <a:lnTo>
                  <a:pt x="488311" y="1381660"/>
                </a:lnTo>
                <a:lnTo>
                  <a:pt x="478742" y="1389570"/>
                </a:lnTo>
                <a:lnTo>
                  <a:pt x="472407" y="1400718"/>
                </a:lnTo>
                <a:lnTo>
                  <a:pt x="470115" y="1414272"/>
                </a:lnTo>
                <a:lnTo>
                  <a:pt x="473147" y="1428184"/>
                </a:lnTo>
                <a:lnTo>
                  <a:pt x="481434" y="1439846"/>
                </a:lnTo>
                <a:lnTo>
                  <a:pt x="493765" y="1447865"/>
                </a:lnTo>
                <a:lnTo>
                  <a:pt x="508927" y="1450848"/>
                </a:lnTo>
                <a:lnTo>
                  <a:pt x="523753" y="1447865"/>
                </a:lnTo>
                <a:lnTo>
                  <a:pt x="535346" y="1439846"/>
                </a:lnTo>
                <a:lnTo>
                  <a:pt x="539323" y="1433702"/>
                </a:lnTo>
                <a:lnTo>
                  <a:pt x="508927" y="1433702"/>
                </a:lnTo>
                <a:lnTo>
                  <a:pt x="501008" y="1432184"/>
                </a:lnTo>
                <a:lnTo>
                  <a:pt x="494101" y="1428035"/>
                </a:lnTo>
                <a:lnTo>
                  <a:pt x="489215" y="1421862"/>
                </a:lnTo>
                <a:lnTo>
                  <a:pt x="487362" y="1414272"/>
                </a:lnTo>
                <a:lnTo>
                  <a:pt x="489215" y="1405507"/>
                </a:lnTo>
                <a:lnTo>
                  <a:pt x="494101" y="1398730"/>
                </a:lnTo>
                <a:lnTo>
                  <a:pt x="501008" y="1394358"/>
                </a:lnTo>
                <a:lnTo>
                  <a:pt x="508927" y="1392809"/>
                </a:lnTo>
                <a:lnTo>
                  <a:pt x="539669" y="1392809"/>
                </a:lnTo>
                <a:lnTo>
                  <a:pt x="538045" y="1389570"/>
                </a:lnTo>
                <a:lnTo>
                  <a:pt x="529218" y="1381660"/>
                </a:lnTo>
                <a:lnTo>
                  <a:pt x="517563" y="1377823"/>
                </a:lnTo>
                <a:lnTo>
                  <a:pt x="517563" y="565276"/>
                </a:lnTo>
                <a:lnTo>
                  <a:pt x="508927" y="563118"/>
                </a:lnTo>
                <a:lnTo>
                  <a:pt x="461144" y="554963"/>
                </a:lnTo>
                <a:lnTo>
                  <a:pt x="414960" y="542729"/>
                </a:lnTo>
                <a:lnTo>
                  <a:pt x="370558" y="526617"/>
                </a:lnTo>
                <a:lnTo>
                  <a:pt x="328120" y="506829"/>
                </a:lnTo>
                <a:lnTo>
                  <a:pt x="287830" y="483565"/>
                </a:lnTo>
                <a:lnTo>
                  <a:pt x="249872" y="457028"/>
                </a:lnTo>
                <a:lnTo>
                  <a:pt x="214427" y="427419"/>
                </a:lnTo>
                <a:lnTo>
                  <a:pt x="181681" y="394938"/>
                </a:lnTo>
                <a:lnTo>
                  <a:pt x="151815" y="359787"/>
                </a:lnTo>
                <a:lnTo>
                  <a:pt x="125014" y="322167"/>
                </a:lnTo>
                <a:lnTo>
                  <a:pt x="101459" y="282280"/>
                </a:lnTo>
                <a:lnTo>
                  <a:pt x="81336" y="240327"/>
                </a:lnTo>
                <a:lnTo>
                  <a:pt x="64826" y="196509"/>
                </a:lnTo>
                <a:lnTo>
                  <a:pt x="52113" y="151028"/>
                </a:lnTo>
                <a:lnTo>
                  <a:pt x="43380" y="104084"/>
                </a:lnTo>
                <a:lnTo>
                  <a:pt x="38811" y="55880"/>
                </a:lnTo>
                <a:lnTo>
                  <a:pt x="46394" y="51514"/>
                </a:lnTo>
                <a:lnTo>
                  <a:pt x="52563" y="45148"/>
                </a:lnTo>
                <a:lnTo>
                  <a:pt x="56711" y="37163"/>
                </a:lnTo>
                <a:lnTo>
                  <a:pt x="58229" y="27939"/>
                </a:lnTo>
                <a:lnTo>
                  <a:pt x="55971" y="17252"/>
                </a:lnTo>
                <a:lnTo>
                  <a:pt x="49871" y="8350"/>
                </a:lnTo>
                <a:lnTo>
                  <a:pt x="40939" y="2258"/>
                </a:lnTo>
                <a:lnTo>
                  <a:pt x="30187" y="0"/>
                </a:lnTo>
                <a:close/>
              </a:path>
              <a:path w="546100" h="1450975">
                <a:moveTo>
                  <a:pt x="539669" y="1392809"/>
                </a:moveTo>
                <a:lnTo>
                  <a:pt x="508927" y="1392809"/>
                </a:lnTo>
                <a:lnTo>
                  <a:pt x="516509" y="1394358"/>
                </a:lnTo>
                <a:lnTo>
                  <a:pt x="522679" y="1398730"/>
                </a:lnTo>
                <a:lnTo>
                  <a:pt x="526827" y="1405507"/>
                </a:lnTo>
                <a:lnTo>
                  <a:pt x="528345" y="1414272"/>
                </a:lnTo>
                <a:lnTo>
                  <a:pt x="526827" y="1421862"/>
                </a:lnTo>
                <a:lnTo>
                  <a:pt x="522679" y="1428035"/>
                </a:lnTo>
                <a:lnTo>
                  <a:pt x="516509" y="1432184"/>
                </a:lnTo>
                <a:lnTo>
                  <a:pt x="508927" y="1433702"/>
                </a:lnTo>
                <a:lnTo>
                  <a:pt x="539323" y="1433702"/>
                </a:lnTo>
                <a:lnTo>
                  <a:pt x="542895" y="1428184"/>
                </a:lnTo>
                <a:lnTo>
                  <a:pt x="545592" y="1414272"/>
                </a:lnTo>
                <a:lnTo>
                  <a:pt x="543637" y="1400718"/>
                </a:lnTo>
                <a:lnTo>
                  <a:pt x="539669" y="1392809"/>
                </a:lnTo>
                <a:close/>
              </a:path>
            </a:pathLst>
          </a:custGeom>
          <a:solidFill>
            <a:srgbClr val="12ABDB"/>
          </a:solidFill>
        </p:spPr>
        <p:txBody>
          <a:bodyPr wrap="square" lIns="0" tIns="0" rIns="0" bIns="0" rtlCol="0"/>
          <a:lstStyle/>
          <a:p>
            <a:endParaRPr/>
          </a:p>
        </p:txBody>
      </p:sp>
      <p:sp>
        <p:nvSpPr>
          <p:cNvPr id="8" name="object 8"/>
          <p:cNvSpPr/>
          <p:nvPr/>
        </p:nvSpPr>
        <p:spPr>
          <a:xfrm>
            <a:off x="268224" y="1269491"/>
            <a:ext cx="1019810" cy="1015365"/>
          </a:xfrm>
          <a:custGeom>
            <a:avLst/>
            <a:gdLst/>
            <a:ahLst/>
            <a:cxnLst/>
            <a:rect l="l" t="t" r="r" b="b"/>
            <a:pathLst>
              <a:path w="1019810" h="1015364">
                <a:moveTo>
                  <a:pt x="508660" y="0"/>
                </a:moveTo>
                <a:lnTo>
                  <a:pt x="459790" y="2326"/>
                </a:lnTo>
                <a:lnTo>
                  <a:pt x="412209" y="9163"/>
                </a:lnTo>
                <a:lnTo>
                  <a:pt x="366133" y="20294"/>
                </a:lnTo>
                <a:lnTo>
                  <a:pt x="321778" y="35504"/>
                </a:lnTo>
                <a:lnTo>
                  <a:pt x="279359" y="54579"/>
                </a:lnTo>
                <a:lnTo>
                  <a:pt x="239094" y="77304"/>
                </a:lnTo>
                <a:lnTo>
                  <a:pt x="201196" y="103462"/>
                </a:lnTo>
                <a:lnTo>
                  <a:pt x="165884" y="132840"/>
                </a:lnTo>
                <a:lnTo>
                  <a:pt x="133372" y="165222"/>
                </a:lnTo>
                <a:lnTo>
                  <a:pt x="103876" y="200392"/>
                </a:lnTo>
                <a:lnTo>
                  <a:pt x="77612" y="238136"/>
                </a:lnTo>
                <a:lnTo>
                  <a:pt x="54797" y="278239"/>
                </a:lnTo>
                <a:lnTo>
                  <a:pt x="35646" y="320485"/>
                </a:lnTo>
                <a:lnTo>
                  <a:pt x="20374" y="364660"/>
                </a:lnTo>
                <a:lnTo>
                  <a:pt x="9199" y="410548"/>
                </a:lnTo>
                <a:lnTo>
                  <a:pt x="2335" y="457934"/>
                </a:lnTo>
                <a:lnTo>
                  <a:pt x="0" y="506603"/>
                </a:lnTo>
                <a:lnTo>
                  <a:pt x="2204" y="554511"/>
                </a:lnTo>
                <a:lnTo>
                  <a:pt x="8689" y="601153"/>
                </a:lnTo>
                <a:lnTo>
                  <a:pt x="19259" y="646330"/>
                </a:lnTo>
                <a:lnTo>
                  <a:pt x="33720" y="689847"/>
                </a:lnTo>
                <a:lnTo>
                  <a:pt x="51877" y="731507"/>
                </a:lnTo>
                <a:lnTo>
                  <a:pt x="73534" y="771114"/>
                </a:lnTo>
                <a:lnTo>
                  <a:pt x="98498" y="808469"/>
                </a:lnTo>
                <a:lnTo>
                  <a:pt x="126573" y="843378"/>
                </a:lnTo>
                <a:lnTo>
                  <a:pt x="157566" y="875643"/>
                </a:lnTo>
                <a:lnTo>
                  <a:pt x="191280" y="905067"/>
                </a:lnTo>
                <a:lnTo>
                  <a:pt x="227522" y="931454"/>
                </a:lnTo>
                <a:lnTo>
                  <a:pt x="266097" y="954607"/>
                </a:lnTo>
                <a:lnTo>
                  <a:pt x="306810" y="974330"/>
                </a:lnTo>
                <a:lnTo>
                  <a:pt x="349466" y="990426"/>
                </a:lnTo>
                <a:lnTo>
                  <a:pt x="393870" y="1002698"/>
                </a:lnTo>
                <a:lnTo>
                  <a:pt x="439829" y="1010949"/>
                </a:lnTo>
                <a:lnTo>
                  <a:pt x="487146" y="1014984"/>
                </a:lnTo>
                <a:lnTo>
                  <a:pt x="530275" y="1014984"/>
                </a:lnTo>
                <a:lnTo>
                  <a:pt x="530275" y="972185"/>
                </a:lnTo>
                <a:lnTo>
                  <a:pt x="508660" y="972185"/>
                </a:lnTo>
                <a:lnTo>
                  <a:pt x="461174" y="969785"/>
                </a:lnTo>
                <a:lnTo>
                  <a:pt x="415034" y="962743"/>
                </a:lnTo>
                <a:lnTo>
                  <a:pt x="370478" y="951289"/>
                </a:lnTo>
                <a:lnTo>
                  <a:pt x="327741" y="935656"/>
                </a:lnTo>
                <a:lnTo>
                  <a:pt x="287061" y="916076"/>
                </a:lnTo>
                <a:lnTo>
                  <a:pt x="248676" y="892782"/>
                </a:lnTo>
                <a:lnTo>
                  <a:pt x="212821" y="866005"/>
                </a:lnTo>
                <a:lnTo>
                  <a:pt x="179735" y="835977"/>
                </a:lnTo>
                <a:lnTo>
                  <a:pt x="149653" y="802931"/>
                </a:lnTo>
                <a:lnTo>
                  <a:pt x="122813" y="767099"/>
                </a:lnTo>
                <a:lnTo>
                  <a:pt x="99453" y="728714"/>
                </a:lnTo>
                <a:lnTo>
                  <a:pt x="79808" y="688006"/>
                </a:lnTo>
                <a:lnTo>
                  <a:pt x="64116" y="645209"/>
                </a:lnTo>
                <a:lnTo>
                  <a:pt x="52615" y="600555"/>
                </a:lnTo>
                <a:lnTo>
                  <a:pt x="45540" y="554275"/>
                </a:lnTo>
                <a:lnTo>
                  <a:pt x="43129" y="506603"/>
                </a:lnTo>
                <a:lnTo>
                  <a:pt x="45540" y="459288"/>
                </a:lnTo>
                <a:lnTo>
                  <a:pt x="52615" y="413321"/>
                </a:lnTo>
                <a:lnTo>
                  <a:pt x="64116" y="368938"/>
                </a:lnTo>
                <a:lnTo>
                  <a:pt x="79808" y="326374"/>
                </a:lnTo>
                <a:lnTo>
                  <a:pt x="99453" y="285863"/>
                </a:lnTo>
                <a:lnTo>
                  <a:pt x="122813" y="247642"/>
                </a:lnTo>
                <a:lnTo>
                  <a:pt x="149653" y="211944"/>
                </a:lnTo>
                <a:lnTo>
                  <a:pt x="179735" y="179006"/>
                </a:lnTo>
                <a:lnTo>
                  <a:pt x="212821" y="149062"/>
                </a:lnTo>
                <a:lnTo>
                  <a:pt x="248676" y="122348"/>
                </a:lnTo>
                <a:lnTo>
                  <a:pt x="287061" y="99099"/>
                </a:lnTo>
                <a:lnTo>
                  <a:pt x="327741" y="79549"/>
                </a:lnTo>
                <a:lnTo>
                  <a:pt x="370478" y="63935"/>
                </a:lnTo>
                <a:lnTo>
                  <a:pt x="415034" y="52490"/>
                </a:lnTo>
                <a:lnTo>
                  <a:pt x="461174" y="45451"/>
                </a:lnTo>
                <a:lnTo>
                  <a:pt x="508660" y="43053"/>
                </a:lnTo>
                <a:lnTo>
                  <a:pt x="713648" y="43053"/>
                </a:lnTo>
                <a:lnTo>
                  <a:pt x="696778" y="35504"/>
                </a:lnTo>
                <a:lnTo>
                  <a:pt x="652174" y="20294"/>
                </a:lnTo>
                <a:lnTo>
                  <a:pt x="605811" y="9163"/>
                </a:lnTo>
                <a:lnTo>
                  <a:pt x="557902" y="2326"/>
                </a:lnTo>
                <a:lnTo>
                  <a:pt x="508660" y="0"/>
                </a:lnTo>
                <a:close/>
              </a:path>
              <a:path w="1019810" h="1015364">
                <a:moveTo>
                  <a:pt x="713648" y="43053"/>
                </a:moveTo>
                <a:lnTo>
                  <a:pt x="508660" y="43053"/>
                </a:lnTo>
                <a:lnTo>
                  <a:pt x="556539" y="45451"/>
                </a:lnTo>
                <a:lnTo>
                  <a:pt x="603023" y="52490"/>
                </a:lnTo>
                <a:lnTo>
                  <a:pt x="647878" y="63935"/>
                </a:lnTo>
                <a:lnTo>
                  <a:pt x="690871" y="79549"/>
                </a:lnTo>
                <a:lnTo>
                  <a:pt x="731767" y="99099"/>
                </a:lnTo>
                <a:lnTo>
                  <a:pt x="770333" y="122348"/>
                </a:lnTo>
                <a:lnTo>
                  <a:pt x="806336" y="149062"/>
                </a:lnTo>
                <a:lnTo>
                  <a:pt x="839541" y="179006"/>
                </a:lnTo>
                <a:lnTo>
                  <a:pt x="869715" y="211944"/>
                </a:lnTo>
                <a:lnTo>
                  <a:pt x="896624" y="247642"/>
                </a:lnTo>
                <a:lnTo>
                  <a:pt x="920034" y="285863"/>
                </a:lnTo>
                <a:lnTo>
                  <a:pt x="939712" y="326374"/>
                </a:lnTo>
                <a:lnTo>
                  <a:pt x="955424" y="368938"/>
                </a:lnTo>
                <a:lnTo>
                  <a:pt x="966936" y="413321"/>
                </a:lnTo>
                <a:lnTo>
                  <a:pt x="974015" y="459288"/>
                </a:lnTo>
                <a:lnTo>
                  <a:pt x="976426" y="506603"/>
                </a:lnTo>
                <a:lnTo>
                  <a:pt x="973853" y="555632"/>
                </a:lnTo>
                <a:lnTo>
                  <a:pt x="966314" y="603153"/>
                </a:lnTo>
                <a:lnTo>
                  <a:pt x="954081" y="648921"/>
                </a:lnTo>
                <a:lnTo>
                  <a:pt x="937428" y="692693"/>
                </a:lnTo>
                <a:lnTo>
                  <a:pt x="916625" y="734227"/>
                </a:lnTo>
                <a:lnTo>
                  <a:pt x="891945" y="773278"/>
                </a:lnTo>
                <a:lnTo>
                  <a:pt x="863660" y="809603"/>
                </a:lnTo>
                <a:lnTo>
                  <a:pt x="832042" y="842960"/>
                </a:lnTo>
                <a:lnTo>
                  <a:pt x="797363" y="873104"/>
                </a:lnTo>
                <a:lnTo>
                  <a:pt x="759896" y="899792"/>
                </a:lnTo>
                <a:lnTo>
                  <a:pt x="719912" y="922782"/>
                </a:lnTo>
                <a:lnTo>
                  <a:pt x="719912" y="970153"/>
                </a:lnTo>
                <a:lnTo>
                  <a:pt x="762944" y="948265"/>
                </a:lnTo>
                <a:lnTo>
                  <a:pt x="803491" y="922516"/>
                </a:lnTo>
                <a:lnTo>
                  <a:pt x="841312" y="893151"/>
                </a:lnTo>
                <a:lnTo>
                  <a:pt x="876168" y="860415"/>
                </a:lnTo>
                <a:lnTo>
                  <a:pt x="907820" y="824554"/>
                </a:lnTo>
                <a:lnTo>
                  <a:pt x="936028" y="785812"/>
                </a:lnTo>
                <a:lnTo>
                  <a:pt x="960553" y="744435"/>
                </a:lnTo>
                <a:lnTo>
                  <a:pt x="981155" y="700668"/>
                </a:lnTo>
                <a:lnTo>
                  <a:pt x="997596" y="654756"/>
                </a:lnTo>
                <a:lnTo>
                  <a:pt x="1009636" y="606944"/>
                </a:lnTo>
                <a:lnTo>
                  <a:pt x="1017036" y="557478"/>
                </a:lnTo>
                <a:lnTo>
                  <a:pt x="1019556" y="506603"/>
                </a:lnTo>
                <a:lnTo>
                  <a:pt x="1017219" y="457934"/>
                </a:lnTo>
                <a:lnTo>
                  <a:pt x="1010352" y="410548"/>
                </a:lnTo>
                <a:lnTo>
                  <a:pt x="999168" y="364660"/>
                </a:lnTo>
                <a:lnTo>
                  <a:pt x="983880" y="320485"/>
                </a:lnTo>
                <a:lnTo>
                  <a:pt x="964701" y="278239"/>
                </a:lnTo>
                <a:lnTo>
                  <a:pt x="941844" y="238136"/>
                </a:lnTo>
                <a:lnTo>
                  <a:pt x="915523" y="200392"/>
                </a:lnTo>
                <a:lnTo>
                  <a:pt x="885950" y="165222"/>
                </a:lnTo>
                <a:lnTo>
                  <a:pt x="853340" y="132840"/>
                </a:lnTo>
                <a:lnTo>
                  <a:pt x="817904" y="103462"/>
                </a:lnTo>
                <a:lnTo>
                  <a:pt x="779856" y="77304"/>
                </a:lnTo>
                <a:lnTo>
                  <a:pt x="739410" y="54579"/>
                </a:lnTo>
                <a:lnTo>
                  <a:pt x="713648" y="43053"/>
                </a:lnTo>
                <a:close/>
              </a:path>
            </a:pathLst>
          </a:custGeom>
          <a:solidFill>
            <a:srgbClr val="006FAC"/>
          </a:solidFill>
        </p:spPr>
        <p:txBody>
          <a:bodyPr wrap="square" lIns="0" tIns="0" rIns="0" bIns="0" rtlCol="0"/>
          <a:lstStyle/>
          <a:p>
            <a:endParaRPr/>
          </a:p>
        </p:txBody>
      </p:sp>
      <p:sp>
        <p:nvSpPr>
          <p:cNvPr id="9" name="object 9"/>
          <p:cNvSpPr/>
          <p:nvPr/>
        </p:nvSpPr>
        <p:spPr>
          <a:xfrm>
            <a:off x="781812" y="2244851"/>
            <a:ext cx="0" cy="3566160"/>
          </a:xfrm>
          <a:custGeom>
            <a:avLst/>
            <a:gdLst/>
            <a:ahLst/>
            <a:cxnLst/>
            <a:rect l="l" t="t" r="r" b="b"/>
            <a:pathLst>
              <a:path h="3566160">
                <a:moveTo>
                  <a:pt x="0" y="0"/>
                </a:moveTo>
                <a:lnTo>
                  <a:pt x="0" y="3566160"/>
                </a:lnTo>
              </a:path>
            </a:pathLst>
          </a:custGeom>
          <a:ln w="36576">
            <a:solidFill>
              <a:srgbClr val="006FAC"/>
            </a:solidFill>
          </a:ln>
        </p:spPr>
        <p:txBody>
          <a:bodyPr wrap="square" lIns="0" tIns="0" rIns="0" bIns="0" rtlCol="0"/>
          <a:lstStyle/>
          <a:p>
            <a:endParaRPr/>
          </a:p>
        </p:txBody>
      </p:sp>
      <p:sp>
        <p:nvSpPr>
          <p:cNvPr id="10" name="object 10"/>
          <p:cNvSpPr/>
          <p:nvPr/>
        </p:nvSpPr>
        <p:spPr>
          <a:xfrm>
            <a:off x="669036" y="5766815"/>
            <a:ext cx="216408" cy="213359"/>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554736" y="1557527"/>
            <a:ext cx="340360" cy="398145"/>
          </a:xfrm>
          <a:custGeom>
            <a:avLst/>
            <a:gdLst/>
            <a:ahLst/>
            <a:cxnLst/>
            <a:rect l="l" t="t" r="r" b="b"/>
            <a:pathLst>
              <a:path w="340359" h="398144">
                <a:moveTo>
                  <a:pt x="301244" y="0"/>
                </a:moveTo>
                <a:lnTo>
                  <a:pt x="36537" y="0"/>
                </a:lnTo>
                <a:lnTo>
                  <a:pt x="28956" y="635"/>
                </a:lnTo>
                <a:lnTo>
                  <a:pt x="685" y="29718"/>
                </a:lnTo>
                <a:lnTo>
                  <a:pt x="0" y="37337"/>
                </a:lnTo>
                <a:lnTo>
                  <a:pt x="0" y="359029"/>
                </a:lnTo>
                <a:lnTo>
                  <a:pt x="22745" y="394970"/>
                </a:lnTo>
                <a:lnTo>
                  <a:pt x="37909" y="397763"/>
                </a:lnTo>
                <a:lnTo>
                  <a:pt x="186817" y="397763"/>
                </a:lnTo>
                <a:lnTo>
                  <a:pt x="168897" y="382524"/>
                </a:lnTo>
                <a:lnTo>
                  <a:pt x="164071" y="377063"/>
                </a:lnTo>
                <a:lnTo>
                  <a:pt x="159245" y="371475"/>
                </a:lnTo>
                <a:lnTo>
                  <a:pt x="155105" y="365251"/>
                </a:lnTo>
                <a:lnTo>
                  <a:pt x="151663" y="359029"/>
                </a:lnTo>
                <a:lnTo>
                  <a:pt x="66865" y="359029"/>
                </a:lnTo>
                <a:lnTo>
                  <a:pt x="37223" y="330073"/>
                </a:lnTo>
                <a:lnTo>
                  <a:pt x="37223" y="66929"/>
                </a:lnTo>
                <a:lnTo>
                  <a:pt x="66865" y="37973"/>
                </a:lnTo>
                <a:lnTo>
                  <a:pt x="339793" y="37973"/>
                </a:lnTo>
                <a:lnTo>
                  <a:pt x="339166" y="31114"/>
                </a:lnTo>
                <a:lnTo>
                  <a:pt x="309524" y="635"/>
                </a:lnTo>
                <a:lnTo>
                  <a:pt x="301244" y="0"/>
                </a:lnTo>
                <a:close/>
              </a:path>
              <a:path w="340359" h="398144">
                <a:moveTo>
                  <a:pt x="339793" y="37973"/>
                </a:moveTo>
                <a:lnTo>
                  <a:pt x="272300" y="37973"/>
                </a:lnTo>
                <a:lnTo>
                  <a:pt x="278498" y="38608"/>
                </a:lnTo>
                <a:lnTo>
                  <a:pt x="284010" y="40005"/>
                </a:lnTo>
                <a:lnTo>
                  <a:pt x="301942" y="66929"/>
                </a:lnTo>
                <a:lnTo>
                  <a:pt x="301942" y="287274"/>
                </a:lnTo>
                <a:lnTo>
                  <a:pt x="339852" y="242443"/>
                </a:lnTo>
                <a:lnTo>
                  <a:pt x="339793" y="37973"/>
                </a:lnTo>
                <a:close/>
              </a:path>
            </a:pathLst>
          </a:custGeom>
          <a:solidFill>
            <a:srgbClr val="FFFFFF"/>
          </a:solidFill>
        </p:spPr>
        <p:txBody>
          <a:bodyPr wrap="square" lIns="0" tIns="0" rIns="0" bIns="0" rtlCol="0"/>
          <a:lstStyle/>
          <a:p>
            <a:endParaRPr/>
          </a:p>
        </p:txBody>
      </p:sp>
      <p:sp>
        <p:nvSpPr>
          <p:cNvPr id="12" name="object 12"/>
          <p:cNvSpPr/>
          <p:nvPr/>
        </p:nvSpPr>
        <p:spPr>
          <a:xfrm>
            <a:off x="554736" y="1557527"/>
            <a:ext cx="340360" cy="398145"/>
          </a:xfrm>
          <a:custGeom>
            <a:avLst/>
            <a:gdLst/>
            <a:ahLst/>
            <a:cxnLst/>
            <a:rect l="l" t="t" r="r" b="b"/>
            <a:pathLst>
              <a:path w="340359" h="398144">
                <a:moveTo>
                  <a:pt x="301244" y="0"/>
                </a:moveTo>
                <a:lnTo>
                  <a:pt x="36537" y="0"/>
                </a:lnTo>
                <a:lnTo>
                  <a:pt x="28956" y="635"/>
                </a:lnTo>
                <a:lnTo>
                  <a:pt x="685" y="29718"/>
                </a:lnTo>
                <a:lnTo>
                  <a:pt x="0" y="37337"/>
                </a:lnTo>
                <a:lnTo>
                  <a:pt x="0" y="359029"/>
                </a:lnTo>
                <a:lnTo>
                  <a:pt x="22745" y="394970"/>
                </a:lnTo>
                <a:lnTo>
                  <a:pt x="37909" y="397763"/>
                </a:lnTo>
                <a:lnTo>
                  <a:pt x="186817" y="397763"/>
                </a:lnTo>
                <a:lnTo>
                  <a:pt x="168897" y="382524"/>
                </a:lnTo>
                <a:lnTo>
                  <a:pt x="164071" y="377063"/>
                </a:lnTo>
                <a:lnTo>
                  <a:pt x="159245" y="371475"/>
                </a:lnTo>
                <a:lnTo>
                  <a:pt x="155105" y="365251"/>
                </a:lnTo>
                <a:lnTo>
                  <a:pt x="151663" y="359029"/>
                </a:lnTo>
                <a:lnTo>
                  <a:pt x="66865" y="359029"/>
                </a:lnTo>
                <a:lnTo>
                  <a:pt x="37223" y="330073"/>
                </a:lnTo>
                <a:lnTo>
                  <a:pt x="37223" y="66929"/>
                </a:lnTo>
                <a:lnTo>
                  <a:pt x="66865" y="37973"/>
                </a:lnTo>
                <a:lnTo>
                  <a:pt x="339793" y="37973"/>
                </a:lnTo>
                <a:lnTo>
                  <a:pt x="339166" y="31114"/>
                </a:lnTo>
                <a:lnTo>
                  <a:pt x="309524" y="635"/>
                </a:lnTo>
                <a:lnTo>
                  <a:pt x="301244" y="0"/>
                </a:lnTo>
                <a:close/>
              </a:path>
              <a:path w="340359" h="398144">
                <a:moveTo>
                  <a:pt x="339793" y="37973"/>
                </a:moveTo>
                <a:lnTo>
                  <a:pt x="272300" y="37973"/>
                </a:lnTo>
                <a:lnTo>
                  <a:pt x="278498" y="38608"/>
                </a:lnTo>
                <a:lnTo>
                  <a:pt x="284010" y="40005"/>
                </a:lnTo>
                <a:lnTo>
                  <a:pt x="301942" y="66929"/>
                </a:lnTo>
                <a:lnTo>
                  <a:pt x="301942" y="287274"/>
                </a:lnTo>
                <a:lnTo>
                  <a:pt x="339852" y="242443"/>
                </a:lnTo>
                <a:lnTo>
                  <a:pt x="339793" y="37973"/>
                </a:lnTo>
                <a:close/>
              </a:path>
            </a:pathLst>
          </a:custGeom>
          <a:solidFill>
            <a:srgbClr val="FFFFFF"/>
          </a:solidFill>
        </p:spPr>
        <p:txBody>
          <a:bodyPr wrap="square" lIns="0" tIns="0" rIns="0" bIns="0" rtlCol="0"/>
          <a:lstStyle/>
          <a:p>
            <a:endParaRPr/>
          </a:p>
        </p:txBody>
      </p:sp>
      <p:sp>
        <p:nvSpPr>
          <p:cNvPr id="13" name="object 13"/>
          <p:cNvSpPr/>
          <p:nvPr/>
        </p:nvSpPr>
        <p:spPr>
          <a:xfrm>
            <a:off x="621791" y="1644395"/>
            <a:ext cx="208915" cy="38100"/>
          </a:xfrm>
          <a:custGeom>
            <a:avLst/>
            <a:gdLst/>
            <a:ahLst/>
            <a:cxnLst/>
            <a:rect l="l" t="t" r="r" b="b"/>
            <a:pathLst>
              <a:path w="208915" h="38100">
                <a:moveTo>
                  <a:pt x="190055" y="0"/>
                </a:moveTo>
                <a:lnTo>
                  <a:pt x="18732" y="0"/>
                </a:lnTo>
                <a:lnTo>
                  <a:pt x="15265" y="634"/>
                </a:lnTo>
                <a:lnTo>
                  <a:pt x="8318" y="3428"/>
                </a:lnTo>
                <a:lnTo>
                  <a:pt x="5549" y="5587"/>
                </a:lnTo>
                <a:lnTo>
                  <a:pt x="3467" y="9016"/>
                </a:lnTo>
                <a:lnTo>
                  <a:pt x="1384" y="11811"/>
                </a:lnTo>
                <a:lnTo>
                  <a:pt x="0" y="15239"/>
                </a:lnTo>
                <a:lnTo>
                  <a:pt x="0" y="22859"/>
                </a:lnTo>
                <a:lnTo>
                  <a:pt x="15265" y="38100"/>
                </a:lnTo>
                <a:lnTo>
                  <a:pt x="194221" y="38100"/>
                </a:lnTo>
                <a:lnTo>
                  <a:pt x="197688" y="36702"/>
                </a:lnTo>
                <a:lnTo>
                  <a:pt x="200469" y="35305"/>
                </a:lnTo>
                <a:lnTo>
                  <a:pt x="203238" y="32512"/>
                </a:lnTo>
                <a:lnTo>
                  <a:pt x="206019" y="29844"/>
                </a:lnTo>
                <a:lnTo>
                  <a:pt x="207403" y="27050"/>
                </a:lnTo>
                <a:lnTo>
                  <a:pt x="208788" y="22859"/>
                </a:lnTo>
                <a:lnTo>
                  <a:pt x="208788" y="15239"/>
                </a:lnTo>
                <a:lnTo>
                  <a:pt x="194221" y="634"/>
                </a:lnTo>
                <a:lnTo>
                  <a:pt x="190055" y="0"/>
                </a:lnTo>
                <a:close/>
              </a:path>
            </a:pathLst>
          </a:custGeom>
          <a:solidFill>
            <a:srgbClr val="FFFFFF"/>
          </a:solidFill>
        </p:spPr>
        <p:txBody>
          <a:bodyPr wrap="square" lIns="0" tIns="0" rIns="0" bIns="0" rtlCol="0"/>
          <a:lstStyle/>
          <a:p>
            <a:endParaRPr/>
          </a:p>
        </p:txBody>
      </p:sp>
      <p:sp>
        <p:nvSpPr>
          <p:cNvPr id="14" name="object 14"/>
          <p:cNvSpPr/>
          <p:nvPr/>
        </p:nvSpPr>
        <p:spPr>
          <a:xfrm>
            <a:off x="621791" y="1644395"/>
            <a:ext cx="208915" cy="38100"/>
          </a:xfrm>
          <a:custGeom>
            <a:avLst/>
            <a:gdLst/>
            <a:ahLst/>
            <a:cxnLst/>
            <a:rect l="l" t="t" r="r" b="b"/>
            <a:pathLst>
              <a:path w="208915" h="38100">
                <a:moveTo>
                  <a:pt x="190055" y="0"/>
                </a:moveTo>
                <a:lnTo>
                  <a:pt x="18732" y="0"/>
                </a:lnTo>
                <a:lnTo>
                  <a:pt x="15265" y="634"/>
                </a:lnTo>
                <a:lnTo>
                  <a:pt x="8318" y="3428"/>
                </a:lnTo>
                <a:lnTo>
                  <a:pt x="5549" y="5587"/>
                </a:lnTo>
                <a:lnTo>
                  <a:pt x="3467" y="9016"/>
                </a:lnTo>
                <a:lnTo>
                  <a:pt x="1384" y="11811"/>
                </a:lnTo>
                <a:lnTo>
                  <a:pt x="0" y="15239"/>
                </a:lnTo>
                <a:lnTo>
                  <a:pt x="0" y="22859"/>
                </a:lnTo>
                <a:lnTo>
                  <a:pt x="15265" y="38100"/>
                </a:lnTo>
                <a:lnTo>
                  <a:pt x="194221" y="38100"/>
                </a:lnTo>
                <a:lnTo>
                  <a:pt x="197688" y="36702"/>
                </a:lnTo>
                <a:lnTo>
                  <a:pt x="200469" y="35305"/>
                </a:lnTo>
                <a:lnTo>
                  <a:pt x="203238" y="32512"/>
                </a:lnTo>
                <a:lnTo>
                  <a:pt x="206019" y="29844"/>
                </a:lnTo>
                <a:lnTo>
                  <a:pt x="207403" y="27050"/>
                </a:lnTo>
                <a:lnTo>
                  <a:pt x="208788" y="22859"/>
                </a:lnTo>
                <a:lnTo>
                  <a:pt x="208788" y="15239"/>
                </a:lnTo>
                <a:lnTo>
                  <a:pt x="194221" y="634"/>
                </a:lnTo>
                <a:lnTo>
                  <a:pt x="190055" y="0"/>
                </a:lnTo>
                <a:close/>
              </a:path>
            </a:pathLst>
          </a:custGeom>
          <a:solidFill>
            <a:srgbClr val="FFFFFF"/>
          </a:solidFill>
        </p:spPr>
        <p:txBody>
          <a:bodyPr wrap="square" lIns="0" tIns="0" rIns="0" bIns="0" rtlCol="0"/>
          <a:lstStyle/>
          <a:p>
            <a:endParaRPr/>
          </a:p>
        </p:txBody>
      </p:sp>
      <p:sp>
        <p:nvSpPr>
          <p:cNvPr id="15" name="object 15"/>
          <p:cNvSpPr/>
          <p:nvPr/>
        </p:nvSpPr>
        <p:spPr>
          <a:xfrm>
            <a:off x="621791" y="1706879"/>
            <a:ext cx="208915" cy="38100"/>
          </a:xfrm>
          <a:custGeom>
            <a:avLst/>
            <a:gdLst/>
            <a:ahLst/>
            <a:cxnLst/>
            <a:rect l="l" t="t" r="r" b="b"/>
            <a:pathLst>
              <a:path w="208915" h="38100">
                <a:moveTo>
                  <a:pt x="190055" y="0"/>
                </a:moveTo>
                <a:lnTo>
                  <a:pt x="18732" y="0"/>
                </a:lnTo>
                <a:lnTo>
                  <a:pt x="15265" y="635"/>
                </a:lnTo>
                <a:lnTo>
                  <a:pt x="0" y="15240"/>
                </a:lnTo>
                <a:lnTo>
                  <a:pt x="0" y="22860"/>
                </a:lnTo>
                <a:lnTo>
                  <a:pt x="18732" y="38100"/>
                </a:lnTo>
                <a:lnTo>
                  <a:pt x="190055" y="38100"/>
                </a:lnTo>
                <a:lnTo>
                  <a:pt x="207403" y="26289"/>
                </a:lnTo>
                <a:lnTo>
                  <a:pt x="208788" y="22860"/>
                </a:lnTo>
                <a:lnTo>
                  <a:pt x="208788" y="15240"/>
                </a:lnTo>
                <a:lnTo>
                  <a:pt x="207403" y="11811"/>
                </a:lnTo>
                <a:lnTo>
                  <a:pt x="206019" y="8255"/>
                </a:lnTo>
                <a:lnTo>
                  <a:pt x="203238" y="5587"/>
                </a:lnTo>
                <a:lnTo>
                  <a:pt x="200469" y="3429"/>
                </a:lnTo>
                <a:lnTo>
                  <a:pt x="197688" y="1397"/>
                </a:lnTo>
                <a:lnTo>
                  <a:pt x="194221" y="635"/>
                </a:lnTo>
                <a:lnTo>
                  <a:pt x="190055" y="0"/>
                </a:lnTo>
                <a:close/>
              </a:path>
            </a:pathLst>
          </a:custGeom>
          <a:solidFill>
            <a:srgbClr val="FFFFFF"/>
          </a:solidFill>
        </p:spPr>
        <p:txBody>
          <a:bodyPr wrap="square" lIns="0" tIns="0" rIns="0" bIns="0" rtlCol="0"/>
          <a:lstStyle/>
          <a:p>
            <a:endParaRPr/>
          </a:p>
        </p:txBody>
      </p:sp>
      <p:sp>
        <p:nvSpPr>
          <p:cNvPr id="16" name="object 16"/>
          <p:cNvSpPr/>
          <p:nvPr/>
        </p:nvSpPr>
        <p:spPr>
          <a:xfrm>
            <a:off x="621791" y="1706879"/>
            <a:ext cx="208915" cy="38100"/>
          </a:xfrm>
          <a:custGeom>
            <a:avLst/>
            <a:gdLst/>
            <a:ahLst/>
            <a:cxnLst/>
            <a:rect l="l" t="t" r="r" b="b"/>
            <a:pathLst>
              <a:path w="208915" h="38100">
                <a:moveTo>
                  <a:pt x="190055" y="0"/>
                </a:moveTo>
                <a:lnTo>
                  <a:pt x="18732" y="0"/>
                </a:lnTo>
                <a:lnTo>
                  <a:pt x="15265" y="635"/>
                </a:lnTo>
                <a:lnTo>
                  <a:pt x="0" y="15240"/>
                </a:lnTo>
                <a:lnTo>
                  <a:pt x="0" y="22860"/>
                </a:lnTo>
                <a:lnTo>
                  <a:pt x="18732" y="38100"/>
                </a:lnTo>
                <a:lnTo>
                  <a:pt x="190055" y="38100"/>
                </a:lnTo>
                <a:lnTo>
                  <a:pt x="207403" y="26289"/>
                </a:lnTo>
                <a:lnTo>
                  <a:pt x="208788" y="22860"/>
                </a:lnTo>
                <a:lnTo>
                  <a:pt x="208788" y="15240"/>
                </a:lnTo>
                <a:lnTo>
                  <a:pt x="207403" y="11811"/>
                </a:lnTo>
                <a:lnTo>
                  <a:pt x="206019" y="8255"/>
                </a:lnTo>
                <a:lnTo>
                  <a:pt x="203238" y="5587"/>
                </a:lnTo>
                <a:lnTo>
                  <a:pt x="200469" y="3429"/>
                </a:lnTo>
                <a:lnTo>
                  <a:pt x="197688" y="1397"/>
                </a:lnTo>
                <a:lnTo>
                  <a:pt x="194221" y="635"/>
                </a:lnTo>
                <a:lnTo>
                  <a:pt x="190055" y="0"/>
                </a:lnTo>
                <a:close/>
              </a:path>
            </a:pathLst>
          </a:custGeom>
          <a:solidFill>
            <a:srgbClr val="FFFFFF"/>
          </a:solidFill>
        </p:spPr>
        <p:txBody>
          <a:bodyPr wrap="square" lIns="0" tIns="0" rIns="0" bIns="0" rtlCol="0"/>
          <a:lstStyle/>
          <a:p>
            <a:endParaRPr/>
          </a:p>
        </p:txBody>
      </p:sp>
      <p:sp>
        <p:nvSpPr>
          <p:cNvPr id="17" name="object 17"/>
          <p:cNvSpPr/>
          <p:nvPr/>
        </p:nvSpPr>
        <p:spPr>
          <a:xfrm>
            <a:off x="621791" y="1770888"/>
            <a:ext cx="208915" cy="36830"/>
          </a:xfrm>
          <a:custGeom>
            <a:avLst/>
            <a:gdLst/>
            <a:ahLst/>
            <a:cxnLst/>
            <a:rect l="l" t="t" r="r" b="b"/>
            <a:pathLst>
              <a:path w="208915" h="36830">
                <a:moveTo>
                  <a:pt x="190055" y="0"/>
                </a:moveTo>
                <a:lnTo>
                  <a:pt x="18732" y="0"/>
                </a:lnTo>
                <a:lnTo>
                  <a:pt x="15265" y="635"/>
                </a:lnTo>
                <a:lnTo>
                  <a:pt x="0" y="14859"/>
                </a:lnTo>
                <a:lnTo>
                  <a:pt x="0" y="22351"/>
                </a:lnTo>
                <a:lnTo>
                  <a:pt x="1384" y="25781"/>
                </a:lnTo>
                <a:lnTo>
                  <a:pt x="5549" y="31114"/>
                </a:lnTo>
                <a:lnTo>
                  <a:pt x="8318" y="33909"/>
                </a:lnTo>
                <a:lnTo>
                  <a:pt x="11785" y="35178"/>
                </a:lnTo>
                <a:lnTo>
                  <a:pt x="15265" y="36575"/>
                </a:lnTo>
                <a:lnTo>
                  <a:pt x="194221" y="36575"/>
                </a:lnTo>
                <a:lnTo>
                  <a:pt x="197688" y="35178"/>
                </a:lnTo>
                <a:lnTo>
                  <a:pt x="200469" y="33909"/>
                </a:lnTo>
                <a:lnTo>
                  <a:pt x="203238" y="31114"/>
                </a:lnTo>
                <a:lnTo>
                  <a:pt x="206019" y="28448"/>
                </a:lnTo>
                <a:lnTo>
                  <a:pt x="207403" y="25781"/>
                </a:lnTo>
                <a:lnTo>
                  <a:pt x="208788" y="22351"/>
                </a:lnTo>
                <a:lnTo>
                  <a:pt x="208788" y="14859"/>
                </a:lnTo>
                <a:lnTo>
                  <a:pt x="207403" y="11557"/>
                </a:lnTo>
                <a:lnTo>
                  <a:pt x="206019" y="8127"/>
                </a:lnTo>
                <a:lnTo>
                  <a:pt x="203238" y="5461"/>
                </a:lnTo>
                <a:lnTo>
                  <a:pt x="200469" y="3428"/>
                </a:lnTo>
                <a:lnTo>
                  <a:pt x="197688" y="2032"/>
                </a:lnTo>
                <a:lnTo>
                  <a:pt x="194221" y="635"/>
                </a:lnTo>
                <a:lnTo>
                  <a:pt x="190055" y="0"/>
                </a:lnTo>
                <a:close/>
              </a:path>
            </a:pathLst>
          </a:custGeom>
          <a:solidFill>
            <a:srgbClr val="FFFFFF"/>
          </a:solidFill>
        </p:spPr>
        <p:txBody>
          <a:bodyPr wrap="square" lIns="0" tIns="0" rIns="0" bIns="0" rtlCol="0"/>
          <a:lstStyle/>
          <a:p>
            <a:endParaRPr/>
          </a:p>
        </p:txBody>
      </p:sp>
      <p:sp>
        <p:nvSpPr>
          <p:cNvPr id="18" name="object 18"/>
          <p:cNvSpPr/>
          <p:nvPr/>
        </p:nvSpPr>
        <p:spPr>
          <a:xfrm>
            <a:off x="621791" y="1770888"/>
            <a:ext cx="208915" cy="36830"/>
          </a:xfrm>
          <a:custGeom>
            <a:avLst/>
            <a:gdLst/>
            <a:ahLst/>
            <a:cxnLst/>
            <a:rect l="l" t="t" r="r" b="b"/>
            <a:pathLst>
              <a:path w="208915" h="36830">
                <a:moveTo>
                  <a:pt x="190055" y="0"/>
                </a:moveTo>
                <a:lnTo>
                  <a:pt x="18732" y="0"/>
                </a:lnTo>
                <a:lnTo>
                  <a:pt x="15265" y="635"/>
                </a:lnTo>
                <a:lnTo>
                  <a:pt x="0" y="14859"/>
                </a:lnTo>
                <a:lnTo>
                  <a:pt x="0" y="22351"/>
                </a:lnTo>
                <a:lnTo>
                  <a:pt x="1384" y="25781"/>
                </a:lnTo>
                <a:lnTo>
                  <a:pt x="5549" y="31114"/>
                </a:lnTo>
                <a:lnTo>
                  <a:pt x="8318" y="33909"/>
                </a:lnTo>
                <a:lnTo>
                  <a:pt x="11785" y="35178"/>
                </a:lnTo>
                <a:lnTo>
                  <a:pt x="15265" y="36575"/>
                </a:lnTo>
                <a:lnTo>
                  <a:pt x="194221" y="36575"/>
                </a:lnTo>
                <a:lnTo>
                  <a:pt x="197688" y="35178"/>
                </a:lnTo>
                <a:lnTo>
                  <a:pt x="200469" y="33909"/>
                </a:lnTo>
                <a:lnTo>
                  <a:pt x="203238" y="31114"/>
                </a:lnTo>
                <a:lnTo>
                  <a:pt x="206019" y="28448"/>
                </a:lnTo>
                <a:lnTo>
                  <a:pt x="207403" y="25781"/>
                </a:lnTo>
                <a:lnTo>
                  <a:pt x="208788" y="22351"/>
                </a:lnTo>
                <a:lnTo>
                  <a:pt x="208788" y="14859"/>
                </a:lnTo>
                <a:lnTo>
                  <a:pt x="207403" y="11557"/>
                </a:lnTo>
                <a:lnTo>
                  <a:pt x="206019" y="8127"/>
                </a:lnTo>
                <a:lnTo>
                  <a:pt x="203238" y="5461"/>
                </a:lnTo>
                <a:lnTo>
                  <a:pt x="200469" y="3428"/>
                </a:lnTo>
                <a:lnTo>
                  <a:pt x="197688" y="2032"/>
                </a:lnTo>
                <a:lnTo>
                  <a:pt x="194221" y="635"/>
                </a:lnTo>
                <a:lnTo>
                  <a:pt x="190055" y="0"/>
                </a:lnTo>
                <a:close/>
              </a:path>
            </a:pathLst>
          </a:custGeom>
          <a:solidFill>
            <a:srgbClr val="FFFFFF"/>
          </a:solidFill>
        </p:spPr>
        <p:txBody>
          <a:bodyPr wrap="square" lIns="0" tIns="0" rIns="0" bIns="0" rtlCol="0"/>
          <a:lstStyle/>
          <a:p>
            <a:endParaRPr/>
          </a:p>
        </p:txBody>
      </p:sp>
      <p:sp>
        <p:nvSpPr>
          <p:cNvPr id="19" name="object 19"/>
          <p:cNvSpPr/>
          <p:nvPr/>
        </p:nvSpPr>
        <p:spPr>
          <a:xfrm>
            <a:off x="621791" y="1831848"/>
            <a:ext cx="116205" cy="36830"/>
          </a:xfrm>
          <a:custGeom>
            <a:avLst/>
            <a:gdLst/>
            <a:ahLst/>
            <a:cxnLst/>
            <a:rect l="l" t="t" r="r" b="b"/>
            <a:pathLst>
              <a:path w="116204" h="36830">
                <a:moveTo>
                  <a:pt x="115823" y="0"/>
                </a:moveTo>
                <a:lnTo>
                  <a:pt x="15252" y="0"/>
                </a:lnTo>
                <a:lnTo>
                  <a:pt x="8318" y="2793"/>
                </a:lnTo>
                <a:lnTo>
                  <a:pt x="5549" y="5461"/>
                </a:lnTo>
                <a:lnTo>
                  <a:pt x="1384" y="11049"/>
                </a:lnTo>
                <a:lnTo>
                  <a:pt x="0" y="14477"/>
                </a:lnTo>
                <a:lnTo>
                  <a:pt x="0" y="22098"/>
                </a:lnTo>
                <a:lnTo>
                  <a:pt x="15252" y="36575"/>
                </a:lnTo>
                <a:lnTo>
                  <a:pt x="82537" y="36575"/>
                </a:lnTo>
                <a:lnTo>
                  <a:pt x="85305" y="31750"/>
                </a:lnTo>
                <a:lnTo>
                  <a:pt x="88087" y="26162"/>
                </a:lnTo>
                <a:lnTo>
                  <a:pt x="91554" y="20700"/>
                </a:lnTo>
                <a:lnTo>
                  <a:pt x="95021" y="15875"/>
                </a:lnTo>
                <a:lnTo>
                  <a:pt x="99872" y="11049"/>
                </a:lnTo>
                <a:lnTo>
                  <a:pt x="104724" y="6857"/>
                </a:lnTo>
                <a:lnTo>
                  <a:pt x="110274" y="2793"/>
                </a:lnTo>
                <a:lnTo>
                  <a:pt x="115823" y="0"/>
                </a:lnTo>
                <a:close/>
              </a:path>
            </a:pathLst>
          </a:custGeom>
          <a:solidFill>
            <a:srgbClr val="FFFFFF"/>
          </a:solidFill>
        </p:spPr>
        <p:txBody>
          <a:bodyPr wrap="square" lIns="0" tIns="0" rIns="0" bIns="0" rtlCol="0"/>
          <a:lstStyle/>
          <a:p>
            <a:endParaRPr/>
          </a:p>
        </p:txBody>
      </p:sp>
      <p:sp>
        <p:nvSpPr>
          <p:cNvPr id="20" name="object 20"/>
          <p:cNvSpPr/>
          <p:nvPr/>
        </p:nvSpPr>
        <p:spPr>
          <a:xfrm>
            <a:off x="621791" y="1831848"/>
            <a:ext cx="116205" cy="36830"/>
          </a:xfrm>
          <a:custGeom>
            <a:avLst/>
            <a:gdLst/>
            <a:ahLst/>
            <a:cxnLst/>
            <a:rect l="l" t="t" r="r" b="b"/>
            <a:pathLst>
              <a:path w="116204" h="36830">
                <a:moveTo>
                  <a:pt x="115823" y="0"/>
                </a:moveTo>
                <a:lnTo>
                  <a:pt x="15252" y="0"/>
                </a:lnTo>
                <a:lnTo>
                  <a:pt x="8318" y="2793"/>
                </a:lnTo>
                <a:lnTo>
                  <a:pt x="5549" y="5461"/>
                </a:lnTo>
                <a:lnTo>
                  <a:pt x="1384" y="11049"/>
                </a:lnTo>
                <a:lnTo>
                  <a:pt x="0" y="14477"/>
                </a:lnTo>
                <a:lnTo>
                  <a:pt x="0" y="22098"/>
                </a:lnTo>
                <a:lnTo>
                  <a:pt x="15252" y="36575"/>
                </a:lnTo>
                <a:lnTo>
                  <a:pt x="82537" y="36575"/>
                </a:lnTo>
                <a:lnTo>
                  <a:pt x="85305" y="31750"/>
                </a:lnTo>
                <a:lnTo>
                  <a:pt x="88087" y="26162"/>
                </a:lnTo>
                <a:lnTo>
                  <a:pt x="91554" y="20700"/>
                </a:lnTo>
                <a:lnTo>
                  <a:pt x="95021" y="15875"/>
                </a:lnTo>
                <a:lnTo>
                  <a:pt x="99872" y="11049"/>
                </a:lnTo>
                <a:lnTo>
                  <a:pt x="104724" y="6857"/>
                </a:lnTo>
                <a:lnTo>
                  <a:pt x="110274" y="2793"/>
                </a:lnTo>
                <a:lnTo>
                  <a:pt x="115823" y="0"/>
                </a:lnTo>
                <a:close/>
              </a:path>
            </a:pathLst>
          </a:custGeom>
          <a:solidFill>
            <a:srgbClr val="FFFFFF"/>
          </a:solidFill>
        </p:spPr>
        <p:txBody>
          <a:bodyPr wrap="square" lIns="0" tIns="0" rIns="0" bIns="0" rtlCol="0"/>
          <a:lstStyle/>
          <a:p>
            <a:endParaRPr/>
          </a:p>
        </p:txBody>
      </p:sp>
      <p:sp>
        <p:nvSpPr>
          <p:cNvPr id="21" name="object 21"/>
          <p:cNvSpPr/>
          <p:nvPr/>
        </p:nvSpPr>
        <p:spPr>
          <a:xfrm>
            <a:off x="797051" y="1831848"/>
            <a:ext cx="33655" cy="24765"/>
          </a:xfrm>
          <a:custGeom>
            <a:avLst/>
            <a:gdLst/>
            <a:ahLst/>
            <a:cxnLst/>
            <a:rect l="l" t="t" r="r" b="b"/>
            <a:pathLst>
              <a:path w="33655" h="24764">
                <a:moveTo>
                  <a:pt x="18478" y="0"/>
                </a:moveTo>
                <a:lnTo>
                  <a:pt x="0" y="0"/>
                </a:lnTo>
                <a:lnTo>
                  <a:pt x="3416" y="1397"/>
                </a:lnTo>
                <a:lnTo>
                  <a:pt x="6845" y="3428"/>
                </a:lnTo>
                <a:lnTo>
                  <a:pt x="13690" y="8762"/>
                </a:lnTo>
                <a:lnTo>
                  <a:pt x="32156" y="24384"/>
                </a:lnTo>
                <a:lnTo>
                  <a:pt x="32842" y="21716"/>
                </a:lnTo>
                <a:lnTo>
                  <a:pt x="33528" y="18287"/>
                </a:lnTo>
                <a:lnTo>
                  <a:pt x="32842" y="14224"/>
                </a:lnTo>
                <a:lnTo>
                  <a:pt x="31470" y="10794"/>
                </a:lnTo>
                <a:lnTo>
                  <a:pt x="30111" y="8127"/>
                </a:lnTo>
                <a:lnTo>
                  <a:pt x="27368" y="5461"/>
                </a:lnTo>
                <a:lnTo>
                  <a:pt x="21894" y="1397"/>
                </a:lnTo>
                <a:lnTo>
                  <a:pt x="18478" y="0"/>
                </a:lnTo>
                <a:close/>
              </a:path>
            </a:pathLst>
          </a:custGeom>
          <a:solidFill>
            <a:srgbClr val="FFFFFF"/>
          </a:solidFill>
        </p:spPr>
        <p:txBody>
          <a:bodyPr wrap="square" lIns="0" tIns="0" rIns="0" bIns="0" rtlCol="0"/>
          <a:lstStyle/>
          <a:p>
            <a:endParaRPr/>
          </a:p>
        </p:txBody>
      </p:sp>
      <p:sp>
        <p:nvSpPr>
          <p:cNvPr id="22" name="object 22"/>
          <p:cNvSpPr/>
          <p:nvPr/>
        </p:nvSpPr>
        <p:spPr>
          <a:xfrm>
            <a:off x="797051" y="1831848"/>
            <a:ext cx="33655" cy="24765"/>
          </a:xfrm>
          <a:custGeom>
            <a:avLst/>
            <a:gdLst/>
            <a:ahLst/>
            <a:cxnLst/>
            <a:rect l="l" t="t" r="r" b="b"/>
            <a:pathLst>
              <a:path w="33655" h="24764">
                <a:moveTo>
                  <a:pt x="18478" y="0"/>
                </a:moveTo>
                <a:lnTo>
                  <a:pt x="0" y="0"/>
                </a:lnTo>
                <a:lnTo>
                  <a:pt x="3416" y="1397"/>
                </a:lnTo>
                <a:lnTo>
                  <a:pt x="6845" y="3428"/>
                </a:lnTo>
                <a:lnTo>
                  <a:pt x="13690" y="8762"/>
                </a:lnTo>
                <a:lnTo>
                  <a:pt x="32156" y="24384"/>
                </a:lnTo>
                <a:lnTo>
                  <a:pt x="32842" y="21716"/>
                </a:lnTo>
                <a:lnTo>
                  <a:pt x="33528" y="18287"/>
                </a:lnTo>
                <a:lnTo>
                  <a:pt x="32842" y="14224"/>
                </a:lnTo>
                <a:lnTo>
                  <a:pt x="31470" y="10794"/>
                </a:lnTo>
                <a:lnTo>
                  <a:pt x="30111" y="8127"/>
                </a:lnTo>
                <a:lnTo>
                  <a:pt x="27368" y="5461"/>
                </a:lnTo>
                <a:lnTo>
                  <a:pt x="21894" y="1397"/>
                </a:lnTo>
                <a:lnTo>
                  <a:pt x="18478" y="0"/>
                </a:lnTo>
                <a:close/>
              </a:path>
            </a:pathLst>
          </a:custGeom>
          <a:solidFill>
            <a:srgbClr val="FFFFFF"/>
          </a:solidFill>
        </p:spPr>
        <p:txBody>
          <a:bodyPr wrap="square" lIns="0" tIns="0" rIns="0" bIns="0" rtlCol="0"/>
          <a:lstStyle/>
          <a:p>
            <a:endParaRPr/>
          </a:p>
        </p:txBody>
      </p:sp>
      <p:sp>
        <p:nvSpPr>
          <p:cNvPr id="23" name="object 23"/>
          <p:cNvSpPr/>
          <p:nvPr/>
        </p:nvSpPr>
        <p:spPr>
          <a:xfrm>
            <a:off x="720851" y="1775460"/>
            <a:ext cx="277495" cy="219710"/>
          </a:xfrm>
          <a:custGeom>
            <a:avLst/>
            <a:gdLst/>
            <a:ahLst/>
            <a:cxnLst/>
            <a:rect l="l" t="t" r="r" b="b"/>
            <a:pathLst>
              <a:path w="277494" h="219710">
                <a:moveTo>
                  <a:pt x="37439" y="85089"/>
                </a:moveTo>
                <a:lnTo>
                  <a:pt x="30505" y="85089"/>
                </a:lnTo>
                <a:lnTo>
                  <a:pt x="24269" y="85851"/>
                </a:lnTo>
                <a:lnTo>
                  <a:pt x="0" y="114173"/>
                </a:lnTo>
                <a:lnTo>
                  <a:pt x="0" y="120395"/>
                </a:lnTo>
                <a:lnTo>
                  <a:pt x="91528" y="211836"/>
                </a:lnTo>
                <a:lnTo>
                  <a:pt x="107480" y="219455"/>
                </a:lnTo>
                <a:lnTo>
                  <a:pt x="115798" y="219455"/>
                </a:lnTo>
                <a:lnTo>
                  <a:pt x="197169" y="139826"/>
                </a:lnTo>
                <a:lnTo>
                  <a:pt x="109562" y="139826"/>
                </a:lnTo>
                <a:lnTo>
                  <a:pt x="54775" y="92710"/>
                </a:lnTo>
                <a:lnTo>
                  <a:pt x="49237" y="88645"/>
                </a:lnTo>
                <a:lnTo>
                  <a:pt x="43688" y="86487"/>
                </a:lnTo>
                <a:lnTo>
                  <a:pt x="37439" y="85089"/>
                </a:lnTo>
                <a:close/>
              </a:path>
              <a:path w="277494" h="219710">
                <a:moveTo>
                  <a:pt x="248246" y="0"/>
                </a:moveTo>
                <a:lnTo>
                  <a:pt x="241998" y="0"/>
                </a:lnTo>
                <a:lnTo>
                  <a:pt x="235762" y="1397"/>
                </a:lnTo>
                <a:lnTo>
                  <a:pt x="229527" y="3428"/>
                </a:lnTo>
                <a:lnTo>
                  <a:pt x="223977" y="6985"/>
                </a:lnTo>
                <a:lnTo>
                  <a:pt x="219125" y="11811"/>
                </a:lnTo>
                <a:lnTo>
                  <a:pt x="109562" y="139826"/>
                </a:lnTo>
                <a:lnTo>
                  <a:pt x="197169" y="139826"/>
                </a:lnTo>
                <a:lnTo>
                  <a:pt x="269735" y="54737"/>
                </a:lnTo>
                <a:lnTo>
                  <a:pt x="273900" y="49149"/>
                </a:lnTo>
                <a:lnTo>
                  <a:pt x="275983" y="42925"/>
                </a:lnTo>
                <a:lnTo>
                  <a:pt x="277367" y="36702"/>
                </a:lnTo>
                <a:lnTo>
                  <a:pt x="277367" y="30479"/>
                </a:lnTo>
                <a:lnTo>
                  <a:pt x="248246" y="0"/>
                </a:lnTo>
                <a:close/>
              </a:path>
            </a:pathLst>
          </a:custGeom>
          <a:solidFill>
            <a:srgbClr val="FFFFFF"/>
          </a:solidFill>
        </p:spPr>
        <p:txBody>
          <a:bodyPr wrap="square" lIns="0" tIns="0" rIns="0" bIns="0" rtlCol="0"/>
          <a:lstStyle/>
          <a:p>
            <a:endParaRPr/>
          </a:p>
        </p:txBody>
      </p:sp>
      <p:sp>
        <p:nvSpPr>
          <p:cNvPr id="24" name="object 2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5" name="object 2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6</a:t>
            </a:fld>
            <a:endParaRPr/>
          </a:p>
        </p:txBody>
      </p:sp>
      <p:sp>
        <p:nvSpPr>
          <p:cNvPr id="26" name="Rectangle 25">
            <a:extLst>
              <a:ext uri="{FF2B5EF4-FFF2-40B4-BE49-F238E27FC236}">
                <a16:creationId xmlns:a16="http://schemas.microsoft.com/office/drawing/2014/main" id="{8C343349-C38F-46AE-B61C-4407F0765298}"/>
              </a:ext>
            </a:extLst>
          </p:cNvPr>
          <p:cNvSpPr/>
          <p:nvPr/>
        </p:nvSpPr>
        <p:spPr>
          <a:xfrm>
            <a:off x="1408691" y="1644123"/>
            <a:ext cx="10425303" cy="3662541"/>
          </a:xfrm>
          <a:prstGeom prst="rect">
            <a:avLst/>
          </a:prstGeom>
        </p:spPr>
        <p:txBody>
          <a:bodyPr wrap="square">
            <a:spAutoFit/>
          </a:bodyPr>
          <a:lstStyle/>
          <a:p>
            <a:pPr>
              <a:spcBef>
                <a:spcPts val="600"/>
              </a:spcBef>
              <a:spcAft>
                <a:spcPts val="200"/>
              </a:spcAft>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Being a leading global Salesforce Rollout Project implementation partner we bring an approach that leverages and addresses the following key points:</a:t>
            </a:r>
          </a:p>
          <a:p>
            <a:pPr marL="285750" indent="-285750">
              <a:spcBef>
                <a:spcPts val="600"/>
              </a:spcBef>
              <a:spcAft>
                <a:spcPts val="200"/>
              </a:spcAft>
              <a:buClr>
                <a:schemeClr val="accent1"/>
              </a:buClr>
              <a:buFont typeface="Wingdings" panose="05000000000000000000" pitchFamily="2" charset="2"/>
              <a:buChar char="§"/>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Ensure team scalability and continuity across the entire program, with smooth transition of knowledge and skills between people supporting the different activities</a:t>
            </a:r>
          </a:p>
          <a:p>
            <a:pPr marL="285750" indent="-285750">
              <a:spcBef>
                <a:spcPts val="600"/>
              </a:spcBef>
              <a:spcAft>
                <a:spcPts val="200"/>
              </a:spcAft>
              <a:buClr>
                <a:schemeClr val="accent1"/>
              </a:buClr>
              <a:buFont typeface="Wingdings" panose="05000000000000000000" pitchFamily="2" charset="2"/>
              <a:buChar char="§"/>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Ensure support in main geographies simplifying activities with on-site resources and with reduced impact of local language during analysis</a:t>
            </a:r>
          </a:p>
          <a:p>
            <a:pPr marL="285750" indent="-285750">
              <a:spcBef>
                <a:spcPts val="600"/>
              </a:spcBef>
              <a:spcAft>
                <a:spcPts val="200"/>
              </a:spcAft>
              <a:buClr>
                <a:schemeClr val="accent1"/>
              </a:buClr>
              <a:buFont typeface="Wingdings" panose="05000000000000000000" pitchFamily="2" charset="2"/>
              <a:buChar char="§"/>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Correct Know-how for large-scale data migration and support for transition phase</a:t>
            </a:r>
          </a:p>
          <a:p>
            <a:pPr marL="285750" indent="-285750">
              <a:spcBef>
                <a:spcPts val="600"/>
              </a:spcBef>
              <a:spcAft>
                <a:spcPts val="200"/>
              </a:spcAft>
              <a:buClr>
                <a:schemeClr val="accent1"/>
              </a:buClr>
              <a:buFont typeface="Wingdings" panose="05000000000000000000" pitchFamily="2" charset="2"/>
              <a:buChar char="§"/>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Methodologies and tools to handle Global Template and Localizations</a:t>
            </a:r>
            <a:endParaRPr lang="it-IT" sz="1600">
              <a:solidFill>
                <a:prstClr val="black"/>
              </a:solidFill>
              <a:latin typeface="Verdana" panose="020B0604030504040204" pitchFamily="34" charset="0"/>
              <a:ea typeface="Verdana" panose="020B0604030504040204" pitchFamily="34" charset="0"/>
              <a:cs typeface="Times New Roman" panose="02020603050405020304" pitchFamily="18" charset="0"/>
            </a:endParaRPr>
          </a:p>
          <a:p>
            <a:pPr marL="173038" indent="-173038">
              <a:spcBef>
                <a:spcPts val="600"/>
              </a:spcBef>
              <a:spcAft>
                <a:spcPts val="200"/>
              </a:spcAft>
              <a:buClr>
                <a:srgbClr val="0070AD"/>
              </a:buClr>
              <a:buFont typeface="Wingdings" panose="05000000000000000000" pitchFamily="2" charset="2"/>
              <a:buChar char="§"/>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Leading processes practice inherent in Salesforce in order to ensure a product and process driven design</a:t>
            </a:r>
            <a:endParaRPr lang="it-IT" sz="1600">
              <a:solidFill>
                <a:prstClr val="black"/>
              </a:solidFill>
              <a:latin typeface="Verdana" panose="020B0604030504040204" pitchFamily="34" charset="0"/>
              <a:ea typeface="Verdana" panose="020B0604030504040204" pitchFamily="34" charset="0"/>
              <a:cs typeface="Times New Roman" panose="02020603050405020304" pitchFamily="18" charset="0"/>
            </a:endParaRPr>
          </a:p>
          <a:p>
            <a:pPr marL="173038" indent="-173038">
              <a:spcBef>
                <a:spcPts val="600"/>
              </a:spcBef>
              <a:spcAft>
                <a:spcPts val="200"/>
              </a:spcAft>
              <a:buClr>
                <a:srgbClr val="0070AD"/>
              </a:buClr>
              <a:buFont typeface="Wingdings" panose="05000000000000000000" pitchFamily="2" charset="2"/>
              <a:buChar char="§"/>
            </a:pPr>
            <a:r>
              <a:rPr lang="en-GB" sz="1600">
                <a:solidFill>
                  <a:prstClr val="black"/>
                </a:solidFill>
                <a:latin typeface="Verdana" panose="020B0604030504040204" pitchFamily="34" charset="0"/>
                <a:ea typeface="Verdana" panose="020B0604030504040204" pitchFamily="34" charset="0"/>
                <a:cs typeface="Arial" panose="020B0604020202020204" pitchFamily="34" charset="0"/>
              </a:rPr>
              <a:t>Strong Program management and governance to ensure sync between different concurrent </a:t>
            </a:r>
            <a:r>
              <a:rPr lang="it-IT" sz="1600" err="1">
                <a:solidFill>
                  <a:prstClr val="black"/>
                </a:solidFill>
                <a:latin typeface="Verdana" panose="020B0604030504040204" pitchFamily="34" charset="0"/>
                <a:ea typeface="Verdana" panose="020B0604030504040204" pitchFamily="34" charset="0"/>
                <a:cs typeface="Arial" panose="020B0604020202020204" pitchFamily="34" charset="0"/>
              </a:rPr>
              <a:t>activities</a:t>
            </a:r>
            <a:endParaRPr lang="it-IT" sz="1600">
              <a:solidFill>
                <a:prstClr val="black"/>
              </a:solidFill>
              <a:latin typeface="Verdana" panose="020B0604030504040204" pitchFamily="34" charset="0"/>
              <a:ea typeface="Verdana" panose="020B0604030504040204" pitchFamily="34" charset="0"/>
              <a:cs typeface="Times New Roman" panose="02020603050405020304" pitchFamily="18"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402965" cy="422275"/>
          </a:xfrm>
          <a:prstGeom prst="rect">
            <a:avLst/>
          </a:prstGeom>
        </p:spPr>
        <p:txBody>
          <a:bodyPr vert="horz" wrap="square" lIns="0" tIns="12700" rIns="0" bIns="0" rtlCol="0">
            <a:spAutoFit/>
          </a:bodyPr>
          <a:lstStyle/>
          <a:p>
            <a:pPr marL="12700">
              <a:lnSpc>
                <a:spcPct val="100000"/>
              </a:lnSpc>
              <a:spcBef>
                <a:spcPts val="100"/>
              </a:spcBef>
            </a:pPr>
            <a:r>
              <a:rPr sz="2600" spc="-5"/>
              <a:t>Project</a:t>
            </a:r>
            <a:r>
              <a:rPr sz="2600" spc="-60"/>
              <a:t> </a:t>
            </a:r>
            <a:r>
              <a:rPr sz="2600" spc="-5"/>
              <a:t>Organization</a:t>
            </a:r>
            <a:endParaRPr sz="2600"/>
          </a:p>
        </p:txBody>
      </p:sp>
      <p:sp>
        <p:nvSpPr>
          <p:cNvPr id="51" name="object 5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2" name="object 5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7</a:t>
            </a:fld>
            <a:endParaRPr/>
          </a:p>
        </p:txBody>
      </p:sp>
      <p:sp>
        <p:nvSpPr>
          <p:cNvPr id="93" name="Rectangle 92">
            <a:extLst>
              <a:ext uri="{FF2B5EF4-FFF2-40B4-BE49-F238E27FC236}">
                <a16:creationId xmlns:a16="http://schemas.microsoft.com/office/drawing/2014/main" id="{613C4A4B-FA0E-415D-930A-0559DC17A8CE}"/>
              </a:ext>
            </a:extLst>
          </p:cNvPr>
          <p:cNvSpPr/>
          <p:nvPr/>
        </p:nvSpPr>
        <p:spPr>
          <a:xfrm>
            <a:off x="199296" y="5611724"/>
            <a:ext cx="11707900" cy="1107996"/>
          </a:xfrm>
          <a:prstGeom prst="rect">
            <a:avLst/>
          </a:prstGeom>
        </p:spPr>
        <p:txBody>
          <a:bodyPr wrap="square">
            <a:spAutoFit/>
          </a:bodyPr>
          <a:lstStyle/>
          <a:p>
            <a:pPr marL="342900" indent="-342900" algn="just">
              <a:spcAft>
                <a:spcPts val="600"/>
              </a:spcAft>
              <a:buClr>
                <a:srgbClr val="0085B3"/>
              </a:buClr>
              <a:buFont typeface="Wingdings" panose="05000000000000000000" pitchFamily="2" charset="2"/>
              <a:buChar char="§"/>
            </a:pPr>
            <a:r>
              <a:rPr lang="en-GB" sz="1400">
                <a:solidFill>
                  <a:prstClr val="black"/>
                </a:solidFill>
                <a:latin typeface="Verdana"/>
                <a:cs typeface="Times New Roman" panose="02020603050405020304" pitchFamily="18" charset="0"/>
              </a:rPr>
              <a:t>Governance and key roles onshore in order </a:t>
            </a:r>
            <a:r>
              <a:rPr lang="en-GB" sz="1400">
                <a:solidFill>
                  <a:prstClr val="black"/>
                </a:solidFill>
                <a:latin typeface="Verdana"/>
              </a:rPr>
              <a:t>to reassure the customer who is used to working side by side with consultant</a:t>
            </a:r>
            <a:endParaRPr lang="en-GB" sz="1400">
              <a:solidFill>
                <a:prstClr val="black"/>
              </a:solidFill>
              <a:latin typeface="Verdana"/>
              <a:cs typeface="Times New Roman" panose="02020603050405020304" pitchFamily="18" charset="0"/>
            </a:endParaRPr>
          </a:p>
          <a:p>
            <a:pPr marL="342900" indent="-342900" algn="just">
              <a:spcAft>
                <a:spcPts val="600"/>
              </a:spcAft>
              <a:buClr>
                <a:srgbClr val="0085B3"/>
              </a:buClr>
              <a:buFont typeface="Wingdings" panose="05000000000000000000" pitchFamily="2" charset="2"/>
              <a:buChar char="§"/>
            </a:pPr>
            <a:r>
              <a:rPr lang="en-GB" sz="1400">
                <a:solidFill>
                  <a:prstClr val="black"/>
                </a:solidFill>
                <a:latin typeface="Verdana"/>
                <a:cs typeface="Times New Roman" panose="02020603050405020304" pitchFamily="18" charset="0"/>
              </a:rPr>
              <a:t>Offshore team strongly involved in technical component and also involved as support in more critical area like integration and Einstein Analytics</a:t>
            </a:r>
          </a:p>
          <a:p>
            <a:pPr marL="342900" indent="-342900" algn="just">
              <a:spcAft>
                <a:spcPts val="600"/>
              </a:spcAft>
              <a:buClr>
                <a:srgbClr val="0085B3"/>
              </a:buClr>
              <a:buFont typeface="Wingdings" panose="05000000000000000000" pitchFamily="2" charset="2"/>
              <a:buChar char="§"/>
            </a:pPr>
            <a:r>
              <a:rPr lang="en-GB" sz="1400">
                <a:solidFill>
                  <a:prstClr val="black"/>
                </a:solidFill>
                <a:latin typeface="Verdana"/>
                <a:cs typeface="Times New Roman" panose="02020603050405020304" pitchFamily="18" charset="0"/>
              </a:rPr>
              <a:t>Native speaker Business Analysts (American and Japanese) available during pregame and UAT phases.</a:t>
            </a:r>
          </a:p>
        </p:txBody>
      </p:sp>
      <p:grpSp>
        <p:nvGrpSpPr>
          <p:cNvPr id="94" name="Group 93">
            <a:extLst>
              <a:ext uri="{FF2B5EF4-FFF2-40B4-BE49-F238E27FC236}">
                <a16:creationId xmlns:a16="http://schemas.microsoft.com/office/drawing/2014/main" id="{0608BE4D-D91C-4494-A9F6-0554CAAD682C}"/>
              </a:ext>
            </a:extLst>
          </p:cNvPr>
          <p:cNvGrpSpPr/>
          <p:nvPr/>
        </p:nvGrpSpPr>
        <p:grpSpPr>
          <a:xfrm>
            <a:off x="3074341" y="1072672"/>
            <a:ext cx="6223394" cy="4426886"/>
            <a:chOff x="1479459" y="1573695"/>
            <a:chExt cx="7274922" cy="4918123"/>
          </a:xfrm>
        </p:grpSpPr>
        <p:sp>
          <p:nvSpPr>
            <p:cNvPr id="95" name="Right Triangle 94">
              <a:extLst>
                <a:ext uri="{FF2B5EF4-FFF2-40B4-BE49-F238E27FC236}">
                  <a16:creationId xmlns:a16="http://schemas.microsoft.com/office/drawing/2014/main" id="{7A6B6AAA-DB6B-4E4F-8131-AAEFAD6ABACF}"/>
                </a:ext>
              </a:extLst>
            </p:cNvPr>
            <p:cNvSpPr/>
            <p:nvPr/>
          </p:nvSpPr>
          <p:spPr>
            <a:xfrm>
              <a:off x="5114159" y="1573695"/>
              <a:ext cx="3640222" cy="4917872"/>
            </a:xfrm>
            <a:prstGeom prst="rtTriangle">
              <a:avLst/>
            </a:prstGeom>
            <a:solidFill>
              <a:srgbClr val="12ABDB">
                <a:lumMod val="40000"/>
                <a:lumOff val="60000"/>
              </a:srgbClr>
            </a:solidFill>
            <a:ln w="3175" cap="flat" cmpd="sng" algn="ctr">
              <a:noFill/>
              <a:prstDash val="solid"/>
            </a:ln>
            <a:effectLst/>
          </p:spPr>
          <p:txBody>
            <a:bodyPr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B143D">
                    <a:lumMod val="50000"/>
                  </a:srgbClr>
                </a:solidFill>
                <a:effectLst/>
                <a:uLnTx/>
                <a:uFillTx/>
                <a:latin typeface="Verdana"/>
              </a:endParaRPr>
            </a:p>
          </p:txBody>
        </p:sp>
        <p:sp>
          <p:nvSpPr>
            <p:cNvPr id="96" name="Right Triangle 95">
              <a:extLst>
                <a:ext uri="{FF2B5EF4-FFF2-40B4-BE49-F238E27FC236}">
                  <a16:creationId xmlns:a16="http://schemas.microsoft.com/office/drawing/2014/main" id="{8D8DA922-11FE-452E-8BC9-6ECF1B0B821E}"/>
                </a:ext>
              </a:extLst>
            </p:cNvPr>
            <p:cNvSpPr/>
            <p:nvPr/>
          </p:nvSpPr>
          <p:spPr>
            <a:xfrm flipH="1">
              <a:off x="1479459" y="1580254"/>
              <a:ext cx="3640222" cy="4911564"/>
            </a:xfrm>
            <a:prstGeom prst="rtTriangle">
              <a:avLst/>
            </a:prstGeom>
            <a:solidFill>
              <a:srgbClr val="0070AD">
                <a:lumMod val="60000"/>
                <a:lumOff val="40000"/>
              </a:srgbClr>
            </a:solidFill>
            <a:ln w="3175" cap="flat" cmpd="sng" algn="ctr">
              <a:noFill/>
              <a:prstDash val="solid"/>
            </a:ln>
            <a:effectLst/>
          </p:spPr>
          <p:txBody>
            <a:bodyPr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B143D">
                    <a:lumMod val="50000"/>
                  </a:srgbClr>
                </a:solidFill>
                <a:effectLst/>
                <a:uLnTx/>
                <a:uFillTx/>
                <a:latin typeface="Verdana"/>
              </a:endParaRPr>
            </a:p>
          </p:txBody>
        </p:sp>
      </p:grpSp>
      <p:sp>
        <p:nvSpPr>
          <p:cNvPr id="97" name="TextBox 96">
            <a:extLst>
              <a:ext uri="{FF2B5EF4-FFF2-40B4-BE49-F238E27FC236}">
                <a16:creationId xmlns:a16="http://schemas.microsoft.com/office/drawing/2014/main" id="{82D92E39-9943-4B27-8582-6353134A9F6E}"/>
              </a:ext>
            </a:extLst>
          </p:cNvPr>
          <p:cNvSpPr txBox="1"/>
          <p:nvPr/>
        </p:nvSpPr>
        <p:spPr>
          <a:xfrm>
            <a:off x="6197155" y="1245937"/>
            <a:ext cx="5823697" cy="903463"/>
          </a:xfrm>
          <a:prstGeom prst="rect">
            <a:avLst/>
          </a:prstGeom>
          <a:noFill/>
        </p:spPr>
        <p:txBody>
          <a:bodyPr wrap="square" rtlCol="0" anchor="ctr">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Account Executive (IT)</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Quality Advisor (IT)</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Program Director (IT)</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alesforce (IT)</a:t>
            </a:r>
          </a:p>
        </p:txBody>
      </p:sp>
      <p:sp>
        <p:nvSpPr>
          <p:cNvPr id="98" name="Rectangle 97">
            <a:extLst>
              <a:ext uri="{FF2B5EF4-FFF2-40B4-BE49-F238E27FC236}">
                <a16:creationId xmlns:a16="http://schemas.microsoft.com/office/drawing/2014/main" id="{F41F308E-1571-4BFA-BF3C-4E74750F9FC0}"/>
              </a:ext>
            </a:extLst>
          </p:cNvPr>
          <p:cNvSpPr/>
          <p:nvPr/>
        </p:nvSpPr>
        <p:spPr>
          <a:xfrm>
            <a:off x="227349" y="1078856"/>
            <a:ext cx="11679847" cy="272636"/>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IN" sz="1100" b="1" i="1" u="none" strike="noStrike" kern="0" cap="none" spc="0" normalizeH="0" baseline="0" noProof="0">
                <a:ln>
                  <a:noFill/>
                </a:ln>
                <a:solidFill>
                  <a:prstClr val="black"/>
                </a:solidFill>
                <a:effectLst/>
                <a:uLnTx/>
                <a:uFillTx/>
                <a:latin typeface="Verdana"/>
              </a:rPr>
              <a:t>Monthly Operational Committee</a:t>
            </a:r>
          </a:p>
        </p:txBody>
      </p:sp>
      <p:sp>
        <p:nvSpPr>
          <p:cNvPr id="99" name="Rectangle 98">
            <a:extLst>
              <a:ext uri="{FF2B5EF4-FFF2-40B4-BE49-F238E27FC236}">
                <a16:creationId xmlns:a16="http://schemas.microsoft.com/office/drawing/2014/main" id="{E46F6F04-A8A7-4702-887D-1F2F66782EF8}"/>
              </a:ext>
            </a:extLst>
          </p:cNvPr>
          <p:cNvSpPr/>
          <p:nvPr/>
        </p:nvSpPr>
        <p:spPr>
          <a:xfrm>
            <a:off x="227349" y="2161728"/>
            <a:ext cx="11679847" cy="272636"/>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a:ln>
                  <a:noFill/>
                </a:ln>
                <a:solidFill>
                  <a:prstClr val="black"/>
                </a:solidFill>
                <a:effectLst/>
                <a:uLnTx/>
                <a:uFillTx/>
                <a:latin typeface="Verdana"/>
              </a:rPr>
              <a:t>Weekly Project Review</a:t>
            </a:r>
          </a:p>
        </p:txBody>
      </p:sp>
      <p:sp>
        <p:nvSpPr>
          <p:cNvPr id="100" name="Rectangle 99">
            <a:extLst>
              <a:ext uri="{FF2B5EF4-FFF2-40B4-BE49-F238E27FC236}">
                <a16:creationId xmlns:a16="http://schemas.microsoft.com/office/drawing/2014/main" id="{19F5715C-F9E5-4A82-BA89-F46565C16EC7}"/>
              </a:ext>
            </a:extLst>
          </p:cNvPr>
          <p:cNvSpPr/>
          <p:nvPr/>
        </p:nvSpPr>
        <p:spPr>
          <a:xfrm>
            <a:off x="6183676" y="5239091"/>
            <a:ext cx="5813957" cy="264916"/>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a:ln>
                  <a:noFill/>
                </a:ln>
                <a:solidFill>
                  <a:prstClr val="black"/>
                </a:solidFill>
                <a:effectLst/>
                <a:uLnTx/>
                <a:uFillTx/>
                <a:latin typeface="Verdana"/>
              </a:rPr>
              <a:t>Hypercare</a:t>
            </a:r>
          </a:p>
        </p:txBody>
      </p:sp>
      <p:sp>
        <p:nvSpPr>
          <p:cNvPr id="101" name="TextBox 100">
            <a:extLst>
              <a:ext uri="{FF2B5EF4-FFF2-40B4-BE49-F238E27FC236}">
                <a16:creationId xmlns:a16="http://schemas.microsoft.com/office/drawing/2014/main" id="{2E95550C-7C9E-4561-8C44-68DD7D98FEB6}"/>
              </a:ext>
            </a:extLst>
          </p:cNvPr>
          <p:cNvSpPr txBox="1"/>
          <p:nvPr/>
        </p:nvSpPr>
        <p:spPr>
          <a:xfrm>
            <a:off x="6197155" y="2435956"/>
            <a:ext cx="5824404" cy="595668"/>
          </a:xfrm>
          <a:prstGeom prst="rect">
            <a:avLst/>
          </a:prstGeom>
          <a:noFill/>
        </p:spPr>
        <p:txBody>
          <a:bodyPr wrap="square" numCol="3" spcCol="91440" rtlCol="0" anchor="ctr">
            <a:noAutofit/>
          </a:bodyPr>
          <a:lstStyle>
            <a:defPPr>
              <a:defRPr lang="pt-PT"/>
            </a:defPPr>
            <a:lvl1pPr marL="117475" indent="-117475" defTabSz="844083">
              <a:spcAft>
                <a:spcPts val="300"/>
              </a:spcAft>
              <a:buClr>
                <a:srgbClr val="0070AD"/>
              </a:buClr>
              <a:buFont typeface="Wingdings" pitchFamily="2" charset="2"/>
              <a:buChar char="§"/>
              <a:defRPr sz="900" kern="0">
                <a:solidFill>
                  <a:prstClr val="black"/>
                </a:solidFill>
              </a:defRPr>
            </a:lvl1pPr>
          </a:lstStyle>
          <a:p>
            <a:r>
              <a:rPr lang="en-IN">
                <a:latin typeface="Verdana"/>
              </a:rPr>
              <a:t>Project Manager (IT)  	</a:t>
            </a:r>
          </a:p>
          <a:p>
            <a:r>
              <a:rPr lang="en-IN">
                <a:latin typeface="Verdana"/>
              </a:rPr>
              <a:t>SFDC Technical Architect (IT)</a:t>
            </a:r>
          </a:p>
        </p:txBody>
      </p:sp>
      <p:sp>
        <p:nvSpPr>
          <p:cNvPr id="102" name="TextBox 101">
            <a:extLst>
              <a:ext uri="{FF2B5EF4-FFF2-40B4-BE49-F238E27FC236}">
                <a16:creationId xmlns:a16="http://schemas.microsoft.com/office/drawing/2014/main" id="{C4A50E20-991A-4A63-9372-ED47B05CB1FF}"/>
              </a:ext>
            </a:extLst>
          </p:cNvPr>
          <p:cNvSpPr txBox="1"/>
          <p:nvPr/>
        </p:nvSpPr>
        <p:spPr>
          <a:xfrm>
            <a:off x="822964" y="1214457"/>
            <a:ext cx="4392553" cy="903463"/>
          </a:xfrm>
          <a:prstGeom prst="rect">
            <a:avLst/>
          </a:prstGeom>
          <a:noFill/>
        </p:spPr>
        <p:txBody>
          <a:bodyPr wrap="square" rtlCol="0" anchor="ctr">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Project Director</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Application manager</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Business Product Owner</a:t>
            </a:r>
          </a:p>
        </p:txBody>
      </p:sp>
      <p:sp>
        <p:nvSpPr>
          <p:cNvPr id="103" name="TextBox 102">
            <a:extLst>
              <a:ext uri="{FF2B5EF4-FFF2-40B4-BE49-F238E27FC236}">
                <a16:creationId xmlns:a16="http://schemas.microsoft.com/office/drawing/2014/main" id="{1988D1F8-3429-4EE4-909B-D263A5277612}"/>
              </a:ext>
            </a:extLst>
          </p:cNvPr>
          <p:cNvSpPr txBox="1"/>
          <p:nvPr/>
        </p:nvSpPr>
        <p:spPr>
          <a:xfrm>
            <a:off x="822964" y="2405476"/>
            <a:ext cx="4392553" cy="903463"/>
          </a:xfrm>
          <a:prstGeom prst="rect">
            <a:avLst/>
          </a:prstGeom>
          <a:noFill/>
        </p:spPr>
        <p:txBody>
          <a:bodyPr wrap="square" rtlCol="0" anchor="ctr">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Project Manager</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Business PO</a:t>
            </a:r>
          </a:p>
        </p:txBody>
      </p:sp>
      <p:sp>
        <p:nvSpPr>
          <p:cNvPr id="104" name="TextBox 103">
            <a:extLst>
              <a:ext uri="{FF2B5EF4-FFF2-40B4-BE49-F238E27FC236}">
                <a16:creationId xmlns:a16="http://schemas.microsoft.com/office/drawing/2014/main" id="{915FD22D-6CC3-4664-92B2-458ED1D3D377}"/>
              </a:ext>
            </a:extLst>
          </p:cNvPr>
          <p:cNvSpPr txBox="1"/>
          <p:nvPr/>
        </p:nvSpPr>
        <p:spPr>
          <a:xfrm>
            <a:off x="872152" y="3866412"/>
            <a:ext cx="2087826" cy="686056"/>
          </a:xfrm>
          <a:prstGeom prst="rect">
            <a:avLst/>
          </a:prstGeom>
          <a:noFill/>
        </p:spPr>
        <p:txBody>
          <a:bodyPr wrap="square" rtlCol="0" anchor="t">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Process Owner(s)</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Architect(s)</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ystem Owner(s)</a:t>
            </a:r>
          </a:p>
        </p:txBody>
      </p:sp>
      <p:sp>
        <p:nvSpPr>
          <p:cNvPr id="105" name="TextBox 104">
            <a:extLst>
              <a:ext uri="{FF2B5EF4-FFF2-40B4-BE49-F238E27FC236}">
                <a16:creationId xmlns:a16="http://schemas.microsoft.com/office/drawing/2014/main" id="{DE1B6C67-568D-4C67-90F0-F92E5B16980A}"/>
              </a:ext>
            </a:extLst>
          </p:cNvPr>
          <p:cNvSpPr txBox="1"/>
          <p:nvPr/>
        </p:nvSpPr>
        <p:spPr>
          <a:xfrm>
            <a:off x="822965" y="4658054"/>
            <a:ext cx="2199309" cy="686056"/>
          </a:xfrm>
          <a:prstGeom prst="rect">
            <a:avLst/>
          </a:prstGeom>
          <a:noFill/>
        </p:spPr>
        <p:txBody>
          <a:bodyPr wrap="square" rtlCol="0" anchor="t">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Process Owner(s)</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Key users</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ystem Owner(s)</a:t>
            </a:r>
          </a:p>
          <a:p>
            <a:pPr marL="117475" indent="-117475" defTabSz="844083">
              <a:spcAft>
                <a:spcPts val="300"/>
              </a:spcAft>
              <a:buClr>
                <a:srgbClr val="0070AD"/>
              </a:buClr>
              <a:buFont typeface="Wingdings" pitchFamily="2" charset="2"/>
              <a:buChar char="§"/>
              <a:defRPr/>
            </a:pPr>
            <a:endParaRPr lang="en-IN" sz="900" kern="0">
              <a:solidFill>
                <a:prstClr val="black"/>
              </a:solidFill>
              <a:latin typeface="Verdana"/>
            </a:endParaRPr>
          </a:p>
        </p:txBody>
      </p:sp>
      <p:sp>
        <p:nvSpPr>
          <p:cNvPr id="106" name="TextBox 105">
            <a:extLst>
              <a:ext uri="{FF2B5EF4-FFF2-40B4-BE49-F238E27FC236}">
                <a16:creationId xmlns:a16="http://schemas.microsoft.com/office/drawing/2014/main" id="{F3BF019E-8AAD-4E16-BFF9-66FBC008FE59}"/>
              </a:ext>
            </a:extLst>
          </p:cNvPr>
          <p:cNvSpPr txBox="1"/>
          <p:nvPr/>
        </p:nvSpPr>
        <p:spPr>
          <a:xfrm>
            <a:off x="1909832" y="4658054"/>
            <a:ext cx="1140953" cy="686056"/>
          </a:xfrm>
          <a:prstGeom prst="rect">
            <a:avLst/>
          </a:prstGeom>
          <a:noFill/>
        </p:spPr>
        <p:txBody>
          <a:bodyPr wrap="square" rtlCol="0" anchor="t">
            <a:noAutofit/>
          </a:bodyPr>
          <a:lstStyle/>
          <a:p>
            <a:pPr marL="117475" indent="-117475" defTabSz="844083">
              <a:spcAft>
                <a:spcPts val="300"/>
              </a:spcAft>
              <a:buClr>
                <a:srgbClr val="0070AD"/>
              </a:buClr>
              <a:buFont typeface="Wingdings" pitchFamily="2" charset="2"/>
              <a:buChar char="§"/>
              <a:defRPr/>
            </a:pPr>
            <a:endParaRPr lang="en-IN" sz="900" kern="0">
              <a:solidFill>
                <a:prstClr val="black"/>
              </a:solidFill>
              <a:latin typeface="Verdana"/>
            </a:endParaRPr>
          </a:p>
        </p:txBody>
      </p:sp>
      <p:cxnSp>
        <p:nvCxnSpPr>
          <p:cNvPr id="107" name="Straight Connector 106">
            <a:extLst>
              <a:ext uri="{FF2B5EF4-FFF2-40B4-BE49-F238E27FC236}">
                <a16:creationId xmlns:a16="http://schemas.microsoft.com/office/drawing/2014/main" id="{CE7CCFDF-4EF9-4787-8143-A1C8A76695D8}"/>
              </a:ext>
            </a:extLst>
          </p:cNvPr>
          <p:cNvCxnSpPr/>
          <p:nvPr/>
        </p:nvCxnSpPr>
        <p:spPr>
          <a:xfrm>
            <a:off x="679601" y="4494622"/>
            <a:ext cx="11227595" cy="0"/>
          </a:xfrm>
          <a:prstGeom prst="line">
            <a:avLst/>
          </a:prstGeom>
          <a:noFill/>
          <a:ln w="6350" cap="flat" cmpd="sng" algn="ctr">
            <a:solidFill>
              <a:srgbClr val="2B143D"/>
            </a:solidFill>
            <a:prstDash val="dash"/>
            <a:miter lim="800000"/>
          </a:ln>
          <a:effectLst/>
        </p:spPr>
      </p:cxnSp>
      <p:sp>
        <p:nvSpPr>
          <p:cNvPr id="108" name="TextBox 107">
            <a:extLst>
              <a:ext uri="{FF2B5EF4-FFF2-40B4-BE49-F238E27FC236}">
                <a16:creationId xmlns:a16="http://schemas.microsoft.com/office/drawing/2014/main" id="{12110A73-88A6-4978-AFD2-93803D550E84}"/>
              </a:ext>
            </a:extLst>
          </p:cNvPr>
          <p:cNvSpPr txBox="1"/>
          <p:nvPr/>
        </p:nvSpPr>
        <p:spPr>
          <a:xfrm>
            <a:off x="6197155" y="4483336"/>
            <a:ext cx="5809234" cy="843714"/>
          </a:xfrm>
          <a:prstGeom prst="rect">
            <a:avLst/>
          </a:prstGeom>
          <a:noFill/>
        </p:spPr>
        <p:txBody>
          <a:bodyPr wrap="square" numCol="3" spcCol="91440" rtlCol="0" anchor="ctr">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enior Architect</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FDC Senior Developer</a:t>
            </a:r>
          </a:p>
          <a:p>
            <a:pPr marL="117475" indent="-117475" defTabSz="844083">
              <a:spcAft>
                <a:spcPts val="300"/>
              </a:spcAft>
              <a:buClr>
                <a:srgbClr val="0070AD"/>
              </a:buClr>
              <a:buFont typeface="Wingdings" pitchFamily="2" charset="2"/>
              <a:buChar char="§"/>
              <a:defRPr/>
            </a:pPr>
            <a:r>
              <a:rPr lang="fr-FR" sz="900" kern="0">
                <a:solidFill>
                  <a:prstClr val="black"/>
                </a:solidFill>
                <a:latin typeface="Verdana"/>
              </a:rPr>
              <a:t>SFDC Einstein Analytics</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FDC Consultants</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SFDC Developer</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Testers</a:t>
            </a:r>
          </a:p>
          <a:p>
            <a:pPr marL="117475" indent="-117475" defTabSz="844083">
              <a:spcAft>
                <a:spcPts val="300"/>
              </a:spcAft>
              <a:buClr>
                <a:srgbClr val="0070AD"/>
              </a:buClr>
              <a:buFont typeface="Wingdings" pitchFamily="2" charset="2"/>
              <a:buChar char="§"/>
              <a:defRPr/>
            </a:pPr>
            <a:r>
              <a:rPr lang="fr-FR" sz="900" kern="0">
                <a:solidFill>
                  <a:prstClr val="black"/>
                </a:solidFill>
                <a:latin typeface="Verdana"/>
              </a:rPr>
              <a:t> Data Migration Manger</a:t>
            </a:r>
          </a:p>
          <a:p>
            <a:pPr marL="117475" indent="-117475" defTabSz="844083">
              <a:spcAft>
                <a:spcPts val="300"/>
              </a:spcAft>
              <a:buClr>
                <a:srgbClr val="0070AD"/>
              </a:buClr>
              <a:buFont typeface="Wingdings" pitchFamily="2" charset="2"/>
              <a:buChar char="§"/>
              <a:defRPr/>
            </a:pPr>
            <a:endParaRPr lang="en-IN" sz="900" kern="0">
              <a:solidFill>
                <a:prstClr val="black"/>
              </a:solidFill>
              <a:latin typeface="Verdana"/>
            </a:endParaRPr>
          </a:p>
        </p:txBody>
      </p:sp>
      <p:sp>
        <p:nvSpPr>
          <p:cNvPr id="109" name="Rectangle 8">
            <a:extLst>
              <a:ext uri="{FF2B5EF4-FFF2-40B4-BE49-F238E27FC236}">
                <a16:creationId xmlns:a16="http://schemas.microsoft.com/office/drawing/2014/main" id="{55C8FD9C-B724-4761-AB60-DADC7A4202DC}"/>
              </a:ext>
            </a:extLst>
          </p:cNvPr>
          <p:cNvSpPr>
            <a:spLocks noChangeArrowheads="1"/>
          </p:cNvSpPr>
          <p:nvPr/>
        </p:nvSpPr>
        <p:spPr bwMode="auto">
          <a:xfrm rot="16200000" flipH="1">
            <a:off x="1176456" y="2884872"/>
            <a:ext cx="300621" cy="1061471"/>
          </a:xfrm>
          <a:prstGeom prst="rect">
            <a:avLst/>
          </a:prstGeom>
          <a:solidFill>
            <a:srgbClr val="0070AD">
              <a:lumMod val="60000"/>
              <a:lumOff val="40000"/>
            </a:srgbClr>
          </a:solidFill>
          <a:ln w="9525" algn="ctr">
            <a:solidFill>
              <a:srgbClr val="0070AD"/>
            </a:solidFill>
            <a:miter lim="800000"/>
            <a:headEnd/>
            <a:tailEnd/>
          </a:ln>
          <a:effectLst/>
        </p:spPr>
        <p:txBody>
          <a:bodyPr vert="eaVert" lIns="78466" tIns="39234" rIns="78466" bIns="39234" anchor="ctr"/>
          <a:lstStyle/>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srgbClr val="FFFFFF"/>
                </a:solidFill>
                <a:effectLst/>
                <a:uLnTx/>
                <a:uFillTx/>
                <a:latin typeface="Verdana"/>
                <a:cs typeface="Arial" pitchFamily="34" charset="0"/>
              </a:rPr>
              <a:t>Business</a:t>
            </a:r>
          </a:p>
        </p:txBody>
      </p:sp>
      <p:sp>
        <p:nvSpPr>
          <p:cNvPr id="110" name="Rectangle 109">
            <a:extLst>
              <a:ext uri="{FF2B5EF4-FFF2-40B4-BE49-F238E27FC236}">
                <a16:creationId xmlns:a16="http://schemas.microsoft.com/office/drawing/2014/main" id="{1E27C276-454B-4671-A1B2-F312F16317CA}"/>
              </a:ext>
            </a:extLst>
          </p:cNvPr>
          <p:cNvSpPr>
            <a:spLocks noChangeArrowheads="1"/>
          </p:cNvSpPr>
          <p:nvPr/>
        </p:nvSpPr>
        <p:spPr bwMode="auto">
          <a:xfrm rot="16200000" flipH="1">
            <a:off x="2464128" y="2884872"/>
            <a:ext cx="300620" cy="1061470"/>
          </a:xfrm>
          <a:prstGeom prst="rect">
            <a:avLst/>
          </a:prstGeom>
          <a:solidFill>
            <a:srgbClr val="0070AD">
              <a:lumMod val="60000"/>
              <a:lumOff val="40000"/>
            </a:srgbClr>
          </a:solidFill>
          <a:ln w="9525" algn="ctr">
            <a:solidFill>
              <a:srgbClr val="0070AD"/>
            </a:solidFill>
            <a:miter lim="800000"/>
            <a:headEnd/>
            <a:tailEnd/>
          </a:ln>
          <a:effectLst/>
        </p:spPr>
        <p:txBody>
          <a:bodyPr vert="eaVert" lIns="78466" tIns="39234" rIns="78466" bIns="39234" anchor="ctr"/>
          <a:lstStyle/>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srgbClr val="FFFFFF"/>
                </a:solidFill>
                <a:effectLst/>
                <a:uLnTx/>
                <a:uFillTx/>
                <a:latin typeface="Verdana"/>
                <a:cs typeface="Arial" pitchFamily="34" charset="0"/>
              </a:rPr>
              <a:t>IT</a:t>
            </a:r>
          </a:p>
        </p:txBody>
      </p:sp>
      <p:sp>
        <p:nvSpPr>
          <p:cNvPr id="111" name="Rectangle 8">
            <a:extLst>
              <a:ext uri="{FF2B5EF4-FFF2-40B4-BE49-F238E27FC236}">
                <a16:creationId xmlns:a16="http://schemas.microsoft.com/office/drawing/2014/main" id="{1D75DBF8-7337-4E29-8CA6-28BF2DA6FB7C}"/>
              </a:ext>
            </a:extLst>
          </p:cNvPr>
          <p:cNvSpPr>
            <a:spLocks noChangeArrowheads="1"/>
          </p:cNvSpPr>
          <p:nvPr/>
        </p:nvSpPr>
        <p:spPr bwMode="auto">
          <a:xfrm rot="16200000" flipH="1">
            <a:off x="6588983" y="2873470"/>
            <a:ext cx="296344" cy="1080000"/>
          </a:xfrm>
          <a:prstGeom prst="rect">
            <a:avLst/>
          </a:prstGeom>
          <a:solidFill>
            <a:srgbClr val="12ABDB"/>
          </a:solidFill>
          <a:ln w="9525" algn="ctr">
            <a:noFill/>
            <a:miter lim="800000"/>
            <a:headEnd/>
            <a:tailEnd/>
          </a:ln>
          <a:effectLst/>
        </p:spPr>
        <p:txBody>
          <a:bodyPr vert="eaVert" lIns="78466" tIns="39234" rIns="78466" bIns="39234" anchor="ctr"/>
          <a:lstStyle/>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prstClr val="white"/>
                </a:solidFill>
                <a:effectLst/>
                <a:uLnTx/>
                <a:uFillTx/>
                <a:latin typeface="Verdana"/>
                <a:cs typeface="Arial" pitchFamily="34" charset="0"/>
              </a:rPr>
              <a:t>Functional </a:t>
            </a:r>
          </a:p>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prstClr val="white"/>
                </a:solidFill>
                <a:effectLst/>
                <a:uLnTx/>
                <a:uFillTx/>
                <a:latin typeface="Verdana"/>
                <a:cs typeface="Arial" pitchFamily="34" charset="0"/>
              </a:rPr>
              <a:t>Team</a:t>
            </a:r>
          </a:p>
        </p:txBody>
      </p:sp>
      <p:sp>
        <p:nvSpPr>
          <p:cNvPr id="112" name="Rectangle 8">
            <a:extLst>
              <a:ext uri="{FF2B5EF4-FFF2-40B4-BE49-F238E27FC236}">
                <a16:creationId xmlns:a16="http://schemas.microsoft.com/office/drawing/2014/main" id="{0E7C5F42-691B-451F-9A41-3B3D3077A159}"/>
              </a:ext>
            </a:extLst>
          </p:cNvPr>
          <p:cNvSpPr>
            <a:spLocks noChangeArrowheads="1"/>
          </p:cNvSpPr>
          <p:nvPr/>
        </p:nvSpPr>
        <p:spPr bwMode="auto">
          <a:xfrm rot="16200000" flipH="1">
            <a:off x="8051354" y="2873470"/>
            <a:ext cx="296344" cy="1080000"/>
          </a:xfrm>
          <a:prstGeom prst="rect">
            <a:avLst/>
          </a:prstGeom>
          <a:solidFill>
            <a:srgbClr val="12ABDB"/>
          </a:solidFill>
          <a:ln w="9525" algn="ctr">
            <a:noFill/>
            <a:miter lim="800000"/>
            <a:headEnd/>
            <a:tailEnd/>
          </a:ln>
          <a:effectLst/>
        </p:spPr>
        <p:txBody>
          <a:bodyPr vert="eaVert" lIns="78466" tIns="39234" rIns="78466" bIns="39234" anchor="ctr"/>
          <a:lstStyle/>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prstClr val="white"/>
                </a:solidFill>
                <a:effectLst/>
                <a:uLnTx/>
                <a:uFillTx/>
                <a:latin typeface="Verdana"/>
                <a:cs typeface="Arial" pitchFamily="34" charset="0"/>
              </a:rPr>
              <a:t>Build SFDC Solution</a:t>
            </a:r>
          </a:p>
        </p:txBody>
      </p:sp>
      <p:sp>
        <p:nvSpPr>
          <p:cNvPr id="113" name="Rectangle 8">
            <a:extLst>
              <a:ext uri="{FF2B5EF4-FFF2-40B4-BE49-F238E27FC236}">
                <a16:creationId xmlns:a16="http://schemas.microsoft.com/office/drawing/2014/main" id="{D7A66326-9D03-4A72-81CF-8B54ED210B56}"/>
              </a:ext>
            </a:extLst>
          </p:cNvPr>
          <p:cNvSpPr>
            <a:spLocks noChangeArrowheads="1"/>
          </p:cNvSpPr>
          <p:nvPr/>
        </p:nvSpPr>
        <p:spPr bwMode="auto">
          <a:xfrm rot="16200000" flipH="1">
            <a:off x="9379310" y="2873469"/>
            <a:ext cx="296344" cy="1080000"/>
          </a:xfrm>
          <a:prstGeom prst="rect">
            <a:avLst/>
          </a:prstGeom>
          <a:solidFill>
            <a:srgbClr val="12ABDB"/>
          </a:solidFill>
          <a:ln w="9525" algn="ctr">
            <a:noFill/>
            <a:miter lim="800000"/>
            <a:headEnd/>
            <a:tailEnd/>
          </a:ln>
          <a:effectLst/>
        </p:spPr>
        <p:txBody>
          <a:bodyPr vert="eaVert" lIns="78466" tIns="39234" rIns="78466" bIns="39234" anchor="ctr"/>
          <a:lstStyle/>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prstClr val="white"/>
                </a:solidFill>
                <a:effectLst/>
                <a:uLnTx/>
                <a:uFillTx/>
                <a:latin typeface="Verdana"/>
                <a:cs typeface="Arial" pitchFamily="34" charset="0"/>
              </a:rPr>
              <a:t>Integration </a:t>
            </a:r>
          </a:p>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prstClr val="white"/>
                </a:solidFill>
                <a:effectLst/>
                <a:uLnTx/>
                <a:uFillTx/>
                <a:latin typeface="Verdana"/>
                <a:cs typeface="Arial" pitchFamily="34" charset="0"/>
              </a:rPr>
              <a:t>Team</a:t>
            </a:r>
          </a:p>
        </p:txBody>
      </p:sp>
      <p:sp>
        <p:nvSpPr>
          <p:cNvPr id="114" name="Rectangle 8">
            <a:extLst>
              <a:ext uri="{FF2B5EF4-FFF2-40B4-BE49-F238E27FC236}">
                <a16:creationId xmlns:a16="http://schemas.microsoft.com/office/drawing/2014/main" id="{96291BBA-1344-4A0B-97B4-73DC79DC984A}"/>
              </a:ext>
            </a:extLst>
          </p:cNvPr>
          <p:cNvSpPr>
            <a:spLocks noChangeArrowheads="1"/>
          </p:cNvSpPr>
          <p:nvPr/>
        </p:nvSpPr>
        <p:spPr bwMode="auto">
          <a:xfrm rot="16200000" flipH="1">
            <a:off x="10650610" y="2873469"/>
            <a:ext cx="296344" cy="1080000"/>
          </a:xfrm>
          <a:prstGeom prst="rect">
            <a:avLst/>
          </a:prstGeom>
          <a:solidFill>
            <a:srgbClr val="12ABDB"/>
          </a:solidFill>
          <a:ln w="9525" algn="ctr">
            <a:noFill/>
            <a:miter lim="800000"/>
            <a:headEnd/>
            <a:tailEnd/>
          </a:ln>
          <a:effectLst/>
        </p:spPr>
        <p:txBody>
          <a:bodyPr vert="eaVert" lIns="78466" tIns="39234" rIns="78466" bIns="39234" anchor="ctr"/>
          <a:lstStyle/>
          <a:p>
            <a:pPr marL="0" marR="0" lvl="0" indent="0" algn="ctr" defTabSz="957263" eaLnBrk="1" fontAlgn="base" latinLnBrk="0" hangingPunct="1">
              <a:lnSpc>
                <a:spcPct val="100000"/>
              </a:lnSpc>
              <a:spcBef>
                <a:spcPct val="0"/>
              </a:spcBef>
              <a:spcAft>
                <a:spcPct val="0"/>
              </a:spcAft>
              <a:buClrTx/>
              <a:buSzTx/>
              <a:buFontTx/>
              <a:buNone/>
              <a:tabLst>
                <a:tab pos="5508876" algn="r"/>
              </a:tabLst>
              <a:defRPr/>
            </a:pPr>
            <a:r>
              <a:rPr kumimoji="0" lang="en-GB" sz="900" b="1" i="0" u="none" strike="noStrike" kern="0" cap="none" spc="0" normalizeH="0" baseline="0" noProof="0">
                <a:ln>
                  <a:noFill/>
                </a:ln>
                <a:solidFill>
                  <a:prstClr val="white"/>
                </a:solidFill>
                <a:effectLst/>
                <a:uLnTx/>
                <a:uFillTx/>
                <a:latin typeface="Verdana"/>
                <a:cs typeface="Arial" pitchFamily="34" charset="0"/>
              </a:rPr>
              <a:t>Data Migration Team</a:t>
            </a:r>
          </a:p>
        </p:txBody>
      </p:sp>
      <p:pic>
        <p:nvPicPr>
          <p:cNvPr id="115" name="Picture 114" descr="A picture containing drawing, table&#10;&#10;Description automatically generated">
            <a:extLst>
              <a:ext uri="{FF2B5EF4-FFF2-40B4-BE49-F238E27FC236}">
                <a16:creationId xmlns:a16="http://schemas.microsoft.com/office/drawing/2014/main" id="{A697BEA3-7276-4A11-A159-61CD7035ED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48743" y="3054595"/>
            <a:ext cx="216542" cy="144000"/>
          </a:xfrm>
          <a:prstGeom prst="rect">
            <a:avLst/>
          </a:prstGeom>
        </p:spPr>
      </p:pic>
      <p:pic>
        <p:nvPicPr>
          <p:cNvPr id="116" name="Picture 115" descr="A picture containing flower, drawing&#10;&#10;Description automatically generated">
            <a:extLst>
              <a:ext uri="{FF2B5EF4-FFF2-40B4-BE49-F238E27FC236}">
                <a16:creationId xmlns:a16="http://schemas.microsoft.com/office/drawing/2014/main" id="{684B28FE-4C6C-4C3D-B1A7-EDA2544FED7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04825" y="3068243"/>
            <a:ext cx="216542" cy="144000"/>
          </a:xfrm>
          <a:prstGeom prst="rect">
            <a:avLst/>
          </a:prstGeom>
        </p:spPr>
      </p:pic>
      <p:pic>
        <p:nvPicPr>
          <p:cNvPr id="117" name="Picture 116" descr="A picture containing drawing, table&#10;&#10;Description automatically generated">
            <a:extLst>
              <a:ext uri="{FF2B5EF4-FFF2-40B4-BE49-F238E27FC236}">
                <a16:creationId xmlns:a16="http://schemas.microsoft.com/office/drawing/2014/main" id="{C4AE5B5C-56B0-4CF9-93BE-258807F837C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13905" y="3067991"/>
            <a:ext cx="216542" cy="144000"/>
          </a:xfrm>
          <a:prstGeom prst="rect">
            <a:avLst/>
          </a:prstGeom>
        </p:spPr>
      </p:pic>
      <p:pic>
        <p:nvPicPr>
          <p:cNvPr id="118" name="Picture 3">
            <a:extLst>
              <a:ext uri="{FF2B5EF4-FFF2-40B4-BE49-F238E27FC236}">
                <a16:creationId xmlns:a16="http://schemas.microsoft.com/office/drawing/2014/main" id="{9C750A86-7E54-43AB-AEFF-E68A1951A33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2641247" y="2688923"/>
            <a:ext cx="628381" cy="510879"/>
          </a:xfrm>
          <a:prstGeom prst="rect">
            <a:avLst/>
          </a:prstGeom>
          <a:noFill/>
          <a:ln>
            <a:noFill/>
          </a:ln>
        </p:spPr>
      </p:pic>
      <p:sp>
        <p:nvSpPr>
          <p:cNvPr id="119" name="Rectangle 118">
            <a:extLst>
              <a:ext uri="{FF2B5EF4-FFF2-40B4-BE49-F238E27FC236}">
                <a16:creationId xmlns:a16="http://schemas.microsoft.com/office/drawing/2014/main" id="{68E12081-EB35-412C-8EA5-5D35F6394403}"/>
              </a:ext>
            </a:extLst>
          </p:cNvPr>
          <p:cNvSpPr/>
          <p:nvPr/>
        </p:nvSpPr>
        <p:spPr>
          <a:xfrm>
            <a:off x="233228" y="1367832"/>
            <a:ext cx="396000" cy="749649"/>
          </a:xfrm>
          <a:prstGeom prst="rect">
            <a:avLst/>
          </a:prstGeom>
          <a:solidFill>
            <a:srgbClr val="2B143D"/>
          </a:solidFill>
          <a:ln w="25400" cap="flat" cmpd="sng" algn="ctr">
            <a:noFill/>
            <a:prstDash val="solid"/>
          </a:ln>
          <a:effectLst/>
        </p:spPr>
        <p:txBody>
          <a:bodyPr vert="vert27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Verdana"/>
              </a:rPr>
              <a:t>Strategic</a:t>
            </a:r>
          </a:p>
        </p:txBody>
      </p:sp>
      <p:sp>
        <p:nvSpPr>
          <p:cNvPr id="120" name="Rectangle 119">
            <a:extLst>
              <a:ext uri="{FF2B5EF4-FFF2-40B4-BE49-F238E27FC236}">
                <a16:creationId xmlns:a16="http://schemas.microsoft.com/office/drawing/2014/main" id="{63E2CCAA-E266-491B-BF65-57A2DC27BBB7}"/>
              </a:ext>
            </a:extLst>
          </p:cNvPr>
          <p:cNvSpPr/>
          <p:nvPr/>
        </p:nvSpPr>
        <p:spPr>
          <a:xfrm>
            <a:off x="233228" y="2467155"/>
            <a:ext cx="396000" cy="1091730"/>
          </a:xfrm>
          <a:prstGeom prst="rect">
            <a:avLst/>
          </a:prstGeom>
          <a:solidFill>
            <a:srgbClr val="2B143D"/>
          </a:solidFill>
          <a:ln w="25400" cap="flat" cmpd="sng" algn="ctr">
            <a:noFill/>
            <a:prstDash val="solid"/>
          </a:ln>
          <a:effectLst/>
        </p:spPr>
        <p:txBody>
          <a:bodyPr vert="vert27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Verdana"/>
              </a:rPr>
              <a:t>Tactical</a:t>
            </a:r>
          </a:p>
        </p:txBody>
      </p:sp>
      <p:sp>
        <p:nvSpPr>
          <p:cNvPr id="121" name="Rectangle 120">
            <a:extLst>
              <a:ext uri="{FF2B5EF4-FFF2-40B4-BE49-F238E27FC236}">
                <a16:creationId xmlns:a16="http://schemas.microsoft.com/office/drawing/2014/main" id="{1DA81575-522A-41A1-A32E-4CB0B6455714}"/>
              </a:ext>
            </a:extLst>
          </p:cNvPr>
          <p:cNvSpPr/>
          <p:nvPr/>
        </p:nvSpPr>
        <p:spPr>
          <a:xfrm>
            <a:off x="241823" y="3883954"/>
            <a:ext cx="397129" cy="1544691"/>
          </a:xfrm>
          <a:prstGeom prst="rect">
            <a:avLst/>
          </a:prstGeom>
          <a:solidFill>
            <a:srgbClr val="2B143D"/>
          </a:solidFill>
          <a:ln w="25400" cap="flat" cmpd="sng" algn="ctr">
            <a:noFill/>
            <a:prstDash val="solid"/>
          </a:ln>
          <a:effectLst/>
        </p:spPr>
        <p:txBody>
          <a:bodyPr vert="vert27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Verdana"/>
              </a:rPr>
              <a:t>Operational</a:t>
            </a:r>
          </a:p>
        </p:txBody>
      </p:sp>
      <p:sp>
        <p:nvSpPr>
          <p:cNvPr id="122" name="Rectangle 121">
            <a:extLst>
              <a:ext uri="{FF2B5EF4-FFF2-40B4-BE49-F238E27FC236}">
                <a16:creationId xmlns:a16="http://schemas.microsoft.com/office/drawing/2014/main" id="{0C7320E7-2AFA-4DF4-A2B4-5F2AFBE4CFCA}"/>
              </a:ext>
            </a:extLst>
          </p:cNvPr>
          <p:cNvSpPr/>
          <p:nvPr/>
        </p:nvSpPr>
        <p:spPr>
          <a:xfrm>
            <a:off x="227349" y="3587246"/>
            <a:ext cx="11679847" cy="272636"/>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a:ln>
                  <a:noFill/>
                </a:ln>
                <a:solidFill>
                  <a:prstClr val="black"/>
                </a:solidFill>
                <a:effectLst/>
                <a:uLnTx/>
                <a:uFillTx/>
                <a:latin typeface="Verdana"/>
              </a:rPr>
              <a:t>Project Operations</a:t>
            </a:r>
          </a:p>
        </p:txBody>
      </p:sp>
      <p:pic>
        <p:nvPicPr>
          <p:cNvPr id="123" name="Picture 122" descr="A picture containing drawing, table&#10;&#10;Description automatically generated">
            <a:extLst>
              <a:ext uri="{FF2B5EF4-FFF2-40B4-BE49-F238E27FC236}">
                <a16:creationId xmlns:a16="http://schemas.microsoft.com/office/drawing/2014/main" id="{30A51646-A939-4C36-84B3-67A1456D68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013545" y="3904080"/>
            <a:ext cx="324813" cy="216000"/>
          </a:xfrm>
          <a:prstGeom prst="rect">
            <a:avLst/>
          </a:prstGeom>
        </p:spPr>
      </p:pic>
      <p:pic>
        <p:nvPicPr>
          <p:cNvPr id="124" name="Picture 123" descr="A picture containing flower, drawing&#10;&#10;Description automatically generated">
            <a:extLst>
              <a:ext uri="{FF2B5EF4-FFF2-40B4-BE49-F238E27FC236}">
                <a16:creationId xmlns:a16="http://schemas.microsoft.com/office/drawing/2014/main" id="{C823E907-74AE-4CC3-A4B1-CF408DE7A9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41199" y="4836983"/>
            <a:ext cx="324812" cy="216000"/>
          </a:xfrm>
          <a:prstGeom prst="rect">
            <a:avLst/>
          </a:prstGeom>
        </p:spPr>
      </p:pic>
      <p:sp>
        <p:nvSpPr>
          <p:cNvPr id="125" name="TextBox 124">
            <a:extLst>
              <a:ext uri="{FF2B5EF4-FFF2-40B4-BE49-F238E27FC236}">
                <a16:creationId xmlns:a16="http://schemas.microsoft.com/office/drawing/2014/main" id="{0A46F1DC-E806-4014-B412-2D397D986841}"/>
              </a:ext>
            </a:extLst>
          </p:cNvPr>
          <p:cNvSpPr txBox="1"/>
          <p:nvPr/>
        </p:nvSpPr>
        <p:spPr>
          <a:xfrm>
            <a:off x="11296176" y="4808591"/>
            <a:ext cx="574981" cy="230832"/>
          </a:xfrm>
          <a:prstGeom prst="rect">
            <a:avLst/>
          </a:prstGeom>
          <a:noFill/>
        </p:spPr>
        <p:txBody>
          <a:bodyPr wrap="square" lIns="0" tIns="0" rIns="0" bIns="0" numCol="1" spcCol="91440" rtlCol="0" anchor="ctr">
            <a:noAutofit/>
          </a:bodyPr>
          <a:lstStyle/>
          <a:p>
            <a:pPr defTabSz="844083">
              <a:spcAft>
                <a:spcPts val="300"/>
              </a:spcAft>
              <a:buClr>
                <a:srgbClr val="0070AD"/>
              </a:buClr>
              <a:defRPr/>
            </a:pPr>
            <a:r>
              <a:rPr lang="en-IN" sz="900" kern="0">
                <a:solidFill>
                  <a:prstClr val="black"/>
                </a:solidFill>
                <a:latin typeface="Verdana"/>
              </a:rPr>
              <a:t>Offshore</a:t>
            </a:r>
          </a:p>
        </p:txBody>
      </p:sp>
      <p:sp>
        <p:nvSpPr>
          <p:cNvPr id="126" name="TextBox 125">
            <a:extLst>
              <a:ext uri="{FF2B5EF4-FFF2-40B4-BE49-F238E27FC236}">
                <a16:creationId xmlns:a16="http://schemas.microsoft.com/office/drawing/2014/main" id="{D89230B7-1662-43C9-AA65-9F6954899651}"/>
              </a:ext>
            </a:extLst>
          </p:cNvPr>
          <p:cNvSpPr txBox="1"/>
          <p:nvPr/>
        </p:nvSpPr>
        <p:spPr>
          <a:xfrm>
            <a:off x="6197156" y="3768050"/>
            <a:ext cx="4885734" cy="710859"/>
          </a:xfrm>
          <a:prstGeom prst="rect">
            <a:avLst/>
          </a:prstGeom>
          <a:noFill/>
        </p:spPr>
        <p:txBody>
          <a:bodyPr wrap="square" numCol="3" spcCol="91440" rtlCol="0" anchor="ctr">
            <a:noAutofit/>
          </a:bodyPr>
          <a:lstStyle/>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Functional Team Lead</a:t>
            </a:r>
          </a:p>
          <a:p>
            <a:pPr marL="117475" indent="-117475" defTabSz="844083">
              <a:spcAft>
                <a:spcPts val="300"/>
              </a:spcAft>
              <a:buClr>
                <a:srgbClr val="0070AD"/>
              </a:buClr>
              <a:buFont typeface="Wingdings" pitchFamily="2" charset="2"/>
              <a:buChar char="§"/>
              <a:defRPr/>
            </a:pPr>
            <a:r>
              <a:rPr lang="en-IN" sz="900" kern="0">
                <a:solidFill>
                  <a:prstClr val="black"/>
                </a:solidFill>
                <a:latin typeface="Verdana"/>
              </a:rPr>
              <a:t>Integration Lead</a:t>
            </a:r>
          </a:p>
          <a:p>
            <a:pPr marL="117475" indent="-117475" defTabSz="844083">
              <a:spcAft>
                <a:spcPts val="300"/>
              </a:spcAft>
              <a:buClr>
                <a:srgbClr val="0070AD"/>
              </a:buClr>
              <a:buFont typeface="Wingdings" pitchFamily="2" charset="2"/>
              <a:buChar char="§"/>
              <a:defRPr/>
            </a:pPr>
            <a:r>
              <a:rPr lang="en-IN" sz="900">
                <a:solidFill>
                  <a:prstClr val="black"/>
                </a:solidFill>
                <a:latin typeface="Verdana"/>
              </a:rPr>
              <a:t>Sales Cloud Certified</a:t>
            </a:r>
          </a:p>
          <a:p>
            <a:pPr marL="117475" indent="-117475" defTabSz="844083">
              <a:spcAft>
                <a:spcPts val="300"/>
              </a:spcAft>
              <a:buClr>
                <a:srgbClr val="0070AD"/>
              </a:buClr>
              <a:buFont typeface="Wingdings" pitchFamily="2" charset="2"/>
              <a:buChar char="§"/>
              <a:defRPr/>
            </a:pPr>
            <a:endParaRPr lang="en-IN" sz="900" kern="0">
              <a:solidFill>
                <a:prstClr val="black"/>
              </a:solidFill>
              <a:latin typeface="Verdana"/>
            </a:endParaRPr>
          </a:p>
          <a:p>
            <a:pPr marL="117475" indent="-117475" defTabSz="844083">
              <a:spcAft>
                <a:spcPts val="300"/>
              </a:spcAft>
              <a:buClr>
                <a:srgbClr val="0070AD"/>
              </a:buClr>
              <a:buFont typeface="Wingdings" pitchFamily="2" charset="2"/>
              <a:buChar char="§"/>
              <a:defRPr/>
            </a:pPr>
            <a:endParaRPr lang="en-IN" sz="900" kern="0">
              <a:solidFill>
                <a:prstClr val="black"/>
              </a:solidFill>
              <a:latin typeface="Verdana"/>
            </a:endParaRPr>
          </a:p>
        </p:txBody>
      </p:sp>
      <p:pic>
        <p:nvPicPr>
          <p:cNvPr id="127" name="Graphic 9">
            <a:extLst>
              <a:ext uri="{FF2B5EF4-FFF2-40B4-BE49-F238E27FC236}">
                <a16:creationId xmlns:a16="http://schemas.microsoft.com/office/drawing/2014/main" id="{65724E7F-69DF-4111-B6E0-274376C8776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714754" y="1070178"/>
            <a:ext cx="1538430" cy="342765"/>
          </a:xfrm>
          <a:prstGeom prst="rect">
            <a:avLst/>
          </a:prstGeom>
          <a:noFill/>
          <a:ln>
            <a:noFill/>
          </a:ln>
        </p:spPr>
      </p:pic>
      <p:pic>
        <p:nvPicPr>
          <p:cNvPr id="128" name="Immagine 2" descr="03 Logo_Tavola disegno 200.png">
            <a:extLst>
              <a:ext uri="{FF2B5EF4-FFF2-40B4-BE49-F238E27FC236}">
                <a16:creationId xmlns:a16="http://schemas.microsoft.com/office/drawing/2014/main" id="{89E96CCF-7584-475E-AF3A-6FA44C649F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37396" y="982940"/>
            <a:ext cx="664464" cy="542544"/>
          </a:xfrm>
          <a:prstGeom prst="rect">
            <a:avLst/>
          </a:prstGeom>
        </p:spPr>
      </p:pic>
      <p:pic>
        <p:nvPicPr>
          <p:cNvPr id="129" name="Picture 128" descr="A picture containing flower, drawing&#10;&#10;Description automatically generated">
            <a:extLst>
              <a:ext uri="{FF2B5EF4-FFF2-40B4-BE49-F238E27FC236}">
                <a16:creationId xmlns:a16="http://schemas.microsoft.com/office/drawing/2014/main" id="{7AE04460-B1A9-4A32-8BE3-EAE8769377B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26838" y="3045387"/>
            <a:ext cx="250711" cy="166722"/>
          </a:xfrm>
          <a:prstGeom prst="rect">
            <a:avLst/>
          </a:prstGeom>
        </p:spPr>
      </p:pic>
      <p:pic>
        <p:nvPicPr>
          <p:cNvPr id="130" name="Picture 129" descr="A picture containing drawing, table&#10;&#10;Description automatically generated">
            <a:extLst>
              <a:ext uri="{FF2B5EF4-FFF2-40B4-BE49-F238E27FC236}">
                <a16:creationId xmlns:a16="http://schemas.microsoft.com/office/drawing/2014/main" id="{28978881-178B-49A4-A608-5E6F4EBD949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398165" y="4173955"/>
            <a:ext cx="425576" cy="284657"/>
          </a:xfrm>
          <a:prstGeom prst="rect">
            <a:avLst/>
          </a:prstGeom>
        </p:spPr>
      </p:pic>
      <p:pic>
        <p:nvPicPr>
          <p:cNvPr id="131" name="Picture 130" descr="A picture containing flower, drawing&#10;&#10;Description automatically generated">
            <a:extLst>
              <a:ext uri="{FF2B5EF4-FFF2-40B4-BE49-F238E27FC236}">
                <a16:creationId xmlns:a16="http://schemas.microsoft.com/office/drawing/2014/main" id="{1804AE76-8675-4C27-97CE-9BE088B278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59852" y="3063318"/>
            <a:ext cx="250711" cy="166722"/>
          </a:xfrm>
          <a:prstGeom prst="rect">
            <a:avLst/>
          </a:prstGeom>
        </p:spPr>
      </p:pic>
      <p:pic>
        <p:nvPicPr>
          <p:cNvPr id="132" name="Picture 131" descr="A picture containing flower, drawing&#10;&#10;Description automatically generated">
            <a:extLst>
              <a:ext uri="{FF2B5EF4-FFF2-40B4-BE49-F238E27FC236}">
                <a16:creationId xmlns:a16="http://schemas.microsoft.com/office/drawing/2014/main" id="{7250555E-EBDF-43C5-BF67-335D3E2CA4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19284" y="3911509"/>
            <a:ext cx="340872" cy="226679"/>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165725" cy="422275"/>
          </a:xfrm>
          <a:prstGeom prst="rect">
            <a:avLst/>
          </a:prstGeom>
        </p:spPr>
        <p:txBody>
          <a:bodyPr vert="horz" wrap="square" lIns="0" tIns="12700" rIns="0" bIns="0" rtlCol="0">
            <a:spAutoFit/>
          </a:bodyPr>
          <a:lstStyle/>
          <a:p>
            <a:pPr marL="12700">
              <a:lnSpc>
                <a:spcPct val="100000"/>
              </a:lnSpc>
              <a:spcBef>
                <a:spcPts val="100"/>
              </a:spcBef>
            </a:pPr>
            <a:r>
              <a:rPr sz="2600" spc="-15"/>
              <a:t>Role </a:t>
            </a:r>
            <a:r>
              <a:rPr sz="2600" spc="-5"/>
              <a:t>and Responsibilities</a:t>
            </a:r>
            <a:r>
              <a:rPr sz="2600" spc="-95"/>
              <a:t> </a:t>
            </a:r>
            <a:r>
              <a:rPr i="1" spc="-5">
                <a:latin typeface="Verdana"/>
                <a:cs typeface="Verdana"/>
              </a:rPr>
              <a:t>(cont)</a:t>
            </a:r>
            <a:endParaRPr sz="2600">
              <a:latin typeface="Verdana"/>
              <a:cs typeface="Verdana"/>
            </a:endParaRPr>
          </a:p>
        </p:txBody>
      </p:sp>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8</a:t>
            </a:fld>
            <a:endParaRPr/>
          </a:p>
        </p:txBody>
      </p:sp>
      <p:graphicFrame>
        <p:nvGraphicFramePr>
          <p:cNvPr id="3" name="object 3"/>
          <p:cNvGraphicFramePr>
            <a:graphicFrameLocks noGrp="1"/>
          </p:cNvGraphicFramePr>
          <p:nvPr>
            <p:extLst>
              <p:ext uri="{D42A27DB-BD31-4B8C-83A1-F6EECF244321}">
                <p14:modId xmlns:p14="http://schemas.microsoft.com/office/powerpoint/2010/main" val="1982143731"/>
              </p:ext>
            </p:extLst>
          </p:nvPr>
        </p:nvGraphicFramePr>
        <p:xfrm>
          <a:off x="220992" y="1481708"/>
          <a:ext cx="11704318" cy="4815888"/>
        </p:xfrm>
        <a:graphic>
          <a:graphicData uri="http://schemas.openxmlformats.org/drawingml/2006/table">
            <a:tbl>
              <a:tblPr firstRow="1" bandRow="1">
                <a:tableStyleId>{2D5ABB26-0587-4C30-8999-92F81FD0307C}</a:tableStyleId>
              </a:tblPr>
              <a:tblGrid>
                <a:gridCol w="1828800">
                  <a:extLst>
                    <a:ext uri="{9D8B030D-6E8A-4147-A177-3AD203B41FA5}">
                      <a16:colId xmlns:a16="http://schemas.microsoft.com/office/drawing/2014/main" val="20000"/>
                    </a:ext>
                  </a:extLst>
                </a:gridCol>
                <a:gridCol w="5394959">
                  <a:extLst>
                    <a:ext uri="{9D8B030D-6E8A-4147-A177-3AD203B41FA5}">
                      <a16:colId xmlns:a16="http://schemas.microsoft.com/office/drawing/2014/main" val="20001"/>
                    </a:ext>
                  </a:extLst>
                </a:gridCol>
                <a:gridCol w="4480559">
                  <a:extLst>
                    <a:ext uri="{9D8B030D-6E8A-4147-A177-3AD203B41FA5}">
                      <a16:colId xmlns:a16="http://schemas.microsoft.com/office/drawing/2014/main" val="20002"/>
                    </a:ext>
                  </a:extLst>
                </a:gridCol>
              </a:tblGrid>
              <a:tr h="259079">
                <a:tc>
                  <a:txBody>
                    <a:bodyPr/>
                    <a:lstStyle/>
                    <a:p>
                      <a:pPr marL="45720">
                        <a:lnSpc>
                          <a:spcPct val="100000"/>
                        </a:lnSpc>
                        <a:spcBef>
                          <a:spcPts val="355"/>
                        </a:spcBef>
                      </a:pPr>
                      <a:r>
                        <a:rPr sz="1100" b="1">
                          <a:solidFill>
                            <a:srgbClr val="FFFFFF"/>
                          </a:solidFill>
                          <a:latin typeface="Verdana"/>
                          <a:cs typeface="Verdana"/>
                        </a:rPr>
                        <a:t>Key</a:t>
                      </a:r>
                      <a:r>
                        <a:rPr sz="1100" b="1" spc="-20">
                          <a:solidFill>
                            <a:srgbClr val="FFFFFF"/>
                          </a:solidFill>
                          <a:latin typeface="Verdana"/>
                          <a:cs typeface="Verdana"/>
                        </a:rPr>
                        <a:t> </a:t>
                      </a:r>
                      <a:r>
                        <a:rPr sz="1100" b="1" spc="-5">
                          <a:solidFill>
                            <a:srgbClr val="FFFFFF"/>
                          </a:solidFill>
                          <a:latin typeface="Verdana"/>
                          <a:cs typeface="Verdana"/>
                        </a:rPr>
                        <a:t>Roles</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45720">
                        <a:lnSpc>
                          <a:spcPct val="100000"/>
                        </a:lnSpc>
                        <a:spcBef>
                          <a:spcPts val="355"/>
                        </a:spcBef>
                      </a:pPr>
                      <a:r>
                        <a:rPr sz="1100" b="1" spc="-5">
                          <a:solidFill>
                            <a:srgbClr val="FFFFFF"/>
                          </a:solidFill>
                          <a:latin typeface="Verdana"/>
                          <a:cs typeface="Verdana"/>
                        </a:rPr>
                        <a:t>Responsibilities</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46355">
                        <a:lnSpc>
                          <a:spcPct val="100000"/>
                        </a:lnSpc>
                        <a:spcBef>
                          <a:spcPts val="355"/>
                        </a:spcBef>
                      </a:pPr>
                      <a:r>
                        <a:rPr sz="1100" b="1" spc="-5">
                          <a:solidFill>
                            <a:srgbClr val="FFFFFF"/>
                          </a:solidFill>
                          <a:latin typeface="Verdana"/>
                          <a:cs typeface="Verdana"/>
                        </a:rPr>
                        <a:t>Experience</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extLst>
                  <a:ext uri="{0D108BD9-81ED-4DB2-BD59-A6C34878D82A}">
                    <a16:rowId xmlns:a16="http://schemas.microsoft.com/office/drawing/2014/main" val="10000"/>
                  </a:ext>
                </a:extLst>
              </a:tr>
              <a:tr h="1432560">
                <a:tc>
                  <a:txBody>
                    <a:bodyPr/>
                    <a:lstStyle/>
                    <a:p>
                      <a:pPr marL="45720">
                        <a:lnSpc>
                          <a:spcPct val="100000"/>
                        </a:lnSpc>
                        <a:spcBef>
                          <a:spcPts val="320"/>
                        </a:spcBef>
                      </a:pPr>
                      <a:r>
                        <a:rPr sz="1100" b="1" spc="-5">
                          <a:latin typeface="Verdana"/>
                          <a:cs typeface="Verdana"/>
                        </a:rPr>
                        <a:t>Program</a:t>
                      </a:r>
                      <a:r>
                        <a:rPr sz="1100" b="1" spc="-20">
                          <a:latin typeface="Verdana"/>
                          <a:cs typeface="Verdana"/>
                        </a:rPr>
                        <a:t> </a:t>
                      </a:r>
                      <a:r>
                        <a:rPr sz="1100" b="1" spc="-5">
                          <a:latin typeface="Verdana"/>
                          <a:cs typeface="Verdana"/>
                        </a:rPr>
                        <a:t>Director</a:t>
                      </a:r>
                      <a:endParaRPr sz="1100">
                        <a:latin typeface="Verdana"/>
                        <a:cs typeface="Verdana"/>
                      </a:endParaRPr>
                    </a:p>
                  </a:txBody>
                  <a:tcPr marL="0" marR="0" marT="406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224154" indent="-179070">
                        <a:lnSpc>
                          <a:spcPct val="100000"/>
                        </a:lnSpc>
                        <a:spcBef>
                          <a:spcPts val="355"/>
                        </a:spcBef>
                        <a:buClr>
                          <a:srgbClr val="006FAC"/>
                        </a:buClr>
                        <a:buFont typeface="Wingdings"/>
                        <a:buChar char=""/>
                        <a:tabLst>
                          <a:tab pos="224790" algn="l"/>
                        </a:tabLst>
                      </a:pPr>
                      <a:r>
                        <a:rPr sz="1100" spc="-5">
                          <a:latin typeface="Verdana"/>
                          <a:cs typeface="Verdana"/>
                        </a:rPr>
                        <a:t>Participate to </a:t>
                      </a:r>
                      <a:r>
                        <a:rPr sz="1100">
                          <a:latin typeface="Verdana"/>
                          <a:cs typeface="Verdana"/>
                        </a:rPr>
                        <a:t>Steering</a:t>
                      </a:r>
                      <a:r>
                        <a:rPr sz="1100" spc="40">
                          <a:latin typeface="Verdana"/>
                          <a:cs typeface="Verdana"/>
                        </a:rPr>
                        <a:t> </a:t>
                      </a:r>
                      <a:r>
                        <a:rPr sz="1100" spc="-5">
                          <a:latin typeface="Verdana"/>
                          <a:cs typeface="Verdana"/>
                        </a:rPr>
                        <a:t>Committee</a:t>
                      </a:r>
                      <a:endParaRPr sz="1100">
                        <a:latin typeface="Verdana"/>
                        <a:cs typeface="Verdana"/>
                      </a:endParaRPr>
                    </a:p>
                    <a:p>
                      <a:pPr marL="224154" indent="-179070">
                        <a:lnSpc>
                          <a:spcPct val="100000"/>
                        </a:lnSpc>
                        <a:buClr>
                          <a:srgbClr val="006FAC"/>
                        </a:buClr>
                        <a:buFont typeface="Wingdings"/>
                        <a:buChar char=""/>
                        <a:tabLst>
                          <a:tab pos="224790" algn="l"/>
                        </a:tabLst>
                      </a:pPr>
                      <a:r>
                        <a:rPr sz="1100">
                          <a:latin typeface="Verdana"/>
                          <a:cs typeface="Verdana"/>
                        </a:rPr>
                        <a:t>Lead </a:t>
                      </a:r>
                      <a:r>
                        <a:rPr sz="1100" spc="-5">
                          <a:latin typeface="Verdana"/>
                          <a:cs typeface="Verdana"/>
                        </a:rPr>
                        <a:t>business</a:t>
                      </a:r>
                      <a:r>
                        <a:rPr sz="1100" spc="-10">
                          <a:latin typeface="Verdana"/>
                          <a:cs typeface="Verdana"/>
                        </a:rPr>
                        <a:t> </a:t>
                      </a:r>
                      <a:r>
                        <a:rPr sz="1100" spc="-5">
                          <a:latin typeface="Verdana"/>
                          <a:cs typeface="Verdana"/>
                        </a:rPr>
                        <a:t>involvement</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Manage </a:t>
                      </a:r>
                      <a:r>
                        <a:rPr sz="1100" spc="-10">
                          <a:latin typeface="Verdana"/>
                          <a:cs typeface="Verdana"/>
                        </a:rPr>
                        <a:t>high </a:t>
                      </a:r>
                      <a:r>
                        <a:rPr sz="1100" spc="-5">
                          <a:latin typeface="Verdana"/>
                          <a:cs typeface="Verdana"/>
                        </a:rPr>
                        <a:t>level</a:t>
                      </a:r>
                      <a:r>
                        <a:rPr sz="1100" spc="20">
                          <a:latin typeface="Verdana"/>
                          <a:cs typeface="Verdana"/>
                        </a:rPr>
                        <a:t> </a:t>
                      </a:r>
                      <a:r>
                        <a:rPr sz="1100" spc="-5">
                          <a:latin typeface="Verdana"/>
                          <a:cs typeface="Verdana"/>
                        </a:rPr>
                        <a:t>priorities</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Manages overall </a:t>
                      </a:r>
                      <a:r>
                        <a:rPr sz="1100">
                          <a:latin typeface="Verdana"/>
                          <a:cs typeface="Verdana"/>
                        </a:rPr>
                        <a:t>Job </a:t>
                      </a:r>
                      <a:r>
                        <a:rPr sz="1100" spc="-5">
                          <a:latin typeface="Verdana"/>
                          <a:cs typeface="Verdana"/>
                        </a:rPr>
                        <a:t>budget </a:t>
                      </a:r>
                      <a:r>
                        <a:rPr sz="1100">
                          <a:latin typeface="Verdana"/>
                          <a:cs typeface="Verdana"/>
                        </a:rPr>
                        <a:t>and </a:t>
                      </a:r>
                      <a:r>
                        <a:rPr sz="1100" spc="-5">
                          <a:latin typeface="Verdana"/>
                          <a:cs typeface="Verdana"/>
                        </a:rPr>
                        <a:t>objectives</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46355" marR="322580">
                        <a:lnSpc>
                          <a:spcPct val="100000"/>
                        </a:lnSpc>
                        <a:spcBef>
                          <a:spcPts val="355"/>
                        </a:spcBef>
                      </a:pPr>
                      <a:r>
                        <a:rPr sz="1100" spc="-5">
                          <a:latin typeface="Verdana"/>
                          <a:cs typeface="Verdana"/>
                        </a:rPr>
                        <a:t>Senior Program Manager 25+ years </a:t>
                      </a:r>
                      <a:r>
                        <a:rPr sz="1100">
                          <a:latin typeface="Verdana"/>
                          <a:cs typeface="Verdana"/>
                        </a:rPr>
                        <a:t>of </a:t>
                      </a:r>
                      <a:r>
                        <a:rPr sz="1100" spc="-5">
                          <a:latin typeface="Verdana"/>
                          <a:cs typeface="Verdana"/>
                        </a:rPr>
                        <a:t>experience </a:t>
                      </a:r>
                      <a:r>
                        <a:rPr sz="1100" spc="-10">
                          <a:latin typeface="Verdana"/>
                          <a:cs typeface="Verdana"/>
                        </a:rPr>
                        <a:t>in  </a:t>
                      </a:r>
                      <a:r>
                        <a:rPr sz="1100" spc="-5">
                          <a:latin typeface="Verdana"/>
                          <a:cs typeface="Verdana"/>
                        </a:rPr>
                        <a:t>managing large </a:t>
                      </a:r>
                      <a:r>
                        <a:rPr sz="1100">
                          <a:latin typeface="Verdana"/>
                          <a:cs typeface="Verdana"/>
                        </a:rPr>
                        <a:t>projects </a:t>
                      </a:r>
                      <a:r>
                        <a:rPr sz="1100" spc="-10">
                          <a:latin typeface="Verdana"/>
                          <a:cs typeface="Verdana"/>
                        </a:rPr>
                        <a:t>in </a:t>
                      </a:r>
                      <a:r>
                        <a:rPr sz="1100" spc="-5">
                          <a:latin typeface="Verdana"/>
                          <a:cs typeface="Verdana"/>
                        </a:rPr>
                        <a:t>retail </a:t>
                      </a:r>
                      <a:r>
                        <a:rPr sz="1100">
                          <a:latin typeface="Verdana"/>
                          <a:cs typeface="Verdana"/>
                        </a:rPr>
                        <a:t>and </a:t>
                      </a:r>
                      <a:r>
                        <a:rPr sz="1100" spc="-5">
                          <a:latin typeface="Verdana"/>
                          <a:cs typeface="Verdana"/>
                        </a:rPr>
                        <a:t>CRM area leveraging  </a:t>
                      </a:r>
                      <a:r>
                        <a:rPr sz="1100">
                          <a:latin typeface="Verdana"/>
                          <a:cs typeface="Verdana"/>
                        </a:rPr>
                        <a:t>onshore-offshore </a:t>
                      </a:r>
                      <a:r>
                        <a:rPr sz="1100" spc="-5">
                          <a:latin typeface="Verdana"/>
                          <a:cs typeface="Verdana"/>
                        </a:rPr>
                        <a:t>model. </a:t>
                      </a:r>
                      <a:r>
                        <a:rPr sz="1100">
                          <a:latin typeface="Verdana"/>
                          <a:cs typeface="Verdana"/>
                        </a:rPr>
                        <a:t>He / she </a:t>
                      </a:r>
                      <a:r>
                        <a:rPr sz="1100" spc="-10">
                          <a:latin typeface="Verdana"/>
                          <a:cs typeface="Verdana"/>
                        </a:rPr>
                        <a:t>is </a:t>
                      </a:r>
                      <a:r>
                        <a:rPr sz="1100" spc="-5">
                          <a:latin typeface="Verdana"/>
                          <a:cs typeface="Verdana"/>
                        </a:rPr>
                        <a:t>able</a:t>
                      </a:r>
                      <a:r>
                        <a:rPr sz="1100" spc="-25">
                          <a:latin typeface="Verdana"/>
                          <a:cs typeface="Verdana"/>
                        </a:rPr>
                        <a:t> </a:t>
                      </a:r>
                      <a:r>
                        <a:rPr sz="1100">
                          <a:latin typeface="Verdana"/>
                          <a:cs typeface="Verdana"/>
                        </a:rPr>
                        <a:t>to:</a:t>
                      </a:r>
                    </a:p>
                    <a:p>
                      <a:pPr marL="224790" indent="-179070">
                        <a:lnSpc>
                          <a:spcPct val="100000"/>
                        </a:lnSpc>
                        <a:buClr>
                          <a:srgbClr val="006FAC"/>
                        </a:buClr>
                        <a:buFont typeface="Wingdings"/>
                        <a:buChar char=""/>
                        <a:tabLst>
                          <a:tab pos="225425" algn="l"/>
                        </a:tabLst>
                      </a:pPr>
                      <a:r>
                        <a:rPr sz="1100">
                          <a:latin typeface="Verdana"/>
                          <a:cs typeface="Verdana"/>
                        </a:rPr>
                        <a:t>Lead </a:t>
                      </a:r>
                      <a:r>
                        <a:rPr sz="1100" spc="-5">
                          <a:latin typeface="Verdana"/>
                          <a:cs typeface="Verdana"/>
                        </a:rPr>
                        <a:t>the</a:t>
                      </a:r>
                      <a:r>
                        <a:rPr sz="1100" spc="-15">
                          <a:latin typeface="Verdana"/>
                          <a:cs typeface="Verdana"/>
                        </a:rPr>
                        <a:t> </a:t>
                      </a:r>
                      <a:r>
                        <a:rPr sz="1100" spc="-5">
                          <a:latin typeface="Verdana"/>
                          <a:cs typeface="Verdana"/>
                        </a:rPr>
                        <a:t>program</a:t>
                      </a:r>
                      <a:endParaRPr sz="1100">
                        <a:latin typeface="Verdana"/>
                        <a:cs typeface="Verdana"/>
                      </a:endParaRPr>
                    </a:p>
                    <a:p>
                      <a:pPr marL="224790" indent="-179070">
                        <a:lnSpc>
                          <a:spcPct val="100000"/>
                        </a:lnSpc>
                        <a:buClr>
                          <a:srgbClr val="006FAC"/>
                        </a:buClr>
                        <a:buFont typeface="Wingdings"/>
                        <a:buChar char=""/>
                        <a:tabLst>
                          <a:tab pos="225425" algn="l"/>
                        </a:tabLst>
                      </a:pPr>
                      <a:r>
                        <a:rPr sz="1100" spc="-5">
                          <a:latin typeface="Verdana"/>
                          <a:cs typeface="Verdana"/>
                        </a:rPr>
                        <a:t>Share guidelines</a:t>
                      </a:r>
                      <a:endParaRPr sz="1100">
                        <a:latin typeface="Verdana"/>
                        <a:cs typeface="Verdana"/>
                      </a:endParaRPr>
                    </a:p>
                    <a:p>
                      <a:pPr marL="224790" indent="-179070">
                        <a:lnSpc>
                          <a:spcPct val="100000"/>
                        </a:lnSpc>
                        <a:buClr>
                          <a:srgbClr val="006FAC"/>
                        </a:buClr>
                        <a:buFont typeface="Wingdings"/>
                        <a:buChar char=""/>
                        <a:tabLst>
                          <a:tab pos="225425" algn="l"/>
                        </a:tabLst>
                      </a:pPr>
                      <a:r>
                        <a:rPr sz="1100" spc="-5">
                          <a:latin typeface="Verdana"/>
                          <a:cs typeface="Verdana"/>
                        </a:rPr>
                        <a:t>Involve </a:t>
                      </a:r>
                      <a:r>
                        <a:rPr sz="1100" spc="-10">
                          <a:latin typeface="Verdana"/>
                          <a:cs typeface="Verdana"/>
                        </a:rPr>
                        <a:t>all </a:t>
                      </a:r>
                      <a:r>
                        <a:rPr sz="1100" spc="-5">
                          <a:latin typeface="Verdana"/>
                          <a:cs typeface="Verdana"/>
                        </a:rPr>
                        <a:t>structures when </a:t>
                      </a:r>
                      <a:r>
                        <a:rPr sz="1100" spc="-10">
                          <a:latin typeface="Verdana"/>
                          <a:cs typeface="Verdana"/>
                        </a:rPr>
                        <a:t>it is</a:t>
                      </a:r>
                      <a:r>
                        <a:rPr sz="1100" spc="75">
                          <a:latin typeface="Verdana"/>
                          <a:cs typeface="Verdana"/>
                        </a:rPr>
                        <a:t> </a:t>
                      </a:r>
                      <a:r>
                        <a:rPr sz="1100">
                          <a:latin typeface="Verdana"/>
                          <a:cs typeface="Verdana"/>
                        </a:rPr>
                        <a:t>necessary</a:t>
                      </a:r>
                    </a:p>
                    <a:p>
                      <a:pPr marL="224790" indent="-179070">
                        <a:lnSpc>
                          <a:spcPct val="100000"/>
                        </a:lnSpc>
                        <a:buClr>
                          <a:srgbClr val="006FAC"/>
                        </a:buClr>
                        <a:buFont typeface="Wingdings"/>
                        <a:buChar char=""/>
                        <a:tabLst>
                          <a:tab pos="225425" algn="l"/>
                        </a:tabLst>
                      </a:pPr>
                      <a:r>
                        <a:rPr sz="1100" spc="-5">
                          <a:latin typeface="Verdana"/>
                          <a:cs typeface="Verdana"/>
                        </a:rPr>
                        <a:t>Support Marelli </a:t>
                      </a:r>
                      <a:r>
                        <a:rPr sz="1100">
                          <a:latin typeface="Verdana"/>
                          <a:cs typeface="Verdana"/>
                        </a:rPr>
                        <a:t>and </a:t>
                      </a:r>
                      <a:r>
                        <a:rPr sz="1100" spc="-5">
                          <a:latin typeface="Verdana"/>
                          <a:cs typeface="Verdana"/>
                        </a:rPr>
                        <a:t>Capgemini </a:t>
                      </a:r>
                      <a:r>
                        <a:rPr sz="1100">
                          <a:latin typeface="Verdana"/>
                          <a:cs typeface="Verdana"/>
                        </a:rPr>
                        <a:t>to </a:t>
                      </a:r>
                      <a:r>
                        <a:rPr sz="1100" spc="-5">
                          <a:latin typeface="Verdana"/>
                          <a:cs typeface="Verdana"/>
                        </a:rPr>
                        <a:t>solve specific issues</a:t>
                      </a:r>
                      <a:r>
                        <a:rPr sz="1100" spc="40">
                          <a:latin typeface="Verdana"/>
                          <a:cs typeface="Verdana"/>
                        </a:rPr>
                        <a:t> </a:t>
                      </a:r>
                      <a:r>
                        <a:rPr sz="1100">
                          <a:latin typeface="Verdana"/>
                          <a:cs typeface="Verdana"/>
                        </a:rPr>
                        <a:t>and</a:t>
                      </a:r>
                    </a:p>
                    <a:p>
                      <a:pPr marL="224790">
                        <a:lnSpc>
                          <a:spcPct val="100000"/>
                        </a:lnSpc>
                      </a:pPr>
                      <a:r>
                        <a:rPr sz="1100">
                          <a:latin typeface="Verdana"/>
                          <a:cs typeface="Verdana"/>
                        </a:rPr>
                        <a:t>/ or reach an</a:t>
                      </a:r>
                      <a:r>
                        <a:rPr sz="1100" spc="-20">
                          <a:latin typeface="Verdana"/>
                          <a:cs typeface="Verdana"/>
                        </a:rPr>
                        <a:t> </a:t>
                      </a:r>
                      <a:r>
                        <a:rPr sz="1100" spc="-5">
                          <a:latin typeface="Verdana"/>
                          <a:cs typeface="Verdana"/>
                        </a:rPr>
                        <a:t>agreement</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1"/>
                  </a:ext>
                </a:extLst>
              </a:tr>
              <a:tr h="1432559">
                <a:tc>
                  <a:txBody>
                    <a:bodyPr/>
                    <a:lstStyle/>
                    <a:p>
                      <a:pPr marL="45720">
                        <a:lnSpc>
                          <a:spcPct val="100000"/>
                        </a:lnSpc>
                        <a:spcBef>
                          <a:spcPts val="355"/>
                        </a:spcBef>
                      </a:pPr>
                      <a:r>
                        <a:rPr sz="1100" b="1" spc="-5">
                          <a:latin typeface="Verdana"/>
                          <a:cs typeface="Verdana"/>
                        </a:rPr>
                        <a:t>Project</a:t>
                      </a:r>
                      <a:r>
                        <a:rPr sz="1100" b="1" spc="-40">
                          <a:latin typeface="Verdana"/>
                          <a:cs typeface="Verdana"/>
                        </a:rPr>
                        <a:t> </a:t>
                      </a:r>
                      <a:r>
                        <a:rPr sz="1100" b="1" spc="-5">
                          <a:latin typeface="Verdana"/>
                          <a:cs typeface="Verdana"/>
                        </a:rPr>
                        <a:t>Manager</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224154" indent="-179070">
                        <a:lnSpc>
                          <a:spcPct val="100000"/>
                        </a:lnSpc>
                        <a:spcBef>
                          <a:spcPts val="355"/>
                        </a:spcBef>
                        <a:buClr>
                          <a:srgbClr val="006FAC"/>
                        </a:buClr>
                        <a:buFont typeface="Wingdings"/>
                        <a:buChar char=""/>
                        <a:tabLst>
                          <a:tab pos="224790" algn="l"/>
                        </a:tabLst>
                      </a:pPr>
                      <a:r>
                        <a:rPr sz="1100" spc="-5">
                          <a:latin typeface="Verdana"/>
                          <a:cs typeface="Verdana"/>
                        </a:rPr>
                        <a:t>Client relationship</a:t>
                      </a:r>
                      <a:r>
                        <a:rPr sz="1100" spc="55">
                          <a:latin typeface="Verdana"/>
                          <a:cs typeface="Verdana"/>
                        </a:rPr>
                        <a:t> </a:t>
                      </a:r>
                      <a:r>
                        <a:rPr sz="1100" spc="-5">
                          <a:latin typeface="Verdana"/>
                          <a:cs typeface="Verdana"/>
                        </a:rPr>
                        <a:t>management</a:t>
                      </a:r>
                      <a:endParaRPr sz="1100">
                        <a:latin typeface="Verdana"/>
                        <a:cs typeface="Verdana"/>
                      </a:endParaRPr>
                    </a:p>
                    <a:p>
                      <a:pPr marL="224154" indent="-179070">
                        <a:lnSpc>
                          <a:spcPct val="100000"/>
                        </a:lnSpc>
                        <a:spcBef>
                          <a:spcPts val="5"/>
                        </a:spcBef>
                        <a:buClr>
                          <a:srgbClr val="006FAC"/>
                        </a:buClr>
                        <a:buFont typeface="Wingdings"/>
                        <a:buChar char=""/>
                        <a:tabLst>
                          <a:tab pos="224790" algn="l"/>
                        </a:tabLst>
                      </a:pPr>
                      <a:r>
                        <a:rPr sz="1100" spc="-5">
                          <a:latin typeface="Verdana"/>
                          <a:cs typeface="Verdana"/>
                        </a:rPr>
                        <a:t>Escalation</a:t>
                      </a:r>
                      <a:r>
                        <a:rPr sz="1100" spc="25">
                          <a:latin typeface="Verdana"/>
                          <a:cs typeface="Verdana"/>
                        </a:rPr>
                        <a:t> </a:t>
                      </a:r>
                      <a:r>
                        <a:rPr sz="1100" spc="-5">
                          <a:latin typeface="Verdana"/>
                          <a:cs typeface="Verdana"/>
                        </a:rPr>
                        <a:t>management</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Liaison with </a:t>
                      </a:r>
                      <a:r>
                        <a:rPr sz="1100">
                          <a:latin typeface="Verdana"/>
                          <a:cs typeface="Verdana"/>
                        </a:rPr>
                        <a:t>project</a:t>
                      </a:r>
                      <a:r>
                        <a:rPr sz="1100" spc="20">
                          <a:latin typeface="Verdana"/>
                          <a:cs typeface="Verdana"/>
                        </a:rPr>
                        <a:t> </a:t>
                      </a:r>
                      <a:r>
                        <a:rPr sz="1100">
                          <a:latin typeface="Verdana"/>
                          <a:cs typeface="Verdana"/>
                        </a:rPr>
                        <a:t>sponsors</a:t>
                      </a:r>
                    </a:p>
                    <a:p>
                      <a:pPr marL="224154" indent="-179070">
                        <a:lnSpc>
                          <a:spcPct val="100000"/>
                        </a:lnSpc>
                        <a:buClr>
                          <a:srgbClr val="006FAC"/>
                        </a:buClr>
                        <a:buFont typeface="Wingdings"/>
                        <a:buChar char=""/>
                        <a:tabLst>
                          <a:tab pos="224790" algn="l"/>
                        </a:tabLst>
                      </a:pPr>
                      <a:r>
                        <a:rPr sz="1100" spc="-5">
                          <a:latin typeface="Verdana"/>
                          <a:cs typeface="Verdana"/>
                        </a:rPr>
                        <a:t>Weekly </a:t>
                      </a:r>
                      <a:r>
                        <a:rPr sz="1100">
                          <a:latin typeface="Verdana"/>
                          <a:cs typeface="Verdana"/>
                        </a:rPr>
                        <a:t>/ </a:t>
                      </a:r>
                      <a:r>
                        <a:rPr sz="1100" spc="-5">
                          <a:latin typeface="Verdana"/>
                          <a:cs typeface="Verdana"/>
                        </a:rPr>
                        <a:t>monthly review </a:t>
                      </a:r>
                      <a:r>
                        <a:rPr sz="1100">
                          <a:latin typeface="Verdana"/>
                          <a:cs typeface="Verdana"/>
                        </a:rPr>
                        <a:t>of project for scope, </a:t>
                      </a:r>
                      <a:r>
                        <a:rPr sz="1100" spc="-5">
                          <a:latin typeface="Verdana"/>
                          <a:cs typeface="Verdana"/>
                        </a:rPr>
                        <a:t>schedule, </a:t>
                      </a:r>
                      <a:r>
                        <a:rPr sz="1100">
                          <a:latin typeface="Verdana"/>
                          <a:cs typeface="Verdana"/>
                        </a:rPr>
                        <a:t>and</a:t>
                      </a:r>
                      <a:r>
                        <a:rPr sz="1100" spc="-5">
                          <a:latin typeface="Verdana"/>
                          <a:cs typeface="Verdana"/>
                        </a:rPr>
                        <a:t> </a:t>
                      </a:r>
                      <a:r>
                        <a:rPr sz="1100">
                          <a:latin typeface="Verdana"/>
                          <a:cs typeface="Verdana"/>
                        </a:rPr>
                        <a:t>cost</a:t>
                      </a:r>
                    </a:p>
                    <a:p>
                      <a:pPr marL="224154" indent="-179070">
                        <a:lnSpc>
                          <a:spcPct val="100000"/>
                        </a:lnSpc>
                        <a:buClr>
                          <a:srgbClr val="006FAC"/>
                        </a:buClr>
                        <a:buFont typeface="Wingdings"/>
                        <a:buChar char=""/>
                        <a:tabLst>
                          <a:tab pos="224790" algn="l"/>
                        </a:tabLst>
                      </a:pPr>
                      <a:r>
                        <a:rPr sz="1100" spc="-5">
                          <a:latin typeface="Verdana"/>
                          <a:cs typeface="Verdana"/>
                        </a:rPr>
                        <a:t>Liaison with </a:t>
                      </a:r>
                      <a:r>
                        <a:rPr sz="1100" spc="-10">
                          <a:latin typeface="Verdana"/>
                          <a:cs typeface="Verdana"/>
                        </a:rPr>
                        <a:t>multiple</a:t>
                      </a:r>
                      <a:r>
                        <a:rPr sz="1100" spc="80">
                          <a:latin typeface="Verdana"/>
                          <a:cs typeface="Verdana"/>
                        </a:rPr>
                        <a:t> </a:t>
                      </a:r>
                      <a:r>
                        <a:rPr sz="1100" spc="-5">
                          <a:latin typeface="Verdana"/>
                          <a:cs typeface="Verdana"/>
                        </a:rPr>
                        <a:t>stakeholders</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Report status to </a:t>
                      </a:r>
                      <a:r>
                        <a:rPr sz="1100" spc="-10">
                          <a:latin typeface="Verdana"/>
                          <a:cs typeface="Verdana"/>
                        </a:rPr>
                        <a:t>multiple</a:t>
                      </a:r>
                      <a:r>
                        <a:rPr sz="1100" spc="50">
                          <a:latin typeface="Verdana"/>
                          <a:cs typeface="Verdana"/>
                        </a:rPr>
                        <a:t> </a:t>
                      </a:r>
                      <a:r>
                        <a:rPr sz="1100" spc="-5">
                          <a:latin typeface="Verdana"/>
                          <a:cs typeface="Verdana"/>
                        </a:rPr>
                        <a:t>stakeholders</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Manage schedule, </a:t>
                      </a:r>
                      <a:r>
                        <a:rPr sz="1100">
                          <a:latin typeface="Verdana"/>
                          <a:cs typeface="Verdana"/>
                        </a:rPr>
                        <a:t>scope, and</a:t>
                      </a:r>
                      <a:r>
                        <a:rPr sz="1100" spc="-15">
                          <a:latin typeface="Verdana"/>
                          <a:cs typeface="Verdana"/>
                        </a:rPr>
                        <a:t> </a:t>
                      </a:r>
                      <a:r>
                        <a:rPr sz="1100">
                          <a:latin typeface="Verdana"/>
                          <a:cs typeface="Verdana"/>
                        </a:rPr>
                        <a:t>cost</a:t>
                      </a:r>
                    </a:p>
                    <a:p>
                      <a:pPr marL="224154" indent="-179070">
                        <a:lnSpc>
                          <a:spcPct val="100000"/>
                        </a:lnSpc>
                        <a:buFont typeface="Wingdings"/>
                        <a:buChar char=""/>
                        <a:tabLst>
                          <a:tab pos="224790" algn="l"/>
                        </a:tabLst>
                      </a:pPr>
                      <a:r>
                        <a:rPr sz="1100" spc="-5">
                          <a:latin typeface="Verdana"/>
                          <a:cs typeface="Verdana"/>
                        </a:rPr>
                        <a:t>Escalation</a:t>
                      </a:r>
                      <a:r>
                        <a:rPr sz="1100" spc="25">
                          <a:latin typeface="Verdana"/>
                          <a:cs typeface="Verdana"/>
                        </a:rPr>
                        <a:t> </a:t>
                      </a:r>
                      <a:r>
                        <a:rPr sz="1100" spc="-5">
                          <a:latin typeface="Verdana"/>
                          <a:cs typeface="Verdana"/>
                        </a:rPr>
                        <a:t>management</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46355" marR="280670">
                        <a:lnSpc>
                          <a:spcPct val="107000"/>
                        </a:lnSpc>
                        <a:spcBef>
                          <a:spcPts val="229"/>
                        </a:spcBef>
                      </a:pPr>
                      <a:r>
                        <a:rPr sz="1100">
                          <a:latin typeface="Verdana"/>
                          <a:cs typeface="Verdana"/>
                        </a:rPr>
                        <a:t>Project </a:t>
                      </a:r>
                      <a:r>
                        <a:rPr sz="1100" spc="-5">
                          <a:latin typeface="Verdana"/>
                          <a:cs typeface="Verdana"/>
                        </a:rPr>
                        <a:t>Manager has 10+ years </a:t>
                      </a:r>
                      <a:r>
                        <a:rPr sz="1100">
                          <a:latin typeface="Verdana"/>
                          <a:cs typeface="Verdana"/>
                        </a:rPr>
                        <a:t>of </a:t>
                      </a:r>
                      <a:r>
                        <a:rPr sz="1100" spc="-5">
                          <a:latin typeface="Verdana"/>
                          <a:cs typeface="Verdana"/>
                        </a:rPr>
                        <a:t>experience </a:t>
                      </a:r>
                      <a:r>
                        <a:rPr sz="1100" spc="-10">
                          <a:latin typeface="Verdana"/>
                          <a:cs typeface="Verdana"/>
                        </a:rPr>
                        <a:t>in </a:t>
                      </a:r>
                      <a:r>
                        <a:rPr sz="1100" spc="-5">
                          <a:latin typeface="Verdana"/>
                          <a:cs typeface="Verdana"/>
                        </a:rPr>
                        <a:t>managing  large </a:t>
                      </a:r>
                      <a:r>
                        <a:rPr sz="1100">
                          <a:latin typeface="Verdana"/>
                          <a:cs typeface="Verdana"/>
                        </a:rPr>
                        <a:t>and </a:t>
                      </a:r>
                      <a:r>
                        <a:rPr sz="1100" spc="-5">
                          <a:latin typeface="Verdana"/>
                          <a:cs typeface="Verdana"/>
                        </a:rPr>
                        <a:t>mid-size </a:t>
                      </a:r>
                      <a:r>
                        <a:rPr sz="1100">
                          <a:latin typeface="Verdana"/>
                          <a:cs typeface="Verdana"/>
                        </a:rPr>
                        <a:t>projects </a:t>
                      </a:r>
                      <a:r>
                        <a:rPr sz="1100" spc="-5">
                          <a:latin typeface="Verdana"/>
                          <a:cs typeface="Verdana"/>
                        </a:rPr>
                        <a:t>leveraging </a:t>
                      </a:r>
                      <a:r>
                        <a:rPr sz="1100">
                          <a:latin typeface="Verdana"/>
                          <a:cs typeface="Verdana"/>
                        </a:rPr>
                        <a:t>onshore-offshore  </a:t>
                      </a:r>
                      <a:r>
                        <a:rPr sz="1100" spc="-5">
                          <a:latin typeface="Verdana"/>
                          <a:cs typeface="Verdana"/>
                        </a:rPr>
                        <a:t>model. </a:t>
                      </a:r>
                      <a:r>
                        <a:rPr sz="1100">
                          <a:latin typeface="Verdana"/>
                          <a:cs typeface="Verdana"/>
                        </a:rPr>
                        <a:t>He / she </a:t>
                      </a:r>
                      <a:r>
                        <a:rPr sz="1100" spc="-10">
                          <a:latin typeface="Verdana"/>
                          <a:cs typeface="Verdana"/>
                        </a:rPr>
                        <a:t>will </a:t>
                      </a:r>
                      <a:r>
                        <a:rPr sz="1100" spc="-5">
                          <a:latin typeface="Verdana"/>
                          <a:cs typeface="Verdana"/>
                        </a:rPr>
                        <a:t>bring </a:t>
                      </a:r>
                      <a:r>
                        <a:rPr sz="1100" spc="-10">
                          <a:latin typeface="Verdana"/>
                          <a:cs typeface="Verdana"/>
                        </a:rPr>
                        <a:t>in </a:t>
                      </a:r>
                      <a:r>
                        <a:rPr sz="1100" spc="-5">
                          <a:latin typeface="Verdana"/>
                          <a:cs typeface="Verdana"/>
                        </a:rPr>
                        <a:t>the expertise </a:t>
                      </a:r>
                      <a:r>
                        <a:rPr sz="1100">
                          <a:latin typeface="Verdana"/>
                          <a:cs typeface="Verdana"/>
                        </a:rPr>
                        <a:t>of </a:t>
                      </a:r>
                      <a:r>
                        <a:rPr sz="1100" spc="-5">
                          <a:latin typeface="Verdana"/>
                          <a:cs typeface="Verdana"/>
                        </a:rPr>
                        <a:t>executing the  </a:t>
                      </a:r>
                      <a:r>
                        <a:rPr sz="1100">
                          <a:latin typeface="Verdana"/>
                          <a:cs typeface="Verdana"/>
                        </a:rPr>
                        <a:t>project </a:t>
                      </a:r>
                      <a:r>
                        <a:rPr sz="1100" spc="-10">
                          <a:latin typeface="Verdana"/>
                          <a:cs typeface="Verdana"/>
                        </a:rPr>
                        <a:t>in </a:t>
                      </a:r>
                      <a:r>
                        <a:rPr sz="1100" spc="-5">
                          <a:latin typeface="Verdana"/>
                          <a:cs typeface="Verdana"/>
                        </a:rPr>
                        <a:t>Agile </a:t>
                      </a:r>
                      <a:r>
                        <a:rPr sz="1100">
                          <a:latin typeface="Verdana"/>
                          <a:cs typeface="Verdana"/>
                        </a:rPr>
                        <a:t>scrum</a:t>
                      </a:r>
                      <a:r>
                        <a:rPr sz="1100" spc="30">
                          <a:latin typeface="Verdana"/>
                          <a:cs typeface="Verdana"/>
                        </a:rPr>
                        <a:t> </a:t>
                      </a:r>
                      <a:r>
                        <a:rPr sz="1100" spc="-5">
                          <a:latin typeface="Verdana"/>
                          <a:cs typeface="Verdana"/>
                        </a:rPr>
                        <a:t>methodology</a:t>
                      </a:r>
                      <a:r>
                        <a:rPr lang="it-IT" sz="1100" spc="-5">
                          <a:latin typeface="Verdana"/>
                          <a:cs typeface="Verdana"/>
                        </a:rPr>
                        <a:t> and on the CRM domain</a:t>
                      </a:r>
                      <a:endParaRPr sz="1100">
                        <a:latin typeface="Verdana"/>
                        <a:cs typeface="Verdana"/>
                      </a:endParaRPr>
                    </a:p>
                  </a:txBody>
                  <a:tcPr marL="0" marR="0" marT="2920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2"/>
                  </a:ext>
                </a:extLst>
              </a:tr>
              <a:tr h="1097330">
                <a:tc>
                  <a:txBody>
                    <a:bodyPr/>
                    <a:lstStyle/>
                    <a:p>
                      <a:pPr marL="45720">
                        <a:lnSpc>
                          <a:spcPct val="100000"/>
                        </a:lnSpc>
                        <a:spcBef>
                          <a:spcPts val="360"/>
                        </a:spcBef>
                      </a:pPr>
                      <a:r>
                        <a:rPr sz="1100" b="1" spc="-5">
                          <a:latin typeface="Verdana"/>
                          <a:cs typeface="Verdana"/>
                        </a:rPr>
                        <a:t>Quality</a:t>
                      </a:r>
                      <a:r>
                        <a:rPr sz="1100" b="1" spc="-15">
                          <a:latin typeface="Verdana"/>
                          <a:cs typeface="Verdana"/>
                        </a:rPr>
                        <a:t> </a:t>
                      </a:r>
                      <a:r>
                        <a:rPr sz="1100" b="1">
                          <a:latin typeface="Verdana"/>
                          <a:cs typeface="Verdana"/>
                        </a:rPr>
                        <a:t>Advisor</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224154" indent="-179070">
                        <a:lnSpc>
                          <a:spcPct val="100000"/>
                        </a:lnSpc>
                        <a:spcBef>
                          <a:spcPts val="360"/>
                        </a:spcBef>
                        <a:buClr>
                          <a:srgbClr val="006FAC"/>
                        </a:buClr>
                        <a:buFont typeface="Wingdings"/>
                        <a:buChar char=""/>
                        <a:tabLst>
                          <a:tab pos="224790" algn="l"/>
                        </a:tabLst>
                      </a:pPr>
                      <a:r>
                        <a:rPr sz="1100" spc="-5">
                          <a:latin typeface="Verdana"/>
                          <a:cs typeface="Verdana"/>
                        </a:rPr>
                        <a:t>Advising</a:t>
                      </a:r>
                      <a:endParaRPr sz="1100">
                        <a:latin typeface="Verdana"/>
                        <a:cs typeface="Verdana"/>
                      </a:endParaRPr>
                    </a:p>
                    <a:p>
                      <a:pPr marL="224154" indent="-179070">
                        <a:lnSpc>
                          <a:spcPct val="100000"/>
                        </a:lnSpc>
                        <a:buClr>
                          <a:srgbClr val="006FAC"/>
                        </a:buClr>
                        <a:buFont typeface="Wingdings"/>
                        <a:buChar char=""/>
                        <a:tabLst>
                          <a:tab pos="224790" algn="l"/>
                        </a:tabLst>
                      </a:pPr>
                      <a:r>
                        <a:rPr sz="1100">
                          <a:latin typeface="Verdana"/>
                          <a:cs typeface="Verdana"/>
                        </a:rPr>
                        <a:t>Support </a:t>
                      </a:r>
                      <a:r>
                        <a:rPr sz="1100" spc="-5">
                          <a:latin typeface="Verdana"/>
                          <a:cs typeface="Verdana"/>
                        </a:rPr>
                        <a:t>PM to manage high priority </a:t>
                      </a:r>
                      <a:r>
                        <a:rPr sz="1100">
                          <a:latin typeface="Verdana"/>
                          <a:cs typeface="Verdana"/>
                        </a:rPr>
                        <a:t>&amp; </a:t>
                      </a:r>
                      <a:r>
                        <a:rPr sz="1100" spc="-5">
                          <a:latin typeface="Verdana"/>
                          <a:cs typeface="Verdana"/>
                        </a:rPr>
                        <a:t>critical</a:t>
                      </a:r>
                      <a:r>
                        <a:rPr sz="1100" spc="95">
                          <a:latin typeface="Verdana"/>
                          <a:cs typeface="Verdana"/>
                        </a:rPr>
                        <a:t> </a:t>
                      </a:r>
                      <a:r>
                        <a:rPr sz="1100" spc="-5">
                          <a:latin typeface="Verdana"/>
                          <a:cs typeface="Verdana"/>
                        </a:rPr>
                        <a:t>issues</a:t>
                      </a:r>
                      <a:endParaRPr sz="1100">
                        <a:latin typeface="Verdana"/>
                        <a:cs typeface="Verdana"/>
                      </a:endParaRPr>
                    </a:p>
                    <a:p>
                      <a:pPr marL="224154" indent="-179070">
                        <a:lnSpc>
                          <a:spcPct val="100000"/>
                        </a:lnSpc>
                        <a:buClr>
                          <a:srgbClr val="006FAC"/>
                        </a:buClr>
                        <a:buFont typeface="Wingdings"/>
                        <a:buChar char=""/>
                        <a:tabLst>
                          <a:tab pos="224790" algn="l"/>
                        </a:tabLst>
                      </a:pPr>
                      <a:r>
                        <a:rPr sz="1100">
                          <a:latin typeface="Verdana"/>
                          <a:cs typeface="Verdana"/>
                        </a:rPr>
                        <a:t>Steering </a:t>
                      </a:r>
                      <a:r>
                        <a:rPr sz="1100" spc="-5">
                          <a:latin typeface="Verdana"/>
                          <a:cs typeface="Verdana"/>
                        </a:rPr>
                        <a:t>Committee Participation</a:t>
                      </a:r>
                      <a:r>
                        <a:rPr sz="1100" spc="40">
                          <a:latin typeface="Verdana"/>
                          <a:cs typeface="Verdana"/>
                        </a:rPr>
                        <a:t> </a:t>
                      </a:r>
                      <a:r>
                        <a:rPr sz="1100" spc="-5">
                          <a:latin typeface="Verdana"/>
                          <a:cs typeface="Verdana"/>
                        </a:rPr>
                        <a:t>(eventually)</a:t>
                      </a:r>
                      <a:endParaRPr sz="1100">
                        <a:latin typeface="Verdana"/>
                        <a:cs typeface="Verdana"/>
                      </a:endParaRPr>
                    </a:p>
                    <a:p>
                      <a:pPr marL="224154" indent="-179070">
                        <a:lnSpc>
                          <a:spcPct val="100000"/>
                        </a:lnSpc>
                        <a:buClr>
                          <a:srgbClr val="006FAC"/>
                        </a:buClr>
                        <a:buFont typeface="Wingdings"/>
                        <a:buChar char=""/>
                        <a:tabLst>
                          <a:tab pos="224790" algn="l"/>
                        </a:tabLst>
                      </a:pPr>
                      <a:r>
                        <a:rPr sz="1100">
                          <a:latin typeface="Verdana"/>
                          <a:cs typeface="Verdana"/>
                        </a:rPr>
                        <a:t>Sync </a:t>
                      </a:r>
                      <a:r>
                        <a:rPr sz="1100" spc="-5">
                          <a:latin typeface="Verdana"/>
                          <a:cs typeface="Verdana"/>
                        </a:rPr>
                        <a:t>with Software</a:t>
                      </a:r>
                      <a:r>
                        <a:rPr sz="1100" spc="10">
                          <a:latin typeface="Verdana"/>
                          <a:cs typeface="Verdana"/>
                        </a:rPr>
                        <a:t> </a:t>
                      </a:r>
                      <a:r>
                        <a:rPr sz="1100" spc="-5">
                          <a:latin typeface="Verdana"/>
                          <a:cs typeface="Verdana"/>
                        </a:rPr>
                        <a:t>vendor</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46355" marR="364490">
                        <a:lnSpc>
                          <a:spcPct val="100000"/>
                        </a:lnSpc>
                        <a:spcBef>
                          <a:spcPts val="360"/>
                        </a:spcBef>
                      </a:pPr>
                      <a:r>
                        <a:rPr sz="1100" spc="-5">
                          <a:latin typeface="Verdana"/>
                          <a:cs typeface="Verdana"/>
                        </a:rPr>
                        <a:t>Senior Program Manager 25+ years </a:t>
                      </a:r>
                      <a:r>
                        <a:rPr sz="1100">
                          <a:latin typeface="Verdana"/>
                          <a:cs typeface="Verdana"/>
                        </a:rPr>
                        <a:t>of </a:t>
                      </a:r>
                      <a:r>
                        <a:rPr sz="1100" spc="-5">
                          <a:latin typeface="Verdana"/>
                          <a:cs typeface="Verdana"/>
                        </a:rPr>
                        <a:t>experience </a:t>
                      </a:r>
                      <a:r>
                        <a:rPr sz="1100" spc="-10">
                          <a:latin typeface="Verdana"/>
                          <a:cs typeface="Verdana"/>
                        </a:rPr>
                        <a:t>in  </a:t>
                      </a:r>
                      <a:r>
                        <a:rPr sz="1100" spc="-5">
                          <a:latin typeface="Verdana"/>
                          <a:cs typeface="Verdana"/>
                        </a:rPr>
                        <a:t>managing large </a:t>
                      </a:r>
                      <a:r>
                        <a:rPr sz="1100">
                          <a:latin typeface="Verdana"/>
                          <a:cs typeface="Verdana"/>
                        </a:rPr>
                        <a:t>Salesforce projects </a:t>
                      </a:r>
                      <a:r>
                        <a:rPr sz="1100" spc="-5">
                          <a:latin typeface="Verdana"/>
                          <a:cs typeface="Verdana"/>
                        </a:rPr>
                        <a:t>leveraging distributed  delivery model. </a:t>
                      </a:r>
                      <a:r>
                        <a:rPr sz="1100">
                          <a:latin typeface="Verdana"/>
                          <a:cs typeface="Verdana"/>
                        </a:rPr>
                        <a:t>He / she </a:t>
                      </a:r>
                      <a:r>
                        <a:rPr sz="1100" spc="-10">
                          <a:latin typeface="Verdana"/>
                          <a:cs typeface="Verdana"/>
                        </a:rPr>
                        <a:t>is </a:t>
                      </a:r>
                      <a:r>
                        <a:rPr sz="1100" spc="-5">
                          <a:latin typeface="Verdana"/>
                          <a:cs typeface="Verdana"/>
                        </a:rPr>
                        <a:t>able</a:t>
                      </a:r>
                      <a:r>
                        <a:rPr sz="1100" spc="20">
                          <a:latin typeface="Verdana"/>
                          <a:cs typeface="Verdana"/>
                        </a:rPr>
                        <a:t> </a:t>
                      </a:r>
                      <a:r>
                        <a:rPr sz="1100">
                          <a:latin typeface="Verdana"/>
                          <a:cs typeface="Verdana"/>
                        </a:rPr>
                        <a:t>to:</a:t>
                      </a:r>
                    </a:p>
                    <a:p>
                      <a:pPr marL="224790" indent="-179070">
                        <a:lnSpc>
                          <a:spcPct val="100000"/>
                        </a:lnSpc>
                        <a:buClr>
                          <a:srgbClr val="006FAC"/>
                        </a:buClr>
                        <a:buFont typeface="Wingdings"/>
                        <a:buChar char=""/>
                        <a:tabLst>
                          <a:tab pos="225425" algn="l"/>
                        </a:tabLst>
                      </a:pPr>
                      <a:r>
                        <a:rPr sz="1100" spc="-5">
                          <a:latin typeface="Verdana"/>
                          <a:cs typeface="Verdana"/>
                        </a:rPr>
                        <a:t>Involve </a:t>
                      </a:r>
                      <a:r>
                        <a:rPr sz="1100" spc="-10">
                          <a:latin typeface="Verdana"/>
                          <a:cs typeface="Verdana"/>
                        </a:rPr>
                        <a:t>all </a:t>
                      </a:r>
                      <a:r>
                        <a:rPr sz="1100" spc="-5">
                          <a:latin typeface="Verdana"/>
                          <a:cs typeface="Verdana"/>
                        </a:rPr>
                        <a:t>Capgemini structure to address delivery</a:t>
                      </a:r>
                      <a:r>
                        <a:rPr sz="1100" spc="140">
                          <a:latin typeface="Verdana"/>
                          <a:cs typeface="Verdana"/>
                        </a:rPr>
                        <a:t> </a:t>
                      </a:r>
                      <a:r>
                        <a:rPr sz="1100" spc="-5">
                          <a:latin typeface="Verdana"/>
                          <a:cs typeface="Verdana"/>
                        </a:rPr>
                        <a:t>issues;</a:t>
                      </a:r>
                      <a:endParaRPr sz="1100">
                        <a:latin typeface="Verdana"/>
                        <a:cs typeface="Verdana"/>
                      </a:endParaRPr>
                    </a:p>
                    <a:p>
                      <a:pPr marL="224790" indent="-179070">
                        <a:lnSpc>
                          <a:spcPct val="100000"/>
                        </a:lnSpc>
                        <a:buClr>
                          <a:srgbClr val="006FAC"/>
                        </a:buClr>
                        <a:buFont typeface="Wingdings"/>
                        <a:buChar char=""/>
                        <a:tabLst>
                          <a:tab pos="225425" algn="l"/>
                        </a:tabLst>
                      </a:pPr>
                      <a:r>
                        <a:rPr sz="1100" spc="-5">
                          <a:latin typeface="Verdana"/>
                          <a:cs typeface="Verdana"/>
                        </a:rPr>
                        <a:t>Manage compliance </a:t>
                      </a:r>
                      <a:r>
                        <a:rPr sz="1100">
                          <a:latin typeface="Verdana"/>
                          <a:cs typeface="Verdana"/>
                        </a:rPr>
                        <a:t>request </a:t>
                      </a:r>
                      <a:r>
                        <a:rPr sz="1100" spc="-5">
                          <a:latin typeface="Verdana"/>
                          <a:cs typeface="Verdana"/>
                        </a:rPr>
                        <a:t>the engagement, </a:t>
                      </a:r>
                      <a:r>
                        <a:rPr sz="1100">
                          <a:latin typeface="Verdana"/>
                          <a:cs typeface="Verdana"/>
                        </a:rPr>
                        <a:t>and</a:t>
                      </a:r>
                      <a:r>
                        <a:rPr sz="1100" spc="65">
                          <a:latin typeface="Verdana"/>
                          <a:cs typeface="Verdana"/>
                        </a:rPr>
                        <a:t> </a:t>
                      </a:r>
                      <a:r>
                        <a:rPr sz="1100" spc="-5">
                          <a:latin typeface="Verdana"/>
                          <a:cs typeface="Verdana"/>
                        </a:rPr>
                        <a:t>ensuring</a:t>
                      </a:r>
                      <a:endParaRPr sz="1100">
                        <a:latin typeface="Verdana"/>
                        <a:cs typeface="Verdana"/>
                      </a:endParaRPr>
                    </a:p>
                    <a:p>
                      <a:pPr marL="224790">
                        <a:lnSpc>
                          <a:spcPct val="100000"/>
                        </a:lnSpc>
                      </a:pPr>
                      <a:r>
                        <a:rPr sz="1100">
                          <a:latin typeface="Verdana"/>
                          <a:cs typeface="Verdana"/>
                        </a:rPr>
                        <a:t>they are </a:t>
                      </a:r>
                      <a:r>
                        <a:rPr sz="1100" spc="-5">
                          <a:latin typeface="Verdana"/>
                          <a:cs typeface="Verdana"/>
                        </a:rPr>
                        <a:t>effectively</a:t>
                      </a:r>
                      <a:r>
                        <a:rPr sz="1100" spc="-10">
                          <a:latin typeface="Verdana"/>
                          <a:cs typeface="Verdana"/>
                        </a:rPr>
                        <a:t> </a:t>
                      </a:r>
                      <a:r>
                        <a:rPr sz="1100" spc="-5">
                          <a:latin typeface="Verdana"/>
                          <a:cs typeface="Verdana"/>
                        </a:rPr>
                        <a:t>implemented</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3"/>
                  </a:ext>
                </a:extLst>
              </a:tr>
              <a:tr h="594360">
                <a:tc>
                  <a:txBody>
                    <a:bodyPr/>
                    <a:lstStyle/>
                    <a:p>
                      <a:pPr marL="45720" marR="576580">
                        <a:lnSpc>
                          <a:spcPct val="100000"/>
                        </a:lnSpc>
                        <a:spcBef>
                          <a:spcPts val="360"/>
                        </a:spcBef>
                      </a:pPr>
                      <a:r>
                        <a:rPr sz="1100" b="1" spc="-5">
                          <a:latin typeface="Verdana"/>
                          <a:cs typeface="Verdana"/>
                        </a:rPr>
                        <a:t>SFDC</a:t>
                      </a:r>
                      <a:r>
                        <a:rPr sz="1100" b="1" spc="-40">
                          <a:latin typeface="Verdana"/>
                          <a:cs typeface="Verdana"/>
                        </a:rPr>
                        <a:t> </a:t>
                      </a:r>
                      <a:r>
                        <a:rPr sz="1100" b="1" spc="-5">
                          <a:latin typeface="Verdana"/>
                          <a:cs typeface="Verdana"/>
                        </a:rPr>
                        <a:t>Technical  </a:t>
                      </a:r>
                      <a:r>
                        <a:rPr sz="1100" b="1">
                          <a:latin typeface="Verdana"/>
                          <a:cs typeface="Verdana"/>
                        </a:rPr>
                        <a:t>Architect</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224154" indent="-179070">
                        <a:lnSpc>
                          <a:spcPct val="100000"/>
                        </a:lnSpc>
                        <a:spcBef>
                          <a:spcPts val="360"/>
                        </a:spcBef>
                        <a:buClr>
                          <a:srgbClr val="006FAC"/>
                        </a:buClr>
                        <a:buFont typeface="Wingdings"/>
                        <a:buChar char=""/>
                        <a:tabLst>
                          <a:tab pos="224790" algn="l"/>
                        </a:tabLst>
                      </a:pPr>
                      <a:r>
                        <a:rPr sz="1100" spc="-5">
                          <a:latin typeface="Verdana"/>
                          <a:cs typeface="Verdana"/>
                        </a:rPr>
                        <a:t>Validates the Salesforce solution architecture </a:t>
                      </a:r>
                      <a:r>
                        <a:rPr sz="1100">
                          <a:latin typeface="Verdana"/>
                          <a:cs typeface="Verdana"/>
                        </a:rPr>
                        <a:t>and </a:t>
                      </a:r>
                      <a:r>
                        <a:rPr sz="1100" spc="-5">
                          <a:latin typeface="Verdana"/>
                          <a:cs typeface="Verdana"/>
                        </a:rPr>
                        <a:t>design</a:t>
                      </a:r>
                      <a:r>
                        <a:rPr sz="1100" spc="105">
                          <a:latin typeface="Verdana"/>
                          <a:cs typeface="Verdana"/>
                        </a:rPr>
                        <a:t> </a:t>
                      </a:r>
                      <a:r>
                        <a:rPr sz="1100" spc="-5">
                          <a:latin typeface="Verdana"/>
                          <a:cs typeface="Verdana"/>
                        </a:rPr>
                        <a:t>principles</a:t>
                      </a:r>
                      <a:endParaRPr sz="1100">
                        <a:latin typeface="Verdana"/>
                        <a:cs typeface="Verdana"/>
                      </a:endParaRPr>
                    </a:p>
                    <a:p>
                      <a:pPr marL="224154" indent="-179070">
                        <a:lnSpc>
                          <a:spcPct val="100000"/>
                        </a:lnSpc>
                        <a:buClr>
                          <a:srgbClr val="006FAC"/>
                        </a:buClr>
                        <a:buFont typeface="Wingdings"/>
                        <a:buChar char=""/>
                        <a:tabLst>
                          <a:tab pos="224790" algn="l"/>
                        </a:tabLst>
                      </a:pPr>
                      <a:r>
                        <a:rPr sz="1100">
                          <a:latin typeface="Verdana"/>
                          <a:cs typeface="Verdana"/>
                        </a:rPr>
                        <a:t>Is </a:t>
                      </a:r>
                      <a:r>
                        <a:rPr sz="1100" spc="-5">
                          <a:latin typeface="Verdana"/>
                          <a:cs typeface="Verdana"/>
                        </a:rPr>
                        <a:t>responsible </a:t>
                      </a:r>
                      <a:r>
                        <a:rPr sz="1100">
                          <a:latin typeface="Verdana"/>
                          <a:cs typeface="Verdana"/>
                        </a:rPr>
                        <a:t>for Salesforce </a:t>
                      </a:r>
                      <a:r>
                        <a:rPr sz="1100" spc="-5">
                          <a:latin typeface="Verdana"/>
                          <a:cs typeface="Verdana"/>
                        </a:rPr>
                        <a:t>best practices</a:t>
                      </a:r>
                      <a:r>
                        <a:rPr sz="1100" spc="20">
                          <a:latin typeface="Verdana"/>
                          <a:cs typeface="Verdana"/>
                        </a:rPr>
                        <a:t> </a:t>
                      </a:r>
                      <a:r>
                        <a:rPr sz="1100" spc="-5">
                          <a:latin typeface="Verdana"/>
                          <a:cs typeface="Verdana"/>
                        </a:rPr>
                        <a:t>adoption</a:t>
                      </a:r>
                      <a:endParaRPr sz="1100">
                        <a:latin typeface="Verdana"/>
                        <a:cs typeface="Verdana"/>
                      </a:endParaRPr>
                    </a:p>
                    <a:p>
                      <a:pPr marL="224154" indent="-179070">
                        <a:lnSpc>
                          <a:spcPct val="100000"/>
                        </a:lnSpc>
                        <a:buFont typeface="Wingdings"/>
                        <a:buChar char=""/>
                        <a:tabLst>
                          <a:tab pos="224790" algn="l"/>
                        </a:tabLst>
                      </a:pPr>
                      <a:r>
                        <a:rPr sz="1100" spc="-5">
                          <a:latin typeface="Verdana"/>
                          <a:cs typeface="Verdana"/>
                        </a:rPr>
                        <a:t>Coordinates </a:t>
                      </a:r>
                      <a:r>
                        <a:rPr sz="1100">
                          <a:latin typeface="Verdana"/>
                          <a:cs typeface="Verdana"/>
                        </a:rPr>
                        <a:t>between governance team and </a:t>
                      </a:r>
                      <a:r>
                        <a:rPr sz="1100" spc="-5">
                          <a:latin typeface="Verdana"/>
                          <a:cs typeface="Verdana"/>
                        </a:rPr>
                        <a:t>Business</a:t>
                      </a:r>
                      <a:r>
                        <a:rPr sz="1100" spc="-40">
                          <a:latin typeface="Verdana"/>
                          <a:cs typeface="Verdana"/>
                        </a:rPr>
                        <a:t> </a:t>
                      </a:r>
                      <a:r>
                        <a:rPr sz="1100" spc="-5">
                          <a:latin typeface="Verdana"/>
                          <a:cs typeface="Verdana"/>
                        </a:rPr>
                        <a:t>Units</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46355" marR="246379">
                        <a:lnSpc>
                          <a:spcPct val="100000"/>
                        </a:lnSpc>
                        <a:spcBef>
                          <a:spcPts val="360"/>
                        </a:spcBef>
                      </a:pPr>
                      <a:r>
                        <a:rPr sz="1100" spc="-5">
                          <a:latin typeface="Verdana"/>
                          <a:cs typeface="Verdana"/>
                        </a:rPr>
                        <a:t>8+ years experience </a:t>
                      </a:r>
                      <a:r>
                        <a:rPr sz="1100" spc="-10">
                          <a:latin typeface="Verdana"/>
                          <a:cs typeface="Verdana"/>
                        </a:rPr>
                        <a:t>in </a:t>
                      </a:r>
                      <a:r>
                        <a:rPr sz="1100">
                          <a:latin typeface="Verdana"/>
                          <a:cs typeface="Verdana"/>
                        </a:rPr>
                        <a:t>Salesforce projects </a:t>
                      </a:r>
                      <a:r>
                        <a:rPr sz="1100" spc="-10">
                          <a:latin typeface="Verdana"/>
                          <a:cs typeface="Verdana"/>
                        </a:rPr>
                        <a:t>in </a:t>
                      </a:r>
                      <a:r>
                        <a:rPr sz="1100" spc="-5">
                          <a:latin typeface="Verdana"/>
                          <a:cs typeface="Verdana"/>
                        </a:rPr>
                        <a:t>different  industries. Able to coordinate </a:t>
                      </a:r>
                      <a:r>
                        <a:rPr sz="1100">
                          <a:latin typeface="Verdana"/>
                          <a:cs typeface="Verdana"/>
                        </a:rPr>
                        <a:t>and </a:t>
                      </a:r>
                      <a:r>
                        <a:rPr sz="1100" spc="-5">
                          <a:latin typeface="Verdana"/>
                          <a:cs typeface="Verdana"/>
                        </a:rPr>
                        <a:t>lead the on-site </a:t>
                      </a:r>
                      <a:r>
                        <a:rPr sz="1100">
                          <a:latin typeface="Verdana"/>
                          <a:cs typeface="Verdana"/>
                        </a:rPr>
                        <a:t>team for  </a:t>
                      </a:r>
                      <a:r>
                        <a:rPr sz="1100" spc="-5">
                          <a:latin typeface="Verdana"/>
                          <a:cs typeface="Verdana"/>
                        </a:rPr>
                        <a:t>Global</a:t>
                      </a:r>
                      <a:r>
                        <a:rPr sz="1100">
                          <a:latin typeface="Verdana"/>
                          <a:cs typeface="Verdana"/>
                        </a:rPr>
                        <a:t> </a:t>
                      </a:r>
                      <a:r>
                        <a:rPr sz="1100" spc="-5">
                          <a:latin typeface="Verdana"/>
                          <a:cs typeface="Verdana"/>
                        </a:rPr>
                        <a:t>Solution</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4"/>
                  </a:ext>
                </a:extLst>
              </a:tr>
            </a:tbl>
          </a:graphicData>
        </a:graphic>
      </p:graphicFrame>
      <p:sp>
        <p:nvSpPr>
          <p:cNvPr id="4" name="object 4"/>
          <p:cNvSpPr txBox="1"/>
          <p:nvPr/>
        </p:nvSpPr>
        <p:spPr>
          <a:xfrm>
            <a:off x="227075" y="1143000"/>
            <a:ext cx="11689080" cy="277495"/>
          </a:xfrm>
          <a:prstGeom prst="rect">
            <a:avLst/>
          </a:prstGeom>
          <a:solidFill>
            <a:srgbClr val="421F5D"/>
          </a:solidFill>
        </p:spPr>
        <p:txBody>
          <a:bodyPr vert="horz" wrap="square" lIns="0" tIns="44450" rIns="0" bIns="0" rtlCol="0">
            <a:spAutoFit/>
          </a:bodyPr>
          <a:lstStyle/>
          <a:p>
            <a:pPr marL="668020">
              <a:lnSpc>
                <a:spcPct val="100000"/>
              </a:lnSpc>
              <a:spcBef>
                <a:spcPts val="350"/>
              </a:spcBef>
            </a:pPr>
            <a:r>
              <a:rPr sz="1200" i="1" spc="-5">
                <a:solidFill>
                  <a:srgbClr val="FFFFFF"/>
                </a:solidFill>
                <a:latin typeface="Verdana"/>
                <a:cs typeface="Verdana"/>
              </a:rPr>
              <a:t>The following table summarise </a:t>
            </a:r>
            <a:r>
              <a:rPr sz="1200" b="1" i="1" spc="-5">
                <a:solidFill>
                  <a:srgbClr val="FFFFFF"/>
                </a:solidFill>
                <a:latin typeface="Verdana"/>
                <a:cs typeface="Verdana"/>
              </a:rPr>
              <a:t>key roles </a:t>
            </a:r>
            <a:r>
              <a:rPr sz="1200" b="1" i="1">
                <a:solidFill>
                  <a:srgbClr val="FFFFFF"/>
                </a:solidFill>
                <a:latin typeface="Verdana"/>
                <a:cs typeface="Verdana"/>
              </a:rPr>
              <a:t>and </a:t>
            </a:r>
            <a:r>
              <a:rPr sz="1200" b="1" i="1" spc="-5">
                <a:solidFill>
                  <a:srgbClr val="FFFFFF"/>
                </a:solidFill>
                <a:latin typeface="Verdana"/>
                <a:cs typeface="Verdana"/>
              </a:rPr>
              <a:t>responsibilities </a:t>
            </a:r>
            <a:r>
              <a:rPr sz="1200" i="1" spc="-5">
                <a:solidFill>
                  <a:srgbClr val="FFFFFF"/>
                </a:solidFill>
                <a:latin typeface="Verdana"/>
                <a:cs typeface="Verdana"/>
              </a:rPr>
              <a:t>and the profile </a:t>
            </a:r>
            <a:r>
              <a:rPr sz="1200" i="1">
                <a:solidFill>
                  <a:srgbClr val="FFFFFF"/>
                </a:solidFill>
                <a:latin typeface="Verdana"/>
                <a:cs typeface="Verdana"/>
              </a:rPr>
              <a:t>of </a:t>
            </a:r>
            <a:r>
              <a:rPr sz="1200" i="1" spc="-5">
                <a:solidFill>
                  <a:srgbClr val="FFFFFF"/>
                </a:solidFill>
                <a:latin typeface="Verdana"/>
                <a:cs typeface="Verdana"/>
              </a:rPr>
              <a:t>the individual that </a:t>
            </a:r>
            <a:r>
              <a:rPr sz="1200" i="1" spc="-10">
                <a:solidFill>
                  <a:srgbClr val="FFFFFF"/>
                </a:solidFill>
                <a:latin typeface="Verdana"/>
                <a:cs typeface="Verdana"/>
              </a:rPr>
              <a:t>will </a:t>
            </a:r>
            <a:r>
              <a:rPr sz="1200" i="1">
                <a:solidFill>
                  <a:srgbClr val="FFFFFF"/>
                </a:solidFill>
                <a:latin typeface="Verdana"/>
                <a:cs typeface="Verdana"/>
              </a:rPr>
              <a:t>help </a:t>
            </a:r>
            <a:r>
              <a:rPr sz="1200" i="1" spc="-5">
                <a:solidFill>
                  <a:srgbClr val="FFFFFF"/>
                </a:solidFill>
                <a:latin typeface="Verdana"/>
                <a:cs typeface="Verdana"/>
              </a:rPr>
              <a:t>in providing </a:t>
            </a:r>
            <a:r>
              <a:rPr sz="1200" i="1" spc="-10">
                <a:solidFill>
                  <a:srgbClr val="FFFFFF"/>
                </a:solidFill>
                <a:latin typeface="Verdana"/>
                <a:cs typeface="Verdana"/>
              </a:rPr>
              <a:t>this</a:t>
            </a:r>
            <a:r>
              <a:rPr sz="1200" i="1" spc="345">
                <a:solidFill>
                  <a:srgbClr val="FFFFFF"/>
                </a:solidFill>
                <a:latin typeface="Verdana"/>
                <a:cs typeface="Verdana"/>
              </a:rPr>
              <a:t> </a:t>
            </a:r>
            <a:r>
              <a:rPr sz="1200" i="1" spc="-5">
                <a:solidFill>
                  <a:srgbClr val="FFFFFF"/>
                </a:solidFill>
                <a:latin typeface="Verdana"/>
                <a:cs typeface="Verdana"/>
              </a:rPr>
              <a:t>solution</a:t>
            </a:r>
            <a:endParaRPr sz="1200">
              <a:latin typeface="Verdana"/>
              <a:cs typeface="Verdana"/>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4123690" cy="422275"/>
          </a:xfrm>
          <a:prstGeom prst="rect">
            <a:avLst/>
          </a:prstGeom>
        </p:spPr>
        <p:txBody>
          <a:bodyPr vert="horz" wrap="square" lIns="0" tIns="12700" rIns="0" bIns="0" rtlCol="0">
            <a:spAutoFit/>
          </a:bodyPr>
          <a:lstStyle/>
          <a:p>
            <a:pPr marL="12700">
              <a:lnSpc>
                <a:spcPct val="100000"/>
              </a:lnSpc>
              <a:spcBef>
                <a:spcPts val="100"/>
              </a:spcBef>
            </a:pPr>
            <a:r>
              <a:rPr sz="2600" spc="-15"/>
              <a:t>Role </a:t>
            </a:r>
            <a:r>
              <a:rPr sz="2600" spc="-5"/>
              <a:t>and</a:t>
            </a:r>
            <a:r>
              <a:rPr sz="2600" spc="-40"/>
              <a:t> </a:t>
            </a:r>
            <a:r>
              <a:rPr sz="2600" spc="-5"/>
              <a:t>Responsibilities</a:t>
            </a:r>
            <a:endParaRPr sz="2600"/>
          </a:p>
        </p:txBody>
      </p:sp>
      <p:sp>
        <p:nvSpPr>
          <p:cNvPr id="4" name="object 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 name="object 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49</a:t>
            </a:fld>
            <a:endParaRPr/>
          </a:p>
        </p:txBody>
      </p:sp>
      <p:graphicFrame>
        <p:nvGraphicFramePr>
          <p:cNvPr id="3" name="object 3"/>
          <p:cNvGraphicFramePr>
            <a:graphicFrameLocks noGrp="1"/>
          </p:cNvGraphicFramePr>
          <p:nvPr>
            <p:extLst>
              <p:ext uri="{D42A27DB-BD31-4B8C-83A1-F6EECF244321}">
                <p14:modId xmlns:p14="http://schemas.microsoft.com/office/powerpoint/2010/main" val="2554980853"/>
              </p:ext>
            </p:extLst>
          </p:nvPr>
        </p:nvGraphicFramePr>
        <p:xfrm>
          <a:off x="220992" y="1090802"/>
          <a:ext cx="11704318" cy="3901439"/>
        </p:xfrm>
        <a:graphic>
          <a:graphicData uri="http://schemas.openxmlformats.org/drawingml/2006/table">
            <a:tbl>
              <a:tblPr firstRow="1" bandRow="1">
                <a:tableStyleId>{2D5ABB26-0587-4C30-8999-92F81FD0307C}</a:tableStyleId>
              </a:tblPr>
              <a:tblGrid>
                <a:gridCol w="1828800">
                  <a:extLst>
                    <a:ext uri="{9D8B030D-6E8A-4147-A177-3AD203B41FA5}">
                      <a16:colId xmlns:a16="http://schemas.microsoft.com/office/drawing/2014/main" val="20000"/>
                    </a:ext>
                  </a:extLst>
                </a:gridCol>
                <a:gridCol w="5394959">
                  <a:extLst>
                    <a:ext uri="{9D8B030D-6E8A-4147-A177-3AD203B41FA5}">
                      <a16:colId xmlns:a16="http://schemas.microsoft.com/office/drawing/2014/main" val="20001"/>
                    </a:ext>
                  </a:extLst>
                </a:gridCol>
                <a:gridCol w="4480559">
                  <a:extLst>
                    <a:ext uri="{9D8B030D-6E8A-4147-A177-3AD203B41FA5}">
                      <a16:colId xmlns:a16="http://schemas.microsoft.com/office/drawing/2014/main" val="20002"/>
                    </a:ext>
                  </a:extLst>
                </a:gridCol>
              </a:tblGrid>
              <a:tr h="259080">
                <a:tc>
                  <a:txBody>
                    <a:bodyPr/>
                    <a:lstStyle/>
                    <a:p>
                      <a:pPr marL="45720">
                        <a:lnSpc>
                          <a:spcPct val="100000"/>
                        </a:lnSpc>
                        <a:spcBef>
                          <a:spcPts val="350"/>
                        </a:spcBef>
                      </a:pPr>
                      <a:r>
                        <a:rPr sz="1100" b="1">
                          <a:solidFill>
                            <a:srgbClr val="FFFFFF"/>
                          </a:solidFill>
                          <a:latin typeface="Verdana"/>
                          <a:cs typeface="Verdana"/>
                        </a:rPr>
                        <a:t>Key</a:t>
                      </a:r>
                      <a:r>
                        <a:rPr sz="1100" b="1" spc="-20">
                          <a:solidFill>
                            <a:srgbClr val="FFFFFF"/>
                          </a:solidFill>
                          <a:latin typeface="Verdana"/>
                          <a:cs typeface="Verdana"/>
                        </a:rPr>
                        <a:t> </a:t>
                      </a:r>
                      <a:r>
                        <a:rPr sz="1100" b="1" spc="-5">
                          <a:solidFill>
                            <a:srgbClr val="FFFFFF"/>
                          </a:solidFill>
                          <a:latin typeface="Verdana"/>
                          <a:cs typeface="Verdana"/>
                        </a:rPr>
                        <a:t>Roles</a:t>
                      </a:r>
                      <a:endParaRPr sz="1100">
                        <a:latin typeface="Verdana"/>
                        <a:cs typeface="Verdana"/>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45720">
                        <a:lnSpc>
                          <a:spcPct val="100000"/>
                        </a:lnSpc>
                        <a:spcBef>
                          <a:spcPts val="350"/>
                        </a:spcBef>
                      </a:pPr>
                      <a:r>
                        <a:rPr sz="1100" b="1" spc="-5">
                          <a:solidFill>
                            <a:srgbClr val="FFFFFF"/>
                          </a:solidFill>
                          <a:latin typeface="Verdana"/>
                          <a:cs typeface="Verdana"/>
                        </a:rPr>
                        <a:t>Responsibilities</a:t>
                      </a:r>
                      <a:endParaRPr sz="1100">
                        <a:latin typeface="Verdana"/>
                        <a:cs typeface="Verdana"/>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46355">
                        <a:lnSpc>
                          <a:spcPct val="100000"/>
                        </a:lnSpc>
                        <a:spcBef>
                          <a:spcPts val="350"/>
                        </a:spcBef>
                      </a:pPr>
                      <a:r>
                        <a:rPr sz="1100" b="1" spc="-5">
                          <a:solidFill>
                            <a:srgbClr val="FFFFFF"/>
                          </a:solidFill>
                          <a:latin typeface="Verdana"/>
                          <a:cs typeface="Verdana"/>
                        </a:rPr>
                        <a:t>Experience</a:t>
                      </a:r>
                      <a:endParaRPr sz="1100">
                        <a:latin typeface="Verdana"/>
                        <a:cs typeface="Verdana"/>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extLst>
                  <a:ext uri="{0D108BD9-81ED-4DB2-BD59-A6C34878D82A}">
                    <a16:rowId xmlns:a16="http://schemas.microsoft.com/office/drawing/2014/main" val="10000"/>
                  </a:ext>
                </a:extLst>
              </a:tr>
              <a:tr h="929639">
                <a:tc>
                  <a:txBody>
                    <a:bodyPr/>
                    <a:lstStyle/>
                    <a:p>
                      <a:pPr marL="45720" marR="492759">
                        <a:lnSpc>
                          <a:spcPct val="100000"/>
                        </a:lnSpc>
                        <a:spcBef>
                          <a:spcPts val="355"/>
                        </a:spcBef>
                      </a:pPr>
                      <a:r>
                        <a:rPr sz="1100" b="1">
                          <a:latin typeface="Verdana"/>
                          <a:cs typeface="Verdana"/>
                        </a:rPr>
                        <a:t>SME </a:t>
                      </a:r>
                      <a:r>
                        <a:rPr sz="1100" b="1" spc="-5">
                          <a:latin typeface="Verdana"/>
                          <a:cs typeface="Verdana"/>
                        </a:rPr>
                        <a:t>Sales</a:t>
                      </a:r>
                      <a:r>
                        <a:rPr sz="1100" b="1" spc="-95">
                          <a:latin typeface="Verdana"/>
                          <a:cs typeface="Verdana"/>
                        </a:rPr>
                        <a:t> </a:t>
                      </a:r>
                      <a:r>
                        <a:rPr sz="1100" b="1">
                          <a:latin typeface="Verdana"/>
                          <a:cs typeface="Verdana"/>
                        </a:rPr>
                        <a:t>Cloud  Consultant</a:t>
                      </a:r>
                      <a:endParaRPr sz="1100">
                        <a:latin typeface="Verdana"/>
                        <a:cs typeface="Verdana"/>
                      </a:endParaRPr>
                    </a:p>
                  </a:txBody>
                  <a:tcPr marL="0" marR="0" marT="45085"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D3D3D3"/>
                    </a:solidFill>
                  </a:tcPr>
                </a:tc>
                <a:tc>
                  <a:txBody>
                    <a:bodyPr/>
                    <a:lstStyle/>
                    <a:p>
                      <a:pPr marL="224154" indent="-179070">
                        <a:lnSpc>
                          <a:spcPct val="100000"/>
                        </a:lnSpc>
                        <a:spcBef>
                          <a:spcPts val="355"/>
                        </a:spcBef>
                        <a:buClr>
                          <a:srgbClr val="006FAC"/>
                        </a:buClr>
                        <a:buFont typeface="Wingdings"/>
                        <a:buChar char=""/>
                        <a:tabLst>
                          <a:tab pos="224790" algn="l"/>
                        </a:tabLst>
                      </a:pPr>
                      <a:r>
                        <a:rPr sz="1100" spc="-5">
                          <a:latin typeface="Verdana"/>
                          <a:cs typeface="Verdana"/>
                        </a:rPr>
                        <a:t>Supervise </a:t>
                      </a:r>
                      <a:r>
                        <a:rPr sz="1100">
                          <a:latin typeface="Verdana"/>
                          <a:cs typeface="Verdana"/>
                        </a:rPr>
                        <a:t>the use case</a:t>
                      </a:r>
                      <a:r>
                        <a:rPr sz="1100" spc="-15">
                          <a:latin typeface="Verdana"/>
                          <a:cs typeface="Verdana"/>
                        </a:rPr>
                        <a:t> </a:t>
                      </a:r>
                      <a:r>
                        <a:rPr sz="1100" spc="-5">
                          <a:latin typeface="Verdana"/>
                          <a:cs typeface="Verdana"/>
                        </a:rPr>
                        <a:t>collection</a:t>
                      </a:r>
                      <a:endParaRPr sz="1100">
                        <a:latin typeface="Verdana"/>
                        <a:cs typeface="Verdana"/>
                      </a:endParaRPr>
                    </a:p>
                    <a:p>
                      <a:pPr marL="224154" marR="741045" indent="-178435">
                        <a:lnSpc>
                          <a:spcPct val="100000"/>
                        </a:lnSpc>
                        <a:buClr>
                          <a:srgbClr val="006FAC"/>
                        </a:buClr>
                        <a:buFont typeface="Wingdings"/>
                        <a:buChar char=""/>
                        <a:tabLst>
                          <a:tab pos="224790" algn="l"/>
                        </a:tabLst>
                      </a:pPr>
                      <a:r>
                        <a:rPr sz="1100" spc="-5">
                          <a:latin typeface="Verdana"/>
                          <a:cs typeface="Verdana"/>
                        </a:rPr>
                        <a:t>Validate </a:t>
                      </a:r>
                      <a:r>
                        <a:rPr sz="1100" spc="-10">
                          <a:latin typeface="Verdana"/>
                          <a:cs typeface="Verdana"/>
                        </a:rPr>
                        <a:t>all </a:t>
                      </a:r>
                      <a:r>
                        <a:rPr sz="1100" spc="-5">
                          <a:latin typeface="Verdana"/>
                          <a:cs typeface="Verdana"/>
                        </a:rPr>
                        <a:t>functional </a:t>
                      </a:r>
                      <a:r>
                        <a:rPr sz="1100">
                          <a:latin typeface="Verdana"/>
                          <a:cs typeface="Verdana"/>
                        </a:rPr>
                        <a:t>documents </a:t>
                      </a:r>
                      <a:r>
                        <a:rPr sz="1100" spc="-5">
                          <a:latin typeface="Verdana"/>
                          <a:cs typeface="Verdana"/>
                        </a:rPr>
                        <a:t>(product backlog, test </a:t>
                      </a:r>
                      <a:r>
                        <a:rPr sz="1100">
                          <a:latin typeface="Verdana"/>
                          <a:cs typeface="Verdana"/>
                        </a:rPr>
                        <a:t>cases,  </a:t>
                      </a:r>
                      <a:r>
                        <a:rPr sz="1100" spc="-5">
                          <a:latin typeface="Verdana"/>
                          <a:cs typeface="Verdana"/>
                        </a:rPr>
                        <a:t>workshops</a:t>
                      </a:r>
                      <a:r>
                        <a:rPr sz="1100" spc="-10">
                          <a:latin typeface="Verdana"/>
                          <a:cs typeface="Verdana"/>
                        </a:rPr>
                        <a:t> </a:t>
                      </a:r>
                      <a:r>
                        <a:rPr sz="1100" spc="-5">
                          <a:latin typeface="Verdana"/>
                          <a:cs typeface="Verdana"/>
                        </a:rPr>
                        <a:t>documentation)</a:t>
                      </a:r>
                      <a:endParaRPr sz="1100">
                        <a:latin typeface="Verdana"/>
                        <a:cs typeface="Verdana"/>
                      </a:endParaRPr>
                    </a:p>
                    <a:p>
                      <a:pPr marL="224154" indent="-179070">
                        <a:lnSpc>
                          <a:spcPct val="100000"/>
                        </a:lnSpc>
                        <a:buClr>
                          <a:srgbClr val="006FAC"/>
                        </a:buClr>
                        <a:buFont typeface="Wingdings"/>
                        <a:buChar char=""/>
                        <a:tabLst>
                          <a:tab pos="224790" algn="l"/>
                        </a:tabLst>
                      </a:pPr>
                      <a:r>
                        <a:rPr sz="1100">
                          <a:latin typeface="Verdana"/>
                          <a:cs typeface="Verdana"/>
                        </a:rPr>
                        <a:t>Support </a:t>
                      </a:r>
                      <a:r>
                        <a:rPr sz="1100" spc="-5">
                          <a:latin typeface="Verdana"/>
                          <a:cs typeface="Verdana"/>
                        </a:rPr>
                        <a:t>to </a:t>
                      </a:r>
                      <a:r>
                        <a:rPr sz="1100" spc="-10">
                          <a:latin typeface="Verdana"/>
                          <a:cs typeface="Verdana"/>
                        </a:rPr>
                        <a:t>validate </a:t>
                      </a:r>
                      <a:r>
                        <a:rPr sz="1100" spc="-5">
                          <a:latin typeface="Verdana"/>
                          <a:cs typeface="Verdana"/>
                        </a:rPr>
                        <a:t>test plan </a:t>
                      </a:r>
                      <a:r>
                        <a:rPr sz="1100">
                          <a:latin typeface="Verdana"/>
                          <a:cs typeface="Verdana"/>
                        </a:rPr>
                        <a:t>/ test book / test</a:t>
                      </a:r>
                      <a:r>
                        <a:rPr sz="1100" spc="30">
                          <a:latin typeface="Verdana"/>
                          <a:cs typeface="Verdana"/>
                        </a:rPr>
                        <a:t> </a:t>
                      </a:r>
                      <a:r>
                        <a:rPr sz="1100">
                          <a:latin typeface="Verdana"/>
                          <a:cs typeface="Verdana"/>
                        </a:rPr>
                        <a:t>case</a:t>
                      </a:r>
                    </a:p>
                    <a:p>
                      <a:pPr marL="224154" indent="-179070">
                        <a:lnSpc>
                          <a:spcPct val="100000"/>
                        </a:lnSpc>
                        <a:buClr>
                          <a:srgbClr val="006FAC"/>
                        </a:buClr>
                        <a:buFont typeface="Wingdings"/>
                        <a:buChar char=""/>
                        <a:tabLst>
                          <a:tab pos="224790" algn="l"/>
                        </a:tabLst>
                      </a:pPr>
                      <a:r>
                        <a:rPr sz="1100" spc="-5">
                          <a:latin typeface="Verdana"/>
                          <a:cs typeface="Verdana"/>
                        </a:rPr>
                        <a:t>Support during texting</a:t>
                      </a:r>
                      <a:r>
                        <a:rPr sz="1100" spc="40">
                          <a:latin typeface="Verdana"/>
                          <a:cs typeface="Verdana"/>
                        </a:rPr>
                        <a:t> </a:t>
                      </a:r>
                      <a:r>
                        <a:rPr sz="1100" spc="-10">
                          <a:latin typeface="Verdana"/>
                          <a:cs typeface="Verdana"/>
                        </a:rPr>
                        <a:t>activities</a:t>
                      </a:r>
                      <a:endParaRPr sz="1100">
                        <a:latin typeface="Verdana"/>
                        <a:cs typeface="Verdana"/>
                      </a:endParaRPr>
                    </a:p>
                  </a:txBody>
                  <a:tcPr marL="0" marR="0" marT="450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D3D3D3"/>
                    </a:solidFill>
                  </a:tcPr>
                </a:tc>
                <a:tc>
                  <a:txBody>
                    <a:bodyPr/>
                    <a:lstStyle/>
                    <a:p>
                      <a:pPr marL="46355">
                        <a:lnSpc>
                          <a:spcPct val="100000"/>
                        </a:lnSpc>
                        <a:spcBef>
                          <a:spcPts val="355"/>
                        </a:spcBef>
                      </a:pPr>
                      <a:r>
                        <a:rPr sz="1100" spc="-5">
                          <a:latin typeface="Verdana"/>
                          <a:cs typeface="Verdana"/>
                        </a:rPr>
                        <a:t>Sales Cloud,</a:t>
                      </a:r>
                      <a:r>
                        <a:rPr sz="1100">
                          <a:latin typeface="Verdana"/>
                          <a:cs typeface="Verdana"/>
                        </a:rPr>
                        <a:t> </a:t>
                      </a:r>
                      <a:r>
                        <a:rPr sz="1100" spc="-5">
                          <a:latin typeface="Verdana"/>
                          <a:cs typeface="Verdana"/>
                        </a:rPr>
                        <a:t>Experts</a:t>
                      </a:r>
                      <a:endParaRPr sz="1100">
                        <a:latin typeface="Verdana"/>
                        <a:cs typeface="Verdana"/>
                      </a:endParaRPr>
                    </a:p>
                    <a:p>
                      <a:pPr marL="46355" marR="1932939">
                        <a:lnSpc>
                          <a:spcPct val="100000"/>
                        </a:lnSpc>
                      </a:pPr>
                      <a:r>
                        <a:rPr sz="1100" spc="-5">
                          <a:latin typeface="Verdana"/>
                          <a:cs typeface="Verdana"/>
                        </a:rPr>
                        <a:t>Over 5+ years Business experience  </a:t>
                      </a:r>
                      <a:r>
                        <a:rPr sz="1100">
                          <a:latin typeface="Verdana"/>
                          <a:cs typeface="Verdana"/>
                        </a:rPr>
                        <a:t>SFDC</a:t>
                      </a:r>
                      <a:r>
                        <a:rPr sz="1100" spc="-20">
                          <a:latin typeface="Verdana"/>
                          <a:cs typeface="Verdana"/>
                        </a:rPr>
                        <a:t> </a:t>
                      </a:r>
                      <a:r>
                        <a:rPr sz="1100">
                          <a:latin typeface="Verdana"/>
                          <a:cs typeface="Verdana"/>
                        </a:rPr>
                        <a:t>Projects</a:t>
                      </a:r>
                    </a:p>
                  </a:txBody>
                  <a:tcPr marL="0" marR="0" marT="45085"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D3D3D3"/>
                    </a:solidFill>
                  </a:tcPr>
                </a:tc>
                <a:extLst>
                  <a:ext uri="{0D108BD9-81ED-4DB2-BD59-A6C34878D82A}">
                    <a16:rowId xmlns:a16="http://schemas.microsoft.com/office/drawing/2014/main" val="10002"/>
                  </a:ext>
                </a:extLst>
              </a:tr>
              <a:tr h="594360">
                <a:tc>
                  <a:txBody>
                    <a:bodyPr/>
                    <a:lstStyle/>
                    <a:p>
                      <a:pPr marL="45720" marR="643255">
                        <a:lnSpc>
                          <a:spcPct val="100000"/>
                        </a:lnSpc>
                        <a:spcBef>
                          <a:spcPts val="355"/>
                        </a:spcBef>
                      </a:pPr>
                      <a:r>
                        <a:rPr sz="1100" b="1">
                          <a:latin typeface="Verdana"/>
                          <a:cs typeface="Verdana"/>
                        </a:rPr>
                        <a:t>Offshore</a:t>
                      </a:r>
                      <a:r>
                        <a:rPr sz="1100" b="1" spc="-110">
                          <a:latin typeface="Verdana"/>
                          <a:cs typeface="Verdana"/>
                        </a:rPr>
                        <a:t> </a:t>
                      </a:r>
                      <a:r>
                        <a:rPr sz="1100" b="1" spc="-5">
                          <a:latin typeface="Verdana"/>
                          <a:cs typeface="Verdana"/>
                        </a:rPr>
                        <a:t>SFDC  </a:t>
                      </a:r>
                      <a:r>
                        <a:rPr sz="1100" b="1">
                          <a:latin typeface="Verdana"/>
                          <a:cs typeface="Verdana"/>
                        </a:rPr>
                        <a:t>Architects</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224154" indent="-179070">
                        <a:lnSpc>
                          <a:spcPct val="100000"/>
                        </a:lnSpc>
                        <a:spcBef>
                          <a:spcPts val="355"/>
                        </a:spcBef>
                        <a:buClr>
                          <a:srgbClr val="006FAC"/>
                        </a:buClr>
                        <a:buFont typeface="Wingdings"/>
                        <a:buChar char=""/>
                        <a:tabLst>
                          <a:tab pos="224790" algn="l"/>
                        </a:tabLst>
                      </a:pPr>
                      <a:r>
                        <a:rPr sz="1100" spc="-5">
                          <a:latin typeface="Verdana"/>
                          <a:cs typeface="Verdana"/>
                        </a:rPr>
                        <a:t>Coordinates </a:t>
                      </a:r>
                      <a:r>
                        <a:rPr sz="1100">
                          <a:latin typeface="Verdana"/>
                          <a:cs typeface="Verdana"/>
                        </a:rPr>
                        <a:t>offshore </a:t>
                      </a:r>
                      <a:r>
                        <a:rPr sz="1100" spc="-5">
                          <a:latin typeface="Verdana"/>
                          <a:cs typeface="Verdana"/>
                        </a:rPr>
                        <a:t>technical </a:t>
                      </a:r>
                      <a:r>
                        <a:rPr sz="1100">
                          <a:latin typeface="Verdana"/>
                          <a:cs typeface="Verdana"/>
                        </a:rPr>
                        <a:t>team</a:t>
                      </a:r>
                    </a:p>
                    <a:p>
                      <a:pPr marL="224154" indent="-179070">
                        <a:lnSpc>
                          <a:spcPct val="100000"/>
                        </a:lnSpc>
                        <a:buClr>
                          <a:srgbClr val="006FAC"/>
                        </a:buClr>
                        <a:buFont typeface="Wingdings"/>
                        <a:buChar char=""/>
                        <a:tabLst>
                          <a:tab pos="224790" algn="l"/>
                        </a:tabLst>
                      </a:pPr>
                      <a:r>
                        <a:rPr sz="1100" spc="-5">
                          <a:latin typeface="Verdana"/>
                          <a:cs typeface="Verdana"/>
                        </a:rPr>
                        <a:t>Coordinates with Solution</a:t>
                      </a:r>
                      <a:r>
                        <a:rPr sz="1100" spc="30">
                          <a:latin typeface="Verdana"/>
                          <a:cs typeface="Verdana"/>
                        </a:rPr>
                        <a:t> </a:t>
                      </a:r>
                      <a:r>
                        <a:rPr sz="1100" spc="-5">
                          <a:latin typeface="Verdana"/>
                          <a:cs typeface="Verdana"/>
                        </a:rPr>
                        <a:t>architect</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Responsible for solution </a:t>
                      </a:r>
                      <a:r>
                        <a:rPr sz="1100" spc="-10">
                          <a:latin typeface="Verdana"/>
                          <a:cs typeface="Verdana"/>
                        </a:rPr>
                        <a:t>build </a:t>
                      </a:r>
                      <a:r>
                        <a:rPr sz="1100">
                          <a:latin typeface="Verdana"/>
                          <a:cs typeface="Verdana"/>
                        </a:rPr>
                        <a:t>and</a:t>
                      </a:r>
                      <a:r>
                        <a:rPr sz="1100" spc="65">
                          <a:latin typeface="Verdana"/>
                          <a:cs typeface="Verdana"/>
                        </a:rPr>
                        <a:t> </a:t>
                      </a:r>
                      <a:r>
                        <a:rPr sz="1100">
                          <a:latin typeface="Verdana"/>
                          <a:cs typeface="Verdana"/>
                        </a:rPr>
                        <a:t>SIT</a:t>
                      </a: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46355">
                        <a:lnSpc>
                          <a:spcPct val="100000"/>
                        </a:lnSpc>
                        <a:spcBef>
                          <a:spcPts val="355"/>
                        </a:spcBef>
                      </a:pPr>
                      <a:r>
                        <a:rPr sz="1100" spc="-5">
                          <a:latin typeface="Verdana"/>
                          <a:cs typeface="Verdana"/>
                        </a:rPr>
                        <a:t>12+ </a:t>
                      </a:r>
                      <a:r>
                        <a:rPr sz="1100">
                          <a:latin typeface="Verdana"/>
                          <a:cs typeface="Verdana"/>
                        </a:rPr>
                        <a:t>Years of</a:t>
                      </a:r>
                      <a:r>
                        <a:rPr sz="1100" spc="-25">
                          <a:latin typeface="Verdana"/>
                          <a:cs typeface="Verdana"/>
                        </a:rPr>
                        <a:t> </a:t>
                      </a:r>
                      <a:r>
                        <a:rPr sz="1100" spc="-5">
                          <a:latin typeface="Verdana"/>
                          <a:cs typeface="Verdana"/>
                        </a:rPr>
                        <a:t>experience</a:t>
                      </a:r>
                      <a:endParaRPr sz="1100">
                        <a:latin typeface="Verdana"/>
                        <a:cs typeface="Verdana"/>
                      </a:endParaRPr>
                    </a:p>
                    <a:p>
                      <a:pPr marL="46355">
                        <a:lnSpc>
                          <a:spcPct val="100000"/>
                        </a:lnSpc>
                      </a:pPr>
                      <a:r>
                        <a:rPr sz="1100">
                          <a:latin typeface="Verdana"/>
                          <a:cs typeface="Verdana"/>
                        </a:rPr>
                        <a:t>Salesforce </a:t>
                      </a:r>
                      <a:r>
                        <a:rPr sz="1100" spc="-5">
                          <a:latin typeface="Verdana"/>
                          <a:cs typeface="Verdana"/>
                        </a:rPr>
                        <a:t>complex </a:t>
                      </a:r>
                      <a:r>
                        <a:rPr sz="1100">
                          <a:latin typeface="Verdana"/>
                          <a:cs typeface="Verdana"/>
                        </a:rPr>
                        <a:t>projects </a:t>
                      </a:r>
                      <a:r>
                        <a:rPr sz="1100" spc="-5">
                          <a:latin typeface="Verdana"/>
                          <a:cs typeface="Verdana"/>
                        </a:rPr>
                        <a:t>(Sales, Platform </a:t>
                      </a:r>
                      <a:r>
                        <a:rPr sz="1100">
                          <a:latin typeface="Verdana"/>
                          <a:cs typeface="Verdana"/>
                        </a:rPr>
                        <a:t>and </a:t>
                      </a:r>
                      <a:r>
                        <a:rPr sz="1100" spc="-5">
                          <a:latin typeface="Verdana"/>
                          <a:cs typeface="Verdana"/>
                        </a:rPr>
                        <a:t>Mobile)</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3"/>
                  </a:ext>
                </a:extLst>
              </a:tr>
              <a:tr h="762000">
                <a:tc>
                  <a:txBody>
                    <a:bodyPr/>
                    <a:lstStyle/>
                    <a:p>
                      <a:pPr marL="45720" marR="396875">
                        <a:lnSpc>
                          <a:spcPct val="100000"/>
                        </a:lnSpc>
                        <a:spcBef>
                          <a:spcPts val="355"/>
                        </a:spcBef>
                      </a:pPr>
                      <a:r>
                        <a:rPr sz="1100" b="1" spc="-5">
                          <a:latin typeface="Verdana"/>
                          <a:cs typeface="Verdana"/>
                        </a:rPr>
                        <a:t>Integration</a:t>
                      </a:r>
                      <a:r>
                        <a:rPr sz="1100" b="1" spc="-60">
                          <a:latin typeface="Verdana"/>
                          <a:cs typeface="Verdana"/>
                        </a:rPr>
                        <a:t> </a:t>
                      </a:r>
                      <a:r>
                        <a:rPr sz="1100" b="1">
                          <a:latin typeface="Verdana"/>
                          <a:cs typeface="Verdana"/>
                        </a:rPr>
                        <a:t>Team  </a:t>
                      </a:r>
                      <a:r>
                        <a:rPr sz="1100" b="1" spc="-5">
                          <a:latin typeface="Verdana"/>
                          <a:cs typeface="Verdana"/>
                        </a:rPr>
                        <a:t>Lead</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224154" indent="-179070">
                        <a:lnSpc>
                          <a:spcPct val="100000"/>
                        </a:lnSpc>
                        <a:spcBef>
                          <a:spcPts val="355"/>
                        </a:spcBef>
                        <a:buClr>
                          <a:srgbClr val="006FAC"/>
                        </a:buClr>
                        <a:buFont typeface="Wingdings"/>
                        <a:buChar char=""/>
                        <a:tabLst>
                          <a:tab pos="224790" algn="l"/>
                        </a:tabLst>
                      </a:pPr>
                      <a:r>
                        <a:rPr sz="1100" spc="-5">
                          <a:latin typeface="Verdana"/>
                          <a:cs typeface="Verdana"/>
                        </a:rPr>
                        <a:t>Supervise technical </a:t>
                      </a:r>
                      <a:r>
                        <a:rPr sz="1100">
                          <a:latin typeface="Verdana"/>
                          <a:cs typeface="Verdana"/>
                        </a:rPr>
                        <a:t>team </a:t>
                      </a:r>
                      <a:r>
                        <a:rPr sz="1100" spc="-5">
                          <a:latin typeface="Verdana"/>
                          <a:cs typeface="Verdana"/>
                        </a:rPr>
                        <a:t>from</a:t>
                      </a:r>
                      <a:r>
                        <a:rPr sz="1100" spc="25">
                          <a:latin typeface="Verdana"/>
                          <a:cs typeface="Verdana"/>
                        </a:rPr>
                        <a:t> </a:t>
                      </a:r>
                      <a:r>
                        <a:rPr sz="1100" spc="-5">
                          <a:latin typeface="Verdana"/>
                          <a:cs typeface="Verdana"/>
                        </a:rPr>
                        <a:t>integration</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Approve technical specification </a:t>
                      </a:r>
                      <a:r>
                        <a:rPr sz="1100">
                          <a:latin typeface="Verdana"/>
                          <a:cs typeface="Verdana"/>
                        </a:rPr>
                        <a:t>for </a:t>
                      </a:r>
                      <a:r>
                        <a:rPr sz="1100" spc="-5">
                          <a:latin typeface="Verdana"/>
                          <a:cs typeface="Verdana"/>
                        </a:rPr>
                        <a:t>the</a:t>
                      </a:r>
                      <a:r>
                        <a:rPr sz="1100" spc="50">
                          <a:latin typeface="Verdana"/>
                          <a:cs typeface="Verdana"/>
                        </a:rPr>
                        <a:t> </a:t>
                      </a:r>
                      <a:r>
                        <a:rPr sz="1100" spc="-5">
                          <a:latin typeface="Verdana"/>
                          <a:cs typeface="Verdana"/>
                        </a:rPr>
                        <a:t>integration</a:t>
                      </a:r>
                      <a:endParaRPr sz="1100">
                        <a:latin typeface="Verdana"/>
                        <a:cs typeface="Verdana"/>
                      </a:endParaRPr>
                    </a:p>
                    <a:p>
                      <a:pPr marL="224154" indent="-179070">
                        <a:lnSpc>
                          <a:spcPct val="100000"/>
                        </a:lnSpc>
                        <a:buFont typeface="Wingdings"/>
                        <a:buChar char=""/>
                        <a:tabLst>
                          <a:tab pos="224790" algn="l"/>
                        </a:tabLst>
                      </a:pPr>
                      <a:r>
                        <a:rPr sz="1100" spc="-5">
                          <a:latin typeface="Verdana"/>
                          <a:cs typeface="Verdana"/>
                        </a:rPr>
                        <a:t>Coordinate testing activities </a:t>
                      </a:r>
                      <a:r>
                        <a:rPr sz="1100">
                          <a:latin typeface="Verdana"/>
                          <a:cs typeface="Verdana"/>
                        </a:rPr>
                        <a:t>for </a:t>
                      </a:r>
                      <a:r>
                        <a:rPr sz="1100" spc="-5">
                          <a:latin typeface="Verdana"/>
                          <a:cs typeface="Verdana"/>
                        </a:rPr>
                        <a:t>the</a:t>
                      </a:r>
                      <a:r>
                        <a:rPr sz="1100" spc="55">
                          <a:latin typeface="Verdana"/>
                          <a:cs typeface="Verdana"/>
                        </a:rPr>
                        <a:t> </a:t>
                      </a:r>
                      <a:r>
                        <a:rPr sz="1100" spc="-5">
                          <a:latin typeface="Verdana"/>
                          <a:cs typeface="Verdana"/>
                        </a:rPr>
                        <a:t>integration</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Support Omnichannel solution detailed</a:t>
                      </a:r>
                      <a:r>
                        <a:rPr sz="1100" spc="60">
                          <a:latin typeface="Verdana"/>
                          <a:cs typeface="Verdana"/>
                        </a:rPr>
                        <a:t> </a:t>
                      </a:r>
                      <a:r>
                        <a:rPr sz="1100" spc="-5">
                          <a:latin typeface="Verdana"/>
                          <a:cs typeface="Verdana"/>
                        </a:rPr>
                        <a:t>design</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46355">
                        <a:lnSpc>
                          <a:spcPct val="100000"/>
                        </a:lnSpc>
                        <a:spcBef>
                          <a:spcPts val="355"/>
                        </a:spcBef>
                      </a:pPr>
                      <a:r>
                        <a:rPr sz="1100" spc="-5">
                          <a:latin typeface="Verdana"/>
                          <a:cs typeface="Verdana"/>
                        </a:rPr>
                        <a:t>8+ years </a:t>
                      </a:r>
                      <a:r>
                        <a:rPr sz="1100">
                          <a:latin typeface="Verdana"/>
                          <a:cs typeface="Verdana"/>
                        </a:rPr>
                        <a:t>of</a:t>
                      </a:r>
                      <a:r>
                        <a:rPr sz="1100" spc="-10">
                          <a:latin typeface="Verdana"/>
                          <a:cs typeface="Verdana"/>
                        </a:rPr>
                        <a:t> </a:t>
                      </a:r>
                      <a:r>
                        <a:rPr sz="1100" spc="-5">
                          <a:latin typeface="Verdana"/>
                          <a:cs typeface="Verdana"/>
                        </a:rPr>
                        <a:t>experience</a:t>
                      </a:r>
                      <a:endParaRPr sz="1100">
                        <a:latin typeface="Verdana"/>
                        <a:cs typeface="Verdana"/>
                      </a:endParaRPr>
                    </a:p>
                    <a:p>
                      <a:pPr marL="46355" marR="2280920">
                        <a:lnSpc>
                          <a:spcPct val="100000"/>
                        </a:lnSpc>
                      </a:pPr>
                      <a:r>
                        <a:rPr sz="1100">
                          <a:latin typeface="Verdana"/>
                          <a:cs typeface="Verdana"/>
                        </a:rPr>
                        <a:t>API, </a:t>
                      </a:r>
                      <a:r>
                        <a:rPr sz="1100" spc="-5">
                          <a:latin typeface="Verdana"/>
                          <a:cs typeface="Verdana"/>
                        </a:rPr>
                        <a:t>Hybrid architectures, ESB  Agile</a:t>
                      </a:r>
                      <a:r>
                        <a:rPr sz="1100" spc="5">
                          <a:latin typeface="Verdana"/>
                          <a:cs typeface="Verdana"/>
                        </a:rPr>
                        <a:t> </a:t>
                      </a:r>
                      <a:r>
                        <a:rPr sz="1100" spc="-5">
                          <a:latin typeface="Verdana"/>
                          <a:cs typeface="Verdana"/>
                        </a:rPr>
                        <a:t>methodology</a:t>
                      </a:r>
                      <a:endParaRPr sz="1100">
                        <a:latin typeface="Verdana"/>
                        <a:cs typeface="Verdana"/>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4"/>
                  </a:ext>
                </a:extLst>
              </a:tr>
              <a:tr h="762000">
                <a:tc>
                  <a:txBody>
                    <a:bodyPr/>
                    <a:lstStyle/>
                    <a:p>
                      <a:pPr marL="45720" marR="612775">
                        <a:lnSpc>
                          <a:spcPct val="100000"/>
                        </a:lnSpc>
                        <a:spcBef>
                          <a:spcPts val="360"/>
                        </a:spcBef>
                      </a:pPr>
                      <a:r>
                        <a:rPr sz="1100" b="1" spc="-5">
                          <a:latin typeface="Verdana"/>
                          <a:cs typeface="Verdana"/>
                        </a:rPr>
                        <a:t>Data</a:t>
                      </a:r>
                      <a:r>
                        <a:rPr sz="1100" b="1" spc="-55">
                          <a:latin typeface="Verdana"/>
                          <a:cs typeface="Verdana"/>
                        </a:rPr>
                        <a:t> </a:t>
                      </a:r>
                      <a:r>
                        <a:rPr sz="1100" b="1" spc="-5">
                          <a:latin typeface="Verdana"/>
                          <a:cs typeface="Verdana"/>
                        </a:rPr>
                        <a:t>Migration  Experts</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224154" indent="-179070">
                        <a:lnSpc>
                          <a:spcPct val="100000"/>
                        </a:lnSpc>
                        <a:spcBef>
                          <a:spcPts val="360"/>
                        </a:spcBef>
                        <a:buClr>
                          <a:srgbClr val="006FAC"/>
                        </a:buClr>
                        <a:buFont typeface="Wingdings"/>
                        <a:buChar char=""/>
                        <a:tabLst>
                          <a:tab pos="224790" algn="l"/>
                        </a:tabLst>
                      </a:pPr>
                      <a:r>
                        <a:rPr sz="1100" spc="-5">
                          <a:latin typeface="Verdana"/>
                          <a:cs typeface="Verdana"/>
                        </a:rPr>
                        <a:t>Supervise </a:t>
                      </a:r>
                      <a:r>
                        <a:rPr sz="1100">
                          <a:latin typeface="Verdana"/>
                          <a:cs typeface="Verdana"/>
                        </a:rPr>
                        <a:t>Data </a:t>
                      </a:r>
                      <a:r>
                        <a:rPr sz="1100" spc="-5">
                          <a:latin typeface="Verdana"/>
                          <a:cs typeface="Verdana"/>
                        </a:rPr>
                        <a:t>Migration Strategy</a:t>
                      </a:r>
                      <a:r>
                        <a:rPr sz="1100" spc="40">
                          <a:latin typeface="Verdana"/>
                          <a:cs typeface="Verdana"/>
                        </a:rPr>
                        <a:t> </a:t>
                      </a:r>
                      <a:r>
                        <a:rPr sz="1100" spc="-5">
                          <a:latin typeface="Verdana"/>
                          <a:cs typeface="Verdana"/>
                        </a:rPr>
                        <a:t>Design</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Manage </a:t>
                      </a:r>
                      <a:r>
                        <a:rPr sz="1100" spc="-10">
                          <a:latin typeface="Verdana"/>
                          <a:cs typeface="Verdana"/>
                        </a:rPr>
                        <a:t>all </a:t>
                      </a:r>
                      <a:r>
                        <a:rPr sz="1100" spc="-5">
                          <a:latin typeface="Verdana"/>
                          <a:cs typeface="Verdana"/>
                        </a:rPr>
                        <a:t>activities to </a:t>
                      </a:r>
                      <a:r>
                        <a:rPr sz="1100" spc="-10">
                          <a:latin typeface="Verdana"/>
                          <a:cs typeface="Verdana"/>
                        </a:rPr>
                        <a:t>build </a:t>
                      </a:r>
                      <a:r>
                        <a:rPr sz="1100" spc="-5">
                          <a:latin typeface="Verdana"/>
                          <a:cs typeface="Verdana"/>
                        </a:rPr>
                        <a:t>data migration</a:t>
                      </a:r>
                      <a:r>
                        <a:rPr sz="1100" spc="185">
                          <a:latin typeface="Verdana"/>
                          <a:cs typeface="Verdana"/>
                        </a:rPr>
                        <a:t> </a:t>
                      </a:r>
                      <a:r>
                        <a:rPr sz="1100" spc="-5">
                          <a:latin typeface="Verdana"/>
                          <a:cs typeface="Verdana"/>
                        </a:rPr>
                        <a:t>procedures</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Supervise </a:t>
                      </a:r>
                      <a:r>
                        <a:rPr sz="1100" spc="-10">
                          <a:latin typeface="Verdana"/>
                          <a:cs typeface="Verdana"/>
                        </a:rPr>
                        <a:t>all </a:t>
                      </a:r>
                      <a:r>
                        <a:rPr sz="1100" spc="-5">
                          <a:latin typeface="Verdana"/>
                          <a:cs typeface="Verdana"/>
                        </a:rPr>
                        <a:t>activities to test data migration</a:t>
                      </a:r>
                      <a:r>
                        <a:rPr sz="1100" spc="145">
                          <a:latin typeface="Verdana"/>
                          <a:cs typeface="Verdana"/>
                        </a:rPr>
                        <a:t> </a:t>
                      </a:r>
                      <a:r>
                        <a:rPr sz="1100" spc="-5">
                          <a:latin typeface="Verdana"/>
                          <a:cs typeface="Verdana"/>
                        </a:rPr>
                        <a:t>procedure</a:t>
                      </a:r>
                      <a:endParaRPr sz="1100">
                        <a:latin typeface="Verdana"/>
                        <a:cs typeface="Verdana"/>
                      </a:endParaRPr>
                    </a:p>
                    <a:p>
                      <a:pPr marL="224154" indent="-179070">
                        <a:lnSpc>
                          <a:spcPct val="100000"/>
                        </a:lnSpc>
                        <a:buClr>
                          <a:srgbClr val="006FAC"/>
                        </a:buClr>
                        <a:buFont typeface="Wingdings"/>
                        <a:buChar char=""/>
                        <a:tabLst>
                          <a:tab pos="224790" algn="l"/>
                        </a:tabLst>
                      </a:pPr>
                      <a:r>
                        <a:rPr sz="1100" spc="-5">
                          <a:latin typeface="Verdana"/>
                          <a:cs typeface="Verdana"/>
                        </a:rPr>
                        <a:t>Supervise rollouts</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46355" marR="1917700">
                        <a:lnSpc>
                          <a:spcPct val="100000"/>
                        </a:lnSpc>
                        <a:spcBef>
                          <a:spcPts val="360"/>
                        </a:spcBef>
                      </a:pPr>
                      <a:r>
                        <a:rPr sz="1100" spc="-5">
                          <a:latin typeface="Verdana"/>
                          <a:cs typeface="Verdana"/>
                        </a:rPr>
                        <a:t>7+ years </a:t>
                      </a:r>
                      <a:r>
                        <a:rPr sz="1100" spc="-10">
                          <a:latin typeface="Verdana"/>
                          <a:cs typeface="Verdana"/>
                        </a:rPr>
                        <a:t>in </a:t>
                      </a:r>
                      <a:r>
                        <a:rPr sz="1100" spc="-5">
                          <a:latin typeface="Verdana"/>
                          <a:cs typeface="Verdana"/>
                        </a:rPr>
                        <a:t>data migration </a:t>
                      </a:r>
                      <a:r>
                        <a:rPr sz="1100">
                          <a:latin typeface="Verdana"/>
                          <a:cs typeface="Verdana"/>
                        </a:rPr>
                        <a:t>projects  </a:t>
                      </a:r>
                      <a:r>
                        <a:rPr sz="1100" spc="-5">
                          <a:latin typeface="Verdana"/>
                          <a:cs typeface="Verdana"/>
                        </a:rPr>
                        <a:t>Multi-countries</a:t>
                      </a:r>
                      <a:r>
                        <a:rPr sz="1100" spc="30">
                          <a:latin typeface="Verdana"/>
                          <a:cs typeface="Verdana"/>
                        </a:rPr>
                        <a:t> </a:t>
                      </a:r>
                      <a:r>
                        <a:rPr sz="1100" spc="-5">
                          <a:latin typeface="Verdana"/>
                          <a:cs typeface="Verdana"/>
                        </a:rPr>
                        <a:t>rollout</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5"/>
                  </a:ext>
                </a:extLst>
              </a:tr>
              <a:tr h="594360">
                <a:tc>
                  <a:txBody>
                    <a:bodyPr/>
                    <a:lstStyle/>
                    <a:p>
                      <a:pPr marL="45720" marR="326390">
                        <a:lnSpc>
                          <a:spcPct val="100000"/>
                        </a:lnSpc>
                        <a:spcBef>
                          <a:spcPts val="360"/>
                        </a:spcBef>
                      </a:pPr>
                      <a:r>
                        <a:rPr sz="1100" b="1">
                          <a:latin typeface="Verdana"/>
                          <a:cs typeface="Verdana"/>
                        </a:rPr>
                        <a:t>Offshore </a:t>
                      </a:r>
                      <a:r>
                        <a:rPr sz="1100" b="1" spc="-5">
                          <a:latin typeface="Verdana"/>
                          <a:cs typeface="Verdana"/>
                        </a:rPr>
                        <a:t>SFDC</a:t>
                      </a:r>
                      <a:r>
                        <a:rPr sz="1100" b="1" spc="-100">
                          <a:latin typeface="Verdana"/>
                          <a:cs typeface="Verdana"/>
                        </a:rPr>
                        <a:t> </a:t>
                      </a:r>
                      <a:r>
                        <a:rPr sz="1100" b="1" spc="-5">
                          <a:latin typeface="Verdana"/>
                          <a:cs typeface="Verdana"/>
                        </a:rPr>
                        <a:t>Snr  Developer</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224154" indent="-179070">
                        <a:lnSpc>
                          <a:spcPct val="100000"/>
                        </a:lnSpc>
                        <a:spcBef>
                          <a:spcPts val="360"/>
                        </a:spcBef>
                        <a:buClr>
                          <a:srgbClr val="006FAC"/>
                        </a:buClr>
                        <a:buFont typeface="Wingdings"/>
                        <a:buChar char=""/>
                        <a:tabLst>
                          <a:tab pos="224790" algn="l"/>
                        </a:tabLst>
                      </a:pPr>
                      <a:r>
                        <a:rPr sz="1100" spc="-5">
                          <a:latin typeface="Verdana"/>
                          <a:cs typeface="Verdana"/>
                        </a:rPr>
                        <a:t>Supervise </a:t>
                      </a:r>
                      <a:r>
                        <a:rPr sz="1100">
                          <a:latin typeface="Verdana"/>
                          <a:cs typeface="Verdana"/>
                        </a:rPr>
                        <a:t>Development</a:t>
                      </a:r>
                      <a:r>
                        <a:rPr sz="1100" spc="-10">
                          <a:latin typeface="Verdana"/>
                          <a:cs typeface="Verdana"/>
                        </a:rPr>
                        <a:t> </a:t>
                      </a:r>
                      <a:r>
                        <a:rPr sz="1100">
                          <a:latin typeface="Verdana"/>
                          <a:cs typeface="Verdana"/>
                        </a:rPr>
                        <a:t>Team</a:t>
                      </a:r>
                    </a:p>
                    <a:p>
                      <a:pPr marL="224154" indent="-179070">
                        <a:lnSpc>
                          <a:spcPct val="100000"/>
                        </a:lnSpc>
                        <a:buClr>
                          <a:srgbClr val="006FAC"/>
                        </a:buClr>
                        <a:buFont typeface="Wingdings"/>
                        <a:buChar char=""/>
                        <a:tabLst>
                          <a:tab pos="224790" algn="l"/>
                        </a:tabLst>
                      </a:pPr>
                      <a:r>
                        <a:rPr sz="1100">
                          <a:latin typeface="Verdana"/>
                          <a:cs typeface="Verdana"/>
                        </a:rPr>
                        <a:t>Support </a:t>
                      </a:r>
                      <a:r>
                        <a:rPr sz="1100" spc="-5">
                          <a:latin typeface="Verdana"/>
                          <a:cs typeface="Verdana"/>
                        </a:rPr>
                        <a:t>the test </a:t>
                      </a:r>
                      <a:r>
                        <a:rPr sz="1100">
                          <a:latin typeface="Verdana"/>
                          <a:cs typeface="Verdana"/>
                        </a:rPr>
                        <a:t>case </a:t>
                      </a:r>
                      <a:r>
                        <a:rPr sz="1100" spc="-5">
                          <a:latin typeface="Verdana"/>
                          <a:cs typeface="Verdana"/>
                        </a:rPr>
                        <a:t>definition </a:t>
                      </a:r>
                      <a:r>
                        <a:rPr sz="1100">
                          <a:latin typeface="Verdana"/>
                          <a:cs typeface="Verdana"/>
                        </a:rPr>
                        <a:t>for UT, ST and</a:t>
                      </a:r>
                      <a:r>
                        <a:rPr sz="1100" spc="-5">
                          <a:latin typeface="Verdana"/>
                          <a:cs typeface="Verdana"/>
                        </a:rPr>
                        <a:t> E2E</a:t>
                      </a:r>
                      <a:endParaRPr sz="1100">
                        <a:latin typeface="Verdana"/>
                        <a:cs typeface="Verdana"/>
                      </a:endParaRP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46355" marR="1816735">
                        <a:lnSpc>
                          <a:spcPct val="100000"/>
                        </a:lnSpc>
                        <a:spcBef>
                          <a:spcPts val="360"/>
                        </a:spcBef>
                      </a:pPr>
                      <a:r>
                        <a:rPr sz="1100" spc="-5">
                          <a:latin typeface="Verdana"/>
                          <a:cs typeface="Verdana"/>
                        </a:rPr>
                        <a:t>5+ years </a:t>
                      </a:r>
                      <a:r>
                        <a:rPr sz="1100">
                          <a:latin typeface="Verdana"/>
                          <a:cs typeface="Verdana"/>
                        </a:rPr>
                        <a:t>on Salesforce</a:t>
                      </a:r>
                      <a:r>
                        <a:rPr sz="1100" spc="-80">
                          <a:latin typeface="Verdana"/>
                          <a:cs typeface="Verdana"/>
                        </a:rPr>
                        <a:t> </a:t>
                      </a:r>
                      <a:r>
                        <a:rPr sz="1100">
                          <a:latin typeface="Verdana"/>
                          <a:cs typeface="Verdana"/>
                        </a:rPr>
                        <a:t>Development  </a:t>
                      </a:r>
                      <a:r>
                        <a:rPr sz="1100" spc="-5">
                          <a:latin typeface="Verdana"/>
                          <a:cs typeface="Verdana"/>
                        </a:rPr>
                        <a:t>Platform </a:t>
                      </a:r>
                      <a:r>
                        <a:rPr sz="1100">
                          <a:latin typeface="Verdana"/>
                          <a:cs typeface="Verdana"/>
                        </a:rPr>
                        <a:t>Dev II</a:t>
                      </a:r>
                    </a:p>
                    <a:p>
                      <a:pPr marL="46355">
                        <a:lnSpc>
                          <a:spcPct val="100000"/>
                        </a:lnSpc>
                      </a:pPr>
                      <a:r>
                        <a:rPr sz="1100" spc="-5">
                          <a:latin typeface="Verdana"/>
                          <a:cs typeface="Verdana"/>
                        </a:rPr>
                        <a:t>Multi-Cloud</a:t>
                      </a:r>
                      <a:r>
                        <a:rPr sz="1100" spc="5">
                          <a:latin typeface="Verdana"/>
                          <a:cs typeface="Verdana"/>
                        </a:rPr>
                        <a:t> </a:t>
                      </a:r>
                      <a:r>
                        <a:rPr sz="1100">
                          <a:latin typeface="Verdana"/>
                          <a:cs typeface="Verdana"/>
                        </a:rPr>
                        <a:t>Project</a:t>
                      </a:r>
                    </a:p>
                  </a:txBody>
                  <a:tcPr marL="0" marR="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988045" y="974597"/>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3" name="object 3"/>
          <p:cNvSpPr txBox="1"/>
          <p:nvPr/>
        </p:nvSpPr>
        <p:spPr>
          <a:xfrm>
            <a:off x="7990713" y="692023"/>
            <a:ext cx="336550" cy="269240"/>
          </a:xfrm>
          <a:prstGeom prst="rect">
            <a:avLst/>
          </a:prstGeom>
        </p:spPr>
        <p:txBody>
          <a:bodyPr vert="horz" wrap="square" lIns="0" tIns="12065" rIns="0" bIns="0" rtlCol="0">
            <a:spAutoFit/>
          </a:bodyPr>
          <a:lstStyle/>
          <a:p>
            <a:pPr marL="12700">
              <a:lnSpc>
                <a:spcPct val="100000"/>
              </a:lnSpc>
              <a:spcBef>
                <a:spcPts val="95"/>
              </a:spcBef>
            </a:pPr>
            <a:r>
              <a:rPr sz="1600" spc="100">
                <a:latin typeface="Verdana"/>
                <a:cs typeface="Verdana"/>
              </a:rPr>
              <a:t>01</a:t>
            </a:r>
            <a:r>
              <a:rPr sz="1600" spc="-355">
                <a:latin typeface="Verdana"/>
                <a:cs typeface="Verdana"/>
              </a:rPr>
              <a:t> </a:t>
            </a:r>
            <a:endParaRPr sz="1600">
              <a:latin typeface="Verdana"/>
              <a:cs typeface="Verdana"/>
            </a:endParaRPr>
          </a:p>
        </p:txBody>
      </p:sp>
      <p:sp>
        <p:nvSpPr>
          <p:cNvPr id="4" name="object 4"/>
          <p:cNvSpPr txBox="1"/>
          <p:nvPr/>
        </p:nvSpPr>
        <p:spPr>
          <a:xfrm>
            <a:off x="8439150" y="722503"/>
            <a:ext cx="2912745" cy="3576320"/>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Executive summary</a:t>
            </a:r>
            <a:endParaRPr sz="1200">
              <a:latin typeface="Verdana"/>
              <a:cs typeface="Verdana"/>
            </a:endParaRPr>
          </a:p>
          <a:p>
            <a:pPr marL="12700" marR="861060">
              <a:lnSpc>
                <a:spcPct val="100000"/>
              </a:lnSpc>
              <a:spcBef>
                <a:spcPts val="1150"/>
              </a:spcBef>
            </a:pPr>
            <a:r>
              <a:rPr sz="1200" b="1" spc="-5">
                <a:latin typeface="Verdana"/>
                <a:cs typeface="Verdana"/>
              </a:rPr>
              <a:t>Capgemini organization  </a:t>
            </a:r>
            <a:r>
              <a:rPr sz="1200" b="1">
                <a:latin typeface="Verdana"/>
                <a:cs typeface="Verdana"/>
              </a:rPr>
              <a:t>&amp; </a:t>
            </a:r>
            <a:r>
              <a:rPr sz="1200" b="1" spc="-5">
                <a:latin typeface="Verdana"/>
                <a:cs typeface="Verdana"/>
              </a:rPr>
              <a:t>capabilities</a:t>
            </a:r>
            <a:endParaRPr sz="1200">
              <a:latin typeface="Verdana"/>
              <a:cs typeface="Verdana"/>
            </a:endParaRPr>
          </a:p>
          <a:p>
            <a:pPr marL="12700">
              <a:lnSpc>
                <a:spcPct val="100000"/>
              </a:lnSpc>
              <a:spcBef>
                <a:spcPts val="1155"/>
              </a:spcBef>
            </a:pPr>
            <a:r>
              <a:rPr sz="1200" b="1" spc="-10">
                <a:latin typeface="Verdana"/>
                <a:cs typeface="Verdana"/>
              </a:rPr>
              <a:t>References</a:t>
            </a:r>
            <a:endParaRPr sz="1200">
              <a:latin typeface="Verdana"/>
              <a:cs typeface="Verdana"/>
            </a:endParaRPr>
          </a:p>
          <a:p>
            <a:pPr marL="12700" marR="780415">
              <a:lnSpc>
                <a:spcPct val="100000"/>
              </a:lnSpc>
              <a:spcBef>
                <a:spcPts val="1155"/>
              </a:spcBef>
            </a:pPr>
            <a:r>
              <a:rPr sz="1200" b="1" spc="-5">
                <a:latin typeface="Verdana"/>
                <a:cs typeface="Verdana"/>
              </a:rPr>
              <a:t>Project organization </a:t>
            </a:r>
            <a:r>
              <a:rPr sz="1200" b="1">
                <a:latin typeface="Verdana"/>
                <a:cs typeface="Verdana"/>
              </a:rPr>
              <a:t>and  role &amp;</a:t>
            </a:r>
            <a:r>
              <a:rPr sz="1200" b="1" spc="-20">
                <a:latin typeface="Verdana"/>
                <a:cs typeface="Verdana"/>
              </a:rPr>
              <a:t> </a:t>
            </a:r>
            <a:r>
              <a:rPr sz="1200" b="1" spc="-5">
                <a:latin typeface="Verdana"/>
                <a:cs typeface="Verdana"/>
              </a:rPr>
              <a:t>responsibilities</a:t>
            </a:r>
            <a:endParaRPr sz="1200">
              <a:latin typeface="Verdana"/>
              <a:cs typeface="Verdana"/>
            </a:endParaRPr>
          </a:p>
          <a:p>
            <a:pPr marL="12700">
              <a:lnSpc>
                <a:spcPct val="100000"/>
              </a:lnSpc>
              <a:spcBef>
                <a:spcPts val="1160"/>
              </a:spcBef>
            </a:pPr>
            <a:r>
              <a:rPr sz="1200" b="1" spc="-5">
                <a:latin typeface="Verdana"/>
                <a:cs typeface="Verdana"/>
              </a:rPr>
              <a:t>Project</a:t>
            </a:r>
            <a:r>
              <a:rPr sz="1200" b="1">
                <a:latin typeface="Verdana"/>
                <a:cs typeface="Verdana"/>
              </a:rPr>
              <a:t> </a:t>
            </a:r>
            <a:r>
              <a:rPr sz="1200" b="1" spc="-5">
                <a:latin typeface="Verdana"/>
                <a:cs typeface="Verdana"/>
              </a:rPr>
              <a:t>governance</a:t>
            </a:r>
            <a:endParaRPr sz="1200">
              <a:latin typeface="Verdana"/>
              <a:cs typeface="Verdana"/>
            </a:endParaRPr>
          </a:p>
          <a:p>
            <a:pPr marL="12700" marR="962660">
              <a:lnSpc>
                <a:spcPct val="100000"/>
              </a:lnSpc>
              <a:spcBef>
                <a:spcPts val="1150"/>
              </a:spcBef>
            </a:pPr>
            <a:r>
              <a:rPr sz="1200" b="1" spc="-5">
                <a:latin typeface="Verdana"/>
                <a:cs typeface="Verdana"/>
              </a:rPr>
              <a:t>Project methodologies  </a:t>
            </a:r>
            <a:r>
              <a:rPr sz="1200" b="1">
                <a:latin typeface="Verdana"/>
                <a:cs typeface="Verdana"/>
              </a:rPr>
              <a:t>and</a:t>
            </a:r>
            <a:r>
              <a:rPr sz="1200" b="1" spc="-5">
                <a:latin typeface="Verdana"/>
                <a:cs typeface="Verdana"/>
              </a:rPr>
              <a:t> </a:t>
            </a:r>
            <a:r>
              <a:rPr sz="1200" b="1">
                <a:latin typeface="Verdana"/>
                <a:cs typeface="Verdana"/>
              </a:rPr>
              <a:t>tools</a:t>
            </a:r>
            <a:endParaRPr sz="1200">
              <a:latin typeface="Verdana"/>
              <a:cs typeface="Verdana"/>
            </a:endParaRPr>
          </a:p>
          <a:p>
            <a:pPr marL="12700" marR="1197610">
              <a:lnSpc>
                <a:spcPct val="100000"/>
              </a:lnSpc>
              <a:spcBef>
                <a:spcPts val="434"/>
              </a:spcBef>
            </a:pPr>
            <a:r>
              <a:rPr sz="1200" b="1" spc="-5">
                <a:latin typeface="Verdana"/>
                <a:cs typeface="Verdana"/>
              </a:rPr>
              <a:t>Environment</a:t>
            </a:r>
            <a:r>
              <a:rPr sz="1200" b="1" spc="-60">
                <a:latin typeface="Verdana"/>
                <a:cs typeface="Verdana"/>
              </a:rPr>
              <a:t> </a:t>
            </a:r>
            <a:r>
              <a:rPr sz="1200" b="1" spc="-5">
                <a:latin typeface="Verdana"/>
                <a:cs typeface="Verdana"/>
              </a:rPr>
              <a:t>set-up  </a:t>
            </a:r>
            <a:r>
              <a:rPr sz="1200" b="1">
                <a:latin typeface="Verdana"/>
                <a:cs typeface="Verdana"/>
              </a:rPr>
              <a:t>and</a:t>
            </a:r>
            <a:r>
              <a:rPr sz="1200" b="1" spc="-15">
                <a:latin typeface="Verdana"/>
                <a:cs typeface="Verdana"/>
              </a:rPr>
              <a:t> </a:t>
            </a:r>
            <a:r>
              <a:rPr sz="1200" b="1">
                <a:latin typeface="Verdana"/>
                <a:cs typeface="Verdana"/>
              </a:rPr>
              <a:t>operations</a:t>
            </a:r>
            <a:endParaRPr sz="1200">
              <a:latin typeface="Verdana"/>
              <a:cs typeface="Verdana"/>
            </a:endParaRPr>
          </a:p>
          <a:p>
            <a:pPr marL="12700" marR="5080">
              <a:lnSpc>
                <a:spcPct val="100000"/>
              </a:lnSpc>
              <a:spcBef>
                <a:spcPts val="434"/>
              </a:spcBef>
            </a:pPr>
            <a:r>
              <a:rPr sz="1200" b="1" spc="-5">
                <a:latin typeface="Verdana"/>
                <a:cs typeface="Verdana"/>
              </a:rPr>
              <a:t>System configuration, integration  </a:t>
            </a:r>
            <a:r>
              <a:rPr sz="1200" b="1">
                <a:latin typeface="Verdana"/>
                <a:cs typeface="Verdana"/>
              </a:rPr>
              <a:t>and </a:t>
            </a:r>
            <a:r>
              <a:rPr sz="1200" b="1" spc="-5">
                <a:latin typeface="Verdana"/>
                <a:cs typeface="Verdana"/>
              </a:rPr>
              <a:t>custom</a:t>
            </a:r>
            <a:r>
              <a:rPr sz="1200" b="1" spc="-25">
                <a:latin typeface="Verdana"/>
                <a:cs typeface="Verdana"/>
              </a:rPr>
              <a:t> </a:t>
            </a:r>
            <a:r>
              <a:rPr sz="1200" b="1" spc="-5">
                <a:latin typeface="Verdana"/>
                <a:cs typeface="Verdana"/>
              </a:rPr>
              <a:t>developments</a:t>
            </a:r>
            <a:endParaRPr sz="1200">
              <a:latin typeface="Verdana"/>
              <a:cs typeface="Verdana"/>
            </a:endParaRPr>
          </a:p>
          <a:p>
            <a:pPr marL="12700">
              <a:lnSpc>
                <a:spcPct val="100000"/>
              </a:lnSpc>
              <a:spcBef>
                <a:spcPts val="1160"/>
              </a:spcBef>
            </a:pPr>
            <a:r>
              <a:rPr sz="1200" b="1" spc="-5">
                <a:latin typeface="Verdana"/>
                <a:cs typeface="Verdana"/>
              </a:rPr>
              <a:t>Data migration</a:t>
            </a:r>
            <a:endParaRPr sz="1200">
              <a:latin typeface="Verdana"/>
              <a:cs typeface="Verdana"/>
            </a:endParaRPr>
          </a:p>
        </p:txBody>
      </p:sp>
      <p:sp>
        <p:nvSpPr>
          <p:cNvPr id="5" name="object 5"/>
          <p:cNvSpPr txBox="1"/>
          <p:nvPr/>
        </p:nvSpPr>
        <p:spPr>
          <a:xfrm>
            <a:off x="8439150" y="4533976"/>
            <a:ext cx="1616710" cy="208915"/>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Hypercare</a:t>
            </a:r>
            <a:r>
              <a:rPr sz="1200" b="1" spc="-75">
                <a:latin typeface="Verdana"/>
                <a:cs typeface="Verdana"/>
              </a:rPr>
              <a:t> </a:t>
            </a:r>
            <a:r>
              <a:rPr sz="1200" b="1" spc="-5">
                <a:latin typeface="Verdana"/>
                <a:cs typeface="Verdana"/>
              </a:rPr>
              <a:t>support</a:t>
            </a:r>
            <a:endParaRPr sz="1200">
              <a:latin typeface="Verdana"/>
              <a:cs typeface="Verdana"/>
            </a:endParaRPr>
          </a:p>
        </p:txBody>
      </p:sp>
      <p:sp>
        <p:nvSpPr>
          <p:cNvPr id="6" name="object 6"/>
          <p:cNvSpPr txBox="1"/>
          <p:nvPr/>
        </p:nvSpPr>
        <p:spPr>
          <a:xfrm>
            <a:off x="8439150" y="4916170"/>
            <a:ext cx="1906905"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Training</a:t>
            </a:r>
            <a:r>
              <a:rPr sz="1200" b="1" spc="-50">
                <a:latin typeface="Verdana"/>
                <a:cs typeface="Verdana"/>
              </a:rPr>
              <a:t> </a:t>
            </a:r>
            <a:r>
              <a:rPr sz="1200" b="1" spc="-5">
                <a:latin typeface="Verdana"/>
                <a:cs typeface="Verdana"/>
              </a:rPr>
              <a:t>management</a:t>
            </a:r>
            <a:endParaRPr sz="1200">
              <a:latin typeface="Verdana"/>
              <a:cs typeface="Verdana"/>
            </a:endParaRPr>
          </a:p>
        </p:txBody>
      </p:sp>
      <p:sp>
        <p:nvSpPr>
          <p:cNvPr id="7" name="object 7"/>
          <p:cNvSpPr/>
          <p:nvPr/>
        </p:nvSpPr>
        <p:spPr>
          <a:xfrm>
            <a:off x="7988045" y="1817370"/>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8" name="object 8"/>
          <p:cNvSpPr txBox="1"/>
          <p:nvPr/>
        </p:nvSpPr>
        <p:spPr>
          <a:xfrm>
            <a:off x="7990713" y="1112900"/>
            <a:ext cx="336550" cy="690245"/>
          </a:xfrm>
          <a:prstGeom prst="rect">
            <a:avLst/>
          </a:prstGeom>
        </p:spPr>
        <p:txBody>
          <a:bodyPr vert="horz" wrap="square" lIns="0" tIns="12065" rIns="0" bIns="0" rtlCol="0">
            <a:spAutoFit/>
          </a:bodyPr>
          <a:lstStyle/>
          <a:p>
            <a:pPr marL="12700">
              <a:lnSpc>
                <a:spcPct val="100000"/>
              </a:lnSpc>
              <a:spcBef>
                <a:spcPts val="95"/>
              </a:spcBef>
            </a:pPr>
            <a:r>
              <a:rPr sz="1600" u="heavy" spc="100">
                <a:uFill>
                  <a:solidFill>
                    <a:srgbClr val="12ABDB"/>
                  </a:solidFill>
                </a:uFill>
                <a:latin typeface="Verdana"/>
                <a:cs typeface="Verdana"/>
              </a:rPr>
              <a:t>02</a:t>
            </a:r>
            <a:r>
              <a:rPr sz="1600" u="heavy" spc="-355">
                <a:uFill>
                  <a:solidFill>
                    <a:srgbClr val="12ABDB"/>
                  </a:solidFill>
                </a:uFill>
                <a:latin typeface="Verdana"/>
                <a:cs typeface="Verdana"/>
              </a:rPr>
              <a:t> </a:t>
            </a:r>
            <a:endParaRPr sz="1600">
              <a:latin typeface="Verdana"/>
              <a:cs typeface="Verdana"/>
            </a:endParaRPr>
          </a:p>
          <a:p>
            <a:pPr marL="12700">
              <a:lnSpc>
                <a:spcPct val="100000"/>
              </a:lnSpc>
              <a:spcBef>
                <a:spcPts val="1395"/>
              </a:spcBef>
            </a:pPr>
            <a:r>
              <a:rPr sz="1600" spc="100">
                <a:latin typeface="Verdana"/>
                <a:cs typeface="Verdana"/>
              </a:rPr>
              <a:t>03</a:t>
            </a:r>
            <a:r>
              <a:rPr sz="1600" spc="-355">
                <a:latin typeface="Verdana"/>
                <a:cs typeface="Verdana"/>
              </a:rPr>
              <a:t> </a:t>
            </a:r>
            <a:endParaRPr sz="1600">
              <a:latin typeface="Verdana"/>
              <a:cs typeface="Verdana"/>
            </a:endParaRPr>
          </a:p>
        </p:txBody>
      </p:sp>
      <p:sp>
        <p:nvSpPr>
          <p:cNvPr id="9" name="object 9"/>
          <p:cNvSpPr/>
          <p:nvPr/>
        </p:nvSpPr>
        <p:spPr>
          <a:xfrm>
            <a:off x="7988045" y="2237994"/>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10" name="object 10"/>
          <p:cNvSpPr txBox="1"/>
          <p:nvPr/>
        </p:nvSpPr>
        <p:spPr>
          <a:xfrm>
            <a:off x="7990713" y="1954783"/>
            <a:ext cx="336550" cy="269240"/>
          </a:xfrm>
          <a:prstGeom prst="rect">
            <a:avLst/>
          </a:prstGeom>
        </p:spPr>
        <p:txBody>
          <a:bodyPr vert="horz" wrap="square" lIns="0" tIns="12065" rIns="0" bIns="0" rtlCol="0">
            <a:spAutoFit/>
          </a:bodyPr>
          <a:lstStyle/>
          <a:p>
            <a:pPr marL="12700">
              <a:lnSpc>
                <a:spcPct val="100000"/>
              </a:lnSpc>
              <a:spcBef>
                <a:spcPts val="95"/>
              </a:spcBef>
            </a:pPr>
            <a:r>
              <a:rPr sz="1600" spc="100">
                <a:latin typeface="Verdana"/>
                <a:cs typeface="Verdana"/>
              </a:rPr>
              <a:t>04</a:t>
            </a:r>
            <a:r>
              <a:rPr sz="1600" spc="-355">
                <a:latin typeface="Verdana"/>
                <a:cs typeface="Verdana"/>
              </a:rPr>
              <a:t> </a:t>
            </a:r>
            <a:endParaRPr sz="1600">
              <a:latin typeface="Verdana"/>
              <a:cs typeface="Verdana"/>
            </a:endParaRPr>
          </a:p>
        </p:txBody>
      </p:sp>
      <p:sp>
        <p:nvSpPr>
          <p:cNvPr id="11" name="object 11"/>
          <p:cNvSpPr/>
          <p:nvPr/>
        </p:nvSpPr>
        <p:spPr>
          <a:xfrm>
            <a:off x="7988045" y="2658617"/>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12" name="object 12"/>
          <p:cNvSpPr txBox="1"/>
          <p:nvPr/>
        </p:nvSpPr>
        <p:spPr>
          <a:xfrm>
            <a:off x="7990713" y="2376042"/>
            <a:ext cx="336550" cy="269240"/>
          </a:xfrm>
          <a:prstGeom prst="rect">
            <a:avLst/>
          </a:prstGeom>
        </p:spPr>
        <p:txBody>
          <a:bodyPr vert="horz" wrap="square" lIns="0" tIns="12065" rIns="0" bIns="0" rtlCol="0">
            <a:spAutoFit/>
          </a:bodyPr>
          <a:lstStyle/>
          <a:p>
            <a:pPr marL="12700">
              <a:lnSpc>
                <a:spcPct val="100000"/>
              </a:lnSpc>
              <a:spcBef>
                <a:spcPts val="95"/>
              </a:spcBef>
            </a:pPr>
            <a:r>
              <a:rPr sz="1600" spc="100">
                <a:latin typeface="Verdana"/>
                <a:cs typeface="Verdana"/>
              </a:rPr>
              <a:t>05</a:t>
            </a:r>
            <a:r>
              <a:rPr sz="1600" spc="-355">
                <a:latin typeface="Verdana"/>
                <a:cs typeface="Verdana"/>
              </a:rPr>
              <a:t> </a:t>
            </a:r>
            <a:endParaRPr sz="1600">
              <a:latin typeface="Verdana"/>
              <a:cs typeface="Verdana"/>
            </a:endParaRPr>
          </a:p>
        </p:txBody>
      </p:sp>
      <p:sp>
        <p:nvSpPr>
          <p:cNvPr id="13" name="object 13"/>
          <p:cNvSpPr/>
          <p:nvPr/>
        </p:nvSpPr>
        <p:spPr>
          <a:xfrm>
            <a:off x="7988045" y="3922014"/>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14" name="object 14"/>
          <p:cNvSpPr txBox="1"/>
          <p:nvPr/>
        </p:nvSpPr>
        <p:spPr>
          <a:xfrm>
            <a:off x="7990713" y="2796920"/>
            <a:ext cx="336550" cy="1110615"/>
          </a:xfrm>
          <a:prstGeom prst="rect">
            <a:avLst/>
          </a:prstGeom>
        </p:spPr>
        <p:txBody>
          <a:bodyPr vert="horz" wrap="square" lIns="0" tIns="12065" rIns="0" bIns="0" rtlCol="0">
            <a:spAutoFit/>
          </a:bodyPr>
          <a:lstStyle/>
          <a:p>
            <a:pPr marL="12700">
              <a:lnSpc>
                <a:spcPct val="100000"/>
              </a:lnSpc>
              <a:spcBef>
                <a:spcPts val="95"/>
              </a:spcBef>
            </a:pPr>
            <a:r>
              <a:rPr sz="1600" u="heavy" spc="100">
                <a:uFill>
                  <a:solidFill>
                    <a:srgbClr val="12ABDB"/>
                  </a:solidFill>
                </a:uFill>
                <a:latin typeface="Verdana"/>
                <a:cs typeface="Verdana"/>
              </a:rPr>
              <a:t>06</a:t>
            </a:r>
            <a:r>
              <a:rPr sz="1600" u="heavy" spc="-355">
                <a:uFill>
                  <a:solidFill>
                    <a:srgbClr val="12ABDB"/>
                  </a:solidFill>
                </a:uFill>
                <a:latin typeface="Verdana"/>
                <a:cs typeface="Verdana"/>
              </a:rPr>
              <a:t> </a:t>
            </a:r>
            <a:endParaRPr sz="1600">
              <a:latin typeface="Verdana"/>
              <a:cs typeface="Verdana"/>
            </a:endParaRPr>
          </a:p>
          <a:p>
            <a:pPr marL="12700">
              <a:lnSpc>
                <a:spcPct val="100000"/>
              </a:lnSpc>
              <a:spcBef>
                <a:spcPts val="1395"/>
              </a:spcBef>
            </a:pPr>
            <a:r>
              <a:rPr sz="1600" u="heavy" spc="100">
                <a:uFill>
                  <a:solidFill>
                    <a:srgbClr val="12ABDB"/>
                  </a:solidFill>
                </a:uFill>
                <a:latin typeface="Verdana"/>
                <a:cs typeface="Verdana"/>
              </a:rPr>
              <a:t>07</a:t>
            </a:r>
            <a:r>
              <a:rPr sz="1600" u="heavy" spc="-355">
                <a:uFill>
                  <a:solidFill>
                    <a:srgbClr val="12ABDB"/>
                  </a:solidFill>
                </a:uFill>
                <a:latin typeface="Verdana"/>
                <a:cs typeface="Verdana"/>
              </a:rPr>
              <a:t> </a:t>
            </a:r>
            <a:endParaRPr sz="1600">
              <a:latin typeface="Verdana"/>
              <a:cs typeface="Verdana"/>
            </a:endParaRPr>
          </a:p>
          <a:p>
            <a:pPr marL="12700">
              <a:lnSpc>
                <a:spcPct val="100000"/>
              </a:lnSpc>
              <a:spcBef>
                <a:spcPts val="1395"/>
              </a:spcBef>
            </a:pPr>
            <a:r>
              <a:rPr sz="1600" spc="100">
                <a:latin typeface="Verdana"/>
                <a:cs typeface="Verdana"/>
              </a:rPr>
              <a:t>08</a:t>
            </a:r>
            <a:r>
              <a:rPr sz="1600" spc="-355">
                <a:latin typeface="Verdana"/>
                <a:cs typeface="Verdana"/>
              </a:rPr>
              <a:t> </a:t>
            </a:r>
            <a:endParaRPr sz="1600">
              <a:latin typeface="Verdana"/>
              <a:cs typeface="Verdana"/>
            </a:endParaRPr>
          </a:p>
        </p:txBody>
      </p:sp>
      <p:sp>
        <p:nvSpPr>
          <p:cNvPr id="15" name="object 15"/>
          <p:cNvSpPr/>
          <p:nvPr/>
        </p:nvSpPr>
        <p:spPr>
          <a:xfrm>
            <a:off x="7988045" y="4342638"/>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16" name="object 16"/>
          <p:cNvSpPr txBox="1"/>
          <p:nvPr/>
        </p:nvSpPr>
        <p:spPr>
          <a:xfrm>
            <a:off x="7990713" y="4060063"/>
            <a:ext cx="336550" cy="269240"/>
          </a:xfrm>
          <a:prstGeom prst="rect">
            <a:avLst/>
          </a:prstGeom>
        </p:spPr>
        <p:txBody>
          <a:bodyPr vert="horz" wrap="square" lIns="0" tIns="12065" rIns="0" bIns="0" rtlCol="0">
            <a:spAutoFit/>
          </a:bodyPr>
          <a:lstStyle/>
          <a:p>
            <a:pPr marL="12700">
              <a:lnSpc>
                <a:spcPct val="100000"/>
              </a:lnSpc>
              <a:spcBef>
                <a:spcPts val="95"/>
              </a:spcBef>
            </a:pPr>
            <a:r>
              <a:rPr sz="1600" spc="100">
                <a:latin typeface="Verdana"/>
                <a:cs typeface="Verdana"/>
              </a:rPr>
              <a:t>09</a:t>
            </a:r>
            <a:r>
              <a:rPr sz="1600" spc="-355">
                <a:latin typeface="Verdana"/>
                <a:cs typeface="Verdana"/>
              </a:rPr>
              <a:t> </a:t>
            </a:r>
            <a:endParaRPr sz="1600">
              <a:latin typeface="Verdana"/>
              <a:cs typeface="Verdana"/>
            </a:endParaRPr>
          </a:p>
        </p:txBody>
      </p:sp>
      <p:sp>
        <p:nvSpPr>
          <p:cNvPr id="17" name="object 17"/>
          <p:cNvSpPr/>
          <p:nvPr/>
        </p:nvSpPr>
        <p:spPr>
          <a:xfrm>
            <a:off x="7988045" y="4763261"/>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18" name="object 18"/>
          <p:cNvSpPr txBox="1"/>
          <p:nvPr/>
        </p:nvSpPr>
        <p:spPr>
          <a:xfrm>
            <a:off x="7990713" y="4480940"/>
            <a:ext cx="336550" cy="269240"/>
          </a:xfrm>
          <a:prstGeom prst="rect">
            <a:avLst/>
          </a:prstGeom>
        </p:spPr>
        <p:txBody>
          <a:bodyPr vert="horz" wrap="square" lIns="0" tIns="12065" rIns="0" bIns="0" rtlCol="0">
            <a:spAutoFit/>
          </a:bodyPr>
          <a:lstStyle/>
          <a:p>
            <a:pPr marL="12700">
              <a:lnSpc>
                <a:spcPct val="100000"/>
              </a:lnSpc>
              <a:spcBef>
                <a:spcPts val="95"/>
              </a:spcBef>
            </a:pPr>
            <a:r>
              <a:rPr sz="1600" spc="100">
                <a:latin typeface="Verdana"/>
                <a:cs typeface="Verdana"/>
              </a:rPr>
              <a:t>10</a:t>
            </a:r>
            <a:r>
              <a:rPr sz="1600" spc="-355">
                <a:latin typeface="Verdana"/>
                <a:cs typeface="Verdana"/>
              </a:rPr>
              <a:t> </a:t>
            </a:r>
            <a:endParaRPr sz="1600">
              <a:latin typeface="Verdana"/>
              <a:cs typeface="Verdana"/>
            </a:endParaRPr>
          </a:p>
        </p:txBody>
      </p:sp>
      <p:sp>
        <p:nvSpPr>
          <p:cNvPr id="19" name="object 19"/>
          <p:cNvSpPr/>
          <p:nvPr/>
        </p:nvSpPr>
        <p:spPr>
          <a:xfrm>
            <a:off x="7988045" y="5168646"/>
            <a:ext cx="341630" cy="0"/>
          </a:xfrm>
          <a:custGeom>
            <a:avLst/>
            <a:gdLst/>
            <a:ahLst/>
            <a:cxnLst/>
            <a:rect l="l" t="t" r="r" b="b"/>
            <a:pathLst>
              <a:path w="341629">
                <a:moveTo>
                  <a:pt x="0" y="0"/>
                </a:moveTo>
                <a:lnTo>
                  <a:pt x="341502" y="0"/>
                </a:lnTo>
              </a:path>
            </a:pathLst>
          </a:custGeom>
          <a:ln w="28956">
            <a:solidFill>
              <a:srgbClr val="12ABDB"/>
            </a:solidFill>
          </a:ln>
        </p:spPr>
        <p:txBody>
          <a:bodyPr wrap="square" lIns="0" tIns="0" rIns="0" bIns="0" rtlCol="0"/>
          <a:lstStyle/>
          <a:p>
            <a:endParaRPr/>
          </a:p>
        </p:txBody>
      </p:sp>
      <p:sp>
        <p:nvSpPr>
          <p:cNvPr id="20" name="object 20"/>
          <p:cNvSpPr txBox="1"/>
          <p:nvPr/>
        </p:nvSpPr>
        <p:spPr>
          <a:xfrm>
            <a:off x="7990713" y="4886071"/>
            <a:ext cx="336550" cy="269240"/>
          </a:xfrm>
          <a:prstGeom prst="rect">
            <a:avLst/>
          </a:prstGeom>
        </p:spPr>
        <p:txBody>
          <a:bodyPr vert="horz" wrap="square" lIns="0" tIns="12065" rIns="0" bIns="0" rtlCol="0">
            <a:spAutoFit/>
          </a:bodyPr>
          <a:lstStyle/>
          <a:p>
            <a:pPr marL="12700">
              <a:lnSpc>
                <a:spcPct val="100000"/>
              </a:lnSpc>
              <a:spcBef>
                <a:spcPts val="95"/>
              </a:spcBef>
            </a:pPr>
            <a:r>
              <a:rPr sz="1600" spc="100">
                <a:latin typeface="Verdana"/>
                <a:cs typeface="Verdana"/>
              </a:rPr>
              <a:t>11</a:t>
            </a:r>
            <a:r>
              <a:rPr sz="1600" spc="-355">
                <a:latin typeface="Verdana"/>
                <a:cs typeface="Verdana"/>
              </a:rPr>
              <a:t> </a:t>
            </a:r>
            <a:endParaRPr sz="1600">
              <a:latin typeface="Verdana"/>
              <a:cs typeface="Verdana"/>
            </a:endParaRPr>
          </a:p>
        </p:txBody>
      </p:sp>
      <p:sp>
        <p:nvSpPr>
          <p:cNvPr id="21" name="object 21"/>
          <p:cNvSpPr/>
          <p:nvPr/>
        </p:nvSpPr>
        <p:spPr>
          <a:xfrm>
            <a:off x="11457431" y="684276"/>
            <a:ext cx="288290" cy="288290"/>
          </a:xfrm>
          <a:custGeom>
            <a:avLst/>
            <a:gdLst/>
            <a:ahLst/>
            <a:cxnLst/>
            <a:rect l="l" t="t" r="r" b="b"/>
            <a:pathLst>
              <a:path w="288290" h="288290">
                <a:moveTo>
                  <a:pt x="144018" y="0"/>
                </a:moveTo>
                <a:lnTo>
                  <a:pt x="98511" y="7345"/>
                </a:lnTo>
                <a:lnTo>
                  <a:pt x="58978" y="27797"/>
                </a:lnTo>
                <a:lnTo>
                  <a:pt x="27797" y="58978"/>
                </a:lnTo>
                <a:lnTo>
                  <a:pt x="7345" y="98511"/>
                </a:lnTo>
                <a:lnTo>
                  <a:pt x="0" y="144018"/>
                </a:lnTo>
                <a:lnTo>
                  <a:pt x="7345" y="189524"/>
                </a:lnTo>
                <a:lnTo>
                  <a:pt x="27797" y="229057"/>
                </a:lnTo>
                <a:lnTo>
                  <a:pt x="58978" y="260238"/>
                </a:lnTo>
                <a:lnTo>
                  <a:pt x="98511" y="280690"/>
                </a:lnTo>
                <a:lnTo>
                  <a:pt x="144018" y="288036"/>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22" name="object 22"/>
          <p:cNvSpPr/>
          <p:nvPr/>
        </p:nvSpPr>
        <p:spPr>
          <a:xfrm>
            <a:off x="11529059" y="771144"/>
            <a:ext cx="146304" cy="112775"/>
          </a:xfrm>
          <a:prstGeom prst="rect">
            <a:avLst/>
          </a:prstGeom>
          <a:blipFill>
            <a:blip r:embed="rId3" cstate="print"/>
            <a:stretch>
              <a:fillRect/>
            </a:stretch>
          </a:blipFill>
        </p:spPr>
        <p:txBody>
          <a:bodyPr wrap="square" lIns="0" tIns="0" rIns="0" bIns="0" rtlCol="0"/>
          <a:lstStyle/>
          <a:p>
            <a:endParaRPr/>
          </a:p>
        </p:txBody>
      </p:sp>
      <p:sp>
        <p:nvSpPr>
          <p:cNvPr id="23" name="object 23"/>
          <p:cNvSpPr/>
          <p:nvPr/>
        </p:nvSpPr>
        <p:spPr>
          <a:xfrm>
            <a:off x="11457431" y="1104900"/>
            <a:ext cx="288290" cy="288290"/>
          </a:xfrm>
          <a:custGeom>
            <a:avLst/>
            <a:gdLst/>
            <a:ahLst/>
            <a:cxnLst/>
            <a:rect l="l" t="t" r="r" b="b"/>
            <a:pathLst>
              <a:path w="288290" h="288290">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6"/>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24" name="object 24"/>
          <p:cNvSpPr/>
          <p:nvPr/>
        </p:nvSpPr>
        <p:spPr>
          <a:xfrm>
            <a:off x="11529059" y="1191767"/>
            <a:ext cx="146304" cy="112776"/>
          </a:xfrm>
          <a:prstGeom prst="rect">
            <a:avLst/>
          </a:prstGeom>
          <a:blipFill>
            <a:blip r:embed="rId4" cstate="print"/>
            <a:stretch>
              <a:fillRect/>
            </a:stretch>
          </a:blipFill>
        </p:spPr>
        <p:txBody>
          <a:bodyPr wrap="square" lIns="0" tIns="0" rIns="0" bIns="0" rtlCol="0"/>
          <a:lstStyle/>
          <a:p>
            <a:endParaRPr/>
          </a:p>
        </p:txBody>
      </p:sp>
      <p:sp>
        <p:nvSpPr>
          <p:cNvPr id="25" name="object 25"/>
          <p:cNvSpPr/>
          <p:nvPr/>
        </p:nvSpPr>
        <p:spPr>
          <a:xfrm>
            <a:off x="11457431" y="1525524"/>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6"/>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26" name="object 26"/>
          <p:cNvSpPr/>
          <p:nvPr/>
        </p:nvSpPr>
        <p:spPr>
          <a:xfrm>
            <a:off x="11529059" y="1613916"/>
            <a:ext cx="146304" cy="112775"/>
          </a:xfrm>
          <a:prstGeom prst="rect">
            <a:avLst/>
          </a:prstGeom>
          <a:blipFill>
            <a:blip r:embed="rId5" cstate="print"/>
            <a:stretch>
              <a:fillRect/>
            </a:stretch>
          </a:blipFill>
        </p:spPr>
        <p:txBody>
          <a:bodyPr wrap="square" lIns="0" tIns="0" rIns="0" bIns="0" rtlCol="0"/>
          <a:lstStyle/>
          <a:p>
            <a:endParaRPr/>
          </a:p>
        </p:txBody>
      </p:sp>
      <p:sp>
        <p:nvSpPr>
          <p:cNvPr id="27" name="object 27"/>
          <p:cNvSpPr/>
          <p:nvPr/>
        </p:nvSpPr>
        <p:spPr>
          <a:xfrm>
            <a:off x="11457431" y="1946148"/>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6"/>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28" name="object 28"/>
          <p:cNvSpPr/>
          <p:nvPr/>
        </p:nvSpPr>
        <p:spPr>
          <a:xfrm>
            <a:off x="11529059" y="2034539"/>
            <a:ext cx="146304" cy="112775"/>
          </a:xfrm>
          <a:prstGeom prst="rect">
            <a:avLst/>
          </a:prstGeom>
          <a:blipFill>
            <a:blip r:embed="rId6" cstate="print"/>
            <a:stretch>
              <a:fillRect/>
            </a:stretch>
          </a:blipFill>
        </p:spPr>
        <p:txBody>
          <a:bodyPr wrap="square" lIns="0" tIns="0" rIns="0" bIns="0" rtlCol="0"/>
          <a:lstStyle/>
          <a:p>
            <a:endParaRPr/>
          </a:p>
        </p:txBody>
      </p:sp>
      <p:sp>
        <p:nvSpPr>
          <p:cNvPr id="29" name="object 29"/>
          <p:cNvSpPr/>
          <p:nvPr/>
        </p:nvSpPr>
        <p:spPr>
          <a:xfrm>
            <a:off x="11457431" y="2366772"/>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6"/>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30" name="object 30"/>
          <p:cNvSpPr/>
          <p:nvPr/>
        </p:nvSpPr>
        <p:spPr>
          <a:xfrm>
            <a:off x="11529059" y="2455164"/>
            <a:ext cx="146304" cy="112775"/>
          </a:xfrm>
          <a:prstGeom prst="rect">
            <a:avLst/>
          </a:prstGeom>
          <a:blipFill>
            <a:blip r:embed="rId7" cstate="print"/>
            <a:stretch>
              <a:fillRect/>
            </a:stretch>
          </a:blipFill>
        </p:spPr>
        <p:txBody>
          <a:bodyPr wrap="square" lIns="0" tIns="0" rIns="0" bIns="0" rtlCol="0"/>
          <a:lstStyle/>
          <a:p>
            <a:endParaRPr/>
          </a:p>
        </p:txBody>
      </p:sp>
      <p:sp>
        <p:nvSpPr>
          <p:cNvPr id="31" name="object 31"/>
          <p:cNvSpPr/>
          <p:nvPr/>
        </p:nvSpPr>
        <p:spPr>
          <a:xfrm>
            <a:off x="11457431" y="2788920"/>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5"/>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32" name="object 32"/>
          <p:cNvSpPr/>
          <p:nvPr/>
        </p:nvSpPr>
        <p:spPr>
          <a:xfrm>
            <a:off x="11529059" y="2875788"/>
            <a:ext cx="146304" cy="112775"/>
          </a:xfrm>
          <a:prstGeom prst="rect">
            <a:avLst/>
          </a:prstGeom>
          <a:blipFill>
            <a:blip r:embed="rId3" cstate="print"/>
            <a:stretch>
              <a:fillRect/>
            </a:stretch>
          </a:blipFill>
        </p:spPr>
        <p:txBody>
          <a:bodyPr wrap="square" lIns="0" tIns="0" rIns="0" bIns="0" rtlCol="0"/>
          <a:lstStyle/>
          <a:p>
            <a:endParaRPr/>
          </a:p>
        </p:txBody>
      </p:sp>
      <p:sp>
        <p:nvSpPr>
          <p:cNvPr id="33" name="object 33"/>
          <p:cNvSpPr/>
          <p:nvPr/>
        </p:nvSpPr>
        <p:spPr>
          <a:xfrm>
            <a:off x="11457431" y="3209544"/>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5"/>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34" name="object 34"/>
          <p:cNvSpPr/>
          <p:nvPr/>
        </p:nvSpPr>
        <p:spPr>
          <a:xfrm>
            <a:off x="11529059" y="3296411"/>
            <a:ext cx="146304" cy="112775"/>
          </a:xfrm>
          <a:prstGeom prst="rect">
            <a:avLst/>
          </a:prstGeom>
          <a:blipFill>
            <a:blip r:embed="rId4" cstate="print"/>
            <a:stretch>
              <a:fillRect/>
            </a:stretch>
          </a:blipFill>
        </p:spPr>
        <p:txBody>
          <a:bodyPr wrap="square" lIns="0" tIns="0" rIns="0" bIns="0" rtlCol="0"/>
          <a:lstStyle/>
          <a:p>
            <a:endParaRPr/>
          </a:p>
        </p:txBody>
      </p:sp>
      <p:sp>
        <p:nvSpPr>
          <p:cNvPr id="35" name="object 35"/>
          <p:cNvSpPr/>
          <p:nvPr/>
        </p:nvSpPr>
        <p:spPr>
          <a:xfrm>
            <a:off x="11457431" y="3630167"/>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5"/>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36" name="object 36"/>
          <p:cNvSpPr/>
          <p:nvPr/>
        </p:nvSpPr>
        <p:spPr>
          <a:xfrm>
            <a:off x="11529059" y="3717035"/>
            <a:ext cx="146304" cy="114300"/>
          </a:xfrm>
          <a:prstGeom prst="rect">
            <a:avLst/>
          </a:prstGeom>
          <a:blipFill>
            <a:blip r:embed="rId8" cstate="print"/>
            <a:stretch>
              <a:fillRect/>
            </a:stretch>
          </a:blipFill>
        </p:spPr>
        <p:txBody>
          <a:bodyPr wrap="square" lIns="0" tIns="0" rIns="0" bIns="0" rtlCol="0"/>
          <a:lstStyle/>
          <a:p>
            <a:endParaRPr/>
          </a:p>
        </p:txBody>
      </p:sp>
      <p:sp>
        <p:nvSpPr>
          <p:cNvPr id="37" name="object 37"/>
          <p:cNvSpPr/>
          <p:nvPr/>
        </p:nvSpPr>
        <p:spPr>
          <a:xfrm>
            <a:off x="11457431" y="4050791"/>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5"/>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38" name="object 38"/>
          <p:cNvSpPr/>
          <p:nvPr/>
        </p:nvSpPr>
        <p:spPr>
          <a:xfrm>
            <a:off x="11529059" y="4139184"/>
            <a:ext cx="146304" cy="112776"/>
          </a:xfrm>
          <a:prstGeom prst="rect">
            <a:avLst/>
          </a:prstGeom>
          <a:blipFill>
            <a:blip r:embed="rId5" cstate="print"/>
            <a:stretch>
              <a:fillRect/>
            </a:stretch>
          </a:blipFill>
        </p:spPr>
        <p:txBody>
          <a:bodyPr wrap="square" lIns="0" tIns="0" rIns="0" bIns="0" rtlCol="0"/>
          <a:lstStyle/>
          <a:p>
            <a:endParaRPr/>
          </a:p>
        </p:txBody>
      </p:sp>
      <p:sp>
        <p:nvSpPr>
          <p:cNvPr id="39" name="object 39"/>
          <p:cNvSpPr/>
          <p:nvPr/>
        </p:nvSpPr>
        <p:spPr>
          <a:xfrm>
            <a:off x="11457431" y="4471415"/>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7"/>
                </a:lnTo>
                <a:lnTo>
                  <a:pt x="7345" y="189524"/>
                </a:lnTo>
                <a:lnTo>
                  <a:pt x="27797" y="229057"/>
                </a:lnTo>
                <a:lnTo>
                  <a:pt x="58978" y="260238"/>
                </a:lnTo>
                <a:lnTo>
                  <a:pt x="98511" y="280690"/>
                </a:lnTo>
                <a:lnTo>
                  <a:pt x="144018" y="288035"/>
                </a:lnTo>
                <a:lnTo>
                  <a:pt x="189524" y="280690"/>
                </a:lnTo>
                <a:lnTo>
                  <a:pt x="229057" y="260238"/>
                </a:lnTo>
                <a:lnTo>
                  <a:pt x="260238" y="229057"/>
                </a:lnTo>
                <a:lnTo>
                  <a:pt x="280690" y="189524"/>
                </a:lnTo>
                <a:lnTo>
                  <a:pt x="288036" y="144017"/>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40" name="object 40"/>
          <p:cNvSpPr/>
          <p:nvPr/>
        </p:nvSpPr>
        <p:spPr>
          <a:xfrm>
            <a:off x="11529059" y="4559808"/>
            <a:ext cx="146304" cy="112775"/>
          </a:xfrm>
          <a:prstGeom prst="rect">
            <a:avLst/>
          </a:prstGeom>
          <a:blipFill>
            <a:blip r:embed="rId6" cstate="print"/>
            <a:stretch>
              <a:fillRect/>
            </a:stretch>
          </a:blipFill>
        </p:spPr>
        <p:txBody>
          <a:bodyPr wrap="square" lIns="0" tIns="0" rIns="0" bIns="0" rtlCol="0"/>
          <a:lstStyle/>
          <a:p>
            <a:endParaRPr/>
          </a:p>
        </p:txBody>
      </p:sp>
      <p:sp>
        <p:nvSpPr>
          <p:cNvPr id="41" name="object 41"/>
          <p:cNvSpPr/>
          <p:nvPr/>
        </p:nvSpPr>
        <p:spPr>
          <a:xfrm>
            <a:off x="11457431" y="4876800"/>
            <a:ext cx="288290" cy="288290"/>
          </a:xfrm>
          <a:custGeom>
            <a:avLst/>
            <a:gdLst/>
            <a:ahLst/>
            <a:cxnLst/>
            <a:rect l="l" t="t" r="r" b="b"/>
            <a:pathLst>
              <a:path w="288290" h="288289">
                <a:moveTo>
                  <a:pt x="144018" y="0"/>
                </a:moveTo>
                <a:lnTo>
                  <a:pt x="98511" y="7345"/>
                </a:lnTo>
                <a:lnTo>
                  <a:pt x="58978" y="27797"/>
                </a:lnTo>
                <a:lnTo>
                  <a:pt x="27797" y="58978"/>
                </a:lnTo>
                <a:lnTo>
                  <a:pt x="7345" y="98511"/>
                </a:lnTo>
                <a:lnTo>
                  <a:pt x="0" y="144018"/>
                </a:lnTo>
                <a:lnTo>
                  <a:pt x="7345" y="189524"/>
                </a:lnTo>
                <a:lnTo>
                  <a:pt x="27797" y="229057"/>
                </a:lnTo>
                <a:lnTo>
                  <a:pt x="58978" y="260238"/>
                </a:lnTo>
                <a:lnTo>
                  <a:pt x="98511" y="280690"/>
                </a:lnTo>
                <a:lnTo>
                  <a:pt x="144018" y="288036"/>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421F5D"/>
          </a:solidFill>
        </p:spPr>
        <p:txBody>
          <a:bodyPr wrap="square" lIns="0" tIns="0" rIns="0" bIns="0" rtlCol="0"/>
          <a:lstStyle/>
          <a:p>
            <a:endParaRPr/>
          </a:p>
        </p:txBody>
      </p:sp>
      <p:sp>
        <p:nvSpPr>
          <p:cNvPr id="42" name="object 42"/>
          <p:cNvSpPr/>
          <p:nvPr/>
        </p:nvSpPr>
        <p:spPr>
          <a:xfrm>
            <a:off x="11529059" y="4965191"/>
            <a:ext cx="146304" cy="112775"/>
          </a:xfrm>
          <a:prstGeom prst="rect">
            <a:avLst/>
          </a:prstGeom>
          <a:blipFill>
            <a:blip r:embed="rId9" cstate="print"/>
            <a:stretch>
              <a:fillRect/>
            </a:stretch>
          </a:blipFill>
        </p:spPr>
        <p:txBody>
          <a:bodyPr wrap="square" lIns="0" tIns="0" rIns="0" bIns="0" rtlCol="0"/>
          <a:lstStyle/>
          <a:p>
            <a:endParaRPr/>
          </a:p>
        </p:txBody>
      </p:sp>
      <p:sp>
        <p:nvSpPr>
          <p:cNvPr id="43" name="object 43"/>
          <p:cNvSpPr/>
          <p:nvPr/>
        </p:nvSpPr>
        <p:spPr>
          <a:xfrm>
            <a:off x="7820406" y="681227"/>
            <a:ext cx="0" cy="5821680"/>
          </a:xfrm>
          <a:custGeom>
            <a:avLst/>
            <a:gdLst/>
            <a:ahLst/>
            <a:cxnLst/>
            <a:rect l="l" t="t" r="r" b="b"/>
            <a:pathLst>
              <a:path h="5821680">
                <a:moveTo>
                  <a:pt x="0" y="0"/>
                </a:moveTo>
                <a:lnTo>
                  <a:pt x="0" y="5821680"/>
                </a:lnTo>
              </a:path>
            </a:pathLst>
          </a:custGeom>
          <a:ln w="44196">
            <a:solidFill>
              <a:srgbClr val="006FAC"/>
            </a:solidFill>
          </a:ln>
        </p:spPr>
        <p:txBody>
          <a:bodyPr wrap="square" lIns="0" tIns="0" rIns="0" bIns="0" rtlCol="0"/>
          <a:lstStyle/>
          <a:p>
            <a:endParaRPr/>
          </a:p>
        </p:txBody>
      </p:sp>
      <p:sp>
        <p:nvSpPr>
          <p:cNvPr id="44" name="object 44"/>
          <p:cNvSpPr txBox="1">
            <a:spLocks noGrp="1"/>
          </p:cNvSpPr>
          <p:nvPr>
            <p:ph type="title"/>
          </p:nvPr>
        </p:nvSpPr>
        <p:spPr>
          <a:xfrm>
            <a:off x="214680" y="318896"/>
            <a:ext cx="1506855" cy="422275"/>
          </a:xfrm>
          <a:prstGeom prst="rect">
            <a:avLst/>
          </a:prstGeom>
        </p:spPr>
        <p:txBody>
          <a:bodyPr vert="horz" wrap="square" lIns="0" tIns="12700" rIns="0" bIns="0" rtlCol="0">
            <a:spAutoFit/>
          </a:bodyPr>
          <a:lstStyle/>
          <a:p>
            <a:pPr marL="12700">
              <a:lnSpc>
                <a:spcPct val="100000"/>
              </a:lnSpc>
              <a:spcBef>
                <a:spcPts val="100"/>
              </a:spcBef>
            </a:pPr>
            <a:r>
              <a:rPr sz="2600" spc="-5"/>
              <a:t>C</a:t>
            </a:r>
            <a:r>
              <a:rPr sz="2600" spc="5"/>
              <a:t>o</a:t>
            </a:r>
            <a:r>
              <a:rPr sz="2600"/>
              <a:t>ntents</a:t>
            </a:r>
          </a:p>
        </p:txBody>
      </p:sp>
      <p:sp>
        <p:nvSpPr>
          <p:cNvPr id="45" name="object 45"/>
          <p:cNvSpPr/>
          <p:nvPr/>
        </p:nvSpPr>
        <p:spPr>
          <a:xfrm>
            <a:off x="0" y="693783"/>
            <a:ext cx="7155180" cy="6195060"/>
          </a:xfrm>
          <a:custGeom>
            <a:avLst/>
            <a:gdLst/>
            <a:ahLst/>
            <a:cxnLst/>
            <a:rect l="l" t="t" r="r" b="b"/>
            <a:pathLst>
              <a:path w="7155180" h="6195059">
                <a:moveTo>
                  <a:pt x="2911620" y="0"/>
                </a:moveTo>
                <a:lnTo>
                  <a:pt x="2657049" y="2307"/>
                </a:lnTo>
                <a:lnTo>
                  <a:pt x="2397835" y="9075"/>
                </a:lnTo>
                <a:lnTo>
                  <a:pt x="2139659" y="20433"/>
                </a:lnTo>
                <a:lnTo>
                  <a:pt x="1882729" y="36462"/>
                </a:lnTo>
                <a:lnTo>
                  <a:pt x="1627250" y="57243"/>
                </a:lnTo>
                <a:lnTo>
                  <a:pt x="1373430" y="82857"/>
                </a:lnTo>
                <a:lnTo>
                  <a:pt x="1171708" y="106882"/>
                </a:lnTo>
                <a:lnTo>
                  <a:pt x="971285" y="134093"/>
                </a:lnTo>
                <a:lnTo>
                  <a:pt x="772269" y="164531"/>
                </a:lnTo>
                <a:lnTo>
                  <a:pt x="574764" y="198238"/>
                </a:lnTo>
                <a:lnTo>
                  <a:pt x="378877" y="235255"/>
                </a:lnTo>
                <a:lnTo>
                  <a:pt x="184713" y="275623"/>
                </a:lnTo>
                <a:lnTo>
                  <a:pt x="0" y="317592"/>
                </a:lnTo>
                <a:lnTo>
                  <a:pt x="0" y="6195036"/>
                </a:lnTo>
                <a:lnTo>
                  <a:pt x="7155179" y="6195036"/>
                </a:lnTo>
                <a:lnTo>
                  <a:pt x="7133917" y="6123747"/>
                </a:lnTo>
                <a:lnTo>
                  <a:pt x="7118176" y="6074178"/>
                </a:lnTo>
                <a:lnTo>
                  <a:pt x="7101994" y="6024665"/>
                </a:lnTo>
                <a:lnTo>
                  <a:pt x="7085378" y="5975208"/>
                </a:lnTo>
                <a:lnTo>
                  <a:pt x="7068334" y="5925809"/>
                </a:lnTo>
                <a:lnTo>
                  <a:pt x="7050870" y="5876467"/>
                </a:lnTo>
                <a:lnTo>
                  <a:pt x="7032993" y="5827185"/>
                </a:lnTo>
                <a:lnTo>
                  <a:pt x="7014710" y="5777962"/>
                </a:lnTo>
                <a:lnTo>
                  <a:pt x="6996026" y="5728800"/>
                </a:lnTo>
                <a:lnTo>
                  <a:pt x="6976951" y="5679699"/>
                </a:lnTo>
                <a:lnTo>
                  <a:pt x="6957489" y="5630660"/>
                </a:lnTo>
                <a:lnTo>
                  <a:pt x="6937649" y="5581684"/>
                </a:lnTo>
                <a:lnTo>
                  <a:pt x="6917437" y="5532772"/>
                </a:lnTo>
                <a:lnTo>
                  <a:pt x="6896860" y="5483924"/>
                </a:lnTo>
                <a:lnTo>
                  <a:pt x="6875925" y="5435142"/>
                </a:lnTo>
                <a:lnTo>
                  <a:pt x="6854639" y="5386426"/>
                </a:lnTo>
                <a:lnTo>
                  <a:pt x="6833009" y="5337777"/>
                </a:lnTo>
                <a:lnTo>
                  <a:pt x="6811042" y="5289196"/>
                </a:lnTo>
                <a:lnTo>
                  <a:pt x="6788744" y="5240683"/>
                </a:lnTo>
                <a:lnTo>
                  <a:pt x="6766123" y="5192240"/>
                </a:lnTo>
                <a:lnTo>
                  <a:pt x="6743186" y="5143867"/>
                </a:lnTo>
                <a:lnTo>
                  <a:pt x="6719939" y="5095565"/>
                </a:lnTo>
                <a:lnTo>
                  <a:pt x="6696389" y="5047335"/>
                </a:lnTo>
                <a:lnTo>
                  <a:pt x="6672544" y="4999178"/>
                </a:lnTo>
                <a:lnTo>
                  <a:pt x="6648410" y="4951094"/>
                </a:lnTo>
                <a:lnTo>
                  <a:pt x="6623994" y="4903084"/>
                </a:lnTo>
                <a:lnTo>
                  <a:pt x="6599303" y="4855150"/>
                </a:lnTo>
                <a:lnTo>
                  <a:pt x="6574345" y="4807291"/>
                </a:lnTo>
                <a:lnTo>
                  <a:pt x="6549125" y="4759509"/>
                </a:lnTo>
                <a:lnTo>
                  <a:pt x="6523651" y="4711804"/>
                </a:lnTo>
                <a:lnTo>
                  <a:pt x="6497930" y="4664178"/>
                </a:lnTo>
                <a:lnTo>
                  <a:pt x="6471969" y="4616631"/>
                </a:lnTo>
                <a:lnTo>
                  <a:pt x="6445774" y="4569164"/>
                </a:lnTo>
                <a:lnTo>
                  <a:pt x="6419353" y="4521778"/>
                </a:lnTo>
                <a:lnTo>
                  <a:pt x="6392712" y="4474473"/>
                </a:lnTo>
                <a:lnTo>
                  <a:pt x="6365859" y="4427250"/>
                </a:lnTo>
                <a:lnTo>
                  <a:pt x="6338800" y="4380111"/>
                </a:lnTo>
                <a:lnTo>
                  <a:pt x="6311542" y="4333056"/>
                </a:lnTo>
                <a:lnTo>
                  <a:pt x="6284093" y="4286085"/>
                </a:lnTo>
                <a:lnTo>
                  <a:pt x="6256458" y="4239200"/>
                </a:lnTo>
                <a:lnTo>
                  <a:pt x="6228646" y="4192402"/>
                </a:lnTo>
                <a:lnTo>
                  <a:pt x="6200662" y="4145690"/>
                </a:lnTo>
                <a:lnTo>
                  <a:pt x="6172515" y="4099067"/>
                </a:lnTo>
                <a:lnTo>
                  <a:pt x="6144210" y="4052533"/>
                </a:lnTo>
                <a:lnTo>
                  <a:pt x="6115755" y="4006088"/>
                </a:lnTo>
                <a:lnTo>
                  <a:pt x="6087157" y="3959733"/>
                </a:lnTo>
                <a:lnTo>
                  <a:pt x="6058422" y="3913470"/>
                </a:lnTo>
                <a:lnTo>
                  <a:pt x="6000571" y="3821221"/>
                </a:lnTo>
                <a:lnTo>
                  <a:pt x="5942257" y="3729347"/>
                </a:lnTo>
                <a:lnTo>
                  <a:pt x="5883535" y="3637854"/>
                </a:lnTo>
                <a:lnTo>
                  <a:pt x="5824462" y="3546748"/>
                </a:lnTo>
                <a:lnTo>
                  <a:pt x="5735314" y="3410831"/>
                </a:lnTo>
                <a:lnTo>
                  <a:pt x="5645686" y="3275822"/>
                </a:lnTo>
                <a:lnTo>
                  <a:pt x="5525757" y="3097263"/>
                </a:lnTo>
                <a:lnTo>
                  <a:pt x="4876634" y="2147068"/>
                </a:lnTo>
                <a:lnTo>
                  <a:pt x="4764118" y="1980523"/>
                </a:lnTo>
                <a:lnTo>
                  <a:pt x="4681545" y="1856952"/>
                </a:lnTo>
                <a:lnTo>
                  <a:pt x="4627464" y="1775221"/>
                </a:lnTo>
                <a:lnTo>
                  <a:pt x="4574223" y="1694016"/>
                </a:lnTo>
                <a:lnTo>
                  <a:pt x="4521876" y="1613345"/>
                </a:lnTo>
                <a:lnTo>
                  <a:pt x="4470478" y="1533214"/>
                </a:lnTo>
                <a:lnTo>
                  <a:pt x="4445153" y="1493352"/>
                </a:lnTo>
                <a:lnTo>
                  <a:pt x="4420086" y="1453628"/>
                </a:lnTo>
                <a:lnTo>
                  <a:pt x="4395284" y="1414043"/>
                </a:lnTo>
                <a:lnTo>
                  <a:pt x="4370754" y="1374596"/>
                </a:lnTo>
                <a:lnTo>
                  <a:pt x="4346503" y="1335289"/>
                </a:lnTo>
                <a:lnTo>
                  <a:pt x="4322538" y="1296123"/>
                </a:lnTo>
                <a:lnTo>
                  <a:pt x="4298865" y="1257098"/>
                </a:lnTo>
                <a:lnTo>
                  <a:pt x="4275493" y="1218215"/>
                </a:lnTo>
                <a:lnTo>
                  <a:pt x="4252427" y="1179475"/>
                </a:lnTo>
                <a:lnTo>
                  <a:pt x="4229675" y="1140879"/>
                </a:lnTo>
                <a:lnTo>
                  <a:pt x="4207243" y="1102428"/>
                </a:lnTo>
                <a:lnTo>
                  <a:pt x="4185139" y="1064123"/>
                </a:lnTo>
                <a:lnTo>
                  <a:pt x="4163369" y="1025963"/>
                </a:lnTo>
                <a:lnTo>
                  <a:pt x="4141940" y="987951"/>
                </a:lnTo>
                <a:lnTo>
                  <a:pt x="4120860" y="950086"/>
                </a:lnTo>
                <a:lnTo>
                  <a:pt x="4100135" y="912371"/>
                </a:lnTo>
                <a:lnTo>
                  <a:pt x="4079771" y="874805"/>
                </a:lnTo>
                <a:lnTo>
                  <a:pt x="4059777" y="837389"/>
                </a:lnTo>
                <a:lnTo>
                  <a:pt x="4040159" y="800124"/>
                </a:lnTo>
                <a:lnTo>
                  <a:pt x="4020923" y="763011"/>
                </a:lnTo>
                <a:lnTo>
                  <a:pt x="4002077" y="726051"/>
                </a:lnTo>
                <a:lnTo>
                  <a:pt x="3983628" y="689244"/>
                </a:lnTo>
                <a:lnTo>
                  <a:pt x="3965583" y="652592"/>
                </a:lnTo>
                <a:lnTo>
                  <a:pt x="3947948" y="616095"/>
                </a:lnTo>
                <a:lnTo>
                  <a:pt x="3930730" y="579754"/>
                </a:lnTo>
                <a:lnTo>
                  <a:pt x="3913937" y="543570"/>
                </a:lnTo>
                <a:lnTo>
                  <a:pt x="3897575" y="507543"/>
                </a:lnTo>
                <a:lnTo>
                  <a:pt x="3881651" y="471675"/>
                </a:lnTo>
                <a:lnTo>
                  <a:pt x="3866173" y="435966"/>
                </a:lnTo>
                <a:lnTo>
                  <a:pt x="3851146" y="400417"/>
                </a:lnTo>
                <a:lnTo>
                  <a:pt x="3836579" y="365029"/>
                </a:lnTo>
                <a:lnTo>
                  <a:pt x="3808848" y="294738"/>
                </a:lnTo>
                <a:lnTo>
                  <a:pt x="3783037" y="225101"/>
                </a:lnTo>
                <a:lnTo>
                  <a:pt x="3759200" y="156123"/>
                </a:lnTo>
                <a:lnTo>
                  <a:pt x="3737393" y="87811"/>
                </a:lnTo>
                <a:lnTo>
                  <a:pt x="3717671" y="20171"/>
                </a:lnTo>
                <a:lnTo>
                  <a:pt x="3415098" y="7813"/>
                </a:lnTo>
                <a:lnTo>
                  <a:pt x="3112810" y="1170"/>
                </a:lnTo>
                <a:lnTo>
                  <a:pt x="2911620" y="0"/>
                </a:lnTo>
                <a:close/>
              </a:path>
            </a:pathLst>
          </a:custGeom>
          <a:solidFill>
            <a:srgbClr val="421F5D"/>
          </a:solidFill>
        </p:spPr>
        <p:txBody>
          <a:bodyPr wrap="square" lIns="0" tIns="0" rIns="0" bIns="0" rtlCol="0"/>
          <a:lstStyle/>
          <a:p>
            <a:endParaRPr/>
          </a:p>
        </p:txBody>
      </p:sp>
      <p:sp>
        <p:nvSpPr>
          <p:cNvPr id="46" name="object 46"/>
          <p:cNvSpPr/>
          <p:nvPr/>
        </p:nvSpPr>
        <p:spPr>
          <a:xfrm>
            <a:off x="2760979" y="662961"/>
            <a:ext cx="4394200" cy="6195060"/>
          </a:xfrm>
          <a:custGeom>
            <a:avLst/>
            <a:gdLst/>
            <a:ahLst/>
            <a:cxnLst/>
            <a:rect l="l" t="t" r="r" b="b"/>
            <a:pathLst>
              <a:path w="4394200" h="6195059">
                <a:moveTo>
                  <a:pt x="0" y="867"/>
                </a:moveTo>
                <a:lnTo>
                  <a:pt x="50186" y="410"/>
                </a:lnTo>
                <a:lnTo>
                  <a:pt x="100400" y="121"/>
                </a:lnTo>
                <a:lnTo>
                  <a:pt x="150640" y="0"/>
                </a:lnTo>
                <a:lnTo>
                  <a:pt x="200905" y="44"/>
                </a:lnTo>
                <a:lnTo>
                  <a:pt x="251193" y="255"/>
                </a:lnTo>
                <a:lnTo>
                  <a:pt x="301502" y="630"/>
                </a:lnTo>
                <a:lnTo>
                  <a:pt x="351830" y="1170"/>
                </a:lnTo>
                <a:lnTo>
                  <a:pt x="402176" y="1873"/>
                </a:lnTo>
                <a:lnTo>
                  <a:pt x="452539" y="2739"/>
                </a:lnTo>
                <a:lnTo>
                  <a:pt x="502916" y="3767"/>
                </a:lnTo>
                <a:lnTo>
                  <a:pt x="553306" y="4956"/>
                </a:lnTo>
                <a:lnTo>
                  <a:pt x="603707" y="6305"/>
                </a:lnTo>
                <a:lnTo>
                  <a:pt x="654118" y="7813"/>
                </a:lnTo>
                <a:lnTo>
                  <a:pt x="704537" y="9481"/>
                </a:lnTo>
                <a:lnTo>
                  <a:pt x="754962" y="11306"/>
                </a:lnTo>
                <a:lnTo>
                  <a:pt x="805391" y="13288"/>
                </a:lnTo>
                <a:lnTo>
                  <a:pt x="855824" y="15427"/>
                </a:lnTo>
                <a:lnTo>
                  <a:pt x="906257" y="17722"/>
                </a:lnTo>
                <a:lnTo>
                  <a:pt x="956691" y="20171"/>
                </a:lnTo>
                <a:lnTo>
                  <a:pt x="966287" y="53907"/>
                </a:lnTo>
                <a:lnTo>
                  <a:pt x="976413" y="87811"/>
                </a:lnTo>
                <a:lnTo>
                  <a:pt x="998220" y="156123"/>
                </a:lnTo>
                <a:lnTo>
                  <a:pt x="1022057" y="225101"/>
                </a:lnTo>
                <a:lnTo>
                  <a:pt x="1047868" y="294738"/>
                </a:lnTo>
                <a:lnTo>
                  <a:pt x="1075599" y="365029"/>
                </a:lnTo>
                <a:lnTo>
                  <a:pt x="1090166" y="400417"/>
                </a:lnTo>
                <a:lnTo>
                  <a:pt x="1105193" y="435966"/>
                </a:lnTo>
                <a:lnTo>
                  <a:pt x="1120671" y="471675"/>
                </a:lnTo>
                <a:lnTo>
                  <a:pt x="1136595" y="507543"/>
                </a:lnTo>
                <a:lnTo>
                  <a:pt x="1152957" y="543570"/>
                </a:lnTo>
                <a:lnTo>
                  <a:pt x="1169750" y="579754"/>
                </a:lnTo>
                <a:lnTo>
                  <a:pt x="1186968" y="616095"/>
                </a:lnTo>
                <a:lnTo>
                  <a:pt x="1204603" y="652592"/>
                </a:lnTo>
                <a:lnTo>
                  <a:pt x="1222648" y="689244"/>
                </a:lnTo>
                <a:lnTo>
                  <a:pt x="1241097" y="726051"/>
                </a:lnTo>
                <a:lnTo>
                  <a:pt x="1259943" y="763011"/>
                </a:lnTo>
                <a:lnTo>
                  <a:pt x="1279179" y="800124"/>
                </a:lnTo>
                <a:lnTo>
                  <a:pt x="1298797" y="837389"/>
                </a:lnTo>
                <a:lnTo>
                  <a:pt x="1318791" y="874805"/>
                </a:lnTo>
                <a:lnTo>
                  <a:pt x="1339155" y="912371"/>
                </a:lnTo>
                <a:lnTo>
                  <a:pt x="1359880" y="950086"/>
                </a:lnTo>
                <a:lnTo>
                  <a:pt x="1380960" y="987951"/>
                </a:lnTo>
                <a:lnTo>
                  <a:pt x="1402389" y="1025963"/>
                </a:lnTo>
                <a:lnTo>
                  <a:pt x="1424159" y="1064123"/>
                </a:lnTo>
                <a:lnTo>
                  <a:pt x="1446263" y="1102428"/>
                </a:lnTo>
                <a:lnTo>
                  <a:pt x="1468695" y="1140879"/>
                </a:lnTo>
                <a:lnTo>
                  <a:pt x="1491447" y="1179475"/>
                </a:lnTo>
                <a:lnTo>
                  <a:pt x="1514513" y="1218215"/>
                </a:lnTo>
                <a:lnTo>
                  <a:pt x="1537885" y="1257098"/>
                </a:lnTo>
                <a:lnTo>
                  <a:pt x="1561558" y="1296123"/>
                </a:lnTo>
                <a:lnTo>
                  <a:pt x="1585523" y="1335289"/>
                </a:lnTo>
                <a:lnTo>
                  <a:pt x="1609774" y="1374596"/>
                </a:lnTo>
                <a:lnTo>
                  <a:pt x="1634304" y="1414043"/>
                </a:lnTo>
                <a:lnTo>
                  <a:pt x="1659106" y="1453628"/>
                </a:lnTo>
                <a:lnTo>
                  <a:pt x="1684173" y="1493352"/>
                </a:lnTo>
                <a:lnTo>
                  <a:pt x="1709498" y="1533214"/>
                </a:lnTo>
                <a:lnTo>
                  <a:pt x="1735075" y="1573211"/>
                </a:lnTo>
                <a:lnTo>
                  <a:pt x="1760896" y="1613345"/>
                </a:lnTo>
                <a:lnTo>
                  <a:pt x="1786954" y="1653614"/>
                </a:lnTo>
                <a:lnTo>
                  <a:pt x="1813243" y="1694016"/>
                </a:lnTo>
                <a:lnTo>
                  <a:pt x="1839755" y="1734552"/>
                </a:lnTo>
                <a:lnTo>
                  <a:pt x="1866484" y="1775221"/>
                </a:lnTo>
                <a:lnTo>
                  <a:pt x="1893423" y="1816021"/>
                </a:lnTo>
                <a:lnTo>
                  <a:pt x="1920565" y="1856952"/>
                </a:lnTo>
                <a:lnTo>
                  <a:pt x="1947903" y="1898014"/>
                </a:lnTo>
                <a:lnTo>
                  <a:pt x="1975429" y="1939204"/>
                </a:lnTo>
                <a:lnTo>
                  <a:pt x="2003138" y="1980523"/>
                </a:lnTo>
                <a:lnTo>
                  <a:pt x="2031021" y="2021970"/>
                </a:lnTo>
                <a:lnTo>
                  <a:pt x="2059073" y="2063543"/>
                </a:lnTo>
                <a:lnTo>
                  <a:pt x="2087286" y="2105243"/>
                </a:lnTo>
                <a:lnTo>
                  <a:pt x="2115654" y="2147068"/>
                </a:lnTo>
                <a:lnTo>
                  <a:pt x="2144169" y="2189017"/>
                </a:lnTo>
                <a:lnTo>
                  <a:pt x="2172824" y="2231090"/>
                </a:lnTo>
                <a:lnTo>
                  <a:pt x="2201613" y="2273286"/>
                </a:lnTo>
                <a:lnTo>
                  <a:pt x="2230529" y="2315603"/>
                </a:lnTo>
                <a:lnTo>
                  <a:pt x="2259565" y="2358042"/>
                </a:lnTo>
                <a:lnTo>
                  <a:pt x="2288713" y="2400602"/>
                </a:lnTo>
                <a:lnTo>
                  <a:pt x="2317967" y="2443281"/>
                </a:lnTo>
                <a:lnTo>
                  <a:pt x="2347320" y="2486078"/>
                </a:lnTo>
                <a:lnTo>
                  <a:pt x="2376765" y="2528994"/>
                </a:lnTo>
                <a:lnTo>
                  <a:pt x="2406295" y="2572026"/>
                </a:lnTo>
                <a:lnTo>
                  <a:pt x="2435904" y="2615176"/>
                </a:lnTo>
                <a:lnTo>
                  <a:pt x="2465584" y="2658440"/>
                </a:lnTo>
                <a:lnTo>
                  <a:pt x="2495328" y="2701820"/>
                </a:lnTo>
                <a:lnTo>
                  <a:pt x="2525129" y="2745313"/>
                </a:lnTo>
                <a:lnTo>
                  <a:pt x="2554981" y="2788919"/>
                </a:lnTo>
                <a:lnTo>
                  <a:pt x="2584877" y="2832638"/>
                </a:lnTo>
                <a:lnTo>
                  <a:pt x="2614809" y="2876468"/>
                </a:lnTo>
                <a:lnTo>
                  <a:pt x="2644771" y="2920409"/>
                </a:lnTo>
                <a:lnTo>
                  <a:pt x="2674756" y="2964459"/>
                </a:lnTo>
                <a:lnTo>
                  <a:pt x="2704756" y="3008619"/>
                </a:lnTo>
                <a:lnTo>
                  <a:pt x="2734766" y="3052887"/>
                </a:lnTo>
                <a:lnTo>
                  <a:pt x="2764777" y="3097263"/>
                </a:lnTo>
                <a:lnTo>
                  <a:pt x="2794784" y="3141745"/>
                </a:lnTo>
                <a:lnTo>
                  <a:pt x="2824779" y="3186332"/>
                </a:lnTo>
                <a:lnTo>
                  <a:pt x="2854755" y="3231025"/>
                </a:lnTo>
                <a:lnTo>
                  <a:pt x="2884706" y="3275822"/>
                </a:lnTo>
                <a:lnTo>
                  <a:pt x="2914624" y="3320723"/>
                </a:lnTo>
                <a:lnTo>
                  <a:pt x="2944502" y="3365726"/>
                </a:lnTo>
                <a:lnTo>
                  <a:pt x="2974334" y="3410831"/>
                </a:lnTo>
                <a:lnTo>
                  <a:pt x="3004113" y="3456037"/>
                </a:lnTo>
                <a:lnTo>
                  <a:pt x="3033831" y="3501343"/>
                </a:lnTo>
                <a:lnTo>
                  <a:pt x="3063482" y="3546748"/>
                </a:lnTo>
                <a:lnTo>
                  <a:pt x="3093059" y="3592252"/>
                </a:lnTo>
                <a:lnTo>
                  <a:pt x="3122555" y="3637854"/>
                </a:lnTo>
                <a:lnTo>
                  <a:pt x="3151963" y="3683552"/>
                </a:lnTo>
                <a:lnTo>
                  <a:pt x="3181277" y="3729347"/>
                </a:lnTo>
                <a:lnTo>
                  <a:pt x="3210488" y="3775237"/>
                </a:lnTo>
                <a:lnTo>
                  <a:pt x="3239591" y="3821221"/>
                </a:lnTo>
                <a:lnTo>
                  <a:pt x="3268577" y="3867299"/>
                </a:lnTo>
                <a:lnTo>
                  <a:pt x="3297442" y="3913470"/>
                </a:lnTo>
                <a:lnTo>
                  <a:pt x="3326177" y="3959733"/>
                </a:lnTo>
                <a:lnTo>
                  <a:pt x="3354775" y="4006088"/>
                </a:lnTo>
                <a:lnTo>
                  <a:pt x="3383230" y="4052533"/>
                </a:lnTo>
                <a:lnTo>
                  <a:pt x="3411535" y="4099067"/>
                </a:lnTo>
                <a:lnTo>
                  <a:pt x="3439682" y="4145690"/>
                </a:lnTo>
                <a:lnTo>
                  <a:pt x="3467666" y="4192402"/>
                </a:lnTo>
                <a:lnTo>
                  <a:pt x="3495478" y="4239200"/>
                </a:lnTo>
                <a:lnTo>
                  <a:pt x="3523113" y="4286085"/>
                </a:lnTo>
                <a:lnTo>
                  <a:pt x="3550562" y="4333056"/>
                </a:lnTo>
                <a:lnTo>
                  <a:pt x="3577820" y="4380111"/>
                </a:lnTo>
                <a:lnTo>
                  <a:pt x="3604879" y="4427250"/>
                </a:lnTo>
                <a:lnTo>
                  <a:pt x="3631732" y="4474473"/>
                </a:lnTo>
                <a:lnTo>
                  <a:pt x="3658373" y="4521778"/>
                </a:lnTo>
                <a:lnTo>
                  <a:pt x="3684794" y="4569164"/>
                </a:lnTo>
                <a:lnTo>
                  <a:pt x="3710989" y="4616631"/>
                </a:lnTo>
                <a:lnTo>
                  <a:pt x="3736950" y="4664178"/>
                </a:lnTo>
                <a:lnTo>
                  <a:pt x="3762671" y="4711804"/>
                </a:lnTo>
                <a:lnTo>
                  <a:pt x="3788145" y="4759509"/>
                </a:lnTo>
                <a:lnTo>
                  <a:pt x="3813365" y="4807291"/>
                </a:lnTo>
                <a:lnTo>
                  <a:pt x="3838323" y="4855150"/>
                </a:lnTo>
                <a:lnTo>
                  <a:pt x="3863014" y="4903084"/>
                </a:lnTo>
                <a:lnTo>
                  <a:pt x="3887430" y="4951094"/>
                </a:lnTo>
                <a:lnTo>
                  <a:pt x="3911564" y="4999178"/>
                </a:lnTo>
                <a:lnTo>
                  <a:pt x="3935409" y="5047335"/>
                </a:lnTo>
                <a:lnTo>
                  <a:pt x="3958959" y="5095565"/>
                </a:lnTo>
                <a:lnTo>
                  <a:pt x="3982206" y="5143867"/>
                </a:lnTo>
                <a:lnTo>
                  <a:pt x="4005143" y="5192240"/>
                </a:lnTo>
                <a:lnTo>
                  <a:pt x="4027764" y="5240683"/>
                </a:lnTo>
                <a:lnTo>
                  <a:pt x="4050062" y="5289196"/>
                </a:lnTo>
                <a:lnTo>
                  <a:pt x="4072029" y="5337777"/>
                </a:lnTo>
                <a:lnTo>
                  <a:pt x="4093659" y="5386426"/>
                </a:lnTo>
                <a:lnTo>
                  <a:pt x="4114945" y="5435142"/>
                </a:lnTo>
                <a:lnTo>
                  <a:pt x="4135880" y="5483924"/>
                </a:lnTo>
                <a:lnTo>
                  <a:pt x="4156457" y="5532772"/>
                </a:lnTo>
                <a:lnTo>
                  <a:pt x="4176669" y="5581684"/>
                </a:lnTo>
                <a:lnTo>
                  <a:pt x="4196509" y="5630660"/>
                </a:lnTo>
                <a:lnTo>
                  <a:pt x="4215971" y="5679699"/>
                </a:lnTo>
                <a:lnTo>
                  <a:pt x="4235046" y="5728800"/>
                </a:lnTo>
                <a:lnTo>
                  <a:pt x="4253730" y="5777962"/>
                </a:lnTo>
                <a:lnTo>
                  <a:pt x="4272013" y="5827185"/>
                </a:lnTo>
                <a:lnTo>
                  <a:pt x="4289890" y="5876467"/>
                </a:lnTo>
                <a:lnTo>
                  <a:pt x="4307354" y="5925809"/>
                </a:lnTo>
                <a:lnTo>
                  <a:pt x="4324398" y="5975208"/>
                </a:lnTo>
                <a:lnTo>
                  <a:pt x="4341014" y="6024665"/>
                </a:lnTo>
                <a:lnTo>
                  <a:pt x="4357196" y="6074178"/>
                </a:lnTo>
                <a:lnTo>
                  <a:pt x="4372937" y="6123747"/>
                </a:lnTo>
                <a:lnTo>
                  <a:pt x="4388231" y="6173371"/>
                </a:lnTo>
                <a:lnTo>
                  <a:pt x="4394199" y="6195036"/>
                </a:lnTo>
              </a:path>
            </a:pathLst>
          </a:custGeom>
          <a:ln w="9143">
            <a:solidFill>
              <a:srgbClr val="421F5D"/>
            </a:solidFill>
          </a:ln>
        </p:spPr>
        <p:txBody>
          <a:bodyPr wrap="square" lIns="0" tIns="0" rIns="0" bIns="0" rtlCol="0"/>
          <a:lstStyle/>
          <a:p>
            <a:endParaRPr/>
          </a:p>
        </p:txBody>
      </p:sp>
      <p:sp>
        <p:nvSpPr>
          <p:cNvPr id="47" name="object 47"/>
          <p:cNvSpPr/>
          <p:nvPr/>
        </p:nvSpPr>
        <p:spPr>
          <a:xfrm>
            <a:off x="0" y="663829"/>
            <a:ext cx="2760980" cy="316865"/>
          </a:xfrm>
          <a:custGeom>
            <a:avLst/>
            <a:gdLst/>
            <a:ahLst/>
            <a:cxnLst/>
            <a:rect l="l" t="t" r="r" b="b"/>
            <a:pathLst>
              <a:path w="2760980" h="316865">
                <a:moveTo>
                  <a:pt x="0" y="316724"/>
                </a:moveTo>
                <a:lnTo>
                  <a:pt x="40285" y="307255"/>
                </a:lnTo>
                <a:lnTo>
                  <a:pt x="88311" y="296209"/>
                </a:lnTo>
                <a:lnTo>
                  <a:pt x="136454" y="285375"/>
                </a:lnTo>
                <a:lnTo>
                  <a:pt x="184713" y="274755"/>
                </a:lnTo>
                <a:lnTo>
                  <a:pt x="233087" y="264347"/>
                </a:lnTo>
                <a:lnTo>
                  <a:pt x="281573" y="254149"/>
                </a:lnTo>
                <a:lnTo>
                  <a:pt x="330170" y="244163"/>
                </a:lnTo>
                <a:lnTo>
                  <a:pt x="378877" y="234387"/>
                </a:lnTo>
                <a:lnTo>
                  <a:pt x="427691" y="224820"/>
                </a:lnTo>
                <a:lnTo>
                  <a:pt x="476611" y="215462"/>
                </a:lnTo>
                <a:lnTo>
                  <a:pt x="525636" y="206313"/>
                </a:lnTo>
                <a:lnTo>
                  <a:pt x="574764" y="197370"/>
                </a:lnTo>
                <a:lnTo>
                  <a:pt x="623992" y="188635"/>
                </a:lnTo>
                <a:lnTo>
                  <a:pt x="673321" y="180106"/>
                </a:lnTo>
                <a:lnTo>
                  <a:pt x="722747" y="171782"/>
                </a:lnTo>
                <a:lnTo>
                  <a:pt x="772269" y="163663"/>
                </a:lnTo>
                <a:lnTo>
                  <a:pt x="821885" y="155749"/>
                </a:lnTo>
                <a:lnTo>
                  <a:pt x="871595" y="148038"/>
                </a:lnTo>
                <a:lnTo>
                  <a:pt x="921395" y="140531"/>
                </a:lnTo>
                <a:lnTo>
                  <a:pt x="971285" y="133225"/>
                </a:lnTo>
                <a:lnTo>
                  <a:pt x="1021263" y="126122"/>
                </a:lnTo>
                <a:lnTo>
                  <a:pt x="1071327" y="119219"/>
                </a:lnTo>
                <a:lnTo>
                  <a:pt x="1121476" y="112517"/>
                </a:lnTo>
                <a:lnTo>
                  <a:pt x="1171708" y="106014"/>
                </a:lnTo>
                <a:lnTo>
                  <a:pt x="1222021" y="99711"/>
                </a:lnTo>
                <a:lnTo>
                  <a:pt x="1272413" y="93606"/>
                </a:lnTo>
                <a:lnTo>
                  <a:pt x="1322883" y="87699"/>
                </a:lnTo>
                <a:lnTo>
                  <a:pt x="1373430" y="81989"/>
                </a:lnTo>
                <a:lnTo>
                  <a:pt x="1424051" y="76476"/>
                </a:lnTo>
                <a:lnTo>
                  <a:pt x="1474746" y="71159"/>
                </a:lnTo>
                <a:lnTo>
                  <a:pt x="1525511" y="66036"/>
                </a:lnTo>
                <a:lnTo>
                  <a:pt x="1576347" y="61109"/>
                </a:lnTo>
                <a:lnTo>
                  <a:pt x="1627250" y="56375"/>
                </a:lnTo>
                <a:lnTo>
                  <a:pt x="1678219" y="51835"/>
                </a:lnTo>
                <a:lnTo>
                  <a:pt x="1729254" y="47487"/>
                </a:lnTo>
                <a:lnTo>
                  <a:pt x="1780351" y="43332"/>
                </a:lnTo>
                <a:lnTo>
                  <a:pt x="1831510" y="39368"/>
                </a:lnTo>
                <a:lnTo>
                  <a:pt x="1882729" y="35594"/>
                </a:lnTo>
                <a:lnTo>
                  <a:pt x="1934005" y="32011"/>
                </a:lnTo>
                <a:lnTo>
                  <a:pt x="1985338" y="28617"/>
                </a:lnTo>
                <a:lnTo>
                  <a:pt x="2036726" y="25411"/>
                </a:lnTo>
                <a:lnTo>
                  <a:pt x="2088167" y="22394"/>
                </a:lnTo>
                <a:lnTo>
                  <a:pt x="2139659" y="19565"/>
                </a:lnTo>
                <a:lnTo>
                  <a:pt x="2191201" y="16922"/>
                </a:lnTo>
                <a:lnTo>
                  <a:pt x="2242792" y="14465"/>
                </a:lnTo>
                <a:lnTo>
                  <a:pt x="2294429" y="12195"/>
                </a:lnTo>
                <a:lnTo>
                  <a:pt x="2346110" y="10108"/>
                </a:lnTo>
                <a:lnTo>
                  <a:pt x="2397835" y="8207"/>
                </a:lnTo>
                <a:lnTo>
                  <a:pt x="2449602" y="6489"/>
                </a:lnTo>
                <a:lnTo>
                  <a:pt x="2501408" y="4953"/>
                </a:lnTo>
                <a:lnTo>
                  <a:pt x="2553252" y="3601"/>
                </a:lnTo>
                <a:lnTo>
                  <a:pt x="2605133" y="2429"/>
                </a:lnTo>
                <a:lnTo>
                  <a:pt x="2657049" y="1439"/>
                </a:lnTo>
                <a:lnTo>
                  <a:pt x="2708999" y="629"/>
                </a:lnTo>
                <a:lnTo>
                  <a:pt x="2760980" y="0"/>
                </a:lnTo>
              </a:path>
            </a:pathLst>
          </a:custGeom>
          <a:ln w="9144">
            <a:solidFill>
              <a:srgbClr val="421F5D"/>
            </a:solidFill>
          </a:ln>
        </p:spPr>
        <p:txBody>
          <a:bodyPr wrap="square" lIns="0" tIns="0" rIns="0" bIns="0" rtlCol="0"/>
          <a:lstStyle/>
          <a:p>
            <a:endParaRPr/>
          </a:p>
        </p:txBody>
      </p:sp>
      <p:sp>
        <p:nvSpPr>
          <p:cNvPr id="48" name="object 48"/>
          <p:cNvSpPr txBox="1"/>
          <p:nvPr/>
        </p:nvSpPr>
        <p:spPr>
          <a:xfrm>
            <a:off x="3469857" y="5493207"/>
            <a:ext cx="335280"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FFFFFF"/>
                </a:solidFill>
                <a:latin typeface="Verdana"/>
                <a:cs typeface="Verdana"/>
              </a:rPr>
              <a:t>L1</a:t>
            </a:r>
            <a:endParaRPr sz="1800">
              <a:latin typeface="Verdana"/>
              <a:cs typeface="Verdana"/>
            </a:endParaRPr>
          </a:p>
        </p:txBody>
      </p:sp>
      <p:sp>
        <p:nvSpPr>
          <p:cNvPr id="50" name="object 50"/>
          <p:cNvSpPr txBox="1"/>
          <p:nvPr/>
        </p:nvSpPr>
        <p:spPr>
          <a:xfrm>
            <a:off x="3535426" y="5055013"/>
            <a:ext cx="1906270" cy="738505"/>
          </a:xfrm>
          <a:prstGeom prst="rect">
            <a:avLst/>
          </a:prstGeom>
        </p:spPr>
        <p:txBody>
          <a:bodyPr vert="horz" wrap="square" lIns="0" tIns="94615" rIns="0" bIns="0" rtlCol="0">
            <a:spAutoFit/>
          </a:bodyPr>
          <a:lstStyle/>
          <a:p>
            <a:pPr marL="12700">
              <a:lnSpc>
                <a:spcPct val="100000"/>
              </a:lnSpc>
              <a:spcBef>
                <a:spcPts val="745"/>
              </a:spcBef>
            </a:pPr>
            <a:r>
              <a:rPr sz="1800" b="1" spc="-5">
                <a:solidFill>
                  <a:srgbClr val="FFFFFF"/>
                </a:solidFill>
                <a:latin typeface="Verdana"/>
                <a:cs typeface="Verdana"/>
              </a:rPr>
              <a:t>Navigation</a:t>
            </a:r>
            <a:r>
              <a:rPr sz="1800" b="1" spc="-45">
                <a:solidFill>
                  <a:srgbClr val="FFFFFF"/>
                </a:solidFill>
                <a:latin typeface="Verdana"/>
                <a:cs typeface="Verdana"/>
              </a:rPr>
              <a:t> </a:t>
            </a:r>
            <a:r>
              <a:rPr sz="1800" b="1" spc="-5">
                <a:solidFill>
                  <a:srgbClr val="FFFFFF"/>
                </a:solidFill>
                <a:latin typeface="Verdana"/>
                <a:cs typeface="Verdana"/>
              </a:rPr>
              <a:t>Aid</a:t>
            </a:r>
            <a:endParaRPr sz="1800">
              <a:latin typeface="Verdana"/>
              <a:cs typeface="Verdana"/>
            </a:endParaRPr>
          </a:p>
          <a:p>
            <a:pPr marR="165735" algn="ctr">
              <a:lnSpc>
                <a:spcPct val="100000"/>
              </a:lnSpc>
              <a:spcBef>
                <a:spcPts val="645"/>
              </a:spcBef>
            </a:pPr>
            <a:r>
              <a:rPr lang="it-IT" sz="1800" b="1">
                <a:solidFill>
                  <a:srgbClr val="FFFFFF"/>
                </a:solidFill>
                <a:latin typeface="Verdana"/>
                <a:cs typeface="Verdana"/>
              </a:rPr>
              <a:t>           </a:t>
            </a:r>
            <a:r>
              <a:rPr sz="1800" b="1">
                <a:solidFill>
                  <a:srgbClr val="FFFFFF"/>
                </a:solidFill>
                <a:latin typeface="Verdana"/>
                <a:cs typeface="Verdana"/>
              </a:rPr>
              <a:t>L2</a:t>
            </a:r>
            <a:endParaRPr sz="1800">
              <a:latin typeface="Verdana"/>
              <a:cs typeface="Verdana"/>
            </a:endParaRPr>
          </a:p>
        </p:txBody>
      </p:sp>
      <p:sp>
        <p:nvSpPr>
          <p:cNvPr id="54" name="object 54"/>
          <p:cNvSpPr/>
          <p:nvPr/>
        </p:nvSpPr>
        <p:spPr>
          <a:xfrm>
            <a:off x="6089903" y="2087879"/>
            <a:ext cx="989076" cy="807720"/>
          </a:xfrm>
          <a:prstGeom prst="rect">
            <a:avLst/>
          </a:prstGeom>
          <a:blipFill>
            <a:blip r:embed="rId10" cstate="print"/>
            <a:stretch>
              <a:fillRect/>
            </a:stretch>
          </a:blipFill>
        </p:spPr>
        <p:txBody>
          <a:bodyPr wrap="square" lIns="0" tIns="0" rIns="0" bIns="0" rtlCol="0"/>
          <a:lstStyle/>
          <a:p>
            <a:endParaRPr/>
          </a:p>
        </p:txBody>
      </p:sp>
      <p:sp>
        <p:nvSpPr>
          <p:cNvPr id="55" name="object 5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6" name="object 56"/>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5</a:t>
            </a:fld>
            <a:endParaRPr sz="800">
              <a:latin typeface="Verdana"/>
              <a:cs typeface="Verdana"/>
            </a:endParaRPr>
          </a:p>
        </p:txBody>
      </p:sp>
      <p:pic>
        <p:nvPicPr>
          <p:cNvPr id="57" name="Picture 56">
            <a:extLst>
              <a:ext uri="{FF2B5EF4-FFF2-40B4-BE49-F238E27FC236}">
                <a16:creationId xmlns:a16="http://schemas.microsoft.com/office/drawing/2014/main" id="{54885647-0FD0-4CF5-86C2-F675DCC30976}"/>
              </a:ext>
            </a:extLst>
          </p:cNvPr>
          <p:cNvPicPr>
            <a:picLocks noChangeAspect="1"/>
          </p:cNvPicPr>
          <p:nvPr/>
        </p:nvPicPr>
        <p:blipFill>
          <a:blip r:embed="rId11"/>
          <a:stretch>
            <a:fillRect/>
          </a:stretch>
        </p:blipFill>
        <p:spPr>
          <a:xfrm>
            <a:off x="3028135" y="5844540"/>
            <a:ext cx="1180283" cy="658369"/>
          </a:xfrm>
          <a:prstGeom prst="rect">
            <a:avLst/>
          </a:prstGeom>
        </p:spPr>
      </p:pic>
      <p:pic>
        <p:nvPicPr>
          <p:cNvPr id="58" name="Picture 57">
            <a:extLst>
              <a:ext uri="{FF2B5EF4-FFF2-40B4-BE49-F238E27FC236}">
                <a16:creationId xmlns:a16="http://schemas.microsoft.com/office/drawing/2014/main" id="{ED0D455F-41E7-46D8-AF69-9415DF53916E}"/>
              </a:ext>
            </a:extLst>
          </p:cNvPr>
          <p:cNvPicPr>
            <a:picLocks noChangeAspect="1"/>
          </p:cNvPicPr>
          <p:nvPr/>
        </p:nvPicPr>
        <p:blipFill>
          <a:blip r:embed="rId12"/>
          <a:stretch>
            <a:fillRect/>
          </a:stretch>
        </p:blipFill>
        <p:spPr>
          <a:xfrm>
            <a:off x="4323583" y="5844540"/>
            <a:ext cx="1162817" cy="658367"/>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1999" cy="6829044"/>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11644883" y="333756"/>
            <a:ext cx="275590" cy="227329"/>
          </a:xfrm>
          <a:custGeom>
            <a:avLst/>
            <a:gdLst/>
            <a:ahLst/>
            <a:cxnLst/>
            <a:rect l="l" t="t" r="r" b="b"/>
            <a:pathLst>
              <a:path w="275590" h="227329">
                <a:moveTo>
                  <a:pt x="206629" y="0"/>
                </a:moveTo>
                <a:lnTo>
                  <a:pt x="173863" y="9651"/>
                </a:lnTo>
                <a:lnTo>
                  <a:pt x="147320" y="34798"/>
                </a:lnTo>
                <a:lnTo>
                  <a:pt x="123698" y="69723"/>
                </a:lnTo>
                <a:lnTo>
                  <a:pt x="99568" y="108585"/>
                </a:lnTo>
                <a:lnTo>
                  <a:pt x="71755" y="145796"/>
                </a:lnTo>
                <a:lnTo>
                  <a:pt x="64643" y="169037"/>
                </a:lnTo>
                <a:lnTo>
                  <a:pt x="49022" y="188849"/>
                </a:lnTo>
                <a:lnTo>
                  <a:pt x="26797" y="203835"/>
                </a:lnTo>
                <a:lnTo>
                  <a:pt x="0" y="212090"/>
                </a:lnTo>
                <a:lnTo>
                  <a:pt x="8636" y="218186"/>
                </a:lnTo>
                <a:lnTo>
                  <a:pt x="21082" y="222758"/>
                </a:lnTo>
                <a:lnTo>
                  <a:pt x="36449" y="225806"/>
                </a:lnTo>
                <a:lnTo>
                  <a:pt x="54101" y="226822"/>
                </a:lnTo>
                <a:lnTo>
                  <a:pt x="89662" y="224282"/>
                </a:lnTo>
                <a:lnTo>
                  <a:pt x="125349" y="216535"/>
                </a:lnTo>
                <a:lnTo>
                  <a:pt x="157607" y="203200"/>
                </a:lnTo>
                <a:lnTo>
                  <a:pt x="183134" y="184023"/>
                </a:lnTo>
                <a:lnTo>
                  <a:pt x="157225" y="180467"/>
                </a:lnTo>
                <a:lnTo>
                  <a:pt x="137160" y="168656"/>
                </a:lnTo>
                <a:lnTo>
                  <a:pt x="123951" y="150114"/>
                </a:lnTo>
                <a:lnTo>
                  <a:pt x="118745" y="126619"/>
                </a:lnTo>
                <a:lnTo>
                  <a:pt x="250624" y="126619"/>
                </a:lnTo>
                <a:lnTo>
                  <a:pt x="268224" y="99822"/>
                </a:lnTo>
                <a:lnTo>
                  <a:pt x="275463" y="63246"/>
                </a:lnTo>
                <a:lnTo>
                  <a:pt x="271652" y="44069"/>
                </a:lnTo>
                <a:lnTo>
                  <a:pt x="261874" y="23368"/>
                </a:lnTo>
                <a:lnTo>
                  <a:pt x="241681" y="6730"/>
                </a:lnTo>
                <a:lnTo>
                  <a:pt x="206629" y="0"/>
                </a:lnTo>
                <a:close/>
              </a:path>
              <a:path w="275590" h="227329">
                <a:moveTo>
                  <a:pt x="250624" y="126619"/>
                </a:moveTo>
                <a:lnTo>
                  <a:pt x="118745" y="126619"/>
                </a:lnTo>
                <a:lnTo>
                  <a:pt x="132715" y="140843"/>
                </a:lnTo>
                <a:lnTo>
                  <a:pt x="148209" y="150368"/>
                </a:lnTo>
                <a:lnTo>
                  <a:pt x="165100" y="155829"/>
                </a:lnTo>
                <a:lnTo>
                  <a:pt x="183134" y="157607"/>
                </a:lnTo>
                <a:lnTo>
                  <a:pt x="219201" y="150114"/>
                </a:lnTo>
                <a:lnTo>
                  <a:pt x="248539" y="129794"/>
                </a:lnTo>
                <a:lnTo>
                  <a:pt x="250624" y="126619"/>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07670" cy="354965"/>
          </a:xfrm>
          <a:custGeom>
            <a:avLst/>
            <a:gdLst/>
            <a:ahLst/>
            <a:cxnLst/>
            <a:rect l="l" t="t" r="r" b="b"/>
            <a:pathLst>
              <a:path w="407670" h="354965">
                <a:moveTo>
                  <a:pt x="224154" y="0"/>
                </a:moveTo>
                <a:lnTo>
                  <a:pt x="200278" y="22098"/>
                </a:lnTo>
                <a:lnTo>
                  <a:pt x="168148" y="43942"/>
                </a:lnTo>
                <a:lnTo>
                  <a:pt x="131318" y="66675"/>
                </a:lnTo>
                <a:lnTo>
                  <a:pt x="93345" y="91440"/>
                </a:lnTo>
                <a:lnTo>
                  <a:pt x="57785" y="119126"/>
                </a:lnTo>
                <a:lnTo>
                  <a:pt x="28067" y="151257"/>
                </a:lnTo>
                <a:lnTo>
                  <a:pt x="7620" y="188595"/>
                </a:lnTo>
                <a:lnTo>
                  <a:pt x="0" y="232410"/>
                </a:lnTo>
                <a:lnTo>
                  <a:pt x="5588" y="268986"/>
                </a:lnTo>
                <a:lnTo>
                  <a:pt x="45720" y="328676"/>
                </a:lnTo>
                <a:lnTo>
                  <a:pt x="97408" y="352933"/>
                </a:lnTo>
                <a:lnTo>
                  <a:pt x="117221" y="354965"/>
                </a:lnTo>
                <a:lnTo>
                  <a:pt x="137032" y="353568"/>
                </a:lnTo>
                <a:lnTo>
                  <a:pt x="173608" y="341757"/>
                </a:lnTo>
                <a:lnTo>
                  <a:pt x="215392" y="308864"/>
                </a:lnTo>
                <a:lnTo>
                  <a:pt x="243204" y="271653"/>
                </a:lnTo>
                <a:lnTo>
                  <a:pt x="267335" y="232791"/>
                </a:lnTo>
                <a:lnTo>
                  <a:pt x="290956" y="197993"/>
                </a:lnTo>
                <a:lnTo>
                  <a:pt x="317500" y="172974"/>
                </a:lnTo>
                <a:lnTo>
                  <a:pt x="350266" y="163322"/>
                </a:lnTo>
                <a:lnTo>
                  <a:pt x="407162" y="163322"/>
                </a:lnTo>
                <a:lnTo>
                  <a:pt x="399161" y="142113"/>
                </a:lnTo>
                <a:lnTo>
                  <a:pt x="376427" y="106680"/>
                </a:lnTo>
                <a:lnTo>
                  <a:pt x="347345" y="74930"/>
                </a:lnTo>
                <a:lnTo>
                  <a:pt x="294131" y="34798"/>
                </a:lnTo>
                <a:lnTo>
                  <a:pt x="234442" y="4445"/>
                </a:lnTo>
                <a:lnTo>
                  <a:pt x="231521" y="2921"/>
                </a:lnTo>
                <a:lnTo>
                  <a:pt x="228600" y="1524"/>
                </a:lnTo>
                <a:lnTo>
                  <a:pt x="224154" y="0"/>
                </a:lnTo>
                <a:close/>
              </a:path>
            </a:pathLst>
          </a:custGeom>
          <a:solidFill>
            <a:srgbClr val="006EAC"/>
          </a:solidFill>
        </p:spPr>
        <p:txBody>
          <a:bodyPr wrap="square" lIns="0" tIns="0" rIns="0" bIns="0" rtlCol="0"/>
          <a:lstStyle/>
          <a:p>
            <a:endParaRPr/>
          </a:p>
        </p:txBody>
      </p:sp>
      <p:sp>
        <p:nvSpPr>
          <p:cNvPr id="5" name="object 5"/>
          <p:cNvSpPr/>
          <p:nvPr/>
        </p:nvSpPr>
        <p:spPr>
          <a:xfrm>
            <a:off x="11851893" y="335534"/>
            <a:ext cx="69215" cy="63500"/>
          </a:xfrm>
          <a:custGeom>
            <a:avLst/>
            <a:gdLst/>
            <a:ahLst/>
            <a:cxnLst/>
            <a:rect l="l" t="t" r="r" b="b"/>
            <a:pathLst>
              <a:path w="69215" h="63500">
                <a:moveTo>
                  <a:pt x="56896" y="0"/>
                </a:moveTo>
                <a:lnTo>
                  <a:pt x="0" y="0"/>
                </a:lnTo>
                <a:lnTo>
                  <a:pt x="35051" y="6731"/>
                </a:lnTo>
                <a:lnTo>
                  <a:pt x="55245" y="23241"/>
                </a:lnTo>
                <a:lnTo>
                  <a:pt x="65024" y="43942"/>
                </a:lnTo>
                <a:lnTo>
                  <a:pt x="68833" y="63246"/>
                </a:lnTo>
                <a:lnTo>
                  <a:pt x="68833" y="60198"/>
                </a:lnTo>
                <a:lnTo>
                  <a:pt x="63626" y="17780"/>
                </a:lnTo>
                <a:lnTo>
                  <a:pt x="56896" y="0"/>
                </a:lnTo>
                <a:close/>
              </a:path>
            </a:pathLst>
          </a:custGeom>
          <a:solidFill>
            <a:srgbClr val="006EAC"/>
          </a:solidFill>
        </p:spPr>
        <p:txBody>
          <a:bodyPr wrap="square" lIns="0" tIns="0" rIns="0" bIns="0" rtlCol="0"/>
          <a:lstStyle/>
          <a:p>
            <a:endParaRPr/>
          </a:p>
        </p:txBody>
      </p:sp>
      <p:sp>
        <p:nvSpPr>
          <p:cNvPr id="6" name="object 6"/>
          <p:cNvSpPr txBox="1">
            <a:spLocks noGrp="1"/>
          </p:cNvSpPr>
          <p:nvPr>
            <p:ph type="title"/>
          </p:nvPr>
        </p:nvSpPr>
        <p:spPr>
          <a:xfrm>
            <a:off x="412191" y="416178"/>
            <a:ext cx="11280140" cy="819150"/>
          </a:xfrm>
          <a:prstGeom prst="rect">
            <a:avLst/>
          </a:prstGeom>
        </p:spPr>
        <p:txBody>
          <a:bodyPr vert="horz" wrap="square" lIns="0" tIns="13335" rIns="0" bIns="0" rtlCol="0">
            <a:spAutoFit/>
          </a:bodyPr>
          <a:lstStyle/>
          <a:p>
            <a:pPr marL="12700" marR="5080">
              <a:lnSpc>
                <a:spcPct val="100000"/>
              </a:lnSpc>
              <a:spcBef>
                <a:spcPts val="105"/>
              </a:spcBef>
            </a:pPr>
            <a:r>
              <a:rPr sz="2600"/>
              <a:t>An Agile </a:t>
            </a:r>
            <a:r>
              <a:rPr sz="2600" spc="-5"/>
              <a:t>collaboration </a:t>
            </a:r>
            <a:r>
              <a:rPr sz="2600"/>
              <a:t>can </a:t>
            </a:r>
            <a:r>
              <a:rPr sz="2600" spc="-5"/>
              <a:t>be </a:t>
            </a:r>
            <a:r>
              <a:rPr sz="2600" spc="5"/>
              <a:t>the </a:t>
            </a:r>
            <a:r>
              <a:rPr sz="2600" spc="-10"/>
              <a:t>key in </a:t>
            </a:r>
            <a:r>
              <a:rPr sz="2600"/>
              <a:t>a situation </a:t>
            </a:r>
            <a:r>
              <a:rPr sz="2600" spc="-5"/>
              <a:t>that </a:t>
            </a:r>
            <a:r>
              <a:rPr sz="2600"/>
              <a:t>shows </a:t>
            </a:r>
            <a:r>
              <a:rPr sz="2600" spc="-5"/>
              <a:t>the  </a:t>
            </a:r>
            <a:r>
              <a:rPr sz="2600"/>
              <a:t>remote working can </a:t>
            </a:r>
            <a:r>
              <a:rPr sz="2600" spc="-10"/>
              <a:t>improve </a:t>
            </a:r>
            <a:r>
              <a:rPr sz="2600" spc="-5"/>
              <a:t>the </a:t>
            </a:r>
            <a:r>
              <a:rPr sz="2600"/>
              <a:t>productivity of </a:t>
            </a:r>
            <a:r>
              <a:rPr sz="2600" spc="-5"/>
              <a:t>the </a:t>
            </a:r>
            <a:r>
              <a:rPr sz="2600" spc="-60"/>
              <a:t>Teams</a:t>
            </a:r>
            <a:r>
              <a:rPr sz="2600" spc="-95"/>
              <a:t> </a:t>
            </a:r>
            <a:r>
              <a:rPr sz="2600" spc="-10"/>
              <a:t>involved</a:t>
            </a:r>
            <a:endParaRPr sz="2600"/>
          </a:p>
        </p:txBody>
      </p:sp>
      <p:sp>
        <p:nvSpPr>
          <p:cNvPr id="7" name="object 7"/>
          <p:cNvSpPr txBox="1"/>
          <p:nvPr/>
        </p:nvSpPr>
        <p:spPr>
          <a:xfrm>
            <a:off x="335279" y="2663951"/>
            <a:ext cx="4845050" cy="295910"/>
          </a:xfrm>
          <a:prstGeom prst="rect">
            <a:avLst/>
          </a:prstGeom>
          <a:solidFill>
            <a:srgbClr val="006EAC"/>
          </a:solidFill>
        </p:spPr>
        <p:txBody>
          <a:bodyPr vert="horz" wrap="square" lIns="0" tIns="51435" rIns="0" bIns="0" rtlCol="0">
            <a:spAutoFit/>
          </a:bodyPr>
          <a:lstStyle/>
          <a:p>
            <a:pPr marL="127000" algn="ctr">
              <a:lnSpc>
                <a:spcPct val="100000"/>
              </a:lnSpc>
              <a:spcBef>
                <a:spcPts val="405"/>
              </a:spcBef>
            </a:pPr>
            <a:r>
              <a:rPr sz="1100" b="1" spc="-5">
                <a:solidFill>
                  <a:srgbClr val="FFFFFF"/>
                </a:solidFill>
                <a:latin typeface="Verdana"/>
                <a:cs typeface="Verdana"/>
              </a:rPr>
              <a:t>Collaborating </a:t>
            </a:r>
            <a:r>
              <a:rPr sz="1100" b="1">
                <a:solidFill>
                  <a:srgbClr val="FFFFFF"/>
                </a:solidFill>
                <a:latin typeface="Verdana"/>
                <a:cs typeface="Verdana"/>
              </a:rPr>
              <a:t>with</a:t>
            </a:r>
            <a:r>
              <a:rPr sz="1100" b="1" spc="-75">
                <a:solidFill>
                  <a:srgbClr val="FFFFFF"/>
                </a:solidFill>
                <a:latin typeface="Verdana"/>
                <a:cs typeface="Verdana"/>
              </a:rPr>
              <a:t> </a:t>
            </a:r>
            <a:r>
              <a:rPr sz="1100" b="1" spc="-15">
                <a:solidFill>
                  <a:srgbClr val="FFFFFF"/>
                </a:solidFill>
                <a:latin typeface="Verdana"/>
                <a:cs typeface="Verdana"/>
              </a:rPr>
              <a:t>Marelli</a:t>
            </a:r>
            <a:endParaRPr sz="1100">
              <a:latin typeface="Verdana"/>
              <a:cs typeface="Verdana"/>
            </a:endParaRPr>
          </a:p>
        </p:txBody>
      </p:sp>
      <p:sp>
        <p:nvSpPr>
          <p:cNvPr id="8" name="object 8"/>
          <p:cNvSpPr txBox="1"/>
          <p:nvPr/>
        </p:nvSpPr>
        <p:spPr>
          <a:xfrm>
            <a:off x="7129271" y="2933700"/>
            <a:ext cx="4619625" cy="1203960"/>
          </a:xfrm>
          <a:prstGeom prst="rect">
            <a:avLst/>
          </a:prstGeom>
          <a:solidFill>
            <a:srgbClr val="F0F0F0"/>
          </a:solidFill>
        </p:spPr>
        <p:txBody>
          <a:bodyPr vert="horz" wrap="square" lIns="0" tIns="69850" rIns="0" bIns="0" rtlCol="0">
            <a:spAutoFit/>
          </a:bodyPr>
          <a:lstStyle/>
          <a:p>
            <a:pPr marL="93345" marR="136525">
              <a:lnSpc>
                <a:spcPct val="100000"/>
              </a:lnSpc>
              <a:spcBef>
                <a:spcPts val="550"/>
              </a:spcBef>
            </a:pPr>
            <a:r>
              <a:rPr sz="900">
                <a:latin typeface="Verdana"/>
                <a:cs typeface="Verdana"/>
              </a:rPr>
              <a:t>We </a:t>
            </a:r>
            <a:r>
              <a:rPr sz="900" spc="-5">
                <a:latin typeface="Verdana"/>
                <a:cs typeface="Verdana"/>
              </a:rPr>
              <a:t>will </a:t>
            </a:r>
            <a:r>
              <a:rPr sz="900">
                <a:latin typeface="Verdana"/>
                <a:cs typeface="Verdana"/>
              </a:rPr>
              <a:t>lead </a:t>
            </a:r>
            <a:r>
              <a:rPr sz="900" spc="-5">
                <a:latin typeface="Verdana"/>
                <a:cs typeface="Verdana"/>
              </a:rPr>
              <a:t>this work from our European </a:t>
            </a:r>
            <a:r>
              <a:rPr sz="900">
                <a:latin typeface="Verdana"/>
                <a:cs typeface="Verdana"/>
              </a:rPr>
              <a:t>leads </a:t>
            </a:r>
            <a:r>
              <a:rPr sz="900" spc="-5">
                <a:latin typeface="Verdana"/>
                <a:cs typeface="Verdana"/>
              </a:rPr>
              <a:t>leveraginig the knowledge  adquired </a:t>
            </a:r>
            <a:r>
              <a:rPr sz="900">
                <a:latin typeface="Verdana"/>
                <a:cs typeface="Verdana"/>
              </a:rPr>
              <a:t>in similar </a:t>
            </a:r>
            <a:r>
              <a:rPr sz="900" spc="-5">
                <a:latin typeface="Verdana"/>
                <a:cs typeface="Verdana"/>
              </a:rPr>
              <a:t>Program. </a:t>
            </a:r>
            <a:r>
              <a:rPr sz="900">
                <a:latin typeface="Verdana"/>
                <a:cs typeface="Verdana"/>
              </a:rPr>
              <a:t>We </a:t>
            </a:r>
            <a:r>
              <a:rPr sz="900" spc="-5">
                <a:latin typeface="Verdana"/>
                <a:cs typeface="Verdana"/>
              </a:rPr>
              <a:t>have experience different ways </a:t>
            </a:r>
            <a:r>
              <a:rPr sz="900">
                <a:latin typeface="Verdana"/>
                <a:cs typeface="Verdana"/>
              </a:rPr>
              <a:t>of </a:t>
            </a:r>
            <a:r>
              <a:rPr sz="900" spc="-5">
                <a:latin typeface="Verdana"/>
                <a:cs typeface="Verdana"/>
              </a:rPr>
              <a:t>working  and our </a:t>
            </a:r>
            <a:r>
              <a:rPr sz="900">
                <a:latin typeface="Verdana"/>
                <a:cs typeface="Verdana"/>
              </a:rPr>
              <a:t>patterns </a:t>
            </a:r>
            <a:r>
              <a:rPr sz="900" spc="-5">
                <a:latin typeface="Verdana"/>
                <a:cs typeface="Verdana"/>
              </a:rPr>
              <a:t>will change </a:t>
            </a:r>
            <a:r>
              <a:rPr sz="900">
                <a:latin typeface="Verdana"/>
                <a:cs typeface="Verdana"/>
              </a:rPr>
              <a:t>to accommodate </a:t>
            </a:r>
            <a:r>
              <a:rPr sz="900" spc="-5">
                <a:latin typeface="Verdana"/>
                <a:cs typeface="Verdana"/>
              </a:rPr>
              <a:t>this </a:t>
            </a:r>
            <a:r>
              <a:rPr sz="900">
                <a:latin typeface="Verdana"/>
                <a:cs typeface="Verdana"/>
              </a:rPr>
              <a:t>as</a:t>
            </a:r>
            <a:r>
              <a:rPr sz="900" spc="-100">
                <a:latin typeface="Verdana"/>
                <a:cs typeface="Verdana"/>
              </a:rPr>
              <a:t> </a:t>
            </a:r>
            <a:r>
              <a:rPr sz="900" spc="-5">
                <a:latin typeface="Verdana"/>
                <a:cs typeface="Verdana"/>
              </a:rPr>
              <a:t>necessary.</a:t>
            </a:r>
            <a:endParaRPr sz="900">
              <a:latin typeface="Verdana"/>
              <a:cs typeface="Verdana"/>
            </a:endParaRPr>
          </a:p>
          <a:p>
            <a:pPr marL="93345" marR="109220">
              <a:lnSpc>
                <a:spcPct val="100000"/>
              </a:lnSpc>
              <a:spcBef>
                <a:spcPts val="5"/>
              </a:spcBef>
            </a:pPr>
            <a:r>
              <a:rPr sz="900" spc="-5">
                <a:latin typeface="Verdana"/>
                <a:cs typeface="Verdana"/>
              </a:rPr>
              <a:t>Utilising asynchronous communications via chat capabilities </a:t>
            </a:r>
            <a:r>
              <a:rPr sz="900">
                <a:latin typeface="Verdana"/>
                <a:cs typeface="Verdana"/>
              </a:rPr>
              <a:t>in </a:t>
            </a:r>
            <a:r>
              <a:rPr sz="900" spc="-5">
                <a:latin typeface="Verdana"/>
                <a:cs typeface="Verdana"/>
              </a:rPr>
              <a:t>Teams, Slack  and WhatsApp channels </a:t>
            </a:r>
            <a:r>
              <a:rPr sz="900">
                <a:latin typeface="Verdana"/>
                <a:cs typeface="Verdana"/>
              </a:rPr>
              <a:t>are all common practice already </a:t>
            </a:r>
            <a:r>
              <a:rPr sz="900" spc="-5">
                <a:latin typeface="Verdana"/>
                <a:cs typeface="Verdana"/>
              </a:rPr>
              <a:t>within other client  and we will continue </a:t>
            </a:r>
            <a:r>
              <a:rPr sz="900">
                <a:latin typeface="Verdana"/>
                <a:cs typeface="Verdana"/>
              </a:rPr>
              <a:t>to </a:t>
            </a:r>
            <a:r>
              <a:rPr sz="900" spc="-5">
                <a:latin typeface="Verdana"/>
                <a:cs typeface="Verdana"/>
              </a:rPr>
              <a:t>leverage this and </a:t>
            </a:r>
            <a:r>
              <a:rPr sz="900">
                <a:latin typeface="Verdana"/>
                <a:cs typeface="Verdana"/>
              </a:rPr>
              <a:t>drive </a:t>
            </a:r>
            <a:r>
              <a:rPr sz="900" spc="-5">
                <a:latin typeface="Verdana"/>
                <a:cs typeface="Verdana"/>
              </a:rPr>
              <a:t>activities through </a:t>
            </a:r>
            <a:r>
              <a:rPr sz="900">
                <a:latin typeface="Verdana"/>
                <a:cs typeface="Verdana"/>
              </a:rPr>
              <a:t>remote  </a:t>
            </a:r>
            <a:r>
              <a:rPr sz="900" spc="-5">
                <a:latin typeface="Verdana"/>
                <a:cs typeface="Verdana"/>
              </a:rPr>
              <a:t>leadership</a:t>
            </a:r>
            <a:endParaRPr sz="900">
              <a:latin typeface="Verdana"/>
              <a:cs typeface="Verdana"/>
            </a:endParaRPr>
          </a:p>
        </p:txBody>
      </p:sp>
      <p:sp>
        <p:nvSpPr>
          <p:cNvPr id="9" name="object 9"/>
          <p:cNvSpPr txBox="1"/>
          <p:nvPr/>
        </p:nvSpPr>
        <p:spPr>
          <a:xfrm>
            <a:off x="87579" y="1269970"/>
            <a:ext cx="12063095" cy="1296670"/>
          </a:xfrm>
          <a:prstGeom prst="rect">
            <a:avLst/>
          </a:prstGeom>
        </p:spPr>
        <p:txBody>
          <a:bodyPr vert="horz" wrap="square" lIns="0" tIns="26034" rIns="0" bIns="0" rtlCol="0">
            <a:spAutoFit/>
          </a:bodyPr>
          <a:lstStyle/>
          <a:p>
            <a:pPr marL="1270" algn="ctr">
              <a:lnSpc>
                <a:spcPct val="100000"/>
              </a:lnSpc>
              <a:spcBef>
                <a:spcPts val="204"/>
              </a:spcBef>
            </a:pPr>
            <a:r>
              <a:rPr sz="1600" spc="-40">
                <a:latin typeface="Verdana"/>
                <a:cs typeface="Verdana"/>
              </a:rPr>
              <a:t>We </a:t>
            </a:r>
            <a:r>
              <a:rPr sz="1600" spc="-5">
                <a:latin typeface="Verdana"/>
                <a:cs typeface="Verdana"/>
              </a:rPr>
              <a:t>do not </a:t>
            </a:r>
            <a:r>
              <a:rPr sz="1600" spc="-10">
                <a:latin typeface="Verdana"/>
                <a:cs typeface="Verdana"/>
              </a:rPr>
              <a:t>compromise </a:t>
            </a:r>
            <a:r>
              <a:rPr sz="1600" b="1" spc="-5">
                <a:latin typeface="Verdana"/>
                <a:cs typeface="Verdana"/>
              </a:rPr>
              <a:t>our </a:t>
            </a:r>
            <a:r>
              <a:rPr sz="1600" b="1" spc="-20">
                <a:latin typeface="Verdana"/>
                <a:cs typeface="Verdana"/>
              </a:rPr>
              <a:t>ability </a:t>
            </a:r>
            <a:r>
              <a:rPr sz="1600" b="1" spc="-5">
                <a:latin typeface="Verdana"/>
                <a:cs typeface="Verdana"/>
              </a:rPr>
              <a:t>to </a:t>
            </a:r>
            <a:r>
              <a:rPr sz="1600" b="1" spc="-10">
                <a:latin typeface="Verdana"/>
                <a:cs typeface="Verdana"/>
              </a:rPr>
              <a:t>deliver </a:t>
            </a:r>
            <a:r>
              <a:rPr sz="1600" b="1" spc="-5">
                <a:latin typeface="Verdana"/>
                <a:cs typeface="Verdana"/>
              </a:rPr>
              <a:t>at </a:t>
            </a:r>
            <a:r>
              <a:rPr sz="1600" b="1" spc="-10">
                <a:latin typeface="Verdana"/>
                <a:cs typeface="Verdana"/>
              </a:rPr>
              <a:t>speed </a:t>
            </a:r>
            <a:r>
              <a:rPr sz="1600" b="1" spc="-5">
                <a:latin typeface="Verdana"/>
                <a:cs typeface="Verdana"/>
              </a:rPr>
              <a:t>and with </a:t>
            </a:r>
            <a:r>
              <a:rPr sz="1600" b="1" spc="-15">
                <a:latin typeface="Verdana"/>
                <a:cs typeface="Verdana"/>
              </a:rPr>
              <a:t>certainty, </a:t>
            </a:r>
            <a:r>
              <a:rPr sz="1600" b="1" spc="-20">
                <a:latin typeface="Verdana"/>
                <a:cs typeface="Verdana"/>
              </a:rPr>
              <a:t>working</a:t>
            </a:r>
            <a:r>
              <a:rPr sz="1600" b="1" spc="114">
                <a:latin typeface="Verdana"/>
                <a:cs typeface="Verdana"/>
              </a:rPr>
              <a:t> </a:t>
            </a:r>
            <a:r>
              <a:rPr sz="1600" b="1" spc="-20">
                <a:latin typeface="Verdana"/>
                <a:cs typeface="Verdana"/>
              </a:rPr>
              <a:t>remotely</a:t>
            </a:r>
            <a:r>
              <a:rPr sz="1600" spc="-20">
                <a:latin typeface="Verdana"/>
                <a:cs typeface="Verdana"/>
              </a:rPr>
              <a:t>.</a:t>
            </a:r>
            <a:endParaRPr sz="1600">
              <a:latin typeface="Verdana"/>
              <a:cs typeface="Verdana"/>
            </a:endParaRPr>
          </a:p>
          <a:p>
            <a:pPr algn="ctr">
              <a:lnSpc>
                <a:spcPct val="100000"/>
              </a:lnSpc>
              <a:spcBef>
                <a:spcPts val="110"/>
              </a:spcBef>
            </a:pPr>
            <a:r>
              <a:rPr sz="1600" spc="-50">
                <a:latin typeface="Verdana"/>
                <a:cs typeface="Verdana"/>
              </a:rPr>
              <a:t>We </a:t>
            </a:r>
            <a:r>
              <a:rPr sz="1600" spc="-20">
                <a:latin typeface="Verdana"/>
                <a:cs typeface="Verdana"/>
              </a:rPr>
              <a:t>have </a:t>
            </a:r>
            <a:r>
              <a:rPr sz="1600" spc="-5">
                <a:latin typeface="Verdana"/>
                <a:cs typeface="Verdana"/>
              </a:rPr>
              <a:t>experience </a:t>
            </a:r>
            <a:r>
              <a:rPr sz="1600" b="1" spc="-10">
                <a:latin typeface="Verdana"/>
                <a:cs typeface="Verdana"/>
              </a:rPr>
              <a:t>working collaboratively with distributed </a:t>
            </a:r>
            <a:r>
              <a:rPr sz="1600" b="1" spc="-5">
                <a:latin typeface="Verdana"/>
                <a:cs typeface="Verdana"/>
              </a:rPr>
              <a:t>teams</a:t>
            </a:r>
            <a:r>
              <a:rPr sz="1600" b="1" spc="-25">
                <a:latin typeface="Verdana"/>
                <a:cs typeface="Verdana"/>
              </a:rPr>
              <a:t> </a:t>
            </a:r>
            <a:r>
              <a:rPr sz="1600" spc="-5">
                <a:latin typeface="Verdana"/>
                <a:cs typeface="Verdana"/>
              </a:rPr>
              <a:t>and</a:t>
            </a:r>
            <a:endParaRPr sz="1600">
              <a:latin typeface="Verdana"/>
              <a:cs typeface="Verdana"/>
            </a:endParaRPr>
          </a:p>
          <a:p>
            <a:pPr algn="ctr">
              <a:lnSpc>
                <a:spcPct val="100000"/>
              </a:lnSpc>
              <a:spcBef>
                <a:spcPts val="95"/>
              </a:spcBef>
            </a:pPr>
            <a:r>
              <a:rPr sz="1600" spc="-10">
                <a:latin typeface="Verdana"/>
                <a:cs typeface="Verdana"/>
              </a:rPr>
              <a:t>importantly </a:t>
            </a:r>
            <a:r>
              <a:rPr sz="1600" b="1" spc="-10">
                <a:latin typeface="Verdana"/>
                <a:cs typeface="Verdana"/>
              </a:rPr>
              <a:t>experience </a:t>
            </a:r>
            <a:r>
              <a:rPr sz="1600" b="1" spc="-5">
                <a:latin typeface="Verdana"/>
                <a:cs typeface="Verdana"/>
              </a:rPr>
              <a:t>in </a:t>
            </a:r>
            <a:r>
              <a:rPr sz="1600" b="1" spc="-20">
                <a:latin typeface="Verdana"/>
                <a:cs typeface="Verdana"/>
              </a:rPr>
              <a:t>building </a:t>
            </a:r>
            <a:r>
              <a:rPr sz="1600" b="1" spc="-5">
                <a:latin typeface="Verdana"/>
                <a:cs typeface="Verdana"/>
              </a:rPr>
              <a:t>that </a:t>
            </a:r>
            <a:r>
              <a:rPr sz="1600" b="1" spc="-10">
                <a:latin typeface="Verdana"/>
                <a:cs typeface="Verdana"/>
              </a:rPr>
              <a:t>capability </a:t>
            </a:r>
            <a:r>
              <a:rPr sz="1600" b="1" spc="-5">
                <a:latin typeface="Verdana"/>
                <a:cs typeface="Verdana"/>
              </a:rPr>
              <a:t>with other</a:t>
            </a:r>
            <a:r>
              <a:rPr sz="1600" b="1" spc="60">
                <a:latin typeface="Verdana"/>
                <a:cs typeface="Verdana"/>
              </a:rPr>
              <a:t> </a:t>
            </a:r>
            <a:r>
              <a:rPr sz="1600" b="1" spc="-10">
                <a:latin typeface="Verdana"/>
                <a:cs typeface="Verdana"/>
              </a:rPr>
              <a:t>organizations.</a:t>
            </a:r>
            <a:endParaRPr sz="1600">
              <a:latin typeface="Verdana"/>
              <a:cs typeface="Verdana"/>
            </a:endParaRPr>
          </a:p>
          <a:p>
            <a:pPr marL="12065" marR="5080" indent="-5080" algn="ctr">
              <a:lnSpc>
                <a:spcPct val="100000"/>
              </a:lnSpc>
              <a:spcBef>
                <a:spcPts val="95"/>
              </a:spcBef>
              <a:tabLst>
                <a:tab pos="1002665" algn="l"/>
              </a:tabLst>
            </a:pPr>
            <a:r>
              <a:rPr sz="1600" spc="-60">
                <a:latin typeface="Verdana"/>
                <a:cs typeface="Verdana"/>
              </a:rPr>
              <a:t>We</a:t>
            </a:r>
            <a:r>
              <a:rPr sz="1600" spc="-75">
                <a:latin typeface="Verdana"/>
                <a:cs typeface="Verdana"/>
              </a:rPr>
              <a:t> </a:t>
            </a:r>
            <a:r>
              <a:rPr sz="1600" spc="-20">
                <a:latin typeface="Verdana"/>
                <a:cs typeface="Verdana"/>
              </a:rPr>
              <a:t>have	</a:t>
            </a:r>
            <a:r>
              <a:rPr sz="1600" spc="-5">
                <a:latin typeface="Verdana"/>
                <a:cs typeface="Verdana"/>
              </a:rPr>
              <a:t>experience </a:t>
            </a:r>
            <a:r>
              <a:rPr sz="1600" spc="-10">
                <a:latin typeface="Verdana"/>
                <a:cs typeface="Verdana"/>
              </a:rPr>
              <a:t>working with </a:t>
            </a:r>
            <a:r>
              <a:rPr sz="1600" spc="-5">
                <a:latin typeface="Verdana"/>
                <a:cs typeface="Verdana"/>
              </a:rPr>
              <a:t>numerous </a:t>
            </a:r>
            <a:r>
              <a:rPr sz="1600" spc="-10">
                <a:latin typeface="Verdana"/>
                <a:cs typeface="Verdana"/>
              </a:rPr>
              <a:t>methodologies </a:t>
            </a:r>
            <a:r>
              <a:rPr sz="1600" spc="-5">
                <a:latin typeface="Verdana"/>
                <a:cs typeface="Verdana"/>
              </a:rPr>
              <a:t>and tools for </a:t>
            </a:r>
            <a:r>
              <a:rPr sz="1600" spc="-10">
                <a:latin typeface="Verdana"/>
                <a:cs typeface="Verdana"/>
              </a:rPr>
              <a:t>consulting </a:t>
            </a:r>
            <a:r>
              <a:rPr sz="1600" spc="-5">
                <a:latin typeface="Verdana"/>
                <a:cs typeface="Verdana"/>
              </a:rPr>
              <a:t>and </a:t>
            </a:r>
            <a:r>
              <a:rPr sz="1600" spc="-10">
                <a:latin typeface="Verdana"/>
                <a:cs typeface="Verdana"/>
              </a:rPr>
              <a:t>technical delivery  engagements </a:t>
            </a:r>
            <a:r>
              <a:rPr sz="1600" spc="-5">
                <a:latin typeface="Verdana"/>
                <a:cs typeface="Verdana"/>
              </a:rPr>
              <a:t>and </a:t>
            </a:r>
            <a:r>
              <a:rPr sz="1600" spc="-10">
                <a:latin typeface="Verdana"/>
                <a:cs typeface="Verdana"/>
              </a:rPr>
              <a:t>we </a:t>
            </a:r>
            <a:r>
              <a:rPr sz="1600" spc="-5">
                <a:latin typeface="Verdana"/>
                <a:cs typeface="Verdana"/>
              </a:rPr>
              <a:t>can support the </a:t>
            </a:r>
            <a:r>
              <a:rPr sz="1600" spc="-10">
                <a:latin typeface="Verdana"/>
                <a:cs typeface="Verdana"/>
              </a:rPr>
              <a:t>introduction </a:t>
            </a:r>
            <a:r>
              <a:rPr sz="1600" spc="-5">
                <a:latin typeface="Verdana"/>
                <a:cs typeface="Verdana"/>
              </a:rPr>
              <a:t>or exploit the </a:t>
            </a:r>
            <a:r>
              <a:rPr sz="1600" spc="-10">
                <a:latin typeface="Verdana"/>
                <a:cs typeface="Verdana"/>
              </a:rPr>
              <a:t>existing tooling </a:t>
            </a:r>
            <a:r>
              <a:rPr sz="1600" spc="-5">
                <a:latin typeface="Verdana"/>
                <a:cs typeface="Verdana"/>
              </a:rPr>
              <a:t>that Marelli </a:t>
            </a:r>
            <a:r>
              <a:rPr sz="1600" spc="-20">
                <a:latin typeface="Verdana"/>
                <a:cs typeface="Verdana"/>
              </a:rPr>
              <a:t>have </a:t>
            </a:r>
            <a:r>
              <a:rPr sz="1600" spc="-5">
                <a:latin typeface="Verdana"/>
                <a:cs typeface="Verdana"/>
              </a:rPr>
              <a:t>already </a:t>
            </a:r>
            <a:r>
              <a:rPr sz="1600" spc="-25">
                <a:latin typeface="Verdana"/>
                <a:cs typeface="Verdana"/>
              </a:rPr>
              <a:t>invested</a:t>
            </a:r>
            <a:r>
              <a:rPr sz="1600" spc="285">
                <a:latin typeface="Verdana"/>
                <a:cs typeface="Verdana"/>
              </a:rPr>
              <a:t> </a:t>
            </a:r>
            <a:r>
              <a:rPr sz="1600" spc="-15">
                <a:latin typeface="Verdana"/>
                <a:cs typeface="Verdana"/>
              </a:rPr>
              <a:t>in.</a:t>
            </a:r>
            <a:endParaRPr sz="1600">
              <a:latin typeface="Verdana"/>
              <a:cs typeface="Verdana"/>
            </a:endParaRPr>
          </a:p>
        </p:txBody>
      </p:sp>
      <p:sp>
        <p:nvSpPr>
          <p:cNvPr id="10" name="object 10"/>
          <p:cNvSpPr/>
          <p:nvPr/>
        </p:nvSpPr>
        <p:spPr>
          <a:xfrm>
            <a:off x="0" y="4293108"/>
            <a:ext cx="12192000" cy="584200"/>
          </a:xfrm>
          <a:custGeom>
            <a:avLst/>
            <a:gdLst/>
            <a:ahLst/>
            <a:cxnLst/>
            <a:rect l="l" t="t" r="r" b="b"/>
            <a:pathLst>
              <a:path w="12192000" h="584200">
                <a:moveTo>
                  <a:pt x="0" y="583692"/>
                </a:moveTo>
                <a:lnTo>
                  <a:pt x="12191999" y="583692"/>
                </a:lnTo>
                <a:lnTo>
                  <a:pt x="12192000" y="0"/>
                </a:lnTo>
                <a:lnTo>
                  <a:pt x="0" y="0"/>
                </a:lnTo>
                <a:lnTo>
                  <a:pt x="0" y="583692"/>
                </a:lnTo>
                <a:close/>
              </a:path>
            </a:pathLst>
          </a:custGeom>
          <a:solidFill>
            <a:srgbClr val="FFFFFF"/>
          </a:solidFill>
        </p:spPr>
        <p:txBody>
          <a:bodyPr wrap="square" lIns="0" tIns="0" rIns="0" bIns="0" rtlCol="0"/>
          <a:lstStyle/>
          <a:p>
            <a:endParaRPr/>
          </a:p>
        </p:txBody>
      </p:sp>
      <p:sp>
        <p:nvSpPr>
          <p:cNvPr id="11" name="object 11"/>
          <p:cNvSpPr txBox="1"/>
          <p:nvPr/>
        </p:nvSpPr>
        <p:spPr>
          <a:xfrm>
            <a:off x="7129271" y="2644139"/>
            <a:ext cx="4619625" cy="289560"/>
          </a:xfrm>
          <a:prstGeom prst="rect">
            <a:avLst/>
          </a:prstGeom>
          <a:solidFill>
            <a:srgbClr val="006EAC"/>
          </a:solidFill>
        </p:spPr>
        <p:txBody>
          <a:bodyPr vert="horz" wrap="square" lIns="0" tIns="42544" rIns="0" bIns="0" rtlCol="0">
            <a:spAutoFit/>
          </a:bodyPr>
          <a:lstStyle/>
          <a:p>
            <a:pPr marL="202565" algn="ctr">
              <a:lnSpc>
                <a:spcPct val="100000"/>
              </a:lnSpc>
              <a:spcBef>
                <a:spcPts val="334"/>
              </a:spcBef>
            </a:pPr>
            <a:r>
              <a:rPr sz="1100" b="1" spc="-5">
                <a:solidFill>
                  <a:srgbClr val="FFFFFF"/>
                </a:solidFill>
                <a:latin typeface="Verdana"/>
                <a:cs typeface="Verdana"/>
              </a:rPr>
              <a:t>Collaborating</a:t>
            </a:r>
            <a:r>
              <a:rPr sz="1100" b="1" spc="-50">
                <a:solidFill>
                  <a:srgbClr val="FFFFFF"/>
                </a:solidFill>
                <a:latin typeface="Verdana"/>
                <a:cs typeface="Verdana"/>
              </a:rPr>
              <a:t> </a:t>
            </a:r>
            <a:r>
              <a:rPr sz="1100" b="1" spc="-5">
                <a:solidFill>
                  <a:srgbClr val="FFFFFF"/>
                </a:solidFill>
                <a:latin typeface="Verdana"/>
                <a:cs typeface="Verdana"/>
              </a:rPr>
              <a:t>Globally</a:t>
            </a:r>
            <a:endParaRPr sz="1100">
              <a:latin typeface="Verdana"/>
              <a:cs typeface="Verdana"/>
            </a:endParaRPr>
          </a:p>
        </p:txBody>
      </p:sp>
      <p:sp>
        <p:nvSpPr>
          <p:cNvPr id="12" name="object 12"/>
          <p:cNvSpPr txBox="1"/>
          <p:nvPr/>
        </p:nvSpPr>
        <p:spPr>
          <a:xfrm>
            <a:off x="335279" y="2959607"/>
            <a:ext cx="4845050" cy="1188720"/>
          </a:xfrm>
          <a:prstGeom prst="rect">
            <a:avLst/>
          </a:prstGeom>
          <a:solidFill>
            <a:srgbClr val="F0F0F0"/>
          </a:solidFill>
        </p:spPr>
        <p:txBody>
          <a:bodyPr vert="horz" wrap="square" lIns="0" tIns="4445" rIns="0" bIns="0" rtlCol="0">
            <a:spAutoFit/>
          </a:bodyPr>
          <a:lstStyle/>
          <a:p>
            <a:pPr>
              <a:lnSpc>
                <a:spcPct val="100000"/>
              </a:lnSpc>
              <a:spcBef>
                <a:spcPts val="35"/>
              </a:spcBef>
            </a:pPr>
            <a:endParaRPr sz="1150">
              <a:latin typeface="Times New Roman"/>
              <a:cs typeface="Times New Roman"/>
            </a:endParaRPr>
          </a:p>
          <a:p>
            <a:pPr marL="109855" marR="98425" algn="just">
              <a:lnSpc>
                <a:spcPct val="100000"/>
              </a:lnSpc>
              <a:spcBef>
                <a:spcPts val="5"/>
              </a:spcBef>
            </a:pPr>
            <a:r>
              <a:rPr sz="1000" spc="-5">
                <a:latin typeface="Verdana"/>
                <a:cs typeface="Verdana"/>
              </a:rPr>
              <a:t>Teams can be the </a:t>
            </a:r>
            <a:r>
              <a:rPr sz="1000" b="1" spc="-5">
                <a:latin typeface="Verdana"/>
                <a:cs typeface="Verdana"/>
              </a:rPr>
              <a:t>core of </a:t>
            </a:r>
            <a:r>
              <a:rPr sz="1000" b="1">
                <a:latin typeface="Verdana"/>
                <a:cs typeface="Verdana"/>
              </a:rPr>
              <a:t>our </a:t>
            </a:r>
            <a:r>
              <a:rPr sz="1000" b="1" spc="-10">
                <a:latin typeface="Verdana"/>
                <a:cs typeface="Verdana"/>
              </a:rPr>
              <a:t>collaboration tooling </a:t>
            </a:r>
            <a:r>
              <a:rPr sz="1000" spc="-5">
                <a:latin typeface="Verdana"/>
                <a:cs typeface="Verdana"/>
              </a:rPr>
              <a:t>and we can </a:t>
            </a:r>
            <a:r>
              <a:rPr sz="1000">
                <a:latin typeface="Verdana"/>
                <a:cs typeface="Verdana"/>
              </a:rPr>
              <a:t>show  </a:t>
            </a:r>
            <a:r>
              <a:rPr sz="1000" spc="-5">
                <a:latin typeface="Verdana"/>
                <a:cs typeface="Verdana"/>
              </a:rPr>
              <a:t>we have grown the </a:t>
            </a:r>
            <a:r>
              <a:rPr sz="1000" b="1" spc="-10">
                <a:latin typeface="Verdana"/>
                <a:cs typeface="Verdana"/>
              </a:rPr>
              <a:t>ability </a:t>
            </a:r>
            <a:r>
              <a:rPr sz="1000" b="1" spc="-5">
                <a:latin typeface="Verdana"/>
                <a:cs typeface="Verdana"/>
              </a:rPr>
              <a:t>to </a:t>
            </a:r>
            <a:r>
              <a:rPr sz="1000" b="1" spc="-10">
                <a:latin typeface="Verdana"/>
                <a:cs typeface="Verdana"/>
              </a:rPr>
              <a:t>work collaboratively </a:t>
            </a:r>
            <a:r>
              <a:rPr sz="1000" spc="-5">
                <a:latin typeface="Verdana"/>
                <a:cs typeface="Verdana"/>
              </a:rPr>
              <a:t>in international  program </a:t>
            </a:r>
            <a:r>
              <a:rPr sz="1000" spc="-10">
                <a:latin typeface="Verdana"/>
                <a:cs typeface="Verdana"/>
              </a:rPr>
              <a:t>with </a:t>
            </a:r>
            <a:r>
              <a:rPr sz="1000" spc="-5">
                <a:latin typeface="Verdana"/>
                <a:cs typeface="Verdana"/>
              </a:rPr>
              <a:t>the stream leads and teams focused on developing rich  </a:t>
            </a:r>
            <a:r>
              <a:rPr sz="1000">
                <a:latin typeface="Verdana"/>
                <a:cs typeface="Verdana"/>
              </a:rPr>
              <a:t>assets </a:t>
            </a:r>
            <a:r>
              <a:rPr sz="1000" spc="-5">
                <a:latin typeface="Verdana"/>
                <a:cs typeface="Verdana"/>
              </a:rPr>
              <a:t>and reach </a:t>
            </a:r>
            <a:r>
              <a:rPr sz="1000">
                <a:latin typeface="Verdana"/>
                <a:cs typeface="Verdana"/>
              </a:rPr>
              <a:t>decisions. Greater use of </a:t>
            </a:r>
            <a:r>
              <a:rPr sz="1000" spc="-5">
                <a:latin typeface="Verdana"/>
                <a:cs typeface="Verdana"/>
              </a:rPr>
              <a:t>video </a:t>
            </a:r>
            <a:r>
              <a:rPr sz="1000">
                <a:latin typeface="Verdana"/>
                <a:cs typeface="Verdana"/>
              </a:rPr>
              <a:t>technologies for  </a:t>
            </a:r>
            <a:r>
              <a:rPr sz="1000" spc="-5">
                <a:latin typeface="Verdana"/>
                <a:cs typeface="Verdana"/>
              </a:rPr>
              <a:t>reviews, walkthroughs and demonstrations can </a:t>
            </a:r>
            <a:r>
              <a:rPr sz="1000">
                <a:latin typeface="Verdana"/>
                <a:cs typeface="Verdana"/>
              </a:rPr>
              <a:t>also</a:t>
            </a:r>
            <a:r>
              <a:rPr sz="1000" spc="35">
                <a:latin typeface="Verdana"/>
                <a:cs typeface="Verdana"/>
              </a:rPr>
              <a:t> </a:t>
            </a:r>
            <a:r>
              <a:rPr sz="1000">
                <a:latin typeface="Verdana"/>
                <a:cs typeface="Verdana"/>
              </a:rPr>
              <a:t>help.</a:t>
            </a:r>
          </a:p>
        </p:txBody>
      </p:sp>
      <p:sp>
        <p:nvSpPr>
          <p:cNvPr id="13" name="object 13"/>
          <p:cNvSpPr/>
          <p:nvPr/>
        </p:nvSpPr>
        <p:spPr>
          <a:xfrm>
            <a:off x="1344167" y="4436364"/>
            <a:ext cx="367283" cy="367284"/>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2106167" y="4300728"/>
            <a:ext cx="627888" cy="627888"/>
          </a:xfrm>
          <a:prstGeom prst="rect">
            <a:avLst/>
          </a:prstGeom>
          <a:blipFill>
            <a:blip r:embed="rId4" cstate="print"/>
            <a:stretch>
              <a:fillRect/>
            </a:stretch>
          </a:blipFill>
        </p:spPr>
        <p:txBody>
          <a:bodyPr wrap="square" lIns="0" tIns="0" rIns="0" bIns="0" rtlCol="0"/>
          <a:lstStyle/>
          <a:p>
            <a:endParaRPr/>
          </a:p>
        </p:txBody>
      </p:sp>
      <p:sp>
        <p:nvSpPr>
          <p:cNvPr id="15" name="object 15"/>
          <p:cNvSpPr/>
          <p:nvPr/>
        </p:nvSpPr>
        <p:spPr>
          <a:xfrm>
            <a:off x="3896867" y="4398264"/>
            <a:ext cx="771143" cy="405384"/>
          </a:xfrm>
          <a:prstGeom prst="rect">
            <a:avLst/>
          </a:prstGeom>
          <a:blipFill>
            <a:blip r:embed="rId5" cstate="print"/>
            <a:stretch>
              <a:fillRect/>
            </a:stretch>
          </a:blipFill>
        </p:spPr>
        <p:txBody>
          <a:bodyPr wrap="square" lIns="0" tIns="0" rIns="0" bIns="0" rtlCol="0"/>
          <a:lstStyle/>
          <a:p>
            <a:endParaRPr/>
          </a:p>
        </p:txBody>
      </p:sp>
      <p:sp>
        <p:nvSpPr>
          <p:cNvPr id="16" name="object 16"/>
          <p:cNvSpPr/>
          <p:nvPr/>
        </p:nvSpPr>
        <p:spPr>
          <a:xfrm>
            <a:off x="5460491" y="4392167"/>
            <a:ext cx="600456" cy="416051"/>
          </a:xfrm>
          <a:prstGeom prst="rect">
            <a:avLst/>
          </a:prstGeom>
          <a:blipFill>
            <a:blip r:embed="rId6" cstate="print"/>
            <a:stretch>
              <a:fillRect/>
            </a:stretch>
          </a:blipFill>
        </p:spPr>
        <p:txBody>
          <a:bodyPr wrap="square" lIns="0" tIns="0" rIns="0" bIns="0" rtlCol="0"/>
          <a:lstStyle/>
          <a:p>
            <a:endParaRPr/>
          </a:p>
        </p:txBody>
      </p:sp>
      <p:sp>
        <p:nvSpPr>
          <p:cNvPr id="17" name="object 17"/>
          <p:cNvSpPr/>
          <p:nvPr/>
        </p:nvSpPr>
        <p:spPr>
          <a:xfrm>
            <a:off x="6851904" y="4515611"/>
            <a:ext cx="1095755" cy="169163"/>
          </a:xfrm>
          <a:prstGeom prst="rect">
            <a:avLst/>
          </a:prstGeom>
          <a:blipFill>
            <a:blip r:embed="rId7" cstate="print"/>
            <a:stretch>
              <a:fillRect/>
            </a:stretch>
          </a:blipFill>
        </p:spPr>
        <p:txBody>
          <a:bodyPr wrap="square" lIns="0" tIns="0" rIns="0" bIns="0" rtlCol="0"/>
          <a:lstStyle/>
          <a:p>
            <a:endParaRPr/>
          </a:p>
        </p:txBody>
      </p:sp>
      <p:sp>
        <p:nvSpPr>
          <p:cNvPr id="18" name="object 18"/>
          <p:cNvSpPr/>
          <p:nvPr/>
        </p:nvSpPr>
        <p:spPr>
          <a:xfrm>
            <a:off x="9838943" y="4410455"/>
            <a:ext cx="385572" cy="385572"/>
          </a:xfrm>
          <a:prstGeom prst="rect">
            <a:avLst/>
          </a:prstGeom>
          <a:blipFill>
            <a:blip r:embed="rId8" cstate="print"/>
            <a:stretch>
              <a:fillRect/>
            </a:stretch>
          </a:blipFill>
        </p:spPr>
        <p:txBody>
          <a:bodyPr wrap="square" lIns="0" tIns="0" rIns="0" bIns="0" rtlCol="0"/>
          <a:lstStyle/>
          <a:p>
            <a:endParaRPr/>
          </a:p>
        </p:txBody>
      </p:sp>
      <p:sp>
        <p:nvSpPr>
          <p:cNvPr id="19" name="object 19"/>
          <p:cNvSpPr/>
          <p:nvPr/>
        </p:nvSpPr>
        <p:spPr>
          <a:xfrm>
            <a:off x="8593835" y="4418076"/>
            <a:ext cx="1132331" cy="385572"/>
          </a:xfrm>
          <a:prstGeom prst="rect">
            <a:avLst/>
          </a:prstGeom>
          <a:blipFill>
            <a:blip r:embed="rId9" cstate="print"/>
            <a:stretch>
              <a:fillRect/>
            </a:stretch>
          </a:blipFill>
        </p:spPr>
        <p:txBody>
          <a:bodyPr wrap="square" lIns="0" tIns="0" rIns="0" bIns="0" rtlCol="0"/>
          <a:lstStyle/>
          <a:p>
            <a:endParaRPr/>
          </a:p>
        </p:txBody>
      </p:sp>
      <p:sp>
        <p:nvSpPr>
          <p:cNvPr id="20" name="object 20"/>
          <p:cNvSpPr txBox="1"/>
          <p:nvPr/>
        </p:nvSpPr>
        <p:spPr>
          <a:xfrm>
            <a:off x="594461" y="5289550"/>
            <a:ext cx="10646410" cy="666750"/>
          </a:xfrm>
          <a:prstGeom prst="rect">
            <a:avLst/>
          </a:prstGeom>
        </p:spPr>
        <p:txBody>
          <a:bodyPr vert="horz" wrap="square" lIns="0" tIns="12700" rIns="0" bIns="0" rtlCol="0">
            <a:spAutoFit/>
          </a:bodyPr>
          <a:lstStyle/>
          <a:p>
            <a:pPr marL="12065" marR="5080" indent="-1270" algn="ctr">
              <a:lnSpc>
                <a:spcPct val="100000"/>
              </a:lnSpc>
              <a:spcBef>
                <a:spcPts val="100"/>
              </a:spcBef>
            </a:pPr>
            <a:r>
              <a:rPr sz="1400" spc="-5">
                <a:latin typeface="Verdana"/>
                <a:cs typeface="Verdana"/>
              </a:rPr>
              <a:t>Our team </a:t>
            </a:r>
            <a:r>
              <a:rPr sz="1400">
                <a:latin typeface="Verdana"/>
                <a:cs typeface="Verdana"/>
              </a:rPr>
              <a:t>is </a:t>
            </a:r>
            <a:r>
              <a:rPr sz="1400" spc="-5">
                <a:latin typeface="Verdana"/>
                <a:cs typeface="Verdana"/>
              </a:rPr>
              <a:t>experienced </a:t>
            </a:r>
            <a:r>
              <a:rPr sz="1400">
                <a:latin typeface="Verdana"/>
                <a:cs typeface="Verdana"/>
              </a:rPr>
              <a:t>in </a:t>
            </a:r>
            <a:r>
              <a:rPr sz="1400" spc="-5">
                <a:latin typeface="Verdana"/>
                <a:cs typeface="Verdana"/>
              </a:rPr>
              <a:t>working </a:t>
            </a:r>
            <a:r>
              <a:rPr sz="1400">
                <a:latin typeface="Verdana"/>
                <a:cs typeface="Verdana"/>
              </a:rPr>
              <a:t>this </a:t>
            </a:r>
            <a:r>
              <a:rPr sz="1400" spc="-70">
                <a:latin typeface="Verdana"/>
                <a:cs typeface="Verdana"/>
              </a:rPr>
              <a:t>way. </a:t>
            </a:r>
            <a:r>
              <a:rPr sz="1400" b="1" spc="-20">
                <a:latin typeface="Verdana"/>
                <a:cs typeface="Verdana"/>
              </a:rPr>
              <a:t>We </a:t>
            </a:r>
            <a:r>
              <a:rPr sz="1400" b="1" spc="-10">
                <a:latin typeface="Verdana"/>
                <a:cs typeface="Verdana"/>
              </a:rPr>
              <a:t>have </a:t>
            </a:r>
            <a:r>
              <a:rPr sz="1400" b="1" spc="-5">
                <a:latin typeface="Verdana"/>
                <a:cs typeface="Verdana"/>
              </a:rPr>
              <a:t>experience </a:t>
            </a:r>
            <a:r>
              <a:rPr sz="1400" b="1">
                <a:latin typeface="Verdana"/>
                <a:cs typeface="Verdana"/>
              </a:rPr>
              <a:t>in </a:t>
            </a:r>
            <a:r>
              <a:rPr sz="1400" b="1" spc="-5">
                <a:latin typeface="Verdana"/>
                <a:cs typeface="Verdana"/>
              </a:rPr>
              <a:t>leading remotely and there </a:t>
            </a:r>
            <a:r>
              <a:rPr sz="1400" b="1">
                <a:latin typeface="Verdana"/>
                <a:cs typeface="Verdana"/>
              </a:rPr>
              <a:t>will be an  </a:t>
            </a:r>
            <a:r>
              <a:rPr sz="1400" b="1" spc="-5">
                <a:latin typeface="Verdana"/>
                <a:cs typeface="Verdana"/>
              </a:rPr>
              <a:t>increase </a:t>
            </a:r>
            <a:r>
              <a:rPr sz="1400" b="1">
                <a:latin typeface="Verdana"/>
                <a:cs typeface="Verdana"/>
              </a:rPr>
              <a:t>in </a:t>
            </a:r>
            <a:r>
              <a:rPr sz="1400" b="1" spc="-5">
                <a:latin typeface="Verdana"/>
                <a:cs typeface="Verdana"/>
              </a:rPr>
              <a:t>touchpoints (formal and informal) during the </a:t>
            </a:r>
            <a:r>
              <a:rPr sz="1400" b="1">
                <a:latin typeface="Verdana"/>
                <a:cs typeface="Verdana"/>
              </a:rPr>
              <a:t>Program </a:t>
            </a:r>
            <a:r>
              <a:rPr sz="1400" b="1" spc="-5">
                <a:latin typeface="Verdana"/>
                <a:cs typeface="Verdana"/>
              </a:rPr>
              <a:t>that help to ensure drive</a:t>
            </a:r>
            <a:r>
              <a:rPr sz="1400" b="1" spc="-340">
                <a:latin typeface="Verdana"/>
                <a:cs typeface="Verdana"/>
              </a:rPr>
              <a:t> </a:t>
            </a:r>
            <a:r>
              <a:rPr sz="1400" b="1" spc="5">
                <a:latin typeface="Verdana"/>
                <a:cs typeface="Verdana"/>
              </a:rPr>
              <a:t>and </a:t>
            </a:r>
            <a:r>
              <a:rPr sz="1400" b="1" spc="-5">
                <a:latin typeface="Verdana"/>
                <a:cs typeface="Verdana"/>
              </a:rPr>
              <a:t>continuing  cadence for delivery</a:t>
            </a:r>
            <a:r>
              <a:rPr sz="1400" b="1" spc="-85">
                <a:latin typeface="Verdana"/>
                <a:cs typeface="Verdana"/>
              </a:rPr>
              <a:t> </a:t>
            </a:r>
            <a:r>
              <a:rPr sz="1400" b="1" spc="-15">
                <a:latin typeface="Verdana"/>
                <a:cs typeface="Verdana"/>
              </a:rPr>
              <a:t>activities.</a:t>
            </a:r>
            <a:endParaRPr sz="1400">
              <a:latin typeface="Verdana"/>
              <a:cs typeface="Verdana"/>
            </a:endParaRPr>
          </a:p>
        </p:txBody>
      </p:sp>
      <p:sp>
        <p:nvSpPr>
          <p:cNvPr id="21" name="object 21"/>
          <p:cNvSpPr/>
          <p:nvPr/>
        </p:nvSpPr>
        <p:spPr>
          <a:xfrm>
            <a:off x="5359908" y="3140964"/>
            <a:ext cx="86995" cy="149860"/>
          </a:xfrm>
          <a:custGeom>
            <a:avLst/>
            <a:gdLst/>
            <a:ahLst/>
            <a:cxnLst/>
            <a:rect l="l" t="t" r="r" b="b"/>
            <a:pathLst>
              <a:path w="86995" h="149860">
                <a:moveTo>
                  <a:pt x="86867" y="0"/>
                </a:moveTo>
                <a:lnTo>
                  <a:pt x="0" y="74675"/>
                </a:lnTo>
                <a:lnTo>
                  <a:pt x="86867" y="149351"/>
                </a:lnTo>
                <a:lnTo>
                  <a:pt x="86867" y="0"/>
                </a:lnTo>
                <a:close/>
              </a:path>
            </a:pathLst>
          </a:custGeom>
          <a:solidFill>
            <a:srgbClr val="12ABDB"/>
          </a:solidFill>
        </p:spPr>
        <p:txBody>
          <a:bodyPr wrap="square" lIns="0" tIns="0" rIns="0" bIns="0" rtlCol="0"/>
          <a:lstStyle/>
          <a:p>
            <a:endParaRPr/>
          </a:p>
        </p:txBody>
      </p:sp>
      <p:sp>
        <p:nvSpPr>
          <p:cNvPr id="22" name="object 22"/>
          <p:cNvSpPr/>
          <p:nvPr/>
        </p:nvSpPr>
        <p:spPr>
          <a:xfrm>
            <a:off x="5411723" y="3227832"/>
            <a:ext cx="335280" cy="340360"/>
          </a:xfrm>
          <a:custGeom>
            <a:avLst/>
            <a:gdLst/>
            <a:ahLst/>
            <a:cxnLst/>
            <a:rect l="l" t="t" r="r" b="b"/>
            <a:pathLst>
              <a:path w="335279" h="340360">
                <a:moveTo>
                  <a:pt x="118237" y="0"/>
                </a:moveTo>
                <a:lnTo>
                  <a:pt x="0" y="0"/>
                </a:lnTo>
                <a:lnTo>
                  <a:pt x="4344" y="49366"/>
                </a:lnTo>
                <a:lnTo>
                  <a:pt x="15888" y="97568"/>
                </a:lnTo>
                <a:lnTo>
                  <a:pt x="34454" y="143807"/>
                </a:lnTo>
                <a:lnTo>
                  <a:pt x="59866" y="187285"/>
                </a:lnTo>
                <a:lnTo>
                  <a:pt x="91948" y="227202"/>
                </a:lnTo>
                <a:lnTo>
                  <a:pt x="125680" y="258839"/>
                </a:lnTo>
                <a:lnTo>
                  <a:pt x="162879" y="285561"/>
                </a:lnTo>
                <a:lnTo>
                  <a:pt x="202993" y="307197"/>
                </a:lnTo>
                <a:lnTo>
                  <a:pt x="245467" y="323572"/>
                </a:lnTo>
                <a:lnTo>
                  <a:pt x="289747" y="334515"/>
                </a:lnTo>
                <a:lnTo>
                  <a:pt x="335279" y="339851"/>
                </a:lnTo>
                <a:lnTo>
                  <a:pt x="335279" y="224535"/>
                </a:lnTo>
                <a:lnTo>
                  <a:pt x="291861" y="216955"/>
                </a:lnTo>
                <a:lnTo>
                  <a:pt x="250729" y="201707"/>
                </a:lnTo>
                <a:lnTo>
                  <a:pt x="212978" y="179173"/>
                </a:lnTo>
                <a:lnTo>
                  <a:pt x="179704" y="149732"/>
                </a:lnTo>
                <a:lnTo>
                  <a:pt x="153902" y="116443"/>
                </a:lnTo>
                <a:lnTo>
                  <a:pt x="134921" y="79724"/>
                </a:lnTo>
                <a:lnTo>
                  <a:pt x="122965" y="40576"/>
                </a:lnTo>
                <a:lnTo>
                  <a:pt x="118237" y="0"/>
                </a:lnTo>
                <a:close/>
              </a:path>
            </a:pathLst>
          </a:custGeom>
          <a:solidFill>
            <a:srgbClr val="12ABDB"/>
          </a:solidFill>
        </p:spPr>
        <p:txBody>
          <a:bodyPr wrap="square" lIns="0" tIns="0" rIns="0" bIns="0" rtlCol="0"/>
          <a:lstStyle/>
          <a:p>
            <a:endParaRPr/>
          </a:p>
        </p:txBody>
      </p:sp>
      <p:sp>
        <p:nvSpPr>
          <p:cNvPr id="23" name="object 23"/>
          <p:cNvSpPr/>
          <p:nvPr/>
        </p:nvSpPr>
        <p:spPr>
          <a:xfrm>
            <a:off x="6579107" y="3227832"/>
            <a:ext cx="335280" cy="340360"/>
          </a:xfrm>
          <a:custGeom>
            <a:avLst/>
            <a:gdLst/>
            <a:ahLst/>
            <a:cxnLst/>
            <a:rect l="l" t="t" r="r" b="b"/>
            <a:pathLst>
              <a:path w="335279" h="340360">
                <a:moveTo>
                  <a:pt x="335280" y="0"/>
                </a:moveTo>
                <a:lnTo>
                  <a:pt x="216789" y="0"/>
                </a:lnTo>
                <a:lnTo>
                  <a:pt x="212207" y="40576"/>
                </a:lnTo>
                <a:lnTo>
                  <a:pt x="200326" y="79724"/>
                </a:lnTo>
                <a:lnTo>
                  <a:pt x="181373" y="116443"/>
                </a:lnTo>
                <a:lnTo>
                  <a:pt x="155575" y="149732"/>
                </a:lnTo>
                <a:lnTo>
                  <a:pt x="122300" y="179173"/>
                </a:lnTo>
                <a:lnTo>
                  <a:pt x="84550" y="201707"/>
                </a:lnTo>
                <a:lnTo>
                  <a:pt x="43418" y="216955"/>
                </a:lnTo>
                <a:lnTo>
                  <a:pt x="0" y="224535"/>
                </a:lnTo>
                <a:lnTo>
                  <a:pt x="0" y="339851"/>
                </a:lnTo>
                <a:lnTo>
                  <a:pt x="45532" y="334515"/>
                </a:lnTo>
                <a:lnTo>
                  <a:pt x="89812" y="323572"/>
                </a:lnTo>
                <a:lnTo>
                  <a:pt x="132286" y="307197"/>
                </a:lnTo>
                <a:lnTo>
                  <a:pt x="172400" y="285561"/>
                </a:lnTo>
                <a:lnTo>
                  <a:pt x="209599" y="258839"/>
                </a:lnTo>
                <a:lnTo>
                  <a:pt x="243332" y="227202"/>
                </a:lnTo>
                <a:lnTo>
                  <a:pt x="275413" y="187285"/>
                </a:lnTo>
                <a:lnTo>
                  <a:pt x="300825" y="143807"/>
                </a:lnTo>
                <a:lnTo>
                  <a:pt x="319391" y="97568"/>
                </a:lnTo>
                <a:lnTo>
                  <a:pt x="330935" y="49366"/>
                </a:lnTo>
                <a:lnTo>
                  <a:pt x="335280" y="0"/>
                </a:lnTo>
                <a:close/>
              </a:path>
            </a:pathLst>
          </a:custGeom>
          <a:solidFill>
            <a:srgbClr val="7E7E7E"/>
          </a:solidFill>
        </p:spPr>
        <p:txBody>
          <a:bodyPr wrap="square" lIns="0" tIns="0" rIns="0" bIns="0" rtlCol="0"/>
          <a:lstStyle/>
          <a:p>
            <a:endParaRPr/>
          </a:p>
        </p:txBody>
      </p:sp>
      <p:sp>
        <p:nvSpPr>
          <p:cNvPr id="24" name="object 24"/>
          <p:cNvSpPr/>
          <p:nvPr/>
        </p:nvSpPr>
        <p:spPr>
          <a:xfrm>
            <a:off x="5807027" y="3227832"/>
            <a:ext cx="358140" cy="769620"/>
          </a:xfrm>
          <a:custGeom>
            <a:avLst/>
            <a:gdLst/>
            <a:ahLst/>
            <a:cxnLst/>
            <a:rect l="l" t="t" r="r" b="b"/>
            <a:pathLst>
              <a:path w="358139" h="769620">
                <a:moveTo>
                  <a:pt x="316531" y="0"/>
                </a:moveTo>
                <a:lnTo>
                  <a:pt x="197659" y="0"/>
                </a:lnTo>
                <a:lnTo>
                  <a:pt x="196752" y="16398"/>
                </a:lnTo>
                <a:lnTo>
                  <a:pt x="194595" y="32797"/>
                </a:lnTo>
                <a:lnTo>
                  <a:pt x="175547" y="92392"/>
                </a:lnTo>
                <a:lnTo>
                  <a:pt x="144246" y="140700"/>
                </a:lnTo>
                <a:lnTo>
                  <a:pt x="120570" y="164591"/>
                </a:lnTo>
                <a:lnTo>
                  <a:pt x="113077" y="171322"/>
                </a:lnTo>
                <a:lnTo>
                  <a:pt x="80337" y="205247"/>
                </a:lnTo>
                <a:lnTo>
                  <a:pt x="54578" y="239902"/>
                </a:lnTo>
                <a:lnTo>
                  <a:pt x="33272" y="277701"/>
                </a:lnTo>
                <a:lnTo>
                  <a:pt x="16811" y="318262"/>
                </a:lnTo>
                <a:lnTo>
                  <a:pt x="14906" y="324612"/>
                </a:lnTo>
                <a:lnTo>
                  <a:pt x="13001" y="330707"/>
                </a:lnTo>
                <a:lnTo>
                  <a:pt x="11350" y="336930"/>
                </a:lnTo>
                <a:lnTo>
                  <a:pt x="2063" y="385453"/>
                </a:lnTo>
                <a:lnTo>
                  <a:pt x="0" y="434201"/>
                </a:lnTo>
                <a:lnTo>
                  <a:pt x="4999" y="482448"/>
                </a:lnTo>
                <a:lnTo>
                  <a:pt x="16898" y="529471"/>
                </a:lnTo>
                <a:lnTo>
                  <a:pt x="35536" y="574546"/>
                </a:lnTo>
                <a:lnTo>
                  <a:pt x="60749" y="616949"/>
                </a:lnTo>
                <a:lnTo>
                  <a:pt x="92376" y="655954"/>
                </a:lnTo>
                <a:lnTo>
                  <a:pt x="128899" y="689861"/>
                </a:lnTo>
                <a:lnTo>
                  <a:pt x="169423" y="718039"/>
                </a:lnTo>
                <a:lnTo>
                  <a:pt x="213249" y="740282"/>
                </a:lnTo>
                <a:lnTo>
                  <a:pt x="259678" y="756388"/>
                </a:lnTo>
                <a:lnTo>
                  <a:pt x="308012" y="766151"/>
                </a:lnTo>
                <a:lnTo>
                  <a:pt x="357552" y="769365"/>
                </a:lnTo>
                <a:lnTo>
                  <a:pt x="357552" y="654176"/>
                </a:lnTo>
                <a:lnTo>
                  <a:pt x="308119" y="649354"/>
                </a:lnTo>
                <a:lnTo>
                  <a:pt x="261080" y="634841"/>
                </a:lnTo>
                <a:lnTo>
                  <a:pt x="218017" y="611135"/>
                </a:lnTo>
                <a:lnTo>
                  <a:pt x="180514" y="578738"/>
                </a:lnTo>
                <a:lnTo>
                  <a:pt x="150789" y="539386"/>
                </a:lnTo>
                <a:lnTo>
                  <a:pt x="130562" y="495656"/>
                </a:lnTo>
                <a:lnTo>
                  <a:pt x="120155" y="449086"/>
                </a:lnTo>
                <a:lnTo>
                  <a:pt x="119892" y="401211"/>
                </a:lnTo>
                <a:lnTo>
                  <a:pt x="130095" y="353567"/>
                </a:lnTo>
                <a:lnTo>
                  <a:pt x="155146" y="301355"/>
                </a:lnTo>
                <a:lnTo>
                  <a:pt x="192198" y="257428"/>
                </a:lnTo>
                <a:lnTo>
                  <a:pt x="194357" y="255523"/>
                </a:lnTo>
                <a:lnTo>
                  <a:pt x="197405" y="252983"/>
                </a:lnTo>
                <a:lnTo>
                  <a:pt x="200326" y="250189"/>
                </a:lnTo>
                <a:lnTo>
                  <a:pt x="203501" y="247650"/>
                </a:lnTo>
                <a:lnTo>
                  <a:pt x="234313" y="215971"/>
                </a:lnTo>
                <a:lnTo>
                  <a:pt x="260921" y="180625"/>
                </a:lnTo>
                <a:lnTo>
                  <a:pt x="282886" y="141993"/>
                </a:lnTo>
                <a:lnTo>
                  <a:pt x="299767" y="100456"/>
                </a:lnTo>
                <a:lnTo>
                  <a:pt x="309995" y="61436"/>
                </a:lnTo>
                <a:lnTo>
                  <a:pt x="315622" y="20494"/>
                </a:lnTo>
                <a:lnTo>
                  <a:pt x="316531" y="0"/>
                </a:lnTo>
                <a:close/>
              </a:path>
            </a:pathLst>
          </a:custGeom>
          <a:solidFill>
            <a:srgbClr val="006FAC"/>
          </a:solidFill>
        </p:spPr>
        <p:txBody>
          <a:bodyPr wrap="square" lIns="0" tIns="0" rIns="0" bIns="0" rtlCol="0"/>
          <a:lstStyle/>
          <a:p>
            <a:endParaRPr/>
          </a:p>
        </p:txBody>
      </p:sp>
      <p:sp>
        <p:nvSpPr>
          <p:cNvPr id="25" name="object 25"/>
          <p:cNvSpPr/>
          <p:nvPr/>
        </p:nvSpPr>
        <p:spPr>
          <a:xfrm>
            <a:off x="6201155" y="2877724"/>
            <a:ext cx="711835" cy="350520"/>
          </a:xfrm>
          <a:custGeom>
            <a:avLst/>
            <a:gdLst/>
            <a:ahLst/>
            <a:cxnLst/>
            <a:rect l="l" t="t" r="r" b="b"/>
            <a:pathLst>
              <a:path w="711834" h="350519">
                <a:moveTo>
                  <a:pt x="373939" y="0"/>
                </a:moveTo>
                <a:lnTo>
                  <a:pt x="327299" y="648"/>
                </a:lnTo>
                <a:lnTo>
                  <a:pt x="280543" y="7334"/>
                </a:lnTo>
                <a:lnTo>
                  <a:pt x="235074" y="20008"/>
                </a:lnTo>
                <a:lnTo>
                  <a:pt x="192307" y="38145"/>
                </a:lnTo>
                <a:lnTo>
                  <a:pt x="152681" y="61352"/>
                </a:lnTo>
                <a:lnTo>
                  <a:pt x="116633" y="89233"/>
                </a:lnTo>
                <a:lnTo>
                  <a:pt x="84604" y="121394"/>
                </a:lnTo>
                <a:lnTo>
                  <a:pt x="57032" y="157442"/>
                </a:lnTo>
                <a:lnTo>
                  <a:pt x="34357" y="196981"/>
                </a:lnTo>
                <a:lnTo>
                  <a:pt x="17018" y="239617"/>
                </a:lnTo>
                <a:lnTo>
                  <a:pt x="5064" y="286686"/>
                </a:lnTo>
                <a:lnTo>
                  <a:pt x="254" y="334232"/>
                </a:lnTo>
                <a:lnTo>
                  <a:pt x="0" y="339566"/>
                </a:lnTo>
                <a:lnTo>
                  <a:pt x="0" y="350107"/>
                </a:lnTo>
                <a:lnTo>
                  <a:pt x="118745" y="350107"/>
                </a:lnTo>
                <a:lnTo>
                  <a:pt x="118491" y="344773"/>
                </a:lnTo>
                <a:lnTo>
                  <a:pt x="118491" y="339566"/>
                </a:lnTo>
                <a:lnTo>
                  <a:pt x="125551" y="289548"/>
                </a:lnTo>
                <a:lnTo>
                  <a:pt x="150074" y="230239"/>
                </a:lnTo>
                <a:lnTo>
                  <a:pt x="179017" y="191443"/>
                </a:lnTo>
                <a:lnTo>
                  <a:pt x="215409" y="159444"/>
                </a:lnTo>
                <a:lnTo>
                  <a:pt x="258037" y="135279"/>
                </a:lnTo>
                <a:lnTo>
                  <a:pt x="305689" y="119983"/>
                </a:lnTo>
                <a:lnTo>
                  <a:pt x="355509" y="114766"/>
                </a:lnTo>
                <a:lnTo>
                  <a:pt x="621025" y="114766"/>
                </a:lnTo>
                <a:lnTo>
                  <a:pt x="619505" y="112871"/>
                </a:lnTo>
                <a:lnTo>
                  <a:pt x="585501" y="81051"/>
                </a:lnTo>
                <a:lnTo>
                  <a:pt x="547969" y="54197"/>
                </a:lnTo>
                <a:lnTo>
                  <a:pt x="507478" y="32486"/>
                </a:lnTo>
                <a:lnTo>
                  <a:pt x="464597" y="16097"/>
                </a:lnTo>
                <a:lnTo>
                  <a:pt x="419895" y="5208"/>
                </a:lnTo>
                <a:lnTo>
                  <a:pt x="373939" y="0"/>
                </a:lnTo>
                <a:close/>
              </a:path>
              <a:path w="711834" h="350519">
                <a:moveTo>
                  <a:pt x="621025" y="114766"/>
                </a:moveTo>
                <a:lnTo>
                  <a:pt x="355509" y="114766"/>
                </a:lnTo>
                <a:lnTo>
                  <a:pt x="404574" y="119668"/>
                </a:lnTo>
                <a:lnTo>
                  <a:pt x="451334" y="134202"/>
                </a:lnTo>
                <a:lnTo>
                  <a:pt x="494242" y="157880"/>
                </a:lnTo>
                <a:lnTo>
                  <a:pt x="531749" y="190214"/>
                </a:lnTo>
                <a:lnTo>
                  <a:pt x="558944" y="225698"/>
                </a:lnTo>
                <a:lnTo>
                  <a:pt x="578437" y="264921"/>
                </a:lnTo>
                <a:lnTo>
                  <a:pt x="589952" y="306764"/>
                </a:lnTo>
                <a:lnTo>
                  <a:pt x="593217" y="350107"/>
                </a:lnTo>
                <a:lnTo>
                  <a:pt x="711835" y="350107"/>
                </a:lnTo>
                <a:lnTo>
                  <a:pt x="708682" y="298587"/>
                </a:lnTo>
                <a:lnTo>
                  <a:pt x="697678" y="248239"/>
                </a:lnTo>
                <a:lnTo>
                  <a:pt x="679017" y="199926"/>
                </a:lnTo>
                <a:lnTo>
                  <a:pt x="652894" y="154515"/>
                </a:lnTo>
                <a:lnTo>
                  <a:pt x="621025" y="114766"/>
                </a:lnTo>
                <a:close/>
              </a:path>
            </a:pathLst>
          </a:custGeom>
          <a:solidFill>
            <a:srgbClr val="7E7E7E"/>
          </a:solidFill>
        </p:spPr>
        <p:txBody>
          <a:bodyPr wrap="square" lIns="0" tIns="0" rIns="0" bIns="0" rtlCol="0"/>
          <a:lstStyle/>
          <a:p>
            <a:endParaRPr/>
          </a:p>
        </p:txBody>
      </p:sp>
      <p:sp>
        <p:nvSpPr>
          <p:cNvPr id="26" name="object 26"/>
          <p:cNvSpPr/>
          <p:nvPr/>
        </p:nvSpPr>
        <p:spPr>
          <a:xfrm>
            <a:off x="6161532" y="3227832"/>
            <a:ext cx="354965" cy="769620"/>
          </a:xfrm>
          <a:custGeom>
            <a:avLst/>
            <a:gdLst/>
            <a:ahLst/>
            <a:cxnLst/>
            <a:rect l="l" t="t" r="r" b="b"/>
            <a:pathLst>
              <a:path w="354965" h="769620">
                <a:moveTo>
                  <a:pt x="158114" y="0"/>
                </a:moveTo>
                <a:lnTo>
                  <a:pt x="39496" y="0"/>
                </a:lnTo>
                <a:lnTo>
                  <a:pt x="40405" y="20748"/>
                </a:lnTo>
                <a:lnTo>
                  <a:pt x="46033" y="61864"/>
                </a:lnTo>
                <a:lnTo>
                  <a:pt x="63904" y="121245"/>
                </a:lnTo>
                <a:lnTo>
                  <a:pt x="81819" y="158781"/>
                </a:lnTo>
                <a:lnTo>
                  <a:pt x="104449" y="194270"/>
                </a:lnTo>
                <a:lnTo>
                  <a:pt x="131698" y="227329"/>
                </a:lnTo>
                <a:lnTo>
                  <a:pt x="157352" y="252221"/>
                </a:lnTo>
                <a:lnTo>
                  <a:pt x="157098" y="252475"/>
                </a:lnTo>
                <a:lnTo>
                  <a:pt x="204038" y="308465"/>
                </a:lnTo>
                <a:lnTo>
                  <a:pt x="224160" y="352195"/>
                </a:lnTo>
                <a:lnTo>
                  <a:pt x="234528" y="398765"/>
                </a:lnTo>
                <a:lnTo>
                  <a:pt x="234807" y="446640"/>
                </a:lnTo>
                <a:lnTo>
                  <a:pt x="224662" y="494283"/>
                </a:lnTo>
                <a:lnTo>
                  <a:pt x="204396" y="538865"/>
                </a:lnTo>
                <a:lnTo>
                  <a:pt x="175492" y="577709"/>
                </a:lnTo>
                <a:lnTo>
                  <a:pt x="139157" y="609745"/>
                </a:lnTo>
                <a:lnTo>
                  <a:pt x="96598" y="633898"/>
                </a:lnTo>
                <a:lnTo>
                  <a:pt x="49021" y="649096"/>
                </a:lnTo>
                <a:lnTo>
                  <a:pt x="0" y="654430"/>
                </a:lnTo>
                <a:lnTo>
                  <a:pt x="0" y="769619"/>
                </a:lnTo>
                <a:lnTo>
                  <a:pt x="55614" y="765190"/>
                </a:lnTo>
                <a:lnTo>
                  <a:pt x="119552" y="749119"/>
                </a:lnTo>
                <a:lnTo>
                  <a:pt x="162256" y="731025"/>
                </a:lnTo>
                <a:lnTo>
                  <a:pt x="201837" y="707857"/>
                </a:lnTo>
                <a:lnTo>
                  <a:pt x="237855" y="680005"/>
                </a:lnTo>
                <a:lnTo>
                  <a:pt x="269865" y="647861"/>
                </a:lnTo>
                <a:lnTo>
                  <a:pt x="297428" y="611816"/>
                </a:lnTo>
                <a:lnTo>
                  <a:pt x="320099" y="572262"/>
                </a:lnTo>
                <a:lnTo>
                  <a:pt x="337438" y="529589"/>
                </a:lnTo>
                <a:lnTo>
                  <a:pt x="349547" y="481411"/>
                </a:lnTo>
                <a:lnTo>
                  <a:pt x="354393" y="432768"/>
                </a:lnTo>
                <a:lnTo>
                  <a:pt x="352190" y="384339"/>
                </a:lnTo>
                <a:lnTo>
                  <a:pt x="343153" y="336803"/>
                </a:lnTo>
                <a:lnTo>
                  <a:pt x="329924" y="297707"/>
                </a:lnTo>
                <a:lnTo>
                  <a:pt x="311991" y="260159"/>
                </a:lnTo>
                <a:lnTo>
                  <a:pt x="289415" y="224611"/>
                </a:lnTo>
                <a:lnTo>
                  <a:pt x="262254" y="191515"/>
                </a:lnTo>
                <a:lnTo>
                  <a:pt x="241045" y="170814"/>
                </a:lnTo>
                <a:lnTo>
                  <a:pt x="241426" y="170560"/>
                </a:lnTo>
                <a:lnTo>
                  <a:pt x="193583" y="116496"/>
                </a:lnTo>
                <a:lnTo>
                  <a:pt x="174593" y="79771"/>
                </a:lnTo>
                <a:lnTo>
                  <a:pt x="162698" y="40594"/>
                </a:lnTo>
                <a:lnTo>
                  <a:pt x="158114" y="0"/>
                </a:lnTo>
                <a:close/>
              </a:path>
            </a:pathLst>
          </a:custGeom>
          <a:solidFill>
            <a:srgbClr val="006FAC"/>
          </a:solidFill>
        </p:spPr>
        <p:txBody>
          <a:bodyPr wrap="square" lIns="0" tIns="0" rIns="0" bIns="0" rtlCol="0"/>
          <a:lstStyle/>
          <a:p>
            <a:endParaRPr/>
          </a:p>
        </p:txBody>
      </p:sp>
      <p:sp>
        <p:nvSpPr>
          <p:cNvPr id="27" name="object 27"/>
          <p:cNvSpPr/>
          <p:nvPr/>
        </p:nvSpPr>
        <p:spPr>
          <a:xfrm>
            <a:off x="5410834" y="2877724"/>
            <a:ext cx="713105" cy="350520"/>
          </a:xfrm>
          <a:custGeom>
            <a:avLst/>
            <a:gdLst/>
            <a:ahLst/>
            <a:cxnLst/>
            <a:rect l="l" t="t" r="r" b="b"/>
            <a:pathLst>
              <a:path w="713104" h="350519">
                <a:moveTo>
                  <a:pt x="374306" y="0"/>
                </a:moveTo>
                <a:lnTo>
                  <a:pt x="327606" y="648"/>
                </a:lnTo>
                <a:lnTo>
                  <a:pt x="280797" y="7334"/>
                </a:lnTo>
                <a:lnTo>
                  <a:pt x="235281" y="20008"/>
                </a:lnTo>
                <a:lnTo>
                  <a:pt x="192466" y="38145"/>
                </a:lnTo>
                <a:lnTo>
                  <a:pt x="152792" y="61352"/>
                </a:lnTo>
                <a:lnTo>
                  <a:pt x="116697" y="89233"/>
                </a:lnTo>
                <a:lnTo>
                  <a:pt x="84620" y="121394"/>
                </a:lnTo>
                <a:lnTo>
                  <a:pt x="57001" y="157442"/>
                </a:lnTo>
                <a:lnTo>
                  <a:pt x="34278" y="196981"/>
                </a:lnTo>
                <a:lnTo>
                  <a:pt x="16890" y="239617"/>
                </a:lnTo>
                <a:lnTo>
                  <a:pt x="3682" y="294528"/>
                </a:lnTo>
                <a:lnTo>
                  <a:pt x="0" y="350107"/>
                </a:lnTo>
                <a:lnTo>
                  <a:pt x="118617" y="350107"/>
                </a:lnTo>
                <a:lnTo>
                  <a:pt x="119062" y="331142"/>
                </a:lnTo>
                <a:lnTo>
                  <a:pt x="121030" y="312213"/>
                </a:lnTo>
                <a:lnTo>
                  <a:pt x="129920" y="274796"/>
                </a:lnTo>
                <a:lnTo>
                  <a:pt x="150214" y="230239"/>
                </a:lnTo>
                <a:lnTo>
                  <a:pt x="179188" y="191443"/>
                </a:lnTo>
                <a:lnTo>
                  <a:pt x="215618" y="159444"/>
                </a:lnTo>
                <a:lnTo>
                  <a:pt x="258278" y="135279"/>
                </a:lnTo>
                <a:lnTo>
                  <a:pt x="305942" y="119983"/>
                </a:lnTo>
                <a:lnTo>
                  <a:pt x="355837" y="114766"/>
                </a:lnTo>
                <a:lnTo>
                  <a:pt x="621670" y="114766"/>
                </a:lnTo>
                <a:lnTo>
                  <a:pt x="620140" y="112871"/>
                </a:lnTo>
                <a:lnTo>
                  <a:pt x="586125" y="81051"/>
                </a:lnTo>
                <a:lnTo>
                  <a:pt x="548562" y="54197"/>
                </a:lnTo>
                <a:lnTo>
                  <a:pt x="508026" y="32486"/>
                </a:lnTo>
                <a:lnTo>
                  <a:pt x="465089" y="16097"/>
                </a:lnTo>
                <a:lnTo>
                  <a:pt x="420325" y="5208"/>
                </a:lnTo>
                <a:lnTo>
                  <a:pt x="374306" y="0"/>
                </a:lnTo>
                <a:close/>
              </a:path>
              <a:path w="713104" h="350519">
                <a:moveTo>
                  <a:pt x="621670" y="114766"/>
                </a:moveTo>
                <a:lnTo>
                  <a:pt x="355837" y="114766"/>
                </a:lnTo>
                <a:lnTo>
                  <a:pt x="404964" y="119668"/>
                </a:lnTo>
                <a:lnTo>
                  <a:pt x="451762" y="134202"/>
                </a:lnTo>
                <a:lnTo>
                  <a:pt x="494671" y="157880"/>
                </a:lnTo>
                <a:lnTo>
                  <a:pt x="532129" y="190214"/>
                </a:lnTo>
                <a:lnTo>
                  <a:pt x="557343" y="222361"/>
                </a:lnTo>
                <a:lnTo>
                  <a:pt x="576103" y="257651"/>
                </a:lnTo>
                <a:lnTo>
                  <a:pt x="588244" y="295227"/>
                </a:lnTo>
                <a:lnTo>
                  <a:pt x="593598" y="334232"/>
                </a:lnTo>
                <a:lnTo>
                  <a:pt x="593725" y="350107"/>
                </a:lnTo>
                <a:lnTo>
                  <a:pt x="712342" y="350107"/>
                </a:lnTo>
                <a:lnTo>
                  <a:pt x="712597" y="344773"/>
                </a:lnTo>
                <a:lnTo>
                  <a:pt x="712597" y="339566"/>
                </a:lnTo>
                <a:lnTo>
                  <a:pt x="707313" y="286082"/>
                </a:lnTo>
                <a:lnTo>
                  <a:pt x="695396" y="239177"/>
                </a:lnTo>
                <a:lnTo>
                  <a:pt x="676772" y="194210"/>
                </a:lnTo>
                <a:lnTo>
                  <a:pt x="651626" y="151876"/>
                </a:lnTo>
                <a:lnTo>
                  <a:pt x="621670" y="114766"/>
                </a:lnTo>
                <a:close/>
              </a:path>
            </a:pathLst>
          </a:custGeom>
          <a:solidFill>
            <a:srgbClr val="12ABDB"/>
          </a:solidFill>
        </p:spPr>
        <p:txBody>
          <a:bodyPr wrap="square" lIns="0" tIns="0" rIns="0" bIns="0" rtlCol="0"/>
          <a:lstStyle/>
          <a:p>
            <a:endParaRPr/>
          </a:p>
        </p:txBody>
      </p:sp>
      <p:sp>
        <p:nvSpPr>
          <p:cNvPr id="28" name="object 28"/>
          <p:cNvSpPr/>
          <p:nvPr/>
        </p:nvSpPr>
        <p:spPr>
          <a:xfrm>
            <a:off x="6085332" y="3957828"/>
            <a:ext cx="147955" cy="86995"/>
          </a:xfrm>
          <a:custGeom>
            <a:avLst/>
            <a:gdLst/>
            <a:ahLst/>
            <a:cxnLst/>
            <a:rect l="l" t="t" r="r" b="b"/>
            <a:pathLst>
              <a:path w="147954" h="86995">
                <a:moveTo>
                  <a:pt x="147827" y="0"/>
                </a:moveTo>
                <a:lnTo>
                  <a:pt x="0" y="0"/>
                </a:lnTo>
                <a:lnTo>
                  <a:pt x="73913" y="86868"/>
                </a:lnTo>
                <a:lnTo>
                  <a:pt x="147827" y="0"/>
                </a:lnTo>
                <a:close/>
              </a:path>
            </a:pathLst>
          </a:custGeom>
          <a:solidFill>
            <a:srgbClr val="006FAC"/>
          </a:solidFill>
        </p:spPr>
        <p:txBody>
          <a:bodyPr wrap="square" lIns="0" tIns="0" rIns="0" bIns="0" rtlCol="0"/>
          <a:lstStyle/>
          <a:p>
            <a:endParaRPr/>
          </a:p>
        </p:txBody>
      </p:sp>
      <p:sp>
        <p:nvSpPr>
          <p:cNvPr id="29" name="object 29"/>
          <p:cNvSpPr/>
          <p:nvPr/>
        </p:nvSpPr>
        <p:spPr>
          <a:xfrm>
            <a:off x="5670803" y="3095244"/>
            <a:ext cx="187452" cy="256032"/>
          </a:xfrm>
          <a:prstGeom prst="rect">
            <a:avLst/>
          </a:prstGeom>
          <a:blipFill>
            <a:blip r:embed="rId10" cstate="print"/>
            <a:stretch>
              <a:fillRect/>
            </a:stretch>
          </a:blipFill>
        </p:spPr>
        <p:txBody>
          <a:bodyPr wrap="square" lIns="0" tIns="0" rIns="0" bIns="0" rtlCol="0"/>
          <a:lstStyle/>
          <a:p>
            <a:endParaRPr/>
          </a:p>
        </p:txBody>
      </p:sp>
      <p:sp>
        <p:nvSpPr>
          <p:cNvPr id="30" name="object 30"/>
          <p:cNvSpPr/>
          <p:nvPr/>
        </p:nvSpPr>
        <p:spPr>
          <a:xfrm>
            <a:off x="6057900" y="3529584"/>
            <a:ext cx="208787" cy="249936"/>
          </a:xfrm>
          <a:prstGeom prst="rect">
            <a:avLst/>
          </a:prstGeom>
          <a:blipFill>
            <a:blip r:embed="rId11" cstate="print"/>
            <a:stretch>
              <a:fillRect/>
            </a:stretch>
          </a:blipFill>
        </p:spPr>
        <p:txBody>
          <a:bodyPr wrap="square" lIns="0" tIns="0" rIns="0" bIns="0" rtlCol="0"/>
          <a:lstStyle/>
          <a:p>
            <a:endParaRPr/>
          </a:p>
        </p:txBody>
      </p:sp>
      <p:sp>
        <p:nvSpPr>
          <p:cNvPr id="31" name="object 31"/>
          <p:cNvSpPr/>
          <p:nvPr/>
        </p:nvSpPr>
        <p:spPr>
          <a:xfrm>
            <a:off x="6873240" y="3140964"/>
            <a:ext cx="86995" cy="149860"/>
          </a:xfrm>
          <a:custGeom>
            <a:avLst/>
            <a:gdLst/>
            <a:ahLst/>
            <a:cxnLst/>
            <a:rect l="l" t="t" r="r" b="b"/>
            <a:pathLst>
              <a:path w="86995" h="149860">
                <a:moveTo>
                  <a:pt x="0" y="0"/>
                </a:moveTo>
                <a:lnTo>
                  <a:pt x="0" y="149351"/>
                </a:lnTo>
                <a:lnTo>
                  <a:pt x="86867" y="74675"/>
                </a:lnTo>
                <a:lnTo>
                  <a:pt x="0" y="0"/>
                </a:lnTo>
                <a:close/>
              </a:path>
            </a:pathLst>
          </a:custGeom>
          <a:solidFill>
            <a:srgbClr val="7E7E7E"/>
          </a:solidFill>
        </p:spPr>
        <p:txBody>
          <a:bodyPr wrap="square" lIns="0" tIns="0" rIns="0" bIns="0" rtlCol="0"/>
          <a:lstStyle/>
          <a:p>
            <a:endParaRPr/>
          </a:p>
        </p:txBody>
      </p:sp>
      <p:sp>
        <p:nvSpPr>
          <p:cNvPr id="32" name="object 32"/>
          <p:cNvSpPr/>
          <p:nvPr/>
        </p:nvSpPr>
        <p:spPr>
          <a:xfrm>
            <a:off x="6472428" y="3177539"/>
            <a:ext cx="13970" cy="60960"/>
          </a:xfrm>
          <a:custGeom>
            <a:avLst/>
            <a:gdLst/>
            <a:ahLst/>
            <a:cxnLst/>
            <a:rect l="l" t="t" r="r" b="b"/>
            <a:pathLst>
              <a:path w="13970" h="60960">
                <a:moveTo>
                  <a:pt x="13716" y="60960"/>
                </a:moveTo>
                <a:lnTo>
                  <a:pt x="7233" y="48696"/>
                </a:lnTo>
                <a:lnTo>
                  <a:pt x="3000" y="36195"/>
                </a:lnTo>
                <a:lnTo>
                  <a:pt x="696" y="22740"/>
                </a:lnTo>
                <a:lnTo>
                  <a:pt x="0" y="7620"/>
                </a:lnTo>
                <a:lnTo>
                  <a:pt x="0" y="5080"/>
                </a:lnTo>
                <a:lnTo>
                  <a:pt x="0" y="2539"/>
                </a:lnTo>
                <a:lnTo>
                  <a:pt x="0" y="0"/>
                </a:lnTo>
              </a:path>
            </a:pathLst>
          </a:custGeom>
          <a:ln w="9144">
            <a:solidFill>
              <a:srgbClr val="7E7E7E"/>
            </a:solidFill>
          </a:ln>
        </p:spPr>
        <p:txBody>
          <a:bodyPr wrap="square" lIns="0" tIns="0" rIns="0" bIns="0" rtlCol="0"/>
          <a:lstStyle/>
          <a:p>
            <a:endParaRPr/>
          </a:p>
        </p:txBody>
      </p:sp>
      <p:sp>
        <p:nvSpPr>
          <p:cNvPr id="33" name="object 33"/>
          <p:cNvSpPr/>
          <p:nvPr/>
        </p:nvSpPr>
        <p:spPr>
          <a:xfrm>
            <a:off x="6463284" y="3163823"/>
            <a:ext cx="18415" cy="18415"/>
          </a:xfrm>
          <a:custGeom>
            <a:avLst/>
            <a:gdLst/>
            <a:ahLst/>
            <a:cxnLst/>
            <a:rect l="l" t="t" r="r" b="b"/>
            <a:pathLst>
              <a:path w="18414" h="18414">
                <a:moveTo>
                  <a:pt x="11556" y="0"/>
                </a:moveTo>
                <a:lnTo>
                  <a:pt x="0" y="16255"/>
                </a:lnTo>
                <a:lnTo>
                  <a:pt x="18287" y="18287"/>
                </a:lnTo>
                <a:lnTo>
                  <a:pt x="11556" y="0"/>
                </a:lnTo>
                <a:close/>
              </a:path>
            </a:pathLst>
          </a:custGeom>
          <a:solidFill>
            <a:srgbClr val="1A171B"/>
          </a:solidFill>
        </p:spPr>
        <p:txBody>
          <a:bodyPr wrap="square" lIns="0" tIns="0" rIns="0" bIns="0" rtlCol="0"/>
          <a:lstStyle/>
          <a:p>
            <a:endParaRPr/>
          </a:p>
        </p:txBody>
      </p:sp>
      <p:sp>
        <p:nvSpPr>
          <p:cNvPr id="34" name="object 34"/>
          <p:cNvSpPr/>
          <p:nvPr/>
        </p:nvSpPr>
        <p:spPr>
          <a:xfrm>
            <a:off x="6463284" y="3163823"/>
            <a:ext cx="18415" cy="18415"/>
          </a:xfrm>
          <a:custGeom>
            <a:avLst/>
            <a:gdLst/>
            <a:ahLst/>
            <a:cxnLst/>
            <a:rect l="l" t="t" r="r" b="b"/>
            <a:pathLst>
              <a:path w="18414" h="18414">
                <a:moveTo>
                  <a:pt x="18287" y="18287"/>
                </a:moveTo>
                <a:lnTo>
                  <a:pt x="11556" y="0"/>
                </a:lnTo>
                <a:lnTo>
                  <a:pt x="0" y="16255"/>
                </a:lnTo>
                <a:lnTo>
                  <a:pt x="18287" y="18287"/>
                </a:lnTo>
                <a:close/>
              </a:path>
            </a:pathLst>
          </a:custGeom>
          <a:ln w="9144">
            <a:solidFill>
              <a:srgbClr val="7E7E7E"/>
            </a:solidFill>
          </a:ln>
        </p:spPr>
        <p:txBody>
          <a:bodyPr wrap="square" lIns="0" tIns="0" rIns="0" bIns="0" rtlCol="0"/>
          <a:lstStyle/>
          <a:p>
            <a:endParaRPr/>
          </a:p>
        </p:txBody>
      </p:sp>
      <p:sp>
        <p:nvSpPr>
          <p:cNvPr id="35" name="object 35"/>
          <p:cNvSpPr/>
          <p:nvPr/>
        </p:nvSpPr>
        <p:spPr>
          <a:xfrm>
            <a:off x="6522719" y="3272028"/>
            <a:ext cx="88900" cy="12700"/>
          </a:xfrm>
          <a:custGeom>
            <a:avLst/>
            <a:gdLst/>
            <a:ahLst/>
            <a:cxnLst/>
            <a:rect l="l" t="t" r="r" b="b"/>
            <a:pathLst>
              <a:path w="88900" h="12700">
                <a:moveTo>
                  <a:pt x="88391" y="0"/>
                </a:moveTo>
                <a:lnTo>
                  <a:pt x="78360" y="5494"/>
                </a:lnTo>
                <a:lnTo>
                  <a:pt x="67579" y="9286"/>
                </a:lnTo>
                <a:lnTo>
                  <a:pt x="56155" y="11483"/>
                </a:lnTo>
                <a:lnTo>
                  <a:pt x="44196" y="12192"/>
                </a:lnTo>
                <a:lnTo>
                  <a:pt x="31753" y="11699"/>
                </a:lnTo>
                <a:lnTo>
                  <a:pt x="20383" y="10064"/>
                </a:lnTo>
                <a:lnTo>
                  <a:pt x="9870" y="7048"/>
                </a:lnTo>
                <a:lnTo>
                  <a:pt x="0" y="2412"/>
                </a:lnTo>
              </a:path>
            </a:pathLst>
          </a:custGeom>
          <a:ln w="9144">
            <a:solidFill>
              <a:srgbClr val="7E7E7E"/>
            </a:solidFill>
          </a:ln>
        </p:spPr>
        <p:txBody>
          <a:bodyPr wrap="square" lIns="0" tIns="0" rIns="0" bIns="0" rtlCol="0"/>
          <a:lstStyle/>
          <a:p>
            <a:endParaRPr/>
          </a:p>
        </p:txBody>
      </p:sp>
      <p:sp>
        <p:nvSpPr>
          <p:cNvPr id="36" name="object 36"/>
          <p:cNvSpPr/>
          <p:nvPr/>
        </p:nvSpPr>
        <p:spPr>
          <a:xfrm>
            <a:off x="6512052" y="3265932"/>
            <a:ext cx="18415" cy="18415"/>
          </a:xfrm>
          <a:custGeom>
            <a:avLst/>
            <a:gdLst/>
            <a:ahLst/>
            <a:cxnLst/>
            <a:rect l="l" t="t" r="r" b="b"/>
            <a:pathLst>
              <a:path w="18415" h="18414">
                <a:moveTo>
                  <a:pt x="0" y="0"/>
                </a:moveTo>
                <a:lnTo>
                  <a:pt x="7747" y="18287"/>
                </a:lnTo>
                <a:lnTo>
                  <a:pt x="18288" y="1015"/>
                </a:lnTo>
                <a:lnTo>
                  <a:pt x="0" y="0"/>
                </a:lnTo>
                <a:close/>
              </a:path>
            </a:pathLst>
          </a:custGeom>
          <a:solidFill>
            <a:srgbClr val="1A171B"/>
          </a:solidFill>
        </p:spPr>
        <p:txBody>
          <a:bodyPr wrap="square" lIns="0" tIns="0" rIns="0" bIns="0" rtlCol="0"/>
          <a:lstStyle/>
          <a:p>
            <a:endParaRPr/>
          </a:p>
        </p:txBody>
      </p:sp>
      <p:sp>
        <p:nvSpPr>
          <p:cNvPr id="37" name="object 37"/>
          <p:cNvSpPr/>
          <p:nvPr/>
        </p:nvSpPr>
        <p:spPr>
          <a:xfrm>
            <a:off x="6512052" y="3265932"/>
            <a:ext cx="18415" cy="18415"/>
          </a:xfrm>
          <a:custGeom>
            <a:avLst/>
            <a:gdLst/>
            <a:ahLst/>
            <a:cxnLst/>
            <a:rect l="l" t="t" r="r" b="b"/>
            <a:pathLst>
              <a:path w="18415" h="18414">
                <a:moveTo>
                  <a:pt x="18288" y="1015"/>
                </a:moveTo>
                <a:lnTo>
                  <a:pt x="0" y="0"/>
                </a:lnTo>
                <a:lnTo>
                  <a:pt x="7747" y="18287"/>
                </a:lnTo>
                <a:lnTo>
                  <a:pt x="18288" y="1015"/>
                </a:lnTo>
                <a:close/>
              </a:path>
            </a:pathLst>
          </a:custGeom>
          <a:ln w="9144">
            <a:solidFill>
              <a:srgbClr val="7E7E7E"/>
            </a:solidFill>
          </a:ln>
        </p:spPr>
        <p:txBody>
          <a:bodyPr wrap="square" lIns="0" tIns="0" rIns="0" bIns="0" rtlCol="0"/>
          <a:lstStyle/>
          <a:p>
            <a:endParaRPr/>
          </a:p>
        </p:txBody>
      </p:sp>
      <p:sp>
        <p:nvSpPr>
          <p:cNvPr id="38" name="object 38"/>
          <p:cNvSpPr/>
          <p:nvPr/>
        </p:nvSpPr>
        <p:spPr>
          <a:xfrm>
            <a:off x="6586728" y="3087623"/>
            <a:ext cx="44450" cy="27940"/>
          </a:xfrm>
          <a:custGeom>
            <a:avLst/>
            <a:gdLst/>
            <a:ahLst/>
            <a:cxnLst/>
            <a:rect l="l" t="t" r="r" b="b"/>
            <a:pathLst>
              <a:path w="44450" h="27939">
                <a:moveTo>
                  <a:pt x="0" y="0"/>
                </a:moveTo>
                <a:lnTo>
                  <a:pt x="12602" y="4446"/>
                </a:lnTo>
                <a:lnTo>
                  <a:pt x="24241" y="10429"/>
                </a:lnTo>
                <a:lnTo>
                  <a:pt x="34807" y="18055"/>
                </a:lnTo>
                <a:lnTo>
                  <a:pt x="44196" y="27431"/>
                </a:lnTo>
              </a:path>
            </a:pathLst>
          </a:custGeom>
          <a:ln w="9144">
            <a:solidFill>
              <a:srgbClr val="7E7E7E"/>
            </a:solidFill>
          </a:ln>
        </p:spPr>
        <p:txBody>
          <a:bodyPr wrap="square" lIns="0" tIns="0" rIns="0" bIns="0" rtlCol="0"/>
          <a:lstStyle/>
          <a:p>
            <a:endParaRPr/>
          </a:p>
        </p:txBody>
      </p:sp>
      <p:sp>
        <p:nvSpPr>
          <p:cNvPr id="39" name="object 39"/>
          <p:cNvSpPr/>
          <p:nvPr/>
        </p:nvSpPr>
        <p:spPr>
          <a:xfrm>
            <a:off x="6623304" y="3105911"/>
            <a:ext cx="18415" cy="18415"/>
          </a:xfrm>
          <a:custGeom>
            <a:avLst/>
            <a:gdLst/>
            <a:ahLst/>
            <a:cxnLst/>
            <a:rect l="l" t="t" r="r" b="b"/>
            <a:pathLst>
              <a:path w="18415" h="18414">
                <a:moveTo>
                  <a:pt x="14224" y="0"/>
                </a:moveTo>
                <a:lnTo>
                  <a:pt x="0" y="12191"/>
                </a:lnTo>
                <a:lnTo>
                  <a:pt x="18288" y="18287"/>
                </a:lnTo>
                <a:lnTo>
                  <a:pt x="14224" y="0"/>
                </a:lnTo>
                <a:close/>
              </a:path>
            </a:pathLst>
          </a:custGeom>
          <a:solidFill>
            <a:srgbClr val="1A171B"/>
          </a:solidFill>
        </p:spPr>
        <p:txBody>
          <a:bodyPr wrap="square" lIns="0" tIns="0" rIns="0" bIns="0" rtlCol="0"/>
          <a:lstStyle/>
          <a:p>
            <a:endParaRPr/>
          </a:p>
        </p:txBody>
      </p:sp>
      <p:sp>
        <p:nvSpPr>
          <p:cNvPr id="40" name="object 40"/>
          <p:cNvSpPr/>
          <p:nvPr/>
        </p:nvSpPr>
        <p:spPr>
          <a:xfrm>
            <a:off x="6623304" y="3105911"/>
            <a:ext cx="18415" cy="18415"/>
          </a:xfrm>
          <a:custGeom>
            <a:avLst/>
            <a:gdLst/>
            <a:ahLst/>
            <a:cxnLst/>
            <a:rect l="l" t="t" r="r" b="b"/>
            <a:pathLst>
              <a:path w="18415" h="18414">
                <a:moveTo>
                  <a:pt x="0" y="12191"/>
                </a:moveTo>
                <a:lnTo>
                  <a:pt x="18288" y="18287"/>
                </a:lnTo>
                <a:lnTo>
                  <a:pt x="14224" y="0"/>
                </a:lnTo>
                <a:lnTo>
                  <a:pt x="0" y="12191"/>
                </a:lnTo>
                <a:close/>
              </a:path>
            </a:pathLst>
          </a:custGeom>
          <a:ln w="9144">
            <a:solidFill>
              <a:srgbClr val="7E7E7E"/>
            </a:solidFill>
          </a:ln>
        </p:spPr>
        <p:txBody>
          <a:bodyPr wrap="square" lIns="0" tIns="0" rIns="0" bIns="0" rtlCol="0"/>
          <a:lstStyle/>
          <a:p>
            <a:endParaRPr/>
          </a:p>
        </p:txBody>
      </p:sp>
      <p:sp>
        <p:nvSpPr>
          <p:cNvPr id="41" name="object 41"/>
          <p:cNvSpPr/>
          <p:nvPr/>
        </p:nvSpPr>
        <p:spPr>
          <a:xfrm>
            <a:off x="6487667" y="3090672"/>
            <a:ext cx="48895" cy="40005"/>
          </a:xfrm>
          <a:custGeom>
            <a:avLst/>
            <a:gdLst/>
            <a:ahLst/>
            <a:cxnLst/>
            <a:rect l="l" t="t" r="r" b="b"/>
            <a:pathLst>
              <a:path w="48895" h="40005">
                <a:moveTo>
                  <a:pt x="0" y="39624"/>
                </a:moveTo>
                <a:lnTo>
                  <a:pt x="9280" y="26485"/>
                </a:lnTo>
                <a:lnTo>
                  <a:pt x="20812" y="15192"/>
                </a:lnTo>
                <a:lnTo>
                  <a:pt x="34129" y="6209"/>
                </a:lnTo>
                <a:lnTo>
                  <a:pt x="48767" y="0"/>
                </a:lnTo>
              </a:path>
            </a:pathLst>
          </a:custGeom>
          <a:ln w="9144">
            <a:solidFill>
              <a:srgbClr val="7E7E7E"/>
            </a:solidFill>
          </a:ln>
        </p:spPr>
        <p:txBody>
          <a:bodyPr wrap="square" lIns="0" tIns="0" rIns="0" bIns="0" rtlCol="0"/>
          <a:lstStyle/>
          <a:p>
            <a:endParaRPr/>
          </a:p>
        </p:txBody>
      </p:sp>
      <p:sp>
        <p:nvSpPr>
          <p:cNvPr id="42" name="object 42"/>
          <p:cNvSpPr/>
          <p:nvPr/>
        </p:nvSpPr>
        <p:spPr>
          <a:xfrm>
            <a:off x="6530340" y="3083051"/>
            <a:ext cx="18415" cy="18415"/>
          </a:xfrm>
          <a:custGeom>
            <a:avLst/>
            <a:gdLst/>
            <a:ahLst/>
            <a:cxnLst/>
            <a:rect l="l" t="t" r="r" b="b"/>
            <a:pathLst>
              <a:path w="18415" h="18414">
                <a:moveTo>
                  <a:pt x="0" y="0"/>
                </a:moveTo>
                <a:lnTo>
                  <a:pt x="4825" y="18287"/>
                </a:lnTo>
                <a:lnTo>
                  <a:pt x="18287" y="5080"/>
                </a:lnTo>
                <a:lnTo>
                  <a:pt x="0" y="0"/>
                </a:lnTo>
                <a:close/>
              </a:path>
            </a:pathLst>
          </a:custGeom>
          <a:solidFill>
            <a:srgbClr val="1A171B"/>
          </a:solidFill>
        </p:spPr>
        <p:txBody>
          <a:bodyPr wrap="square" lIns="0" tIns="0" rIns="0" bIns="0" rtlCol="0"/>
          <a:lstStyle/>
          <a:p>
            <a:endParaRPr/>
          </a:p>
        </p:txBody>
      </p:sp>
      <p:sp>
        <p:nvSpPr>
          <p:cNvPr id="43" name="object 43"/>
          <p:cNvSpPr/>
          <p:nvPr/>
        </p:nvSpPr>
        <p:spPr>
          <a:xfrm>
            <a:off x="6530340" y="3083051"/>
            <a:ext cx="18415" cy="18415"/>
          </a:xfrm>
          <a:custGeom>
            <a:avLst/>
            <a:gdLst/>
            <a:ahLst/>
            <a:cxnLst/>
            <a:rect l="l" t="t" r="r" b="b"/>
            <a:pathLst>
              <a:path w="18415" h="18414">
                <a:moveTo>
                  <a:pt x="4825" y="18287"/>
                </a:moveTo>
                <a:lnTo>
                  <a:pt x="18287" y="5080"/>
                </a:lnTo>
                <a:lnTo>
                  <a:pt x="0" y="0"/>
                </a:lnTo>
                <a:lnTo>
                  <a:pt x="4825" y="18287"/>
                </a:lnTo>
                <a:close/>
              </a:path>
            </a:pathLst>
          </a:custGeom>
          <a:ln w="9143">
            <a:solidFill>
              <a:srgbClr val="7E7E7E"/>
            </a:solidFill>
          </a:ln>
        </p:spPr>
        <p:txBody>
          <a:bodyPr wrap="square" lIns="0" tIns="0" rIns="0" bIns="0" rtlCol="0"/>
          <a:lstStyle/>
          <a:p>
            <a:endParaRPr/>
          </a:p>
        </p:txBody>
      </p:sp>
      <p:sp>
        <p:nvSpPr>
          <p:cNvPr id="44" name="object 44"/>
          <p:cNvSpPr/>
          <p:nvPr/>
        </p:nvSpPr>
        <p:spPr>
          <a:xfrm>
            <a:off x="6647688" y="3156204"/>
            <a:ext cx="12065" cy="76200"/>
          </a:xfrm>
          <a:custGeom>
            <a:avLst/>
            <a:gdLst/>
            <a:ahLst/>
            <a:cxnLst/>
            <a:rect l="l" t="t" r="r" b="b"/>
            <a:pathLst>
              <a:path w="12065" h="76200">
                <a:moveTo>
                  <a:pt x="6222" y="0"/>
                </a:moveTo>
                <a:lnTo>
                  <a:pt x="9961" y="11674"/>
                </a:lnTo>
                <a:lnTo>
                  <a:pt x="11842" y="24050"/>
                </a:lnTo>
                <a:lnTo>
                  <a:pt x="11866" y="36879"/>
                </a:lnTo>
                <a:lnTo>
                  <a:pt x="10032" y="49911"/>
                </a:lnTo>
                <a:lnTo>
                  <a:pt x="8090" y="56661"/>
                </a:lnTo>
                <a:lnTo>
                  <a:pt x="5921" y="63531"/>
                </a:lnTo>
                <a:lnTo>
                  <a:pt x="3300" y="70163"/>
                </a:lnTo>
                <a:lnTo>
                  <a:pt x="0" y="76200"/>
                </a:lnTo>
              </a:path>
            </a:pathLst>
          </a:custGeom>
          <a:ln w="9143">
            <a:solidFill>
              <a:srgbClr val="7E7E7E"/>
            </a:solidFill>
          </a:ln>
        </p:spPr>
        <p:txBody>
          <a:bodyPr wrap="square" lIns="0" tIns="0" rIns="0" bIns="0" rtlCol="0"/>
          <a:lstStyle/>
          <a:p>
            <a:endParaRPr/>
          </a:p>
        </p:txBody>
      </p:sp>
      <p:sp>
        <p:nvSpPr>
          <p:cNvPr id="45" name="object 45"/>
          <p:cNvSpPr/>
          <p:nvPr/>
        </p:nvSpPr>
        <p:spPr>
          <a:xfrm>
            <a:off x="6641592" y="3224783"/>
            <a:ext cx="15240" cy="20320"/>
          </a:xfrm>
          <a:custGeom>
            <a:avLst/>
            <a:gdLst/>
            <a:ahLst/>
            <a:cxnLst/>
            <a:rect l="l" t="t" r="r" b="b"/>
            <a:pathLst>
              <a:path w="15240" h="20319">
                <a:moveTo>
                  <a:pt x="0" y="0"/>
                </a:moveTo>
                <a:lnTo>
                  <a:pt x="0" y="19812"/>
                </a:lnTo>
                <a:lnTo>
                  <a:pt x="15239" y="9398"/>
                </a:lnTo>
                <a:lnTo>
                  <a:pt x="0" y="0"/>
                </a:lnTo>
                <a:close/>
              </a:path>
            </a:pathLst>
          </a:custGeom>
          <a:solidFill>
            <a:srgbClr val="1A171B"/>
          </a:solidFill>
        </p:spPr>
        <p:txBody>
          <a:bodyPr wrap="square" lIns="0" tIns="0" rIns="0" bIns="0" rtlCol="0"/>
          <a:lstStyle/>
          <a:p>
            <a:endParaRPr/>
          </a:p>
        </p:txBody>
      </p:sp>
      <p:sp>
        <p:nvSpPr>
          <p:cNvPr id="46" name="object 46"/>
          <p:cNvSpPr/>
          <p:nvPr/>
        </p:nvSpPr>
        <p:spPr>
          <a:xfrm>
            <a:off x="6641592" y="3224783"/>
            <a:ext cx="15240" cy="20320"/>
          </a:xfrm>
          <a:custGeom>
            <a:avLst/>
            <a:gdLst/>
            <a:ahLst/>
            <a:cxnLst/>
            <a:rect l="l" t="t" r="r" b="b"/>
            <a:pathLst>
              <a:path w="15240" h="20319">
                <a:moveTo>
                  <a:pt x="0" y="0"/>
                </a:moveTo>
                <a:lnTo>
                  <a:pt x="0" y="19812"/>
                </a:lnTo>
                <a:lnTo>
                  <a:pt x="15239" y="9398"/>
                </a:lnTo>
                <a:lnTo>
                  <a:pt x="0" y="0"/>
                </a:lnTo>
                <a:close/>
              </a:path>
            </a:pathLst>
          </a:custGeom>
          <a:ln w="9144">
            <a:solidFill>
              <a:srgbClr val="7E7E7E"/>
            </a:solidFill>
          </a:ln>
        </p:spPr>
        <p:txBody>
          <a:bodyPr wrap="square" lIns="0" tIns="0" rIns="0" bIns="0" rtlCol="0"/>
          <a:lstStyle/>
          <a:p>
            <a:endParaRPr/>
          </a:p>
        </p:txBody>
      </p:sp>
      <p:sp>
        <p:nvSpPr>
          <p:cNvPr id="47" name="object 47"/>
          <p:cNvSpPr/>
          <p:nvPr/>
        </p:nvSpPr>
        <p:spPr>
          <a:xfrm>
            <a:off x="6486144" y="3238500"/>
            <a:ext cx="1905" cy="1905"/>
          </a:xfrm>
          <a:custGeom>
            <a:avLst/>
            <a:gdLst/>
            <a:ahLst/>
            <a:cxnLst/>
            <a:rect l="l" t="t" r="r" b="b"/>
            <a:pathLst>
              <a:path w="1904" h="1905">
                <a:moveTo>
                  <a:pt x="0" y="0"/>
                </a:moveTo>
                <a:lnTo>
                  <a:pt x="1523" y="1524"/>
                </a:lnTo>
              </a:path>
            </a:pathLst>
          </a:custGeom>
          <a:ln w="9144">
            <a:solidFill>
              <a:srgbClr val="7E7E7E"/>
            </a:solidFill>
          </a:ln>
        </p:spPr>
        <p:txBody>
          <a:bodyPr wrap="square" lIns="0" tIns="0" rIns="0" bIns="0" rtlCol="0"/>
          <a:lstStyle/>
          <a:p>
            <a:endParaRPr/>
          </a:p>
        </p:txBody>
      </p:sp>
      <p:sp>
        <p:nvSpPr>
          <p:cNvPr id="48" name="object 48"/>
          <p:cNvSpPr/>
          <p:nvPr/>
        </p:nvSpPr>
        <p:spPr>
          <a:xfrm>
            <a:off x="6382130" y="3278632"/>
            <a:ext cx="88900" cy="12700"/>
          </a:xfrm>
          <a:custGeom>
            <a:avLst/>
            <a:gdLst/>
            <a:ahLst/>
            <a:cxnLst/>
            <a:rect l="l" t="t" r="r" b="b"/>
            <a:pathLst>
              <a:path w="88900" h="12700">
                <a:moveTo>
                  <a:pt x="0" y="2793"/>
                </a:moveTo>
                <a:lnTo>
                  <a:pt x="10364" y="7786"/>
                </a:lnTo>
                <a:lnTo>
                  <a:pt x="21383" y="11017"/>
                </a:lnTo>
                <a:lnTo>
                  <a:pt x="32950" y="12580"/>
                </a:lnTo>
                <a:lnTo>
                  <a:pt x="44958" y="12572"/>
                </a:lnTo>
                <a:lnTo>
                  <a:pt x="57372" y="11322"/>
                </a:lnTo>
                <a:lnTo>
                  <a:pt x="68643" y="8953"/>
                </a:lnTo>
                <a:lnTo>
                  <a:pt x="78962" y="5250"/>
                </a:lnTo>
                <a:lnTo>
                  <a:pt x="88519" y="0"/>
                </a:lnTo>
              </a:path>
            </a:pathLst>
          </a:custGeom>
          <a:ln w="9525">
            <a:solidFill>
              <a:srgbClr val="7E7E7E"/>
            </a:solidFill>
          </a:ln>
        </p:spPr>
        <p:txBody>
          <a:bodyPr wrap="square" lIns="0" tIns="0" rIns="0" bIns="0" rtlCol="0"/>
          <a:lstStyle/>
          <a:p>
            <a:endParaRPr/>
          </a:p>
        </p:txBody>
      </p:sp>
      <p:sp>
        <p:nvSpPr>
          <p:cNvPr id="49" name="object 49"/>
          <p:cNvSpPr/>
          <p:nvPr/>
        </p:nvSpPr>
        <p:spPr>
          <a:xfrm>
            <a:off x="6462521" y="3269360"/>
            <a:ext cx="18415" cy="18415"/>
          </a:xfrm>
          <a:custGeom>
            <a:avLst/>
            <a:gdLst/>
            <a:ahLst/>
            <a:cxnLst/>
            <a:rect l="l" t="t" r="r" b="b"/>
            <a:pathLst>
              <a:path w="18414" h="18414">
                <a:moveTo>
                  <a:pt x="18287" y="0"/>
                </a:moveTo>
                <a:lnTo>
                  <a:pt x="0" y="2031"/>
                </a:lnTo>
                <a:lnTo>
                  <a:pt x="11556" y="17906"/>
                </a:lnTo>
                <a:lnTo>
                  <a:pt x="18287" y="0"/>
                </a:lnTo>
                <a:close/>
              </a:path>
            </a:pathLst>
          </a:custGeom>
          <a:solidFill>
            <a:srgbClr val="1A171B"/>
          </a:solidFill>
        </p:spPr>
        <p:txBody>
          <a:bodyPr wrap="square" lIns="0" tIns="0" rIns="0" bIns="0" rtlCol="0"/>
          <a:lstStyle/>
          <a:p>
            <a:endParaRPr/>
          </a:p>
        </p:txBody>
      </p:sp>
      <p:sp>
        <p:nvSpPr>
          <p:cNvPr id="50" name="object 50"/>
          <p:cNvSpPr/>
          <p:nvPr/>
        </p:nvSpPr>
        <p:spPr>
          <a:xfrm>
            <a:off x="6462521" y="3269360"/>
            <a:ext cx="18415" cy="18415"/>
          </a:xfrm>
          <a:custGeom>
            <a:avLst/>
            <a:gdLst/>
            <a:ahLst/>
            <a:cxnLst/>
            <a:rect l="l" t="t" r="r" b="b"/>
            <a:pathLst>
              <a:path w="18414" h="18414">
                <a:moveTo>
                  <a:pt x="0" y="2031"/>
                </a:moveTo>
                <a:lnTo>
                  <a:pt x="18287" y="0"/>
                </a:lnTo>
                <a:lnTo>
                  <a:pt x="11556" y="17906"/>
                </a:lnTo>
                <a:lnTo>
                  <a:pt x="0" y="2031"/>
                </a:lnTo>
                <a:close/>
              </a:path>
            </a:pathLst>
          </a:custGeom>
          <a:ln w="9525">
            <a:solidFill>
              <a:srgbClr val="7E7E7E"/>
            </a:solidFill>
          </a:ln>
        </p:spPr>
        <p:txBody>
          <a:bodyPr wrap="square" lIns="0" tIns="0" rIns="0" bIns="0" rtlCol="0"/>
          <a:lstStyle/>
          <a:p>
            <a:endParaRPr/>
          </a:p>
        </p:txBody>
      </p:sp>
      <p:sp>
        <p:nvSpPr>
          <p:cNvPr id="51" name="object 51"/>
          <p:cNvSpPr/>
          <p:nvPr/>
        </p:nvSpPr>
        <p:spPr>
          <a:xfrm>
            <a:off x="6639306" y="3267964"/>
            <a:ext cx="85090" cy="27940"/>
          </a:xfrm>
          <a:custGeom>
            <a:avLst/>
            <a:gdLst/>
            <a:ahLst/>
            <a:cxnLst/>
            <a:rect l="l" t="t" r="r" b="b"/>
            <a:pathLst>
              <a:path w="85090" h="27939">
                <a:moveTo>
                  <a:pt x="0" y="0"/>
                </a:moveTo>
                <a:lnTo>
                  <a:pt x="39624" y="23368"/>
                </a:lnTo>
                <a:lnTo>
                  <a:pt x="63246" y="27463"/>
                </a:lnTo>
                <a:lnTo>
                  <a:pt x="74199" y="27225"/>
                </a:lnTo>
                <a:lnTo>
                  <a:pt x="84963" y="25273"/>
                </a:lnTo>
              </a:path>
            </a:pathLst>
          </a:custGeom>
          <a:ln w="9525">
            <a:solidFill>
              <a:srgbClr val="7E7E7E"/>
            </a:solidFill>
          </a:ln>
        </p:spPr>
        <p:txBody>
          <a:bodyPr wrap="square" lIns="0" tIns="0" rIns="0" bIns="0" rtlCol="0"/>
          <a:lstStyle/>
          <a:p>
            <a:endParaRPr/>
          </a:p>
        </p:txBody>
      </p:sp>
      <p:sp>
        <p:nvSpPr>
          <p:cNvPr id="52" name="object 52"/>
          <p:cNvSpPr/>
          <p:nvPr/>
        </p:nvSpPr>
        <p:spPr>
          <a:xfrm>
            <a:off x="6718807" y="3283839"/>
            <a:ext cx="18415" cy="19050"/>
          </a:xfrm>
          <a:custGeom>
            <a:avLst/>
            <a:gdLst/>
            <a:ahLst/>
            <a:cxnLst/>
            <a:rect l="l" t="t" r="r" b="b"/>
            <a:pathLst>
              <a:path w="18415" h="19050">
                <a:moveTo>
                  <a:pt x="0" y="0"/>
                </a:moveTo>
                <a:lnTo>
                  <a:pt x="5969" y="18669"/>
                </a:lnTo>
                <a:lnTo>
                  <a:pt x="17907" y="3683"/>
                </a:lnTo>
                <a:lnTo>
                  <a:pt x="0" y="0"/>
                </a:lnTo>
                <a:close/>
              </a:path>
            </a:pathLst>
          </a:custGeom>
          <a:solidFill>
            <a:srgbClr val="1A171B"/>
          </a:solidFill>
        </p:spPr>
        <p:txBody>
          <a:bodyPr wrap="square" lIns="0" tIns="0" rIns="0" bIns="0" rtlCol="0"/>
          <a:lstStyle/>
          <a:p>
            <a:endParaRPr/>
          </a:p>
        </p:txBody>
      </p:sp>
      <p:sp>
        <p:nvSpPr>
          <p:cNvPr id="53" name="object 53"/>
          <p:cNvSpPr/>
          <p:nvPr/>
        </p:nvSpPr>
        <p:spPr>
          <a:xfrm>
            <a:off x="6718807" y="3283839"/>
            <a:ext cx="18415" cy="19050"/>
          </a:xfrm>
          <a:custGeom>
            <a:avLst/>
            <a:gdLst/>
            <a:ahLst/>
            <a:cxnLst/>
            <a:rect l="l" t="t" r="r" b="b"/>
            <a:pathLst>
              <a:path w="18415" h="19050">
                <a:moveTo>
                  <a:pt x="0" y="0"/>
                </a:moveTo>
                <a:lnTo>
                  <a:pt x="17907" y="3683"/>
                </a:lnTo>
                <a:lnTo>
                  <a:pt x="5969" y="18669"/>
                </a:lnTo>
                <a:lnTo>
                  <a:pt x="0" y="0"/>
                </a:lnTo>
                <a:close/>
              </a:path>
            </a:pathLst>
          </a:custGeom>
          <a:ln w="9525">
            <a:solidFill>
              <a:srgbClr val="7E7E7E"/>
            </a:solidFill>
          </a:ln>
        </p:spPr>
        <p:txBody>
          <a:bodyPr wrap="square" lIns="0" tIns="0" rIns="0" bIns="0" rtlCol="0"/>
          <a:lstStyle/>
          <a:p>
            <a:endParaRPr/>
          </a:p>
        </p:txBody>
      </p:sp>
      <p:sp>
        <p:nvSpPr>
          <p:cNvPr id="54" name="object 54"/>
          <p:cNvSpPr txBox="1"/>
          <p:nvPr/>
        </p:nvSpPr>
        <p:spPr>
          <a:xfrm>
            <a:off x="11762993" y="6588110"/>
            <a:ext cx="186690" cy="200025"/>
          </a:xfrm>
          <a:prstGeom prst="rect">
            <a:avLst/>
          </a:prstGeom>
        </p:spPr>
        <p:txBody>
          <a:bodyPr vert="horz" wrap="square" lIns="0" tIns="13335" rIns="0" bIns="0" rtlCol="0">
            <a:spAutoFit/>
          </a:bodyPr>
          <a:lstStyle/>
          <a:p>
            <a:pPr marL="12700">
              <a:lnSpc>
                <a:spcPct val="100000"/>
              </a:lnSpc>
              <a:spcBef>
                <a:spcPts val="105"/>
              </a:spcBef>
            </a:pPr>
            <a:r>
              <a:rPr sz="1200" spc="-412" baseline="-27777">
                <a:solidFill>
                  <a:srgbClr val="A6A6A6"/>
                </a:solidFill>
                <a:latin typeface="Verdana"/>
                <a:cs typeface="Verdana"/>
              </a:rPr>
              <a:t>4</a:t>
            </a:r>
            <a:r>
              <a:rPr sz="800" spc="-235">
                <a:solidFill>
                  <a:srgbClr val="767676"/>
                </a:solidFill>
                <a:latin typeface="Verdana"/>
                <a:cs typeface="Verdana"/>
              </a:rPr>
              <a:t>4</a:t>
            </a:r>
            <a:r>
              <a:rPr sz="1200" spc="-412" baseline="-27777">
                <a:solidFill>
                  <a:srgbClr val="A6A6A6"/>
                </a:solidFill>
                <a:latin typeface="Verdana"/>
                <a:cs typeface="Verdana"/>
              </a:rPr>
              <a:t>8</a:t>
            </a:r>
            <a:r>
              <a:rPr sz="800">
                <a:solidFill>
                  <a:srgbClr val="767676"/>
                </a:solidFill>
                <a:latin typeface="Verdana"/>
                <a:cs typeface="Verdana"/>
              </a:rPr>
              <a:t>8</a:t>
            </a:r>
            <a:endParaRPr sz="800">
              <a:latin typeface="Verdana"/>
              <a:cs typeface="Verdana"/>
            </a:endParaRPr>
          </a:p>
        </p:txBody>
      </p:sp>
      <p:sp>
        <p:nvSpPr>
          <p:cNvPr id="55" name="object 5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6" name="object 56"/>
          <p:cNvSpPr txBox="1"/>
          <p:nvPr/>
        </p:nvSpPr>
        <p:spPr>
          <a:xfrm>
            <a:off x="9604629" y="6638097"/>
            <a:ext cx="2091689"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a:t>
            </a:r>
            <a:r>
              <a:rPr sz="800" spc="-55">
                <a:solidFill>
                  <a:srgbClr val="A6A6A6"/>
                </a:solidFill>
                <a:latin typeface="Verdana"/>
                <a:cs typeface="Verdana"/>
              </a:rPr>
              <a:t> </a:t>
            </a:r>
            <a:r>
              <a:rPr sz="800">
                <a:solidFill>
                  <a:srgbClr val="12ABDB"/>
                </a:solidFill>
                <a:latin typeface="Verdana"/>
                <a:cs typeface="Verdana"/>
              </a:rPr>
              <a:t>|</a:t>
            </a:r>
            <a:endParaRPr sz="800">
              <a:latin typeface="Verdana"/>
              <a:cs typeface="Verdana"/>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6" name="object 6"/>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7" name="object 7"/>
          <p:cNvSpPr txBox="1"/>
          <p:nvPr/>
        </p:nvSpPr>
        <p:spPr>
          <a:xfrm>
            <a:off x="521614" y="1876755"/>
            <a:ext cx="736600" cy="697230"/>
          </a:xfrm>
          <a:prstGeom prst="rect">
            <a:avLst/>
          </a:prstGeom>
        </p:spPr>
        <p:txBody>
          <a:bodyPr vert="horz" wrap="square" lIns="0" tIns="13335" rIns="0" bIns="0" rtlCol="0">
            <a:spAutoFit/>
          </a:bodyPr>
          <a:lstStyle/>
          <a:p>
            <a:pPr marL="12700">
              <a:lnSpc>
                <a:spcPct val="100000"/>
              </a:lnSpc>
              <a:spcBef>
                <a:spcPts val="105"/>
              </a:spcBef>
            </a:pPr>
            <a:r>
              <a:rPr sz="4400" spc="-5">
                <a:solidFill>
                  <a:srgbClr val="FFFFFF"/>
                </a:solidFill>
                <a:latin typeface="Verdana"/>
                <a:cs typeface="Verdana"/>
              </a:rPr>
              <a:t>05</a:t>
            </a:r>
            <a:endParaRPr sz="4400">
              <a:latin typeface="Verdana"/>
              <a:cs typeface="Verdana"/>
            </a:endParaRPr>
          </a:p>
        </p:txBody>
      </p:sp>
      <p:sp>
        <p:nvSpPr>
          <p:cNvPr id="8" name="object 8"/>
          <p:cNvSpPr/>
          <p:nvPr/>
        </p:nvSpPr>
        <p:spPr>
          <a:xfrm>
            <a:off x="464819" y="2657855"/>
            <a:ext cx="914400" cy="0"/>
          </a:xfrm>
          <a:custGeom>
            <a:avLst/>
            <a:gdLst/>
            <a:ahLst/>
            <a:cxnLst/>
            <a:rect l="l" t="t" r="r" b="b"/>
            <a:pathLst>
              <a:path w="914400">
                <a:moveTo>
                  <a:pt x="0" y="0"/>
                </a:moveTo>
                <a:lnTo>
                  <a:pt x="914400" y="0"/>
                </a:lnTo>
              </a:path>
            </a:pathLst>
          </a:custGeom>
          <a:ln w="6096">
            <a:solidFill>
              <a:srgbClr val="FFFFFF"/>
            </a:solidFill>
          </a:ln>
        </p:spPr>
        <p:txBody>
          <a:bodyPr wrap="square" lIns="0" tIns="0" rIns="0" bIns="0" rtlCol="0"/>
          <a:lstStyle/>
          <a:p>
            <a:endParaRPr/>
          </a:p>
        </p:txBody>
      </p:sp>
      <p:sp>
        <p:nvSpPr>
          <p:cNvPr id="9" name="object 9"/>
          <p:cNvSpPr txBox="1"/>
          <p:nvPr/>
        </p:nvSpPr>
        <p:spPr>
          <a:xfrm>
            <a:off x="540207" y="2902153"/>
            <a:ext cx="2830830" cy="3314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Project</a:t>
            </a:r>
            <a:r>
              <a:rPr sz="2000" b="1" spc="-65">
                <a:solidFill>
                  <a:srgbClr val="FFFFFF"/>
                </a:solidFill>
                <a:latin typeface="Verdana"/>
                <a:cs typeface="Verdana"/>
              </a:rPr>
              <a:t> </a:t>
            </a:r>
            <a:r>
              <a:rPr sz="2000" b="1">
                <a:solidFill>
                  <a:srgbClr val="FFFFFF"/>
                </a:solidFill>
                <a:latin typeface="Verdana"/>
                <a:cs typeface="Verdana"/>
              </a:rPr>
              <a:t>Governance</a:t>
            </a:r>
            <a:endParaRPr sz="2000">
              <a:latin typeface="Verdana"/>
              <a:cs typeface="Verdana"/>
            </a:endParaRPr>
          </a:p>
        </p:txBody>
      </p:sp>
      <p:sp>
        <p:nvSpPr>
          <p:cNvPr id="10" name="object 1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11" name="object 1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1</a:t>
            </a:fld>
            <a:endParaRPr/>
          </a:p>
        </p:txBody>
      </p:sp>
      <p:pic>
        <p:nvPicPr>
          <p:cNvPr id="12" name="Picture 11">
            <a:extLst>
              <a:ext uri="{FF2B5EF4-FFF2-40B4-BE49-F238E27FC236}">
                <a16:creationId xmlns:a16="http://schemas.microsoft.com/office/drawing/2014/main" id="{C476A2E1-F1F3-4612-A5B1-9335D53CC235}"/>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649979" cy="422275"/>
          </a:xfrm>
          <a:prstGeom prst="rect">
            <a:avLst/>
          </a:prstGeom>
        </p:spPr>
        <p:txBody>
          <a:bodyPr vert="horz" wrap="square" lIns="0" tIns="12700" rIns="0" bIns="0" rtlCol="0">
            <a:spAutoFit/>
          </a:bodyPr>
          <a:lstStyle/>
          <a:p>
            <a:pPr marL="12700">
              <a:lnSpc>
                <a:spcPct val="100000"/>
              </a:lnSpc>
              <a:spcBef>
                <a:spcPts val="100"/>
              </a:spcBef>
            </a:pPr>
            <a:r>
              <a:rPr sz="2600" spc="-5"/>
              <a:t>Governing the</a:t>
            </a:r>
            <a:r>
              <a:rPr sz="2600" spc="-60"/>
              <a:t> </a:t>
            </a:r>
            <a:r>
              <a:rPr sz="2600" spc="-5"/>
              <a:t>Project</a:t>
            </a:r>
            <a:endParaRPr sz="2600"/>
          </a:p>
        </p:txBody>
      </p:sp>
      <p:sp>
        <p:nvSpPr>
          <p:cNvPr id="3" name="object 3"/>
          <p:cNvSpPr/>
          <p:nvPr/>
        </p:nvSpPr>
        <p:spPr>
          <a:xfrm>
            <a:off x="334518" y="1216913"/>
            <a:ext cx="11559540" cy="5253355"/>
          </a:xfrm>
          <a:custGeom>
            <a:avLst/>
            <a:gdLst/>
            <a:ahLst/>
            <a:cxnLst/>
            <a:rect l="l" t="t" r="r" b="b"/>
            <a:pathLst>
              <a:path w="11559540" h="5253355">
                <a:moveTo>
                  <a:pt x="11381993" y="0"/>
                </a:moveTo>
                <a:lnTo>
                  <a:pt x="177558" y="0"/>
                </a:lnTo>
                <a:lnTo>
                  <a:pt x="130358" y="6342"/>
                </a:lnTo>
                <a:lnTo>
                  <a:pt x="87944" y="24242"/>
                </a:lnTo>
                <a:lnTo>
                  <a:pt x="52008" y="52006"/>
                </a:lnTo>
                <a:lnTo>
                  <a:pt x="24243" y="87940"/>
                </a:lnTo>
                <a:lnTo>
                  <a:pt x="6343" y="130351"/>
                </a:lnTo>
                <a:lnTo>
                  <a:pt x="0" y="177546"/>
                </a:lnTo>
                <a:lnTo>
                  <a:pt x="0" y="5075656"/>
                </a:lnTo>
                <a:lnTo>
                  <a:pt x="6343" y="5122861"/>
                </a:lnTo>
                <a:lnTo>
                  <a:pt x="24243" y="5165280"/>
                </a:lnTo>
                <a:lnTo>
                  <a:pt x="52008" y="5201218"/>
                </a:lnTo>
                <a:lnTo>
                  <a:pt x="87944" y="5228984"/>
                </a:lnTo>
                <a:lnTo>
                  <a:pt x="130358" y="5246884"/>
                </a:lnTo>
                <a:lnTo>
                  <a:pt x="177558" y="5253228"/>
                </a:lnTo>
                <a:lnTo>
                  <a:pt x="11381993" y="5253228"/>
                </a:lnTo>
                <a:lnTo>
                  <a:pt x="11429188" y="5246884"/>
                </a:lnTo>
                <a:lnTo>
                  <a:pt x="11471599" y="5228984"/>
                </a:lnTo>
                <a:lnTo>
                  <a:pt x="11507533" y="5201218"/>
                </a:lnTo>
                <a:lnTo>
                  <a:pt x="11535297" y="5165280"/>
                </a:lnTo>
                <a:lnTo>
                  <a:pt x="11553197" y="5122861"/>
                </a:lnTo>
                <a:lnTo>
                  <a:pt x="11559540" y="5075656"/>
                </a:lnTo>
                <a:lnTo>
                  <a:pt x="11559540" y="177546"/>
                </a:lnTo>
                <a:lnTo>
                  <a:pt x="11553197" y="130351"/>
                </a:lnTo>
                <a:lnTo>
                  <a:pt x="11535297" y="87940"/>
                </a:lnTo>
                <a:lnTo>
                  <a:pt x="11507533" y="52006"/>
                </a:lnTo>
                <a:lnTo>
                  <a:pt x="11471599" y="24242"/>
                </a:lnTo>
                <a:lnTo>
                  <a:pt x="11429188" y="6342"/>
                </a:lnTo>
                <a:lnTo>
                  <a:pt x="11381993" y="0"/>
                </a:lnTo>
                <a:close/>
              </a:path>
            </a:pathLst>
          </a:custGeom>
          <a:solidFill>
            <a:srgbClr val="006FAC"/>
          </a:solidFill>
        </p:spPr>
        <p:txBody>
          <a:bodyPr wrap="square" lIns="0" tIns="0" rIns="0" bIns="0" rtlCol="0"/>
          <a:lstStyle/>
          <a:p>
            <a:endParaRPr/>
          </a:p>
        </p:txBody>
      </p:sp>
      <p:sp>
        <p:nvSpPr>
          <p:cNvPr id="4" name="object 4"/>
          <p:cNvSpPr/>
          <p:nvPr/>
        </p:nvSpPr>
        <p:spPr>
          <a:xfrm>
            <a:off x="334518" y="1216913"/>
            <a:ext cx="11559540" cy="5253355"/>
          </a:xfrm>
          <a:custGeom>
            <a:avLst/>
            <a:gdLst/>
            <a:ahLst/>
            <a:cxnLst/>
            <a:rect l="l" t="t" r="r" b="b"/>
            <a:pathLst>
              <a:path w="11559540" h="5253355">
                <a:moveTo>
                  <a:pt x="0" y="177546"/>
                </a:moveTo>
                <a:lnTo>
                  <a:pt x="6343" y="130351"/>
                </a:lnTo>
                <a:lnTo>
                  <a:pt x="24243" y="87940"/>
                </a:lnTo>
                <a:lnTo>
                  <a:pt x="52008" y="52006"/>
                </a:lnTo>
                <a:lnTo>
                  <a:pt x="87944" y="24242"/>
                </a:lnTo>
                <a:lnTo>
                  <a:pt x="130358" y="6342"/>
                </a:lnTo>
                <a:lnTo>
                  <a:pt x="177558" y="0"/>
                </a:lnTo>
                <a:lnTo>
                  <a:pt x="11381993" y="0"/>
                </a:lnTo>
                <a:lnTo>
                  <a:pt x="11429188" y="6342"/>
                </a:lnTo>
                <a:lnTo>
                  <a:pt x="11471599" y="24242"/>
                </a:lnTo>
                <a:lnTo>
                  <a:pt x="11507533" y="52006"/>
                </a:lnTo>
                <a:lnTo>
                  <a:pt x="11535297" y="87940"/>
                </a:lnTo>
                <a:lnTo>
                  <a:pt x="11553197" y="130351"/>
                </a:lnTo>
                <a:lnTo>
                  <a:pt x="11559540" y="177546"/>
                </a:lnTo>
                <a:lnTo>
                  <a:pt x="11559540" y="5075656"/>
                </a:lnTo>
                <a:lnTo>
                  <a:pt x="11553197" y="5122861"/>
                </a:lnTo>
                <a:lnTo>
                  <a:pt x="11535297" y="5165280"/>
                </a:lnTo>
                <a:lnTo>
                  <a:pt x="11507533" y="5201218"/>
                </a:lnTo>
                <a:lnTo>
                  <a:pt x="11471599" y="5228984"/>
                </a:lnTo>
                <a:lnTo>
                  <a:pt x="11429188" y="5246884"/>
                </a:lnTo>
                <a:lnTo>
                  <a:pt x="11381993" y="5253228"/>
                </a:lnTo>
                <a:lnTo>
                  <a:pt x="177558" y="5253228"/>
                </a:lnTo>
                <a:lnTo>
                  <a:pt x="130358" y="5246884"/>
                </a:lnTo>
                <a:lnTo>
                  <a:pt x="87944" y="5228984"/>
                </a:lnTo>
                <a:lnTo>
                  <a:pt x="52008" y="5201218"/>
                </a:lnTo>
                <a:lnTo>
                  <a:pt x="24243" y="5165280"/>
                </a:lnTo>
                <a:lnTo>
                  <a:pt x="6343" y="5122861"/>
                </a:lnTo>
                <a:lnTo>
                  <a:pt x="0" y="5075656"/>
                </a:lnTo>
                <a:lnTo>
                  <a:pt x="0" y="177546"/>
                </a:lnTo>
                <a:close/>
              </a:path>
            </a:pathLst>
          </a:custGeom>
          <a:ln w="38100">
            <a:solidFill>
              <a:srgbClr val="006FAC"/>
            </a:solidFill>
          </a:ln>
        </p:spPr>
        <p:txBody>
          <a:bodyPr wrap="square" lIns="0" tIns="0" rIns="0" bIns="0" rtlCol="0"/>
          <a:lstStyle/>
          <a:p>
            <a:endParaRPr/>
          </a:p>
        </p:txBody>
      </p:sp>
      <p:sp>
        <p:nvSpPr>
          <p:cNvPr id="5" name="object 5"/>
          <p:cNvSpPr/>
          <p:nvPr/>
        </p:nvSpPr>
        <p:spPr>
          <a:xfrm>
            <a:off x="227838" y="1105661"/>
            <a:ext cx="11602720" cy="5325110"/>
          </a:xfrm>
          <a:custGeom>
            <a:avLst/>
            <a:gdLst/>
            <a:ahLst/>
            <a:cxnLst/>
            <a:rect l="l" t="t" r="r" b="b"/>
            <a:pathLst>
              <a:path w="11602720" h="5325110">
                <a:moveTo>
                  <a:pt x="11422253" y="0"/>
                </a:moveTo>
                <a:lnTo>
                  <a:pt x="179984" y="0"/>
                </a:lnTo>
                <a:lnTo>
                  <a:pt x="132137" y="6433"/>
                </a:lnTo>
                <a:lnTo>
                  <a:pt x="89142" y="24586"/>
                </a:lnTo>
                <a:lnTo>
                  <a:pt x="52716" y="52736"/>
                </a:lnTo>
                <a:lnTo>
                  <a:pt x="24573" y="89163"/>
                </a:lnTo>
                <a:lnTo>
                  <a:pt x="6429" y="132144"/>
                </a:lnTo>
                <a:lnTo>
                  <a:pt x="0" y="179959"/>
                </a:lnTo>
                <a:lnTo>
                  <a:pt x="0" y="5144871"/>
                </a:lnTo>
                <a:lnTo>
                  <a:pt x="6429" y="5192718"/>
                </a:lnTo>
                <a:lnTo>
                  <a:pt x="24573" y="5235713"/>
                </a:lnTo>
                <a:lnTo>
                  <a:pt x="52716" y="5272139"/>
                </a:lnTo>
                <a:lnTo>
                  <a:pt x="89142" y="5300282"/>
                </a:lnTo>
                <a:lnTo>
                  <a:pt x="132137" y="5318426"/>
                </a:lnTo>
                <a:lnTo>
                  <a:pt x="179984" y="5324856"/>
                </a:lnTo>
                <a:lnTo>
                  <a:pt x="11422253" y="5324856"/>
                </a:lnTo>
                <a:lnTo>
                  <a:pt x="11470067" y="5318426"/>
                </a:lnTo>
                <a:lnTo>
                  <a:pt x="11513048" y="5300282"/>
                </a:lnTo>
                <a:lnTo>
                  <a:pt x="11549475" y="5272139"/>
                </a:lnTo>
                <a:lnTo>
                  <a:pt x="11577625" y="5235713"/>
                </a:lnTo>
                <a:lnTo>
                  <a:pt x="11595778" y="5192718"/>
                </a:lnTo>
                <a:lnTo>
                  <a:pt x="11602212" y="5144871"/>
                </a:lnTo>
                <a:lnTo>
                  <a:pt x="11602212" y="179959"/>
                </a:lnTo>
                <a:lnTo>
                  <a:pt x="11595778" y="132144"/>
                </a:lnTo>
                <a:lnTo>
                  <a:pt x="11577625" y="89163"/>
                </a:lnTo>
                <a:lnTo>
                  <a:pt x="11549475" y="52736"/>
                </a:lnTo>
                <a:lnTo>
                  <a:pt x="11513048" y="24586"/>
                </a:lnTo>
                <a:lnTo>
                  <a:pt x="11470067" y="6433"/>
                </a:lnTo>
                <a:lnTo>
                  <a:pt x="11422253" y="0"/>
                </a:lnTo>
                <a:close/>
              </a:path>
            </a:pathLst>
          </a:custGeom>
          <a:solidFill>
            <a:srgbClr val="FFFFFF"/>
          </a:solidFill>
        </p:spPr>
        <p:txBody>
          <a:bodyPr wrap="square" lIns="0" tIns="0" rIns="0" bIns="0" rtlCol="0"/>
          <a:lstStyle/>
          <a:p>
            <a:endParaRPr/>
          </a:p>
        </p:txBody>
      </p:sp>
      <p:sp>
        <p:nvSpPr>
          <p:cNvPr id="6" name="object 6"/>
          <p:cNvSpPr/>
          <p:nvPr/>
        </p:nvSpPr>
        <p:spPr>
          <a:xfrm>
            <a:off x="227838" y="1105661"/>
            <a:ext cx="11602720" cy="5325110"/>
          </a:xfrm>
          <a:custGeom>
            <a:avLst/>
            <a:gdLst/>
            <a:ahLst/>
            <a:cxnLst/>
            <a:rect l="l" t="t" r="r" b="b"/>
            <a:pathLst>
              <a:path w="11602720" h="5325110">
                <a:moveTo>
                  <a:pt x="0" y="179959"/>
                </a:moveTo>
                <a:lnTo>
                  <a:pt x="6429" y="132144"/>
                </a:lnTo>
                <a:lnTo>
                  <a:pt x="24573" y="89163"/>
                </a:lnTo>
                <a:lnTo>
                  <a:pt x="52716" y="52736"/>
                </a:lnTo>
                <a:lnTo>
                  <a:pt x="89142" y="24586"/>
                </a:lnTo>
                <a:lnTo>
                  <a:pt x="132137" y="6433"/>
                </a:lnTo>
                <a:lnTo>
                  <a:pt x="179984" y="0"/>
                </a:lnTo>
                <a:lnTo>
                  <a:pt x="11422253" y="0"/>
                </a:lnTo>
                <a:lnTo>
                  <a:pt x="11470067" y="6433"/>
                </a:lnTo>
                <a:lnTo>
                  <a:pt x="11513048" y="24586"/>
                </a:lnTo>
                <a:lnTo>
                  <a:pt x="11549475" y="52736"/>
                </a:lnTo>
                <a:lnTo>
                  <a:pt x="11577625" y="89163"/>
                </a:lnTo>
                <a:lnTo>
                  <a:pt x="11595778" y="132144"/>
                </a:lnTo>
                <a:lnTo>
                  <a:pt x="11602212" y="179959"/>
                </a:lnTo>
                <a:lnTo>
                  <a:pt x="11602212" y="5144871"/>
                </a:lnTo>
                <a:lnTo>
                  <a:pt x="11595778" y="5192718"/>
                </a:lnTo>
                <a:lnTo>
                  <a:pt x="11577625" y="5235713"/>
                </a:lnTo>
                <a:lnTo>
                  <a:pt x="11549475" y="5272139"/>
                </a:lnTo>
                <a:lnTo>
                  <a:pt x="11513048" y="5300282"/>
                </a:lnTo>
                <a:lnTo>
                  <a:pt x="11470067" y="5318426"/>
                </a:lnTo>
                <a:lnTo>
                  <a:pt x="11422253" y="5324856"/>
                </a:lnTo>
                <a:lnTo>
                  <a:pt x="179984" y="5324856"/>
                </a:lnTo>
                <a:lnTo>
                  <a:pt x="132137" y="5318426"/>
                </a:lnTo>
                <a:lnTo>
                  <a:pt x="89142" y="5300282"/>
                </a:lnTo>
                <a:lnTo>
                  <a:pt x="52716" y="5272139"/>
                </a:lnTo>
                <a:lnTo>
                  <a:pt x="24573" y="5235713"/>
                </a:lnTo>
                <a:lnTo>
                  <a:pt x="6429" y="5192718"/>
                </a:lnTo>
                <a:lnTo>
                  <a:pt x="0" y="5144871"/>
                </a:lnTo>
                <a:lnTo>
                  <a:pt x="0" y="179959"/>
                </a:lnTo>
                <a:close/>
              </a:path>
            </a:pathLst>
          </a:custGeom>
          <a:ln w="38100">
            <a:solidFill>
              <a:srgbClr val="006FAC"/>
            </a:solidFill>
          </a:ln>
        </p:spPr>
        <p:txBody>
          <a:bodyPr wrap="square" lIns="0" tIns="0" rIns="0" bIns="0" rtlCol="0"/>
          <a:lstStyle/>
          <a:p>
            <a:endParaRPr/>
          </a:p>
        </p:txBody>
      </p:sp>
      <p:sp>
        <p:nvSpPr>
          <p:cNvPr id="7" name="object 7"/>
          <p:cNvSpPr txBox="1"/>
          <p:nvPr/>
        </p:nvSpPr>
        <p:spPr>
          <a:xfrm>
            <a:off x="358546" y="1193038"/>
            <a:ext cx="11322050" cy="1123315"/>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Verdana"/>
                <a:cs typeface="Verdana"/>
              </a:rPr>
              <a:t>Our </a:t>
            </a:r>
            <a:r>
              <a:rPr sz="1200">
                <a:latin typeface="Verdana"/>
                <a:cs typeface="Verdana"/>
              </a:rPr>
              <a:t>core </a:t>
            </a:r>
            <a:r>
              <a:rPr sz="1200" spc="-5">
                <a:latin typeface="Verdana"/>
                <a:cs typeface="Verdana"/>
              </a:rPr>
              <a:t>business is to </a:t>
            </a:r>
            <a:r>
              <a:rPr sz="1200" b="1" spc="-5">
                <a:latin typeface="Verdana"/>
                <a:cs typeface="Verdana"/>
              </a:rPr>
              <a:t>deliver high quality solutions</a:t>
            </a:r>
            <a:r>
              <a:rPr sz="1200" spc="-5">
                <a:latin typeface="Verdana"/>
                <a:cs typeface="Verdana"/>
              </a:rPr>
              <a:t>. This challenging goal calls </a:t>
            </a:r>
            <a:r>
              <a:rPr sz="1200">
                <a:latin typeface="Verdana"/>
                <a:cs typeface="Verdana"/>
              </a:rPr>
              <a:t>for a </a:t>
            </a:r>
            <a:r>
              <a:rPr sz="1200" spc="-5">
                <a:latin typeface="Verdana"/>
                <a:cs typeface="Verdana"/>
              </a:rPr>
              <a:t>homogeneous and continuously improving </a:t>
            </a:r>
            <a:r>
              <a:rPr sz="1200" b="1" spc="-5">
                <a:latin typeface="Verdana"/>
                <a:cs typeface="Verdana"/>
              </a:rPr>
              <a:t>delivery  capability</a:t>
            </a:r>
            <a:r>
              <a:rPr sz="1200" spc="-5">
                <a:latin typeface="Verdana"/>
                <a:cs typeface="Verdana"/>
              </a:rPr>
              <a:t>, based </a:t>
            </a:r>
            <a:r>
              <a:rPr sz="1200">
                <a:latin typeface="Verdana"/>
                <a:cs typeface="Verdana"/>
              </a:rPr>
              <a:t>on a </a:t>
            </a:r>
            <a:r>
              <a:rPr sz="1200" spc="-5">
                <a:latin typeface="Verdana"/>
                <a:cs typeface="Verdana"/>
              </a:rPr>
              <a:t>number </a:t>
            </a:r>
            <a:r>
              <a:rPr sz="1200">
                <a:latin typeface="Verdana"/>
                <a:cs typeface="Verdana"/>
              </a:rPr>
              <a:t>of </a:t>
            </a:r>
            <a:r>
              <a:rPr sz="1200" spc="-5">
                <a:latin typeface="Verdana"/>
                <a:cs typeface="Verdana"/>
              </a:rPr>
              <a:t>principles implemented through </a:t>
            </a:r>
            <a:r>
              <a:rPr sz="1200">
                <a:latin typeface="Verdana"/>
                <a:cs typeface="Verdana"/>
              </a:rPr>
              <a:t>a </a:t>
            </a:r>
            <a:r>
              <a:rPr sz="1200" spc="-5">
                <a:latin typeface="Verdana"/>
                <a:cs typeface="Verdana"/>
              </a:rPr>
              <a:t>dedicated delivery management organisation. </a:t>
            </a:r>
            <a:r>
              <a:rPr sz="1200" b="1" spc="-5">
                <a:latin typeface="Verdana"/>
                <a:cs typeface="Verdana"/>
              </a:rPr>
              <a:t>DELIVER</a:t>
            </a:r>
            <a:r>
              <a:rPr sz="1200" spc="-5">
                <a:latin typeface="Verdana"/>
                <a:cs typeface="Verdana"/>
              </a:rPr>
              <a:t>, the Capgemini  Global Methods Environment, supports </a:t>
            </a:r>
            <a:r>
              <a:rPr sz="1200" spc="-10">
                <a:latin typeface="Verdana"/>
                <a:cs typeface="Verdana"/>
              </a:rPr>
              <a:t>Capgemini’s </a:t>
            </a:r>
            <a:r>
              <a:rPr sz="1200">
                <a:latin typeface="Verdana"/>
                <a:cs typeface="Verdana"/>
              </a:rPr>
              <a:t>service </a:t>
            </a:r>
            <a:r>
              <a:rPr sz="1200" spc="-5">
                <a:latin typeface="Verdana"/>
                <a:cs typeface="Verdana"/>
              </a:rPr>
              <a:t>offerings by providing </a:t>
            </a:r>
            <a:r>
              <a:rPr sz="1200" b="1" spc="-5">
                <a:latin typeface="Verdana"/>
                <a:cs typeface="Verdana"/>
              </a:rPr>
              <a:t>frameworks, methods, techniques </a:t>
            </a:r>
            <a:r>
              <a:rPr sz="1200" b="1">
                <a:latin typeface="Verdana"/>
                <a:cs typeface="Verdana"/>
              </a:rPr>
              <a:t>and tools </a:t>
            </a:r>
            <a:r>
              <a:rPr sz="1200">
                <a:latin typeface="Verdana"/>
                <a:cs typeface="Verdana"/>
              </a:rPr>
              <a:t>for </a:t>
            </a:r>
            <a:r>
              <a:rPr sz="1200" spc="-5">
                <a:latin typeface="Verdana"/>
                <a:cs typeface="Verdana"/>
              </a:rPr>
              <a:t>managing  and delivering all types </a:t>
            </a:r>
            <a:r>
              <a:rPr sz="1200">
                <a:latin typeface="Verdana"/>
                <a:cs typeface="Verdana"/>
              </a:rPr>
              <a:t>of </a:t>
            </a:r>
            <a:r>
              <a:rPr sz="1200" spc="-5">
                <a:latin typeface="Verdana"/>
                <a:cs typeface="Verdana"/>
              </a:rPr>
              <a:t>programs, projects and </a:t>
            </a:r>
            <a:r>
              <a:rPr sz="1200">
                <a:latin typeface="Verdana"/>
                <a:cs typeface="Verdana"/>
              </a:rPr>
              <a:t>services. It </a:t>
            </a:r>
            <a:r>
              <a:rPr sz="1200" spc="-5">
                <a:latin typeface="Verdana"/>
                <a:cs typeface="Verdana"/>
              </a:rPr>
              <a:t>covers our </a:t>
            </a:r>
            <a:r>
              <a:rPr sz="1200" spc="-10">
                <a:latin typeface="Verdana"/>
                <a:cs typeface="Verdana"/>
              </a:rPr>
              <a:t>range </a:t>
            </a:r>
            <a:r>
              <a:rPr sz="1200">
                <a:latin typeface="Verdana"/>
                <a:cs typeface="Verdana"/>
              </a:rPr>
              <a:t>of </a:t>
            </a:r>
            <a:r>
              <a:rPr sz="1200" spc="-5">
                <a:latin typeface="Verdana"/>
                <a:cs typeface="Verdana"/>
              </a:rPr>
              <a:t>offerings, </a:t>
            </a:r>
            <a:r>
              <a:rPr sz="1200" spc="-10">
                <a:latin typeface="Verdana"/>
                <a:cs typeface="Verdana"/>
              </a:rPr>
              <a:t>facilitating </a:t>
            </a:r>
            <a:r>
              <a:rPr sz="1200" spc="-5">
                <a:latin typeface="Verdana"/>
                <a:cs typeface="Verdana"/>
              </a:rPr>
              <a:t>business development, architecture design,  application development, package implementation, and support</a:t>
            </a:r>
            <a:r>
              <a:rPr sz="1200" spc="100">
                <a:latin typeface="Verdana"/>
                <a:cs typeface="Verdana"/>
              </a:rPr>
              <a:t> </a:t>
            </a:r>
            <a:r>
              <a:rPr sz="1200">
                <a:latin typeface="Verdana"/>
                <a:cs typeface="Verdana"/>
              </a:rPr>
              <a:t>services.</a:t>
            </a:r>
          </a:p>
          <a:p>
            <a:pPr marL="12700">
              <a:lnSpc>
                <a:spcPct val="100000"/>
              </a:lnSpc>
            </a:pPr>
            <a:r>
              <a:rPr sz="1200" b="1" spc="-5">
                <a:latin typeface="Verdana"/>
                <a:cs typeface="Verdana"/>
              </a:rPr>
              <a:t>DELIVER </a:t>
            </a:r>
            <a:r>
              <a:rPr sz="1200" spc="-5">
                <a:latin typeface="Verdana"/>
                <a:cs typeface="Verdana"/>
              </a:rPr>
              <a:t>delivers clear benefits to Capgemini</a:t>
            </a:r>
            <a:r>
              <a:rPr sz="1200" spc="65">
                <a:latin typeface="Verdana"/>
                <a:cs typeface="Verdana"/>
              </a:rPr>
              <a:t> </a:t>
            </a:r>
            <a:r>
              <a:rPr sz="1200" spc="-5">
                <a:latin typeface="Verdana"/>
                <a:cs typeface="Verdana"/>
              </a:rPr>
              <a:t>clients:</a:t>
            </a:r>
            <a:endParaRPr sz="1200">
              <a:latin typeface="Verdana"/>
              <a:cs typeface="Verdana"/>
            </a:endParaRPr>
          </a:p>
        </p:txBody>
      </p:sp>
      <p:sp>
        <p:nvSpPr>
          <p:cNvPr id="10" name="object 1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11" name="object 1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2</a:t>
            </a:fld>
            <a:endParaRPr/>
          </a:p>
        </p:txBody>
      </p:sp>
      <p:sp>
        <p:nvSpPr>
          <p:cNvPr id="8" name="object 8"/>
          <p:cNvSpPr txBox="1"/>
          <p:nvPr/>
        </p:nvSpPr>
        <p:spPr>
          <a:xfrm>
            <a:off x="358546" y="3388233"/>
            <a:ext cx="11276330" cy="2952115"/>
          </a:xfrm>
          <a:prstGeom prst="rect">
            <a:avLst/>
          </a:prstGeom>
        </p:spPr>
        <p:txBody>
          <a:bodyPr vert="horz" wrap="square" lIns="0" tIns="12700" rIns="0" bIns="0" rtlCol="0">
            <a:spAutoFit/>
          </a:bodyPr>
          <a:lstStyle/>
          <a:p>
            <a:pPr marL="12700" marR="248285">
              <a:lnSpc>
                <a:spcPct val="100000"/>
              </a:lnSpc>
              <a:spcBef>
                <a:spcPts val="100"/>
              </a:spcBef>
            </a:pPr>
            <a:r>
              <a:rPr sz="1200" spc="-5">
                <a:latin typeface="Verdana"/>
                <a:cs typeface="Verdana"/>
              </a:rPr>
              <a:t>The primary </a:t>
            </a:r>
            <a:r>
              <a:rPr sz="1200" spc="-10">
                <a:latin typeface="Verdana"/>
                <a:cs typeface="Verdana"/>
              </a:rPr>
              <a:t>objective </a:t>
            </a:r>
            <a:r>
              <a:rPr sz="1200">
                <a:latin typeface="Verdana"/>
                <a:cs typeface="Verdana"/>
              </a:rPr>
              <a:t>of </a:t>
            </a:r>
            <a:r>
              <a:rPr sz="1200" spc="-5">
                <a:latin typeface="Verdana"/>
                <a:cs typeface="Verdana"/>
              </a:rPr>
              <a:t>the project management structure is to provide the functions necessary to effectively plan, manage, and support the  project teams and their </a:t>
            </a:r>
            <a:r>
              <a:rPr sz="1200" spc="-10">
                <a:latin typeface="Verdana"/>
                <a:cs typeface="Verdana"/>
              </a:rPr>
              <a:t>implementation activities. </a:t>
            </a:r>
            <a:r>
              <a:rPr sz="1200" spc="-5">
                <a:latin typeface="Verdana"/>
                <a:cs typeface="Verdana"/>
              </a:rPr>
              <a:t>The </a:t>
            </a:r>
            <a:r>
              <a:rPr sz="1200" spc="-10">
                <a:latin typeface="Verdana"/>
                <a:cs typeface="Verdana"/>
              </a:rPr>
              <a:t>key </a:t>
            </a:r>
            <a:r>
              <a:rPr sz="1200" spc="-5">
                <a:latin typeface="Verdana"/>
                <a:cs typeface="Verdana"/>
              </a:rPr>
              <a:t>project management </a:t>
            </a:r>
            <a:r>
              <a:rPr sz="1200" spc="-10">
                <a:latin typeface="Verdana"/>
                <a:cs typeface="Verdana"/>
              </a:rPr>
              <a:t>activities </a:t>
            </a:r>
            <a:r>
              <a:rPr sz="1200" spc="-5">
                <a:latin typeface="Verdana"/>
                <a:cs typeface="Verdana"/>
              </a:rPr>
              <a:t>and </a:t>
            </a:r>
            <a:r>
              <a:rPr sz="1200" spc="-10">
                <a:latin typeface="Verdana"/>
                <a:cs typeface="Verdana"/>
              </a:rPr>
              <a:t>deliverables </a:t>
            </a:r>
            <a:r>
              <a:rPr sz="1200">
                <a:latin typeface="Verdana"/>
                <a:cs typeface="Verdana"/>
              </a:rPr>
              <a:t>can </a:t>
            </a:r>
            <a:r>
              <a:rPr sz="1200" spc="-5">
                <a:latin typeface="Verdana"/>
                <a:cs typeface="Verdana"/>
              </a:rPr>
              <a:t>be summarized </a:t>
            </a:r>
            <a:r>
              <a:rPr sz="1200" spc="55">
                <a:latin typeface="Verdana"/>
                <a:cs typeface="Verdana"/>
              </a:rPr>
              <a:t>by </a:t>
            </a:r>
            <a:r>
              <a:rPr sz="1200" spc="-5">
                <a:latin typeface="Verdana"/>
                <a:cs typeface="Verdana"/>
              </a:rPr>
              <a:t>the following  primary</a:t>
            </a:r>
            <a:r>
              <a:rPr sz="1200" spc="5">
                <a:latin typeface="Verdana"/>
                <a:cs typeface="Verdana"/>
              </a:rPr>
              <a:t> </a:t>
            </a:r>
            <a:r>
              <a:rPr sz="1200" spc="-5">
                <a:latin typeface="Verdana"/>
                <a:cs typeface="Verdana"/>
              </a:rPr>
              <a:t>functions:</a:t>
            </a:r>
            <a:endParaRPr sz="1200">
              <a:latin typeface="Verdana"/>
              <a:cs typeface="Verdana"/>
            </a:endParaRPr>
          </a:p>
          <a:p>
            <a:pPr marL="184785" marR="208279" indent="-172720">
              <a:lnSpc>
                <a:spcPct val="100000"/>
              </a:lnSpc>
              <a:buClr>
                <a:srgbClr val="006FAC"/>
              </a:buClr>
              <a:buFont typeface="Wingdings"/>
              <a:buChar char=""/>
              <a:tabLst>
                <a:tab pos="185420" algn="l"/>
              </a:tabLst>
            </a:pPr>
            <a:r>
              <a:rPr sz="1200" b="1" spc="-5">
                <a:latin typeface="Verdana"/>
                <a:cs typeface="Verdana"/>
              </a:rPr>
              <a:t>Project Planning </a:t>
            </a:r>
            <a:r>
              <a:rPr sz="1200" b="1">
                <a:latin typeface="Verdana"/>
                <a:cs typeface="Verdana"/>
              </a:rPr>
              <a:t>&amp; </a:t>
            </a:r>
            <a:r>
              <a:rPr sz="1200" b="1" spc="-5">
                <a:latin typeface="Verdana"/>
                <a:cs typeface="Verdana"/>
              </a:rPr>
              <a:t>Staffing </a:t>
            </a:r>
            <a:r>
              <a:rPr sz="1200" spc="-5">
                <a:latin typeface="Verdana"/>
                <a:cs typeface="Verdana"/>
              </a:rPr>
              <a:t>delivers </a:t>
            </a:r>
            <a:r>
              <a:rPr sz="1200" spc="-10">
                <a:latin typeface="Verdana"/>
                <a:cs typeface="Verdana"/>
              </a:rPr>
              <a:t>integrated activity </a:t>
            </a:r>
            <a:r>
              <a:rPr sz="1200" spc="-5">
                <a:latin typeface="Verdana"/>
                <a:cs typeface="Verdana"/>
              </a:rPr>
              <a:t>and </a:t>
            </a:r>
            <a:r>
              <a:rPr sz="1200">
                <a:latin typeface="Verdana"/>
                <a:cs typeface="Verdana"/>
              </a:rPr>
              <a:t>resource </a:t>
            </a:r>
            <a:r>
              <a:rPr sz="1200" spc="-10">
                <a:latin typeface="Verdana"/>
                <a:cs typeface="Verdana"/>
              </a:rPr>
              <a:t>planning </a:t>
            </a:r>
            <a:r>
              <a:rPr sz="1200" spc="-5">
                <a:latin typeface="Verdana"/>
                <a:cs typeface="Verdana"/>
              </a:rPr>
              <a:t>within and </a:t>
            </a:r>
            <a:r>
              <a:rPr sz="1200">
                <a:latin typeface="Verdana"/>
                <a:cs typeface="Verdana"/>
              </a:rPr>
              <a:t>across </a:t>
            </a:r>
            <a:r>
              <a:rPr sz="1200" spc="-5">
                <a:latin typeface="Verdana"/>
                <a:cs typeface="Verdana"/>
              </a:rPr>
              <a:t>projects to create </a:t>
            </a:r>
            <a:r>
              <a:rPr sz="1200">
                <a:latin typeface="Verdana"/>
                <a:cs typeface="Verdana"/>
              </a:rPr>
              <a:t>a </a:t>
            </a:r>
            <a:r>
              <a:rPr sz="1200" spc="-5">
                <a:latin typeface="Verdana"/>
                <a:cs typeface="Verdana"/>
              </a:rPr>
              <a:t>detailed plan and  framework for establishing and achieving </a:t>
            </a:r>
            <a:r>
              <a:rPr sz="1200" spc="-10">
                <a:latin typeface="Verdana"/>
                <a:cs typeface="Verdana"/>
              </a:rPr>
              <a:t>implementation </a:t>
            </a:r>
            <a:r>
              <a:rPr sz="1200" spc="-5">
                <a:latin typeface="Verdana"/>
                <a:cs typeface="Verdana"/>
              </a:rPr>
              <a:t>milestones. Project management is also responsible </a:t>
            </a:r>
            <a:r>
              <a:rPr sz="1200">
                <a:latin typeface="Verdana"/>
                <a:cs typeface="Verdana"/>
              </a:rPr>
              <a:t>for </a:t>
            </a:r>
            <a:r>
              <a:rPr sz="1200" b="1" spc="-5">
                <a:latin typeface="Verdana"/>
                <a:cs typeface="Verdana"/>
              </a:rPr>
              <a:t>defining </a:t>
            </a:r>
            <a:r>
              <a:rPr sz="1200" b="1">
                <a:latin typeface="Verdana"/>
                <a:cs typeface="Verdana"/>
              </a:rPr>
              <a:t>and </a:t>
            </a:r>
            <a:r>
              <a:rPr sz="1200" b="1" spc="-5">
                <a:latin typeface="Verdana"/>
                <a:cs typeface="Verdana"/>
              </a:rPr>
              <a:t>staffing the  required project roles </a:t>
            </a:r>
            <a:r>
              <a:rPr sz="1200" spc="-5">
                <a:latin typeface="Verdana"/>
                <a:cs typeface="Verdana"/>
              </a:rPr>
              <a:t>with client, and </a:t>
            </a:r>
            <a:r>
              <a:rPr sz="1200" spc="-10">
                <a:latin typeface="Verdana"/>
                <a:cs typeface="Verdana"/>
              </a:rPr>
              <a:t>third </a:t>
            </a:r>
            <a:r>
              <a:rPr sz="1200" spc="-5">
                <a:latin typeface="Verdana"/>
                <a:cs typeface="Verdana"/>
              </a:rPr>
              <a:t>party </a:t>
            </a:r>
            <a:r>
              <a:rPr sz="1200">
                <a:latin typeface="Verdana"/>
                <a:cs typeface="Verdana"/>
              </a:rPr>
              <a:t>resources </a:t>
            </a:r>
            <a:r>
              <a:rPr sz="1200" spc="-5">
                <a:latin typeface="Verdana"/>
                <a:cs typeface="Verdana"/>
              </a:rPr>
              <a:t>possessing the necessary skill</a:t>
            </a:r>
            <a:r>
              <a:rPr sz="1200" spc="160">
                <a:latin typeface="Verdana"/>
                <a:cs typeface="Verdana"/>
              </a:rPr>
              <a:t> </a:t>
            </a:r>
            <a:r>
              <a:rPr sz="1200">
                <a:latin typeface="Verdana"/>
                <a:cs typeface="Verdana"/>
              </a:rPr>
              <a:t>sets.</a:t>
            </a:r>
          </a:p>
          <a:p>
            <a:pPr marL="184785" indent="-172720">
              <a:lnSpc>
                <a:spcPct val="100000"/>
              </a:lnSpc>
              <a:buClr>
                <a:srgbClr val="006FAC"/>
              </a:buClr>
              <a:buFont typeface="Wingdings"/>
              <a:buChar char=""/>
              <a:tabLst>
                <a:tab pos="185420" algn="l"/>
              </a:tabLst>
            </a:pPr>
            <a:r>
              <a:rPr sz="1200" b="1" spc="-5">
                <a:latin typeface="Verdana"/>
                <a:cs typeface="Verdana"/>
              </a:rPr>
              <a:t>Risk </a:t>
            </a:r>
            <a:r>
              <a:rPr sz="1200" b="1">
                <a:latin typeface="Verdana"/>
                <a:cs typeface="Verdana"/>
              </a:rPr>
              <a:t>&amp; </a:t>
            </a:r>
            <a:r>
              <a:rPr sz="1200" b="1" spc="-5">
                <a:latin typeface="Verdana"/>
                <a:cs typeface="Verdana"/>
              </a:rPr>
              <a:t>Quality Management </a:t>
            </a:r>
            <a:r>
              <a:rPr sz="1200" spc="-5">
                <a:latin typeface="Verdana"/>
                <a:cs typeface="Verdana"/>
              </a:rPr>
              <a:t>facilitates the </a:t>
            </a:r>
            <a:r>
              <a:rPr sz="1200" spc="-10">
                <a:latin typeface="Verdana"/>
                <a:cs typeface="Verdana"/>
              </a:rPr>
              <a:t>identification, evaluation, </a:t>
            </a:r>
            <a:r>
              <a:rPr sz="1200" spc="-5">
                <a:latin typeface="Verdana"/>
                <a:cs typeface="Verdana"/>
              </a:rPr>
              <a:t>and </a:t>
            </a:r>
            <a:r>
              <a:rPr sz="1200" spc="-10">
                <a:latin typeface="Verdana"/>
                <a:cs typeface="Verdana"/>
              </a:rPr>
              <a:t>mitigation </a:t>
            </a:r>
            <a:r>
              <a:rPr sz="1200">
                <a:latin typeface="Verdana"/>
                <a:cs typeface="Verdana"/>
              </a:rPr>
              <a:t>of </a:t>
            </a:r>
            <a:r>
              <a:rPr sz="1200" spc="-5">
                <a:latin typeface="Verdana"/>
                <a:cs typeface="Verdana"/>
              </a:rPr>
              <a:t>potential project </a:t>
            </a:r>
            <a:r>
              <a:rPr sz="1200">
                <a:latin typeface="Verdana"/>
                <a:cs typeface="Verdana"/>
              </a:rPr>
              <a:t>risks </a:t>
            </a:r>
            <a:r>
              <a:rPr sz="1200" spc="-5">
                <a:latin typeface="Verdana"/>
                <a:cs typeface="Verdana"/>
              </a:rPr>
              <a:t>through </a:t>
            </a:r>
            <a:r>
              <a:rPr sz="1200">
                <a:latin typeface="Verdana"/>
                <a:cs typeface="Verdana"/>
              </a:rPr>
              <a:t>a </a:t>
            </a:r>
            <a:r>
              <a:rPr sz="1200" spc="-5">
                <a:latin typeface="Verdana"/>
                <a:cs typeface="Verdana"/>
              </a:rPr>
              <a:t>series </a:t>
            </a:r>
            <a:r>
              <a:rPr sz="1200">
                <a:latin typeface="Verdana"/>
                <a:cs typeface="Verdana"/>
              </a:rPr>
              <a:t>of</a:t>
            </a:r>
            <a:r>
              <a:rPr sz="1200" spc="305">
                <a:latin typeface="Verdana"/>
                <a:cs typeface="Verdana"/>
              </a:rPr>
              <a:t> </a:t>
            </a:r>
            <a:r>
              <a:rPr sz="1200">
                <a:latin typeface="Verdana"/>
                <a:cs typeface="Verdana"/>
              </a:rPr>
              <a:t>review</a:t>
            </a:r>
          </a:p>
          <a:p>
            <a:pPr marL="184785">
              <a:lnSpc>
                <a:spcPct val="100000"/>
              </a:lnSpc>
            </a:pPr>
            <a:r>
              <a:rPr sz="1200">
                <a:latin typeface="Verdana"/>
                <a:cs typeface="Verdana"/>
              </a:rPr>
              <a:t>processes </a:t>
            </a:r>
            <a:r>
              <a:rPr sz="1200" spc="-5">
                <a:latin typeface="Verdana"/>
                <a:cs typeface="Verdana"/>
              </a:rPr>
              <a:t>designed to deliver </a:t>
            </a:r>
            <a:r>
              <a:rPr sz="1200">
                <a:latin typeface="Verdana"/>
                <a:cs typeface="Verdana"/>
              </a:rPr>
              <a:t>a </a:t>
            </a:r>
            <a:r>
              <a:rPr sz="1200" spc="-5">
                <a:latin typeface="Verdana"/>
                <a:cs typeface="Verdana"/>
              </a:rPr>
              <a:t>quality</a:t>
            </a:r>
            <a:r>
              <a:rPr sz="1200" spc="30">
                <a:latin typeface="Verdana"/>
                <a:cs typeface="Verdana"/>
              </a:rPr>
              <a:t> </a:t>
            </a:r>
            <a:r>
              <a:rPr sz="1200" spc="-5">
                <a:latin typeface="Verdana"/>
                <a:cs typeface="Verdana"/>
              </a:rPr>
              <a:t>solution.</a:t>
            </a:r>
            <a:endParaRPr sz="1200">
              <a:latin typeface="Verdana"/>
              <a:cs typeface="Verdana"/>
            </a:endParaRPr>
          </a:p>
          <a:p>
            <a:pPr marL="184785" marR="250825" indent="-172720">
              <a:lnSpc>
                <a:spcPct val="100000"/>
              </a:lnSpc>
              <a:buClr>
                <a:srgbClr val="006FAC"/>
              </a:buClr>
              <a:buFont typeface="Wingdings"/>
              <a:buChar char=""/>
              <a:tabLst>
                <a:tab pos="185420" algn="l"/>
              </a:tabLst>
            </a:pPr>
            <a:r>
              <a:rPr sz="1200" b="1" spc="-5">
                <a:latin typeface="Verdana"/>
                <a:cs typeface="Verdana"/>
              </a:rPr>
              <a:t>Project Monitoring </a:t>
            </a:r>
            <a:r>
              <a:rPr sz="1200" b="1">
                <a:latin typeface="Verdana"/>
                <a:cs typeface="Verdana"/>
              </a:rPr>
              <a:t>&amp; </a:t>
            </a:r>
            <a:r>
              <a:rPr sz="1200" b="1" spc="-5">
                <a:latin typeface="Verdana"/>
                <a:cs typeface="Verdana"/>
              </a:rPr>
              <a:t>Support </a:t>
            </a:r>
            <a:r>
              <a:rPr sz="1200" spc="-10">
                <a:latin typeface="Verdana"/>
                <a:cs typeface="Verdana"/>
              </a:rPr>
              <a:t>involves </a:t>
            </a:r>
            <a:r>
              <a:rPr sz="1200" spc="-5">
                <a:latin typeface="Verdana"/>
                <a:cs typeface="Verdana"/>
              </a:rPr>
              <a:t>the </a:t>
            </a:r>
            <a:r>
              <a:rPr sz="1200" spc="-10">
                <a:latin typeface="Verdana"/>
                <a:cs typeface="Verdana"/>
              </a:rPr>
              <a:t>tracking, </a:t>
            </a:r>
            <a:r>
              <a:rPr sz="1200" spc="-5">
                <a:latin typeface="Verdana"/>
                <a:cs typeface="Verdana"/>
              </a:rPr>
              <a:t>control, and reporting </a:t>
            </a:r>
            <a:r>
              <a:rPr sz="1200">
                <a:latin typeface="Verdana"/>
                <a:cs typeface="Verdana"/>
              </a:rPr>
              <a:t>of </a:t>
            </a:r>
            <a:r>
              <a:rPr sz="1200" spc="-10">
                <a:latin typeface="Verdana"/>
                <a:cs typeface="Verdana"/>
              </a:rPr>
              <a:t>activities </a:t>
            </a:r>
            <a:r>
              <a:rPr sz="1200" spc="-5">
                <a:latin typeface="Verdana"/>
                <a:cs typeface="Verdana"/>
              </a:rPr>
              <a:t>within and </a:t>
            </a:r>
            <a:r>
              <a:rPr sz="1200">
                <a:latin typeface="Verdana"/>
                <a:cs typeface="Verdana"/>
              </a:rPr>
              <a:t>across </a:t>
            </a:r>
            <a:r>
              <a:rPr sz="1200" spc="-5">
                <a:latin typeface="Verdana"/>
                <a:cs typeface="Verdana"/>
              </a:rPr>
              <a:t>project teams. </a:t>
            </a:r>
            <a:r>
              <a:rPr sz="1200">
                <a:latin typeface="Verdana"/>
                <a:cs typeface="Verdana"/>
              </a:rPr>
              <a:t>In </a:t>
            </a:r>
            <a:r>
              <a:rPr sz="1200" spc="-10">
                <a:latin typeface="Verdana"/>
                <a:cs typeface="Verdana"/>
              </a:rPr>
              <a:t>addition, </a:t>
            </a:r>
            <a:r>
              <a:rPr sz="1200" spc="-5">
                <a:latin typeface="Verdana"/>
                <a:cs typeface="Verdana"/>
              </a:rPr>
              <a:t>the  support disciplines provided to the project teams enable them to remain focused </a:t>
            </a:r>
            <a:r>
              <a:rPr sz="1200">
                <a:latin typeface="Verdana"/>
                <a:cs typeface="Verdana"/>
              </a:rPr>
              <a:t>on </a:t>
            </a:r>
            <a:r>
              <a:rPr sz="1200" spc="-10">
                <a:latin typeface="Verdana"/>
                <a:cs typeface="Verdana"/>
              </a:rPr>
              <a:t>implementation activities </a:t>
            </a:r>
            <a:r>
              <a:rPr sz="1200" spc="-5">
                <a:latin typeface="Verdana"/>
                <a:cs typeface="Verdana"/>
              </a:rPr>
              <a:t>in </a:t>
            </a:r>
            <a:r>
              <a:rPr sz="1200">
                <a:latin typeface="Verdana"/>
                <a:cs typeface="Verdana"/>
              </a:rPr>
              <a:t>order </a:t>
            </a:r>
            <a:r>
              <a:rPr sz="1200" spc="-5">
                <a:latin typeface="Verdana"/>
                <a:cs typeface="Verdana"/>
              </a:rPr>
              <a:t>to </a:t>
            </a:r>
            <a:r>
              <a:rPr sz="1200" spc="5">
                <a:latin typeface="Verdana"/>
                <a:cs typeface="Verdana"/>
              </a:rPr>
              <a:t>achieve </a:t>
            </a:r>
            <a:r>
              <a:rPr sz="1200" spc="-5">
                <a:latin typeface="Verdana"/>
                <a:cs typeface="Verdana"/>
              </a:rPr>
              <a:t>established  milestones. The following </a:t>
            </a:r>
            <a:r>
              <a:rPr sz="1200" spc="-10">
                <a:latin typeface="Verdana"/>
                <a:cs typeface="Verdana"/>
              </a:rPr>
              <a:t>activities </a:t>
            </a:r>
            <a:r>
              <a:rPr sz="1200">
                <a:latin typeface="Verdana"/>
                <a:cs typeface="Verdana"/>
              </a:rPr>
              <a:t>are </a:t>
            </a:r>
            <a:r>
              <a:rPr sz="1200" spc="-5">
                <a:latin typeface="Verdana"/>
                <a:cs typeface="Verdana"/>
              </a:rPr>
              <a:t>included within the Project Monitoring </a:t>
            </a:r>
            <a:r>
              <a:rPr sz="1200">
                <a:latin typeface="Verdana"/>
                <a:cs typeface="Verdana"/>
              </a:rPr>
              <a:t>&amp; </a:t>
            </a:r>
            <a:r>
              <a:rPr sz="1200" spc="-5">
                <a:latin typeface="Verdana"/>
                <a:cs typeface="Verdana"/>
              </a:rPr>
              <a:t>Support</a:t>
            </a:r>
            <a:r>
              <a:rPr sz="1200" spc="150">
                <a:latin typeface="Verdana"/>
                <a:cs typeface="Verdana"/>
              </a:rPr>
              <a:t> </a:t>
            </a:r>
            <a:r>
              <a:rPr sz="1200" spc="-5">
                <a:latin typeface="Verdana"/>
                <a:cs typeface="Verdana"/>
              </a:rPr>
              <a:t>function:</a:t>
            </a:r>
            <a:endParaRPr sz="1200">
              <a:latin typeface="Verdana"/>
              <a:cs typeface="Verdana"/>
            </a:endParaRPr>
          </a:p>
          <a:p>
            <a:pPr marL="355600" lvl="1" indent="-170815">
              <a:lnSpc>
                <a:spcPct val="100000"/>
              </a:lnSpc>
              <a:buClr>
                <a:srgbClr val="12ABDB"/>
              </a:buClr>
              <a:buFont typeface="Arial"/>
              <a:buChar char="•"/>
              <a:tabLst>
                <a:tab pos="355600" algn="l"/>
              </a:tabLst>
            </a:pPr>
            <a:r>
              <a:rPr sz="1200" spc="-5">
                <a:latin typeface="Verdana"/>
                <a:cs typeface="Verdana"/>
              </a:rPr>
              <a:t>Project </a:t>
            </a:r>
            <a:r>
              <a:rPr sz="1200" spc="-25">
                <a:latin typeface="Verdana"/>
                <a:cs typeface="Verdana"/>
              </a:rPr>
              <a:t>Tracking </a:t>
            </a:r>
            <a:r>
              <a:rPr sz="1200" spc="-5">
                <a:latin typeface="Verdana"/>
                <a:cs typeface="Verdana"/>
              </a:rPr>
              <a:t>and</a:t>
            </a:r>
            <a:r>
              <a:rPr sz="1200" spc="45">
                <a:latin typeface="Verdana"/>
                <a:cs typeface="Verdana"/>
              </a:rPr>
              <a:t> </a:t>
            </a:r>
            <a:r>
              <a:rPr sz="1200" spc="-5">
                <a:latin typeface="Verdana"/>
                <a:cs typeface="Verdana"/>
              </a:rPr>
              <a:t>Reporting</a:t>
            </a:r>
            <a:endParaRPr sz="1200">
              <a:latin typeface="Verdana"/>
              <a:cs typeface="Verdana"/>
            </a:endParaRPr>
          </a:p>
          <a:p>
            <a:pPr marL="355600" lvl="1" indent="-170815">
              <a:lnSpc>
                <a:spcPct val="100000"/>
              </a:lnSpc>
              <a:buClr>
                <a:srgbClr val="12ABDB"/>
              </a:buClr>
              <a:buFont typeface="Arial"/>
              <a:buChar char="•"/>
              <a:tabLst>
                <a:tab pos="355600" algn="l"/>
              </a:tabLst>
            </a:pPr>
            <a:r>
              <a:rPr sz="1200" spc="-5">
                <a:latin typeface="Verdana"/>
                <a:cs typeface="Verdana"/>
              </a:rPr>
              <a:t>Risk </a:t>
            </a:r>
            <a:r>
              <a:rPr sz="1200">
                <a:latin typeface="Verdana"/>
                <a:cs typeface="Verdana"/>
              </a:rPr>
              <a:t>&amp; </a:t>
            </a:r>
            <a:r>
              <a:rPr sz="1200" spc="-5">
                <a:latin typeface="Verdana"/>
                <a:cs typeface="Verdana"/>
              </a:rPr>
              <a:t>Issue</a:t>
            </a:r>
            <a:r>
              <a:rPr sz="1200" spc="5">
                <a:latin typeface="Verdana"/>
                <a:cs typeface="Verdana"/>
              </a:rPr>
              <a:t> </a:t>
            </a:r>
            <a:r>
              <a:rPr sz="1200" spc="-5">
                <a:latin typeface="Verdana"/>
                <a:cs typeface="Verdana"/>
              </a:rPr>
              <a:t>Management</a:t>
            </a:r>
            <a:endParaRPr sz="1200">
              <a:latin typeface="Verdana"/>
              <a:cs typeface="Verdana"/>
            </a:endParaRPr>
          </a:p>
          <a:p>
            <a:pPr marL="355600" lvl="1" indent="-170815">
              <a:lnSpc>
                <a:spcPct val="100000"/>
              </a:lnSpc>
              <a:buClr>
                <a:srgbClr val="12ABDB"/>
              </a:buClr>
              <a:buFont typeface="Arial"/>
              <a:buChar char="•"/>
              <a:tabLst>
                <a:tab pos="355600" algn="l"/>
              </a:tabLst>
            </a:pPr>
            <a:r>
              <a:rPr sz="1200" spc="-5">
                <a:latin typeface="Verdana"/>
                <a:cs typeface="Verdana"/>
              </a:rPr>
              <a:t>Scope and Change Control</a:t>
            </a:r>
            <a:r>
              <a:rPr sz="1200" spc="30">
                <a:latin typeface="Verdana"/>
                <a:cs typeface="Verdana"/>
              </a:rPr>
              <a:t> </a:t>
            </a:r>
            <a:r>
              <a:rPr sz="1200" spc="-5">
                <a:latin typeface="Verdana"/>
                <a:cs typeface="Verdana"/>
              </a:rPr>
              <a:t>Management</a:t>
            </a:r>
            <a:endParaRPr sz="1200">
              <a:latin typeface="Verdana"/>
              <a:cs typeface="Verdana"/>
            </a:endParaRPr>
          </a:p>
          <a:p>
            <a:pPr marL="184785" indent="-172720">
              <a:lnSpc>
                <a:spcPct val="100000"/>
              </a:lnSpc>
              <a:buClr>
                <a:srgbClr val="006FAC"/>
              </a:buClr>
              <a:buFont typeface="Wingdings"/>
              <a:buChar char=""/>
              <a:tabLst>
                <a:tab pos="185420" algn="l"/>
              </a:tabLst>
            </a:pPr>
            <a:r>
              <a:rPr sz="1200" spc="-5">
                <a:latin typeface="Verdana"/>
                <a:cs typeface="Verdana"/>
              </a:rPr>
              <a:t>All the required project management disciplines, </a:t>
            </a:r>
            <a:r>
              <a:rPr sz="1200">
                <a:latin typeface="Verdana"/>
                <a:cs typeface="Verdana"/>
              </a:rPr>
              <a:t>processes </a:t>
            </a:r>
            <a:r>
              <a:rPr sz="1200" spc="-5">
                <a:latin typeface="Verdana"/>
                <a:cs typeface="Verdana"/>
              </a:rPr>
              <a:t>and tools are documented in </a:t>
            </a:r>
            <a:r>
              <a:rPr sz="1200">
                <a:latin typeface="Verdana"/>
                <a:cs typeface="Verdana"/>
              </a:rPr>
              <a:t>a </a:t>
            </a:r>
            <a:r>
              <a:rPr sz="1200" spc="-5">
                <a:latin typeface="Verdana"/>
                <a:cs typeface="Verdana"/>
              </a:rPr>
              <a:t>PGP (Project Governance Plan) which will ensure</a:t>
            </a:r>
            <a:r>
              <a:rPr sz="1200" spc="370">
                <a:latin typeface="Verdana"/>
                <a:cs typeface="Verdana"/>
              </a:rPr>
              <a:t> </a:t>
            </a:r>
            <a:r>
              <a:rPr sz="1200" spc="-5">
                <a:latin typeface="Verdana"/>
                <a:cs typeface="Verdana"/>
              </a:rPr>
              <a:t>that</a:t>
            </a:r>
            <a:endParaRPr sz="1200">
              <a:latin typeface="Verdana"/>
              <a:cs typeface="Verdana"/>
            </a:endParaRPr>
          </a:p>
          <a:p>
            <a:pPr marL="184785">
              <a:lnSpc>
                <a:spcPct val="100000"/>
              </a:lnSpc>
              <a:spcBef>
                <a:spcPts val="5"/>
              </a:spcBef>
            </a:pPr>
            <a:r>
              <a:rPr sz="1200" spc="-5">
                <a:latin typeface="Verdana"/>
                <a:cs typeface="Verdana"/>
              </a:rPr>
              <a:t>all the </a:t>
            </a:r>
            <a:r>
              <a:rPr sz="1200" spc="-10">
                <a:latin typeface="Verdana"/>
                <a:cs typeface="Verdana"/>
              </a:rPr>
              <a:t>involved </a:t>
            </a:r>
            <a:r>
              <a:rPr sz="1200" spc="-5">
                <a:latin typeface="Verdana"/>
                <a:cs typeface="Verdana"/>
              </a:rPr>
              <a:t>stakeholders </a:t>
            </a:r>
            <a:r>
              <a:rPr sz="1200">
                <a:latin typeface="Verdana"/>
                <a:cs typeface="Verdana"/>
              </a:rPr>
              <a:t>are </a:t>
            </a:r>
            <a:r>
              <a:rPr sz="1200" spc="-5">
                <a:latin typeface="Verdana"/>
                <a:cs typeface="Verdana"/>
              </a:rPr>
              <a:t>aligned </a:t>
            </a:r>
            <a:r>
              <a:rPr sz="1200">
                <a:latin typeface="Verdana"/>
                <a:cs typeface="Verdana"/>
              </a:rPr>
              <a:t>on </a:t>
            </a:r>
            <a:r>
              <a:rPr sz="1200" spc="-5">
                <a:latin typeface="Verdana"/>
                <a:cs typeface="Verdana"/>
              </a:rPr>
              <a:t>how the project is</a:t>
            </a:r>
            <a:r>
              <a:rPr sz="1200" spc="90">
                <a:latin typeface="Verdana"/>
                <a:cs typeface="Verdana"/>
              </a:rPr>
              <a:t> </a:t>
            </a:r>
            <a:r>
              <a:rPr sz="1200" spc="-5">
                <a:latin typeface="Verdana"/>
                <a:cs typeface="Verdana"/>
              </a:rPr>
              <a:t>managed.</a:t>
            </a:r>
            <a:endParaRPr sz="1200">
              <a:latin typeface="Verdana"/>
              <a:cs typeface="Verdana"/>
            </a:endParaRPr>
          </a:p>
        </p:txBody>
      </p:sp>
      <p:graphicFrame>
        <p:nvGraphicFramePr>
          <p:cNvPr id="9" name="object 9"/>
          <p:cNvGraphicFramePr>
            <a:graphicFrameLocks noGrp="1"/>
          </p:cNvGraphicFramePr>
          <p:nvPr/>
        </p:nvGraphicFramePr>
        <p:xfrm>
          <a:off x="280415" y="2386838"/>
          <a:ext cx="11482705" cy="929639"/>
        </p:xfrm>
        <a:graphic>
          <a:graphicData uri="http://schemas.openxmlformats.org/drawingml/2006/table">
            <a:tbl>
              <a:tblPr firstRow="1" bandRow="1">
                <a:tableStyleId>{2D5ABB26-0587-4C30-8999-92F81FD0307C}</a:tableStyleId>
              </a:tblPr>
              <a:tblGrid>
                <a:gridCol w="5516245">
                  <a:extLst>
                    <a:ext uri="{9D8B030D-6E8A-4147-A177-3AD203B41FA5}">
                      <a16:colId xmlns:a16="http://schemas.microsoft.com/office/drawing/2014/main" val="20000"/>
                    </a:ext>
                  </a:extLst>
                </a:gridCol>
                <a:gridCol w="5966460">
                  <a:extLst>
                    <a:ext uri="{9D8B030D-6E8A-4147-A177-3AD203B41FA5}">
                      <a16:colId xmlns:a16="http://schemas.microsoft.com/office/drawing/2014/main" val="20001"/>
                    </a:ext>
                  </a:extLst>
                </a:gridCol>
              </a:tblGrid>
              <a:tr h="929639">
                <a:tc>
                  <a:txBody>
                    <a:bodyPr/>
                    <a:lstStyle/>
                    <a:p>
                      <a:pPr marL="263525" indent="-172720">
                        <a:lnSpc>
                          <a:spcPct val="100000"/>
                        </a:lnSpc>
                        <a:spcBef>
                          <a:spcPts val="355"/>
                        </a:spcBef>
                        <a:buClr>
                          <a:srgbClr val="006FAC"/>
                        </a:buClr>
                        <a:buFont typeface="Wingdings"/>
                        <a:buChar char=""/>
                        <a:tabLst>
                          <a:tab pos="264160" algn="l"/>
                        </a:tabLst>
                      </a:pPr>
                      <a:r>
                        <a:rPr sz="1100" b="1" spc="-5">
                          <a:latin typeface="Verdana"/>
                          <a:cs typeface="Verdana"/>
                        </a:rPr>
                        <a:t>Engagements delivered </a:t>
                      </a:r>
                      <a:r>
                        <a:rPr sz="1100" b="1">
                          <a:latin typeface="Verdana"/>
                          <a:cs typeface="Verdana"/>
                        </a:rPr>
                        <a:t>On-Time and </a:t>
                      </a:r>
                      <a:r>
                        <a:rPr sz="1100" b="1" spc="-5">
                          <a:latin typeface="Verdana"/>
                          <a:cs typeface="Verdana"/>
                        </a:rPr>
                        <a:t>At Client</a:t>
                      </a:r>
                      <a:r>
                        <a:rPr sz="1100" b="1" spc="-60">
                          <a:latin typeface="Verdana"/>
                          <a:cs typeface="Verdana"/>
                        </a:rPr>
                        <a:t> </a:t>
                      </a:r>
                      <a:r>
                        <a:rPr sz="1100" b="1" spc="-5">
                          <a:latin typeface="Verdana"/>
                          <a:cs typeface="Verdana"/>
                        </a:rPr>
                        <a:t>Expectations</a:t>
                      </a:r>
                      <a:endParaRPr sz="1100">
                        <a:latin typeface="Verdana"/>
                        <a:cs typeface="Verdana"/>
                      </a:endParaRPr>
                    </a:p>
                    <a:p>
                      <a:pPr marL="263525">
                        <a:lnSpc>
                          <a:spcPct val="100000"/>
                        </a:lnSpc>
                      </a:pPr>
                      <a:r>
                        <a:rPr sz="1100" b="1" spc="-5">
                          <a:latin typeface="Verdana"/>
                          <a:cs typeface="Verdana"/>
                        </a:rPr>
                        <a:t>(OTACE),</a:t>
                      </a:r>
                      <a:endParaRPr sz="1100">
                        <a:latin typeface="Verdana"/>
                        <a:cs typeface="Verdana"/>
                      </a:endParaRPr>
                    </a:p>
                    <a:p>
                      <a:pPr marL="263525" indent="-172720">
                        <a:lnSpc>
                          <a:spcPct val="100000"/>
                        </a:lnSpc>
                        <a:buClr>
                          <a:srgbClr val="006FAC"/>
                        </a:buClr>
                        <a:buFont typeface="Wingdings"/>
                        <a:buChar char=""/>
                        <a:tabLst>
                          <a:tab pos="264160" algn="l"/>
                        </a:tabLst>
                      </a:pPr>
                      <a:r>
                        <a:rPr sz="1100" b="1" spc="-5">
                          <a:latin typeface="Verdana"/>
                          <a:cs typeface="Verdana"/>
                        </a:rPr>
                        <a:t>High added </a:t>
                      </a:r>
                      <a:r>
                        <a:rPr sz="1100" b="1">
                          <a:latin typeface="Verdana"/>
                          <a:cs typeface="Verdana"/>
                        </a:rPr>
                        <a:t>value </a:t>
                      </a:r>
                      <a:r>
                        <a:rPr sz="1100" b="1" spc="-5">
                          <a:latin typeface="Verdana"/>
                          <a:cs typeface="Verdana"/>
                        </a:rPr>
                        <a:t>services provided </a:t>
                      </a:r>
                      <a:r>
                        <a:rPr sz="1100" b="1">
                          <a:latin typeface="Verdana"/>
                          <a:cs typeface="Verdana"/>
                        </a:rPr>
                        <a:t>by a </a:t>
                      </a:r>
                      <a:r>
                        <a:rPr sz="1100" b="1" spc="-5">
                          <a:latin typeface="Verdana"/>
                          <a:cs typeface="Verdana"/>
                        </a:rPr>
                        <a:t>best in class</a:t>
                      </a:r>
                      <a:r>
                        <a:rPr sz="1100" b="1" spc="-30">
                          <a:latin typeface="Verdana"/>
                          <a:cs typeface="Verdana"/>
                        </a:rPr>
                        <a:t> </a:t>
                      </a:r>
                      <a:r>
                        <a:rPr sz="1100" b="1" spc="-5">
                          <a:latin typeface="Verdana"/>
                          <a:cs typeface="Verdana"/>
                        </a:rPr>
                        <a:t>supplier,</a:t>
                      </a:r>
                      <a:endParaRPr sz="1100">
                        <a:latin typeface="Verdana"/>
                        <a:cs typeface="Verdana"/>
                      </a:endParaRPr>
                    </a:p>
                    <a:p>
                      <a:pPr marL="263525" marR="464184" indent="-172720">
                        <a:lnSpc>
                          <a:spcPct val="100000"/>
                        </a:lnSpc>
                        <a:buClr>
                          <a:srgbClr val="006FAC"/>
                        </a:buClr>
                        <a:buFont typeface="Wingdings"/>
                        <a:buChar char=""/>
                        <a:tabLst>
                          <a:tab pos="264160" algn="l"/>
                        </a:tabLst>
                      </a:pPr>
                      <a:r>
                        <a:rPr sz="1100" b="1" spc="-5">
                          <a:latin typeface="Verdana"/>
                          <a:cs typeface="Verdana"/>
                        </a:rPr>
                        <a:t>Seamless approach </a:t>
                      </a:r>
                      <a:r>
                        <a:rPr sz="1100" b="1">
                          <a:latin typeface="Verdana"/>
                          <a:cs typeface="Verdana"/>
                        </a:rPr>
                        <a:t>from </a:t>
                      </a:r>
                      <a:r>
                        <a:rPr sz="1100" b="1" spc="-5">
                          <a:latin typeface="Verdana"/>
                          <a:cs typeface="Verdana"/>
                        </a:rPr>
                        <a:t>initial meeting </a:t>
                      </a:r>
                      <a:r>
                        <a:rPr sz="1100" b="1">
                          <a:latin typeface="Verdana"/>
                          <a:cs typeface="Verdana"/>
                        </a:rPr>
                        <a:t>to </a:t>
                      </a:r>
                      <a:r>
                        <a:rPr sz="1100" b="1" spc="-5">
                          <a:latin typeface="Verdana"/>
                          <a:cs typeface="Verdana"/>
                        </a:rPr>
                        <a:t>final </a:t>
                      </a:r>
                      <a:r>
                        <a:rPr sz="1100" b="1">
                          <a:latin typeface="Verdana"/>
                          <a:cs typeface="Verdana"/>
                        </a:rPr>
                        <a:t>hand-over of  solution</a:t>
                      </a:r>
                      <a:endParaRPr sz="1100">
                        <a:latin typeface="Verdana"/>
                        <a:cs typeface="Verdana"/>
                      </a:endParaRPr>
                    </a:p>
                  </a:txBody>
                  <a:tcPr marL="0" marR="0" marT="45085" marB="0">
                    <a:lnL w="12700">
                      <a:solidFill>
                        <a:srgbClr val="BEBEBE"/>
                      </a:solidFill>
                      <a:prstDash val="solid"/>
                    </a:lnL>
                    <a:lnR w="12700">
                      <a:solidFill>
                        <a:srgbClr val="BEBEBE"/>
                      </a:solidFill>
                      <a:prstDash val="solid"/>
                    </a:lnR>
                    <a:lnT w="12700">
                      <a:solidFill>
                        <a:srgbClr val="BEBEBE"/>
                      </a:solidFill>
                      <a:prstDash val="solid"/>
                    </a:lnT>
                    <a:lnB w="12700">
                      <a:solidFill>
                        <a:srgbClr val="BEBEBE"/>
                      </a:solidFill>
                      <a:prstDash val="solid"/>
                    </a:lnB>
                    <a:solidFill>
                      <a:srgbClr val="CDEFFA"/>
                    </a:solidFill>
                  </a:tcPr>
                </a:tc>
                <a:tc>
                  <a:txBody>
                    <a:bodyPr/>
                    <a:lstStyle/>
                    <a:p>
                      <a:pPr marL="264160" indent="-172720">
                        <a:lnSpc>
                          <a:spcPct val="100000"/>
                        </a:lnSpc>
                        <a:spcBef>
                          <a:spcPts val="355"/>
                        </a:spcBef>
                        <a:buClr>
                          <a:srgbClr val="006FAC"/>
                        </a:buClr>
                        <a:buFont typeface="Wingdings"/>
                        <a:buChar char=""/>
                        <a:tabLst>
                          <a:tab pos="264795" algn="l"/>
                        </a:tabLst>
                      </a:pPr>
                      <a:r>
                        <a:rPr sz="1100" b="1" spc="-5">
                          <a:latin typeface="Verdana"/>
                          <a:cs typeface="Verdana"/>
                        </a:rPr>
                        <a:t>Clear </a:t>
                      </a:r>
                      <a:r>
                        <a:rPr sz="1100" b="1">
                          <a:latin typeface="Verdana"/>
                          <a:cs typeface="Verdana"/>
                        </a:rPr>
                        <a:t>and </a:t>
                      </a:r>
                      <a:r>
                        <a:rPr sz="1100" b="1" spc="-5">
                          <a:latin typeface="Verdana"/>
                          <a:cs typeface="Verdana"/>
                        </a:rPr>
                        <a:t>visible processes, </a:t>
                      </a:r>
                      <a:r>
                        <a:rPr sz="1100" b="1">
                          <a:latin typeface="Verdana"/>
                          <a:cs typeface="Verdana"/>
                        </a:rPr>
                        <a:t>which </a:t>
                      </a:r>
                      <a:r>
                        <a:rPr sz="1100" b="1" spc="-5">
                          <a:latin typeface="Verdana"/>
                          <a:cs typeface="Verdana"/>
                        </a:rPr>
                        <a:t>instil client </a:t>
                      </a:r>
                      <a:r>
                        <a:rPr sz="1100" b="1">
                          <a:latin typeface="Verdana"/>
                          <a:cs typeface="Verdana"/>
                        </a:rPr>
                        <a:t>involvement</a:t>
                      </a:r>
                      <a:r>
                        <a:rPr sz="1100" b="1" spc="-90">
                          <a:latin typeface="Verdana"/>
                          <a:cs typeface="Verdana"/>
                        </a:rPr>
                        <a:t> </a:t>
                      </a:r>
                      <a:r>
                        <a:rPr sz="1100" b="1">
                          <a:latin typeface="Verdana"/>
                          <a:cs typeface="Verdana"/>
                        </a:rPr>
                        <a:t>and</a:t>
                      </a:r>
                      <a:endParaRPr sz="1100">
                        <a:latin typeface="Verdana"/>
                        <a:cs typeface="Verdana"/>
                      </a:endParaRPr>
                    </a:p>
                    <a:p>
                      <a:pPr marL="264160">
                        <a:lnSpc>
                          <a:spcPct val="100000"/>
                        </a:lnSpc>
                      </a:pPr>
                      <a:r>
                        <a:rPr sz="1100" b="1" spc="-5">
                          <a:latin typeface="Verdana"/>
                          <a:cs typeface="Verdana"/>
                        </a:rPr>
                        <a:t>confidence,</a:t>
                      </a:r>
                      <a:endParaRPr sz="1100">
                        <a:latin typeface="Verdana"/>
                        <a:cs typeface="Verdana"/>
                      </a:endParaRPr>
                    </a:p>
                    <a:p>
                      <a:pPr marL="264160" indent="-172720">
                        <a:lnSpc>
                          <a:spcPct val="100000"/>
                        </a:lnSpc>
                        <a:buClr>
                          <a:srgbClr val="006FAC"/>
                        </a:buClr>
                        <a:buFont typeface="Wingdings"/>
                        <a:buChar char=""/>
                        <a:tabLst>
                          <a:tab pos="264795" algn="l"/>
                        </a:tabLst>
                      </a:pPr>
                      <a:r>
                        <a:rPr sz="1100" b="1" spc="-5">
                          <a:latin typeface="Verdana"/>
                          <a:cs typeface="Verdana"/>
                        </a:rPr>
                        <a:t>Consistency </a:t>
                      </a:r>
                      <a:r>
                        <a:rPr sz="1100" b="1">
                          <a:latin typeface="Verdana"/>
                          <a:cs typeface="Verdana"/>
                        </a:rPr>
                        <a:t>of </a:t>
                      </a:r>
                      <a:r>
                        <a:rPr sz="1100" b="1" spc="-5">
                          <a:latin typeface="Verdana"/>
                          <a:cs typeface="Verdana"/>
                        </a:rPr>
                        <a:t>delivery for national and transnational</a:t>
                      </a:r>
                      <a:r>
                        <a:rPr sz="1100" b="1" spc="-30">
                          <a:latin typeface="Verdana"/>
                          <a:cs typeface="Verdana"/>
                        </a:rPr>
                        <a:t> </a:t>
                      </a:r>
                      <a:r>
                        <a:rPr sz="1100" b="1" spc="-5">
                          <a:latin typeface="Verdana"/>
                          <a:cs typeface="Verdana"/>
                        </a:rPr>
                        <a:t>engagements,</a:t>
                      </a:r>
                      <a:endParaRPr sz="1100">
                        <a:latin typeface="Verdana"/>
                        <a:cs typeface="Verdana"/>
                      </a:endParaRPr>
                    </a:p>
                    <a:p>
                      <a:pPr marL="264160" indent="-172720">
                        <a:lnSpc>
                          <a:spcPct val="100000"/>
                        </a:lnSpc>
                        <a:buClr>
                          <a:srgbClr val="006FAC"/>
                        </a:buClr>
                        <a:buFont typeface="Wingdings"/>
                        <a:buChar char=""/>
                        <a:tabLst>
                          <a:tab pos="264795" algn="l"/>
                        </a:tabLst>
                      </a:pPr>
                      <a:r>
                        <a:rPr sz="1100" b="1" spc="-5">
                          <a:latin typeface="Verdana"/>
                          <a:cs typeface="Verdana"/>
                        </a:rPr>
                        <a:t>High standards </a:t>
                      </a:r>
                      <a:r>
                        <a:rPr sz="1100" b="1">
                          <a:latin typeface="Verdana"/>
                          <a:cs typeface="Verdana"/>
                        </a:rPr>
                        <a:t>of </a:t>
                      </a:r>
                      <a:r>
                        <a:rPr sz="1100" b="1" spc="-5">
                          <a:latin typeface="Verdana"/>
                          <a:cs typeface="Verdana"/>
                        </a:rPr>
                        <a:t>professionalism, productivity and</a:t>
                      </a:r>
                      <a:r>
                        <a:rPr sz="1100" b="1" spc="-30">
                          <a:latin typeface="Verdana"/>
                          <a:cs typeface="Verdana"/>
                        </a:rPr>
                        <a:t> </a:t>
                      </a:r>
                      <a:r>
                        <a:rPr sz="1100" b="1" spc="-5">
                          <a:latin typeface="Verdana"/>
                          <a:cs typeface="Verdana"/>
                        </a:rPr>
                        <a:t>quality</a:t>
                      </a:r>
                      <a:endParaRPr sz="1100">
                        <a:latin typeface="Verdana"/>
                        <a:cs typeface="Verdana"/>
                      </a:endParaRPr>
                    </a:p>
                  </a:txBody>
                  <a:tcPr marL="0" marR="0" marT="45085" marB="0">
                    <a:lnL w="12700">
                      <a:solidFill>
                        <a:srgbClr val="BEBEBE"/>
                      </a:solidFill>
                      <a:prstDash val="solid"/>
                    </a:lnL>
                    <a:lnR w="12700">
                      <a:solidFill>
                        <a:srgbClr val="BEBEBE"/>
                      </a:solidFill>
                      <a:prstDash val="solid"/>
                    </a:lnR>
                    <a:lnT w="12700">
                      <a:solidFill>
                        <a:srgbClr val="BEBEBE"/>
                      </a:solidFill>
                      <a:prstDash val="solid"/>
                    </a:lnT>
                    <a:lnB w="12700">
                      <a:solidFill>
                        <a:srgbClr val="BEBEBE"/>
                      </a:solidFill>
                      <a:prstDash val="solid"/>
                    </a:lnB>
                    <a:solidFill>
                      <a:srgbClr val="CDEFFA"/>
                    </a:solidFill>
                  </a:tcPr>
                </a:tc>
                <a:extLst>
                  <a:ext uri="{0D108BD9-81ED-4DB2-BD59-A6C34878D82A}">
                    <a16:rowId xmlns:a16="http://schemas.microsoft.com/office/drawing/2014/main" val="1000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504430" cy="422275"/>
          </a:xfrm>
          <a:prstGeom prst="rect">
            <a:avLst/>
          </a:prstGeom>
        </p:spPr>
        <p:txBody>
          <a:bodyPr vert="horz" wrap="square" lIns="0" tIns="12700" rIns="0" bIns="0" rtlCol="0">
            <a:spAutoFit/>
          </a:bodyPr>
          <a:lstStyle/>
          <a:p>
            <a:pPr marL="12700">
              <a:lnSpc>
                <a:spcPct val="100000"/>
              </a:lnSpc>
              <a:spcBef>
                <a:spcPts val="100"/>
              </a:spcBef>
            </a:pPr>
            <a:r>
              <a:rPr sz="2600" spc="-5"/>
              <a:t>Our </a:t>
            </a:r>
            <a:r>
              <a:rPr sz="2600" spc="-10"/>
              <a:t>Day </a:t>
            </a:r>
            <a:r>
              <a:rPr sz="2600" spc="-5"/>
              <a:t>to </a:t>
            </a:r>
            <a:r>
              <a:rPr sz="2600" spc="-10"/>
              <a:t>Day </a:t>
            </a:r>
            <a:r>
              <a:rPr sz="2600" spc="-5"/>
              <a:t>Project Management</a:t>
            </a:r>
            <a:r>
              <a:rPr sz="2600" spc="-10"/>
              <a:t> </a:t>
            </a:r>
            <a:r>
              <a:rPr sz="2600"/>
              <a:t>Process</a:t>
            </a:r>
          </a:p>
        </p:txBody>
      </p:sp>
      <p:sp>
        <p:nvSpPr>
          <p:cNvPr id="3" name="object 3"/>
          <p:cNvSpPr/>
          <p:nvPr/>
        </p:nvSpPr>
        <p:spPr>
          <a:xfrm>
            <a:off x="227075" y="1126236"/>
            <a:ext cx="3744595" cy="1577340"/>
          </a:xfrm>
          <a:custGeom>
            <a:avLst/>
            <a:gdLst/>
            <a:ahLst/>
            <a:cxnLst/>
            <a:rect l="l" t="t" r="r" b="b"/>
            <a:pathLst>
              <a:path w="3744595" h="1577339">
                <a:moveTo>
                  <a:pt x="3120390" y="1231391"/>
                </a:moveTo>
                <a:lnTo>
                  <a:pt x="2184273" y="1231391"/>
                </a:lnTo>
                <a:lnTo>
                  <a:pt x="3094863" y="1577213"/>
                </a:lnTo>
                <a:lnTo>
                  <a:pt x="3120390" y="1231391"/>
                </a:lnTo>
                <a:close/>
              </a:path>
              <a:path w="3744595" h="1577339">
                <a:moveTo>
                  <a:pt x="3744468" y="0"/>
                </a:moveTo>
                <a:lnTo>
                  <a:pt x="0" y="0"/>
                </a:lnTo>
                <a:lnTo>
                  <a:pt x="0" y="1231391"/>
                </a:lnTo>
                <a:lnTo>
                  <a:pt x="3744468" y="1231391"/>
                </a:lnTo>
                <a:lnTo>
                  <a:pt x="3744468" y="0"/>
                </a:lnTo>
                <a:close/>
              </a:path>
            </a:pathLst>
          </a:custGeom>
          <a:solidFill>
            <a:srgbClr val="EBEBEB"/>
          </a:solidFill>
        </p:spPr>
        <p:txBody>
          <a:bodyPr wrap="square" lIns="0" tIns="0" rIns="0" bIns="0" rtlCol="0"/>
          <a:lstStyle/>
          <a:p>
            <a:endParaRPr/>
          </a:p>
        </p:txBody>
      </p:sp>
      <p:sp>
        <p:nvSpPr>
          <p:cNvPr id="4" name="object 4"/>
          <p:cNvSpPr txBox="1"/>
          <p:nvPr/>
        </p:nvSpPr>
        <p:spPr>
          <a:xfrm>
            <a:off x="261010" y="1246759"/>
            <a:ext cx="3627754" cy="989965"/>
          </a:xfrm>
          <a:prstGeom prst="rect">
            <a:avLst/>
          </a:prstGeom>
        </p:spPr>
        <p:txBody>
          <a:bodyPr vert="horz" wrap="square" lIns="0" tIns="12065" rIns="0" bIns="0" rtlCol="0">
            <a:spAutoFit/>
          </a:bodyPr>
          <a:lstStyle/>
          <a:p>
            <a:pPr marL="182880" marR="284480" indent="-170815">
              <a:lnSpc>
                <a:spcPct val="100000"/>
              </a:lnSpc>
              <a:spcBef>
                <a:spcPts val="95"/>
              </a:spcBef>
              <a:buClr>
                <a:srgbClr val="006FAC"/>
              </a:buClr>
              <a:buFont typeface="Wingdings"/>
              <a:buChar char=""/>
              <a:tabLst>
                <a:tab pos="183515" algn="l"/>
              </a:tabLst>
            </a:pPr>
            <a:r>
              <a:rPr sz="1000" spc="-5">
                <a:latin typeface="Verdana"/>
                <a:cs typeface="Verdana"/>
              </a:rPr>
              <a:t>Provide project/program orientation to new </a:t>
            </a:r>
            <a:r>
              <a:rPr sz="1000" spc="-10">
                <a:latin typeface="Verdana"/>
                <a:cs typeface="Verdana"/>
              </a:rPr>
              <a:t>team  </a:t>
            </a:r>
            <a:r>
              <a:rPr sz="1000" spc="-5">
                <a:latin typeface="Verdana"/>
                <a:cs typeface="Verdana"/>
              </a:rPr>
              <a:t>members</a:t>
            </a:r>
            <a:endParaRPr sz="1000">
              <a:latin typeface="Verdana"/>
              <a:cs typeface="Verdana"/>
            </a:endParaRPr>
          </a:p>
          <a:p>
            <a:pPr marL="182880" marR="329565" indent="-170815">
              <a:lnSpc>
                <a:spcPct val="100000"/>
              </a:lnSpc>
              <a:spcBef>
                <a:spcPts val="190"/>
              </a:spcBef>
              <a:buClr>
                <a:srgbClr val="006FAC"/>
              </a:buClr>
              <a:buFont typeface="Wingdings"/>
              <a:buChar char=""/>
              <a:tabLst>
                <a:tab pos="183515" algn="l"/>
              </a:tabLst>
            </a:pPr>
            <a:r>
              <a:rPr sz="1000" spc="-5">
                <a:latin typeface="Verdana"/>
                <a:cs typeface="Verdana"/>
              </a:rPr>
              <a:t>Deliver </a:t>
            </a:r>
            <a:r>
              <a:rPr sz="1000">
                <a:latin typeface="Verdana"/>
                <a:cs typeface="Verdana"/>
              </a:rPr>
              <a:t>training </a:t>
            </a:r>
            <a:r>
              <a:rPr sz="1000" spc="-5">
                <a:latin typeface="Verdana"/>
                <a:cs typeface="Verdana"/>
              </a:rPr>
              <a:t>on process design methods, and  </a:t>
            </a:r>
            <a:r>
              <a:rPr sz="1000">
                <a:latin typeface="Verdana"/>
                <a:cs typeface="Verdana"/>
              </a:rPr>
              <a:t>building </a:t>
            </a:r>
            <a:r>
              <a:rPr sz="1000" spc="-5">
                <a:latin typeface="Verdana"/>
                <a:cs typeface="Verdana"/>
              </a:rPr>
              <a:t>of Omnichannel </a:t>
            </a:r>
            <a:r>
              <a:rPr sz="1000">
                <a:latin typeface="Verdana"/>
                <a:cs typeface="Verdana"/>
              </a:rPr>
              <a:t>Solution</a:t>
            </a:r>
          </a:p>
          <a:p>
            <a:pPr marL="182880" marR="5080" indent="-170815">
              <a:lnSpc>
                <a:spcPct val="100000"/>
              </a:lnSpc>
              <a:spcBef>
                <a:spcPts val="204"/>
              </a:spcBef>
              <a:buClr>
                <a:srgbClr val="006FAC"/>
              </a:buClr>
              <a:buFont typeface="Wingdings"/>
              <a:buChar char=""/>
              <a:tabLst>
                <a:tab pos="183515" algn="l"/>
              </a:tabLst>
            </a:pPr>
            <a:r>
              <a:rPr sz="1000" spc="-5">
                <a:latin typeface="Verdana"/>
                <a:cs typeface="Verdana"/>
              </a:rPr>
              <a:t>Educate </a:t>
            </a:r>
            <a:r>
              <a:rPr sz="1000" spc="-10">
                <a:latin typeface="Verdana"/>
                <a:cs typeface="Verdana"/>
              </a:rPr>
              <a:t>team </a:t>
            </a:r>
            <a:r>
              <a:rPr sz="1000" spc="-5">
                <a:latin typeface="Verdana"/>
                <a:cs typeface="Verdana"/>
              </a:rPr>
              <a:t>members on processes and </a:t>
            </a:r>
            <a:r>
              <a:rPr sz="1000" spc="-10">
                <a:latin typeface="Verdana"/>
                <a:cs typeface="Verdana"/>
              </a:rPr>
              <a:t>procedures  for </a:t>
            </a:r>
            <a:r>
              <a:rPr sz="1000">
                <a:latin typeface="Verdana"/>
                <a:cs typeface="Verdana"/>
              </a:rPr>
              <a:t>application </a:t>
            </a:r>
            <a:r>
              <a:rPr sz="1000" spc="-5">
                <a:latin typeface="Verdana"/>
                <a:cs typeface="Verdana"/>
              </a:rPr>
              <a:t>development and</a:t>
            </a:r>
            <a:r>
              <a:rPr sz="1000" spc="45">
                <a:latin typeface="Verdana"/>
                <a:cs typeface="Verdana"/>
              </a:rPr>
              <a:t> </a:t>
            </a:r>
            <a:r>
              <a:rPr sz="1000">
                <a:latin typeface="Verdana"/>
                <a:cs typeface="Verdana"/>
              </a:rPr>
              <a:t>testing</a:t>
            </a:r>
          </a:p>
        </p:txBody>
      </p:sp>
      <p:sp>
        <p:nvSpPr>
          <p:cNvPr id="5" name="object 5"/>
          <p:cNvSpPr/>
          <p:nvPr/>
        </p:nvSpPr>
        <p:spPr>
          <a:xfrm>
            <a:off x="4126991" y="1126236"/>
            <a:ext cx="3689985" cy="1388110"/>
          </a:xfrm>
          <a:custGeom>
            <a:avLst/>
            <a:gdLst/>
            <a:ahLst/>
            <a:cxnLst/>
            <a:rect l="l" t="t" r="r" b="b"/>
            <a:pathLst>
              <a:path w="3689984" h="1388110">
                <a:moveTo>
                  <a:pt x="3074669" y="1231391"/>
                </a:moveTo>
                <a:lnTo>
                  <a:pt x="2152269" y="1231391"/>
                </a:lnTo>
                <a:lnTo>
                  <a:pt x="2545461" y="1387983"/>
                </a:lnTo>
                <a:lnTo>
                  <a:pt x="3074669" y="1231391"/>
                </a:lnTo>
                <a:close/>
              </a:path>
              <a:path w="3689984" h="1388110">
                <a:moveTo>
                  <a:pt x="3689604" y="0"/>
                </a:moveTo>
                <a:lnTo>
                  <a:pt x="0" y="0"/>
                </a:lnTo>
                <a:lnTo>
                  <a:pt x="0" y="1231391"/>
                </a:lnTo>
                <a:lnTo>
                  <a:pt x="3689604" y="1231391"/>
                </a:lnTo>
                <a:lnTo>
                  <a:pt x="3689604" y="0"/>
                </a:lnTo>
                <a:close/>
              </a:path>
            </a:pathLst>
          </a:custGeom>
          <a:solidFill>
            <a:srgbClr val="EBEBEB"/>
          </a:solidFill>
        </p:spPr>
        <p:txBody>
          <a:bodyPr wrap="square" lIns="0" tIns="0" rIns="0" bIns="0" rtlCol="0"/>
          <a:lstStyle/>
          <a:p>
            <a:endParaRPr/>
          </a:p>
        </p:txBody>
      </p:sp>
      <p:sp>
        <p:nvSpPr>
          <p:cNvPr id="6" name="object 6"/>
          <p:cNvSpPr txBox="1"/>
          <p:nvPr/>
        </p:nvSpPr>
        <p:spPr>
          <a:xfrm>
            <a:off x="4160011" y="1170559"/>
            <a:ext cx="3610610" cy="1142365"/>
          </a:xfrm>
          <a:prstGeom prst="rect">
            <a:avLst/>
          </a:prstGeom>
        </p:spPr>
        <p:txBody>
          <a:bodyPr vert="horz" wrap="square" lIns="0" tIns="12065" rIns="0" bIns="0" rtlCol="0">
            <a:spAutoFit/>
          </a:bodyPr>
          <a:lstStyle/>
          <a:p>
            <a:pPr marL="182880" marR="455295" indent="-170815">
              <a:lnSpc>
                <a:spcPct val="100000"/>
              </a:lnSpc>
              <a:spcBef>
                <a:spcPts val="95"/>
              </a:spcBef>
              <a:buClr>
                <a:srgbClr val="006FAC"/>
              </a:buClr>
              <a:buFont typeface="Wingdings"/>
              <a:buChar char=""/>
              <a:tabLst>
                <a:tab pos="183515" algn="l"/>
              </a:tabLst>
            </a:pPr>
            <a:r>
              <a:rPr sz="1000" spc="-5">
                <a:latin typeface="Verdana"/>
                <a:cs typeface="Verdana"/>
              </a:rPr>
              <a:t>Establish project knowledge base by </a:t>
            </a:r>
            <a:r>
              <a:rPr sz="1000">
                <a:latin typeface="Verdana"/>
                <a:cs typeface="Verdana"/>
              </a:rPr>
              <a:t>acquiring  </a:t>
            </a:r>
            <a:r>
              <a:rPr sz="1000" spc="-5">
                <a:latin typeface="Verdana"/>
                <a:cs typeface="Verdana"/>
              </a:rPr>
              <a:t>relevant </a:t>
            </a:r>
            <a:r>
              <a:rPr sz="1000" spc="-10">
                <a:latin typeface="Verdana"/>
                <a:cs typeface="Verdana"/>
              </a:rPr>
              <a:t>process, </a:t>
            </a:r>
            <a:r>
              <a:rPr sz="1000" spc="-5">
                <a:latin typeface="Verdana"/>
                <a:cs typeface="Verdana"/>
              </a:rPr>
              <a:t>and Omnichannel platform  knowledge</a:t>
            </a:r>
            <a:r>
              <a:rPr sz="1000" spc="5">
                <a:latin typeface="Verdana"/>
                <a:cs typeface="Verdana"/>
              </a:rPr>
              <a:t> </a:t>
            </a:r>
            <a:r>
              <a:rPr sz="1000" spc="-5">
                <a:latin typeface="Verdana"/>
                <a:cs typeface="Verdana"/>
              </a:rPr>
              <a:t>objects</a:t>
            </a:r>
            <a:endParaRPr sz="1000">
              <a:latin typeface="Verdana"/>
              <a:cs typeface="Verdana"/>
            </a:endParaRPr>
          </a:p>
          <a:p>
            <a:pPr marL="182880" marR="5080" indent="-170815">
              <a:lnSpc>
                <a:spcPct val="100000"/>
              </a:lnSpc>
              <a:spcBef>
                <a:spcPts val="190"/>
              </a:spcBef>
              <a:buClr>
                <a:srgbClr val="006FAC"/>
              </a:buClr>
              <a:buFont typeface="Wingdings"/>
              <a:buChar char=""/>
              <a:tabLst>
                <a:tab pos="183515" algn="l"/>
              </a:tabLst>
            </a:pPr>
            <a:r>
              <a:rPr sz="1000" spc="-5">
                <a:latin typeface="Verdana"/>
                <a:cs typeface="Verdana"/>
              </a:rPr>
              <a:t>Manage knowledge repositories to promote efficiency  and consistency through sharing and</a:t>
            </a:r>
            <a:r>
              <a:rPr sz="1000" spc="100">
                <a:latin typeface="Verdana"/>
                <a:cs typeface="Verdana"/>
              </a:rPr>
              <a:t> </a:t>
            </a:r>
            <a:r>
              <a:rPr sz="1000" spc="-5">
                <a:latin typeface="Verdana"/>
                <a:cs typeface="Verdana"/>
              </a:rPr>
              <a:t>re-use</a:t>
            </a:r>
            <a:endParaRPr sz="1000">
              <a:latin typeface="Verdana"/>
              <a:cs typeface="Verdana"/>
            </a:endParaRPr>
          </a:p>
          <a:p>
            <a:pPr marL="182880" indent="-170815">
              <a:lnSpc>
                <a:spcPct val="100000"/>
              </a:lnSpc>
              <a:spcBef>
                <a:spcPts val="204"/>
              </a:spcBef>
              <a:buClr>
                <a:srgbClr val="006FAC"/>
              </a:buClr>
              <a:buFont typeface="Wingdings"/>
              <a:buChar char=""/>
              <a:tabLst>
                <a:tab pos="183515" algn="l"/>
              </a:tabLst>
            </a:pPr>
            <a:r>
              <a:rPr sz="1000" spc="-5">
                <a:latin typeface="Verdana"/>
                <a:cs typeface="Verdana"/>
              </a:rPr>
              <a:t>Develop and manage knowledge transfer strategy</a:t>
            </a:r>
            <a:r>
              <a:rPr sz="1000" spc="114">
                <a:latin typeface="Verdana"/>
                <a:cs typeface="Verdana"/>
              </a:rPr>
              <a:t> </a:t>
            </a:r>
            <a:r>
              <a:rPr sz="1000" spc="-5">
                <a:latin typeface="Verdana"/>
                <a:cs typeface="Verdana"/>
              </a:rPr>
              <a:t>to</a:t>
            </a:r>
            <a:endParaRPr sz="1000">
              <a:latin typeface="Verdana"/>
              <a:cs typeface="Verdana"/>
            </a:endParaRPr>
          </a:p>
          <a:p>
            <a:pPr marL="182880">
              <a:lnSpc>
                <a:spcPct val="100000"/>
              </a:lnSpc>
            </a:pPr>
            <a:r>
              <a:rPr sz="1000" spc="-5">
                <a:latin typeface="Verdana"/>
                <a:cs typeface="Verdana"/>
              </a:rPr>
              <a:t>the resources and Marelli</a:t>
            </a:r>
            <a:r>
              <a:rPr sz="1000" spc="65">
                <a:latin typeface="Verdana"/>
                <a:cs typeface="Verdana"/>
              </a:rPr>
              <a:t> </a:t>
            </a:r>
            <a:r>
              <a:rPr sz="1000" spc="-10">
                <a:latin typeface="Verdana"/>
                <a:cs typeface="Verdana"/>
              </a:rPr>
              <a:t>team</a:t>
            </a:r>
            <a:endParaRPr sz="1000">
              <a:latin typeface="Verdana"/>
              <a:cs typeface="Verdana"/>
            </a:endParaRPr>
          </a:p>
        </p:txBody>
      </p:sp>
      <p:sp>
        <p:nvSpPr>
          <p:cNvPr id="7" name="object 7"/>
          <p:cNvSpPr/>
          <p:nvPr/>
        </p:nvSpPr>
        <p:spPr>
          <a:xfrm>
            <a:off x="7967471" y="1126236"/>
            <a:ext cx="3949065" cy="1420495"/>
          </a:xfrm>
          <a:custGeom>
            <a:avLst/>
            <a:gdLst/>
            <a:ahLst/>
            <a:cxnLst/>
            <a:rect l="l" t="t" r="r" b="b"/>
            <a:pathLst>
              <a:path w="3949065" h="1420495">
                <a:moveTo>
                  <a:pt x="1645284" y="1231391"/>
                </a:moveTo>
                <a:lnTo>
                  <a:pt x="658113" y="1231391"/>
                </a:lnTo>
                <a:lnTo>
                  <a:pt x="1742567" y="1420494"/>
                </a:lnTo>
                <a:lnTo>
                  <a:pt x="1645284" y="1231391"/>
                </a:lnTo>
                <a:close/>
              </a:path>
              <a:path w="3949065" h="1420495">
                <a:moveTo>
                  <a:pt x="3948683" y="0"/>
                </a:moveTo>
                <a:lnTo>
                  <a:pt x="0" y="0"/>
                </a:lnTo>
                <a:lnTo>
                  <a:pt x="0" y="1231391"/>
                </a:lnTo>
                <a:lnTo>
                  <a:pt x="3948683" y="1231391"/>
                </a:lnTo>
                <a:lnTo>
                  <a:pt x="3948683" y="0"/>
                </a:lnTo>
                <a:close/>
              </a:path>
            </a:pathLst>
          </a:custGeom>
          <a:solidFill>
            <a:srgbClr val="EBEBEB"/>
          </a:solidFill>
        </p:spPr>
        <p:txBody>
          <a:bodyPr wrap="square" lIns="0" tIns="0" rIns="0" bIns="0" rtlCol="0"/>
          <a:lstStyle/>
          <a:p>
            <a:endParaRPr/>
          </a:p>
        </p:txBody>
      </p:sp>
      <p:sp>
        <p:nvSpPr>
          <p:cNvPr id="8" name="object 8"/>
          <p:cNvSpPr txBox="1"/>
          <p:nvPr/>
        </p:nvSpPr>
        <p:spPr>
          <a:xfrm>
            <a:off x="8000745" y="1310131"/>
            <a:ext cx="3747770" cy="863600"/>
          </a:xfrm>
          <a:prstGeom prst="rect">
            <a:avLst/>
          </a:prstGeom>
        </p:spPr>
        <p:txBody>
          <a:bodyPr vert="horz" wrap="square" lIns="0" tIns="12065" rIns="0" bIns="0" rtlCol="0">
            <a:spAutoFit/>
          </a:bodyPr>
          <a:lstStyle/>
          <a:p>
            <a:pPr marL="182880" marR="5080" indent="-170815">
              <a:lnSpc>
                <a:spcPct val="100000"/>
              </a:lnSpc>
              <a:spcBef>
                <a:spcPts val="95"/>
              </a:spcBef>
              <a:buClr>
                <a:srgbClr val="006FAC"/>
              </a:buClr>
              <a:buFont typeface="Wingdings"/>
              <a:buChar char=""/>
              <a:tabLst>
                <a:tab pos="183515" algn="l"/>
              </a:tabLst>
            </a:pPr>
            <a:r>
              <a:rPr sz="1000" spc="-10">
                <a:latin typeface="Verdana"/>
                <a:cs typeface="Verdana"/>
              </a:rPr>
              <a:t>Perform </a:t>
            </a:r>
            <a:r>
              <a:rPr sz="1000" spc="-5">
                <a:latin typeface="Verdana"/>
                <a:cs typeface="Verdana"/>
              </a:rPr>
              <a:t>risk assessment and establish a risk </a:t>
            </a:r>
            <a:r>
              <a:rPr sz="1000">
                <a:latin typeface="Verdana"/>
                <a:cs typeface="Verdana"/>
              </a:rPr>
              <a:t>mitigation  </a:t>
            </a:r>
            <a:r>
              <a:rPr sz="1000" spc="-5">
                <a:latin typeface="Verdana"/>
                <a:cs typeface="Verdana"/>
              </a:rPr>
              <a:t>strategy and acceptance</a:t>
            </a:r>
            <a:r>
              <a:rPr sz="1000" spc="80">
                <a:latin typeface="Verdana"/>
                <a:cs typeface="Verdana"/>
              </a:rPr>
              <a:t> </a:t>
            </a:r>
            <a:r>
              <a:rPr sz="1000" spc="-5">
                <a:latin typeface="Verdana"/>
                <a:cs typeface="Verdana"/>
              </a:rPr>
              <a:t>criteria</a:t>
            </a:r>
            <a:endParaRPr sz="1000">
              <a:latin typeface="Verdana"/>
              <a:cs typeface="Verdana"/>
            </a:endParaRPr>
          </a:p>
          <a:p>
            <a:pPr marL="182880" indent="-170815">
              <a:lnSpc>
                <a:spcPct val="100000"/>
              </a:lnSpc>
              <a:spcBef>
                <a:spcPts val="195"/>
              </a:spcBef>
              <a:buClr>
                <a:srgbClr val="006FAC"/>
              </a:buClr>
              <a:buFont typeface="Wingdings"/>
              <a:buChar char=""/>
              <a:tabLst>
                <a:tab pos="183515" algn="l"/>
              </a:tabLst>
            </a:pPr>
            <a:r>
              <a:rPr sz="1000" spc="-5">
                <a:latin typeface="Verdana"/>
                <a:cs typeface="Verdana"/>
              </a:rPr>
              <a:t>Monitor and address potential project</a:t>
            </a:r>
            <a:r>
              <a:rPr sz="1000" spc="114">
                <a:latin typeface="Verdana"/>
                <a:cs typeface="Verdana"/>
              </a:rPr>
              <a:t> </a:t>
            </a:r>
            <a:r>
              <a:rPr sz="1000" spc="-5">
                <a:latin typeface="Verdana"/>
                <a:cs typeface="Verdana"/>
              </a:rPr>
              <a:t>risks</a:t>
            </a:r>
            <a:endParaRPr sz="1000">
              <a:latin typeface="Verdana"/>
              <a:cs typeface="Verdana"/>
            </a:endParaRPr>
          </a:p>
          <a:p>
            <a:pPr marL="182880" indent="-170815">
              <a:lnSpc>
                <a:spcPct val="100000"/>
              </a:lnSpc>
              <a:spcBef>
                <a:spcPts val="204"/>
              </a:spcBef>
              <a:buClr>
                <a:srgbClr val="006FAC"/>
              </a:buClr>
              <a:buFont typeface="Wingdings"/>
              <a:buChar char=""/>
              <a:tabLst>
                <a:tab pos="183515" algn="l"/>
              </a:tabLst>
            </a:pPr>
            <a:r>
              <a:rPr sz="1000" spc="-10">
                <a:latin typeface="Verdana"/>
                <a:cs typeface="Verdana"/>
              </a:rPr>
              <a:t>Perform </a:t>
            </a:r>
            <a:r>
              <a:rPr sz="1000">
                <a:latin typeface="Verdana"/>
                <a:cs typeface="Verdana"/>
              </a:rPr>
              <a:t>Quality </a:t>
            </a:r>
            <a:r>
              <a:rPr sz="1000" spc="-5">
                <a:latin typeface="Verdana"/>
                <a:cs typeface="Verdana"/>
              </a:rPr>
              <a:t>Assurance (QA)</a:t>
            </a:r>
            <a:r>
              <a:rPr sz="1000" spc="70">
                <a:latin typeface="Verdana"/>
                <a:cs typeface="Verdana"/>
              </a:rPr>
              <a:t> </a:t>
            </a:r>
            <a:r>
              <a:rPr sz="1000" spc="-10">
                <a:latin typeface="Verdana"/>
                <a:cs typeface="Verdana"/>
              </a:rPr>
              <a:t>reviews</a:t>
            </a:r>
            <a:endParaRPr sz="1000">
              <a:latin typeface="Verdana"/>
              <a:cs typeface="Verdana"/>
            </a:endParaRPr>
          </a:p>
          <a:p>
            <a:pPr marL="182880" indent="-170815">
              <a:lnSpc>
                <a:spcPct val="100000"/>
              </a:lnSpc>
              <a:spcBef>
                <a:spcPts val="200"/>
              </a:spcBef>
              <a:buClr>
                <a:srgbClr val="006FAC"/>
              </a:buClr>
              <a:buFont typeface="Wingdings"/>
              <a:buChar char=""/>
              <a:tabLst>
                <a:tab pos="183515" algn="l"/>
              </a:tabLst>
            </a:pPr>
            <a:r>
              <a:rPr sz="1000" spc="-5">
                <a:latin typeface="Verdana"/>
                <a:cs typeface="Verdana"/>
              </a:rPr>
              <a:t>Coordinate </a:t>
            </a:r>
            <a:r>
              <a:rPr sz="1000">
                <a:latin typeface="Verdana"/>
                <a:cs typeface="Verdana"/>
              </a:rPr>
              <a:t>quality </a:t>
            </a:r>
            <a:r>
              <a:rPr sz="1000" spc="-5">
                <a:latin typeface="Verdana"/>
                <a:cs typeface="Verdana"/>
              </a:rPr>
              <a:t>management process </a:t>
            </a:r>
            <a:r>
              <a:rPr sz="1000">
                <a:latin typeface="Verdana"/>
                <a:cs typeface="Verdana"/>
              </a:rPr>
              <a:t>with</a:t>
            </a:r>
            <a:r>
              <a:rPr sz="1000" spc="90">
                <a:latin typeface="Verdana"/>
                <a:cs typeface="Verdana"/>
              </a:rPr>
              <a:t> </a:t>
            </a:r>
            <a:r>
              <a:rPr sz="1000" spc="-5">
                <a:latin typeface="Verdana"/>
                <a:cs typeface="Verdana"/>
              </a:rPr>
              <a:t>Marelli</a:t>
            </a:r>
            <a:endParaRPr sz="1000">
              <a:latin typeface="Verdana"/>
              <a:cs typeface="Verdana"/>
            </a:endParaRPr>
          </a:p>
        </p:txBody>
      </p:sp>
      <p:sp>
        <p:nvSpPr>
          <p:cNvPr id="9" name="object 9"/>
          <p:cNvSpPr/>
          <p:nvPr/>
        </p:nvSpPr>
        <p:spPr>
          <a:xfrm>
            <a:off x="1746504" y="3049523"/>
            <a:ext cx="1184275" cy="1203960"/>
          </a:xfrm>
          <a:custGeom>
            <a:avLst/>
            <a:gdLst/>
            <a:ahLst/>
            <a:cxnLst/>
            <a:rect l="l" t="t" r="r" b="b"/>
            <a:pathLst>
              <a:path w="1184275" h="1203960">
                <a:moveTo>
                  <a:pt x="592073" y="0"/>
                </a:moveTo>
                <a:lnTo>
                  <a:pt x="543510" y="1995"/>
                </a:lnTo>
                <a:lnTo>
                  <a:pt x="496028" y="7878"/>
                </a:lnTo>
                <a:lnTo>
                  <a:pt x="449781" y="17493"/>
                </a:lnTo>
                <a:lnTo>
                  <a:pt x="404920" y="30687"/>
                </a:lnTo>
                <a:lnTo>
                  <a:pt x="361598" y="47303"/>
                </a:lnTo>
                <a:lnTo>
                  <a:pt x="319967" y="67187"/>
                </a:lnTo>
                <a:lnTo>
                  <a:pt x="280180" y="90185"/>
                </a:lnTo>
                <a:lnTo>
                  <a:pt x="242389" y="116140"/>
                </a:lnTo>
                <a:lnTo>
                  <a:pt x="206745" y="144900"/>
                </a:lnTo>
                <a:lnTo>
                  <a:pt x="173402" y="176307"/>
                </a:lnTo>
                <a:lnTo>
                  <a:pt x="142512" y="210209"/>
                </a:lnTo>
                <a:lnTo>
                  <a:pt x="114226" y="246449"/>
                </a:lnTo>
                <a:lnTo>
                  <a:pt x="88698" y="284873"/>
                </a:lnTo>
                <a:lnTo>
                  <a:pt x="66080" y="325325"/>
                </a:lnTo>
                <a:lnTo>
                  <a:pt x="46523" y="367653"/>
                </a:lnTo>
                <a:lnTo>
                  <a:pt x="30181" y="411699"/>
                </a:lnTo>
                <a:lnTo>
                  <a:pt x="17205" y="457310"/>
                </a:lnTo>
                <a:lnTo>
                  <a:pt x="7748" y="504330"/>
                </a:lnTo>
                <a:lnTo>
                  <a:pt x="1962" y="552605"/>
                </a:lnTo>
                <a:lnTo>
                  <a:pt x="0" y="601980"/>
                </a:lnTo>
                <a:lnTo>
                  <a:pt x="1962" y="651354"/>
                </a:lnTo>
                <a:lnTo>
                  <a:pt x="7748" y="699629"/>
                </a:lnTo>
                <a:lnTo>
                  <a:pt x="17205" y="746649"/>
                </a:lnTo>
                <a:lnTo>
                  <a:pt x="30181" y="792260"/>
                </a:lnTo>
                <a:lnTo>
                  <a:pt x="46523" y="836306"/>
                </a:lnTo>
                <a:lnTo>
                  <a:pt x="66080" y="878634"/>
                </a:lnTo>
                <a:lnTo>
                  <a:pt x="88698" y="919086"/>
                </a:lnTo>
                <a:lnTo>
                  <a:pt x="114226" y="957510"/>
                </a:lnTo>
                <a:lnTo>
                  <a:pt x="142512" y="993750"/>
                </a:lnTo>
                <a:lnTo>
                  <a:pt x="173402" y="1027652"/>
                </a:lnTo>
                <a:lnTo>
                  <a:pt x="206745" y="1059059"/>
                </a:lnTo>
                <a:lnTo>
                  <a:pt x="242389" y="1087819"/>
                </a:lnTo>
                <a:lnTo>
                  <a:pt x="280180" y="1113774"/>
                </a:lnTo>
                <a:lnTo>
                  <a:pt x="319967" y="1136772"/>
                </a:lnTo>
                <a:lnTo>
                  <a:pt x="361598" y="1156656"/>
                </a:lnTo>
                <a:lnTo>
                  <a:pt x="404920" y="1173272"/>
                </a:lnTo>
                <a:lnTo>
                  <a:pt x="449781" y="1186466"/>
                </a:lnTo>
                <a:lnTo>
                  <a:pt x="496028" y="1196081"/>
                </a:lnTo>
                <a:lnTo>
                  <a:pt x="543510" y="1201964"/>
                </a:lnTo>
                <a:lnTo>
                  <a:pt x="592073" y="1203959"/>
                </a:lnTo>
                <a:lnTo>
                  <a:pt x="640637" y="1201964"/>
                </a:lnTo>
                <a:lnTo>
                  <a:pt x="688119" y="1196081"/>
                </a:lnTo>
                <a:lnTo>
                  <a:pt x="734366" y="1186466"/>
                </a:lnTo>
                <a:lnTo>
                  <a:pt x="779227" y="1173272"/>
                </a:lnTo>
                <a:lnTo>
                  <a:pt x="822549" y="1156656"/>
                </a:lnTo>
                <a:lnTo>
                  <a:pt x="864180" y="1136772"/>
                </a:lnTo>
                <a:lnTo>
                  <a:pt x="903967" y="1113774"/>
                </a:lnTo>
                <a:lnTo>
                  <a:pt x="941758" y="1087819"/>
                </a:lnTo>
                <a:lnTo>
                  <a:pt x="977402" y="1059059"/>
                </a:lnTo>
                <a:lnTo>
                  <a:pt x="1010745" y="1027652"/>
                </a:lnTo>
                <a:lnTo>
                  <a:pt x="1041635" y="993750"/>
                </a:lnTo>
                <a:lnTo>
                  <a:pt x="1069921" y="957510"/>
                </a:lnTo>
                <a:lnTo>
                  <a:pt x="1095449" y="919086"/>
                </a:lnTo>
                <a:lnTo>
                  <a:pt x="1118067" y="878634"/>
                </a:lnTo>
                <a:lnTo>
                  <a:pt x="1137624" y="836306"/>
                </a:lnTo>
                <a:lnTo>
                  <a:pt x="1153966" y="792260"/>
                </a:lnTo>
                <a:lnTo>
                  <a:pt x="1166942" y="746649"/>
                </a:lnTo>
                <a:lnTo>
                  <a:pt x="1176399" y="699629"/>
                </a:lnTo>
                <a:lnTo>
                  <a:pt x="1182185" y="651354"/>
                </a:lnTo>
                <a:lnTo>
                  <a:pt x="1184147" y="601980"/>
                </a:lnTo>
                <a:lnTo>
                  <a:pt x="1182185" y="552605"/>
                </a:lnTo>
                <a:lnTo>
                  <a:pt x="1176399" y="504330"/>
                </a:lnTo>
                <a:lnTo>
                  <a:pt x="1166942" y="457310"/>
                </a:lnTo>
                <a:lnTo>
                  <a:pt x="1153966" y="411699"/>
                </a:lnTo>
                <a:lnTo>
                  <a:pt x="1137624" y="367653"/>
                </a:lnTo>
                <a:lnTo>
                  <a:pt x="1118067" y="325325"/>
                </a:lnTo>
                <a:lnTo>
                  <a:pt x="1095449" y="284873"/>
                </a:lnTo>
                <a:lnTo>
                  <a:pt x="1069921" y="246449"/>
                </a:lnTo>
                <a:lnTo>
                  <a:pt x="1041635" y="210209"/>
                </a:lnTo>
                <a:lnTo>
                  <a:pt x="1010745" y="176307"/>
                </a:lnTo>
                <a:lnTo>
                  <a:pt x="977402" y="144900"/>
                </a:lnTo>
                <a:lnTo>
                  <a:pt x="941758" y="116140"/>
                </a:lnTo>
                <a:lnTo>
                  <a:pt x="903967" y="90185"/>
                </a:lnTo>
                <a:lnTo>
                  <a:pt x="864180" y="67187"/>
                </a:lnTo>
                <a:lnTo>
                  <a:pt x="822549" y="47303"/>
                </a:lnTo>
                <a:lnTo>
                  <a:pt x="779227" y="30687"/>
                </a:lnTo>
                <a:lnTo>
                  <a:pt x="734366" y="17493"/>
                </a:lnTo>
                <a:lnTo>
                  <a:pt x="688119" y="7878"/>
                </a:lnTo>
                <a:lnTo>
                  <a:pt x="640637" y="1995"/>
                </a:lnTo>
                <a:lnTo>
                  <a:pt x="592073" y="0"/>
                </a:lnTo>
                <a:close/>
              </a:path>
            </a:pathLst>
          </a:custGeom>
          <a:solidFill>
            <a:srgbClr val="12ABDB"/>
          </a:solidFill>
        </p:spPr>
        <p:txBody>
          <a:bodyPr wrap="square" lIns="0" tIns="0" rIns="0" bIns="0" rtlCol="0"/>
          <a:lstStyle/>
          <a:p>
            <a:endParaRPr/>
          </a:p>
        </p:txBody>
      </p:sp>
      <p:sp>
        <p:nvSpPr>
          <p:cNvPr id="10" name="object 10"/>
          <p:cNvSpPr txBox="1"/>
          <p:nvPr/>
        </p:nvSpPr>
        <p:spPr>
          <a:xfrm>
            <a:off x="1950847" y="3386150"/>
            <a:ext cx="775335" cy="529590"/>
          </a:xfrm>
          <a:prstGeom prst="rect">
            <a:avLst/>
          </a:prstGeom>
        </p:spPr>
        <p:txBody>
          <a:bodyPr vert="horz" wrap="square" lIns="0" tIns="13335" rIns="0" bIns="0" rtlCol="0">
            <a:spAutoFit/>
          </a:bodyPr>
          <a:lstStyle/>
          <a:p>
            <a:pPr marL="12065" marR="5080" indent="1905" algn="ctr">
              <a:lnSpc>
                <a:spcPct val="100000"/>
              </a:lnSpc>
              <a:spcBef>
                <a:spcPts val="105"/>
              </a:spcBef>
            </a:pPr>
            <a:r>
              <a:rPr sz="1100">
                <a:solidFill>
                  <a:srgbClr val="FFFFFF"/>
                </a:solidFill>
                <a:latin typeface="Verdana"/>
                <a:cs typeface="Verdana"/>
              </a:rPr>
              <a:t>Project  </a:t>
            </a:r>
            <a:r>
              <a:rPr sz="1100" spc="-5">
                <a:solidFill>
                  <a:srgbClr val="FFFFFF"/>
                </a:solidFill>
                <a:latin typeface="Verdana"/>
                <a:cs typeface="Verdana"/>
              </a:rPr>
              <a:t>Planning</a:t>
            </a:r>
            <a:r>
              <a:rPr sz="1100" spc="-60">
                <a:solidFill>
                  <a:srgbClr val="FFFFFF"/>
                </a:solidFill>
                <a:latin typeface="Verdana"/>
                <a:cs typeface="Verdana"/>
              </a:rPr>
              <a:t> </a:t>
            </a:r>
            <a:r>
              <a:rPr sz="1100">
                <a:solidFill>
                  <a:srgbClr val="FFFFFF"/>
                </a:solidFill>
                <a:latin typeface="Verdana"/>
                <a:cs typeface="Verdana"/>
              </a:rPr>
              <a:t>&amp;  </a:t>
            </a:r>
            <a:r>
              <a:rPr sz="1100" spc="-5">
                <a:solidFill>
                  <a:srgbClr val="FFFFFF"/>
                </a:solidFill>
                <a:latin typeface="Verdana"/>
                <a:cs typeface="Verdana"/>
              </a:rPr>
              <a:t>Staffing</a:t>
            </a:r>
            <a:endParaRPr sz="1100">
              <a:latin typeface="Verdana"/>
              <a:cs typeface="Verdana"/>
            </a:endParaRPr>
          </a:p>
        </p:txBody>
      </p:sp>
      <p:sp>
        <p:nvSpPr>
          <p:cNvPr id="11" name="object 11"/>
          <p:cNvSpPr/>
          <p:nvPr/>
        </p:nvSpPr>
        <p:spPr>
          <a:xfrm>
            <a:off x="4628388" y="2982467"/>
            <a:ext cx="1184275" cy="1202690"/>
          </a:xfrm>
          <a:custGeom>
            <a:avLst/>
            <a:gdLst/>
            <a:ahLst/>
            <a:cxnLst/>
            <a:rect l="l" t="t" r="r" b="b"/>
            <a:pathLst>
              <a:path w="1184275" h="1202689">
                <a:moveTo>
                  <a:pt x="592074" y="0"/>
                </a:moveTo>
                <a:lnTo>
                  <a:pt x="543510" y="1992"/>
                </a:lnTo>
                <a:lnTo>
                  <a:pt x="496028" y="7867"/>
                </a:lnTo>
                <a:lnTo>
                  <a:pt x="449781" y="17469"/>
                </a:lnTo>
                <a:lnTo>
                  <a:pt x="404920" y="30644"/>
                </a:lnTo>
                <a:lnTo>
                  <a:pt x="361598" y="47238"/>
                </a:lnTo>
                <a:lnTo>
                  <a:pt x="319967" y="67095"/>
                </a:lnTo>
                <a:lnTo>
                  <a:pt x="280180" y="90061"/>
                </a:lnTo>
                <a:lnTo>
                  <a:pt x="242389" y="115982"/>
                </a:lnTo>
                <a:lnTo>
                  <a:pt x="206745" y="144703"/>
                </a:lnTo>
                <a:lnTo>
                  <a:pt x="173402" y="176069"/>
                </a:lnTo>
                <a:lnTo>
                  <a:pt x="142512" y="209926"/>
                </a:lnTo>
                <a:lnTo>
                  <a:pt x="114226" y="246119"/>
                </a:lnTo>
                <a:lnTo>
                  <a:pt x="88698" y="284494"/>
                </a:lnTo>
                <a:lnTo>
                  <a:pt x="66080" y="324896"/>
                </a:lnTo>
                <a:lnTo>
                  <a:pt x="46523" y="367170"/>
                </a:lnTo>
                <a:lnTo>
                  <a:pt x="30181" y="411163"/>
                </a:lnTo>
                <a:lnTo>
                  <a:pt x="17205" y="456718"/>
                </a:lnTo>
                <a:lnTo>
                  <a:pt x="7748" y="503682"/>
                </a:lnTo>
                <a:lnTo>
                  <a:pt x="1962" y="551900"/>
                </a:lnTo>
                <a:lnTo>
                  <a:pt x="0" y="601218"/>
                </a:lnTo>
                <a:lnTo>
                  <a:pt x="1962" y="650535"/>
                </a:lnTo>
                <a:lnTo>
                  <a:pt x="7748" y="698753"/>
                </a:lnTo>
                <a:lnTo>
                  <a:pt x="17205" y="745717"/>
                </a:lnTo>
                <a:lnTo>
                  <a:pt x="30181" y="791272"/>
                </a:lnTo>
                <a:lnTo>
                  <a:pt x="46523" y="835265"/>
                </a:lnTo>
                <a:lnTo>
                  <a:pt x="66080" y="877539"/>
                </a:lnTo>
                <a:lnTo>
                  <a:pt x="88698" y="917941"/>
                </a:lnTo>
                <a:lnTo>
                  <a:pt x="114226" y="956316"/>
                </a:lnTo>
                <a:lnTo>
                  <a:pt x="142512" y="992509"/>
                </a:lnTo>
                <a:lnTo>
                  <a:pt x="173402" y="1026366"/>
                </a:lnTo>
                <a:lnTo>
                  <a:pt x="206745" y="1057732"/>
                </a:lnTo>
                <a:lnTo>
                  <a:pt x="242389" y="1086453"/>
                </a:lnTo>
                <a:lnTo>
                  <a:pt x="280180" y="1112374"/>
                </a:lnTo>
                <a:lnTo>
                  <a:pt x="319967" y="1135340"/>
                </a:lnTo>
                <a:lnTo>
                  <a:pt x="361598" y="1155197"/>
                </a:lnTo>
                <a:lnTo>
                  <a:pt x="404920" y="1171791"/>
                </a:lnTo>
                <a:lnTo>
                  <a:pt x="449781" y="1184966"/>
                </a:lnTo>
                <a:lnTo>
                  <a:pt x="496028" y="1194568"/>
                </a:lnTo>
                <a:lnTo>
                  <a:pt x="543510" y="1200443"/>
                </a:lnTo>
                <a:lnTo>
                  <a:pt x="592074" y="1202436"/>
                </a:lnTo>
                <a:lnTo>
                  <a:pt x="640637" y="1200443"/>
                </a:lnTo>
                <a:lnTo>
                  <a:pt x="688119" y="1194568"/>
                </a:lnTo>
                <a:lnTo>
                  <a:pt x="734366" y="1184966"/>
                </a:lnTo>
                <a:lnTo>
                  <a:pt x="779227" y="1171791"/>
                </a:lnTo>
                <a:lnTo>
                  <a:pt x="822549" y="1155197"/>
                </a:lnTo>
                <a:lnTo>
                  <a:pt x="864180" y="1135340"/>
                </a:lnTo>
                <a:lnTo>
                  <a:pt x="903967" y="1112374"/>
                </a:lnTo>
                <a:lnTo>
                  <a:pt x="941758" y="1086453"/>
                </a:lnTo>
                <a:lnTo>
                  <a:pt x="977402" y="1057732"/>
                </a:lnTo>
                <a:lnTo>
                  <a:pt x="1010745" y="1026366"/>
                </a:lnTo>
                <a:lnTo>
                  <a:pt x="1041635" y="992509"/>
                </a:lnTo>
                <a:lnTo>
                  <a:pt x="1069921" y="956316"/>
                </a:lnTo>
                <a:lnTo>
                  <a:pt x="1095449" y="917941"/>
                </a:lnTo>
                <a:lnTo>
                  <a:pt x="1118067" y="877539"/>
                </a:lnTo>
                <a:lnTo>
                  <a:pt x="1137624" y="835265"/>
                </a:lnTo>
                <a:lnTo>
                  <a:pt x="1153966" y="791272"/>
                </a:lnTo>
                <a:lnTo>
                  <a:pt x="1166942" y="745717"/>
                </a:lnTo>
                <a:lnTo>
                  <a:pt x="1176399" y="698753"/>
                </a:lnTo>
                <a:lnTo>
                  <a:pt x="1182185" y="650535"/>
                </a:lnTo>
                <a:lnTo>
                  <a:pt x="1184148" y="601218"/>
                </a:lnTo>
                <a:lnTo>
                  <a:pt x="1182185" y="551900"/>
                </a:lnTo>
                <a:lnTo>
                  <a:pt x="1176399" y="503682"/>
                </a:lnTo>
                <a:lnTo>
                  <a:pt x="1166942" y="456718"/>
                </a:lnTo>
                <a:lnTo>
                  <a:pt x="1153966" y="411163"/>
                </a:lnTo>
                <a:lnTo>
                  <a:pt x="1137624" y="367170"/>
                </a:lnTo>
                <a:lnTo>
                  <a:pt x="1118067" y="324896"/>
                </a:lnTo>
                <a:lnTo>
                  <a:pt x="1095449" y="284494"/>
                </a:lnTo>
                <a:lnTo>
                  <a:pt x="1069921" y="246119"/>
                </a:lnTo>
                <a:lnTo>
                  <a:pt x="1041635" y="209926"/>
                </a:lnTo>
                <a:lnTo>
                  <a:pt x="1010745" y="176069"/>
                </a:lnTo>
                <a:lnTo>
                  <a:pt x="977402" y="144703"/>
                </a:lnTo>
                <a:lnTo>
                  <a:pt x="941758" y="115982"/>
                </a:lnTo>
                <a:lnTo>
                  <a:pt x="903967" y="90061"/>
                </a:lnTo>
                <a:lnTo>
                  <a:pt x="864180" y="67095"/>
                </a:lnTo>
                <a:lnTo>
                  <a:pt x="822549" y="47238"/>
                </a:lnTo>
                <a:lnTo>
                  <a:pt x="779227" y="30644"/>
                </a:lnTo>
                <a:lnTo>
                  <a:pt x="734366" y="17469"/>
                </a:lnTo>
                <a:lnTo>
                  <a:pt x="688119" y="7867"/>
                </a:lnTo>
                <a:lnTo>
                  <a:pt x="640637" y="1992"/>
                </a:lnTo>
                <a:lnTo>
                  <a:pt x="592074" y="0"/>
                </a:lnTo>
                <a:close/>
              </a:path>
            </a:pathLst>
          </a:custGeom>
          <a:solidFill>
            <a:srgbClr val="12ABDB"/>
          </a:solidFill>
        </p:spPr>
        <p:txBody>
          <a:bodyPr wrap="square" lIns="0" tIns="0" rIns="0" bIns="0" rtlCol="0"/>
          <a:lstStyle/>
          <a:p>
            <a:endParaRPr/>
          </a:p>
        </p:txBody>
      </p:sp>
      <p:sp>
        <p:nvSpPr>
          <p:cNvPr id="12" name="object 12"/>
          <p:cNvSpPr txBox="1"/>
          <p:nvPr/>
        </p:nvSpPr>
        <p:spPr>
          <a:xfrm>
            <a:off x="4755007" y="3234944"/>
            <a:ext cx="934719" cy="697230"/>
          </a:xfrm>
          <a:prstGeom prst="rect">
            <a:avLst/>
          </a:prstGeom>
        </p:spPr>
        <p:txBody>
          <a:bodyPr vert="horz" wrap="square" lIns="0" tIns="13335" rIns="0" bIns="0" rtlCol="0">
            <a:spAutoFit/>
          </a:bodyPr>
          <a:lstStyle/>
          <a:p>
            <a:pPr marL="99060" marR="95250" algn="ctr">
              <a:lnSpc>
                <a:spcPct val="100000"/>
              </a:lnSpc>
              <a:spcBef>
                <a:spcPts val="105"/>
              </a:spcBef>
            </a:pPr>
            <a:r>
              <a:rPr sz="1100" spc="-5">
                <a:solidFill>
                  <a:srgbClr val="FFFFFF"/>
                </a:solidFill>
                <a:latin typeface="Verdana"/>
                <a:cs typeface="Verdana"/>
              </a:rPr>
              <a:t>Co</a:t>
            </a:r>
            <a:r>
              <a:rPr sz="1100" spc="-10">
                <a:solidFill>
                  <a:srgbClr val="FFFFFF"/>
                </a:solidFill>
                <a:latin typeface="Verdana"/>
                <a:cs typeface="Verdana"/>
              </a:rPr>
              <a:t>mm</a:t>
            </a:r>
            <a:r>
              <a:rPr sz="1100">
                <a:solidFill>
                  <a:srgbClr val="FFFFFF"/>
                </a:solidFill>
                <a:latin typeface="Verdana"/>
                <a:cs typeface="Verdana"/>
              </a:rPr>
              <a:t>u</a:t>
            </a:r>
            <a:r>
              <a:rPr sz="1100" spc="-10">
                <a:solidFill>
                  <a:srgbClr val="FFFFFF"/>
                </a:solidFill>
                <a:latin typeface="Verdana"/>
                <a:cs typeface="Verdana"/>
              </a:rPr>
              <a:t>n</a:t>
            </a:r>
            <a:r>
              <a:rPr sz="1100" spc="-15">
                <a:solidFill>
                  <a:srgbClr val="FFFFFF"/>
                </a:solidFill>
                <a:latin typeface="Verdana"/>
                <a:cs typeface="Verdana"/>
              </a:rPr>
              <a:t>i</a:t>
            </a:r>
            <a:r>
              <a:rPr sz="1100">
                <a:solidFill>
                  <a:srgbClr val="FFFFFF"/>
                </a:solidFill>
                <a:latin typeface="Verdana"/>
                <a:cs typeface="Verdana"/>
              </a:rPr>
              <a:t>-  </a:t>
            </a:r>
            <a:r>
              <a:rPr sz="1100" spc="-5">
                <a:solidFill>
                  <a:srgbClr val="FFFFFF"/>
                </a:solidFill>
                <a:latin typeface="Verdana"/>
                <a:cs typeface="Verdana"/>
              </a:rPr>
              <a:t>cations</a:t>
            </a:r>
            <a:endParaRPr sz="1100">
              <a:latin typeface="Verdana"/>
              <a:cs typeface="Verdana"/>
            </a:endParaRPr>
          </a:p>
          <a:p>
            <a:pPr marL="12700" marR="5080" indent="-3810" algn="ctr">
              <a:lnSpc>
                <a:spcPct val="100000"/>
              </a:lnSpc>
            </a:pPr>
            <a:r>
              <a:rPr sz="1100">
                <a:solidFill>
                  <a:srgbClr val="FFFFFF"/>
                </a:solidFill>
                <a:latin typeface="Verdana"/>
                <a:cs typeface="Verdana"/>
              </a:rPr>
              <a:t>&amp; </a:t>
            </a:r>
            <a:r>
              <a:rPr sz="1100" spc="-5">
                <a:solidFill>
                  <a:srgbClr val="FFFFFF"/>
                </a:solidFill>
                <a:latin typeface="Verdana"/>
                <a:cs typeface="Verdana"/>
              </a:rPr>
              <a:t>Change  </a:t>
            </a:r>
            <a:r>
              <a:rPr sz="1100">
                <a:solidFill>
                  <a:srgbClr val="FFFFFF"/>
                </a:solidFill>
                <a:latin typeface="Verdana"/>
                <a:cs typeface="Verdana"/>
              </a:rPr>
              <a:t>M</a:t>
            </a:r>
            <a:r>
              <a:rPr sz="1100" spc="-5">
                <a:solidFill>
                  <a:srgbClr val="FFFFFF"/>
                </a:solidFill>
                <a:latin typeface="Verdana"/>
                <a:cs typeface="Verdana"/>
              </a:rPr>
              <a:t>a</a:t>
            </a:r>
            <a:r>
              <a:rPr sz="1100">
                <a:solidFill>
                  <a:srgbClr val="FFFFFF"/>
                </a:solidFill>
                <a:latin typeface="Verdana"/>
                <a:cs typeface="Verdana"/>
              </a:rPr>
              <a:t>n</a:t>
            </a:r>
            <a:r>
              <a:rPr sz="1100" spc="-10">
                <a:solidFill>
                  <a:srgbClr val="FFFFFF"/>
                </a:solidFill>
                <a:latin typeface="Verdana"/>
                <a:cs typeface="Verdana"/>
              </a:rPr>
              <a:t>a</a:t>
            </a:r>
            <a:r>
              <a:rPr sz="1100" spc="-5">
                <a:solidFill>
                  <a:srgbClr val="FFFFFF"/>
                </a:solidFill>
                <a:latin typeface="Verdana"/>
                <a:cs typeface="Verdana"/>
              </a:rPr>
              <a:t>g</a:t>
            </a:r>
            <a:r>
              <a:rPr sz="1100">
                <a:solidFill>
                  <a:srgbClr val="FFFFFF"/>
                </a:solidFill>
                <a:latin typeface="Verdana"/>
                <a:cs typeface="Verdana"/>
              </a:rPr>
              <a:t>e</a:t>
            </a:r>
            <a:r>
              <a:rPr sz="1100" spc="-5">
                <a:solidFill>
                  <a:srgbClr val="FFFFFF"/>
                </a:solidFill>
                <a:latin typeface="Verdana"/>
                <a:cs typeface="Verdana"/>
              </a:rPr>
              <a:t>m</a:t>
            </a:r>
            <a:r>
              <a:rPr sz="1100">
                <a:solidFill>
                  <a:srgbClr val="FFFFFF"/>
                </a:solidFill>
                <a:latin typeface="Verdana"/>
                <a:cs typeface="Verdana"/>
              </a:rPr>
              <a:t>ent</a:t>
            </a:r>
            <a:endParaRPr sz="1100">
              <a:latin typeface="Verdana"/>
              <a:cs typeface="Verdana"/>
            </a:endParaRPr>
          </a:p>
        </p:txBody>
      </p:sp>
      <p:sp>
        <p:nvSpPr>
          <p:cNvPr id="13" name="object 13"/>
          <p:cNvSpPr/>
          <p:nvPr/>
        </p:nvSpPr>
        <p:spPr>
          <a:xfrm>
            <a:off x="7571231" y="2956560"/>
            <a:ext cx="1186180" cy="1203960"/>
          </a:xfrm>
          <a:custGeom>
            <a:avLst/>
            <a:gdLst/>
            <a:ahLst/>
            <a:cxnLst/>
            <a:rect l="l" t="t" r="r" b="b"/>
            <a:pathLst>
              <a:path w="1186179" h="1203960">
                <a:moveTo>
                  <a:pt x="592836" y="0"/>
                </a:moveTo>
                <a:lnTo>
                  <a:pt x="544215" y="1995"/>
                </a:lnTo>
                <a:lnTo>
                  <a:pt x="496676" y="7878"/>
                </a:lnTo>
                <a:lnTo>
                  <a:pt x="450373" y="17493"/>
                </a:lnTo>
                <a:lnTo>
                  <a:pt x="405457" y="30687"/>
                </a:lnTo>
                <a:lnTo>
                  <a:pt x="362080" y="47303"/>
                </a:lnTo>
                <a:lnTo>
                  <a:pt x="320397" y="67187"/>
                </a:lnTo>
                <a:lnTo>
                  <a:pt x="280558" y="90185"/>
                </a:lnTo>
                <a:lnTo>
                  <a:pt x="242718" y="116140"/>
                </a:lnTo>
                <a:lnTo>
                  <a:pt x="207028" y="144900"/>
                </a:lnTo>
                <a:lnTo>
                  <a:pt x="173640" y="176307"/>
                </a:lnTo>
                <a:lnTo>
                  <a:pt x="142708" y="210209"/>
                </a:lnTo>
                <a:lnTo>
                  <a:pt x="114385" y="246449"/>
                </a:lnTo>
                <a:lnTo>
                  <a:pt x="88822" y="284873"/>
                </a:lnTo>
                <a:lnTo>
                  <a:pt x="66172" y="325325"/>
                </a:lnTo>
                <a:lnTo>
                  <a:pt x="46589" y="367653"/>
                </a:lnTo>
                <a:lnTo>
                  <a:pt x="30223" y="411699"/>
                </a:lnTo>
                <a:lnTo>
                  <a:pt x="17229" y="457310"/>
                </a:lnTo>
                <a:lnTo>
                  <a:pt x="7759" y="504330"/>
                </a:lnTo>
                <a:lnTo>
                  <a:pt x="1965" y="552605"/>
                </a:lnTo>
                <a:lnTo>
                  <a:pt x="0" y="601979"/>
                </a:lnTo>
                <a:lnTo>
                  <a:pt x="1965" y="651354"/>
                </a:lnTo>
                <a:lnTo>
                  <a:pt x="7759" y="699629"/>
                </a:lnTo>
                <a:lnTo>
                  <a:pt x="17229" y="746649"/>
                </a:lnTo>
                <a:lnTo>
                  <a:pt x="30223" y="792260"/>
                </a:lnTo>
                <a:lnTo>
                  <a:pt x="46589" y="836306"/>
                </a:lnTo>
                <a:lnTo>
                  <a:pt x="66172" y="878634"/>
                </a:lnTo>
                <a:lnTo>
                  <a:pt x="88822" y="919086"/>
                </a:lnTo>
                <a:lnTo>
                  <a:pt x="114385" y="957510"/>
                </a:lnTo>
                <a:lnTo>
                  <a:pt x="142708" y="993750"/>
                </a:lnTo>
                <a:lnTo>
                  <a:pt x="173640" y="1027652"/>
                </a:lnTo>
                <a:lnTo>
                  <a:pt x="207028" y="1059059"/>
                </a:lnTo>
                <a:lnTo>
                  <a:pt x="242718" y="1087819"/>
                </a:lnTo>
                <a:lnTo>
                  <a:pt x="280558" y="1113774"/>
                </a:lnTo>
                <a:lnTo>
                  <a:pt x="320397" y="1136772"/>
                </a:lnTo>
                <a:lnTo>
                  <a:pt x="362080" y="1156656"/>
                </a:lnTo>
                <a:lnTo>
                  <a:pt x="405457" y="1173272"/>
                </a:lnTo>
                <a:lnTo>
                  <a:pt x="450373" y="1186466"/>
                </a:lnTo>
                <a:lnTo>
                  <a:pt x="496676" y="1196081"/>
                </a:lnTo>
                <a:lnTo>
                  <a:pt x="544215" y="1201964"/>
                </a:lnTo>
                <a:lnTo>
                  <a:pt x="592836" y="1203959"/>
                </a:lnTo>
                <a:lnTo>
                  <a:pt x="641456" y="1201964"/>
                </a:lnTo>
                <a:lnTo>
                  <a:pt x="688995" y="1196081"/>
                </a:lnTo>
                <a:lnTo>
                  <a:pt x="735298" y="1186466"/>
                </a:lnTo>
                <a:lnTo>
                  <a:pt x="780214" y="1173272"/>
                </a:lnTo>
                <a:lnTo>
                  <a:pt x="823591" y="1156656"/>
                </a:lnTo>
                <a:lnTo>
                  <a:pt x="865274" y="1136772"/>
                </a:lnTo>
                <a:lnTo>
                  <a:pt x="905113" y="1113774"/>
                </a:lnTo>
                <a:lnTo>
                  <a:pt x="942953" y="1087819"/>
                </a:lnTo>
                <a:lnTo>
                  <a:pt x="978643" y="1059059"/>
                </a:lnTo>
                <a:lnTo>
                  <a:pt x="1012031" y="1027652"/>
                </a:lnTo>
                <a:lnTo>
                  <a:pt x="1042963" y="993750"/>
                </a:lnTo>
                <a:lnTo>
                  <a:pt x="1071286" y="957510"/>
                </a:lnTo>
                <a:lnTo>
                  <a:pt x="1096849" y="919086"/>
                </a:lnTo>
                <a:lnTo>
                  <a:pt x="1119499" y="878634"/>
                </a:lnTo>
                <a:lnTo>
                  <a:pt x="1139082" y="836306"/>
                </a:lnTo>
                <a:lnTo>
                  <a:pt x="1155448" y="792260"/>
                </a:lnTo>
                <a:lnTo>
                  <a:pt x="1168442" y="746649"/>
                </a:lnTo>
                <a:lnTo>
                  <a:pt x="1177912" y="699629"/>
                </a:lnTo>
                <a:lnTo>
                  <a:pt x="1183706" y="651354"/>
                </a:lnTo>
                <a:lnTo>
                  <a:pt x="1185672" y="601979"/>
                </a:lnTo>
                <a:lnTo>
                  <a:pt x="1183706" y="552605"/>
                </a:lnTo>
                <a:lnTo>
                  <a:pt x="1177912" y="504330"/>
                </a:lnTo>
                <a:lnTo>
                  <a:pt x="1168442" y="457310"/>
                </a:lnTo>
                <a:lnTo>
                  <a:pt x="1155448" y="411699"/>
                </a:lnTo>
                <a:lnTo>
                  <a:pt x="1139082" y="367653"/>
                </a:lnTo>
                <a:lnTo>
                  <a:pt x="1119499" y="325325"/>
                </a:lnTo>
                <a:lnTo>
                  <a:pt x="1096849" y="284873"/>
                </a:lnTo>
                <a:lnTo>
                  <a:pt x="1071286" y="246449"/>
                </a:lnTo>
                <a:lnTo>
                  <a:pt x="1042963" y="210209"/>
                </a:lnTo>
                <a:lnTo>
                  <a:pt x="1012031" y="176307"/>
                </a:lnTo>
                <a:lnTo>
                  <a:pt x="978643" y="144900"/>
                </a:lnTo>
                <a:lnTo>
                  <a:pt x="942953" y="116140"/>
                </a:lnTo>
                <a:lnTo>
                  <a:pt x="905113" y="90185"/>
                </a:lnTo>
                <a:lnTo>
                  <a:pt x="865274" y="67187"/>
                </a:lnTo>
                <a:lnTo>
                  <a:pt x="823591" y="47303"/>
                </a:lnTo>
                <a:lnTo>
                  <a:pt x="780214" y="30687"/>
                </a:lnTo>
                <a:lnTo>
                  <a:pt x="735298" y="17493"/>
                </a:lnTo>
                <a:lnTo>
                  <a:pt x="688995" y="7878"/>
                </a:lnTo>
                <a:lnTo>
                  <a:pt x="641456" y="1995"/>
                </a:lnTo>
                <a:lnTo>
                  <a:pt x="592836" y="0"/>
                </a:lnTo>
                <a:close/>
              </a:path>
            </a:pathLst>
          </a:custGeom>
          <a:solidFill>
            <a:srgbClr val="12ABDB"/>
          </a:solidFill>
        </p:spPr>
        <p:txBody>
          <a:bodyPr wrap="square" lIns="0" tIns="0" rIns="0" bIns="0" rtlCol="0"/>
          <a:lstStyle/>
          <a:p>
            <a:endParaRPr/>
          </a:p>
        </p:txBody>
      </p:sp>
      <p:sp>
        <p:nvSpPr>
          <p:cNvPr id="14" name="object 14"/>
          <p:cNvSpPr txBox="1"/>
          <p:nvPr/>
        </p:nvSpPr>
        <p:spPr>
          <a:xfrm>
            <a:off x="7755381" y="3293745"/>
            <a:ext cx="777875" cy="528955"/>
          </a:xfrm>
          <a:prstGeom prst="rect">
            <a:avLst/>
          </a:prstGeom>
        </p:spPr>
        <p:txBody>
          <a:bodyPr vert="horz" wrap="square" lIns="0" tIns="13335" rIns="0" bIns="0" rtlCol="0">
            <a:spAutoFit/>
          </a:bodyPr>
          <a:lstStyle/>
          <a:p>
            <a:pPr marL="12065" marR="5080" indent="41910" algn="ctr">
              <a:lnSpc>
                <a:spcPct val="100000"/>
              </a:lnSpc>
              <a:spcBef>
                <a:spcPts val="105"/>
              </a:spcBef>
            </a:pPr>
            <a:r>
              <a:rPr sz="1100">
                <a:solidFill>
                  <a:srgbClr val="FFFFFF"/>
                </a:solidFill>
                <a:latin typeface="Verdana"/>
                <a:cs typeface="Verdana"/>
              </a:rPr>
              <a:t>Project  Mon</a:t>
            </a:r>
            <a:r>
              <a:rPr sz="1100" spc="-15">
                <a:solidFill>
                  <a:srgbClr val="FFFFFF"/>
                </a:solidFill>
                <a:latin typeface="Verdana"/>
                <a:cs typeface="Verdana"/>
              </a:rPr>
              <a:t>i</a:t>
            </a:r>
            <a:r>
              <a:rPr sz="1100">
                <a:solidFill>
                  <a:srgbClr val="FFFFFF"/>
                </a:solidFill>
                <a:latin typeface="Verdana"/>
                <a:cs typeface="Verdana"/>
              </a:rPr>
              <a:t>to</a:t>
            </a:r>
            <a:r>
              <a:rPr sz="1100" spc="-5">
                <a:solidFill>
                  <a:srgbClr val="FFFFFF"/>
                </a:solidFill>
                <a:latin typeface="Verdana"/>
                <a:cs typeface="Verdana"/>
              </a:rPr>
              <a:t>r</a:t>
            </a:r>
            <a:r>
              <a:rPr sz="1100" spc="-15">
                <a:solidFill>
                  <a:srgbClr val="FFFFFF"/>
                </a:solidFill>
                <a:latin typeface="Verdana"/>
                <a:cs typeface="Verdana"/>
              </a:rPr>
              <a:t>i</a:t>
            </a:r>
            <a:r>
              <a:rPr sz="1100">
                <a:solidFill>
                  <a:srgbClr val="FFFFFF"/>
                </a:solidFill>
                <a:latin typeface="Verdana"/>
                <a:cs typeface="Verdana"/>
              </a:rPr>
              <a:t>ng  &amp;</a:t>
            </a:r>
            <a:r>
              <a:rPr sz="1100" spc="-45">
                <a:solidFill>
                  <a:srgbClr val="FFFFFF"/>
                </a:solidFill>
                <a:latin typeface="Verdana"/>
                <a:cs typeface="Verdana"/>
              </a:rPr>
              <a:t> </a:t>
            </a:r>
            <a:r>
              <a:rPr sz="1100" spc="-5">
                <a:solidFill>
                  <a:srgbClr val="FFFFFF"/>
                </a:solidFill>
                <a:latin typeface="Verdana"/>
                <a:cs typeface="Verdana"/>
              </a:rPr>
              <a:t>Support</a:t>
            </a:r>
            <a:endParaRPr sz="1100">
              <a:latin typeface="Verdana"/>
              <a:cs typeface="Verdana"/>
            </a:endParaRPr>
          </a:p>
        </p:txBody>
      </p:sp>
      <p:sp>
        <p:nvSpPr>
          <p:cNvPr id="15" name="object 15"/>
          <p:cNvSpPr/>
          <p:nvPr/>
        </p:nvSpPr>
        <p:spPr>
          <a:xfrm>
            <a:off x="3162300" y="2731007"/>
            <a:ext cx="1184275" cy="1203960"/>
          </a:xfrm>
          <a:custGeom>
            <a:avLst/>
            <a:gdLst/>
            <a:ahLst/>
            <a:cxnLst/>
            <a:rect l="l" t="t" r="r" b="b"/>
            <a:pathLst>
              <a:path w="1184275" h="1203960">
                <a:moveTo>
                  <a:pt x="592074" y="0"/>
                </a:moveTo>
                <a:lnTo>
                  <a:pt x="543510" y="1995"/>
                </a:lnTo>
                <a:lnTo>
                  <a:pt x="496028" y="7878"/>
                </a:lnTo>
                <a:lnTo>
                  <a:pt x="449781" y="17493"/>
                </a:lnTo>
                <a:lnTo>
                  <a:pt x="404920" y="30687"/>
                </a:lnTo>
                <a:lnTo>
                  <a:pt x="361598" y="47303"/>
                </a:lnTo>
                <a:lnTo>
                  <a:pt x="319967" y="67187"/>
                </a:lnTo>
                <a:lnTo>
                  <a:pt x="280180" y="90185"/>
                </a:lnTo>
                <a:lnTo>
                  <a:pt x="242389" y="116140"/>
                </a:lnTo>
                <a:lnTo>
                  <a:pt x="206745" y="144900"/>
                </a:lnTo>
                <a:lnTo>
                  <a:pt x="173402" y="176307"/>
                </a:lnTo>
                <a:lnTo>
                  <a:pt x="142512" y="210209"/>
                </a:lnTo>
                <a:lnTo>
                  <a:pt x="114226" y="246449"/>
                </a:lnTo>
                <a:lnTo>
                  <a:pt x="88698" y="284873"/>
                </a:lnTo>
                <a:lnTo>
                  <a:pt x="66080" y="325325"/>
                </a:lnTo>
                <a:lnTo>
                  <a:pt x="46523" y="367653"/>
                </a:lnTo>
                <a:lnTo>
                  <a:pt x="30181" y="411699"/>
                </a:lnTo>
                <a:lnTo>
                  <a:pt x="17205" y="457310"/>
                </a:lnTo>
                <a:lnTo>
                  <a:pt x="7748" y="504330"/>
                </a:lnTo>
                <a:lnTo>
                  <a:pt x="1962" y="552605"/>
                </a:lnTo>
                <a:lnTo>
                  <a:pt x="0" y="601979"/>
                </a:lnTo>
                <a:lnTo>
                  <a:pt x="1962" y="651354"/>
                </a:lnTo>
                <a:lnTo>
                  <a:pt x="7748" y="699629"/>
                </a:lnTo>
                <a:lnTo>
                  <a:pt x="17205" y="746649"/>
                </a:lnTo>
                <a:lnTo>
                  <a:pt x="30181" y="792260"/>
                </a:lnTo>
                <a:lnTo>
                  <a:pt x="46523" y="836306"/>
                </a:lnTo>
                <a:lnTo>
                  <a:pt x="66080" y="878634"/>
                </a:lnTo>
                <a:lnTo>
                  <a:pt x="88698" y="919086"/>
                </a:lnTo>
                <a:lnTo>
                  <a:pt x="114226" y="957510"/>
                </a:lnTo>
                <a:lnTo>
                  <a:pt x="142512" y="993750"/>
                </a:lnTo>
                <a:lnTo>
                  <a:pt x="173402" y="1027652"/>
                </a:lnTo>
                <a:lnTo>
                  <a:pt x="206745" y="1059059"/>
                </a:lnTo>
                <a:lnTo>
                  <a:pt x="242389" y="1087819"/>
                </a:lnTo>
                <a:lnTo>
                  <a:pt x="280180" y="1113774"/>
                </a:lnTo>
                <a:lnTo>
                  <a:pt x="319967" y="1136772"/>
                </a:lnTo>
                <a:lnTo>
                  <a:pt x="361598" y="1156656"/>
                </a:lnTo>
                <a:lnTo>
                  <a:pt x="404920" y="1173272"/>
                </a:lnTo>
                <a:lnTo>
                  <a:pt x="449781" y="1186466"/>
                </a:lnTo>
                <a:lnTo>
                  <a:pt x="496028" y="1196081"/>
                </a:lnTo>
                <a:lnTo>
                  <a:pt x="543510" y="1201964"/>
                </a:lnTo>
                <a:lnTo>
                  <a:pt x="592074" y="1203959"/>
                </a:lnTo>
                <a:lnTo>
                  <a:pt x="640637" y="1201964"/>
                </a:lnTo>
                <a:lnTo>
                  <a:pt x="688119" y="1196081"/>
                </a:lnTo>
                <a:lnTo>
                  <a:pt x="734366" y="1186466"/>
                </a:lnTo>
                <a:lnTo>
                  <a:pt x="779227" y="1173272"/>
                </a:lnTo>
                <a:lnTo>
                  <a:pt x="822549" y="1156656"/>
                </a:lnTo>
                <a:lnTo>
                  <a:pt x="864180" y="1136772"/>
                </a:lnTo>
                <a:lnTo>
                  <a:pt x="903967" y="1113774"/>
                </a:lnTo>
                <a:lnTo>
                  <a:pt x="941758" y="1087819"/>
                </a:lnTo>
                <a:lnTo>
                  <a:pt x="977402" y="1059059"/>
                </a:lnTo>
                <a:lnTo>
                  <a:pt x="1010745" y="1027652"/>
                </a:lnTo>
                <a:lnTo>
                  <a:pt x="1041635" y="993750"/>
                </a:lnTo>
                <a:lnTo>
                  <a:pt x="1069921" y="957510"/>
                </a:lnTo>
                <a:lnTo>
                  <a:pt x="1095449" y="919086"/>
                </a:lnTo>
                <a:lnTo>
                  <a:pt x="1118067" y="878634"/>
                </a:lnTo>
                <a:lnTo>
                  <a:pt x="1137624" y="836306"/>
                </a:lnTo>
                <a:lnTo>
                  <a:pt x="1153966" y="792260"/>
                </a:lnTo>
                <a:lnTo>
                  <a:pt x="1166942" y="746649"/>
                </a:lnTo>
                <a:lnTo>
                  <a:pt x="1176399" y="699629"/>
                </a:lnTo>
                <a:lnTo>
                  <a:pt x="1182185" y="651354"/>
                </a:lnTo>
                <a:lnTo>
                  <a:pt x="1184148" y="601979"/>
                </a:lnTo>
                <a:lnTo>
                  <a:pt x="1182185" y="552605"/>
                </a:lnTo>
                <a:lnTo>
                  <a:pt x="1176399" y="504330"/>
                </a:lnTo>
                <a:lnTo>
                  <a:pt x="1166942" y="457310"/>
                </a:lnTo>
                <a:lnTo>
                  <a:pt x="1153966" y="411699"/>
                </a:lnTo>
                <a:lnTo>
                  <a:pt x="1137624" y="367653"/>
                </a:lnTo>
                <a:lnTo>
                  <a:pt x="1118067" y="325325"/>
                </a:lnTo>
                <a:lnTo>
                  <a:pt x="1095449" y="284873"/>
                </a:lnTo>
                <a:lnTo>
                  <a:pt x="1069921" y="246449"/>
                </a:lnTo>
                <a:lnTo>
                  <a:pt x="1041635" y="210209"/>
                </a:lnTo>
                <a:lnTo>
                  <a:pt x="1010745" y="176307"/>
                </a:lnTo>
                <a:lnTo>
                  <a:pt x="977402" y="144900"/>
                </a:lnTo>
                <a:lnTo>
                  <a:pt x="941758" y="116140"/>
                </a:lnTo>
                <a:lnTo>
                  <a:pt x="903967" y="90185"/>
                </a:lnTo>
                <a:lnTo>
                  <a:pt x="864180" y="67187"/>
                </a:lnTo>
                <a:lnTo>
                  <a:pt x="822549" y="47303"/>
                </a:lnTo>
                <a:lnTo>
                  <a:pt x="779227" y="30687"/>
                </a:lnTo>
                <a:lnTo>
                  <a:pt x="734366" y="17493"/>
                </a:lnTo>
                <a:lnTo>
                  <a:pt x="688119" y="7878"/>
                </a:lnTo>
                <a:lnTo>
                  <a:pt x="640637" y="1995"/>
                </a:lnTo>
                <a:lnTo>
                  <a:pt x="592074" y="0"/>
                </a:lnTo>
                <a:close/>
              </a:path>
            </a:pathLst>
          </a:custGeom>
          <a:solidFill>
            <a:srgbClr val="12ABDB"/>
          </a:solidFill>
        </p:spPr>
        <p:txBody>
          <a:bodyPr wrap="square" lIns="0" tIns="0" rIns="0" bIns="0" rtlCol="0"/>
          <a:lstStyle/>
          <a:p>
            <a:endParaRPr/>
          </a:p>
        </p:txBody>
      </p:sp>
      <p:sp>
        <p:nvSpPr>
          <p:cNvPr id="16" name="object 16"/>
          <p:cNvSpPr txBox="1"/>
          <p:nvPr/>
        </p:nvSpPr>
        <p:spPr>
          <a:xfrm>
            <a:off x="3351403" y="3068193"/>
            <a:ext cx="808355" cy="528955"/>
          </a:xfrm>
          <a:prstGeom prst="rect">
            <a:avLst/>
          </a:prstGeom>
        </p:spPr>
        <p:txBody>
          <a:bodyPr vert="horz" wrap="square" lIns="0" tIns="13335" rIns="0" bIns="0" rtlCol="0">
            <a:spAutoFit/>
          </a:bodyPr>
          <a:lstStyle/>
          <a:p>
            <a:pPr marL="12700" marR="5080" indent="-1905" algn="ctr">
              <a:lnSpc>
                <a:spcPct val="100000"/>
              </a:lnSpc>
              <a:spcBef>
                <a:spcPts val="105"/>
              </a:spcBef>
            </a:pPr>
            <a:r>
              <a:rPr sz="1100">
                <a:solidFill>
                  <a:srgbClr val="FFFFFF"/>
                </a:solidFill>
                <a:latin typeface="Verdana"/>
                <a:cs typeface="Verdana"/>
              </a:rPr>
              <a:t>Team  </a:t>
            </a:r>
            <a:r>
              <a:rPr sz="1100" spc="-5">
                <a:solidFill>
                  <a:srgbClr val="FFFFFF"/>
                </a:solidFill>
                <a:latin typeface="Verdana"/>
                <a:cs typeface="Verdana"/>
              </a:rPr>
              <a:t>Or</a:t>
            </a:r>
            <a:r>
              <a:rPr sz="1100" spc="-15">
                <a:solidFill>
                  <a:srgbClr val="FFFFFF"/>
                </a:solidFill>
                <a:latin typeface="Verdana"/>
                <a:cs typeface="Verdana"/>
              </a:rPr>
              <a:t>i</a:t>
            </a:r>
            <a:r>
              <a:rPr sz="1100">
                <a:solidFill>
                  <a:srgbClr val="FFFFFF"/>
                </a:solidFill>
                <a:latin typeface="Verdana"/>
                <a:cs typeface="Verdana"/>
              </a:rPr>
              <a:t>en</a:t>
            </a:r>
            <a:r>
              <a:rPr sz="1100" spc="-5">
                <a:solidFill>
                  <a:srgbClr val="FFFFFF"/>
                </a:solidFill>
                <a:latin typeface="Verdana"/>
                <a:cs typeface="Verdana"/>
              </a:rPr>
              <a:t>ta</a:t>
            </a:r>
            <a:r>
              <a:rPr sz="1100">
                <a:solidFill>
                  <a:srgbClr val="FFFFFF"/>
                </a:solidFill>
                <a:latin typeface="Verdana"/>
                <a:cs typeface="Verdana"/>
              </a:rPr>
              <a:t>t</a:t>
            </a:r>
            <a:r>
              <a:rPr sz="1100" spc="-20">
                <a:solidFill>
                  <a:srgbClr val="FFFFFF"/>
                </a:solidFill>
                <a:latin typeface="Verdana"/>
                <a:cs typeface="Verdana"/>
              </a:rPr>
              <a:t>i</a:t>
            </a:r>
            <a:r>
              <a:rPr sz="1100">
                <a:solidFill>
                  <a:srgbClr val="FFFFFF"/>
                </a:solidFill>
                <a:latin typeface="Verdana"/>
                <a:cs typeface="Verdana"/>
              </a:rPr>
              <a:t>on  &amp;</a:t>
            </a:r>
            <a:r>
              <a:rPr sz="1100" spc="-60">
                <a:solidFill>
                  <a:srgbClr val="FFFFFF"/>
                </a:solidFill>
                <a:latin typeface="Verdana"/>
                <a:cs typeface="Verdana"/>
              </a:rPr>
              <a:t> </a:t>
            </a:r>
            <a:r>
              <a:rPr sz="1100" spc="-5">
                <a:solidFill>
                  <a:srgbClr val="FFFFFF"/>
                </a:solidFill>
                <a:latin typeface="Verdana"/>
                <a:cs typeface="Verdana"/>
              </a:rPr>
              <a:t>Training</a:t>
            </a:r>
            <a:endParaRPr sz="1100">
              <a:latin typeface="Verdana"/>
              <a:cs typeface="Verdana"/>
            </a:endParaRPr>
          </a:p>
        </p:txBody>
      </p:sp>
      <p:sp>
        <p:nvSpPr>
          <p:cNvPr id="17" name="object 17"/>
          <p:cNvSpPr/>
          <p:nvPr/>
        </p:nvSpPr>
        <p:spPr>
          <a:xfrm>
            <a:off x="6099047" y="2712720"/>
            <a:ext cx="1186180" cy="1203960"/>
          </a:xfrm>
          <a:custGeom>
            <a:avLst/>
            <a:gdLst/>
            <a:ahLst/>
            <a:cxnLst/>
            <a:rect l="l" t="t" r="r" b="b"/>
            <a:pathLst>
              <a:path w="1186179" h="1203960">
                <a:moveTo>
                  <a:pt x="592835" y="0"/>
                </a:moveTo>
                <a:lnTo>
                  <a:pt x="544215" y="1995"/>
                </a:lnTo>
                <a:lnTo>
                  <a:pt x="496676" y="7878"/>
                </a:lnTo>
                <a:lnTo>
                  <a:pt x="450373" y="17493"/>
                </a:lnTo>
                <a:lnTo>
                  <a:pt x="405457" y="30687"/>
                </a:lnTo>
                <a:lnTo>
                  <a:pt x="362080" y="47303"/>
                </a:lnTo>
                <a:lnTo>
                  <a:pt x="320397" y="67187"/>
                </a:lnTo>
                <a:lnTo>
                  <a:pt x="280558" y="90185"/>
                </a:lnTo>
                <a:lnTo>
                  <a:pt x="242718" y="116140"/>
                </a:lnTo>
                <a:lnTo>
                  <a:pt x="207028" y="144900"/>
                </a:lnTo>
                <a:lnTo>
                  <a:pt x="173640" y="176307"/>
                </a:lnTo>
                <a:lnTo>
                  <a:pt x="142708" y="210209"/>
                </a:lnTo>
                <a:lnTo>
                  <a:pt x="114385" y="246449"/>
                </a:lnTo>
                <a:lnTo>
                  <a:pt x="88822" y="284873"/>
                </a:lnTo>
                <a:lnTo>
                  <a:pt x="66172" y="325325"/>
                </a:lnTo>
                <a:lnTo>
                  <a:pt x="46589" y="367653"/>
                </a:lnTo>
                <a:lnTo>
                  <a:pt x="30223" y="411699"/>
                </a:lnTo>
                <a:lnTo>
                  <a:pt x="17229" y="457310"/>
                </a:lnTo>
                <a:lnTo>
                  <a:pt x="7759" y="504330"/>
                </a:lnTo>
                <a:lnTo>
                  <a:pt x="1965" y="552605"/>
                </a:lnTo>
                <a:lnTo>
                  <a:pt x="0" y="601979"/>
                </a:lnTo>
                <a:lnTo>
                  <a:pt x="1965" y="651354"/>
                </a:lnTo>
                <a:lnTo>
                  <a:pt x="7759" y="699629"/>
                </a:lnTo>
                <a:lnTo>
                  <a:pt x="17229" y="746649"/>
                </a:lnTo>
                <a:lnTo>
                  <a:pt x="30223" y="792260"/>
                </a:lnTo>
                <a:lnTo>
                  <a:pt x="46589" y="836306"/>
                </a:lnTo>
                <a:lnTo>
                  <a:pt x="66172" y="878634"/>
                </a:lnTo>
                <a:lnTo>
                  <a:pt x="88822" y="919086"/>
                </a:lnTo>
                <a:lnTo>
                  <a:pt x="114385" y="957510"/>
                </a:lnTo>
                <a:lnTo>
                  <a:pt x="142708" y="993750"/>
                </a:lnTo>
                <a:lnTo>
                  <a:pt x="173640" y="1027652"/>
                </a:lnTo>
                <a:lnTo>
                  <a:pt x="207028" y="1059059"/>
                </a:lnTo>
                <a:lnTo>
                  <a:pt x="242718" y="1087819"/>
                </a:lnTo>
                <a:lnTo>
                  <a:pt x="280558" y="1113774"/>
                </a:lnTo>
                <a:lnTo>
                  <a:pt x="320397" y="1136772"/>
                </a:lnTo>
                <a:lnTo>
                  <a:pt x="362080" y="1156656"/>
                </a:lnTo>
                <a:lnTo>
                  <a:pt x="405457" y="1173272"/>
                </a:lnTo>
                <a:lnTo>
                  <a:pt x="450373" y="1186466"/>
                </a:lnTo>
                <a:lnTo>
                  <a:pt x="496676" y="1196081"/>
                </a:lnTo>
                <a:lnTo>
                  <a:pt x="544215" y="1201964"/>
                </a:lnTo>
                <a:lnTo>
                  <a:pt x="592835" y="1203959"/>
                </a:lnTo>
                <a:lnTo>
                  <a:pt x="641456" y="1201964"/>
                </a:lnTo>
                <a:lnTo>
                  <a:pt x="688995" y="1196081"/>
                </a:lnTo>
                <a:lnTo>
                  <a:pt x="735298" y="1186466"/>
                </a:lnTo>
                <a:lnTo>
                  <a:pt x="780214" y="1173272"/>
                </a:lnTo>
                <a:lnTo>
                  <a:pt x="823591" y="1156656"/>
                </a:lnTo>
                <a:lnTo>
                  <a:pt x="865274" y="1136772"/>
                </a:lnTo>
                <a:lnTo>
                  <a:pt x="905113" y="1113774"/>
                </a:lnTo>
                <a:lnTo>
                  <a:pt x="942953" y="1087819"/>
                </a:lnTo>
                <a:lnTo>
                  <a:pt x="978643" y="1059059"/>
                </a:lnTo>
                <a:lnTo>
                  <a:pt x="1012031" y="1027652"/>
                </a:lnTo>
                <a:lnTo>
                  <a:pt x="1042963" y="993750"/>
                </a:lnTo>
                <a:lnTo>
                  <a:pt x="1071286" y="957510"/>
                </a:lnTo>
                <a:lnTo>
                  <a:pt x="1096849" y="919086"/>
                </a:lnTo>
                <a:lnTo>
                  <a:pt x="1119499" y="878634"/>
                </a:lnTo>
                <a:lnTo>
                  <a:pt x="1139082" y="836306"/>
                </a:lnTo>
                <a:lnTo>
                  <a:pt x="1155448" y="792260"/>
                </a:lnTo>
                <a:lnTo>
                  <a:pt x="1168442" y="746649"/>
                </a:lnTo>
                <a:lnTo>
                  <a:pt x="1177912" y="699629"/>
                </a:lnTo>
                <a:lnTo>
                  <a:pt x="1183706" y="651354"/>
                </a:lnTo>
                <a:lnTo>
                  <a:pt x="1185672" y="601979"/>
                </a:lnTo>
                <a:lnTo>
                  <a:pt x="1183706" y="552605"/>
                </a:lnTo>
                <a:lnTo>
                  <a:pt x="1177912" y="504330"/>
                </a:lnTo>
                <a:lnTo>
                  <a:pt x="1168442" y="457310"/>
                </a:lnTo>
                <a:lnTo>
                  <a:pt x="1155448" y="411699"/>
                </a:lnTo>
                <a:lnTo>
                  <a:pt x="1139082" y="367653"/>
                </a:lnTo>
                <a:lnTo>
                  <a:pt x="1119499" y="325325"/>
                </a:lnTo>
                <a:lnTo>
                  <a:pt x="1096849" y="284873"/>
                </a:lnTo>
                <a:lnTo>
                  <a:pt x="1071286" y="246449"/>
                </a:lnTo>
                <a:lnTo>
                  <a:pt x="1042963" y="210209"/>
                </a:lnTo>
                <a:lnTo>
                  <a:pt x="1012031" y="176307"/>
                </a:lnTo>
                <a:lnTo>
                  <a:pt x="978643" y="144900"/>
                </a:lnTo>
                <a:lnTo>
                  <a:pt x="942953" y="116140"/>
                </a:lnTo>
                <a:lnTo>
                  <a:pt x="905113" y="90185"/>
                </a:lnTo>
                <a:lnTo>
                  <a:pt x="865274" y="67187"/>
                </a:lnTo>
                <a:lnTo>
                  <a:pt x="823591" y="47303"/>
                </a:lnTo>
                <a:lnTo>
                  <a:pt x="780214" y="30687"/>
                </a:lnTo>
                <a:lnTo>
                  <a:pt x="735298" y="17493"/>
                </a:lnTo>
                <a:lnTo>
                  <a:pt x="688995" y="7878"/>
                </a:lnTo>
                <a:lnTo>
                  <a:pt x="641456" y="1995"/>
                </a:lnTo>
                <a:lnTo>
                  <a:pt x="592835" y="0"/>
                </a:lnTo>
                <a:close/>
              </a:path>
            </a:pathLst>
          </a:custGeom>
          <a:solidFill>
            <a:srgbClr val="12ABDB"/>
          </a:solidFill>
        </p:spPr>
        <p:txBody>
          <a:bodyPr wrap="square" lIns="0" tIns="0" rIns="0" bIns="0" rtlCol="0"/>
          <a:lstStyle/>
          <a:p>
            <a:endParaRPr/>
          </a:p>
        </p:txBody>
      </p:sp>
      <p:sp>
        <p:nvSpPr>
          <p:cNvPr id="18" name="object 18"/>
          <p:cNvSpPr txBox="1"/>
          <p:nvPr/>
        </p:nvSpPr>
        <p:spPr>
          <a:xfrm>
            <a:off x="6235953" y="3134106"/>
            <a:ext cx="914400" cy="361315"/>
          </a:xfrm>
          <a:prstGeom prst="rect">
            <a:avLst/>
          </a:prstGeom>
        </p:spPr>
        <p:txBody>
          <a:bodyPr vert="horz" wrap="square" lIns="0" tIns="13335" rIns="0" bIns="0" rtlCol="0">
            <a:spAutoFit/>
          </a:bodyPr>
          <a:lstStyle/>
          <a:p>
            <a:pPr marL="12700" marR="5080" indent="62230">
              <a:lnSpc>
                <a:spcPct val="100000"/>
              </a:lnSpc>
              <a:spcBef>
                <a:spcPts val="105"/>
              </a:spcBef>
            </a:pPr>
            <a:r>
              <a:rPr sz="1100" spc="-5">
                <a:solidFill>
                  <a:srgbClr val="FFFFFF"/>
                </a:solidFill>
                <a:latin typeface="Verdana"/>
                <a:cs typeface="Verdana"/>
              </a:rPr>
              <a:t>Knowledge  Coor</a:t>
            </a:r>
            <a:r>
              <a:rPr sz="1100" spc="-10">
                <a:solidFill>
                  <a:srgbClr val="FFFFFF"/>
                </a:solidFill>
                <a:latin typeface="Verdana"/>
                <a:cs typeface="Verdana"/>
              </a:rPr>
              <a:t>d</a:t>
            </a:r>
            <a:r>
              <a:rPr sz="1100" spc="-15">
                <a:solidFill>
                  <a:srgbClr val="FFFFFF"/>
                </a:solidFill>
                <a:latin typeface="Verdana"/>
                <a:cs typeface="Verdana"/>
              </a:rPr>
              <a:t>i</a:t>
            </a:r>
            <a:r>
              <a:rPr sz="1100">
                <a:solidFill>
                  <a:srgbClr val="FFFFFF"/>
                </a:solidFill>
                <a:latin typeface="Verdana"/>
                <a:cs typeface="Verdana"/>
              </a:rPr>
              <a:t>n</a:t>
            </a:r>
            <a:r>
              <a:rPr sz="1100" spc="-10">
                <a:solidFill>
                  <a:srgbClr val="FFFFFF"/>
                </a:solidFill>
                <a:latin typeface="Verdana"/>
                <a:cs typeface="Verdana"/>
              </a:rPr>
              <a:t>a</a:t>
            </a:r>
            <a:r>
              <a:rPr sz="1100">
                <a:solidFill>
                  <a:srgbClr val="FFFFFF"/>
                </a:solidFill>
                <a:latin typeface="Verdana"/>
                <a:cs typeface="Verdana"/>
              </a:rPr>
              <a:t>t</a:t>
            </a:r>
            <a:r>
              <a:rPr sz="1100" spc="-20">
                <a:solidFill>
                  <a:srgbClr val="FFFFFF"/>
                </a:solidFill>
                <a:latin typeface="Verdana"/>
                <a:cs typeface="Verdana"/>
              </a:rPr>
              <a:t>i</a:t>
            </a:r>
            <a:r>
              <a:rPr sz="1100">
                <a:solidFill>
                  <a:srgbClr val="FFFFFF"/>
                </a:solidFill>
                <a:latin typeface="Verdana"/>
                <a:cs typeface="Verdana"/>
              </a:rPr>
              <a:t>on</a:t>
            </a:r>
            <a:endParaRPr sz="1100">
              <a:latin typeface="Verdana"/>
              <a:cs typeface="Verdana"/>
            </a:endParaRPr>
          </a:p>
        </p:txBody>
      </p:sp>
      <p:sp>
        <p:nvSpPr>
          <p:cNvPr id="19" name="object 19"/>
          <p:cNvSpPr/>
          <p:nvPr/>
        </p:nvSpPr>
        <p:spPr>
          <a:xfrm>
            <a:off x="9008364" y="2642616"/>
            <a:ext cx="1184275" cy="1203960"/>
          </a:xfrm>
          <a:custGeom>
            <a:avLst/>
            <a:gdLst/>
            <a:ahLst/>
            <a:cxnLst/>
            <a:rect l="l" t="t" r="r" b="b"/>
            <a:pathLst>
              <a:path w="1184275" h="1203960">
                <a:moveTo>
                  <a:pt x="592074" y="0"/>
                </a:moveTo>
                <a:lnTo>
                  <a:pt x="543510" y="1995"/>
                </a:lnTo>
                <a:lnTo>
                  <a:pt x="496028" y="7878"/>
                </a:lnTo>
                <a:lnTo>
                  <a:pt x="449781" y="17493"/>
                </a:lnTo>
                <a:lnTo>
                  <a:pt x="404920" y="30687"/>
                </a:lnTo>
                <a:lnTo>
                  <a:pt x="361598" y="47303"/>
                </a:lnTo>
                <a:lnTo>
                  <a:pt x="319967" y="67187"/>
                </a:lnTo>
                <a:lnTo>
                  <a:pt x="280180" y="90185"/>
                </a:lnTo>
                <a:lnTo>
                  <a:pt x="242389" y="116140"/>
                </a:lnTo>
                <a:lnTo>
                  <a:pt x="206745" y="144900"/>
                </a:lnTo>
                <a:lnTo>
                  <a:pt x="173402" y="176307"/>
                </a:lnTo>
                <a:lnTo>
                  <a:pt x="142512" y="210209"/>
                </a:lnTo>
                <a:lnTo>
                  <a:pt x="114226" y="246449"/>
                </a:lnTo>
                <a:lnTo>
                  <a:pt x="88698" y="284873"/>
                </a:lnTo>
                <a:lnTo>
                  <a:pt x="66080" y="325325"/>
                </a:lnTo>
                <a:lnTo>
                  <a:pt x="46523" y="367653"/>
                </a:lnTo>
                <a:lnTo>
                  <a:pt x="30181" y="411699"/>
                </a:lnTo>
                <a:lnTo>
                  <a:pt x="17205" y="457310"/>
                </a:lnTo>
                <a:lnTo>
                  <a:pt x="7748" y="504330"/>
                </a:lnTo>
                <a:lnTo>
                  <a:pt x="1962" y="552605"/>
                </a:lnTo>
                <a:lnTo>
                  <a:pt x="0" y="601980"/>
                </a:lnTo>
                <a:lnTo>
                  <a:pt x="1962" y="651354"/>
                </a:lnTo>
                <a:lnTo>
                  <a:pt x="7748" y="699629"/>
                </a:lnTo>
                <a:lnTo>
                  <a:pt x="17205" y="746649"/>
                </a:lnTo>
                <a:lnTo>
                  <a:pt x="30181" y="792260"/>
                </a:lnTo>
                <a:lnTo>
                  <a:pt x="46523" y="836306"/>
                </a:lnTo>
                <a:lnTo>
                  <a:pt x="66080" y="878634"/>
                </a:lnTo>
                <a:lnTo>
                  <a:pt x="88698" y="919086"/>
                </a:lnTo>
                <a:lnTo>
                  <a:pt x="114226" y="957510"/>
                </a:lnTo>
                <a:lnTo>
                  <a:pt x="142512" y="993750"/>
                </a:lnTo>
                <a:lnTo>
                  <a:pt x="173402" y="1027652"/>
                </a:lnTo>
                <a:lnTo>
                  <a:pt x="206745" y="1059059"/>
                </a:lnTo>
                <a:lnTo>
                  <a:pt x="242389" y="1087819"/>
                </a:lnTo>
                <a:lnTo>
                  <a:pt x="280180" y="1113774"/>
                </a:lnTo>
                <a:lnTo>
                  <a:pt x="319967" y="1136772"/>
                </a:lnTo>
                <a:lnTo>
                  <a:pt x="361598" y="1156656"/>
                </a:lnTo>
                <a:lnTo>
                  <a:pt x="404920" y="1173272"/>
                </a:lnTo>
                <a:lnTo>
                  <a:pt x="449781" y="1186466"/>
                </a:lnTo>
                <a:lnTo>
                  <a:pt x="496028" y="1196081"/>
                </a:lnTo>
                <a:lnTo>
                  <a:pt x="543510" y="1201964"/>
                </a:lnTo>
                <a:lnTo>
                  <a:pt x="592074" y="1203960"/>
                </a:lnTo>
                <a:lnTo>
                  <a:pt x="640637" y="1201964"/>
                </a:lnTo>
                <a:lnTo>
                  <a:pt x="688119" y="1196081"/>
                </a:lnTo>
                <a:lnTo>
                  <a:pt x="734366" y="1186466"/>
                </a:lnTo>
                <a:lnTo>
                  <a:pt x="779227" y="1173272"/>
                </a:lnTo>
                <a:lnTo>
                  <a:pt x="822549" y="1156656"/>
                </a:lnTo>
                <a:lnTo>
                  <a:pt x="864180" y="1136772"/>
                </a:lnTo>
                <a:lnTo>
                  <a:pt x="903967" y="1113774"/>
                </a:lnTo>
                <a:lnTo>
                  <a:pt x="941758" y="1087819"/>
                </a:lnTo>
                <a:lnTo>
                  <a:pt x="977402" y="1059059"/>
                </a:lnTo>
                <a:lnTo>
                  <a:pt x="1010745" y="1027652"/>
                </a:lnTo>
                <a:lnTo>
                  <a:pt x="1041635" y="993750"/>
                </a:lnTo>
                <a:lnTo>
                  <a:pt x="1069921" y="957510"/>
                </a:lnTo>
                <a:lnTo>
                  <a:pt x="1095449" y="919086"/>
                </a:lnTo>
                <a:lnTo>
                  <a:pt x="1118067" y="878634"/>
                </a:lnTo>
                <a:lnTo>
                  <a:pt x="1137624" y="836306"/>
                </a:lnTo>
                <a:lnTo>
                  <a:pt x="1153966" y="792260"/>
                </a:lnTo>
                <a:lnTo>
                  <a:pt x="1166942" y="746649"/>
                </a:lnTo>
                <a:lnTo>
                  <a:pt x="1176399" y="699629"/>
                </a:lnTo>
                <a:lnTo>
                  <a:pt x="1182185" y="651354"/>
                </a:lnTo>
                <a:lnTo>
                  <a:pt x="1184147" y="601980"/>
                </a:lnTo>
                <a:lnTo>
                  <a:pt x="1182185" y="552605"/>
                </a:lnTo>
                <a:lnTo>
                  <a:pt x="1176399" y="504330"/>
                </a:lnTo>
                <a:lnTo>
                  <a:pt x="1166942" y="457310"/>
                </a:lnTo>
                <a:lnTo>
                  <a:pt x="1153966" y="411699"/>
                </a:lnTo>
                <a:lnTo>
                  <a:pt x="1137624" y="367653"/>
                </a:lnTo>
                <a:lnTo>
                  <a:pt x="1118067" y="325325"/>
                </a:lnTo>
                <a:lnTo>
                  <a:pt x="1095449" y="284873"/>
                </a:lnTo>
                <a:lnTo>
                  <a:pt x="1069921" y="246449"/>
                </a:lnTo>
                <a:lnTo>
                  <a:pt x="1041635" y="210209"/>
                </a:lnTo>
                <a:lnTo>
                  <a:pt x="1010745" y="176307"/>
                </a:lnTo>
                <a:lnTo>
                  <a:pt x="977402" y="144900"/>
                </a:lnTo>
                <a:lnTo>
                  <a:pt x="941758" y="116140"/>
                </a:lnTo>
                <a:lnTo>
                  <a:pt x="903967" y="90185"/>
                </a:lnTo>
                <a:lnTo>
                  <a:pt x="864180" y="67187"/>
                </a:lnTo>
                <a:lnTo>
                  <a:pt x="822549" y="47303"/>
                </a:lnTo>
                <a:lnTo>
                  <a:pt x="779227" y="30687"/>
                </a:lnTo>
                <a:lnTo>
                  <a:pt x="734366" y="17493"/>
                </a:lnTo>
                <a:lnTo>
                  <a:pt x="688119" y="7878"/>
                </a:lnTo>
                <a:lnTo>
                  <a:pt x="640637" y="1995"/>
                </a:lnTo>
                <a:lnTo>
                  <a:pt x="592074" y="0"/>
                </a:lnTo>
                <a:close/>
              </a:path>
            </a:pathLst>
          </a:custGeom>
          <a:solidFill>
            <a:srgbClr val="12ABDB"/>
          </a:solidFill>
        </p:spPr>
        <p:txBody>
          <a:bodyPr wrap="square" lIns="0" tIns="0" rIns="0" bIns="0" rtlCol="0"/>
          <a:lstStyle/>
          <a:p>
            <a:endParaRPr/>
          </a:p>
        </p:txBody>
      </p:sp>
      <p:sp>
        <p:nvSpPr>
          <p:cNvPr id="20" name="object 20"/>
          <p:cNvSpPr txBox="1"/>
          <p:nvPr/>
        </p:nvSpPr>
        <p:spPr>
          <a:xfrm>
            <a:off x="9135618" y="2979801"/>
            <a:ext cx="934719" cy="529590"/>
          </a:xfrm>
          <a:prstGeom prst="rect">
            <a:avLst/>
          </a:prstGeom>
        </p:spPr>
        <p:txBody>
          <a:bodyPr vert="horz" wrap="square" lIns="0" tIns="13335" rIns="0" bIns="0" rtlCol="0">
            <a:spAutoFit/>
          </a:bodyPr>
          <a:lstStyle/>
          <a:p>
            <a:pPr marL="12700" marR="5080" indent="-3810" algn="ctr">
              <a:lnSpc>
                <a:spcPct val="100000"/>
              </a:lnSpc>
              <a:spcBef>
                <a:spcPts val="105"/>
              </a:spcBef>
            </a:pPr>
            <a:r>
              <a:rPr sz="1100" spc="-5">
                <a:solidFill>
                  <a:srgbClr val="FFFFFF"/>
                </a:solidFill>
                <a:latin typeface="Verdana"/>
                <a:cs typeface="Verdana"/>
              </a:rPr>
              <a:t>Risk </a:t>
            </a:r>
            <a:r>
              <a:rPr sz="1100">
                <a:solidFill>
                  <a:srgbClr val="FFFFFF"/>
                </a:solidFill>
                <a:latin typeface="Verdana"/>
                <a:cs typeface="Verdana"/>
              </a:rPr>
              <a:t>&amp;  </a:t>
            </a:r>
            <a:r>
              <a:rPr sz="1100" spc="-5">
                <a:solidFill>
                  <a:srgbClr val="FFFFFF"/>
                </a:solidFill>
                <a:latin typeface="Verdana"/>
                <a:cs typeface="Verdana"/>
              </a:rPr>
              <a:t>Quality  </a:t>
            </a:r>
            <a:r>
              <a:rPr sz="1100">
                <a:solidFill>
                  <a:srgbClr val="FFFFFF"/>
                </a:solidFill>
                <a:latin typeface="Verdana"/>
                <a:cs typeface="Verdana"/>
              </a:rPr>
              <a:t>Ma</a:t>
            </a:r>
            <a:r>
              <a:rPr sz="1100" spc="-10">
                <a:solidFill>
                  <a:srgbClr val="FFFFFF"/>
                </a:solidFill>
                <a:latin typeface="Verdana"/>
                <a:cs typeface="Verdana"/>
              </a:rPr>
              <a:t>n</a:t>
            </a:r>
            <a:r>
              <a:rPr sz="1100" spc="-5">
                <a:solidFill>
                  <a:srgbClr val="FFFFFF"/>
                </a:solidFill>
                <a:latin typeface="Verdana"/>
                <a:cs typeface="Verdana"/>
              </a:rPr>
              <a:t>a</a:t>
            </a:r>
            <a:r>
              <a:rPr sz="1100" spc="-10">
                <a:solidFill>
                  <a:srgbClr val="FFFFFF"/>
                </a:solidFill>
                <a:latin typeface="Verdana"/>
                <a:cs typeface="Verdana"/>
              </a:rPr>
              <a:t>g</a:t>
            </a:r>
            <a:r>
              <a:rPr sz="1100">
                <a:solidFill>
                  <a:srgbClr val="FFFFFF"/>
                </a:solidFill>
                <a:latin typeface="Verdana"/>
                <a:cs typeface="Verdana"/>
              </a:rPr>
              <a:t>e</a:t>
            </a:r>
            <a:r>
              <a:rPr sz="1100" spc="-5">
                <a:solidFill>
                  <a:srgbClr val="FFFFFF"/>
                </a:solidFill>
                <a:latin typeface="Verdana"/>
                <a:cs typeface="Verdana"/>
              </a:rPr>
              <a:t>m</a:t>
            </a:r>
            <a:r>
              <a:rPr sz="1100">
                <a:solidFill>
                  <a:srgbClr val="FFFFFF"/>
                </a:solidFill>
                <a:latin typeface="Verdana"/>
                <a:cs typeface="Verdana"/>
              </a:rPr>
              <a:t>e</a:t>
            </a:r>
            <a:r>
              <a:rPr sz="1100" spc="-5">
                <a:solidFill>
                  <a:srgbClr val="FFFFFF"/>
                </a:solidFill>
                <a:latin typeface="Verdana"/>
                <a:cs typeface="Verdana"/>
              </a:rPr>
              <a:t>n</a:t>
            </a:r>
            <a:r>
              <a:rPr sz="1100">
                <a:solidFill>
                  <a:srgbClr val="FFFFFF"/>
                </a:solidFill>
                <a:latin typeface="Verdana"/>
                <a:cs typeface="Verdana"/>
              </a:rPr>
              <a:t>t</a:t>
            </a:r>
            <a:endParaRPr sz="1100">
              <a:latin typeface="Verdana"/>
              <a:cs typeface="Verdana"/>
            </a:endParaRPr>
          </a:p>
        </p:txBody>
      </p:sp>
      <p:sp>
        <p:nvSpPr>
          <p:cNvPr id="21" name="object 21"/>
          <p:cNvSpPr/>
          <p:nvPr/>
        </p:nvSpPr>
        <p:spPr>
          <a:xfrm>
            <a:off x="227075" y="4149471"/>
            <a:ext cx="3811904" cy="2315845"/>
          </a:xfrm>
          <a:custGeom>
            <a:avLst/>
            <a:gdLst/>
            <a:ahLst/>
            <a:cxnLst/>
            <a:rect l="l" t="t" r="r" b="b"/>
            <a:pathLst>
              <a:path w="3811904" h="2315845">
                <a:moveTo>
                  <a:pt x="3811524" y="428624"/>
                </a:moveTo>
                <a:lnTo>
                  <a:pt x="0" y="428624"/>
                </a:lnTo>
                <a:lnTo>
                  <a:pt x="0" y="2315336"/>
                </a:lnTo>
                <a:lnTo>
                  <a:pt x="3811524" y="2315336"/>
                </a:lnTo>
                <a:lnTo>
                  <a:pt x="3811524" y="428624"/>
                </a:lnTo>
                <a:close/>
              </a:path>
              <a:path w="3811904" h="2315845">
                <a:moveTo>
                  <a:pt x="1565656" y="0"/>
                </a:moveTo>
                <a:lnTo>
                  <a:pt x="635254" y="428624"/>
                </a:lnTo>
                <a:lnTo>
                  <a:pt x="1588135" y="428624"/>
                </a:lnTo>
                <a:lnTo>
                  <a:pt x="1565656" y="0"/>
                </a:lnTo>
                <a:close/>
              </a:path>
            </a:pathLst>
          </a:custGeom>
          <a:solidFill>
            <a:srgbClr val="EBEBEB"/>
          </a:solidFill>
        </p:spPr>
        <p:txBody>
          <a:bodyPr wrap="square" lIns="0" tIns="0" rIns="0" bIns="0" rtlCol="0"/>
          <a:lstStyle/>
          <a:p>
            <a:endParaRPr/>
          </a:p>
        </p:txBody>
      </p:sp>
      <p:sp>
        <p:nvSpPr>
          <p:cNvPr id="22" name="object 22"/>
          <p:cNvSpPr txBox="1"/>
          <p:nvPr/>
        </p:nvSpPr>
        <p:spPr>
          <a:xfrm>
            <a:off x="261010" y="4696714"/>
            <a:ext cx="3639185" cy="1650364"/>
          </a:xfrm>
          <a:prstGeom prst="rect">
            <a:avLst/>
          </a:prstGeom>
        </p:spPr>
        <p:txBody>
          <a:bodyPr vert="horz" wrap="square" lIns="0" tIns="12065" rIns="0" bIns="0" rtlCol="0">
            <a:spAutoFit/>
          </a:bodyPr>
          <a:lstStyle/>
          <a:p>
            <a:pPr marL="182880" marR="57150" indent="-170815">
              <a:lnSpc>
                <a:spcPct val="100000"/>
              </a:lnSpc>
              <a:spcBef>
                <a:spcPts val="95"/>
              </a:spcBef>
              <a:buClr>
                <a:srgbClr val="006FAC"/>
              </a:buClr>
              <a:buFont typeface="Wingdings"/>
              <a:buChar char=""/>
              <a:tabLst>
                <a:tab pos="183515" algn="l"/>
              </a:tabLst>
            </a:pPr>
            <a:r>
              <a:rPr sz="1000">
                <a:latin typeface="Verdana"/>
                <a:cs typeface="Verdana"/>
              </a:rPr>
              <a:t>Plan </a:t>
            </a:r>
            <a:r>
              <a:rPr sz="1000" spc="-5">
                <a:latin typeface="Verdana"/>
                <a:cs typeface="Verdana"/>
              </a:rPr>
              <a:t>and coordinate </a:t>
            </a:r>
            <a:r>
              <a:rPr sz="1000">
                <a:latin typeface="Verdana"/>
                <a:cs typeface="Verdana"/>
              </a:rPr>
              <a:t>activities within </a:t>
            </a:r>
            <a:r>
              <a:rPr sz="1000" spc="-5">
                <a:latin typeface="Verdana"/>
                <a:cs typeface="Verdana"/>
              </a:rPr>
              <a:t>and across </a:t>
            </a:r>
            <a:r>
              <a:rPr sz="1000">
                <a:latin typeface="Verdana"/>
                <a:cs typeface="Verdana"/>
              </a:rPr>
              <a:t>agile  </a:t>
            </a:r>
            <a:r>
              <a:rPr sz="1000" spc="-5">
                <a:latin typeface="Verdana"/>
                <a:cs typeface="Verdana"/>
              </a:rPr>
              <a:t>project teams </a:t>
            </a:r>
            <a:r>
              <a:rPr sz="1000">
                <a:latin typeface="Verdana"/>
                <a:cs typeface="Verdana"/>
              </a:rPr>
              <a:t>in </a:t>
            </a:r>
            <a:r>
              <a:rPr sz="1000" spc="-5">
                <a:latin typeface="Verdana"/>
                <a:cs typeface="Verdana"/>
              </a:rPr>
              <a:t>Italy, </a:t>
            </a:r>
            <a:r>
              <a:rPr sz="1000">
                <a:latin typeface="Verdana"/>
                <a:cs typeface="Verdana"/>
              </a:rPr>
              <a:t>Spain, </a:t>
            </a:r>
            <a:r>
              <a:rPr sz="1000" spc="-5">
                <a:latin typeface="Verdana"/>
                <a:cs typeface="Verdana"/>
              </a:rPr>
              <a:t>India and Local  Countries</a:t>
            </a:r>
            <a:endParaRPr sz="1000">
              <a:latin typeface="Verdana"/>
              <a:cs typeface="Verdana"/>
            </a:endParaRPr>
          </a:p>
          <a:p>
            <a:pPr marL="182880" indent="-170815">
              <a:lnSpc>
                <a:spcPct val="100000"/>
              </a:lnSpc>
              <a:spcBef>
                <a:spcPts val="195"/>
              </a:spcBef>
              <a:buClr>
                <a:srgbClr val="006FAC"/>
              </a:buClr>
              <a:buFont typeface="Wingdings"/>
              <a:buChar char=""/>
              <a:tabLst>
                <a:tab pos="183515" algn="l"/>
              </a:tabLst>
            </a:pPr>
            <a:r>
              <a:rPr sz="1000" spc="-5">
                <a:latin typeface="Verdana"/>
                <a:cs typeface="Verdana"/>
              </a:rPr>
              <a:t>Establish project/program</a:t>
            </a:r>
            <a:r>
              <a:rPr sz="1000" spc="65">
                <a:latin typeface="Verdana"/>
                <a:cs typeface="Verdana"/>
              </a:rPr>
              <a:t> </a:t>
            </a:r>
            <a:r>
              <a:rPr sz="1000" spc="-5">
                <a:latin typeface="Verdana"/>
                <a:cs typeface="Verdana"/>
              </a:rPr>
              <a:t>milestones</a:t>
            </a:r>
            <a:endParaRPr sz="1000">
              <a:latin typeface="Verdana"/>
              <a:cs typeface="Verdana"/>
            </a:endParaRPr>
          </a:p>
          <a:p>
            <a:pPr marL="182880" indent="-170815">
              <a:lnSpc>
                <a:spcPct val="100000"/>
              </a:lnSpc>
              <a:spcBef>
                <a:spcPts val="204"/>
              </a:spcBef>
              <a:buClr>
                <a:srgbClr val="006FAC"/>
              </a:buClr>
              <a:buFont typeface="Wingdings"/>
              <a:buChar char=""/>
              <a:tabLst>
                <a:tab pos="183515" algn="l"/>
              </a:tabLst>
            </a:pPr>
            <a:r>
              <a:rPr sz="1000" spc="-5">
                <a:latin typeface="Verdana"/>
                <a:cs typeface="Verdana"/>
              </a:rPr>
              <a:t>Identify potential inter-team</a:t>
            </a:r>
            <a:r>
              <a:rPr sz="1000" spc="65">
                <a:latin typeface="Verdana"/>
                <a:cs typeface="Verdana"/>
              </a:rPr>
              <a:t> </a:t>
            </a:r>
            <a:r>
              <a:rPr sz="1000" spc="-5">
                <a:latin typeface="Verdana"/>
                <a:cs typeface="Verdana"/>
              </a:rPr>
              <a:t>dependencies</a:t>
            </a:r>
            <a:endParaRPr sz="1000">
              <a:latin typeface="Verdana"/>
              <a:cs typeface="Verdana"/>
            </a:endParaRPr>
          </a:p>
          <a:p>
            <a:pPr marL="182880" marR="5080" indent="-170815">
              <a:lnSpc>
                <a:spcPct val="100000"/>
              </a:lnSpc>
              <a:spcBef>
                <a:spcPts val="200"/>
              </a:spcBef>
              <a:buClr>
                <a:srgbClr val="006FAC"/>
              </a:buClr>
              <a:buFont typeface="Wingdings"/>
              <a:buChar char=""/>
              <a:tabLst>
                <a:tab pos="183515" algn="l"/>
              </a:tabLst>
            </a:pPr>
            <a:r>
              <a:rPr sz="1000" spc="-5">
                <a:latin typeface="Verdana"/>
                <a:cs typeface="Verdana"/>
              </a:rPr>
              <a:t>Assist </a:t>
            </a:r>
            <a:r>
              <a:rPr sz="1000">
                <a:latin typeface="Verdana"/>
                <a:cs typeface="Verdana"/>
              </a:rPr>
              <a:t>in </a:t>
            </a:r>
            <a:r>
              <a:rPr sz="1000" spc="-5">
                <a:latin typeface="Verdana"/>
                <a:cs typeface="Verdana"/>
              </a:rPr>
              <a:t>the deployment of the </a:t>
            </a:r>
            <a:r>
              <a:rPr sz="1000">
                <a:latin typeface="Verdana"/>
                <a:cs typeface="Verdana"/>
              </a:rPr>
              <a:t>right </a:t>
            </a:r>
            <a:r>
              <a:rPr sz="1000" spc="-5">
                <a:latin typeface="Verdana"/>
                <a:cs typeface="Verdana"/>
              </a:rPr>
              <a:t>Salesforce  subject matter experts resources to the </a:t>
            </a:r>
            <a:r>
              <a:rPr sz="1000">
                <a:latin typeface="Verdana"/>
                <a:cs typeface="Verdana"/>
              </a:rPr>
              <a:t>right place </a:t>
            </a:r>
            <a:r>
              <a:rPr sz="1000" spc="-5">
                <a:latin typeface="Verdana"/>
                <a:cs typeface="Verdana"/>
              </a:rPr>
              <a:t>at  the </a:t>
            </a:r>
            <a:r>
              <a:rPr sz="1000">
                <a:latin typeface="Verdana"/>
                <a:cs typeface="Verdana"/>
              </a:rPr>
              <a:t>right</a:t>
            </a:r>
            <a:r>
              <a:rPr sz="1000" spc="10">
                <a:latin typeface="Verdana"/>
                <a:cs typeface="Verdana"/>
              </a:rPr>
              <a:t> </a:t>
            </a:r>
            <a:r>
              <a:rPr sz="1000">
                <a:latin typeface="Verdana"/>
                <a:cs typeface="Verdana"/>
              </a:rPr>
              <a:t>time</a:t>
            </a:r>
          </a:p>
          <a:p>
            <a:pPr marL="182880" marR="80645" indent="-170815">
              <a:lnSpc>
                <a:spcPct val="100000"/>
              </a:lnSpc>
              <a:spcBef>
                <a:spcPts val="195"/>
              </a:spcBef>
              <a:buClr>
                <a:srgbClr val="006FAC"/>
              </a:buClr>
              <a:buFont typeface="Wingdings"/>
              <a:buChar char=""/>
              <a:tabLst>
                <a:tab pos="183515" algn="l"/>
              </a:tabLst>
            </a:pPr>
            <a:r>
              <a:rPr sz="1000" spc="-5">
                <a:latin typeface="Verdana"/>
                <a:cs typeface="Verdana"/>
              </a:rPr>
              <a:t>We </a:t>
            </a:r>
            <a:r>
              <a:rPr sz="1000">
                <a:latin typeface="Verdana"/>
                <a:cs typeface="Verdana"/>
              </a:rPr>
              <a:t>will </a:t>
            </a:r>
            <a:r>
              <a:rPr sz="1000" spc="-5">
                <a:latin typeface="Verdana"/>
                <a:cs typeface="Verdana"/>
              </a:rPr>
              <a:t>assess resource </a:t>
            </a:r>
            <a:r>
              <a:rPr sz="1000">
                <a:latin typeface="Verdana"/>
                <a:cs typeface="Verdana"/>
              </a:rPr>
              <a:t>availability, location,  </a:t>
            </a:r>
            <a:r>
              <a:rPr sz="1000" spc="-5">
                <a:latin typeface="Verdana"/>
                <a:cs typeface="Verdana"/>
              </a:rPr>
              <a:t>competencies, and constraints on a day to day</a:t>
            </a:r>
            <a:r>
              <a:rPr sz="1000" spc="140">
                <a:latin typeface="Verdana"/>
                <a:cs typeface="Verdana"/>
              </a:rPr>
              <a:t> </a:t>
            </a:r>
            <a:r>
              <a:rPr sz="1000">
                <a:latin typeface="Verdana"/>
                <a:cs typeface="Verdana"/>
              </a:rPr>
              <a:t>basis</a:t>
            </a:r>
          </a:p>
        </p:txBody>
      </p:sp>
      <p:sp>
        <p:nvSpPr>
          <p:cNvPr id="23" name="object 23"/>
          <p:cNvSpPr/>
          <p:nvPr/>
        </p:nvSpPr>
        <p:spPr>
          <a:xfrm>
            <a:off x="8080247" y="4226559"/>
            <a:ext cx="3836035" cy="2238375"/>
          </a:xfrm>
          <a:custGeom>
            <a:avLst/>
            <a:gdLst/>
            <a:ahLst/>
            <a:cxnLst/>
            <a:rect l="l" t="t" r="r" b="b"/>
            <a:pathLst>
              <a:path w="3836034" h="2238375">
                <a:moveTo>
                  <a:pt x="3835907" y="351535"/>
                </a:moveTo>
                <a:lnTo>
                  <a:pt x="0" y="351535"/>
                </a:lnTo>
                <a:lnTo>
                  <a:pt x="0" y="2238247"/>
                </a:lnTo>
                <a:lnTo>
                  <a:pt x="3835907" y="2238247"/>
                </a:lnTo>
                <a:lnTo>
                  <a:pt x="3835907" y="351535"/>
                </a:lnTo>
                <a:close/>
              </a:path>
              <a:path w="3836034" h="2238375">
                <a:moveTo>
                  <a:pt x="476123" y="0"/>
                </a:moveTo>
                <a:lnTo>
                  <a:pt x="639318" y="351535"/>
                </a:lnTo>
                <a:lnTo>
                  <a:pt x="1598295" y="351535"/>
                </a:lnTo>
                <a:lnTo>
                  <a:pt x="476123" y="0"/>
                </a:lnTo>
                <a:close/>
              </a:path>
            </a:pathLst>
          </a:custGeom>
          <a:solidFill>
            <a:srgbClr val="EBEBEB"/>
          </a:solidFill>
        </p:spPr>
        <p:txBody>
          <a:bodyPr wrap="square" lIns="0" tIns="0" rIns="0" bIns="0" rtlCol="0"/>
          <a:lstStyle/>
          <a:p>
            <a:endParaRPr/>
          </a:p>
        </p:txBody>
      </p:sp>
      <p:sp>
        <p:nvSpPr>
          <p:cNvPr id="24" name="object 24"/>
          <p:cNvSpPr txBox="1"/>
          <p:nvPr/>
        </p:nvSpPr>
        <p:spPr>
          <a:xfrm>
            <a:off x="8113903" y="4785740"/>
            <a:ext cx="3732529" cy="1473200"/>
          </a:xfrm>
          <a:prstGeom prst="rect">
            <a:avLst/>
          </a:prstGeom>
        </p:spPr>
        <p:txBody>
          <a:bodyPr vert="horz" wrap="square" lIns="0" tIns="12065" rIns="0" bIns="0" rtlCol="0">
            <a:spAutoFit/>
          </a:bodyPr>
          <a:lstStyle/>
          <a:p>
            <a:pPr marL="182880" marR="5080" indent="-170815" algn="just">
              <a:lnSpc>
                <a:spcPct val="100000"/>
              </a:lnSpc>
              <a:spcBef>
                <a:spcPts val="95"/>
              </a:spcBef>
              <a:buClr>
                <a:srgbClr val="006FAC"/>
              </a:buClr>
              <a:buFont typeface="Wingdings"/>
              <a:buChar char=""/>
              <a:tabLst>
                <a:tab pos="183515" algn="l"/>
              </a:tabLst>
            </a:pPr>
            <a:r>
              <a:rPr sz="1000" spc="-10">
                <a:latin typeface="Verdana"/>
                <a:cs typeface="Verdana"/>
              </a:rPr>
              <a:t>Track </a:t>
            </a:r>
            <a:r>
              <a:rPr sz="1000" spc="-5">
                <a:latin typeface="Verdana"/>
                <a:cs typeface="Verdana"/>
              </a:rPr>
              <a:t>and </a:t>
            </a:r>
            <a:r>
              <a:rPr sz="1000" spc="-10">
                <a:latin typeface="Verdana"/>
                <a:cs typeface="Verdana"/>
              </a:rPr>
              <a:t>report </a:t>
            </a:r>
            <a:r>
              <a:rPr sz="1000" spc="-5">
                <a:latin typeface="Verdana"/>
                <a:cs typeface="Verdana"/>
              </a:rPr>
              <a:t>project </a:t>
            </a:r>
            <a:r>
              <a:rPr sz="1000" spc="-10">
                <a:latin typeface="Verdana"/>
                <a:cs typeface="Verdana"/>
              </a:rPr>
              <a:t>progress </a:t>
            </a:r>
            <a:r>
              <a:rPr sz="1000" spc="-5">
                <a:latin typeface="Verdana"/>
                <a:cs typeface="Verdana"/>
              </a:rPr>
              <a:t>to Capgemini project  </a:t>
            </a:r>
            <a:r>
              <a:rPr sz="1000" spc="-10">
                <a:latin typeface="Verdana"/>
                <a:cs typeface="Verdana"/>
              </a:rPr>
              <a:t>team </a:t>
            </a:r>
            <a:r>
              <a:rPr sz="1000" spc="-5">
                <a:latin typeface="Verdana"/>
                <a:cs typeface="Verdana"/>
              </a:rPr>
              <a:t>and Marelli</a:t>
            </a:r>
            <a:r>
              <a:rPr sz="1000" spc="15">
                <a:latin typeface="Verdana"/>
                <a:cs typeface="Verdana"/>
              </a:rPr>
              <a:t> </a:t>
            </a:r>
            <a:r>
              <a:rPr sz="1000" spc="-5">
                <a:latin typeface="Verdana"/>
                <a:cs typeface="Verdana"/>
              </a:rPr>
              <a:t>sponsors</a:t>
            </a:r>
            <a:endParaRPr sz="1000">
              <a:latin typeface="Verdana"/>
              <a:cs typeface="Verdana"/>
            </a:endParaRPr>
          </a:p>
          <a:p>
            <a:pPr marL="182880" marR="285115" indent="-170815" algn="just">
              <a:lnSpc>
                <a:spcPct val="100000"/>
              </a:lnSpc>
              <a:spcBef>
                <a:spcPts val="190"/>
              </a:spcBef>
              <a:buClr>
                <a:srgbClr val="006FAC"/>
              </a:buClr>
              <a:buFont typeface="Wingdings"/>
              <a:buChar char=""/>
              <a:tabLst>
                <a:tab pos="183515" algn="l"/>
              </a:tabLst>
            </a:pPr>
            <a:r>
              <a:rPr sz="1000" spc="-5">
                <a:latin typeface="Verdana"/>
                <a:cs typeface="Verdana"/>
              </a:rPr>
              <a:t>Implement corrective strategies to address project  issues related to solution package </a:t>
            </a:r>
            <a:r>
              <a:rPr sz="1000">
                <a:latin typeface="Verdana"/>
                <a:cs typeface="Verdana"/>
              </a:rPr>
              <a:t>installation/user  manuals</a:t>
            </a:r>
          </a:p>
          <a:p>
            <a:pPr marL="182880" marR="746760" indent="-170815">
              <a:lnSpc>
                <a:spcPct val="100000"/>
              </a:lnSpc>
              <a:spcBef>
                <a:spcPts val="209"/>
              </a:spcBef>
              <a:buClr>
                <a:srgbClr val="006FAC"/>
              </a:buClr>
              <a:buFont typeface="Wingdings"/>
              <a:buChar char=""/>
              <a:tabLst>
                <a:tab pos="183515" algn="l"/>
              </a:tabLst>
            </a:pPr>
            <a:r>
              <a:rPr sz="1000" spc="-5">
                <a:latin typeface="Verdana"/>
                <a:cs typeface="Verdana"/>
              </a:rPr>
              <a:t>Manage the issues related solution package  implementation</a:t>
            </a:r>
            <a:endParaRPr sz="1000">
              <a:latin typeface="Verdana"/>
              <a:cs typeface="Verdana"/>
            </a:endParaRPr>
          </a:p>
          <a:p>
            <a:pPr marL="182880" marR="48895" indent="-170815">
              <a:lnSpc>
                <a:spcPct val="100000"/>
              </a:lnSpc>
              <a:spcBef>
                <a:spcPts val="200"/>
              </a:spcBef>
              <a:buClr>
                <a:srgbClr val="006FAC"/>
              </a:buClr>
              <a:buFont typeface="Wingdings"/>
              <a:buChar char=""/>
              <a:tabLst>
                <a:tab pos="183515" algn="l"/>
              </a:tabLst>
            </a:pPr>
            <a:r>
              <a:rPr sz="1000" spc="-5">
                <a:latin typeface="Verdana"/>
                <a:cs typeface="Verdana"/>
              </a:rPr>
              <a:t>Manage relationships </a:t>
            </a:r>
            <a:r>
              <a:rPr sz="1000">
                <a:latin typeface="Verdana"/>
                <a:cs typeface="Verdana"/>
              </a:rPr>
              <a:t>with </a:t>
            </a:r>
            <a:r>
              <a:rPr sz="1000" spc="-5">
                <a:latin typeface="Verdana"/>
                <a:cs typeface="Verdana"/>
              </a:rPr>
              <a:t>Marelli </a:t>
            </a:r>
            <a:r>
              <a:rPr sz="1000" spc="-10">
                <a:latin typeface="Verdana"/>
                <a:cs typeface="Verdana"/>
              </a:rPr>
              <a:t>Project </a:t>
            </a:r>
            <a:r>
              <a:rPr sz="1000" spc="-5">
                <a:latin typeface="Verdana"/>
                <a:cs typeface="Verdana"/>
              </a:rPr>
              <a:t>Stakeholders  as </a:t>
            </a:r>
            <a:r>
              <a:rPr sz="1000" spc="-10">
                <a:latin typeface="Verdana"/>
                <a:cs typeface="Verdana"/>
              </a:rPr>
              <a:t>per </a:t>
            </a:r>
            <a:r>
              <a:rPr sz="1000" spc="-5">
                <a:latin typeface="Verdana"/>
                <a:cs typeface="Verdana"/>
              </a:rPr>
              <a:t>the Governance</a:t>
            </a:r>
            <a:r>
              <a:rPr sz="1000" spc="75">
                <a:latin typeface="Verdana"/>
                <a:cs typeface="Verdana"/>
              </a:rPr>
              <a:t> </a:t>
            </a:r>
            <a:r>
              <a:rPr sz="1000">
                <a:latin typeface="Verdana"/>
                <a:cs typeface="Verdana"/>
              </a:rPr>
              <a:t>Plan</a:t>
            </a:r>
          </a:p>
        </p:txBody>
      </p:sp>
      <p:sp>
        <p:nvSpPr>
          <p:cNvPr id="25" name="object 25"/>
          <p:cNvSpPr/>
          <p:nvPr/>
        </p:nvSpPr>
        <p:spPr>
          <a:xfrm>
            <a:off x="4204715" y="4341748"/>
            <a:ext cx="3642360" cy="2123440"/>
          </a:xfrm>
          <a:custGeom>
            <a:avLst/>
            <a:gdLst/>
            <a:ahLst/>
            <a:cxnLst/>
            <a:rect l="l" t="t" r="r" b="b"/>
            <a:pathLst>
              <a:path w="3642359" h="2123440">
                <a:moveTo>
                  <a:pt x="3642360" y="236346"/>
                </a:moveTo>
                <a:lnTo>
                  <a:pt x="0" y="236346"/>
                </a:lnTo>
                <a:lnTo>
                  <a:pt x="0" y="2123059"/>
                </a:lnTo>
                <a:lnTo>
                  <a:pt x="3642360" y="2123059"/>
                </a:lnTo>
                <a:lnTo>
                  <a:pt x="3642360" y="236346"/>
                </a:lnTo>
                <a:close/>
              </a:path>
              <a:path w="3642359" h="2123440">
                <a:moveTo>
                  <a:pt x="1017397" y="0"/>
                </a:moveTo>
                <a:lnTo>
                  <a:pt x="607060" y="236346"/>
                </a:lnTo>
                <a:lnTo>
                  <a:pt x="1517650" y="236346"/>
                </a:lnTo>
                <a:lnTo>
                  <a:pt x="1017397" y="0"/>
                </a:lnTo>
                <a:close/>
              </a:path>
            </a:pathLst>
          </a:custGeom>
          <a:solidFill>
            <a:srgbClr val="EBEBEB"/>
          </a:solidFill>
        </p:spPr>
        <p:txBody>
          <a:bodyPr wrap="square" lIns="0" tIns="0" rIns="0" bIns="0" rtlCol="0"/>
          <a:lstStyle/>
          <a:p>
            <a:endParaRPr/>
          </a:p>
        </p:txBody>
      </p:sp>
      <p:sp>
        <p:nvSpPr>
          <p:cNvPr id="26" name="object 26"/>
          <p:cNvSpPr txBox="1"/>
          <p:nvPr/>
        </p:nvSpPr>
        <p:spPr>
          <a:xfrm>
            <a:off x="4239005" y="4633340"/>
            <a:ext cx="3395979" cy="1778000"/>
          </a:xfrm>
          <a:prstGeom prst="rect">
            <a:avLst/>
          </a:prstGeom>
        </p:spPr>
        <p:txBody>
          <a:bodyPr vert="horz" wrap="square" lIns="0" tIns="12065" rIns="0" bIns="0" rtlCol="0">
            <a:spAutoFit/>
          </a:bodyPr>
          <a:lstStyle/>
          <a:p>
            <a:pPr marL="182880" marR="161925" indent="-170815">
              <a:lnSpc>
                <a:spcPct val="100000"/>
              </a:lnSpc>
              <a:spcBef>
                <a:spcPts val="95"/>
              </a:spcBef>
              <a:buClr>
                <a:srgbClr val="006FAC"/>
              </a:buClr>
              <a:buFont typeface="Wingdings"/>
              <a:buChar char=""/>
              <a:tabLst>
                <a:tab pos="183515" algn="l"/>
              </a:tabLst>
            </a:pPr>
            <a:r>
              <a:rPr sz="1000" spc="-5">
                <a:latin typeface="Verdana"/>
                <a:cs typeface="Verdana"/>
              </a:rPr>
              <a:t>Establish a program/project communications  strategy to </a:t>
            </a:r>
            <a:r>
              <a:rPr sz="1000">
                <a:latin typeface="Verdana"/>
                <a:cs typeface="Verdana"/>
              </a:rPr>
              <a:t>facilitate </a:t>
            </a:r>
            <a:r>
              <a:rPr sz="1000" spc="-5">
                <a:latin typeface="Verdana"/>
                <a:cs typeface="Verdana"/>
              </a:rPr>
              <a:t>coordination of day-to-day  project </a:t>
            </a:r>
            <a:r>
              <a:rPr sz="1000">
                <a:latin typeface="Verdana"/>
                <a:cs typeface="Verdana"/>
              </a:rPr>
              <a:t>activities with </a:t>
            </a:r>
            <a:r>
              <a:rPr sz="1000" spc="-5">
                <a:latin typeface="Verdana"/>
                <a:cs typeface="Verdana"/>
              </a:rPr>
              <a:t>Marelli</a:t>
            </a:r>
            <a:r>
              <a:rPr sz="1000" spc="-10">
                <a:latin typeface="Verdana"/>
                <a:cs typeface="Verdana"/>
              </a:rPr>
              <a:t> </a:t>
            </a:r>
            <a:r>
              <a:rPr sz="1000" spc="-5">
                <a:latin typeface="Verdana"/>
                <a:cs typeface="Verdana"/>
              </a:rPr>
              <a:t>stakeholders</a:t>
            </a:r>
            <a:endParaRPr sz="1000">
              <a:latin typeface="Verdana"/>
              <a:cs typeface="Verdana"/>
            </a:endParaRPr>
          </a:p>
          <a:p>
            <a:pPr marL="182880" marR="53975" indent="-170815">
              <a:lnSpc>
                <a:spcPct val="100000"/>
              </a:lnSpc>
              <a:spcBef>
                <a:spcPts val="190"/>
              </a:spcBef>
              <a:buClr>
                <a:srgbClr val="006FAC"/>
              </a:buClr>
              <a:buFont typeface="Wingdings"/>
              <a:buChar char=""/>
              <a:tabLst>
                <a:tab pos="183515" algn="l"/>
              </a:tabLst>
            </a:pPr>
            <a:r>
              <a:rPr sz="1000" spc="-5">
                <a:latin typeface="Verdana"/>
                <a:cs typeface="Verdana"/>
              </a:rPr>
              <a:t>Identify the change management success factors  and support the Change Management </a:t>
            </a:r>
            <a:r>
              <a:rPr sz="1000" spc="-10">
                <a:latin typeface="Verdana"/>
                <a:cs typeface="Verdana"/>
              </a:rPr>
              <a:t>team </a:t>
            </a:r>
            <a:r>
              <a:rPr sz="1000" spc="-5">
                <a:latin typeface="Verdana"/>
                <a:cs typeface="Verdana"/>
              </a:rPr>
              <a:t>to  address the resistance to</a:t>
            </a:r>
            <a:r>
              <a:rPr sz="1000" spc="85">
                <a:latin typeface="Verdana"/>
                <a:cs typeface="Verdana"/>
              </a:rPr>
              <a:t> </a:t>
            </a:r>
            <a:r>
              <a:rPr sz="1000" spc="-5">
                <a:latin typeface="Verdana"/>
                <a:cs typeface="Verdana"/>
              </a:rPr>
              <a:t>change</a:t>
            </a:r>
            <a:endParaRPr sz="1000">
              <a:latin typeface="Verdana"/>
              <a:cs typeface="Verdana"/>
            </a:endParaRPr>
          </a:p>
          <a:p>
            <a:pPr marL="182880" marR="5080" indent="-170815">
              <a:lnSpc>
                <a:spcPct val="100000"/>
              </a:lnSpc>
              <a:spcBef>
                <a:spcPts val="209"/>
              </a:spcBef>
              <a:buClr>
                <a:srgbClr val="006FAC"/>
              </a:buClr>
              <a:buFont typeface="Wingdings"/>
              <a:buChar char=""/>
              <a:tabLst>
                <a:tab pos="183515" algn="l"/>
              </a:tabLst>
            </a:pPr>
            <a:r>
              <a:rPr sz="1000">
                <a:latin typeface="Verdana"/>
                <a:cs typeface="Verdana"/>
              </a:rPr>
              <a:t>Utilize </a:t>
            </a:r>
            <a:r>
              <a:rPr sz="1000" spc="-5">
                <a:latin typeface="Verdana"/>
                <a:cs typeface="Verdana"/>
              </a:rPr>
              <a:t>communication channels to promote </a:t>
            </a:r>
            <a:r>
              <a:rPr sz="1000">
                <a:latin typeface="Verdana"/>
                <a:cs typeface="Verdana"/>
              </a:rPr>
              <a:t>active  </a:t>
            </a:r>
            <a:r>
              <a:rPr sz="1000" spc="-5">
                <a:latin typeface="Verdana"/>
                <a:cs typeface="Verdana"/>
              </a:rPr>
              <a:t>and </a:t>
            </a:r>
            <a:r>
              <a:rPr sz="1000">
                <a:latin typeface="Verdana"/>
                <a:cs typeface="Verdana"/>
              </a:rPr>
              <a:t>visible </a:t>
            </a:r>
            <a:r>
              <a:rPr sz="1000" spc="-5">
                <a:latin typeface="Verdana"/>
                <a:cs typeface="Verdana"/>
              </a:rPr>
              <a:t>project</a:t>
            </a:r>
            <a:r>
              <a:rPr sz="1000" spc="15">
                <a:latin typeface="Verdana"/>
                <a:cs typeface="Verdana"/>
              </a:rPr>
              <a:t> </a:t>
            </a:r>
            <a:r>
              <a:rPr sz="1000" spc="-5">
                <a:latin typeface="Verdana"/>
                <a:cs typeface="Verdana"/>
              </a:rPr>
              <a:t>sponsorship</a:t>
            </a:r>
            <a:endParaRPr sz="1000">
              <a:latin typeface="Verdana"/>
              <a:cs typeface="Verdana"/>
            </a:endParaRPr>
          </a:p>
          <a:p>
            <a:pPr marL="182880" marR="545465" indent="-170815" algn="just">
              <a:lnSpc>
                <a:spcPct val="100000"/>
              </a:lnSpc>
              <a:spcBef>
                <a:spcPts val="200"/>
              </a:spcBef>
              <a:buClr>
                <a:srgbClr val="006FAC"/>
              </a:buClr>
              <a:buFont typeface="Wingdings"/>
              <a:buChar char=""/>
              <a:tabLst>
                <a:tab pos="183515" algn="l"/>
              </a:tabLst>
            </a:pPr>
            <a:r>
              <a:rPr sz="1000" spc="-5">
                <a:latin typeface="Verdana"/>
                <a:cs typeface="Verdana"/>
              </a:rPr>
              <a:t>Document the best practices </a:t>
            </a:r>
            <a:r>
              <a:rPr sz="1000">
                <a:latin typeface="Verdana"/>
                <a:cs typeface="Verdana"/>
              </a:rPr>
              <a:t>in </a:t>
            </a:r>
            <a:r>
              <a:rPr sz="1000" spc="-5">
                <a:latin typeface="Verdana"/>
                <a:cs typeface="Verdana"/>
              </a:rPr>
              <a:t>database  operations, best solution designs, system  requirements</a:t>
            </a:r>
            <a:endParaRPr sz="1000">
              <a:latin typeface="Verdana"/>
              <a:cs typeface="Verdana"/>
            </a:endParaRPr>
          </a:p>
        </p:txBody>
      </p:sp>
      <p:sp>
        <p:nvSpPr>
          <p:cNvPr id="27" name="object 27"/>
          <p:cNvSpPr/>
          <p:nvPr/>
        </p:nvSpPr>
        <p:spPr>
          <a:xfrm>
            <a:off x="1579117" y="3540633"/>
            <a:ext cx="1506855" cy="814069"/>
          </a:xfrm>
          <a:custGeom>
            <a:avLst/>
            <a:gdLst/>
            <a:ahLst/>
            <a:cxnLst/>
            <a:rect l="l" t="t" r="r" b="b"/>
            <a:pathLst>
              <a:path w="1506855" h="814070">
                <a:moveTo>
                  <a:pt x="25781" y="80898"/>
                </a:moveTo>
                <a:lnTo>
                  <a:pt x="0" y="81787"/>
                </a:lnTo>
                <a:lnTo>
                  <a:pt x="1035" y="110743"/>
                </a:lnTo>
                <a:lnTo>
                  <a:pt x="3175" y="139318"/>
                </a:lnTo>
                <a:lnTo>
                  <a:pt x="7746" y="177164"/>
                </a:lnTo>
                <a:lnTo>
                  <a:pt x="22225" y="251205"/>
                </a:lnTo>
                <a:lnTo>
                  <a:pt x="43687" y="322198"/>
                </a:lnTo>
                <a:lnTo>
                  <a:pt x="71881" y="389762"/>
                </a:lnTo>
                <a:lnTo>
                  <a:pt x="106044" y="453643"/>
                </a:lnTo>
                <a:lnTo>
                  <a:pt x="146050" y="513333"/>
                </a:lnTo>
                <a:lnTo>
                  <a:pt x="191262" y="568705"/>
                </a:lnTo>
                <a:lnTo>
                  <a:pt x="241554" y="619251"/>
                </a:lnTo>
                <a:lnTo>
                  <a:pt x="296290" y="664844"/>
                </a:lnTo>
                <a:lnTo>
                  <a:pt x="355219" y="704849"/>
                </a:lnTo>
                <a:lnTo>
                  <a:pt x="417702" y="739266"/>
                </a:lnTo>
                <a:lnTo>
                  <a:pt x="483615" y="767460"/>
                </a:lnTo>
                <a:lnTo>
                  <a:pt x="552450" y="789304"/>
                </a:lnTo>
                <a:lnTo>
                  <a:pt x="623824" y="804290"/>
                </a:lnTo>
                <a:lnTo>
                  <a:pt x="697230" y="812291"/>
                </a:lnTo>
                <a:lnTo>
                  <a:pt x="734568" y="813561"/>
                </a:lnTo>
                <a:lnTo>
                  <a:pt x="772287" y="812799"/>
                </a:lnTo>
                <a:lnTo>
                  <a:pt x="848106" y="805433"/>
                </a:lnTo>
                <a:lnTo>
                  <a:pt x="921765" y="790828"/>
                </a:lnTo>
                <a:lnTo>
                  <a:pt x="933204" y="787653"/>
                </a:lnTo>
                <a:lnTo>
                  <a:pt x="734440" y="787653"/>
                </a:lnTo>
                <a:lnTo>
                  <a:pt x="734839" y="787645"/>
                </a:lnTo>
                <a:lnTo>
                  <a:pt x="698373" y="786383"/>
                </a:lnTo>
                <a:lnTo>
                  <a:pt x="699007" y="786383"/>
                </a:lnTo>
                <a:lnTo>
                  <a:pt x="664265" y="783589"/>
                </a:lnTo>
                <a:lnTo>
                  <a:pt x="663320" y="783589"/>
                </a:lnTo>
                <a:lnTo>
                  <a:pt x="628425" y="778763"/>
                </a:lnTo>
                <a:lnTo>
                  <a:pt x="628142" y="778763"/>
                </a:lnTo>
                <a:lnTo>
                  <a:pt x="592963" y="772286"/>
                </a:lnTo>
                <a:lnTo>
                  <a:pt x="558800" y="764158"/>
                </a:lnTo>
                <a:lnTo>
                  <a:pt x="558997" y="764158"/>
                </a:lnTo>
                <a:lnTo>
                  <a:pt x="526147" y="754633"/>
                </a:lnTo>
                <a:lnTo>
                  <a:pt x="525907" y="754633"/>
                </a:lnTo>
                <a:lnTo>
                  <a:pt x="493115" y="743330"/>
                </a:lnTo>
                <a:lnTo>
                  <a:pt x="460878" y="730376"/>
                </a:lnTo>
                <a:lnTo>
                  <a:pt x="429586" y="716152"/>
                </a:lnTo>
                <a:lnTo>
                  <a:pt x="429387" y="716152"/>
                </a:lnTo>
                <a:lnTo>
                  <a:pt x="399001" y="700277"/>
                </a:lnTo>
                <a:lnTo>
                  <a:pt x="398780" y="700277"/>
                </a:lnTo>
                <a:lnTo>
                  <a:pt x="368988" y="682878"/>
                </a:lnTo>
                <a:lnTo>
                  <a:pt x="340188" y="664336"/>
                </a:lnTo>
                <a:lnTo>
                  <a:pt x="312188" y="644270"/>
                </a:lnTo>
                <a:lnTo>
                  <a:pt x="311657" y="643889"/>
                </a:lnTo>
                <a:lnTo>
                  <a:pt x="285375" y="623061"/>
                </a:lnTo>
                <a:lnTo>
                  <a:pt x="285114" y="623061"/>
                </a:lnTo>
                <a:lnTo>
                  <a:pt x="258825" y="599947"/>
                </a:lnTo>
                <a:lnTo>
                  <a:pt x="234465" y="576579"/>
                </a:lnTo>
                <a:lnTo>
                  <a:pt x="233933" y="576071"/>
                </a:lnTo>
                <a:lnTo>
                  <a:pt x="210792" y="551560"/>
                </a:lnTo>
                <a:lnTo>
                  <a:pt x="187832" y="524890"/>
                </a:lnTo>
                <a:lnTo>
                  <a:pt x="166624" y="497585"/>
                </a:lnTo>
                <a:lnTo>
                  <a:pt x="146684" y="469391"/>
                </a:lnTo>
                <a:lnTo>
                  <a:pt x="128543" y="440562"/>
                </a:lnTo>
                <a:lnTo>
                  <a:pt x="128396" y="440562"/>
                </a:lnTo>
                <a:lnTo>
                  <a:pt x="110870" y="409701"/>
                </a:lnTo>
                <a:lnTo>
                  <a:pt x="95444" y="378967"/>
                </a:lnTo>
                <a:lnTo>
                  <a:pt x="81055" y="346836"/>
                </a:lnTo>
                <a:lnTo>
                  <a:pt x="68316" y="313816"/>
                </a:lnTo>
                <a:lnTo>
                  <a:pt x="56768" y="279272"/>
                </a:lnTo>
                <a:lnTo>
                  <a:pt x="47243" y="244728"/>
                </a:lnTo>
                <a:lnTo>
                  <a:pt x="39637" y="209930"/>
                </a:lnTo>
                <a:lnTo>
                  <a:pt x="33383" y="173862"/>
                </a:lnTo>
                <a:lnTo>
                  <a:pt x="33325" y="173227"/>
                </a:lnTo>
                <a:lnTo>
                  <a:pt x="29016" y="137032"/>
                </a:lnTo>
                <a:lnTo>
                  <a:pt x="26835" y="109219"/>
                </a:lnTo>
                <a:lnTo>
                  <a:pt x="26903" y="108711"/>
                </a:lnTo>
                <a:lnTo>
                  <a:pt x="25781" y="80898"/>
                </a:lnTo>
                <a:close/>
              </a:path>
              <a:path w="1506855" h="814070">
                <a:moveTo>
                  <a:pt x="734839" y="787645"/>
                </a:moveTo>
                <a:lnTo>
                  <a:pt x="734440" y="787653"/>
                </a:lnTo>
                <a:lnTo>
                  <a:pt x="735076" y="787653"/>
                </a:lnTo>
                <a:lnTo>
                  <a:pt x="734839" y="787645"/>
                </a:lnTo>
                <a:close/>
              </a:path>
              <a:path w="1506855" h="814070">
                <a:moveTo>
                  <a:pt x="844676" y="779779"/>
                </a:moveTo>
                <a:lnTo>
                  <a:pt x="807465" y="784351"/>
                </a:lnTo>
                <a:lnTo>
                  <a:pt x="808227" y="784351"/>
                </a:lnTo>
                <a:lnTo>
                  <a:pt x="770889" y="786891"/>
                </a:lnTo>
                <a:lnTo>
                  <a:pt x="771525" y="786891"/>
                </a:lnTo>
                <a:lnTo>
                  <a:pt x="734839" y="787645"/>
                </a:lnTo>
                <a:lnTo>
                  <a:pt x="933233" y="787645"/>
                </a:lnTo>
                <a:lnTo>
                  <a:pt x="957452" y="780922"/>
                </a:lnTo>
                <a:lnTo>
                  <a:pt x="960489" y="779906"/>
                </a:lnTo>
                <a:lnTo>
                  <a:pt x="844042" y="779906"/>
                </a:lnTo>
                <a:lnTo>
                  <a:pt x="844676" y="779779"/>
                </a:lnTo>
                <a:close/>
              </a:path>
              <a:path w="1506855" h="814070">
                <a:moveTo>
                  <a:pt x="662686" y="783462"/>
                </a:moveTo>
                <a:lnTo>
                  <a:pt x="663320" y="783589"/>
                </a:lnTo>
                <a:lnTo>
                  <a:pt x="664265" y="783589"/>
                </a:lnTo>
                <a:lnTo>
                  <a:pt x="662686" y="783462"/>
                </a:lnTo>
                <a:close/>
              </a:path>
              <a:path w="1506855" h="814070">
                <a:moveTo>
                  <a:pt x="880618" y="773556"/>
                </a:moveTo>
                <a:lnTo>
                  <a:pt x="844042" y="779906"/>
                </a:lnTo>
                <a:lnTo>
                  <a:pt x="960489" y="779906"/>
                </a:lnTo>
                <a:lnTo>
                  <a:pt x="978711" y="773810"/>
                </a:lnTo>
                <a:lnTo>
                  <a:pt x="879982" y="773810"/>
                </a:lnTo>
                <a:lnTo>
                  <a:pt x="880618" y="773556"/>
                </a:lnTo>
                <a:close/>
              </a:path>
              <a:path w="1506855" h="814070">
                <a:moveTo>
                  <a:pt x="627507" y="778636"/>
                </a:moveTo>
                <a:lnTo>
                  <a:pt x="628142" y="778763"/>
                </a:lnTo>
                <a:lnTo>
                  <a:pt x="628425" y="778763"/>
                </a:lnTo>
                <a:lnTo>
                  <a:pt x="627507" y="778636"/>
                </a:lnTo>
                <a:close/>
              </a:path>
              <a:path w="1506855" h="814070">
                <a:moveTo>
                  <a:pt x="1001454" y="765682"/>
                </a:moveTo>
                <a:lnTo>
                  <a:pt x="915796" y="765682"/>
                </a:lnTo>
                <a:lnTo>
                  <a:pt x="879982" y="773810"/>
                </a:lnTo>
                <a:lnTo>
                  <a:pt x="978711" y="773810"/>
                </a:lnTo>
                <a:lnTo>
                  <a:pt x="992377" y="769238"/>
                </a:lnTo>
                <a:lnTo>
                  <a:pt x="1001454" y="765682"/>
                </a:lnTo>
                <a:close/>
              </a:path>
              <a:path w="1506855" h="814070">
                <a:moveTo>
                  <a:pt x="593408" y="772368"/>
                </a:moveTo>
                <a:lnTo>
                  <a:pt x="593598" y="772413"/>
                </a:lnTo>
                <a:lnTo>
                  <a:pt x="593408" y="772368"/>
                </a:lnTo>
                <a:close/>
              </a:path>
              <a:path w="1506855" h="814070">
                <a:moveTo>
                  <a:pt x="593062" y="772286"/>
                </a:moveTo>
                <a:lnTo>
                  <a:pt x="593408" y="772368"/>
                </a:lnTo>
                <a:lnTo>
                  <a:pt x="593062" y="772286"/>
                </a:lnTo>
                <a:close/>
              </a:path>
              <a:path w="1506855" h="814070">
                <a:moveTo>
                  <a:pt x="1026089" y="756030"/>
                </a:moveTo>
                <a:lnTo>
                  <a:pt x="950213" y="756030"/>
                </a:lnTo>
                <a:lnTo>
                  <a:pt x="915162" y="765809"/>
                </a:lnTo>
                <a:lnTo>
                  <a:pt x="915796" y="765682"/>
                </a:lnTo>
                <a:lnTo>
                  <a:pt x="1001454" y="765682"/>
                </a:lnTo>
                <a:lnTo>
                  <a:pt x="1026089" y="756030"/>
                </a:lnTo>
                <a:close/>
              </a:path>
              <a:path w="1506855" h="814070">
                <a:moveTo>
                  <a:pt x="558997" y="764158"/>
                </a:moveTo>
                <a:lnTo>
                  <a:pt x="558800" y="764158"/>
                </a:lnTo>
                <a:lnTo>
                  <a:pt x="559434" y="764285"/>
                </a:lnTo>
                <a:lnTo>
                  <a:pt x="558997" y="764158"/>
                </a:lnTo>
                <a:close/>
              </a:path>
              <a:path w="1506855" h="814070">
                <a:moveTo>
                  <a:pt x="1016634" y="731900"/>
                </a:moveTo>
                <a:lnTo>
                  <a:pt x="983233" y="744981"/>
                </a:lnTo>
                <a:lnTo>
                  <a:pt x="949579" y="756157"/>
                </a:lnTo>
                <a:lnTo>
                  <a:pt x="950213" y="756030"/>
                </a:lnTo>
                <a:lnTo>
                  <a:pt x="1026089" y="756030"/>
                </a:lnTo>
                <a:lnTo>
                  <a:pt x="1026413" y="755903"/>
                </a:lnTo>
                <a:lnTo>
                  <a:pt x="1059561" y="741044"/>
                </a:lnTo>
                <a:lnTo>
                  <a:pt x="1076930" y="732154"/>
                </a:lnTo>
                <a:lnTo>
                  <a:pt x="1016126" y="732154"/>
                </a:lnTo>
                <a:lnTo>
                  <a:pt x="1016634" y="731900"/>
                </a:lnTo>
                <a:close/>
              </a:path>
              <a:path w="1506855" h="814070">
                <a:moveTo>
                  <a:pt x="525271" y="754379"/>
                </a:moveTo>
                <a:lnTo>
                  <a:pt x="525907" y="754633"/>
                </a:lnTo>
                <a:lnTo>
                  <a:pt x="526147" y="754633"/>
                </a:lnTo>
                <a:lnTo>
                  <a:pt x="525271" y="754379"/>
                </a:lnTo>
                <a:close/>
              </a:path>
              <a:path w="1506855" h="814070">
                <a:moveTo>
                  <a:pt x="983869" y="744727"/>
                </a:moveTo>
                <a:lnTo>
                  <a:pt x="983107" y="744981"/>
                </a:lnTo>
                <a:lnTo>
                  <a:pt x="983869" y="744727"/>
                </a:lnTo>
                <a:close/>
              </a:path>
              <a:path w="1506855" h="814070">
                <a:moveTo>
                  <a:pt x="492412" y="743088"/>
                </a:moveTo>
                <a:lnTo>
                  <a:pt x="493013" y="743330"/>
                </a:lnTo>
                <a:lnTo>
                  <a:pt x="492412" y="743088"/>
                </a:lnTo>
                <a:close/>
              </a:path>
              <a:path w="1506855" h="814070">
                <a:moveTo>
                  <a:pt x="492383" y="743076"/>
                </a:moveTo>
                <a:close/>
              </a:path>
              <a:path w="1506855" h="814070">
                <a:moveTo>
                  <a:pt x="1104005" y="717549"/>
                </a:moveTo>
                <a:lnTo>
                  <a:pt x="1048639" y="717549"/>
                </a:lnTo>
                <a:lnTo>
                  <a:pt x="1048131" y="717803"/>
                </a:lnTo>
                <a:lnTo>
                  <a:pt x="1016126" y="732154"/>
                </a:lnTo>
                <a:lnTo>
                  <a:pt x="1076930" y="732154"/>
                </a:lnTo>
                <a:lnTo>
                  <a:pt x="1091819" y="724534"/>
                </a:lnTo>
                <a:lnTo>
                  <a:pt x="1104005" y="717549"/>
                </a:lnTo>
                <a:close/>
              </a:path>
              <a:path w="1506855" h="814070">
                <a:moveTo>
                  <a:pt x="460248" y="730122"/>
                </a:moveTo>
                <a:lnTo>
                  <a:pt x="460756" y="730376"/>
                </a:lnTo>
                <a:lnTo>
                  <a:pt x="460248" y="730122"/>
                </a:lnTo>
                <a:close/>
              </a:path>
              <a:path w="1506855" h="814070">
                <a:moveTo>
                  <a:pt x="1048528" y="717599"/>
                </a:moveTo>
                <a:lnTo>
                  <a:pt x="1048073" y="717803"/>
                </a:lnTo>
                <a:lnTo>
                  <a:pt x="1048528" y="717599"/>
                </a:lnTo>
                <a:close/>
              </a:path>
              <a:path w="1506855" h="814070">
                <a:moveTo>
                  <a:pt x="1079754" y="701547"/>
                </a:moveTo>
                <a:lnTo>
                  <a:pt x="1048528" y="717599"/>
                </a:lnTo>
                <a:lnTo>
                  <a:pt x="1104005" y="717549"/>
                </a:lnTo>
                <a:lnTo>
                  <a:pt x="1123061" y="706627"/>
                </a:lnTo>
                <a:lnTo>
                  <a:pt x="1130370" y="701928"/>
                </a:lnTo>
                <a:lnTo>
                  <a:pt x="1079245" y="701928"/>
                </a:lnTo>
                <a:lnTo>
                  <a:pt x="1079754" y="701547"/>
                </a:lnTo>
                <a:close/>
              </a:path>
              <a:path w="1506855" h="814070">
                <a:moveTo>
                  <a:pt x="428751" y="715771"/>
                </a:moveTo>
                <a:lnTo>
                  <a:pt x="429387" y="716152"/>
                </a:lnTo>
                <a:lnTo>
                  <a:pt x="429586" y="716152"/>
                </a:lnTo>
                <a:lnTo>
                  <a:pt x="428751" y="715771"/>
                </a:lnTo>
                <a:close/>
              </a:path>
              <a:path w="1506855" h="814070">
                <a:moveTo>
                  <a:pt x="1109852" y="684275"/>
                </a:moveTo>
                <a:lnTo>
                  <a:pt x="1079245" y="701928"/>
                </a:lnTo>
                <a:lnTo>
                  <a:pt x="1130370" y="701928"/>
                </a:lnTo>
                <a:lnTo>
                  <a:pt x="1153287" y="687196"/>
                </a:lnTo>
                <a:lnTo>
                  <a:pt x="1156886" y="684656"/>
                </a:lnTo>
                <a:lnTo>
                  <a:pt x="1109345" y="684656"/>
                </a:lnTo>
                <a:lnTo>
                  <a:pt x="1109852" y="684275"/>
                </a:lnTo>
                <a:close/>
              </a:path>
              <a:path w="1506855" h="814070">
                <a:moveTo>
                  <a:pt x="398271" y="699896"/>
                </a:moveTo>
                <a:lnTo>
                  <a:pt x="398780" y="700277"/>
                </a:lnTo>
                <a:lnTo>
                  <a:pt x="399001" y="700277"/>
                </a:lnTo>
                <a:lnTo>
                  <a:pt x="398271" y="699896"/>
                </a:lnTo>
                <a:close/>
              </a:path>
              <a:path w="1506855" h="814070">
                <a:moveTo>
                  <a:pt x="1183746" y="665606"/>
                </a:moveTo>
                <a:lnTo>
                  <a:pt x="1139063" y="665606"/>
                </a:lnTo>
                <a:lnTo>
                  <a:pt x="1109345" y="684656"/>
                </a:lnTo>
                <a:lnTo>
                  <a:pt x="1156886" y="684656"/>
                </a:lnTo>
                <a:lnTo>
                  <a:pt x="1182624" y="666495"/>
                </a:lnTo>
                <a:lnTo>
                  <a:pt x="1183746" y="665606"/>
                </a:lnTo>
                <a:close/>
              </a:path>
              <a:path w="1506855" h="814070">
                <a:moveTo>
                  <a:pt x="368554" y="682624"/>
                </a:moveTo>
                <a:lnTo>
                  <a:pt x="368934" y="682878"/>
                </a:lnTo>
                <a:lnTo>
                  <a:pt x="368554" y="682624"/>
                </a:lnTo>
                <a:close/>
              </a:path>
              <a:path w="1506855" h="814070">
                <a:moveTo>
                  <a:pt x="1209087" y="645540"/>
                </a:moveTo>
                <a:lnTo>
                  <a:pt x="1167383" y="645540"/>
                </a:lnTo>
                <a:lnTo>
                  <a:pt x="1138555" y="665860"/>
                </a:lnTo>
                <a:lnTo>
                  <a:pt x="1139063" y="665606"/>
                </a:lnTo>
                <a:lnTo>
                  <a:pt x="1183746" y="665606"/>
                </a:lnTo>
                <a:lnTo>
                  <a:pt x="1209087" y="645540"/>
                </a:lnTo>
                <a:close/>
              </a:path>
              <a:path w="1506855" h="814070">
                <a:moveTo>
                  <a:pt x="339598" y="663955"/>
                </a:moveTo>
                <a:lnTo>
                  <a:pt x="340106" y="664336"/>
                </a:lnTo>
                <a:lnTo>
                  <a:pt x="339598" y="663955"/>
                </a:lnTo>
                <a:close/>
              </a:path>
              <a:path w="1506855" h="814070">
                <a:moveTo>
                  <a:pt x="1280994" y="577722"/>
                </a:moveTo>
                <a:lnTo>
                  <a:pt x="1245234" y="577722"/>
                </a:lnTo>
                <a:lnTo>
                  <a:pt x="1219962" y="601979"/>
                </a:lnTo>
                <a:lnTo>
                  <a:pt x="1193927" y="624458"/>
                </a:lnTo>
                <a:lnTo>
                  <a:pt x="1166749" y="645921"/>
                </a:lnTo>
                <a:lnTo>
                  <a:pt x="1167383" y="645540"/>
                </a:lnTo>
                <a:lnTo>
                  <a:pt x="1209087" y="645540"/>
                </a:lnTo>
                <a:lnTo>
                  <a:pt x="1210690" y="644270"/>
                </a:lnTo>
                <a:lnTo>
                  <a:pt x="1237614" y="620902"/>
                </a:lnTo>
                <a:lnTo>
                  <a:pt x="1263395" y="596137"/>
                </a:lnTo>
                <a:lnTo>
                  <a:pt x="1280994" y="577722"/>
                </a:lnTo>
                <a:close/>
              </a:path>
              <a:path w="1506855" h="814070">
                <a:moveTo>
                  <a:pt x="311948" y="644098"/>
                </a:moveTo>
                <a:lnTo>
                  <a:pt x="312165" y="644270"/>
                </a:lnTo>
                <a:lnTo>
                  <a:pt x="311948" y="644098"/>
                </a:lnTo>
                <a:close/>
              </a:path>
              <a:path w="1506855" h="814070">
                <a:moveTo>
                  <a:pt x="311684" y="643889"/>
                </a:moveTo>
                <a:lnTo>
                  <a:pt x="311948" y="644098"/>
                </a:lnTo>
                <a:lnTo>
                  <a:pt x="311684" y="643889"/>
                </a:lnTo>
                <a:close/>
              </a:path>
              <a:path w="1506855" h="814070">
                <a:moveTo>
                  <a:pt x="1194308" y="624077"/>
                </a:moveTo>
                <a:lnTo>
                  <a:pt x="1193827" y="624458"/>
                </a:lnTo>
                <a:lnTo>
                  <a:pt x="1194308" y="624077"/>
                </a:lnTo>
                <a:close/>
              </a:path>
              <a:path w="1506855" h="814070">
                <a:moveTo>
                  <a:pt x="284733" y="622553"/>
                </a:moveTo>
                <a:lnTo>
                  <a:pt x="285114" y="623061"/>
                </a:lnTo>
                <a:lnTo>
                  <a:pt x="285375" y="623061"/>
                </a:lnTo>
                <a:lnTo>
                  <a:pt x="284733" y="622553"/>
                </a:lnTo>
                <a:close/>
              </a:path>
              <a:path w="1506855" h="814070">
                <a:moveTo>
                  <a:pt x="1220470" y="601471"/>
                </a:moveTo>
                <a:lnTo>
                  <a:pt x="1219883" y="601979"/>
                </a:lnTo>
                <a:lnTo>
                  <a:pt x="1220470" y="601471"/>
                </a:lnTo>
                <a:close/>
              </a:path>
              <a:path w="1506855" h="814070">
                <a:moveTo>
                  <a:pt x="258935" y="599947"/>
                </a:moveTo>
                <a:lnTo>
                  <a:pt x="259333" y="600328"/>
                </a:lnTo>
                <a:lnTo>
                  <a:pt x="258935" y="599947"/>
                </a:lnTo>
                <a:close/>
              </a:path>
              <a:path w="1506855" h="814070">
                <a:moveTo>
                  <a:pt x="1324298" y="526795"/>
                </a:moveTo>
                <a:lnTo>
                  <a:pt x="1291463" y="526795"/>
                </a:lnTo>
                <a:lnTo>
                  <a:pt x="1268602" y="553211"/>
                </a:lnTo>
                <a:lnTo>
                  <a:pt x="1245018" y="577930"/>
                </a:lnTo>
                <a:lnTo>
                  <a:pt x="1245234" y="577722"/>
                </a:lnTo>
                <a:lnTo>
                  <a:pt x="1280994" y="577722"/>
                </a:lnTo>
                <a:lnTo>
                  <a:pt x="1288033" y="570356"/>
                </a:lnTo>
                <a:lnTo>
                  <a:pt x="1311275" y="543432"/>
                </a:lnTo>
                <a:lnTo>
                  <a:pt x="1324298" y="526795"/>
                </a:lnTo>
                <a:close/>
              </a:path>
              <a:path w="1506855" h="814070">
                <a:moveTo>
                  <a:pt x="234219" y="576344"/>
                </a:moveTo>
                <a:lnTo>
                  <a:pt x="234442" y="576579"/>
                </a:lnTo>
                <a:lnTo>
                  <a:pt x="234219" y="576344"/>
                </a:lnTo>
                <a:close/>
              </a:path>
              <a:path w="1506855" h="814070">
                <a:moveTo>
                  <a:pt x="233961" y="576071"/>
                </a:moveTo>
                <a:lnTo>
                  <a:pt x="234219" y="576344"/>
                </a:lnTo>
                <a:lnTo>
                  <a:pt x="233961" y="576071"/>
                </a:lnTo>
                <a:close/>
              </a:path>
              <a:path w="1506855" h="814070">
                <a:moveTo>
                  <a:pt x="1268983" y="552703"/>
                </a:moveTo>
                <a:lnTo>
                  <a:pt x="1268501" y="553211"/>
                </a:lnTo>
                <a:lnTo>
                  <a:pt x="1268983" y="552703"/>
                </a:lnTo>
                <a:close/>
              </a:path>
              <a:path w="1506855" h="814070">
                <a:moveTo>
                  <a:pt x="210312" y="551052"/>
                </a:moveTo>
                <a:lnTo>
                  <a:pt x="210693" y="551560"/>
                </a:lnTo>
                <a:lnTo>
                  <a:pt x="210312" y="551052"/>
                </a:lnTo>
                <a:close/>
              </a:path>
              <a:path w="1506855" h="814070">
                <a:moveTo>
                  <a:pt x="1344455" y="499617"/>
                </a:moveTo>
                <a:lnTo>
                  <a:pt x="1312671" y="499617"/>
                </a:lnTo>
                <a:lnTo>
                  <a:pt x="1312290" y="500125"/>
                </a:lnTo>
                <a:lnTo>
                  <a:pt x="1291082" y="527176"/>
                </a:lnTo>
                <a:lnTo>
                  <a:pt x="1291463" y="526795"/>
                </a:lnTo>
                <a:lnTo>
                  <a:pt x="1324298" y="526795"/>
                </a:lnTo>
                <a:lnTo>
                  <a:pt x="1333245" y="515365"/>
                </a:lnTo>
                <a:lnTo>
                  <a:pt x="1344455" y="499617"/>
                </a:lnTo>
                <a:close/>
              </a:path>
              <a:path w="1506855" h="814070">
                <a:moveTo>
                  <a:pt x="187944" y="524890"/>
                </a:moveTo>
                <a:lnTo>
                  <a:pt x="188340" y="525398"/>
                </a:lnTo>
                <a:lnTo>
                  <a:pt x="187944" y="524890"/>
                </a:lnTo>
                <a:close/>
              </a:path>
              <a:path w="1506855" h="814070">
                <a:moveTo>
                  <a:pt x="1312457" y="499891"/>
                </a:moveTo>
                <a:lnTo>
                  <a:pt x="1312274" y="500125"/>
                </a:lnTo>
                <a:lnTo>
                  <a:pt x="1312457" y="499891"/>
                </a:lnTo>
                <a:close/>
              </a:path>
              <a:path w="1506855" h="814070">
                <a:moveTo>
                  <a:pt x="1363333" y="471550"/>
                </a:moveTo>
                <a:lnTo>
                  <a:pt x="1332611" y="471550"/>
                </a:lnTo>
                <a:lnTo>
                  <a:pt x="1312457" y="499891"/>
                </a:lnTo>
                <a:lnTo>
                  <a:pt x="1312671" y="499617"/>
                </a:lnTo>
                <a:lnTo>
                  <a:pt x="1344455" y="499617"/>
                </a:lnTo>
                <a:lnTo>
                  <a:pt x="1353946" y="486282"/>
                </a:lnTo>
                <a:lnTo>
                  <a:pt x="1363333" y="471550"/>
                </a:lnTo>
                <a:close/>
              </a:path>
              <a:path w="1506855" h="814070">
                <a:moveTo>
                  <a:pt x="166852" y="497879"/>
                </a:moveTo>
                <a:lnTo>
                  <a:pt x="167005" y="498093"/>
                </a:lnTo>
                <a:lnTo>
                  <a:pt x="166852" y="497879"/>
                </a:lnTo>
                <a:close/>
              </a:path>
              <a:path w="1506855" h="814070">
                <a:moveTo>
                  <a:pt x="166645" y="497585"/>
                </a:moveTo>
                <a:lnTo>
                  <a:pt x="166852" y="497879"/>
                </a:lnTo>
                <a:lnTo>
                  <a:pt x="166645" y="497585"/>
                </a:lnTo>
                <a:close/>
              </a:path>
              <a:path w="1506855" h="814070">
                <a:moveTo>
                  <a:pt x="1380993" y="442467"/>
                </a:moveTo>
                <a:lnTo>
                  <a:pt x="1351152" y="442467"/>
                </a:lnTo>
                <a:lnTo>
                  <a:pt x="1332230" y="472058"/>
                </a:lnTo>
                <a:lnTo>
                  <a:pt x="1332611" y="471550"/>
                </a:lnTo>
                <a:lnTo>
                  <a:pt x="1363333" y="471550"/>
                </a:lnTo>
                <a:lnTo>
                  <a:pt x="1373124" y="456183"/>
                </a:lnTo>
                <a:lnTo>
                  <a:pt x="1380993" y="442467"/>
                </a:lnTo>
                <a:close/>
              </a:path>
              <a:path w="1506855" h="814070">
                <a:moveTo>
                  <a:pt x="146745" y="469391"/>
                </a:moveTo>
                <a:lnTo>
                  <a:pt x="147065" y="469899"/>
                </a:lnTo>
                <a:lnTo>
                  <a:pt x="146745" y="469391"/>
                </a:lnTo>
                <a:close/>
              </a:path>
              <a:path w="1506855" h="814070">
                <a:moveTo>
                  <a:pt x="1412527" y="381761"/>
                </a:moveTo>
                <a:lnTo>
                  <a:pt x="1384173" y="381761"/>
                </a:lnTo>
                <a:lnTo>
                  <a:pt x="1368044" y="413130"/>
                </a:lnTo>
                <a:lnTo>
                  <a:pt x="1350771" y="442975"/>
                </a:lnTo>
                <a:lnTo>
                  <a:pt x="1351152" y="442467"/>
                </a:lnTo>
                <a:lnTo>
                  <a:pt x="1380993" y="442467"/>
                </a:lnTo>
                <a:lnTo>
                  <a:pt x="1390904" y="425195"/>
                </a:lnTo>
                <a:lnTo>
                  <a:pt x="1407287" y="393318"/>
                </a:lnTo>
                <a:lnTo>
                  <a:pt x="1412527" y="381761"/>
                </a:lnTo>
                <a:close/>
              </a:path>
              <a:path w="1506855" h="814070">
                <a:moveTo>
                  <a:pt x="128143" y="439927"/>
                </a:moveTo>
                <a:lnTo>
                  <a:pt x="128396" y="440562"/>
                </a:lnTo>
                <a:lnTo>
                  <a:pt x="128543" y="440562"/>
                </a:lnTo>
                <a:lnTo>
                  <a:pt x="128143" y="439927"/>
                </a:lnTo>
                <a:close/>
              </a:path>
              <a:path w="1506855" h="814070">
                <a:moveTo>
                  <a:pt x="1368298" y="412495"/>
                </a:moveTo>
                <a:lnTo>
                  <a:pt x="1367932" y="413130"/>
                </a:lnTo>
                <a:lnTo>
                  <a:pt x="1368298" y="412495"/>
                </a:lnTo>
                <a:close/>
              </a:path>
              <a:path w="1506855" h="814070">
                <a:moveTo>
                  <a:pt x="110994" y="409701"/>
                </a:moveTo>
                <a:lnTo>
                  <a:pt x="111251" y="410209"/>
                </a:lnTo>
                <a:lnTo>
                  <a:pt x="110994" y="409701"/>
                </a:lnTo>
                <a:close/>
              </a:path>
              <a:path w="1506855" h="814070">
                <a:moveTo>
                  <a:pt x="1426287" y="350138"/>
                </a:moveTo>
                <a:lnTo>
                  <a:pt x="1398396" y="350138"/>
                </a:lnTo>
                <a:lnTo>
                  <a:pt x="1383792" y="382269"/>
                </a:lnTo>
                <a:lnTo>
                  <a:pt x="1384173" y="381761"/>
                </a:lnTo>
                <a:lnTo>
                  <a:pt x="1412527" y="381761"/>
                </a:lnTo>
                <a:lnTo>
                  <a:pt x="1422145" y="360552"/>
                </a:lnTo>
                <a:lnTo>
                  <a:pt x="1426287" y="350138"/>
                </a:lnTo>
                <a:close/>
              </a:path>
              <a:path w="1506855" h="814070">
                <a:moveTo>
                  <a:pt x="95123" y="378332"/>
                </a:moveTo>
                <a:lnTo>
                  <a:pt x="95376" y="378967"/>
                </a:lnTo>
                <a:lnTo>
                  <a:pt x="95123" y="378332"/>
                </a:lnTo>
                <a:close/>
              </a:path>
              <a:path w="1506855" h="814070">
                <a:moveTo>
                  <a:pt x="1438605" y="317753"/>
                </a:moveTo>
                <a:lnTo>
                  <a:pt x="1411224" y="317753"/>
                </a:lnTo>
                <a:lnTo>
                  <a:pt x="1398143" y="350646"/>
                </a:lnTo>
                <a:lnTo>
                  <a:pt x="1398396" y="350138"/>
                </a:lnTo>
                <a:lnTo>
                  <a:pt x="1426287" y="350138"/>
                </a:lnTo>
                <a:lnTo>
                  <a:pt x="1435481" y="327024"/>
                </a:lnTo>
                <a:lnTo>
                  <a:pt x="1438605" y="317753"/>
                </a:lnTo>
                <a:close/>
              </a:path>
              <a:path w="1506855" h="814070">
                <a:moveTo>
                  <a:pt x="80842" y="346359"/>
                </a:moveTo>
                <a:lnTo>
                  <a:pt x="81025" y="346836"/>
                </a:lnTo>
                <a:lnTo>
                  <a:pt x="80842" y="346359"/>
                </a:lnTo>
                <a:close/>
              </a:path>
              <a:path w="1506855" h="814070">
                <a:moveTo>
                  <a:pt x="80781" y="346201"/>
                </a:moveTo>
                <a:lnTo>
                  <a:pt x="80842" y="346359"/>
                </a:lnTo>
                <a:lnTo>
                  <a:pt x="80781" y="346201"/>
                </a:lnTo>
                <a:close/>
              </a:path>
              <a:path w="1506855" h="814070">
                <a:moveTo>
                  <a:pt x="1458633" y="251078"/>
                </a:moveTo>
                <a:lnTo>
                  <a:pt x="1432052" y="251078"/>
                </a:lnTo>
                <a:lnTo>
                  <a:pt x="1431925" y="251586"/>
                </a:lnTo>
                <a:lnTo>
                  <a:pt x="1422273" y="285368"/>
                </a:lnTo>
                <a:lnTo>
                  <a:pt x="1410970" y="318388"/>
                </a:lnTo>
                <a:lnTo>
                  <a:pt x="1411224" y="317753"/>
                </a:lnTo>
                <a:lnTo>
                  <a:pt x="1438605" y="317753"/>
                </a:lnTo>
                <a:lnTo>
                  <a:pt x="1447038" y="292734"/>
                </a:lnTo>
                <a:lnTo>
                  <a:pt x="1457070" y="257809"/>
                </a:lnTo>
                <a:lnTo>
                  <a:pt x="1458633" y="251078"/>
                </a:lnTo>
                <a:close/>
              </a:path>
              <a:path w="1506855" h="814070">
                <a:moveTo>
                  <a:pt x="68071" y="313181"/>
                </a:moveTo>
                <a:lnTo>
                  <a:pt x="68199" y="313816"/>
                </a:lnTo>
                <a:lnTo>
                  <a:pt x="68071" y="313181"/>
                </a:lnTo>
                <a:close/>
              </a:path>
              <a:path w="1506855" h="814070">
                <a:moveTo>
                  <a:pt x="1422400" y="284733"/>
                </a:moveTo>
                <a:lnTo>
                  <a:pt x="1422184" y="285368"/>
                </a:lnTo>
                <a:lnTo>
                  <a:pt x="1422400" y="284733"/>
                </a:lnTo>
                <a:close/>
              </a:path>
              <a:path w="1506855" h="814070">
                <a:moveTo>
                  <a:pt x="56846" y="279272"/>
                </a:moveTo>
                <a:lnTo>
                  <a:pt x="57023" y="279907"/>
                </a:lnTo>
                <a:lnTo>
                  <a:pt x="56846" y="279272"/>
                </a:lnTo>
                <a:close/>
              </a:path>
              <a:path w="1506855" h="814070">
                <a:moveTo>
                  <a:pt x="1432004" y="251246"/>
                </a:moveTo>
                <a:lnTo>
                  <a:pt x="1431907" y="251586"/>
                </a:lnTo>
                <a:lnTo>
                  <a:pt x="1432004" y="251246"/>
                </a:lnTo>
                <a:close/>
              </a:path>
              <a:path w="1506855" h="814070">
                <a:moveTo>
                  <a:pt x="1466368" y="216661"/>
                </a:moveTo>
                <a:lnTo>
                  <a:pt x="1440052" y="216661"/>
                </a:lnTo>
                <a:lnTo>
                  <a:pt x="1439926" y="217296"/>
                </a:lnTo>
                <a:lnTo>
                  <a:pt x="1432004" y="251246"/>
                </a:lnTo>
                <a:lnTo>
                  <a:pt x="1432052" y="251078"/>
                </a:lnTo>
                <a:lnTo>
                  <a:pt x="1458633" y="251078"/>
                </a:lnTo>
                <a:lnTo>
                  <a:pt x="1465326" y="222249"/>
                </a:lnTo>
                <a:lnTo>
                  <a:pt x="1466368" y="216661"/>
                </a:lnTo>
                <a:close/>
              </a:path>
              <a:path w="1506855" h="814070">
                <a:moveTo>
                  <a:pt x="47357" y="244728"/>
                </a:moveTo>
                <a:lnTo>
                  <a:pt x="47498" y="245363"/>
                </a:lnTo>
                <a:lnTo>
                  <a:pt x="47357" y="244728"/>
                </a:lnTo>
                <a:close/>
              </a:path>
              <a:path w="1506855" h="814070">
                <a:moveTo>
                  <a:pt x="1440009" y="216848"/>
                </a:moveTo>
                <a:lnTo>
                  <a:pt x="1439905" y="217296"/>
                </a:lnTo>
                <a:lnTo>
                  <a:pt x="1440009" y="216848"/>
                </a:lnTo>
                <a:close/>
              </a:path>
              <a:path w="1506855" h="814070">
                <a:moveTo>
                  <a:pt x="1472626" y="181863"/>
                </a:moveTo>
                <a:lnTo>
                  <a:pt x="1446530" y="181863"/>
                </a:lnTo>
                <a:lnTo>
                  <a:pt x="1440009" y="216848"/>
                </a:lnTo>
                <a:lnTo>
                  <a:pt x="1440052" y="216661"/>
                </a:lnTo>
                <a:lnTo>
                  <a:pt x="1466368" y="216661"/>
                </a:lnTo>
                <a:lnTo>
                  <a:pt x="1472057" y="186181"/>
                </a:lnTo>
                <a:lnTo>
                  <a:pt x="1472626" y="181863"/>
                </a:lnTo>
                <a:close/>
              </a:path>
              <a:path w="1506855" h="814070">
                <a:moveTo>
                  <a:pt x="39574" y="209647"/>
                </a:moveTo>
                <a:lnTo>
                  <a:pt x="39623" y="209930"/>
                </a:lnTo>
                <a:lnTo>
                  <a:pt x="39574" y="209647"/>
                </a:lnTo>
                <a:close/>
              </a:path>
              <a:path w="1506855" h="814070">
                <a:moveTo>
                  <a:pt x="39514" y="209295"/>
                </a:moveTo>
                <a:lnTo>
                  <a:pt x="39574" y="209647"/>
                </a:lnTo>
                <a:lnTo>
                  <a:pt x="39514" y="209295"/>
                </a:lnTo>
                <a:close/>
              </a:path>
              <a:path w="1506855" h="814070">
                <a:moveTo>
                  <a:pt x="1477131" y="146557"/>
                </a:moveTo>
                <a:lnTo>
                  <a:pt x="1451229" y="146557"/>
                </a:lnTo>
                <a:lnTo>
                  <a:pt x="1446402" y="182498"/>
                </a:lnTo>
                <a:lnTo>
                  <a:pt x="1446530" y="181863"/>
                </a:lnTo>
                <a:lnTo>
                  <a:pt x="1472626" y="181863"/>
                </a:lnTo>
                <a:lnTo>
                  <a:pt x="1476883" y="149605"/>
                </a:lnTo>
                <a:lnTo>
                  <a:pt x="1477131" y="146557"/>
                </a:lnTo>
                <a:close/>
              </a:path>
              <a:path w="1506855" h="814070">
                <a:moveTo>
                  <a:pt x="33325" y="173227"/>
                </a:moveTo>
                <a:lnTo>
                  <a:pt x="33400" y="173862"/>
                </a:lnTo>
                <a:lnTo>
                  <a:pt x="33325" y="173227"/>
                </a:lnTo>
                <a:close/>
              </a:path>
              <a:path w="1506855" h="814070">
                <a:moveTo>
                  <a:pt x="1480307" y="77159"/>
                </a:moveTo>
                <a:lnTo>
                  <a:pt x="1454383" y="78219"/>
                </a:lnTo>
                <a:lnTo>
                  <a:pt x="1454023" y="111632"/>
                </a:lnTo>
                <a:lnTo>
                  <a:pt x="1453900" y="112267"/>
                </a:lnTo>
                <a:lnTo>
                  <a:pt x="1451102" y="147192"/>
                </a:lnTo>
                <a:lnTo>
                  <a:pt x="1451229" y="146557"/>
                </a:lnTo>
                <a:lnTo>
                  <a:pt x="1477131" y="146557"/>
                </a:lnTo>
                <a:lnTo>
                  <a:pt x="1479931" y="112267"/>
                </a:lnTo>
                <a:lnTo>
                  <a:pt x="1480307" y="77159"/>
                </a:lnTo>
                <a:close/>
              </a:path>
              <a:path w="1506855" h="814070">
                <a:moveTo>
                  <a:pt x="28956" y="136524"/>
                </a:moveTo>
                <a:lnTo>
                  <a:pt x="28956" y="137032"/>
                </a:lnTo>
                <a:lnTo>
                  <a:pt x="28956" y="136524"/>
                </a:lnTo>
                <a:close/>
              </a:path>
              <a:path w="1506855" h="814070">
                <a:moveTo>
                  <a:pt x="1454023" y="110743"/>
                </a:moveTo>
                <a:lnTo>
                  <a:pt x="1453951" y="111632"/>
                </a:lnTo>
                <a:lnTo>
                  <a:pt x="1454023" y="110743"/>
                </a:lnTo>
                <a:close/>
              </a:path>
              <a:path w="1506855" h="814070">
                <a:moveTo>
                  <a:pt x="26903" y="108711"/>
                </a:moveTo>
                <a:lnTo>
                  <a:pt x="26923" y="109219"/>
                </a:lnTo>
                <a:lnTo>
                  <a:pt x="26903" y="108711"/>
                </a:lnTo>
                <a:close/>
              </a:path>
              <a:path w="1506855" h="814070">
                <a:moveTo>
                  <a:pt x="1464818" y="0"/>
                </a:moveTo>
                <a:lnTo>
                  <a:pt x="1429258" y="79247"/>
                </a:lnTo>
                <a:lnTo>
                  <a:pt x="1454383" y="78219"/>
                </a:lnTo>
                <a:lnTo>
                  <a:pt x="1454531" y="64515"/>
                </a:lnTo>
                <a:lnTo>
                  <a:pt x="1500468" y="64515"/>
                </a:lnTo>
                <a:lnTo>
                  <a:pt x="1464818" y="0"/>
                </a:lnTo>
                <a:close/>
              </a:path>
              <a:path w="1506855" h="814070">
                <a:moveTo>
                  <a:pt x="1454531" y="64515"/>
                </a:moveTo>
                <a:lnTo>
                  <a:pt x="1454383" y="78219"/>
                </a:lnTo>
                <a:lnTo>
                  <a:pt x="1480307" y="77159"/>
                </a:lnTo>
                <a:lnTo>
                  <a:pt x="1480439" y="64896"/>
                </a:lnTo>
                <a:lnTo>
                  <a:pt x="1454531" y="64515"/>
                </a:lnTo>
                <a:close/>
              </a:path>
              <a:path w="1506855" h="814070">
                <a:moveTo>
                  <a:pt x="1500468" y="64515"/>
                </a:moveTo>
                <a:lnTo>
                  <a:pt x="1454531" y="64515"/>
                </a:lnTo>
                <a:lnTo>
                  <a:pt x="1480439" y="64896"/>
                </a:lnTo>
                <a:lnTo>
                  <a:pt x="1480307" y="77159"/>
                </a:lnTo>
                <a:lnTo>
                  <a:pt x="1506855" y="76072"/>
                </a:lnTo>
                <a:lnTo>
                  <a:pt x="1500468" y="64515"/>
                </a:lnTo>
                <a:close/>
              </a:path>
            </a:pathLst>
          </a:custGeom>
          <a:solidFill>
            <a:srgbClr val="12ABDB"/>
          </a:solidFill>
        </p:spPr>
        <p:txBody>
          <a:bodyPr wrap="square" lIns="0" tIns="0" rIns="0" bIns="0" rtlCol="0"/>
          <a:lstStyle/>
          <a:p>
            <a:endParaRPr/>
          </a:p>
        </p:txBody>
      </p:sp>
      <p:sp>
        <p:nvSpPr>
          <p:cNvPr id="28" name="object 28"/>
          <p:cNvSpPr/>
          <p:nvPr/>
        </p:nvSpPr>
        <p:spPr>
          <a:xfrm>
            <a:off x="3034538" y="2598420"/>
            <a:ext cx="1508760" cy="813435"/>
          </a:xfrm>
          <a:custGeom>
            <a:avLst/>
            <a:gdLst/>
            <a:ahLst/>
            <a:cxnLst/>
            <a:rect l="l" t="t" r="r" b="b"/>
            <a:pathLst>
              <a:path w="1508760" h="813435">
                <a:moveTo>
                  <a:pt x="1430782" y="733551"/>
                </a:moveTo>
                <a:lnTo>
                  <a:pt x="1466341" y="812926"/>
                </a:lnTo>
                <a:lnTo>
                  <a:pt x="1502170" y="748283"/>
                </a:lnTo>
                <a:lnTo>
                  <a:pt x="1456182" y="748283"/>
                </a:lnTo>
                <a:lnTo>
                  <a:pt x="1455996" y="734623"/>
                </a:lnTo>
                <a:lnTo>
                  <a:pt x="1430782" y="733551"/>
                </a:lnTo>
                <a:close/>
              </a:path>
              <a:path w="1508760" h="813435">
                <a:moveTo>
                  <a:pt x="1455996" y="734623"/>
                </a:moveTo>
                <a:lnTo>
                  <a:pt x="1456182" y="748283"/>
                </a:lnTo>
                <a:lnTo>
                  <a:pt x="1482089" y="748029"/>
                </a:lnTo>
                <a:lnTo>
                  <a:pt x="1481925" y="735724"/>
                </a:lnTo>
                <a:lnTo>
                  <a:pt x="1455996" y="734623"/>
                </a:lnTo>
                <a:close/>
              </a:path>
              <a:path w="1508760" h="813435">
                <a:moveTo>
                  <a:pt x="1481925" y="735724"/>
                </a:moveTo>
                <a:lnTo>
                  <a:pt x="1482089" y="748029"/>
                </a:lnTo>
                <a:lnTo>
                  <a:pt x="1456182" y="748283"/>
                </a:lnTo>
                <a:lnTo>
                  <a:pt x="1502170" y="748283"/>
                </a:lnTo>
                <a:lnTo>
                  <a:pt x="1508506" y="736853"/>
                </a:lnTo>
                <a:lnTo>
                  <a:pt x="1481925" y="735724"/>
                </a:lnTo>
                <a:close/>
              </a:path>
              <a:path w="1508760" h="813435">
                <a:moveTo>
                  <a:pt x="1481465" y="701420"/>
                </a:moveTo>
                <a:lnTo>
                  <a:pt x="1455547" y="701420"/>
                </a:lnTo>
                <a:lnTo>
                  <a:pt x="1455996" y="734623"/>
                </a:lnTo>
                <a:lnTo>
                  <a:pt x="1481925" y="735724"/>
                </a:lnTo>
                <a:lnTo>
                  <a:pt x="1481465" y="701420"/>
                </a:lnTo>
                <a:close/>
              </a:path>
              <a:path w="1508760" h="813435">
                <a:moveTo>
                  <a:pt x="735457" y="0"/>
                </a:moveTo>
                <a:lnTo>
                  <a:pt x="661162" y="4317"/>
                </a:lnTo>
                <a:lnTo>
                  <a:pt x="588517" y="15747"/>
                </a:lnTo>
                <a:lnTo>
                  <a:pt x="518540" y="34162"/>
                </a:lnTo>
                <a:lnTo>
                  <a:pt x="450976" y="59181"/>
                </a:lnTo>
                <a:lnTo>
                  <a:pt x="386588" y="90550"/>
                </a:lnTo>
                <a:lnTo>
                  <a:pt x="325754" y="127634"/>
                </a:lnTo>
                <a:lnTo>
                  <a:pt x="268859" y="170560"/>
                </a:lnTo>
                <a:lnTo>
                  <a:pt x="216154" y="218439"/>
                </a:lnTo>
                <a:lnTo>
                  <a:pt x="168275" y="271525"/>
                </a:lnTo>
                <a:lnTo>
                  <a:pt x="125603" y="329056"/>
                </a:lnTo>
                <a:lnTo>
                  <a:pt x="88392" y="390778"/>
                </a:lnTo>
                <a:lnTo>
                  <a:pt x="57150" y="456438"/>
                </a:lnTo>
                <a:lnTo>
                  <a:pt x="32257" y="525652"/>
                </a:lnTo>
                <a:lnTo>
                  <a:pt x="14097" y="598169"/>
                </a:lnTo>
                <a:lnTo>
                  <a:pt x="3175" y="673353"/>
                </a:lnTo>
                <a:lnTo>
                  <a:pt x="0" y="730884"/>
                </a:lnTo>
                <a:lnTo>
                  <a:pt x="25781" y="731901"/>
                </a:lnTo>
                <a:lnTo>
                  <a:pt x="26908" y="703960"/>
                </a:lnTo>
                <a:lnTo>
                  <a:pt x="28917" y="676147"/>
                </a:lnTo>
                <a:lnTo>
                  <a:pt x="29016" y="675639"/>
                </a:lnTo>
                <a:lnTo>
                  <a:pt x="33325" y="639444"/>
                </a:lnTo>
                <a:lnTo>
                  <a:pt x="39513" y="603503"/>
                </a:lnTo>
                <a:lnTo>
                  <a:pt x="39624" y="602868"/>
                </a:lnTo>
                <a:lnTo>
                  <a:pt x="47498" y="567435"/>
                </a:lnTo>
                <a:lnTo>
                  <a:pt x="56973" y="533526"/>
                </a:lnTo>
                <a:lnTo>
                  <a:pt x="68115" y="499744"/>
                </a:lnTo>
                <a:lnTo>
                  <a:pt x="80906" y="466725"/>
                </a:lnTo>
                <a:lnTo>
                  <a:pt x="81153" y="466089"/>
                </a:lnTo>
                <a:lnTo>
                  <a:pt x="95504" y="433958"/>
                </a:lnTo>
                <a:lnTo>
                  <a:pt x="111057" y="403351"/>
                </a:lnTo>
                <a:lnTo>
                  <a:pt x="128360" y="372999"/>
                </a:lnTo>
                <a:lnTo>
                  <a:pt x="146995" y="343662"/>
                </a:lnTo>
                <a:lnTo>
                  <a:pt x="166899" y="315467"/>
                </a:lnTo>
                <a:lnTo>
                  <a:pt x="188594" y="287654"/>
                </a:lnTo>
                <a:lnTo>
                  <a:pt x="211074" y="261492"/>
                </a:lnTo>
                <a:lnTo>
                  <a:pt x="234461" y="236981"/>
                </a:lnTo>
                <a:lnTo>
                  <a:pt x="234314" y="236981"/>
                </a:lnTo>
                <a:lnTo>
                  <a:pt x="259313" y="213232"/>
                </a:lnTo>
                <a:lnTo>
                  <a:pt x="285185" y="190626"/>
                </a:lnTo>
                <a:lnTo>
                  <a:pt x="312065" y="169290"/>
                </a:lnTo>
                <a:lnTo>
                  <a:pt x="312547" y="168909"/>
                </a:lnTo>
                <a:lnTo>
                  <a:pt x="340078" y="149351"/>
                </a:lnTo>
                <a:lnTo>
                  <a:pt x="369442" y="130301"/>
                </a:lnTo>
                <a:lnTo>
                  <a:pt x="369594" y="130301"/>
                </a:lnTo>
                <a:lnTo>
                  <a:pt x="398848" y="113410"/>
                </a:lnTo>
                <a:lnTo>
                  <a:pt x="429530" y="97535"/>
                </a:lnTo>
                <a:lnTo>
                  <a:pt x="429387" y="97535"/>
                </a:lnTo>
                <a:lnTo>
                  <a:pt x="461390" y="82930"/>
                </a:lnTo>
                <a:lnTo>
                  <a:pt x="493018" y="70230"/>
                </a:lnTo>
                <a:lnTo>
                  <a:pt x="493649" y="69976"/>
                </a:lnTo>
                <a:lnTo>
                  <a:pt x="526541" y="58800"/>
                </a:lnTo>
                <a:lnTo>
                  <a:pt x="526906" y="58800"/>
                </a:lnTo>
                <a:lnTo>
                  <a:pt x="559633" y="49275"/>
                </a:lnTo>
                <a:lnTo>
                  <a:pt x="559435" y="49275"/>
                </a:lnTo>
                <a:lnTo>
                  <a:pt x="593689" y="41275"/>
                </a:lnTo>
                <a:lnTo>
                  <a:pt x="628903" y="34670"/>
                </a:lnTo>
                <a:lnTo>
                  <a:pt x="629214" y="34670"/>
                </a:lnTo>
                <a:lnTo>
                  <a:pt x="664210" y="29971"/>
                </a:lnTo>
                <a:lnTo>
                  <a:pt x="665088" y="29971"/>
                </a:lnTo>
                <a:lnTo>
                  <a:pt x="699897" y="27050"/>
                </a:lnTo>
                <a:lnTo>
                  <a:pt x="699135" y="27050"/>
                </a:lnTo>
                <a:lnTo>
                  <a:pt x="735711" y="25915"/>
                </a:lnTo>
                <a:lnTo>
                  <a:pt x="735329" y="25907"/>
                </a:lnTo>
                <a:lnTo>
                  <a:pt x="934719" y="25907"/>
                </a:lnTo>
                <a:lnTo>
                  <a:pt x="922782" y="22605"/>
                </a:lnTo>
                <a:lnTo>
                  <a:pt x="886333" y="14350"/>
                </a:lnTo>
                <a:lnTo>
                  <a:pt x="849122" y="8000"/>
                </a:lnTo>
                <a:lnTo>
                  <a:pt x="811276" y="3428"/>
                </a:lnTo>
                <a:lnTo>
                  <a:pt x="773176" y="762"/>
                </a:lnTo>
                <a:lnTo>
                  <a:pt x="735457" y="0"/>
                </a:lnTo>
                <a:close/>
              </a:path>
              <a:path w="1508760" h="813435">
                <a:moveTo>
                  <a:pt x="26924" y="703579"/>
                </a:moveTo>
                <a:lnTo>
                  <a:pt x="26797" y="703960"/>
                </a:lnTo>
                <a:lnTo>
                  <a:pt x="26924" y="703579"/>
                </a:lnTo>
                <a:close/>
              </a:path>
              <a:path w="1508760" h="813435">
                <a:moveTo>
                  <a:pt x="1467883" y="595756"/>
                </a:moveTo>
                <a:lnTo>
                  <a:pt x="1441577" y="595756"/>
                </a:lnTo>
                <a:lnTo>
                  <a:pt x="1441703" y="596391"/>
                </a:lnTo>
                <a:lnTo>
                  <a:pt x="1448053" y="631189"/>
                </a:lnTo>
                <a:lnTo>
                  <a:pt x="1452752" y="666495"/>
                </a:lnTo>
                <a:lnTo>
                  <a:pt x="1455547" y="702309"/>
                </a:lnTo>
                <a:lnTo>
                  <a:pt x="1455547" y="701420"/>
                </a:lnTo>
                <a:lnTo>
                  <a:pt x="1481465" y="701420"/>
                </a:lnTo>
                <a:lnTo>
                  <a:pt x="1481454" y="700658"/>
                </a:lnTo>
                <a:lnTo>
                  <a:pt x="1478407" y="663447"/>
                </a:lnTo>
                <a:lnTo>
                  <a:pt x="1473581" y="626871"/>
                </a:lnTo>
                <a:lnTo>
                  <a:pt x="1467883" y="595756"/>
                </a:lnTo>
                <a:close/>
              </a:path>
              <a:path w="1508760" h="813435">
                <a:moveTo>
                  <a:pt x="29016" y="675639"/>
                </a:moveTo>
                <a:lnTo>
                  <a:pt x="28956" y="676147"/>
                </a:lnTo>
                <a:lnTo>
                  <a:pt x="29016" y="675639"/>
                </a:lnTo>
                <a:close/>
              </a:path>
              <a:path w="1508760" h="813435">
                <a:moveTo>
                  <a:pt x="1452626" y="665860"/>
                </a:moveTo>
                <a:lnTo>
                  <a:pt x="1452676" y="666495"/>
                </a:lnTo>
                <a:lnTo>
                  <a:pt x="1452626" y="665860"/>
                </a:lnTo>
                <a:close/>
              </a:path>
              <a:path w="1508760" h="813435">
                <a:moveTo>
                  <a:pt x="33400" y="638809"/>
                </a:moveTo>
                <a:lnTo>
                  <a:pt x="33274" y="639444"/>
                </a:lnTo>
                <a:lnTo>
                  <a:pt x="33400" y="638809"/>
                </a:lnTo>
                <a:close/>
              </a:path>
              <a:path w="1508760" h="813435">
                <a:moveTo>
                  <a:pt x="1447927" y="630554"/>
                </a:moveTo>
                <a:lnTo>
                  <a:pt x="1448012" y="631189"/>
                </a:lnTo>
                <a:lnTo>
                  <a:pt x="1447927" y="630554"/>
                </a:lnTo>
                <a:close/>
              </a:path>
              <a:path w="1508760" h="813435">
                <a:moveTo>
                  <a:pt x="39574" y="603156"/>
                </a:moveTo>
                <a:lnTo>
                  <a:pt x="39497" y="603503"/>
                </a:lnTo>
                <a:lnTo>
                  <a:pt x="39574" y="603156"/>
                </a:lnTo>
                <a:close/>
              </a:path>
              <a:path w="1508760" h="813435">
                <a:moveTo>
                  <a:pt x="39637" y="602868"/>
                </a:moveTo>
                <a:lnTo>
                  <a:pt x="39574" y="603156"/>
                </a:lnTo>
                <a:lnTo>
                  <a:pt x="39637" y="602868"/>
                </a:lnTo>
                <a:close/>
              </a:path>
              <a:path w="1508760" h="813435">
                <a:moveTo>
                  <a:pt x="1441656" y="596191"/>
                </a:moveTo>
                <a:lnTo>
                  <a:pt x="1441693" y="596391"/>
                </a:lnTo>
                <a:lnTo>
                  <a:pt x="1441656" y="596191"/>
                </a:lnTo>
                <a:close/>
              </a:path>
              <a:path w="1508760" h="813435">
                <a:moveTo>
                  <a:pt x="1460091" y="561593"/>
                </a:moveTo>
                <a:lnTo>
                  <a:pt x="1433449" y="561593"/>
                </a:lnTo>
                <a:lnTo>
                  <a:pt x="1433576" y="562101"/>
                </a:lnTo>
                <a:lnTo>
                  <a:pt x="1441656" y="596191"/>
                </a:lnTo>
                <a:lnTo>
                  <a:pt x="1441577" y="595756"/>
                </a:lnTo>
                <a:lnTo>
                  <a:pt x="1467883" y="595756"/>
                </a:lnTo>
                <a:lnTo>
                  <a:pt x="1466977" y="590803"/>
                </a:lnTo>
                <a:lnTo>
                  <a:pt x="1460091" y="561593"/>
                </a:lnTo>
                <a:close/>
              </a:path>
              <a:path w="1508760" h="813435">
                <a:moveTo>
                  <a:pt x="47547" y="567435"/>
                </a:moveTo>
                <a:lnTo>
                  <a:pt x="47370" y="568070"/>
                </a:lnTo>
                <a:lnTo>
                  <a:pt x="47547" y="567435"/>
                </a:lnTo>
                <a:close/>
              </a:path>
              <a:path w="1508760" h="813435">
                <a:moveTo>
                  <a:pt x="1433537" y="561966"/>
                </a:moveTo>
                <a:lnTo>
                  <a:pt x="1433569" y="562101"/>
                </a:lnTo>
                <a:lnTo>
                  <a:pt x="1433537" y="561966"/>
                </a:lnTo>
                <a:close/>
              </a:path>
              <a:path w="1508760" h="813435">
                <a:moveTo>
                  <a:pt x="1450714" y="527812"/>
                </a:moveTo>
                <a:lnTo>
                  <a:pt x="1423797" y="527812"/>
                </a:lnTo>
                <a:lnTo>
                  <a:pt x="1433537" y="561966"/>
                </a:lnTo>
                <a:lnTo>
                  <a:pt x="1433449" y="561593"/>
                </a:lnTo>
                <a:lnTo>
                  <a:pt x="1460091" y="561593"/>
                </a:lnTo>
                <a:lnTo>
                  <a:pt x="1458595" y="555243"/>
                </a:lnTo>
                <a:lnTo>
                  <a:pt x="1450714" y="527812"/>
                </a:lnTo>
                <a:close/>
              </a:path>
              <a:path w="1508760" h="813435">
                <a:moveTo>
                  <a:pt x="57150" y="532891"/>
                </a:moveTo>
                <a:lnTo>
                  <a:pt x="56895" y="533526"/>
                </a:lnTo>
                <a:lnTo>
                  <a:pt x="57150" y="532891"/>
                </a:lnTo>
                <a:close/>
              </a:path>
              <a:path w="1508760" h="813435">
                <a:moveTo>
                  <a:pt x="1439831" y="494791"/>
                </a:moveTo>
                <a:lnTo>
                  <a:pt x="1412494" y="494791"/>
                </a:lnTo>
                <a:lnTo>
                  <a:pt x="1423924" y="528446"/>
                </a:lnTo>
                <a:lnTo>
                  <a:pt x="1423797" y="527812"/>
                </a:lnTo>
                <a:lnTo>
                  <a:pt x="1450714" y="527812"/>
                </a:lnTo>
                <a:lnTo>
                  <a:pt x="1448562" y="520318"/>
                </a:lnTo>
                <a:lnTo>
                  <a:pt x="1439831" y="494791"/>
                </a:lnTo>
                <a:close/>
              </a:path>
              <a:path w="1508760" h="813435">
                <a:moveTo>
                  <a:pt x="68325" y="499109"/>
                </a:moveTo>
                <a:lnTo>
                  <a:pt x="68072" y="499744"/>
                </a:lnTo>
                <a:lnTo>
                  <a:pt x="68325" y="499109"/>
                </a:lnTo>
                <a:close/>
              </a:path>
              <a:path w="1508760" h="813435">
                <a:moveTo>
                  <a:pt x="1427522" y="462406"/>
                </a:moveTo>
                <a:lnTo>
                  <a:pt x="1399666" y="462406"/>
                </a:lnTo>
                <a:lnTo>
                  <a:pt x="1399921" y="463041"/>
                </a:lnTo>
                <a:lnTo>
                  <a:pt x="1412621" y="495426"/>
                </a:lnTo>
                <a:lnTo>
                  <a:pt x="1412494" y="494791"/>
                </a:lnTo>
                <a:lnTo>
                  <a:pt x="1439831" y="494791"/>
                </a:lnTo>
                <a:lnTo>
                  <a:pt x="1436877" y="486155"/>
                </a:lnTo>
                <a:lnTo>
                  <a:pt x="1427522" y="462406"/>
                </a:lnTo>
                <a:close/>
              </a:path>
              <a:path w="1508760" h="813435">
                <a:moveTo>
                  <a:pt x="81182" y="466089"/>
                </a:moveTo>
                <a:lnTo>
                  <a:pt x="80955" y="466599"/>
                </a:lnTo>
                <a:lnTo>
                  <a:pt x="81182" y="466089"/>
                </a:lnTo>
                <a:close/>
              </a:path>
              <a:path w="1508760" h="813435">
                <a:moveTo>
                  <a:pt x="1399885" y="462963"/>
                </a:moveTo>
                <a:close/>
              </a:path>
              <a:path w="1508760" h="813435">
                <a:moveTo>
                  <a:pt x="1413698" y="430910"/>
                </a:moveTo>
                <a:lnTo>
                  <a:pt x="1385315" y="430910"/>
                </a:lnTo>
                <a:lnTo>
                  <a:pt x="1385570" y="431418"/>
                </a:lnTo>
                <a:lnTo>
                  <a:pt x="1399885" y="462963"/>
                </a:lnTo>
                <a:lnTo>
                  <a:pt x="1399666" y="462406"/>
                </a:lnTo>
                <a:lnTo>
                  <a:pt x="1427522" y="462406"/>
                </a:lnTo>
                <a:lnTo>
                  <a:pt x="1423670" y="452627"/>
                </a:lnTo>
                <a:lnTo>
                  <a:pt x="1413698" y="430910"/>
                </a:lnTo>
                <a:close/>
              </a:path>
              <a:path w="1508760" h="813435">
                <a:moveTo>
                  <a:pt x="95571" y="433958"/>
                </a:moveTo>
                <a:lnTo>
                  <a:pt x="95250" y="434593"/>
                </a:lnTo>
                <a:lnTo>
                  <a:pt x="95571" y="433958"/>
                </a:lnTo>
                <a:close/>
              </a:path>
              <a:path w="1508760" h="813435">
                <a:moveTo>
                  <a:pt x="1385364" y="431018"/>
                </a:moveTo>
                <a:lnTo>
                  <a:pt x="1385546" y="431418"/>
                </a:lnTo>
                <a:lnTo>
                  <a:pt x="1385364" y="431018"/>
                </a:lnTo>
                <a:close/>
              </a:path>
              <a:path w="1508760" h="813435">
                <a:moveTo>
                  <a:pt x="1398580" y="400176"/>
                </a:moveTo>
                <a:lnTo>
                  <a:pt x="1369567" y="400176"/>
                </a:lnTo>
                <a:lnTo>
                  <a:pt x="1385364" y="431018"/>
                </a:lnTo>
                <a:lnTo>
                  <a:pt x="1413698" y="430910"/>
                </a:lnTo>
                <a:lnTo>
                  <a:pt x="1408684" y="419988"/>
                </a:lnTo>
                <a:lnTo>
                  <a:pt x="1398580" y="400176"/>
                </a:lnTo>
                <a:close/>
              </a:path>
              <a:path w="1508760" h="813435">
                <a:moveTo>
                  <a:pt x="111379" y="402716"/>
                </a:moveTo>
                <a:lnTo>
                  <a:pt x="110998" y="403351"/>
                </a:lnTo>
                <a:lnTo>
                  <a:pt x="111379" y="402716"/>
                </a:lnTo>
                <a:close/>
              </a:path>
              <a:path w="1508760" h="813435">
                <a:moveTo>
                  <a:pt x="1325339" y="286130"/>
                </a:moveTo>
                <a:lnTo>
                  <a:pt x="1292478" y="286130"/>
                </a:lnTo>
                <a:lnTo>
                  <a:pt x="1314069" y="313689"/>
                </a:lnTo>
                <a:lnTo>
                  <a:pt x="1334008" y="341883"/>
                </a:lnTo>
                <a:lnTo>
                  <a:pt x="1352677" y="370839"/>
                </a:lnTo>
                <a:lnTo>
                  <a:pt x="1369822" y="400684"/>
                </a:lnTo>
                <a:lnTo>
                  <a:pt x="1369567" y="400176"/>
                </a:lnTo>
                <a:lnTo>
                  <a:pt x="1398580" y="400176"/>
                </a:lnTo>
                <a:lnTo>
                  <a:pt x="1392427" y="388112"/>
                </a:lnTo>
                <a:lnTo>
                  <a:pt x="1374648" y="357124"/>
                </a:lnTo>
                <a:lnTo>
                  <a:pt x="1355344" y="327025"/>
                </a:lnTo>
                <a:lnTo>
                  <a:pt x="1334642" y="298068"/>
                </a:lnTo>
                <a:lnTo>
                  <a:pt x="1325339" y="286130"/>
                </a:lnTo>
                <a:close/>
              </a:path>
              <a:path w="1508760" h="813435">
                <a:moveTo>
                  <a:pt x="128650" y="372490"/>
                </a:moveTo>
                <a:lnTo>
                  <a:pt x="128269" y="372999"/>
                </a:lnTo>
                <a:lnTo>
                  <a:pt x="128650" y="372490"/>
                </a:lnTo>
                <a:close/>
              </a:path>
              <a:path w="1508760" h="813435">
                <a:moveTo>
                  <a:pt x="1352296" y="370331"/>
                </a:moveTo>
                <a:lnTo>
                  <a:pt x="1352589" y="370839"/>
                </a:lnTo>
                <a:lnTo>
                  <a:pt x="1352296" y="370331"/>
                </a:lnTo>
                <a:close/>
              </a:path>
              <a:path w="1508760" h="813435">
                <a:moveTo>
                  <a:pt x="147319" y="343153"/>
                </a:moveTo>
                <a:lnTo>
                  <a:pt x="146938" y="343662"/>
                </a:lnTo>
                <a:lnTo>
                  <a:pt x="147319" y="343153"/>
                </a:lnTo>
                <a:close/>
              </a:path>
              <a:path w="1508760" h="813435">
                <a:moveTo>
                  <a:pt x="1333627" y="341375"/>
                </a:moveTo>
                <a:lnTo>
                  <a:pt x="1333955" y="341883"/>
                </a:lnTo>
                <a:lnTo>
                  <a:pt x="1333627" y="341375"/>
                </a:lnTo>
                <a:close/>
              </a:path>
              <a:path w="1508760" h="813435">
                <a:moveTo>
                  <a:pt x="167106" y="315174"/>
                </a:moveTo>
                <a:lnTo>
                  <a:pt x="166878" y="315467"/>
                </a:lnTo>
                <a:lnTo>
                  <a:pt x="167106" y="315174"/>
                </a:lnTo>
                <a:close/>
              </a:path>
              <a:path w="1508760" h="813435">
                <a:moveTo>
                  <a:pt x="1313688" y="313308"/>
                </a:moveTo>
                <a:lnTo>
                  <a:pt x="1313958" y="313689"/>
                </a:lnTo>
                <a:lnTo>
                  <a:pt x="1313688" y="313308"/>
                </a:lnTo>
                <a:close/>
              </a:path>
              <a:path w="1508760" h="813435">
                <a:moveTo>
                  <a:pt x="188649" y="287654"/>
                </a:moveTo>
                <a:lnTo>
                  <a:pt x="188213" y="288163"/>
                </a:lnTo>
                <a:lnTo>
                  <a:pt x="188649" y="287654"/>
                </a:lnTo>
                <a:close/>
              </a:path>
              <a:path w="1508760" h="813435">
                <a:moveTo>
                  <a:pt x="1304230" y="260095"/>
                </a:moveTo>
                <a:lnTo>
                  <a:pt x="1270000" y="260095"/>
                </a:lnTo>
                <a:lnTo>
                  <a:pt x="1292860" y="286638"/>
                </a:lnTo>
                <a:lnTo>
                  <a:pt x="1292478" y="286130"/>
                </a:lnTo>
                <a:lnTo>
                  <a:pt x="1325339" y="286130"/>
                </a:lnTo>
                <a:lnTo>
                  <a:pt x="1312672" y="269875"/>
                </a:lnTo>
                <a:lnTo>
                  <a:pt x="1304230" y="260095"/>
                </a:lnTo>
                <a:close/>
              </a:path>
              <a:path w="1508760" h="813435">
                <a:moveTo>
                  <a:pt x="211175" y="261492"/>
                </a:moveTo>
                <a:lnTo>
                  <a:pt x="210693" y="262000"/>
                </a:lnTo>
                <a:lnTo>
                  <a:pt x="211175" y="261492"/>
                </a:lnTo>
                <a:close/>
              </a:path>
              <a:path w="1508760" h="813435">
                <a:moveTo>
                  <a:pt x="1282027" y="235203"/>
                </a:moveTo>
                <a:lnTo>
                  <a:pt x="1246251" y="235203"/>
                </a:lnTo>
                <a:lnTo>
                  <a:pt x="1270381" y="260603"/>
                </a:lnTo>
                <a:lnTo>
                  <a:pt x="1270000" y="260095"/>
                </a:lnTo>
                <a:lnTo>
                  <a:pt x="1304230" y="260095"/>
                </a:lnTo>
                <a:lnTo>
                  <a:pt x="1289431" y="242950"/>
                </a:lnTo>
                <a:lnTo>
                  <a:pt x="1282027" y="235203"/>
                </a:lnTo>
                <a:close/>
              </a:path>
              <a:path w="1508760" h="813435">
                <a:moveTo>
                  <a:pt x="234823" y="236600"/>
                </a:moveTo>
                <a:lnTo>
                  <a:pt x="234314" y="236981"/>
                </a:lnTo>
                <a:lnTo>
                  <a:pt x="234461" y="236981"/>
                </a:lnTo>
                <a:lnTo>
                  <a:pt x="234823" y="236600"/>
                </a:lnTo>
                <a:close/>
              </a:path>
              <a:path w="1508760" h="813435">
                <a:moveTo>
                  <a:pt x="1258812" y="211454"/>
                </a:moveTo>
                <a:lnTo>
                  <a:pt x="1221359" y="211454"/>
                </a:lnTo>
                <a:lnTo>
                  <a:pt x="1246632" y="235712"/>
                </a:lnTo>
                <a:lnTo>
                  <a:pt x="1246251" y="235203"/>
                </a:lnTo>
                <a:lnTo>
                  <a:pt x="1282027" y="235203"/>
                </a:lnTo>
                <a:lnTo>
                  <a:pt x="1264792" y="217169"/>
                </a:lnTo>
                <a:lnTo>
                  <a:pt x="1258812" y="211454"/>
                </a:lnTo>
                <a:close/>
              </a:path>
              <a:path w="1508760" h="813435">
                <a:moveTo>
                  <a:pt x="259714" y="212851"/>
                </a:moveTo>
                <a:lnTo>
                  <a:pt x="259207" y="213232"/>
                </a:lnTo>
                <a:lnTo>
                  <a:pt x="259714" y="212851"/>
                </a:lnTo>
                <a:close/>
              </a:path>
              <a:path w="1508760" h="813435">
                <a:moveTo>
                  <a:pt x="1210025" y="167512"/>
                </a:moveTo>
                <a:lnTo>
                  <a:pt x="1168019" y="167512"/>
                </a:lnTo>
                <a:lnTo>
                  <a:pt x="1168527" y="167893"/>
                </a:lnTo>
                <a:lnTo>
                  <a:pt x="1195704" y="189229"/>
                </a:lnTo>
                <a:lnTo>
                  <a:pt x="1221739" y="211962"/>
                </a:lnTo>
                <a:lnTo>
                  <a:pt x="1221359" y="211454"/>
                </a:lnTo>
                <a:lnTo>
                  <a:pt x="1258812" y="211454"/>
                </a:lnTo>
                <a:lnTo>
                  <a:pt x="1239012" y="192531"/>
                </a:lnTo>
                <a:lnTo>
                  <a:pt x="1211961" y="169037"/>
                </a:lnTo>
                <a:lnTo>
                  <a:pt x="1210025" y="167512"/>
                </a:lnTo>
                <a:close/>
              </a:path>
              <a:path w="1508760" h="813435">
                <a:moveTo>
                  <a:pt x="285623" y="190245"/>
                </a:moveTo>
                <a:lnTo>
                  <a:pt x="285114" y="190626"/>
                </a:lnTo>
                <a:lnTo>
                  <a:pt x="285623" y="190245"/>
                </a:lnTo>
                <a:close/>
              </a:path>
              <a:path w="1508760" h="813435">
                <a:moveTo>
                  <a:pt x="1195197" y="188849"/>
                </a:moveTo>
                <a:lnTo>
                  <a:pt x="1195634" y="189229"/>
                </a:lnTo>
                <a:lnTo>
                  <a:pt x="1195197" y="188849"/>
                </a:lnTo>
                <a:close/>
              </a:path>
              <a:path w="1508760" h="813435">
                <a:moveTo>
                  <a:pt x="312301" y="169104"/>
                </a:moveTo>
                <a:lnTo>
                  <a:pt x="312038" y="169290"/>
                </a:lnTo>
                <a:lnTo>
                  <a:pt x="312301" y="169104"/>
                </a:lnTo>
                <a:close/>
              </a:path>
              <a:path w="1508760" h="813435">
                <a:moveTo>
                  <a:pt x="312574" y="168909"/>
                </a:moveTo>
                <a:lnTo>
                  <a:pt x="312301" y="169104"/>
                </a:lnTo>
                <a:lnTo>
                  <a:pt x="312574" y="168909"/>
                </a:lnTo>
                <a:close/>
              </a:path>
              <a:path w="1508760" h="813435">
                <a:moveTo>
                  <a:pt x="1168288" y="167724"/>
                </a:moveTo>
                <a:lnTo>
                  <a:pt x="1168504" y="167893"/>
                </a:lnTo>
                <a:lnTo>
                  <a:pt x="1168288" y="167724"/>
                </a:lnTo>
                <a:close/>
              </a:path>
              <a:path w="1508760" h="813435">
                <a:moveTo>
                  <a:pt x="1139952" y="147574"/>
                </a:moveTo>
                <a:lnTo>
                  <a:pt x="1168288" y="167724"/>
                </a:lnTo>
                <a:lnTo>
                  <a:pt x="1168019" y="167512"/>
                </a:lnTo>
                <a:lnTo>
                  <a:pt x="1210025" y="167512"/>
                </a:lnTo>
                <a:lnTo>
                  <a:pt x="1185023" y="147827"/>
                </a:lnTo>
                <a:lnTo>
                  <a:pt x="1140460" y="147827"/>
                </a:lnTo>
                <a:lnTo>
                  <a:pt x="1139952" y="147574"/>
                </a:lnTo>
                <a:close/>
              </a:path>
              <a:path w="1508760" h="813435">
                <a:moveTo>
                  <a:pt x="340613" y="148970"/>
                </a:moveTo>
                <a:lnTo>
                  <a:pt x="339978" y="149351"/>
                </a:lnTo>
                <a:lnTo>
                  <a:pt x="340613" y="148970"/>
                </a:lnTo>
                <a:close/>
              </a:path>
              <a:path w="1508760" h="813435">
                <a:moveTo>
                  <a:pt x="1158268" y="128777"/>
                </a:moveTo>
                <a:lnTo>
                  <a:pt x="1110741" y="128777"/>
                </a:lnTo>
                <a:lnTo>
                  <a:pt x="1140460" y="147827"/>
                </a:lnTo>
                <a:lnTo>
                  <a:pt x="1185023" y="147827"/>
                </a:lnTo>
                <a:lnTo>
                  <a:pt x="1183894" y="146938"/>
                </a:lnTo>
                <a:lnTo>
                  <a:pt x="1158268" y="128777"/>
                </a:lnTo>
                <a:close/>
              </a:path>
              <a:path w="1508760" h="813435">
                <a:moveTo>
                  <a:pt x="369594" y="130301"/>
                </a:moveTo>
                <a:lnTo>
                  <a:pt x="369442" y="130301"/>
                </a:lnTo>
                <a:lnTo>
                  <a:pt x="368935" y="130682"/>
                </a:lnTo>
                <a:lnTo>
                  <a:pt x="369594" y="130301"/>
                </a:lnTo>
                <a:close/>
              </a:path>
              <a:path w="1508760" h="813435">
                <a:moveTo>
                  <a:pt x="1131767" y="111505"/>
                </a:moveTo>
                <a:lnTo>
                  <a:pt x="1080515" y="111505"/>
                </a:lnTo>
                <a:lnTo>
                  <a:pt x="1111250" y="129158"/>
                </a:lnTo>
                <a:lnTo>
                  <a:pt x="1110741" y="128777"/>
                </a:lnTo>
                <a:lnTo>
                  <a:pt x="1158268" y="128777"/>
                </a:lnTo>
                <a:lnTo>
                  <a:pt x="1154684" y="126237"/>
                </a:lnTo>
                <a:lnTo>
                  <a:pt x="1131767" y="111505"/>
                </a:lnTo>
                <a:close/>
              </a:path>
              <a:path w="1508760" h="813435">
                <a:moveTo>
                  <a:pt x="399288" y="113156"/>
                </a:moveTo>
                <a:lnTo>
                  <a:pt x="398779" y="113410"/>
                </a:lnTo>
                <a:lnTo>
                  <a:pt x="399288" y="113156"/>
                </a:lnTo>
                <a:close/>
              </a:path>
              <a:path w="1508760" h="813435">
                <a:moveTo>
                  <a:pt x="1049274" y="95630"/>
                </a:moveTo>
                <a:lnTo>
                  <a:pt x="1081024" y="111887"/>
                </a:lnTo>
                <a:lnTo>
                  <a:pt x="1080515" y="111505"/>
                </a:lnTo>
                <a:lnTo>
                  <a:pt x="1131767" y="111505"/>
                </a:lnTo>
                <a:lnTo>
                  <a:pt x="1124458" y="106806"/>
                </a:lnTo>
                <a:lnTo>
                  <a:pt x="1105325" y="95884"/>
                </a:lnTo>
                <a:lnTo>
                  <a:pt x="1049909" y="95884"/>
                </a:lnTo>
                <a:lnTo>
                  <a:pt x="1049274" y="95630"/>
                </a:lnTo>
                <a:close/>
              </a:path>
              <a:path w="1508760" h="813435">
                <a:moveTo>
                  <a:pt x="430022" y="97281"/>
                </a:moveTo>
                <a:lnTo>
                  <a:pt x="429387" y="97535"/>
                </a:lnTo>
                <a:lnTo>
                  <a:pt x="429530" y="97535"/>
                </a:lnTo>
                <a:lnTo>
                  <a:pt x="430022" y="97281"/>
                </a:lnTo>
                <a:close/>
              </a:path>
              <a:path w="1508760" h="813435">
                <a:moveTo>
                  <a:pt x="1017397" y="81406"/>
                </a:moveTo>
                <a:lnTo>
                  <a:pt x="1049909" y="95884"/>
                </a:lnTo>
                <a:lnTo>
                  <a:pt x="1105325" y="95884"/>
                </a:lnTo>
                <a:lnTo>
                  <a:pt x="1093089" y="88900"/>
                </a:lnTo>
                <a:lnTo>
                  <a:pt x="1078696" y="81533"/>
                </a:lnTo>
                <a:lnTo>
                  <a:pt x="1017904" y="81533"/>
                </a:lnTo>
                <a:lnTo>
                  <a:pt x="1017397" y="81406"/>
                </a:lnTo>
                <a:close/>
              </a:path>
              <a:path w="1508760" h="813435">
                <a:moveTo>
                  <a:pt x="461513" y="82930"/>
                </a:moveTo>
                <a:lnTo>
                  <a:pt x="460883" y="83184"/>
                </a:lnTo>
                <a:lnTo>
                  <a:pt x="461513" y="82930"/>
                </a:lnTo>
                <a:close/>
              </a:path>
              <a:path w="1508760" h="813435">
                <a:moveTo>
                  <a:pt x="1052048" y="68452"/>
                </a:moveTo>
                <a:lnTo>
                  <a:pt x="984376" y="68452"/>
                </a:lnTo>
                <a:lnTo>
                  <a:pt x="1017904" y="81533"/>
                </a:lnTo>
                <a:lnTo>
                  <a:pt x="1078696" y="81533"/>
                </a:lnTo>
                <a:lnTo>
                  <a:pt x="1060831" y="72389"/>
                </a:lnTo>
                <a:lnTo>
                  <a:pt x="1052048" y="68452"/>
                </a:lnTo>
                <a:close/>
              </a:path>
              <a:path w="1508760" h="813435">
                <a:moveTo>
                  <a:pt x="493759" y="69976"/>
                </a:moveTo>
                <a:lnTo>
                  <a:pt x="493045" y="70220"/>
                </a:lnTo>
                <a:lnTo>
                  <a:pt x="493759" y="69976"/>
                </a:lnTo>
                <a:close/>
              </a:path>
              <a:path w="1508760" h="813435">
                <a:moveTo>
                  <a:pt x="950722" y="57276"/>
                </a:moveTo>
                <a:lnTo>
                  <a:pt x="985012" y="68706"/>
                </a:lnTo>
                <a:lnTo>
                  <a:pt x="984376" y="68452"/>
                </a:lnTo>
                <a:lnTo>
                  <a:pt x="1052048" y="68452"/>
                </a:lnTo>
                <a:lnTo>
                  <a:pt x="1027684" y="57530"/>
                </a:lnTo>
                <a:lnTo>
                  <a:pt x="1027358" y="57403"/>
                </a:lnTo>
                <a:lnTo>
                  <a:pt x="951357" y="57403"/>
                </a:lnTo>
                <a:lnTo>
                  <a:pt x="950722" y="57276"/>
                </a:lnTo>
                <a:close/>
              </a:path>
              <a:path w="1508760" h="813435">
                <a:moveTo>
                  <a:pt x="526906" y="58800"/>
                </a:moveTo>
                <a:lnTo>
                  <a:pt x="526541" y="58800"/>
                </a:lnTo>
                <a:lnTo>
                  <a:pt x="526034" y="59054"/>
                </a:lnTo>
                <a:lnTo>
                  <a:pt x="526906" y="58800"/>
                </a:lnTo>
                <a:close/>
              </a:path>
              <a:path w="1508760" h="813435">
                <a:moveTo>
                  <a:pt x="916177" y="47625"/>
                </a:moveTo>
                <a:lnTo>
                  <a:pt x="951357" y="57403"/>
                </a:lnTo>
                <a:lnTo>
                  <a:pt x="1027358" y="57403"/>
                </a:lnTo>
                <a:lnTo>
                  <a:pt x="1002631" y="47751"/>
                </a:lnTo>
                <a:lnTo>
                  <a:pt x="916813" y="47751"/>
                </a:lnTo>
                <a:lnTo>
                  <a:pt x="916177" y="47625"/>
                </a:lnTo>
                <a:close/>
              </a:path>
              <a:path w="1508760" h="813435">
                <a:moveTo>
                  <a:pt x="560070" y="49149"/>
                </a:moveTo>
                <a:lnTo>
                  <a:pt x="559435" y="49275"/>
                </a:lnTo>
                <a:lnTo>
                  <a:pt x="559633" y="49275"/>
                </a:lnTo>
                <a:lnTo>
                  <a:pt x="560070" y="49149"/>
                </a:lnTo>
                <a:close/>
              </a:path>
              <a:path w="1508760" h="813435">
                <a:moveTo>
                  <a:pt x="979854" y="39624"/>
                </a:moveTo>
                <a:lnTo>
                  <a:pt x="880999" y="39624"/>
                </a:lnTo>
                <a:lnTo>
                  <a:pt x="916813" y="47751"/>
                </a:lnTo>
                <a:lnTo>
                  <a:pt x="1002631" y="47751"/>
                </a:lnTo>
                <a:lnTo>
                  <a:pt x="993521" y="44195"/>
                </a:lnTo>
                <a:lnTo>
                  <a:pt x="979854" y="39624"/>
                </a:lnTo>
                <a:close/>
              </a:path>
              <a:path w="1508760" h="813435">
                <a:moveTo>
                  <a:pt x="594056" y="41189"/>
                </a:moveTo>
                <a:lnTo>
                  <a:pt x="593598" y="41275"/>
                </a:lnTo>
                <a:lnTo>
                  <a:pt x="594056" y="41189"/>
                </a:lnTo>
                <a:close/>
              </a:path>
              <a:path w="1508760" h="813435">
                <a:moveTo>
                  <a:pt x="961632" y="33527"/>
                </a:moveTo>
                <a:lnTo>
                  <a:pt x="845058" y="33527"/>
                </a:lnTo>
                <a:lnTo>
                  <a:pt x="881634" y="39877"/>
                </a:lnTo>
                <a:lnTo>
                  <a:pt x="880999" y="39624"/>
                </a:lnTo>
                <a:lnTo>
                  <a:pt x="979854" y="39624"/>
                </a:lnTo>
                <a:lnTo>
                  <a:pt x="961632" y="33527"/>
                </a:lnTo>
                <a:close/>
              </a:path>
              <a:path w="1508760" h="813435">
                <a:moveTo>
                  <a:pt x="629214" y="34670"/>
                </a:moveTo>
                <a:lnTo>
                  <a:pt x="628903" y="34670"/>
                </a:lnTo>
                <a:lnTo>
                  <a:pt x="628269" y="34797"/>
                </a:lnTo>
                <a:lnTo>
                  <a:pt x="629214" y="34670"/>
                </a:lnTo>
                <a:close/>
              </a:path>
              <a:path w="1508760" h="813435">
                <a:moveTo>
                  <a:pt x="934719" y="25907"/>
                </a:moveTo>
                <a:lnTo>
                  <a:pt x="735711" y="25915"/>
                </a:lnTo>
                <a:lnTo>
                  <a:pt x="772287" y="26669"/>
                </a:lnTo>
                <a:lnTo>
                  <a:pt x="771778" y="26669"/>
                </a:lnTo>
                <a:lnTo>
                  <a:pt x="809116" y="29209"/>
                </a:lnTo>
                <a:lnTo>
                  <a:pt x="808482" y="29209"/>
                </a:lnTo>
                <a:lnTo>
                  <a:pt x="845692" y="33654"/>
                </a:lnTo>
                <a:lnTo>
                  <a:pt x="845058" y="33527"/>
                </a:lnTo>
                <a:lnTo>
                  <a:pt x="961632" y="33527"/>
                </a:lnTo>
                <a:lnTo>
                  <a:pt x="958596" y="32512"/>
                </a:lnTo>
                <a:lnTo>
                  <a:pt x="934719" y="25907"/>
                </a:lnTo>
                <a:close/>
              </a:path>
              <a:path w="1508760" h="813435">
                <a:moveTo>
                  <a:pt x="665088" y="29971"/>
                </a:moveTo>
                <a:lnTo>
                  <a:pt x="664210" y="29971"/>
                </a:lnTo>
                <a:lnTo>
                  <a:pt x="663575" y="30099"/>
                </a:lnTo>
                <a:lnTo>
                  <a:pt x="665088" y="29971"/>
                </a:lnTo>
                <a:close/>
              </a:path>
            </a:pathLst>
          </a:custGeom>
          <a:solidFill>
            <a:srgbClr val="12ABDB"/>
          </a:solidFill>
        </p:spPr>
        <p:txBody>
          <a:bodyPr wrap="square" lIns="0" tIns="0" rIns="0" bIns="0" rtlCol="0"/>
          <a:lstStyle/>
          <a:p>
            <a:endParaRPr/>
          </a:p>
        </p:txBody>
      </p:sp>
      <p:sp>
        <p:nvSpPr>
          <p:cNvPr id="29" name="object 29"/>
          <p:cNvSpPr/>
          <p:nvPr/>
        </p:nvSpPr>
        <p:spPr>
          <a:xfrm>
            <a:off x="4491482" y="3498722"/>
            <a:ext cx="1507490" cy="812800"/>
          </a:xfrm>
          <a:custGeom>
            <a:avLst/>
            <a:gdLst/>
            <a:ahLst/>
            <a:cxnLst/>
            <a:rect l="l" t="t" r="r" b="b"/>
            <a:pathLst>
              <a:path w="1507489" h="812800">
                <a:moveTo>
                  <a:pt x="25780" y="80899"/>
                </a:moveTo>
                <a:lnTo>
                  <a:pt x="0" y="81787"/>
                </a:lnTo>
                <a:lnTo>
                  <a:pt x="1015" y="110489"/>
                </a:lnTo>
                <a:lnTo>
                  <a:pt x="3175" y="139319"/>
                </a:lnTo>
                <a:lnTo>
                  <a:pt x="7746" y="177164"/>
                </a:lnTo>
                <a:lnTo>
                  <a:pt x="22260" y="251332"/>
                </a:lnTo>
                <a:lnTo>
                  <a:pt x="43687" y="322071"/>
                </a:lnTo>
                <a:lnTo>
                  <a:pt x="71881" y="389508"/>
                </a:lnTo>
                <a:lnTo>
                  <a:pt x="106044" y="453263"/>
                </a:lnTo>
                <a:lnTo>
                  <a:pt x="146176" y="512952"/>
                </a:lnTo>
                <a:lnTo>
                  <a:pt x="191388" y="568325"/>
                </a:lnTo>
                <a:lnTo>
                  <a:pt x="241553" y="618744"/>
                </a:lnTo>
                <a:lnTo>
                  <a:pt x="296417" y="664209"/>
                </a:lnTo>
                <a:lnTo>
                  <a:pt x="355345" y="704214"/>
                </a:lnTo>
                <a:lnTo>
                  <a:pt x="417829" y="738632"/>
                </a:lnTo>
                <a:lnTo>
                  <a:pt x="483742" y="766826"/>
                </a:lnTo>
                <a:lnTo>
                  <a:pt x="552576" y="788669"/>
                </a:lnTo>
                <a:lnTo>
                  <a:pt x="623823" y="803656"/>
                </a:lnTo>
                <a:lnTo>
                  <a:pt x="697229" y="811529"/>
                </a:lnTo>
                <a:lnTo>
                  <a:pt x="734694" y="812800"/>
                </a:lnTo>
                <a:lnTo>
                  <a:pt x="772413" y="812038"/>
                </a:lnTo>
                <a:lnTo>
                  <a:pt x="848232" y="804799"/>
                </a:lnTo>
                <a:lnTo>
                  <a:pt x="921892" y="790194"/>
                </a:lnTo>
                <a:lnTo>
                  <a:pt x="933638" y="786891"/>
                </a:lnTo>
                <a:lnTo>
                  <a:pt x="734567" y="786891"/>
                </a:lnTo>
                <a:lnTo>
                  <a:pt x="734965" y="786883"/>
                </a:lnTo>
                <a:lnTo>
                  <a:pt x="698500" y="785621"/>
                </a:lnTo>
                <a:lnTo>
                  <a:pt x="699134" y="785621"/>
                </a:lnTo>
                <a:lnTo>
                  <a:pt x="664392" y="782827"/>
                </a:lnTo>
                <a:lnTo>
                  <a:pt x="663447" y="782827"/>
                </a:lnTo>
                <a:lnTo>
                  <a:pt x="628576" y="778128"/>
                </a:lnTo>
                <a:lnTo>
                  <a:pt x="628268" y="778128"/>
                </a:lnTo>
                <a:lnTo>
                  <a:pt x="593766" y="771651"/>
                </a:lnTo>
                <a:lnTo>
                  <a:pt x="593597" y="771651"/>
                </a:lnTo>
                <a:lnTo>
                  <a:pt x="558926" y="763524"/>
                </a:lnTo>
                <a:lnTo>
                  <a:pt x="559124" y="763524"/>
                </a:lnTo>
                <a:lnTo>
                  <a:pt x="526274" y="753999"/>
                </a:lnTo>
                <a:lnTo>
                  <a:pt x="526033" y="753999"/>
                </a:lnTo>
                <a:lnTo>
                  <a:pt x="493242" y="742695"/>
                </a:lnTo>
                <a:lnTo>
                  <a:pt x="461005" y="729741"/>
                </a:lnTo>
                <a:lnTo>
                  <a:pt x="428878" y="715137"/>
                </a:lnTo>
                <a:lnTo>
                  <a:pt x="429018" y="715137"/>
                </a:lnTo>
                <a:lnTo>
                  <a:pt x="398271" y="699388"/>
                </a:lnTo>
                <a:lnTo>
                  <a:pt x="398470" y="699388"/>
                </a:lnTo>
                <a:lnTo>
                  <a:pt x="369209" y="682370"/>
                </a:lnTo>
                <a:lnTo>
                  <a:pt x="369062" y="682370"/>
                </a:lnTo>
                <a:lnTo>
                  <a:pt x="339597" y="663320"/>
                </a:lnTo>
                <a:lnTo>
                  <a:pt x="312193" y="643763"/>
                </a:lnTo>
                <a:lnTo>
                  <a:pt x="311657" y="643382"/>
                </a:lnTo>
                <a:lnTo>
                  <a:pt x="284733" y="622045"/>
                </a:lnTo>
                <a:lnTo>
                  <a:pt x="258825" y="599439"/>
                </a:lnTo>
                <a:lnTo>
                  <a:pt x="234060" y="575690"/>
                </a:lnTo>
                <a:lnTo>
                  <a:pt x="234207" y="575690"/>
                </a:lnTo>
                <a:lnTo>
                  <a:pt x="210921" y="551179"/>
                </a:lnTo>
                <a:lnTo>
                  <a:pt x="188395" y="525018"/>
                </a:lnTo>
                <a:lnTo>
                  <a:pt x="166750" y="497204"/>
                </a:lnTo>
                <a:lnTo>
                  <a:pt x="146684" y="469010"/>
                </a:lnTo>
                <a:lnTo>
                  <a:pt x="128465" y="440181"/>
                </a:lnTo>
                <a:lnTo>
                  <a:pt x="110870" y="409320"/>
                </a:lnTo>
                <a:lnTo>
                  <a:pt x="95444" y="378713"/>
                </a:lnTo>
                <a:lnTo>
                  <a:pt x="81055" y="346582"/>
                </a:lnTo>
                <a:lnTo>
                  <a:pt x="68316" y="313563"/>
                </a:lnTo>
                <a:lnTo>
                  <a:pt x="57062" y="279653"/>
                </a:lnTo>
                <a:lnTo>
                  <a:pt x="47243" y="244601"/>
                </a:lnTo>
                <a:lnTo>
                  <a:pt x="39637" y="209803"/>
                </a:lnTo>
                <a:lnTo>
                  <a:pt x="33384" y="173862"/>
                </a:lnTo>
                <a:lnTo>
                  <a:pt x="33325" y="173227"/>
                </a:lnTo>
                <a:lnTo>
                  <a:pt x="29016" y="137032"/>
                </a:lnTo>
                <a:lnTo>
                  <a:pt x="26835" y="109219"/>
                </a:lnTo>
                <a:lnTo>
                  <a:pt x="26903" y="108712"/>
                </a:lnTo>
                <a:lnTo>
                  <a:pt x="25780" y="80899"/>
                </a:lnTo>
                <a:close/>
              </a:path>
              <a:path w="1507489" h="812800">
                <a:moveTo>
                  <a:pt x="734965" y="786883"/>
                </a:moveTo>
                <a:lnTo>
                  <a:pt x="734567" y="786891"/>
                </a:lnTo>
                <a:lnTo>
                  <a:pt x="735202" y="786891"/>
                </a:lnTo>
                <a:lnTo>
                  <a:pt x="734965" y="786883"/>
                </a:lnTo>
                <a:close/>
              </a:path>
              <a:path w="1507489" h="812800">
                <a:moveTo>
                  <a:pt x="844803" y="779144"/>
                </a:moveTo>
                <a:lnTo>
                  <a:pt x="807592" y="783589"/>
                </a:lnTo>
                <a:lnTo>
                  <a:pt x="808227" y="783589"/>
                </a:lnTo>
                <a:lnTo>
                  <a:pt x="770889" y="786129"/>
                </a:lnTo>
                <a:lnTo>
                  <a:pt x="771525" y="786129"/>
                </a:lnTo>
                <a:lnTo>
                  <a:pt x="734965" y="786883"/>
                </a:lnTo>
                <a:lnTo>
                  <a:pt x="933667" y="786883"/>
                </a:lnTo>
                <a:lnTo>
                  <a:pt x="957579" y="780160"/>
                </a:lnTo>
                <a:lnTo>
                  <a:pt x="960266" y="779271"/>
                </a:lnTo>
                <a:lnTo>
                  <a:pt x="844168" y="779271"/>
                </a:lnTo>
                <a:lnTo>
                  <a:pt x="844803" y="779144"/>
                </a:lnTo>
                <a:close/>
              </a:path>
              <a:path w="1507489" h="812800">
                <a:moveTo>
                  <a:pt x="662813" y="782701"/>
                </a:moveTo>
                <a:lnTo>
                  <a:pt x="663447" y="782827"/>
                </a:lnTo>
                <a:lnTo>
                  <a:pt x="664392" y="782827"/>
                </a:lnTo>
                <a:lnTo>
                  <a:pt x="662813" y="782701"/>
                </a:lnTo>
                <a:close/>
              </a:path>
              <a:path w="1507489" h="812800">
                <a:moveTo>
                  <a:pt x="979456" y="772921"/>
                </a:moveTo>
                <a:lnTo>
                  <a:pt x="880744" y="772921"/>
                </a:lnTo>
                <a:lnTo>
                  <a:pt x="880109" y="773049"/>
                </a:lnTo>
                <a:lnTo>
                  <a:pt x="844168" y="779271"/>
                </a:lnTo>
                <a:lnTo>
                  <a:pt x="960266" y="779271"/>
                </a:lnTo>
                <a:lnTo>
                  <a:pt x="979456" y="772921"/>
                </a:lnTo>
                <a:close/>
              </a:path>
              <a:path w="1507489" h="812800">
                <a:moveTo>
                  <a:pt x="627633" y="778001"/>
                </a:moveTo>
                <a:lnTo>
                  <a:pt x="628268" y="778128"/>
                </a:lnTo>
                <a:lnTo>
                  <a:pt x="628576" y="778128"/>
                </a:lnTo>
                <a:lnTo>
                  <a:pt x="627633" y="778001"/>
                </a:lnTo>
                <a:close/>
              </a:path>
              <a:path w="1507489" h="812800">
                <a:moveTo>
                  <a:pt x="880446" y="772973"/>
                </a:moveTo>
                <a:lnTo>
                  <a:pt x="880013" y="773049"/>
                </a:lnTo>
                <a:lnTo>
                  <a:pt x="880446" y="772973"/>
                </a:lnTo>
                <a:close/>
              </a:path>
              <a:path w="1507489" h="812800">
                <a:moveTo>
                  <a:pt x="1001495" y="765047"/>
                </a:moveTo>
                <a:lnTo>
                  <a:pt x="915923" y="765047"/>
                </a:lnTo>
                <a:lnTo>
                  <a:pt x="880446" y="772973"/>
                </a:lnTo>
                <a:lnTo>
                  <a:pt x="880744" y="772921"/>
                </a:lnTo>
                <a:lnTo>
                  <a:pt x="979456" y="772921"/>
                </a:lnTo>
                <a:lnTo>
                  <a:pt x="992504" y="768603"/>
                </a:lnTo>
                <a:lnTo>
                  <a:pt x="1001495" y="765047"/>
                </a:lnTo>
                <a:close/>
              </a:path>
              <a:path w="1507489" h="812800">
                <a:moveTo>
                  <a:pt x="593089" y="771525"/>
                </a:moveTo>
                <a:lnTo>
                  <a:pt x="593597" y="771651"/>
                </a:lnTo>
                <a:lnTo>
                  <a:pt x="593766" y="771651"/>
                </a:lnTo>
                <a:lnTo>
                  <a:pt x="593089" y="771525"/>
                </a:lnTo>
                <a:close/>
              </a:path>
              <a:path w="1507489" h="812800">
                <a:moveTo>
                  <a:pt x="1025898" y="755395"/>
                </a:moveTo>
                <a:lnTo>
                  <a:pt x="950340" y="755395"/>
                </a:lnTo>
                <a:lnTo>
                  <a:pt x="915288" y="765175"/>
                </a:lnTo>
                <a:lnTo>
                  <a:pt x="915923" y="765047"/>
                </a:lnTo>
                <a:lnTo>
                  <a:pt x="1001495" y="765047"/>
                </a:lnTo>
                <a:lnTo>
                  <a:pt x="1025898" y="755395"/>
                </a:lnTo>
                <a:close/>
              </a:path>
              <a:path w="1507489" h="812800">
                <a:moveTo>
                  <a:pt x="559124" y="763524"/>
                </a:moveTo>
                <a:lnTo>
                  <a:pt x="558926" y="763524"/>
                </a:lnTo>
                <a:lnTo>
                  <a:pt x="559562" y="763651"/>
                </a:lnTo>
                <a:lnTo>
                  <a:pt x="559124" y="763524"/>
                </a:lnTo>
                <a:close/>
              </a:path>
              <a:path w="1507489" h="812800">
                <a:moveTo>
                  <a:pt x="1077621" y="731138"/>
                </a:moveTo>
                <a:lnTo>
                  <a:pt x="1016762" y="731138"/>
                </a:lnTo>
                <a:lnTo>
                  <a:pt x="983360" y="744346"/>
                </a:lnTo>
                <a:lnTo>
                  <a:pt x="949705" y="755522"/>
                </a:lnTo>
                <a:lnTo>
                  <a:pt x="950340" y="755395"/>
                </a:lnTo>
                <a:lnTo>
                  <a:pt x="1025898" y="755395"/>
                </a:lnTo>
                <a:lnTo>
                  <a:pt x="1026540" y="755141"/>
                </a:lnTo>
                <a:lnTo>
                  <a:pt x="1059688" y="740282"/>
                </a:lnTo>
                <a:lnTo>
                  <a:pt x="1077621" y="731138"/>
                </a:lnTo>
                <a:close/>
              </a:path>
              <a:path w="1507489" h="812800">
                <a:moveTo>
                  <a:pt x="525398" y="753744"/>
                </a:moveTo>
                <a:lnTo>
                  <a:pt x="526033" y="753999"/>
                </a:lnTo>
                <a:lnTo>
                  <a:pt x="526274" y="753999"/>
                </a:lnTo>
                <a:lnTo>
                  <a:pt x="525398" y="753744"/>
                </a:lnTo>
                <a:close/>
              </a:path>
              <a:path w="1507489" h="812800">
                <a:moveTo>
                  <a:pt x="983995" y="744093"/>
                </a:moveTo>
                <a:lnTo>
                  <a:pt x="983234" y="744346"/>
                </a:lnTo>
                <a:lnTo>
                  <a:pt x="983995" y="744093"/>
                </a:lnTo>
                <a:close/>
              </a:path>
              <a:path w="1507489" h="812800">
                <a:moveTo>
                  <a:pt x="492539" y="742453"/>
                </a:moveTo>
                <a:lnTo>
                  <a:pt x="493140" y="742695"/>
                </a:lnTo>
                <a:lnTo>
                  <a:pt x="492539" y="742453"/>
                </a:lnTo>
                <a:close/>
              </a:path>
              <a:path w="1507489" h="812800">
                <a:moveTo>
                  <a:pt x="492510" y="742441"/>
                </a:moveTo>
                <a:close/>
              </a:path>
              <a:path w="1507489" h="812800">
                <a:moveTo>
                  <a:pt x="1104189" y="716788"/>
                </a:moveTo>
                <a:lnTo>
                  <a:pt x="1048765" y="716788"/>
                </a:lnTo>
                <a:lnTo>
                  <a:pt x="1016182" y="731368"/>
                </a:lnTo>
                <a:lnTo>
                  <a:pt x="1016762" y="731138"/>
                </a:lnTo>
                <a:lnTo>
                  <a:pt x="1077621" y="731138"/>
                </a:lnTo>
                <a:lnTo>
                  <a:pt x="1091818" y="723900"/>
                </a:lnTo>
                <a:lnTo>
                  <a:pt x="1104189" y="716788"/>
                </a:lnTo>
                <a:close/>
              </a:path>
              <a:path w="1507489" h="812800">
                <a:moveTo>
                  <a:pt x="460375" y="729488"/>
                </a:moveTo>
                <a:lnTo>
                  <a:pt x="460882" y="729741"/>
                </a:lnTo>
                <a:lnTo>
                  <a:pt x="460375" y="729488"/>
                </a:lnTo>
                <a:close/>
              </a:path>
              <a:path w="1507489" h="812800">
                <a:moveTo>
                  <a:pt x="1130943" y="700913"/>
                </a:moveTo>
                <a:lnTo>
                  <a:pt x="1079753" y="700913"/>
                </a:lnTo>
                <a:lnTo>
                  <a:pt x="1048130" y="717041"/>
                </a:lnTo>
                <a:lnTo>
                  <a:pt x="1048765" y="716788"/>
                </a:lnTo>
                <a:lnTo>
                  <a:pt x="1104189" y="716788"/>
                </a:lnTo>
                <a:lnTo>
                  <a:pt x="1123188" y="705865"/>
                </a:lnTo>
                <a:lnTo>
                  <a:pt x="1130943" y="700913"/>
                </a:lnTo>
                <a:close/>
              </a:path>
              <a:path w="1507489" h="812800">
                <a:moveTo>
                  <a:pt x="429018" y="715137"/>
                </a:moveTo>
                <a:lnTo>
                  <a:pt x="428878" y="715137"/>
                </a:lnTo>
                <a:lnTo>
                  <a:pt x="429513" y="715390"/>
                </a:lnTo>
                <a:lnTo>
                  <a:pt x="429018" y="715137"/>
                </a:lnTo>
                <a:close/>
              </a:path>
              <a:path w="1507489" h="812800">
                <a:moveTo>
                  <a:pt x="1157510" y="683640"/>
                </a:moveTo>
                <a:lnTo>
                  <a:pt x="1109979" y="683640"/>
                </a:lnTo>
                <a:lnTo>
                  <a:pt x="1079245" y="701166"/>
                </a:lnTo>
                <a:lnTo>
                  <a:pt x="1079753" y="700913"/>
                </a:lnTo>
                <a:lnTo>
                  <a:pt x="1130943" y="700913"/>
                </a:lnTo>
                <a:lnTo>
                  <a:pt x="1153414" y="686562"/>
                </a:lnTo>
                <a:lnTo>
                  <a:pt x="1157510" y="683640"/>
                </a:lnTo>
                <a:close/>
              </a:path>
              <a:path w="1507489" h="812800">
                <a:moveTo>
                  <a:pt x="398470" y="699388"/>
                </a:moveTo>
                <a:lnTo>
                  <a:pt x="398271" y="699388"/>
                </a:lnTo>
                <a:lnTo>
                  <a:pt x="398906" y="699643"/>
                </a:lnTo>
                <a:lnTo>
                  <a:pt x="398470" y="699388"/>
                </a:lnTo>
                <a:close/>
              </a:path>
              <a:path w="1507489" h="812800">
                <a:moveTo>
                  <a:pt x="1209077" y="644906"/>
                </a:moveTo>
                <a:lnTo>
                  <a:pt x="1167383" y="644906"/>
                </a:lnTo>
                <a:lnTo>
                  <a:pt x="1166876" y="645287"/>
                </a:lnTo>
                <a:lnTo>
                  <a:pt x="1138681" y="665226"/>
                </a:lnTo>
                <a:lnTo>
                  <a:pt x="1109471" y="683894"/>
                </a:lnTo>
                <a:lnTo>
                  <a:pt x="1109979" y="683640"/>
                </a:lnTo>
                <a:lnTo>
                  <a:pt x="1157510" y="683640"/>
                </a:lnTo>
                <a:lnTo>
                  <a:pt x="1182623" y="665733"/>
                </a:lnTo>
                <a:lnTo>
                  <a:pt x="1209077" y="644906"/>
                </a:lnTo>
                <a:close/>
              </a:path>
              <a:path w="1507489" h="812800">
                <a:moveTo>
                  <a:pt x="368553" y="681989"/>
                </a:moveTo>
                <a:lnTo>
                  <a:pt x="369062" y="682370"/>
                </a:lnTo>
                <a:lnTo>
                  <a:pt x="369209" y="682370"/>
                </a:lnTo>
                <a:lnTo>
                  <a:pt x="368553" y="681989"/>
                </a:lnTo>
                <a:close/>
              </a:path>
              <a:path w="1507489" h="812800">
                <a:moveTo>
                  <a:pt x="1139189" y="664844"/>
                </a:moveTo>
                <a:lnTo>
                  <a:pt x="1138595" y="665226"/>
                </a:lnTo>
                <a:lnTo>
                  <a:pt x="1139189" y="664844"/>
                </a:lnTo>
                <a:close/>
              </a:path>
              <a:path w="1507489" h="812800">
                <a:moveTo>
                  <a:pt x="339697" y="663320"/>
                </a:moveTo>
                <a:lnTo>
                  <a:pt x="340232" y="663701"/>
                </a:lnTo>
                <a:lnTo>
                  <a:pt x="339697" y="663320"/>
                </a:lnTo>
                <a:close/>
              </a:path>
              <a:path w="1507489" h="812800">
                <a:moveTo>
                  <a:pt x="1167142" y="645076"/>
                </a:moveTo>
                <a:lnTo>
                  <a:pt x="1166845" y="645287"/>
                </a:lnTo>
                <a:lnTo>
                  <a:pt x="1167142" y="645076"/>
                </a:lnTo>
                <a:close/>
              </a:path>
              <a:path w="1507489" h="812800">
                <a:moveTo>
                  <a:pt x="1233810" y="623569"/>
                </a:moveTo>
                <a:lnTo>
                  <a:pt x="1194434" y="623569"/>
                </a:lnTo>
                <a:lnTo>
                  <a:pt x="1167142" y="645076"/>
                </a:lnTo>
                <a:lnTo>
                  <a:pt x="1167383" y="644906"/>
                </a:lnTo>
                <a:lnTo>
                  <a:pt x="1209077" y="644906"/>
                </a:lnTo>
                <a:lnTo>
                  <a:pt x="1210768" y="643568"/>
                </a:lnTo>
                <a:lnTo>
                  <a:pt x="1233810" y="623569"/>
                </a:lnTo>
                <a:close/>
              </a:path>
              <a:path w="1507489" h="812800">
                <a:moveTo>
                  <a:pt x="311920" y="643568"/>
                </a:moveTo>
                <a:lnTo>
                  <a:pt x="312165" y="643763"/>
                </a:lnTo>
                <a:lnTo>
                  <a:pt x="311920" y="643568"/>
                </a:lnTo>
                <a:close/>
              </a:path>
              <a:path w="1507489" h="812800">
                <a:moveTo>
                  <a:pt x="311684" y="643382"/>
                </a:moveTo>
                <a:lnTo>
                  <a:pt x="311920" y="643568"/>
                </a:lnTo>
                <a:lnTo>
                  <a:pt x="311684" y="643382"/>
                </a:lnTo>
                <a:close/>
              </a:path>
              <a:path w="1507489" h="812800">
                <a:moveTo>
                  <a:pt x="1257947" y="600837"/>
                </a:moveTo>
                <a:lnTo>
                  <a:pt x="1220469" y="600837"/>
                </a:lnTo>
                <a:lnTo>
                  <a:pt x="1193927" y="623951"/>
                </a:lnTo>
                <a:lnTo>
                  <a:pt x="1194434" y="623569"/>
                </a:lnTo>
                <a:lnTo>
                  <a:pt x="1233810" y="623569"/>
                </a:lnTo>
                <a:lnTo>
                  <a:pt x="1237614" y="620268"/>
                </a:lnTo>
                <a:lnTo>
                  <a:pt x="1257947" y="600837"/>
                </a:lnTo>
                <a:close/>
              </a:path>
              <a:path w="1507489" h="812800">
                <a:moveTo>
                  <a:pt x="284804" y="622045"/>
                </a:moveTo>
                <a:lnTo>
                  <a:pt x="285241" y="622426"/>
                </a:lnTo>
                <a:lnTo>
                  <a:pt x="284804" y="622045"/>
                </a:lnTo>
                <a:close/>
              </a:path>
              <a:path w="1507489" h="812800">
                <a:moveTo>
                  <a:pt x="1281115" y="577088"/>
                </a:moveTo>
                <a:lnTo>
                  <a:pt x="1245362" y="577088"/>
                </a:lnTo>
                <a:lnTo>
                  <a:pt x="1219962" y="601218"/>
                </a:lnTo>
                <a:lnTo>
                  <a:pt x="1220469" y="600837"/>
                </a:lnTo>
                <a:lnTo>
                  <a:pt x="1257947" y="600837"/>
                </a:lnTo>
                <a:lnTo>
                  <a:pt x="1263395" y="595629"/>
                </a:lnTo>
                <a:lnTo>
                  <a:pt x="1281115" y="577088"/>
                </a:lnTo>
                <a:close/>
              </a:path>
              <a:path w="1507489" h="812800">
                <a:moveTo>
                  <a:pt x="258934" y="599439"/>
                </a:moveTo>
                <a:lnTo>
                  <a:pt x="259333" y="599820"/>
                </a:lnTo>
                <a:lnTo>
                  <a:pt x="258934" y="599439"/>
                </a:lnTo>
                <a:close/>
              </a:path>
              <a:path w="1507489" h="812800">
                <a:moveTo>
                  <a:pt x="1303355" y="552195"/>
                </a:moveTo>
                <a:lnTo>
                  <a:pt x="1268983" y="552195"/>
                </a:lnTo>
                <a:lnTo>
                  <a:pt x="1244853" y="577469"/>
                </a:lnTo>
                <a:lnTo>
                  <a:pt x="1245362" y="577088"/>
                </a:lnTo>
                <a:lnTo>
                  <a:pt x="1281115" y="577088"/>
                </a:lnTo>
                <a:lnTo>
                  <a:pt x="1288033" y="569849"/>
                </a:lnTo>
                <a:lnTo>
                  <a:pt x="1303355" y="552195"/>
                </a:lnTo>
                <a:close/>
              </a:path>
              <a:path w="1507489" h="812800">
                <a:moveTo>
                  <a:pt x="234207" y="575690"/>
                </a:moveTo>
                <a:lnTo>
                  <a:pt x="234060" y="575690"/>
                </a:lnTo>
                <a:lnTo>
                  <a:pt x="234568" y="576071"/>
                </a:lnTo>
                <a:lnTo>
                  <a:pt x="234207" y="575690"/>
                </a:lnTo>
                <a:close/>
              </a:path>
              <a:path w="1507489" h="812800">
                <a:moveTo>
                  <a:pt x="1324449" y="526160"/>
                </a:moveTo>
                <a:lnTo>
                  <a:pt x="1291589" y="526160"/>
                </a:lnTo>
                <a:lnTo>
                  <a:pt x="1268602" y="552576"/>
                </a:lnTo>
                <a:lnTo>
                  <a:pt x="1268983" y="552195"/>
                </a:lnTo>
                <a:lnTo>
                  <a:pt x="1303355" y="552195"/>
                </a:lnTo>
                <a:lnTo>
                  <a:pt x="1311402" y="542925"/>
                </a:lnTo>
                <a:lnTo>
                  <a:pt x="1324449" y="526160"/>
                </a:lnTo>
                <a:close/>
              </a:path>
              <a:path w="1507489" h="812800">
                <a:moveTo>
                  <a:pt x="210438" y="550671"/>
                </a:moveTo>
                <a:lnTo>
                  <a:pt x="210819" y="551179"/>
                </a:lnTo>
                <a:lnTo>
                  <a:pt x="210438" y="550671"/>
                </a:lnTo>
                <a:close/>
              </a:path>
              <a:path w="1507489" h="812800">
                <a:moveTo>
                  <a:pt x="1344455" y="499109"/>
                </a:moveTo>
                <a:lnTo>
                  <a:pt x="1312671" y="499109"/>
                </a:lnTo>
                <a:lnTo>
                  <a:pt x="1312290" y="499618"/>
                </a:lnTo>
                <a:lnTo>
                  <a:pt x="1291081" y="526669"/>
                </a:lnTo>
                <a:lnTo>
                  <a:pt x="1291589" y="526160"/>
                </a:lnTo>
                <a:lnTo>
                  <a:pt x="1324449" y="526160"/>
                </a:lnTo>
                <a:lnTo>
                  <a:pt x="1333245" y="514857"/>
                </a:lnTo>
                <a:lnTo>
                  <a:pt x="1344455" y="499109"/>
                </a:lnTo>
                <a:close/>
              </a:path>
              <a:path w="1507489" h="812800">
                <a:moveTo>
                  <a:pt x="187959" y="524509"/>
                </a:moveTo>
                <a:lnTo>
                  <a:pt x="188340" y="525018"/>
                </a:lnTo>
                <a:lnTo>
                  <a:pt x="187959" y="524509"/>
                </a:lnTo>
                <a:close/>
              </a:path>
              <a:path w="1507489" h="812800">
                <a:moveTo>
                  <a:pt x="1312457" y="499383"/>
                </a:moveTo>
                <a:lnTo>
                  <a:pt x="1312274" y="499618"/>
                </a:lnTo>
                <a:lnTo>
                  <a:pt x="1312457" y="499383"/>
                </a:lnTo>
                <a:close/>
              </a:path>
              <a:path w="1507489" h="812800">
                <a:moveTo>
                  <a:pt x="1363333" y="471043"/>
                </a:moveTo>
                <a:lnTo>
                  <a:pt x="1332610" y="471043"/>
                </a:lnTo>
                <a:lnTo>
                  <a:pt x="1312457" y="499383"/>
                </a:lnTo>
                <a:lnTo>
                  <a:pt x="1312671" y="499109"/>
                </a:lnTo>
                <a:lnTo>
                  <a:pt x="1344455" y="499109"/>
                </a:lnTo>
                <a:lnTo>
                  <a:pt x="1353946" y="485775"/>
                </a:lnTo>
                <a:lnTo>
                  <a:pt x="1363333" y="471043"/>
                </a:lnTo>
                <a:close/>
              </a:path>
              <a:path w="1507489" h="812800">
                <a:moveTo>
                  <a:pt x="166983" y="497504"/>
                </a:moveTo>
                <a:lnTo>
                  <a:pt x="167131" y="497713"/>
                </a:lnTo>
                <a:lnTo>
                  <a:pt x="166983" y="497504"/>
                </a:lnTo>
                <a:close/>
              </a:path>
              <a:path w="1507489" h="812800">
                <a:moveTo>
                  <a:pt x="166770" y="497204"/>
                </a:moveTo>
                <a:lnTo>
                  <a:pt x="166983" y="497504"/>
                </a:lnTo>
                <a:lnTo>
                  <a:pt x="166770" y="497204"/>
                </a:lnTo>
                <a:close/>
              </a:path>
              <a:path w="1507489" h="812800">
                <a:moveTo>
                  <a:pt x="1351152" y="441959"/>
                </a:moveTo>
                <a:lnTo>
                  <a:pt x="1332229" y="471550"/>
                </a:lnTo>
                <a:lnTo>
                  <a:pt x="1332610" y="471043"/>
                </a:lnTo>
                <a:lnTo>
                  <a:pt x="1363333" y="471043"/>
                </a:lnTo>
                <a:lnTo>
                  <a:pt x="1373123" y="455675"/>
                </a:lnTo>
                <a:lnTo>
                  <a:pt x="1380683" y="442594"/>
                </a:lnTo>
                <a:lnTo>
                  <a:pt x="1350898" y="442594"/>
                </a:lnTo>
                <a:lnTo>
                  <a:pt x="1351152" y="441959"/>
                </a:lnTo>
                <a:close/>
              </a:path>
              <a:path w="1507489" h="812800">
                <a:moveTo>
                  <a:pt x="146743" y="469010"/>
                </a:moveTo>
                <a:lnTo>
                  <a:pt x="147065" y="469519"/>
                </a:lnTo>
                <a:lnTo>
                  <a:pt x="146743" y="469010"/>
                </a:lnTo>
                <a:close/>
              </a:path>
              <a:path w="1507489" h="812800">
                <a:moveTo>
                  <a:pt x="1397442" y="412114"/>
                </a:moveTo>
                <a:lnTo>
                  <a:pt x="1368425" y="412114"/>
                </a:lnTo>
                <a:lnTo>
                  <a:pt x="1350898" y="442594"/>
                </a:lnTo>
                <a:lnTo>
                  <a:pt x="1380683" y="442594"/>
                </a:lnTo>
                <a:lnTo>
                  <a:pt x="1391030" y="424688"/>
                </a:lnTo>
                <a:lnTo>
                  <a:pt x="1397442" y="412114"/>
                </a:lnTo>
                <a:close/>
              </a:path>
              <a:path w="1507489" h="812800">
                <a:moveTo>
                  <a:pt x="128142" y="439674"/>
                </a:moveTo>
                <a:lnTo>
                  <a:pt x="128396" y="440181"/>
                </a:lnTo>
                <a:lnTo>
                  <a:pt x="128142" y="439674"/>
                </a:lnTo>
                <a:close/>
              </a:path>
              <a:path w="1507489" h="812800">
                <a:moveTo>
                  <a:pt x="1426264" y="349757"/>
                </a:moveTo>
                <a:lnTo>
                  <a:pt x="1398396" y="349757"/>
                </a:lnTo>
                <a:lnTo>
                  <a:pt x="1383791" y="381888"/>
                </a:lnTo>
                <a:lnTo>
                  <a:pt x="1368043" y="412622"/>
                </a:lnTo>
                <a:lnTo>
                  <a:pt x="1368425" y="412114"/>
                </a:lnTo>
                <a:lnTo>
                  <a:pt x="1397442" y="412114"/>
                </a:lnTo>
                <a:lnTo>
                  <a:pt x="1407287" y="392810"/>
                </a:lnTo>
                <a:lnTo>
                  <a:pt x="1422145" y="360171"/>
                </a:lnTo>
                <a:lnTo>
                  <a:pt x="1426264" y="349757"/>
                </a:lnTo>
                <a:close/>
              </a:path>
              <a:path w="1507489" h="812800">
                <a:moveTo>
                  <a:pt x="110930" y="409320"/>
                </a:moveTo>
                <a:lnTo>
                  <a:pt x="111251" y="409956"/>
                </a:lnTo>
                <a:lnTo>
                  <a:pt x="110930" y="409320"/>
                </a:lnTo>
                <a:close/>
              </a:path>
              <a:path w="1507489" h="812800">
                <a:moveTo>
                  <a:pt x="1384045" y="381253"/>
                </a:moveTo>
                <a:lnTo>
                  <a:pt x="1383722" y="381888"/>
                </a:lnTo>
                <a:lnTo>
                  <a:pt x="1384045" y="381253"/>
                </a:lnTo>
                <a:close/>
              </a:path>
              <a:path w="1507489" h="812800">
                <a:moveTo>
                  <a:pt x="95122" y="378078"/>
                </a:moveTo>
                <a:lnTo>
                  <a:pt x="95376" y="378713"/>
                </a:lnTo>
                <a:lnTo>
                  <a:pt x="95122" y="378078"/>
                </a:lnTo>
                <a:close/>
              </a:path>
              <a:path w="1507489" h="812800">
                <a:moveTo>
                  <a:pt x="1438513" y="317500"/>
                </a:moveTo>
                <a:lnTo>
                  <a:pt x="1411223" y="317500"/>
                </a:lnTo>
                <a:lnTo>
                  <a:pt x="1398142" y="350265"/>
                </a:lnTo>
                <a:lnTo>
                  <a:pt x="1398396" y="349757"/>
                </a:lnTo>
                <a:lnTo>
                  <a:pt x="1426264" y="349757"/>
                </a:lnTo>
                <a:lnTo>
                  <a:pt x="1435353" y="326770"/>
                </a:lnTo>
                <a:lnTo>
                  <a:pt x="1438513" y="317500"/>
                </a:lnTo>
                <a:close/>
              </a:path>
              <a:path w="1507489" h="812800">
                <a:moveTo>
                  <a:pt x="80842" y="346105"/>
                </a:moveTo>
                <a:lnTo>
                  <a:pt x="81025" y="346582"/>
                </a:lnTo>
                <a:lnTo>
                  <a:pt x="80842" y="346105"/>
                </a:lnTo>
                <a:close/>
              </a:path>
              <a:path w="1507489" h="812800">
                <a:moveTo>
                  <a:pt x="80781" y="345947"/>
                </a:moveTo>
                <a:lnTo>
                  <a:pt x="80842" y="346105"/>
                </a:lnTo>
                <a:lnTo>
                  <a:pt x="80781" y="345947"/>
                </a:lnTo>
                <a:close/>
              </a:path>
              <a:path w="1507489" h="812800">
                <a:moveTo>
                  <a:pt x="1458693" y="250697"/>
                </a:moveTo>
                <a:lnTo>
                  <a:pt x="1432178" y="250697"/>
                </a:lnTo>
                <a:lnTo>
                  <a:pt x="1422272" y="284988"/>
                </a:lnTo>
                <a:lnTo>
                  <a:pt x="1410969" y="318007"/>
                </a:lnTo>
                <a:lnTo>
                  <a:pt x="1411223" y="317500"/>
                </a:lnTo>
                <a:lnTo>
                  <a:pt x="1438513" y="317500"/>
                </a:lnTo>
                <a:lnTo>
                  <a:pt x="1447038" y="292481"/>
                </a:lnTo>
                <a:lnTo>
                  <a:pt x="1457070" y="257556"/>
                </a:lnTo>
                <a:lnTo>
                  <a:pt x="1458693" y="250697"/>
                </a:lnTo>
                <a:close/>
              </a:path>
              <a:path w="1507489" h="812800">
                <a:moveTo>
                  <a:pt x="68071" y="312927"/>
                </a:moveTo>
                <a:lnTo>
                  <a:pt x="68198" y="313563"/>
                </a:lnTo>
                <a:lnTo>
                  <a:pt x="68071" y="312927"/>
                </a:lnTo>
                <a:close/>
              </a:path>
              <a:path w="1507489" h="812800">
                <a:moveTo>
                  <a:pt x="1422400" y="284479"/>
                </a:moveTo>
                <a:lnTo>
                  <a:pt x="1422226" y="284988"/>
                </a:lnTo>
                <a:lnTo>
                  <a:pt x="1422400" y="284479"/>
                </a:lnTo>
                <a:close/>
              </a:path>
              <a:path w="1507489" h="812800">
                <a:moveTo>
                  <a:pt x="56895" y="279145"/>
                </a:moveTo>
                <a:lnTo>
                  <a:pt x="57022" y="279653"/>
                </a:lnTo>
                <a:lnTo>
                  <a:pt x="56895" y="279145"/>
                </a:lnTo>
                <a:close/>
              </a:path>
              <a:path w="1507489" h="812800">
                <a:moveTo>
                  <a:pt x="1466476" y="216534"/>
                </a:moveTo>
                <a:lnTo>
                  <a:pt x="1440179" y="216534"/>
                </a:lnTo>
                <a:lnTo>
                  <a:pt x="1440052" y="217169"/>
                </a:lnTo>
                <a:lnTo>
                  <a:pt x="1431925" y="251332"/>
                </a:lnTo>
                <a:lnTo>
                  <a:pt x="1432178" y="250697"/>
                </a:lnTo>
                <a:lnTo>
                  <a:pt x="1458693" y="250697"/>
                </a:lnTo>
                <a:lnTo>
                  <a:pt x="1465452" y="222122"/>
                </a:lnTo>
                <a:lnTo>
                  <a:pt x="1466476" y="216534"/>
                </a:lnTo>
                <a:close/>
              </a:path>
              <a:path w="1507489" h="812800">
                <a:moveTo>
                  <a:pt x="47357" y="244601"/>
                </a:moveTo>
                <a:lnTo>
                  <a:pt x="47497" y="245237"/>
                </a:lnTo>
                <a:lnTo>
                  <a:pt x="47357" y="244601"/>
                </a:lnTo>
                <a:close/>
              </a:path>
              <a:path w="1507489" h="812800">
                <a:moveTo>
                  <a:pt x="1440132" y="216735"/>
                </a:moveTo>
                <a:lnTo>
                  <a:pt x="1440029" y="217169"/>
                </a:lnTo>
                <a:lnTo>
                  <a:pt x="1440132" y="216735"/>
                </a:lnTo>
                <a:close/>
              </a:path>
              <a:path w="1507489" h="812800">
                <a:moveTo>
                  <a:pt x="1472624" y="181737"/>
                </a:moveTo>
                <a:lnTo>
                  <a:pt x="1446529" y="181737"/>
                </a:lnTo>
                <a:lnTo>
                  <a:pt x="1440132" y="216735"/>
                </a:lnTo>
                <a:lnTo>
                  <a:pt x="1440179" y="216534"/>
                </a:lnTo>
                <a:lnTo>
                  <a:pt x="1466476" y="216534"/>
                </a:lnTo>
                <a:lnTo>
                  <a:pt x="1472056" y="186054"/>
                </a:lnTo>
                <a:lnTo>
                  <a:pt x="1472624" y="181737"/>
                </a:lnTo>
                <a:close/>
              </a:path>
              <a:path w="1507489" h="812800">
                <a:moveTo>
                  <a:pt x="39574" y="209516"/>
                </a:moveTo>
                <a:lnTo>
                  <a:pt x="39623" y="209803"/>
                </a:lnTo>
                <a:lnTo>
                  <a:pt x="39574" y="209516"/>
                </a:lnTo>
                <a:close/>
              </a:path>
              <a:path w="1507489" h="812800">
                <a:moveTo>
                  <a:pt x="39513" y="209169"/>
                </a:moveTo>
                <a:lnTo>
                  <a:pt x="39574" y="209516"/>
                </a:lnTo>
                <a:lnTo>
                  <a:pt x="39513" y="209169"/>
                </a:lnTo>
                <a:close/>
              </a:path>
              <a:path w="1507489" h="812800">
                <a:moveTo>
                  <a:pt x="1477132" y="146303"/>
                </a:moveTo>
                <a:lnTo>
                  <a:pt x="1451228" y="146303"/>
                </a:lnTo>
                <a:lnTo>
                  <a:pt x="1446402" y="182371"/>
                </a:lnTo>
                <a:lnTo>
                  <a:pt x="1446529" y="181737"/>
                </a:lnTo>
                <a:lnTo>
                  <a:pt x="1472624" y="181737"/>
                </a:lnTo>
                <a:lnTo>
                  <a:pt x="1476882" y="149351"/>
                </a:lnTo>
                <a:lnTo>
                  <a:pt x="1477132" y="146303"/>
                </a:lnTo>
                <a:close/>
              </a:path>
              <a:path w="1507489" h="812800">
                <a:moveTo>
                  <a:pt x="33325" y="173227"/>
                </a:moveTo>
                <a:lnTo>
                  <a:pt x="33400" y="173862"/>
                </a:lnTo>
                <a:lnTo>
                  <a:pt x="33325" y="173227"/>
                </a:lnTo>
                <a:close/>
              </a:path>
              <a:path w="1507489" h="812800">
                <a:moveTo>
                  <a:pt x="1480401" y="77158"/>
                </a:moveTo>
                <a:lnTo>
                  <a:pt x="1454472" y="78218"/>
                </a:lnTo>
                <a:lnTo>
                  <a:pt x="1454022" y="111378"/>
                </a:lnTo>
                <a:lnTo>
                  <a:pt x="1451102" y="146938"/>
                </a:lnTo>
                <a:lnTo>
                  <a:pt x="1451228" y="146303"/>
                </a:lnTo>
                <a:lnTo>
                  <a:pt x="1477132" y="146303"/>
                </a:lnTo>
                <a:lnTo>
                  <a:pt x="1479930" y="112140"/>
                </a:lnTo>
                <a:lnTo>
                  <a:pt x="1480401" y="77158"/>
                </a:lnTo>
                <a:close/>
              </a:path>
              <a:path w="1507489" h="812800">
                <a:moveTo>
                  <a:pt x="28955" y="136525"/>
                </a:moveTo>
                <a:lnTo>
                  <a:pt x="28955" y="137032"/>
                </a:lnTo>
                <a:lnTo>
                  <a:pt x="28955" y="136525"/>
                </a:lnTo>
                <a:close/>
              </a:path>
              <a:path w="1507489" h="812800">
                <a:moveTo>
                  <a:pt x="1454022" y="110489"/>
                </a:moveTo>
                <a:lnTo>
                  <a:pt x="1453951" y="111378"/>
                </a:lnTo>
                <a:lnTo>
                  <a:pt x="1454022" y="110489"/>
                </a:lnTo>
                <a:close/>
              </a:path>
              <a:path w="1507489" h="812800">
                <a:moveTo>
                  <a:pt x="26903" y="108712"/>
                </a:moveTo>
                <a:lnTo>
                  <a:pt x="26923" y="109219"/>
                </a:lnTo>
                <a:lnTo>
                  <a:pt x="26903" y="108712"/>
                </a:lnTo>
                <a:close/>
              </a:path>
              <a:path w="1507489" h="812800">
                <a:moveTo>
                  <a:pt x="1464817" y="0"/>
                </a:moveTo>
                <a:lnTo>
                  <a:pt x="1429257" y="79248"/>
                </a:lnTo>
                <a:lnTo>
                  <a:pt x="1454472" y="78218"/>
                </a:lnTo>
                <a:lnTo>
                  <a:pt x="1454657" y="64515"/>
                </a:lnTo>
                <a:lnTo>
                  <a:pt x="1500576" y="64515"/>
                </a:lnTo>
                <a:lnTo>
                  <a:pt x="1464817" y="0"/>
                </a:lnTo>
                <a:close/>
              </a:path>
              <a:path w="1507489" h="812800">
                <a:moveTo>
                  <a:pt x="1454657" y="64515"/>
                </a:moveTo>
                <a:lnTo>
                  <a:pt x="1454472" y="78218"/>
                </a:lnTo>
                <a:lnTo>
                  <a:pt x="1480401" y="77158"/>
                </a:lnTo>
                <a:lnTo>
                  <a:pt x="1480565" y="64897"/>
                </a:lnTo>
                <a:lnTo>
                  <a:pt x="1454657" y="64515"/>
                </a:lnTo>
                <a:close/>
              </a:path>
              <a:path w="1507489" h="812800">
                <a:moveTo>
                  <a:pt x="1500576" y="64515"/>
                </a:moveTo>
                <a:lnTo>
                  <a:pt x="1454657" y="64515"/>
                </a:lnTo>
                <a:lnTo>
                  <a:pt x="1480565" y="64897"/>
                </a:lnTo>
                <a:lnTo>
                  <a:pt x="1480401" y="77158"/>
                </a:lnTo>
                <a:lnTo>
                  <a:pt x="1506981" y="76073"/>
                </a:lnTo>
                <a:lnTo>
                  <a:pt x="1500576" y="64515"/>
                </a:lnTo>
                <a:close/>
              </a:path>
            </a:pathLst>
          </a:custGeom>
          <a:solidFill>
            <a:srgbClr val="12ABDB"/>
          </a:solidFill>
        </p:spPr>
        <p:txBody>
          <a:bodyPr wrap="square" lIns="0" tIns="0" rIns="0" bIns="0" rtlCol="0"/>
          <a:lstStyle/>
          <a:p>
            <a:endParaRPr/>
          </a:p>
        </p:txBody>
      </p:sp>
      <p:sp>
        <p:nvSpPr>
          <p:cNvPr id="30" name="object 30"/>
          <p:cNvSpPr/>
          <p:nvPr/>
        </p:nvSpPr>
        <p:spPr>
          <a:xfrm>
            <a:off x="5946902" y="2557272"/>
            <a:ext cx="1507490" cy="812800"/>
          </a:xfrm>
          <a:custGeom>
            <a:avLst/>
            <a:gdLst/>
            <a:ahLst/>
            <a:cxnLst/>
            <a:rect l="l" t="t" r="r" b="b"/>
            <a:pathLst>
              <a:path w="1507490" h="812800">
                <a:moveTo>
                  <a:pt x="1429257" y="733551"/>
                </a:moveTo>
                <a:lnTo>
                  <a:pt x="1464818" y="812800"/>
                </a:lnTo>
                <a:lnTo>
                  <a:pt x="1500576" y="748283"/>
                </a:lnTo>
                <a:lnTo>
                  <a:pt x="1454657" y="748283"/>
                </a:lnTo>
                <a:lnTo>
                  <a:pt x="1454472" y="734581"/>
                </a:lnTo>
                <a:lnTo>
                  <a:pt x="1429257" y="733551"/>
                </a:lnTo>
                <a:close/>
              </a:path>
              <a:path w="1507490" h="812800">
                <a:moveTo>
                  <a:pt x="1454472" y="734581"/>
                </a:moveTo>
                <a:lnTo>
                  <a:pt x="1454657" y="748283"/>
                </a:lnTo>
                <a:lnTo>
                  <a:pt x="1480566" y="747902"/>
                </a:lnTo>
                <a:lnTo>
                  <a:pt x="1480401" y="735641"/>
                </a:lnTo>
                <a:lnTo>
                  <a:pt x="1454472" y="734581"/>
                </a:lnTo>
                <a:close/>
              </a:path>
              <a:path w="1507490" h="812800">
                <a:moveTo>
                  <a:pt x="1480401" y="735641"/>
                </a:moveTo>
                <a:lnTo>
                  <a:pt x="1480566" y="747902"/>
                </a:lnTo>
                <a:lnTo>
                  <a:pt x="1454657" y="748283"/>
                </a:lnTo>
                <a:lnTo>
                  <a:pt x="1500576" y="748283"/>
                </a:lnTo>
                <a:lnTo>
                  <a:pt x="1506981" y="736726"/>
                </a:lnTo>
                <a:lnTo>
                  <a:pt x="1480401" y="735641"/>
                </a:lnTo>
                <a:close/>
              </a:path>
              <a:path w="1507490" h="812800">
                <a:moveTo>
                  <a:pt x="1479941" y="701420"/>
                </a:moveTo>
                <a:lnTo>
                  <a:pt x="1454023" y="701420"/>
                </a:lnTo>
                <a:lnTo>
                  <a:pt x="1454472" y="734581"/>
                </a:lnTo>
                <a:lnTo>
                  <a:pt x="1480401" y="735641"/>
                </a:lnTo>
                <a:lnTo>
                  <a:pt x="1479941" y="701420"/>
                </a:lnTo>
                <a:close/>
              </a:path>
              <a:path w="1507490" h="812800">
                <a:moveTo>
                  <a:pt x="734695" y="0"/>
                </a:moveTo>
                <a:lnTo>
                  <a:pt x="660400" y="4317"/>
                </a:lnTo>
                <a:lnTo>
                  <a:pt x="588009" y="15748"/>
                </a:lnTo>
                <a:lnTo>
                  <a:pt x="517906" y="34162"/>
                </a:lnTo>
                <a:lnTo>
                  <a:pt x="450469" y="59308"/>
                </a:lnTo>
                <a:lnTo>
                  <a:pt x="386080" y="90550"/>
                </a:lnTo>
                <a:lnTo>
                  <a:pt x="325374" y="127762"/>
                </a:lnTo>
                <a:lnTo>
                  <a:pt x="268477" y="170561"/>
                </a:lnTo>
                <a:lnTo>
                  <a:pt x="215900" y="218566"/>
                </a:lnTo>
                <a:lnTo>
                  <a:pt x="168148" y="271652"/>
                </a:lnTo>
                <a:lnTo>
                  <a:pt x="125349" y="329056"/>
                </a:lnTo>
                <a:lnTo>
                  <a:pt x="88264" y="390905"/>
                </a:lnTo>
                <a:lnTo>
                  <a:pt x="57023" y="456438"/>
                </a:lnTo>
                <a:lnTo>
                  <a:pt x="32258" y="525779"/>
                </a:lnTo>
                <a:lnTo>
                  <a:pt x="14097" y="598297"/>
                </a:lnTo>
                <a:lnTo>
                  <a:pt x="3175" y="673480"/>
                </a:lnTo>
                <a:lnTo>
                  <a:pt x="0" y="730885"/>
                </a:lnTo>
                <a:lnTo>
                  <a:pt x="25781" y="731901"/>
                </a:lnTo>
                <a:lnTo>
                  <a:pt x="26908" y="703961"/>
                </a:lnTo>
                <a:lnTo>
                  <a:pt x="28917" y="676275"/>
                </a:lnTo>
                <a:lnTo>
                  <a:pt x="29016" y="675766"/>
                </a:lnTo>
                <a:lnTo>
                  <a:pt x="33325" y="639572"/>
                </a:lnTo>
                <a:lnTo>
                  <a:pt x="39514" y="603503"/>
                </a:lnTo>
                <a:lnTo>
                  <a:pt x="39624" y="602868"/>
                </a:lnTo>
                <a:lnTo>
                  <a:pt x="47356" y="568198"/>
                </a:lnTo>
                <a:lnTo>
                  <a:pt x="57023" y="533018"/>
                </a:lnTo>
                <a:lnTo>
                  <a:pt x="68199" y="499110"/>
                </a:lnTo>
                <a:lnTo>
                  <a:pt x="80829" y="466725"/>
                </a:lnTo>
                <a:lnTo>
                  <a:pt x="95376" y="434086"/>
                </a:lnTo>
                <a:lnTo>
                  <a:pt x="110994" y="403351"/>
                </a:lnTo>
                <a:lnTo>
                  <a:pt x="128397" y="372490"/>
                </a:lnTo>
                <a:lnTo>
                  <a:pt x="128545" y="372490"/>
                </a:lnTo>
                <a:lnTo>
                  <a:pt x="146743" y="343788"/>
                </a:lnTo>
                <a:lnTo>
                  <a:pt x="166860" y="315467"/>
                </a:lnTo>
                <a:lnTo>
                  <a:pt x="188340" y="287781"/>
                </a:lnTo>
                <a:lnTo>
                  <a:pt x="210820" y="261619"/>
                </a:lnTo>
                <a:lnTo>
                  <a:pt x="234088" y="237108"/>
                </a:lnTo>
                <a:lnTo>
                  <a:pt x="234569" y="236600"/>
                </a:lnTo>
                <a:lnTo>
                  <a:pt x="259334" y="212851"/>
                </a:lnTo>
                <a:lnTo>
                  <a:pt x="284804" y="190753"/>
                </a:lnTo>
                <a:lnTo>
                  <a:pt x="311684" y="169417"/>
                </a:lnTo>
                <a:lnTo>
                  <a:pt x="312165" y="169037"/>
                </a:lnTo>
                <a:lnTo>
                  <a:pt x="339700" y="149351"/>
                </a:lnTo>
                <a:lnTo>
                  <a:pt x="368666" y="130682"/>
                </a:lnTo>
                <a:lnTo>
                  <a:pt x="398467" y="113411"/>
                </a:lnTo>
                <a:lnTo>
                  <a:pt x="398272" y="113411"/>
                </a:lnTo>
                <a:lnTo>
                  <a:pt x="429513" y="97281"/>
                </a:lnTo>
                <a:lnTo>
                  <a:pt x="429713" y="97281"/>
                </a:lnTo>
                <a:lnTo>
                  <a:pt x="460883" y="83057"/>
                </a:lnTo>
                <a:lnTo>
                  <a:pt x="492510" y="70357"/>
                </a:lnTo>
                <a:lnTo>
                  <a:pt x="493140" y="70103"/>
                </a:lnTo>
                <a:lnTo>
                  <a:pt x="526034" y="58800"/>
                </a:lnTo>
                <a:lnTo>
                  <a:pt x="526274" y="58800"/>
                </a:lnTo>
                <a:lnTo>
                  <a:pt x="559124" y="49275"/>
                </a:lnTo>
                <a:lnTo>
                  <a:pt x="558926" y="49275"/>
                </a:lnTo>
                <a:lnTo>
                  <a:pt x="593598" y="41148"/>
                </a:lnTo>
                <a:lnTo>
                  <a:pt x="593766" y="41148"/>
                </a:lnTo>
                <a:lnTo>
                  <a:pt x="628269" y="34670"/>
                </a:lnTo>
                <a:lnTo>
                  <a:pt x="628576" y="34670"/>
                </a:lnTo>
                <a:lnTo>
                  <a:pt x="663448" y="29972"/>
                </a:lnTo>
                <a:lnTo>
                  <a:pt x="664326" y="29972"/>
                </a:lnTo>
                <a:lnTo>
                  <a:pt x="699134" y="27050"/>
                </a:lnTo>
                <a:lnTo>
                  <a:pt x="702170" y="27050"/>
                </a:lnTo>
                <a:lnTo>
                  <a:pt x="734965" y="25916"/>
                </a:lnTo>
                <a:lnTo>
                  <a:pt x="734568" y="25907"/>
                </a:lnTo>
                <a:lnTo>
                  <a:pt x="933788" y="25907"/>
                </a:lnTo>
                <a:lnTo>
                  <a:pt x="885444" y="14350"/>
                </a:lnTo>
                <a:lnTo>
                  <a:pt x="810387" y="3428"/>
                </a:lnTo>
                <a:lnTo>
                  <a:pt x="772414" y="762"/>
                </a:lnTo>
                <a:lnTo>
                  <a:pt x="734695" y="0"/>
                </a:lnTo>
                <a:close/>
              </a:path>
              <a:path w="1507490" h="812800">
                <a:moveTo>
                  <a:pt x="26924" y="703579"/>
                </a:moveTo>
                <a:lnTo>
                  <a:pt x="26797" y="703961"/>
                </a:lnTo>
                <a:lnTo>
                  <a:pt x="26924" y="703579"/>
                </a:lnTo>
                <a:close/>
              </a:path>
              <a:path w="1507490" h="812800">
                <a:moveTo>
                  <a:pt x="1466359" y="595629"/>
                </a:moveTo>
                <a:lnTo>
                  <a:pt x="1440052" y="595629"/>
                </a:lnTo>
                <a:lnTo>
                  <a:pt x="1440179" y="596264"/>
                </a:lnTo>
                <a:lnTo>
                  <a:pt x="1446529" y="631063"/>
                </a:lnTo>
                <a:lnTo>
                  <a:pt x="1451228" y="666495"/>
                </a:lnTo>
                <a:lnTo>
                  <a:pt x="1454023" y="702310"/>
                </a:lnTo>
                <a:lnTo>
                  <a:pt x="1454023" y="701420"/>
                </a:lnTo>
                <a:lnTo>
                  <a:pt x="1479941" y="701420"/>
                </a:lnTo>
                <a:lnTo>
                  <a:pt x="1479930" y="700658"/>
                </a:lnTo>
                <a:lnTo>
                  <a:pt x="1476882" y="663320"/>
                </a:lnTo>
                <a:lnTo>
                  <a:pt x="1472056" y="626744"/>
                </a:lnTo>
                <a:lnTo>
                  <a:pt x="1466359" y="595629"/>
                </a:lnTo>
                <a:close/>
              </a:path>
              <a:path w="1507490" h="812800">
                <a:moveTo>
                  <a:pt x="29016" y="675766"/>
                </a:moveTo>
                <a:lnTo>
                  <a:pt x="28956" y="676275"/>
                </a:lnTo>
                <a:lnTo>
                  <a:pt x="29016" y="675766"/>
                </a:lnTo>
                <a:close/>
              </a:path>
              <a:path w="1507490" h="812800">
                <a:moveTo>
                  <a:pt x="1451102" y="665733"/>
                </a:moveTo>
                <a:lnTo>
                  <a:pt x="1451162" y="666495"/>
                </a:lnTo>
                <a:lnTo>
                  <a:pt x="1451102" y="665733"/>
                </a:lnTo>
                <a:close/>
              </a:path>
              <a:path w="1507490" h="812800">
                <a:moveTo>
                  <a:pt x="33400" y="638937"/>
                </a:moveTo>
                <a:lnTo>
                  <a:pt x="33274" y="639572"/>
                </a:lnTo>
                <a:lnTo>
                  <a:pt x="33400" y="638937"/>
                </a:lnTo>
                <a:close/>
              </a:path>
              <a:path w="1507490" h="812800">
                <a:moveTo>
                  <a:pt x="1446402" y="630427"/>
                </a:moveTo>
                <a:lnTo>
                  <a:pt x="1446487" y="631063"/>
                </a:lnTo>
                <a:lnTo>
                  <a:pt x="1446402" y="630427"/>
                </a:lnTo>
                <a:close/>
              </a:path>
              <a:path w="1507490" h="812800">
                <a:moveTo>
                  <a:pt x="39573" y="603158"/>
                </a:moveTo>
                <a:lnTo>
                  <a:pt x="39497" y="603503"/>
                </a:lnTo>
                <a:lnTo>
                  <a:pt x="39573" y="603158"/>
                </a:lnTo>
                <a:close/>
              </a:path>
              <a:path w="1507490" h="812800">
                <a:moveTo>
                  <a:pt x="39638" y="602868"/>
                </a:moveTo>
                <a:lnTo>
                  <a:pt x="39573" y="603158"/>
                </a:lnTo>
                <a:lnTo>
                  <a:pt x="39638" y="602868"/>
                </a:lnTo>
                <a:close/>
              </a:path>
              <a:path w="1507490" h="812800">
                <a:moveTo>
                  <a:pt x="1440132" y="596064"/>
                </a:moveTo>
                <a:lnTo>
                  <a:pt x="1440169" y="596264"/>
                </a:lnTo>
                <a:lnTo>
                  <a:pt x="1440132" y="596064"/>
                </a:lnTo>
                <a:close/>
              </a:path>
              <a:path w="1507490" h="812800">
                <a:moveTo>
                  <a:pt x="1449198" y="527812"/>
                </a:moveTo>
                <a:lnTo>
                  <a:pt x="1422273" y="527812"/>
                </a:lnTo>
                <a:lnTo>
                  <a:pt x="1432178" y="562101"/>
                </a:lnTo>
                <a:lnTo>
                  <a:pt x="1440132" y="596064"/>
                </a:lnTo>
                <a:lnTo>
                  <a:pt x="1440052" y="595629"/>
                </a:lnTo>
                <a:lnTo>
                  <a:pt x="1466359" y="595629"/>
                </a:lnTo>
                <a:lnTo>
                  <a:pt x="1465452" y="590676"/>
                </a:lnTo>
                <a:lnTo>
                  <a:pt x="1457071" y="555116"/>
                </a:lnTo>
                <a:lnTo>
                  <a:pt x="1449198" y="527812"/>
                </a:lnTo>
                <a:close/>
              </a:path>
              <a:path w="1507490" h="812800">
                <a:moveTo>
                  <a:pt x="47498" y="567563"/>
                </a:moveTo>
                <a:lnTo>
                  <a:pt x="47244" y="568198"/>
                </a:lnTo>
                <a:lnTo>
                  <a:pt x="47498" y="567563"/>
                </a:lnTo>
                <a:close/>
              </a:path>
              <a:path w="1507490" h="812800">
                <a:moveTo>
                  <a:pt x="1431925" y="561466"/>
                </a:moveTo>
                <a:lnTo>
                  <a:pt x="1432075" y="562101"/>
                </a:lnTo>
                <a:lnTo>
                  <a:pt x="1431925" y="561466"/>
                </a:lnTo>
                <a:close/>
              </a:path>
              <a:path w="1507490" h="812800">
                <a:moveTo>
                  <a:pt x="57103" y="533018"/>
                </a:moveTo>
                <a:lnTo>
                  <a:pt x="56896" y="533653"/>
                </a:lnTo>
                <a:lnTo>
                  <a:pt x="57103" y="533018"/>
                </a:lnTo>
                <a:close/>
              </a:path>
              <a:path w="1507490" h="812800">
                <a:moveTo>
                  <a:pt x="1426012" y="462406"/>
                </a:moveTo>
                <a:lnTo>
                  <a:pt x="1398143" y="462406"/>
                </a:lnTo>
                <a:lnTo>
                  <a:pt x="1398397" y="463041"/>
                </a:lnTo>
                <a:lnTo>
                  <a:pt x="1411224" y="495300"/>
                </a:lnTo>
                <a:lnTo>
                  <a:pt x="1422400" y="528319"/>
                </a:lnTo>
                <a:lnTo>
                  <a:pt x="1422273" y="527812"/>
                </a:lnTo>
                <a:lnTo>
                  <a:pt x="1449198" y="527812"/>
                </a:lnTo>
                <a:lnTo>
                  <a:pt x="1447038" y="520318"/>
                </a:lnTo>
                <a:lnTo>
                  <a:pt x="1435353" y="486028"/>
                </a:lnTo>
                <a:lnTo>
                  <a:pt x="1426012" y="462406"/>
                </a:lnTo>
                <a:close/>
              </a:path>
              <a:path w="1507490" h="812800">
                <a:moveTo>
                  <a:pt x="68317" y="499110"/>
                </a:moveTo>
                <a:lnTo>
                  <a:pt x="68072" y="499744"/>
                </a:lnTo>
                <a:lnTo>
                  <a:pt x="68317" y="499110"/>
                </a:lnTo>
                <a:close/>
              </a:path>
              <a:path w="1507490" h="812800">
                <a:moveTo>
                  <a:pt x="1410970" y="494664"/>
                </a:moveTo>
                <a:lnTo>
                  <a:pt x="1411185" y="495300"/>
                </a:lnTo>
                <a:lnTo>
                  <a:pt x="1410970" y="494664"/>
                </a:lnTo>
                <a:close/>
              </a:path>
              <a:path w="1507490" h="812800">
                <a:moveTo>
                  <a:pt x="81025" y="466216"/>
                </a:moveTo>
                <a:lnTo>
                  <a:pt x="80772" y="466725"/>
                </a:lnTo>
                <a:lnTo>
                  <a:pt x="81025" y="466216"/>
                </a:lnTo>
                <a:close/>
              </a:path>
              <a:path w="1507490" h="812800">
                <a:moveTo>
                  <a:pt x="1398385" y="463016"/>
                </a:moveTo>
                <a:close/>
              </a:path>
              <a:path w="1507490" h="812800">
                <a:moveTo>
                  <a:pt x="1412259" y="430911"/>
                </a:moveTo>
                <a:lnTo>
                  <a:pt x="1383792" y="430911"/>
                </a:lnTo>
                <a:lnTo>
                  <a:pt x="1384046" y="431418"/>
                </a:lnTo>
                <a:lnTo>
                  <a:pt x="1398385" y="463016"/>
                </a:lnTo>
                <a:lnTo>
                  <a:pt x="1398143" y="462406"/>
                </a:lnTo>
                <a:lnTo>
                  <a:pt x="1426012" y="462406"/>
                </a:lnTo>
                <a:lnTo>
                  <a:pt x="1422146" y="452627"/>
                </a:lnTo>
                <a:lnTo>
                  <a:pt x="1412259" y="430911"/>
                </a:lnTo>
                <a:close/>
              </a:path>
              <a:path w="1507490" h="812800">
                <a:moveTo>
                  <a:pt x="95444" y="434086"/>
                </a:moveTo>
                <a:lnTo>
                  <a:pt x="95123" y="434720"/>
                </a:lnTo>
                <a:lnTo>
                  <a:pt x="95444" y="434086"/>
                </a:lnTo>
                <a:close/>
              </a:path>
              <a:path w="1507490" h="812800">
                <a:moveTo>
                  <a:pt x="1383840" y="431018"/>
                </a:moveTo>
                <a:lnTo>
                  <a:pt x="1384022" y="431418"/>
                </a:lnTo>
                <a:lnTo>
                  <a:pt x="1383840" y="431018"/>
                </a:lnTo>
                <a:close/>
              </a:path>
              <a:path w="1507490" h="812800">
                <a:moveTo>
                  <a:pt x="1380725" y="370204"/>
                </a:moveTo>
                <a:lnTo>
                  <a:pt x="1350899" y="370204"/>
                </a:lnTo>
                <a:lnTo>
                  <a:pt x="1368425" y="400685"/>
                </a:lnTo>
                <a:lnTo>
                  <a:pt x="1383840" y="431018"/>
                </a:lnTo>
                <a:lnTo>
                  <a:pt x="1412259" y="430911"/>
                </a:lnTo>
                <a:lnTo>
                  <a:pt x="1407287" y="419988"/>
                </a:lnTo>
                <a:lnTo>
                  <a:pt x="1391030" y="388112"/>
                </a:lnTo>
                <a:lnTo>
                  <a:pt x="1380725" y="370204"/>
                </a:lnTo>
                <a:close/>
              </a:path>
              <a:path w="1507490" h="812800">
                <a:moveTo>
                  <a:pt x="111251" y="402843"/>
                </a:moveTo>
                <a:lnTo>
                  <a:pt x="110871" y="403351"/>
                </a:lnTo>
                <a:lnTo>
                  <a:pt x="111251" y="402843"/>
                </a:lnTo>
                <a:close/>
              </a:path>
              <a:path w="1507490" h="812800">
                <a:moveTo>
                  <a:pt x="1368044" y="400176"/>
                </a:moveTo>
                <a:lnTo>
                  <a:pt x="1368304" y="400685"/>
                </a:lnTo>
                <a:lnTo>
                  <a:pt x="1368044" y="400176"/>
                </a:lnTo>
                <a:close/>
              </a:path>
              <a:path w="1507490" h="812800">
                <a:moveTo>
                  <a:pt x="128545" y="372490"/>
                </a:moveTo>
                <a:lnTo>
                  <a:pt x="128397" y="372490"/>
                </a:lnTo>
                <a:lnTo>
                  <a:pt x="128143" y="373125"/>
                </a:lnTo>
                <a:lnTo>
                  <a:pt x="128545" y="372490"/>
                </a:lnTo>
                <a:close/>
              </a:path>
              <a:path w="1507490" h="812800">
                <a:moveTo>
                  <a:pt x="1344093" y="313181"/>
                </a:moveTo>
                <a:lnTo>
                  <a:pt x="1312291" y="313181"/>
                </a:lnTo>
                <a:lnTo>
                  <a:pt x="1312672" y="313689"/>
                </a:lnTo>
                <a:lnTo>
                  <a:pt x="1332611" y="341756"/>
                </a:lnTo>
                <a:lnTo>
                  <a:pt x="1351152" y="370713"/>
                </a:lnTo>
                <a:lnTo>
                  <a:pt x="1350899" y="370204"/>
                </a:lnTo>
                <a:lnTo>
                  <a:pt x="1380725" y="370204"/>
                </a:lnTo>
                <a:lnTo>
                  <a:pt x="1373124" y="356997"/>
                </a:lnTo>
                <a:lnTo>
                  <a:pt x="1353947" y="327025"/>
                </a:lnTo>
                <a:lnTo>
                  <a:pt x="1344093" y="313181"/>
                </a:lnTo>
                <a:close/>
              </a:path>
              <a:path w="1507490" h="812800">
                <a:moveTo>
                  <a:pt x="147065" y="343280"/>
                </a:moveTo>
                <a:lnTo>
                  <a:pt x="146685" y="343788"/>
                </a:lnTo>
                <a:lnTo>
                  <a:pt x="147065" y="343280"/>
                </a:lnTo>
                <a:close/>
              </a:path>
              <a:path w="1507490" h="812800">
                <a:moveTo>
                  <a:pt x="1332229" y="341249"/>
                </a:moveTo>
                <a:lnTo>
                  <a:pt x="1332556" y="341756"/>
                </a:lnTo>
                <a:lnTo>
                  <a:pt x="1332229" y="341249"/>
                </a:lnTo>
                <a:close/>
              </a:path>
              <a:path w="1507490" h="812800">
                <a:moveTo>
                  <a:pt x="167132" y="315087"/>
                </a:moveTo>
                <a:lnTo>
                  <a:pt x="166750" y="315467"/>
                </a:lnTo>
                <a:lnTo>
                  <a:pt x="167132" y="315087"/>
                </a:lnTo>
                <a:close/>
              </a:path>
              <a:path w="1507490" h="812800">
                <a:moveTo>
                  <a:pt x="1312457" y="313416"/>
                </a:moveTo>
                <a:lnTo>
                  <a:pt x="1312652" y="313689"/>
                </a:lnTo>
                <a:lnTo>
                  <a:pt x="1312457" y="313416"/>
                </a:lnTo>
                <a:close/>
              </a:path>
              <a:path w="1507490" h="812800">
                <a:moveTo>
                  <a:pt x="1302914" y="260095"/>
                </a:moveTo>
                <a:lnTo>
                  <a:pt x="1268602" y="260095"/>
                </a:lnTo>
                <a:lnTo>
                  <a:pt x="1291590" y="286638"/>
                </a:lnTo>
                <a:lnTo>
                  <a:pt x="1312457" y="313416"/>
                </a:lnTo>
                <a:lnTo>
                  <a:pt x="1312291" y="313181"/>
                </a:lnTo>
                <a:lnTo>
                  <a:pt x="1344093" y="313181"/>
                </a:lnTo>
                <a:lnTo>
                  <a:pt x="1333246" y="297941"/>
                </a:lnTo>
                <a:lnTo>
                  <a:pt x="1311402" y="269875"/>
                </a:lnTo>
                <a:lnTo>
                  <a:pt x="1302914" y="260095"/>
                </a:lnTo>
                <a:close/>
              </a:path>
              <a:path w="1507490" h="812800">
                <a:moveTo>
                  <a:pt x="188395" y="287781"/>
                </a:moveTo>
                <a:lnTo>
                  <a:pt x="187960" y="288289"/>
                </a:lnTo>
                <a:lnTo>
                  <a:pt x="188395" y="287781"/>
                </a:lnTo>
                <a:close/>
              </a:path>
              <a:path w="1507490" h="812800">
                <a:moveTo>
                  <a:pt x="1291081" y="286130"/>
                </a:moveTo>
                <a:lnTo>
                  <a:pt x="1291479" y="286638"/>
                </a:lnTo>
                <a:lnTo>
                  <a:pt x="1291081" y="286130"/>
                </a:lnTo>
                <a:close/>
              </a:path>
              <a:path w="1507490" h="812800">
                <a:moveTo>
                  <a:pt x="210919" y="261619"/>
                </a:moveTo>
                <a:lnTo>
                  <a:pt x="210438" y="262127"/>
                </a:lnTo>
                <a:lnTo>
                  <a:pt x="210919" y="261619"/>
                </a:lnTo>
                <a:close/>
              </a:path>
              <a:path w="1507490" h="812800">
                <a:moveTo>
                  <a:pt x="1280630" y="235203"/>
                </a:moveTo>
                <a:lnTo>
                  <a:pt x="1244853" y="235203"/>
                </a:lnTo>
                <a:lnTo>
                  <a:pt x="1245362" y="235712"/>
                </a:lnTo>
                <a:lnTo>
                  <a:pt x="1268983" y="260603"/>
                </a:lnTo>
                <a:lnTo>
                  <a:pt x="1268602" y="260095"/>
                </a:lnTo>
                <a:lnTo>
                  <a:pt x="1302914" y="260095"/>
                </a:lnTo>
                <a:lnTo>
                  <a:pt x="1288033" y="242950"/>
                </a:lnTo>
                <a:lnTo>
                  <a:pt x="1280630" y="235203"/>
                </a:lnTo>
                <a:close/>
              </a:path>
              <a:path w="1507490" h="812800">
                <a:moveTo>
                  <a:pt x="234360" y="236821"/>
                </a:moveTo>
                <a:lnTo>
                  <a:pt x="234061" y="237108"/>
                </a:lnTo>
                <a:lnTo>
                  <a:pt x="234360" y="236821"/>
                </a:lnTo>
                <a:close/>
              </a:path>
              <a:path w="1507490" h="812800">
                <a:moveTo>
                  <a:pt x="234590" y="236600"/>
                </a:moveTo>
                <a:lnTo>
                  <a:pt x="234360" y="236821"/>
                </a:lnTo>
                <a:lnTo>
                  <a:pt x="234590" y="236600"/>
                </a:lnTo>
                <a:close/>
              </a:path>
              <a:path w="1507490" h="812800">
                <a:moveTo>
                  <a:pt x="1245088" y="235450"/>
                </a:moveTo>
                <a:lnTo>
                  <a:pt x="1245336" y="235712"/>
                </a:lnTo>
                <a:lnTo>
                  <a:pt x="1245088" y="235450"/>
                </a:lnTo>
                <a:close/>
              </a:path>
              <a:path w="1507490" h="812800">
                <a:moveTo>
                  <a:pt x="1208755" y="167512"/>
                </a:moveTo>
                <a:lnTo>
                  <a:pt x="1166876" y="167512"/>
                </a:lnTo>
                <a:lnTo>
                  <a:pt x="1167383" y="167893"/>
                </a:lnTo>
                <a:lnTo>
                  <a:pt x="1194434" y="189229"/>
                </a:lnTo>
                <a:lnTo>
                  <a:pt x="1220470" y="211836"/>
                </a:lnTo>
                <a:lnTo>
                  <a:pt x="1245088" y="235450"/>
                </a:lnTo>
                <a:lnTo>
                  <a:pt x="1244853" y="235203"/>
                </a:lnTo>
                <a:lnTo>
                  <a:pt x="1280630" y="235203"/>
                </a:lnTo>
                <a:lnTo>
                  <a:pt x="1263396" y="217169"/>
                </a:lnTo>
                <a:lnTo>
                  <a:pt x="1237615" y="192531"/>
                </a:lnTo>
                <a:lnTo>
                  <a:pt x="1210691" y="169037"/>
                </a:lnTo>
                <a:lnTo>
                  <a:pt x="1208755" y="167512"/>
                </a:lnTo>
                <a:close/>
              </a:path>
              <a:path w="1507490" h="812800">
                <a:moveTo>
                  <a:pt x="259409" y="212851"/>
                </a:moveTo>
                <a:lnTo>
                  <a:pt x="258825" y="213360"/>
                </a:lnTo>
                <a:lnTo>
                  <a:pt x="259409" y="212851"/>
                </a:lnTo>
                <a:close/>
              </a:path>
              <a:path w="1507490" h="812800">
                <a:moveTo>
                  <a:pt x="1219962" y="211454"/>
                </a:moveTo>
                <a:lnTo>
                  <a:pt x="1220360" y="211836"/>
                </a:lnTo>
                <a:lnTo>
                  <a:pt x="1219962" y="211454"/>
                </a:lnTo>
                <a:close/>
              </a:path>
              <a:path w="1507490" h="812800">
                <a:moveTo>
                  <a:pt x="285242" y="190373"/>
                </a:moveTo>
                <a:lnTo>
                  <a:pt x="284734" y="190753"/>
                </a:lnTo>
                <a:lnTo>
                  <a:pt x="285242" y="190373"/>
                </a:lnTo>
                <a:close/>
              </a:path>
              <a:path w="1507490" h="812800">
                <a:moveTo>
                  <a:pt x="1193927" y="188849"/>
                </a:moveTo>
                <a:lnTo>
                  <a:pt x="1194366" y="189229"/>
                </a:lnTo>
                <a:lnTo>
                  <a:pt x="1193927" y="188849"/>
                </a:lnTo>
                <a:close/>
              </a:path>
              <a:path w="1507490" h="812800">
                <a:moveTo>
                  <a:pt x="311936" y="169219"/>
                </a:moveTo>
                <a:lnTo>
                  <a:pt x="311658" y="169417"/>
                </a:lnTo>
                <a:lnTo>
                  <a:pt x="311936" y="169219"/>
                </a:lnTo>
                <a:close/>
              </a:path>
              <a:path w="1507490" h="812800">
                <a:moveTo>
                  <a:pt x="312190" y="169037"/>
                </a:moveTo>
                <a:lnTo>
                  <a:pt x="311936" y="169219"/>
                </a:lnTo>
                <a:lnTo>
                  <a:pt x="312190" y="169037"/>
                </a:lnTo>
                <a:close/>
              </a:path>
              <a:path w="1507490" h="812800">
                <a:moveTo>
                  <a:pt x="1167142" y="167723"/>
                </a:moveTo>
                <a:lnTo>
                  <a:pt x="1167359" y="167893"/>
                </a:lnTo>
                <a:lnTo>
                  <a:pt x="1167142" y="167723"/>
                </a:lnTo>
                <a:close/>
              </a:path>
              <a:path w="1507490" h="812800">
                <a:moveTo>
                  <a:pt x="1138681" y="147574"/>
                </a:moveTo>
                <a:lnTo>
                  <a:pt x="1167142" y="167723"/>
                </a:lnTo>
                <a:lnTo>
                  <a:pt x="1166876" y="167512"/>
                </a:lnTo>
                <a:lnTo>
                  <a:pt x="1208755" y="167512"/>
                </a:lnTo>
                <a:lnTo>
                  <a:pt x="1183753" y="147827"/>
                </a:lnTo>
                <a:lnTo>
                  <a:pt x="1139190" y="147827"/>
                </a:lnTo>
                <a:lnTo>
                  <a:pt x="1138681" y="147574"/>
                </a:lnTo>
                <a:close/>
              </a:path>
              <a:path w="1507490" h="812800">
                <a:moveTo>
                  <a:pt x="340233" y="148970"/>
                </a:moveTo>
                <a:lnTo>
                  <a:pt x="339598" y="149351"/>
                </a:lnTo>
                <a:lnTo>
                  <a:pt x="340233" y="148970"/>
                </a:lnTo>
                <a:close/>
              </a:path>
              <a:path w="1507490" h="812800">
                <a:moveTo>
                  <a:pt x="1156998" y="128777"/>
                </a:moveTo>
                <a:lnTo>
                  <a:pt x="1109472" y="128777"/>
                </a:lnTo>
                <a:lnTo>
                  <a:pt x="1139190" y="147827"/>
                </a:lnTo>
                <a:lnTo>
                  <a:pt x="1183753" y="147827"/>
                </a:lnTo>
                <a:lnTo>
                  <a:pt x="1182624" y="146938"/>
                </a:lnTo>
                <a:lnTo>
                  <a:pt x="1156998" y="128777"/>
                </a:lnTo>
                <a:close/>
              </a:path>
              <a:path w="1507490" h="812800">
                <a:moveTo>
                  <a:pt x="369062" y="130428"/>
                </a:moveTo>
                <a:lnTo>
                  <a:pt x="368553" y="130682"/>
                </a:lnTo>
                <a:lnTo>
                  <a:pt x="369062" y="130428"/>
                </a:lnTo>
                <a:close/>
              </a:path>
              <a:path w="1507490" h="812800">
                <a:moveTo>
                  <a:pt x="1130497" y="111505"/>
                </a:moveTo>
                <a:lnTo>
                  <a:pt x="1079246" y="111505"/>
                </a:lnTo>
                <a:lnTo>
                  <a:pt x="1109979" y="129158"/>
                </a:lnTo>
                <a:lnTo>
                  <a:pt x="1109472" y="128777"/>
                </a:lnTo>
                <a:lnTo>
                  <a:pt x="1156998" y="128777"/>
                </a:lnTo>
                <a:lnTo>
                  <a:pt x="1153414" y="126237"/>
                </a:lnTo>
                <a:lnTo>
                  <a:pt x="1130497" y="111505"/>
                </a:lnTo>
                <a:close/>
              </a:path>
              <a:path w="1507490" h="812800">
                <a:moveTo>
                  <a:pt x="398907" y="113156"/>
                </a:moveTo>
                <a:lnTo>
                  <a:pt x="398272" y="113411"/>
                </a:lnTo>
                <a:lnTo>
                  <a:pt x="398467" y="113411"/>
                </a:lnTo>
                <a:lnTo>
                  <a:pt x="398907" y="113156"/>
                </a:lnTo>
                <a:close/>
              </a:path>
              <a:path w="1507490" h="812800">
                <a:moveTo>
                  <a:pt x="1048130" y="95630"/>
                </a:moveTo>
                <a:lnTo>
                  <a:pt x="1079753" y="111887"/>
                </a:lnTo>
                <a:lnTo>
                  <a:pt x="1079246" y="111505"/>
                </a:lnTo>
                <a:lnTo>
                  <a:pt x="1130497" y="111505"/>
                </a:lnTo>
                <a:lnTo>
                  <a:pt x="1123188" y="106806"/>
                </a:lnTo>
                <a:lnTo>
                  <a:pt x="1104055" y="95885"/>
                </a:lnTo>
                <a:lnTo>
                  <a:pt x="1048766" y="95885"/>
                </a:lnTo>
                <a:lnTo>
                  <a:pt x="1048130" y="95630"/>
                </a:lnTo>
                <a:close/>
              </a:path>
              <a:path w="1507490" h="812800">
                <a:moveTo>
                  <a:pt x="429713" y="97281"/>
                </a:moveTo>
                <a:lnTo>
                  <a:pt x="429513" y="97281"/>
                </a:lnTo>
                <a:lnTo>
                  <a:pt x="428878" y="97662"/>
                </a:lnTo>
                <a:lnTo>
                  <a:pt x="429713" y="97281"/>
                </a:lnTo>
                <a:close/>
              </a:path>
              <a:path w="1507490" h="812800">
                <a:moveTo>
                  <a:pt x="1016253" y="81406"/>
                </a:moveTo>
                <a:lnTo>
                  <a:pt x="1048766" y="95885"/>
                </a:lnTo>
                <a:lnTo>
                  <a:pt x="1104055" y="95885"/>
                </a:lnTo>
                <a:lnTo>
                  <a:pt x="1091819" y="88900"/>
                </a:lnTo>
                <a:lnTo>
                  <a:pt x="1077483" y="81533"/>
                </a:lnTo>
                <a:lnTo>
                  <a:pt x="1016762" y="81533"/>
                </a:lnTo>
                <a:lnTo>
                  <a:pt x="1016253" y="81406"/>
                </a:lnTo>
                <a:close/>
              </a:path>
              <a:path w="1507490" h="812800">
                <a:moveTo>
                  <a:pt x="461005" y="83057"/>
                </a:moveTo>
                <a:lnTo>
                  <a:pt x="460375" y="83312"/>
                </a:lnTo>
                <a:lnTo>
                  <a:pt x="461005" y="83057"/>
                </a:lnTo>
                <a:close/>
              </a:path>
              <a:path w="1507490" h="812800">
                <a:moveTo>
                  <a:pt x="1050905" y="68452"/>
                </a:moveTo>
                <a:lnTo>
                  <a:pt x="983361" y="68452"/>
                </a:lnTo>
                <a:lnTo>
                  <a:pt x="1016762" y="81533"/>
                </a:lnTo>
                <a:lnTo>
                  <a:pt x="1077483" y="81533"/>
                </a:lnTo>
                <a:lnTo>
                  <a:pt x="1059688" y="72389"/>
                </a:lnTo>
                <a:lnTo>
                  <a:pt x="1050905" y="68452"/>
                </a:lnTo>
                <a:close/>
              </a:path>
              <a:path w="1507490" h="812800">
                <a:moveTo>
                  <a:pt x="493242" y="70103"/>
                </a:moveTo>
                <a:lnTo>
                  <a:pt x="492539" y="70346"/>
                </a:lnTo>
                <a:lnTo>
                  <a:pt x="493242" y="70103"/>
                </a:lnTo>
                <a:close/>
              </a:path>
              <a:path w="1507490" h="812800">
                <a:moveTo>
                  <a:pt x="949705" y="57276"/>
                </a:moveTo>
                <a:lnTo>
                  <a:pt x="983996" y="68706"/>
                </a:lnTo>
                <a:lnTo>
                  <a:pt x="983361" y="68452"/>
                </a:lnTo>
                <a:lnTo>
                  <a:pt x="1050905" y="68452"/>
                </a:lnTo>
                <a:lnTo>
                  <a:pt x="1026541" y="57530"/>
                </a:lnTo>
                <a:lnTo>
                  <a:pt x="1026216" y="57403"/>
                </a:lnTo>
                <a:lnTo>
                  <a:pt x="950214" y="57403"/>
                </a:lnTo>
                <a:lnTo>
                  <a:pt x="949705" y="57276"/>
                </a:lnTo>
                <a:close/>
              </a:path>
              <a:path w="1507490" h="812800">
                <a:moveTo>
                  <a:pt x="526274" y="58800"/>
                </a:moveTo>
                <a:lnTo>
                  <a:pt x="526034" y="58800"/>
                </a:lnTo>
                <a:lnTo>
                  <a:pt x="525399" y="59054"/>
                </a:lnTo>
                <a:lnTo>
                  <a:pt x="526274" y="58800"/>
                </a:lnTo>
                <a:close/>
              </a:path>
              <a:path w="1507490" h="812800">
                <a:moveTo>
                  <a:pt x="915289" y="47625"/>
                </a:moveTo>
                <a:lnTo>
                  <a:pt x="950214" y="57403"/>
                </a:lnTo>
                <a:lnTo>
                  <a:pt x="1026216" y="57403"/>
                </a:lnTo>
                <a:lnTo>
                  <a:pt x="1001581" y="47751"/>
                </a:lnTo>
                <a:lnTo>
                  <a:pt x="915924" y="47751"/>
                </a:lnTo>
                <a:lnTo>
                  <a:pt x="915289" y="47625"/>
                </a:lnTo>
                <a:close/>
              </a:path>
              <a:path w="1507490" h="812800">
                <a:moveTo>
                  <a:pt x="559562" y="49149"/>
                </a:moveTo>
                <a:lnTo>
                  <a:pt x="558926" y="49275"/>
                </a:lnTo>
                <a:lnTo>
                  <a:pt x="559124" y="49275"/>
                </a:lnTo>
                <a:lnTo>
                  <a:pt x="559562" y="49149"/>
                </a:lnTo>
                <a:close/>
              </a:path>
              <a:path w="1507490" h="812800">
                <a:moveTo>
                  <a:pt x="978838" y="39624"/>
                </a:moveTo>
                <a:lnTo>
                  <a:pt x="879982" y="39624"/>
                </a:lnTo>
                <a:lnTo>
                  <a:pt x="915924" y="47751"/>
                </a:lnTo>
                <a:lnTo>
                  <a:pt x="1001581" y="47751"/>
                </a:lnTo>
                <a:lnTo>
                  <a:pt x="992504" y="44195"/>
                </a:lnTo>
                <a:lnTo>
                  <a:pt x="978838" y="39624"/>
                </a:lnTo>
                <a:close/>
              </a:path>
              <a:path w="1507490" h="812800">
                <a:moveTo>
                  <a:pt x="593766" y="41148"/>
                </a:moveTo>
                <a:lnTo>
                  <a:pt x="593598" y="41148"/>
                </a:lnTo>
                <a:lnTo>
                  <a:pt x="593090" y="41275"/>
                </a:lnTo>
                <a:lnTo>
                  <a:pt x="593766" y="41148"/>
                </a:lnTo>
                <a:close/>
              </a:path>
              <a:path w="1507490" h="812800">
                <a:moveTo>
                  <a:pt x="960616" y="33527"/>
                </a:moveTo>
                <a:lnTo>
                  <a:pt x="844169" y="33527"/>
                </a:lnTo>
                <a:lnTo>
                  <a:pt x="880745" y="39877"/>
                </a:lnTo>
                <a:lnTo>
                  <a:pt x="879982" y="39624"/>
                </a:lnTo>
                <a:lnTo>
                  <a:pt x="978838" y="39624"/>
                </a:lnTo>
                <a:lnTo>
                  <a:pt x="960616" y="33527"/>
                </a:lnTo>
                <a:close/>
              </a:path>
              <a:path w="1507490" h="812800">
                <a:moveTo>
                  <a:pt x="628576" y="34670"/>
                </a:moveTo>
                <a:lnTo>
                  <a:pt x="628269" y="34670"/>
                </a:lnTo>
                <a:lnTo>
                  <a:pt x="627633" y="34798"/>
                </a:lnTo>
                <a:lnTo>
                  <a:pt x="628576" y="34670"/>
                </a:lnTo>
                <a:close/>
              </a:path>
              <a:path w="1507490" h="812800">
                <a:moveTo>
                  <a:pt x="933788" y="25907"/>
                </a:moveTo>
                <a:lnTo>
                  <a:pt x="734965" y="25916"/>
                </a:lnTo>
                <a:lnTo>
                  <a:pt x="771525" y="26669"/>
                </a:lnTo>
                <a:lnTo>
                  <a:pt x="770890" y="26669"/>
                </a:lnTo>
                <a:lnTo>
                  <a:pt x="808227" y="29210"/>
                </a:lnTo>
                <a:lnTo>
                  <a:pt x="807593" y="29210"/>
                </a:lnTo>
                <a:lnTo>
                  <a:pt x="844803" y="33654"/>
                </a:lnTo>
                <a:lnTo>
                  <a:pt x="844169" y="33527"/>
                </a:lnTo>
                <a:lnTo>
                  <a:pt x="960616" y="33527"/>
                </a:lnTo>
                <a:lnTo>
                  <a:pt x="957579" y="32512"/>
                </a:lnTo>
                <a:lnTo>
                  <a:pt x="933788" y="25907"/>
                </a:lnTo>
                <a:close/>
              </a:path>
              <a:path w="1507490" h="812800">
                <a:moveTo>
                  <a:pt x="664326" y="29972"/>
                </a:moveTo>
                <a:lnTo>
                  <a:pt x="663448" y="29972"/>
                </a:lnTo>
                <a:lnTo>
                  <a:pt x="662813" y="30099"/>
                </a:lnTo>
                <a:lnTo>
                  <a:pt x="664326" y="29972"/>
                </a:lnTo>
                <a:close/>
              </a:path>
              <a:path w="1507490" h="812800">
                <a:moveTo>
                  <a:pt x="702170" y="27050"/>
                </a:moveTo>
                <a:lnTo>
                  <a:pt x="699134" y="27050"/>
                </a:lnTo>
                <a:lnTo>
                  <a:pt x="698500" y="27177"/>
                </a:lnTo>
                <a:lnTo>
                  <a:pt x="702170" y="27050"/>
                </a:lnTo>
                <a:close/>
              </a:path>
            </a:pathLst>
          </a:custGeom>
          <a:solidFill>
            <a:srgbClr val="12ABDB"/>
          </a:solidFill>
        </p:spPr>
        <p:txBody>
          <a:bodyPr wrap="square" lIns="0" tIns="0" rIns="0" bIns="0" rtlCol="0"/>
          <a:lstStyle/>
          <a:p>
            <a:endParaRPr/>
          </a:p>
        </p:txBody>
      </p:sp>
      <p:sp>
        <p:nvSpPr>
          <p:cNvPr id="31" name="object 31"/>
          <p:cNvSpPr/>
          <p:nvPr/>
        </p:nvSpPr>
        <p:spPr>
          <a:xfrm>
            <a:off x="7412990" y="3478910"/>
            <a:ext cx="1507490" cy="812800"/>
          </a:xfrm>
          <a:custGeom>
            <a:avLst/>
            <a:gdLst/>
            <a:ahLst/>
            <a:cxnLst/>
            <a:rect l="l" t="t" r="r" b="b"/>
            <a:pathLst>
              <a:path w="1507490" h="812800">
                <a:moveTo>
                  <a:pt x="25780" y="80899"/>
                </a:moveTo>
                <a:lnTo>
                  <a:pt x="0" y="81787"/>
                </a:lnTo>
                <a:lnTo>
                  <a:pt x="1015" y="110489"/>
                </a:lnTo>
                <a:lnTo>
                  <a:pt x="3175" y="139319"/>
                </a:lnTo>
                <a:lnTo>
                  <a:pt x="7746" y="177164"/>
                </a:lnTo>
                <a:lnTo>
                  <a:pt x="22260" y="251332"/>
                </a:lnTo>
                <a:lnTo>
                  <a:pt x="43687" y="322071"/>
                </a:lnTo>
                <a:lnTo>
                  <a:pt x="71881" y="389508"/>
                </a:lnTo>
                <a:lnTo>
                  <a:pt x="106044" y="453263"/>
                </a:lnTo>
                <a:lnTo>
                  <a:pt x="146176" y="512952"/>
                </a:lnTo>
                <a:lnTo>
                  <a:pt x="191388" y="568325"/>
                </a:lnTo>
                <a:lnTo>
                  <a:pt x="241553" y="618744"/>
                </a:lnTo>
                <a:lnTo>
                  <a:pt x="296417" y="664209"/>
                </a:lnTo>
                <a:lnTo>
                  <a:pt x="355345" y="704214"/>
                </a:lnTo>
                <a:lnTo>
                  <a:pt x="417829" y="738632"/>
                </a:lnTo>
                <a:lnTo>
                  <a:pt x="483742" y="766826"/>
                </a:lnTo>
                <a:lnTo>
                  <a:pt x="552576" y="788669"/>
                </a:lnTo>
                <a:lnTo>
                  <a:pt x="623824" y="803656"/>
                </a:lnTo>
                <a:lnTo>
                  <a:pt x="697229" y="811530"/>
                </a:lnTo>
                <a:lnTo>
                  <a:pt x="734694" y="812800"/>
                </a:lnTo>
                <a:lnTo>
                  <a:pt x="772413" y="812038"/>
                </a:lnTo>
                <a:lnTo>
                  <a:pt x="848232" y="804799"/>
                </a:lnTo>
                <a:lnTo>
                  <a:pt x="921892" y="790194"/>
                </a:lnTo>
                <a:lnTo>
                  <a:pt x="933638" y="786891"/>
                </a:lnTo>
                <a:lnTo>
                  <a:pt x="734567" y="786891"/>
                </a:lnTo>
                <a:lnTo>
                  <a:pt x="734965" y="786883"/>
                </a:lnTo>
                <a:lnTo>
                  <a:pt x="698500" y="785621"/>
                </a:lnTo>
                <a:lnTo>
                  <a:pt x="699134" y="785621"/>
                </a:lnTo>
                <a:lnTo>
                  <a:pt x="664392" y="782827"/>
                </a:lnTo>
                <a:lnTo>
                  <a:pt x="663448" y="782827"/>
                </a:lnTo>
                <a:lnTo>
                  <a:pt x="628576" y="778128"/>
                </a:lnTo>
                <a:lnTo>
                  <a:pt x="628268" y="778128"/>
                </a:lnTo>
                <a:lnTo>
                  <a:pt x="593766" y="771651"/>
                </a:lnTo>
                <a:lnTo>
                  <a:pt x="593598" y="771651"/>
                </a:lnTo>
                <a:lnTo>
                  <a:pt x="558926" y="763524"/>
                </a:lnTo>
                <a:lnTo>
                  <a:pt x="559124" y="763524"/>
                </a:lnTo>
                <a:lnTo>
                  <a:pt x="526274" y="753999"/>
                </a:lnTo>
                <a:lnTo>
                  <a:pt x="526033" y="753999"/>
                </a:lnTo>
                <a:lnTo>
                  <a:pt x="493242" y="742695"/>
                </a:lnTo>
                <a:lnTo>
                  <a:pt x="461005" y="729741"/>
                </a:lnTo>
                <a:lnTo>
                  <a:pt x="428878" y="715137"/>
                </a:lnTo>
                <a:lnTo>
                  <a:pt x="429018" y="715137"/>
                </a:lnTo>
                <a:lnTo>
                  <a:pt x="398271" y="699388"/>
                </a:lnTo>
                <a:lnTo>
                  <a:pt x="398470" y="699388"/>
                </a:lnTo>
                <a:lnTo>
                  <a:pt x="369209" y="682370"/>
                </a:lnTo>
                <a:lnTo>
                  <a:pt x="369061" y="682370"/>
                </a:lnTo>
                <a:lnTo>
                  <a:pt x="339598" y="663320"/>
                </a:lnTo>
                <a:lnTo>
                  <a:pt x="312193" y="643763"/>
                </a:lnTo>
                <a:lnTo>
                  <a:pt x="311657" y="643382"/>
                </a:lnTo>
                <a:lnTo>
                  <a:pt x="284733" y="622045"/>
                </a:lnTo>
                <a:lnTo>
                  <a:pt x="258825" y="599439"/>
                </a:lnTo>
                <a:lnTo>
                  <a:pt x="234060" y="575690"/>
                </a:lnTo>
                <a:lnTo>
                  <a:pt x="234207" y="575690"/>
                </a:lnTo>
                <a:lnTo>
                  <a:pt x="210921" y="551180"/>
                </a:lnTo>
                <a:lnTo>
                  <a:pt x="188395" y="525018"/>
                </a:lnTo>
                <a:lnTo>
                  <a:pt x="166750" y="497205"/>
                </a:lnTo>
                <a:lnTo>
                  <a:pt x="146684" y="469011"/>
                </a:lnTo>
                <a:lnTo>
                  <a:pt x="128465" y="440181"/>
                </a:lnTo>
                <a:lnTo>
                  <a:pt x="110870" y="409320"/>
                </a:lnTo>
                <a:lnTo>
                  <a:pt x="95444" y="378713"/>
                </a:lnTo>
                <a:lnTo>
                  <a:pt x="81055" y="346582"/>
                </a:lnTo>
                <a:lnTo>
                  <a:pt x="68316" y="313563"/>
                </a:lnTo>
                <a:lnTo>
                  <a:pt x="57062" y="279653"/>
                </a:lnTo>
                <a:lnTo>
                  <a:pt x="47243" y="244601"/>
                </a:lnTo>
                <a:lnTo>
                  <a:pt x="39637" y="209803"/>
                </a:lnTo>
                <a:lnTo>
                  <a:pt x="33384" y="173862"/>
                </a:lnTo>
                <a:lnTo>
                  <a:pt x="33325" y="173227"/>
                </a:lnTo>
                <a:lnTo>
                  <a:pt x="29016" y="137032"/>
                </a:lnTo>
                <a:lnTo>
                  <a:pt x="26835" y="109219"/>
                </a:lnTo>
                <a:lnTo>
                  <a:pt x="26903" y="108712"/>
                </a:lnTo>
                <a:lnTo>
                  <a:pt x="25780" y="80899"/>
                </a:lnTo>
                <a:close/>
              </a:path>
              <a:path w="1507490" h="812800">
                <a:moveTo>
                  <a:pt x="734965" y="786883"/>
                </a:moveTo>
                <a:lnTo>
                  <a:pt x="734567" y="786891"/>
                </a:lnTo>
                <a:lnTo>
                  <a:pt x="735202" y="786891"/>
                </a:lnTo>
                <a:lnTo>
                  <a:pt x="734965" y="786883"/>
                </a:lnTo>
                <a:close/>
              </a:path>
              <a:path w="1507490" h="812800">
                <a:moveTo>
                  <a:pt x="844803" y="779144"/>
                </a:moveTo>
                <a:lnTo>
                  <a:pt x="807592" y="783589"/>
                </a:lnTo>
                <a:lnTo>
                  <a:pt x="808227" y="783589"/>
                </a:lnTo>
                <a:lnTo>
                  <a:pt x="770889" y="786130"/>
                </a:lnTo>
                <a:lnTo>
                  <a:pt x="771525" y="786130"/>
                </a:lnTo>
                <a:lnTo>
                  <a:pt x="734965" y="786883"/>
                </a:lnTo>
                <a:lnTo>
                  <a:pt x="933667" y="786883"/>
                </a:lnTo>
                <a:lnTo>
                  <a:pt x="957579" y="780161"/>
                </a:lnTo>
                <a:lnTo>
                  <a:pt x="960266" y="779271"/>
                </a:lnTo>
                <a:lnTo>
                  <a:pt x="844168" y="779271"/>
                </a:lnTo>
                <a:lnTo>
                  <a:pt x="844803" y="779144"/>
                </a:lnTo>
                <a:close/>
              </a:path>
              <a:path w="1507490" h="812800">
                <a:moveTo>
                  <a:pt x="662812" y="782701"/>
                </a:moveTo>
                <a:lnTo>
                  <a:pt x="663448" y="782827"/>
                </a:lnTo>
                <a:lnTo>
                  <a:pt x="664392" y="782827"/>
                </a:lnTo>
                <a:lnTo>
                  <a:pt x="662812" y="782701"/>
                </a:lnTo>
                <a:close/>
              </a:path>
              <a:path w="1507490" h="812800">
                <a:moveTo>
                  <a:pt x="979456" y="772921"/>
                </a:moveTo>
                <a:lnTo>
                  <a:pt x="880744" y="772921"/>
                </a:lnTo>
                <a:lnTo>
                  <a:pt x="880109" y="773049"/>
                </a:lnTo>
                <a:lnTo>
                  <a:pt x="844168" y="779271"/>
                </a:lnTo>
                <a:lnTo>
                  <a:pt x="960266" y="779271"/>
                </a:lnTo>
                <a:lnTo>
                  <a:pt x="979456" y="772921"/>
                </a:lnTo>
                <a:close/>
              </a:path>
              <a:path w="1507490" h="812800">
                <a:moveTo>
                  <a:pt x="627633" y="778001"/>
                </a:moveTo>
                <a:lnTo>
                  <a:pt x="628268" y="778128"/>
                </a:lnTo>
                <a:lnTo>
                  <a:pt x="628576" y="778128"/>
                </a:lnTo>
                <a:lnTo>
                  <a:pt x="627633" y="778001"/>
                </a:lnTo>
                <a:close/>
              </a:path>
              <a:path w="1507490" h="812800">
                <a:moveTo>
                  <a:pt x="880446" y="772973"/>
                </a:moveTo>
                <a:lnTo>
                  <a:pt x="880013" y="773049"/>
                </a:lnTo>
                <a:lnTo>
                  <a:pt x="880446" y="772973"/>
                </a:lnTo>
                <a:close/>
              </a:path>
              <a:path w="1507490" h="812800">
                <a:moveTo>
                  <a:pt x="1001495" y="765047"/>
                </a:moveTo>
                <a:lnTo>
                  <a:pt x="915924" y="765047"/>
                </a:lnTo>
                <a:lnTo>
                  <a:pt x="880446" y="772973"/>
                </a:lnTo>
                <a:lnTo>
                  <a:pt x="880744" y="772921"/>
                </a:lnTo>
                <a:lnTo>
                  <a:pt x="979456" y="772921"/>
                </a:lnTo>
                <a:lnTo>
                  <a:pt x="992504" y="768603"/>
                </a:lnTo>
                <a:lnTo>
                  <a:pt x="1001495" y="765047"/>
                </a:lnTo>
                <a:close/>
              </a:path>
              <a:path w="1507490" h="812800">
                <a:moveTo>
                  <a:pt x="593089" y="771525"/>
                </a:moveTo>
                <a:lnTo>
                  <a:pt x="593598" y="771651"/>
                </a:lnTo>
                <a:lnTo>
                  <a:pt x="593766" y="771651"/>
                </a:lnTo>
                <a:lnTo>
                  <a:pt x="593089" y="771525"/>
                </a:lnTo>
                <a:close/>
              </a:path>
              <a:path w="1507490" h="812800">
                <a:moveTo>
                  <a:pt x="1025898" y="755395"/>
                </a:moveTo>
                <a:lnTo>
                  <a:pt x="950213" y="755395"/>
                </a:lnTo>
                <a:lnTo>
                  <a:pt x="915288" y="765175"/>
                </a:lnTo>
                <a:lnTo>
                  <a:pt x="915924" y="765047"/>
                </a:lnTo>
                <a:lnTo>
                  <a:pt x="1001495" y="765047"/>
                </a:lnTo>
                <a:lnTo>
                  <a:pt x="1025898" y="755395"/>
                </a:lnTo>
                <a:close/>
              </a:path>
              <a:path w="1507490" h="812800">
                <a:moveTo>
                  <a:pt x="559124" y="763524"/>
                </a:moveTo>
                <a:lnTo>
                  <a:pt x="558926" y="763524"/>
                </a:lnTo>
                <a:lnTo>
                  <a:pt x="559561" y="763651"/>
                </a:lnTo>
                <a:lnTo>
                  <a:pt x="559124" y="763524"/>
                </a:lnTo>
                <a:close/>
              </a:path>
              <a:path w="1507490" h="812800">
                <a:moveTo>
                  <a:pt x="1077621" y="731138"/>
                </a:moveTo>
                <a:lnTo>
                  <a:pt x="1016761" y="731138"/>
                </a:lnTo>
                <a:lnTo>
                  <a:pt x="983360" y="744346"/>
                </a:lnTo>
                <a:lnTo>
                  <a:pt x="949705" y="755522"/>
                </a:lnTo>
                <a:lnTo>
                  <a:pt x="950213" y="755395"/>
                </a:lnTo>
                <a:lnTo>
                  <a:pt x="1025898" y="755395"/>
                </a:lnTo>
                <a:lnTo>
                  <a:pt x="1026540" y="755141"/>
                </a:lnTo>
                <a:lnTo>
                  <a:pt x="1059687" y="740282"/>
                </a:lnTo>
                <a:lnTo>
                  <a:pt x="1077621" y="731138"/>
                </a:lnTo>
                <a:close/>
              </a:path>
              <a:path w="1507490" h="812800">
                <a:moveTo>
                  <a:pt x="525399" y="753744"/>
                </a:moveTo>
                <a:lnTo>
                  <a:pt x="526033" y="753999"/>
                </a:lnTo>
                <a:lnTo>
                  <a:pt x="526274" y="753999"/>
                </a:lnTo>
                <a:lnTo>
                  <a:pt x="525399" y="753744"/>
                </a:lnTo>
                <a:close/>
              </a:path>
              <a:path w="1507490" h="812800">
                <a:moveTo>
                  <a:pt x="983995" y="744093"/>
                </a:moveTo>
                <a:lnTo>
                  <a:pt x="983233" y="744346"/>
                </a:lnTo>
                <a:lnTo>
                  <a:pt x="983995" y="744093"/>
                </a:lnTo>
                <a:close/>
              </a:path>
              <a:path w="1507490" h="812800">
                <a:moveTo>
                  <a:pt x="492539" y="742453"/>
                </a:moveTo>
                <a:lnTo>
                  <a:pt x="493140" y="742695"/>
                </a:lnTo>
                <a:lnTo>
                  <a:pt x="492539" y="742453"/>
                </a:lnTo>
                <a:close/>
              </a:path>
              <a:path w="1507490" h="812800">
                <a:moveTo>
                  <a:pt x="492510" y="742441"/>
                </a:moveTo>
                <a:close/>
              </a:path>
              <a:path w="1507490" h="812800">
                <a:moveTo>
                  <a:pt x="1104189" y="716788"/>
                </a:moveTo>
                <a:lnTo>
                  <a:pt x="1048765" y="716788"/>
                </a:lnTo>
                <a:lnTo>
                  <a:pt x="1016182" y="731368"/>
                </a:lnTo>
                <a:lnTo>
                  <a:pt x="1016761" y="731138"/>
                </a:lnTo>
                <a:lnTo>
                  <a:pt x="1077621" y="731138"/>
                </a:lnTo>
                <a:lnTo>
                  <a:pt x="1091818" y="723900"/>
                </a:lnTo>
                <a:lnTo>
                  <a:pt x="1104189" y="716788"/>
                </a:lnTo>
                <a:close/>
              </a:path>
              <a:path w="1507490" h="812800">
                <a:moveTo>
                  <a:pt x="460375" y="729488"/>
                </a:moveTo>
                <a:lnTo>
                  <a:pt x="460882" y="729741"/>
                </a:lnTo>
                <a:lnTo>
                  <a:pt x="460375" y="729488"/>
                </a:lnTo>
                <a:close/>
              </a:path>
              <a:path w="1507490" h="812800">
                <a:moveTo>
                  <a:pt x="1130943" y="700913"/>
                </a:moveTo>
                <a:lnTo>
                  <a:pt x="1079753" y="700913"/>
                </a:lnTo>
                <a:lnTo>
                  <a:pt x="1048130" y="717041"/>
                </a:lnTo>
                <a:lnTo>
                  <a:pt x="1048765" y="716788"/>
                </a:lnTo>
                <a:lnTo>
                  <a:pt x="1104189" y="716788"/>
                </a:lnTo>
                <a:lnTo>
                  <a:pt x="1123187" y="705865"/>
                </a:lnTo>
                <a:lnTo>
                  <a:pt x="1130943" y="700913"/>
                </a:lnTo>
                <a:close/>
              </a:path>
              <a:path w="1507490" h="812800">
                <a:moveTo>
                  <a:pt x="429018" y="715137"/>
                </a:moveTo>
                <a:lnTo>
                  <a:pt x="428878" y="715137"/>
                </a:lnTo>
                <a:lnTo>
                  <a:pt x="429513" y="715390"/>
                </a:lnTo>
                <a:lnTo>
                  <a:pt x="429018" y="715137"/>
                </a:lnTo>
                <a:close/>
              </a:path>
              <a:path w="1507490" h="812800">
                <a:moveTo>
                  <a:pt x="1157510" y="683640"/>
                </a:moveTo>
                <a:lnTo>
                  <a:pt x="1109979" y="683640"/>
                </a:lnTo>
                <a:lnTo>
                  <a:pt x="1079245" y="701166"/>
                </a:lnTo>
                <a:lnTo>
                  <a:pt x="1079753" y="700913"/>
                </a:lnTo>
                <a:lnTo>
                  <a:pt x="1130943" y="700913"/>
                </a:lnTo>
                <a:lnTo>
                  <a:pt x="1153413" y="686562"/>
                </a:lnTo>
                <a:lnTo>
                  <a:pt x="1157510" y="683640"/>
                </a:lnTo>
                <a:close/>
              </a:path>
              <a:path w="1507490" h="812800">
                <a:moveTo>
                  <a:pt x="398470" y="699388"/>
                </a:moveTo>
                <a:lnTo>
                  <a:pt x="398271" y="699388"/>
                </a:lnTo>
                <a:lnTo>
                  <a:pt x="398906" y="699643"/>
                </a:lnTo>
                <a:lnTo>
                  <a:pt x="398470" y="699388"/>
                </a:lnTo>
                <a:close/>
              </a:path>
              <a:path w="1507490" h="812800">
                <a:moveTo>
                  <a:pt x="1209077" y="644906"/>
                </a:moveTo>
                <a:lnTo>
                  <a:pt x="1167383" y="644906"/>
                </a:lnTo>
                <a:lnTo>
                  <a:pt x="1166876" y="645287"/>
                </a:lnTo>
                <a:lnTo>
                  <a:pt x="1138681" y="665226"/>
                </a:lnTo>
                <a:lnTo>
                  <a:pt x="1109471" y="683894"/>
                </a:lnTo>
                <a:lnTo>
                  <a:pt x="1109979" y="683640"/>
                </a:lnTo>
                <a:lnTo>
                  <a:pt x="1157510" y="683640"/>
                </a:lnTo>
                <a:lnTo>
                  <a:pt x="1182624" y="665733"/>
                </a:lnTo>
                <a:lnTo>
                  <a:pt x="1209077" y="644906"/>
                </a:lnTo>
                <a:close/>
              </a:path>
              <a:path w="1507490" h="812800">
                <a:moveTo>
                  <a:pt x="368553" y="681989"/>
                </a:moveTo>
                <a:lnTo>
                  <a:pt x="369061" y="682370"/>
                </a:lnTo>
                <a:lnTo>
                  <a:pt x="369209" y="682370"/>
                </a:lnTo>
                <a:lnTo>
                  <a:pt x="368553" y="681989"/>
                </a:lnTo>
                <a:close/>
              </a:path>
              <a:path w="1507490" h="812800">
                <a:moveTo>
                  <a:pt x="1139189" y="664844"/>
                </a:moveTo>
                <a:lnTo>
                  <a:pt x="1138595" y="665226"/>
                </a:lnTo>
                <a:lnTo>
                  <a:pt x="1139189" y="664844"/>
                </a:lnTo>
                <a:close/>
              </a:path>
              <a:path w="1507490" h="812800">
                <a:moveTo>
                  <a:pt x="339697" y="663320"/>
                </a:moveTo>
                <a:lnTo>
                  <a:pt x="340232" y="663701"/>
                </a:lnTo>
                <a:lnTo>
                  <a:pt x="339697" y="663320"/>
                </a:lnTo>
                <a:close/>
              </a:path>
              <a:path w="1507490" h="812800">
                <a:moveTo>
                  <a:pt x="1167142" y="645076"/>
                </a:moveTo>
                <a:lnTo>
                  <a:pt x="1166845" y="645287"/>
                </a:lnTo>
                <a:lnTo>
                  <a:pt x="1167142" y="645076"/>
                </a:lnTo>
                <a:close/>
              </a:path>
              <a:path w="1507490" h="812800">
                <a:moveTo>
                  <a:pt x="1233810" y="623569"/>
                </a:moveTo>
                <a:lnTo>
                  <a:pt x="1194434" y="623569"/>
                </a:lnTo>
                <a:lnTo>
                  <a:pt x="1167142" y="645076"/>
                </a:lnTo>
                <a:lnTo>
                  <a:pt x="1167383" y="644906"/>
                </a:lnTo>
                <a:lnTo>
                  <a:pt x="1209077" y="644906"/>
                </a:lnTo>
                <a:lnTo>
                  <a:pt x="1210768" y="643568"/>
                </a:lnTo>
                <a:lnTo>
                  <a:pt x="1233810" y="623569"/>
                </a:lnTo>
                <a:close/>
              </a:path>
              <a:path w="1507490" h="812800">
                <a:moveTo>
                  <a:pt x="311920" y="643568"/>
                </a:moveTo>
                <a:lnTo>
                  <a:pt x="312165" y="643763"/>
                </a:lnTo>
                <a:lnTo>
                  <a:pt x="311920" y="643568"/>
                </a:lnTo>
                <a:close/>
              </a:path>
              <a:path w="1507490" h="812800">
                <a:moveTo>
                  <a:pt x="311684" y="643382"/>
                </a:moveTo>
                <a:lnTo>
                  <a:pt x="311920" y="643568"/>
                </a:lnTo>
                <a:lnTo>
                  <a:pt x="311684" y="643382"/>
                </a:lnTo>
                <a:close/>
              </a:path>
              <a:path w="1507490" h="812800">
                <a:moveTo>
                  <a:pt x="1257947" y="600837"/>
                </a:moveTo>
                <a:lnTo>
                  <a:pt x="1220469" y="600837"/>
                </a:lnTo>
                <a:lnTo>
                  <a:pt x="1193927" y="623951"/>
                </a:lnTo>
                <a:lnTo>
                  <a:pt x="1194434" y="623569"/>
                </a:lnTo>
                <a:lnTo>
                  <a:pt x="1233810" y="623569"/>
                </a:lnTo>
                <a:lnTo>
                  <a:pt x="1237614" y="620268"/>
                </a:lnTo>
                <a:lnTo>
                  <a:pt x="1257947" y="600837"/>
                </a:lnTo>
                <a:close/>
              </a:path>
              <a:path w="1507490" h="812800">
                <a:moveTo>
                  <a:pt x="284804" y="622045"/>
                </a:moveTo>
                <a:lnTo>
                  <a:pt x="285241" y="622426"/>
                </a:lnTo>
                <a:lnTo>
                  <a:pt x="284804" y="622045"/>
                </a:lnTo>
                <a:close/>
              </a:path>
              <a:path w="1507490" h="812800">
                <a:moveTo>
                  <a:pt x="1281115" y="577088"/>
                </a:moveTo>
                <a:lnTo>
                  <a:pt x="1245361" y="577088"/>
                </a:lnTo>
                <a:lnTo>
                  <a:pt x="1219961" y="601218"/>
                </a:lnTo>
                <a:lnTo>
                  <a:pt x="1220469" y="600837"/>
                </a:lnTo>
                <a:lnTo>
                  <a:pt x="1257947" y="600837"/>
                </a:lnTo>
                <a:lnTo>
                  <a:pt x="1263395" y="595630"/>
                </a:lnTo>
                <a:lnTo>
                  <a:pt x="1281115" y="577088"/>
                </a:lnTo>
                <a:close/>
              </a:path>
              <a:path w="1507490" h="812800">
                <a:moveTo>
                  <a:pt x="258934" y="599439"/>
                </a:moveTo>
                <a:lnTo>
                  <a:pt x="259333" y="599820"/>
                </a:lnTo>
                <a:lnTo>
                  <a:pt x="258934" y="599439"/>
                </a:lnTo>
                <a:close/>
              </a:path>
              <a:path w="1507490" h="812800">
                <a:moveTo>
                  <a:pt x="1303355" y="552195"/>
                </a:moveTo>
                <a:lnTo>
                  <a:pt x="1268983" y="552195"/>
                </a:lnTo>
                <a:lnTo>
                  <a:pt x="1244853" y="577469"/>
                </a:lnTo>
                <a:lnTo>
                  <a:pt x="1245361" y="577088"/>
                </a:lnTo>
                <a:lnTo>
                  <a:pt x="1281115" y="577088"/>
                </a:lnTo>
                <a:lnTo>
                  <a:pt x="1288033" y="569849"/>
                </a:lnTo>
                <a:lnTo>
                  <a:pt x="1303355" y="552195"/>
                </a:lnTo>
                <a:close/>
              </a:path>
              <a:path w="1507490" h="812800">
                <a:moveTo>
                  <a:pt x="234207" y="575690"/>
                </a:moveTo>
                <a:lnTo>
                  <a:pt x="234060" y="575690"/>
                </a:lnTo>
                <a:lnTo>
                  <a:pt x="234568" y="576071"/>
                </a:lnTo>
                <a:lnTo>
                  <a:pt x="234207" y="575690"/>
                </a:lnTo>
                <a:close/>
              </a:path>
              <a:path w="1507490" h="812800">
                <a:moveTo>
                  <a:pt x="1324449" y="526161"/>
                </a:moveTo>
                <a:lnTo>
                  <a:pt x="1291589" y="526161"/>
                </a:lnTo>
                <a:lnTo>
                  <a:pt x="1268602" y="552576"/>
                </a:lnTo>
                <a:lnTo>
                  <a:pt x="1268983" y="552195"/>
                </a:lnTo>
                <a:lnTo>
                  <a:pt x="1303355" y="552195"/>
                </a:lnTo>
                <a:lnTo>
                  <a:pt x="1311402" y="542925"/>
                </a:lnTo>
                <a:lnTo>
                  <a:pt x="1324449" y="526161"/>
                </a:lnTo>
                <a:close/>
              </a:path>
              <a:path w="1507490" h="812800">
                <a:moveTo>
                  <a:pt x="210438" y="550671"/>
                </a:moveTo>
                <a:lnTo>
                  <a:pt x="210819" y="551180"/>
                </a:lnTo>
                <a:lnTo>
                  <a:pt x="210438" y="550671"/>
                </a:lnTo>
                <a:close/>
              </a:path>
              <a:path w="1507490" h="812800">
                <a:moveTo>
                  <a:pt x="1344455" y="499109"/>
                </a:moveTo>
                <a:lnTo>
                  <a:pt x="1312671" y="499109"/>
                </a:lnTo>
                <a:lnTo>
                  <a:pt x="1312290" y="499618"/>
                </a:lnTo>
                <a:lnTo>
                  <a:pt x="1291081" y="526669"/>
                </a:lnTo>
                <a:lnTo>
                  <a:pt x="1291589" y="526161"/>
                </a:lnTo>
                <a:lnTo>
                  <a:pt x="1324449" y="526161"/>
                </a:lnTo>
                <a:lnTo>
                  <a:pt x="1333245" y="514857"/>
                </a:lnTo>
                <a:lnTo>
                  <a:pt x="1344455" y="499109"/>
                </a:lnTo>
                <a:close/>
              </a:path>
              <a:path w="1507490" h="812800">
                <a:moveTo>
                  <a:pt x="187959" y="524509"/>
                </a:moveTo>
                <a:lnTo>
                  <a:pt x="188340" y="525018"/>
                </a:lnTo>
                <a:lnTo>
                  <a:pt x="187959" y="524509"/>
                </a:lnTo>
                <a:close/>
              </a:path>
              <a:path w="1507490" h="812800">
                <a:moveTo>
                  <a:pt x="1312457" y="499383"/>
                </a:moveTo>
                <a:lnTo>
                  <a:pt x="1312274" y="499618"/>
                </a:lnTo>
                <a:lnTo>
                  <a:pt x="1312457" y="499383"/>
                </a:lnTo>
                <a:close/>
              </a:path>
              <a:path w="1507490" h="812800">
                <a:moveTo>
                  <a:pt x="1363333" y="471043"/>
                </a:moveTo>
                <a:lnTo>
                  <a:pt x="1332610" y="471043"/>
                </a:lnTo>
                <a:lnTo>
                  <a:pt x="1312457" y="499383"/>
                </a:lnTo>
                <a:lnTo>
                  <a:pt x="1312671" y="499109"/>
                </a:lnTo>
                <a:lnTo>
                  <a:pt x="1344455" y="499109"/>
                </a:lnTo>
                <a:lnTo>
                  <a:pt x="1353946" y="485775"/>
                </a:lnTo>
                <a:lnTo>
                  <a:pt x="1363333" y="471043"/>
                </a:lnTo>
                <a:close/>
              </a:path>
              <a:path w="1507490" h="812800">
                <a:moveTo>
                  <a:pt x="166983" y="497504"/>
                </a:moveTo>
                <a:lnTo>
                  <a:pt x="167131" y="497713"/>
                </a:lnTo>
                <a:lnTo>
                  <a:pt x="166983" y="497504"/>
                </a:lnTo>
                <a:close/>
              </a:path>
              <a:path w="1507490" h="812800">
                <a:moveTo>
                  <a:pt x="166770" y="497205"/>
                </a:moveTo>
                <a:lnTo>
                  <a:pt x="166983" y="497504"/>
                </a:lnTo>
                <a:lnTo>
                  <a:pt x="166770" y="497205"/>
                </a:lnTo>
                <a:close/>
              </a:path>
              <a:path w="1507490" h="812800">
                <a:moveTo>
                  <a:pt x="1351152" y="441959"/>
                </a:moveTo>
                <a:lnTo>
                  <a:pt x="1332229" y="471550"/>
                </a:lnTo>
                <a:lnTo>
                  <a:pt x="1332610" y="471043"/>
                </a:lnTo>
                <a:lnTo>
                  <a:pt x="1363333" y="471043"/>
                </a:lnTo>
                <a:lnTo>
                  <a:pt x="1373124" y="455675"/>
                </a:lnTo>
                <a:lnTo>
                  <a:pt x="1380683" y="442594"/>
                </a:lnTo>
                <a:lnTo>
                  <a:pt x="1350899" y="442594"/>
                </a:lnTo>
                <a:lnTo>
                  <a:pt x="1351152" y="441959"/>
                </a:lnTo>
                <a:close/>
              </a:path>
              <a:path w="1507490" h="812800">
                <a:moveTo>
                  <a:pt x="146743" y="469011"/>
                </a:moveTo>
                <a:lnTo>
                  <a:pt x="147065" y="469519"/>
                </a:lnTo>
                <a:lnTo>
                  <a:pt x="146743" y="469011"/>
                </a:lnTo>
                <a:close/>
              </a:path>
              <a:path w="1507490" h="812800">
                <a:moveTo>
                  <a:pt x="1397442" y="412114"/>
                </a:moveTo>
                <a:lnTo>
                  <a:pt x="1368425" y="412114"/>
                </a:lnTo>
                <a:lnTo>
                  <a:pt x="1350899" y="442594"/>
                </a:lnTo>
                <a:lnTo>
                  <a:pt x="1380683" y="442594"/>
                </a:lnTo>
                <a:lnTo>
                  <a:pt x="1391030" y="424688"/>
                </a:lnTo>
                <a:lnTo>
                  <a:pt x="1397442" y="412114"/>
                </a:lnTo>
                <a:close/>
              </a:path>
              <a:path w="1507490" h="812800">
                <a:moveTo>
                  <a:pt x="128142" y="439674"/>
                </a:moveTo>
                <a:lnTo>
                  <a:pt x="128396" y="440181"/>
                </a:lnTo>
                <a:lnTo>
                  <a:pt x="128142" y="439674"/>
                </a:lnTo>
                <a:close/>
              </a:path>
              <a:path w="1507490" h="812800">
                <a:moveTo>
                  <a:pt x="1426264" y="349757"/>
                </a:moveTo>
                <a:lnTo>
                  <a:pt x="1398396" y="349757"/>
                </a:lnTo>
                <a:lnTo>
                  <a:pt x="1383791" y="381888"/>
                </a:lnTo>
                <a:lnTo>
                  <a:pt x="1368043" y="412622"/>
                </a:lnTo>
                <a:lnTo>
                  <a:pt x="1368425" y="412114"/>
                </a:lnTo>
                <a:lnTo>
                  <a:pt x="1397442" y="412114"/>
                </a:lnTo>
                <a:lnTo>
                  <a:pt x="1407286" y="392811"/>
                </a:lnTo>
                <a:lnTo>
                  <a:pt x="1422145" y="360171"/>
                </a:lnTo>
                <a:lnTo>
                  <a:pt x="1426264" y="349757"/>
                </a:lnTo>
                <a:close/>
              </a:path>
              <a:path w="1507490" h="812800">
                <a:moveTo>
                  <a:pt x="110930" y="409320"/>
                </a:moveTo>
                <a:lnTo>
                  <a:pt x="111251" y="409956"/>
                </a:lnTo>
                <a:lnTo>
                  <a:pt x="110930" y="409320"/>
                </a:lnTo>
                <a:close/>
              </a:path>
              <a:path w="1507490" h="812800">
                <a:moveTo>
                  <a:pt x="1384045" y="381253"/>
                </a:moveTo>
                <a:lnTo>
                  <a:pt x="1383722" y="381888"/>
                </a:lnTo>
                <a:lnTo>
                  <a:pt x="1384045" y="381253"/>
                </a:lnTo>
                <a:close/>
              </a:path>
              <a:path w="1507490" h="812800">
                <a:moveTo>
                  <a:pt x="95123" y="378078"/>
                </a:moveTo>
                <a:lnTo>
                  <a:pt x="95376" y="378713"/>
                </a:lnTo>
                <a:lnTo>
                  <a:pt x="95123" y="378078"/>
                </a:lnTo>
                <a:close/>
              </a:path>
              <a:path w="1507490" h="812800">
                <a:moveTo>
                  <a:pt x="1438513" y="317500"/>
                </a:moveTo>
                <a:lnTo>
                  <a:pt x="1411224" y="317500"/>
                </a:lnTo>
                <a:lnTo>
                  <a:pt x="1398142" y="350265"/>
                </a:lnTo>
                <a:lnTo>
                  <a:pt x="1398396" y="349757"/>
                </a:lnTo>
                <a:lnTo>
                  <a:pt x="1426264" y="349757"/>
                </a:lnTo>
                <a:lnTo>
                  <a:pt x="1435353" y="326770"/>
                </a:lnTo>
                <a:lnTo>
                  <a:pt x="1438513" y="317500"/>
                </a:lnTo>
                <a:close/>
              </a:path>
              <a:path w="1507490" h="812800">
                <a:moveTo>
                  <a:pt x="80842" y="346105"/>
                </a:moveTo>
                <a:lnTo>
                  <a:pt x="81025" y="346582"/>
                </a:lnTo>
                <a:lnTo>
                  <a:pt x="80842" y="346105"/>
                </a:lnTo>
                <a:close/>
              </a:path>
              <a:path w="1507490" h="812800">
                <a:moveTo>
                  <a:pt x="80781" y="345947"/>
                </a:moveTo>
                <a:lnTo>
                  <a:pt x="80842" y="346105"/>
                </a:lnTo>
                <a:lnTo>
                  <a:pt x="80781" y="345947"/>
                </a:lnTo>
                <a:close/>
              </a:path>
              <a:path w="1507490" h="812800">
                <a:moveTo>
                  <a:pt x="1458693" y="250697"/>
                </a:moveTo>
                <a:lnTo>
                  <a:pt x="1432178" y="250697"/>
                </a:lnTo>
                <a:lnTo>
                  <a:pt x="1422273" y="284988"/>
                </a:lnTo>
                <a:lnTo>
                  <a:pt x="1410969" y="318007"/>
                </a:lnTo>
                <a:lnTo>
                  <a:pt x="1411224" y="317500"/>
                </a:lnTo>
                <a:lnTo>
                  <a:pt x="1438513" y="317500"/>
                </a:lnTo>
                <a:lnTo>
                  <a:pt x="1447037" y="292481"/>
                </a:lnTo>
                <a:lnTo>
                  <a:pt x="1457070" y="257556"/>
                </a:lnTo>
                <a:lnTo>
                  <a:pt x="1458693" y="250697"/>
                </a:lnTo>
                <a:close/>
              </a:path>
              <a:path w="1507490" h="812800">
                <a:moveTo>
                  <a:pt x="68071" y="312927"/>
                </a:moveTo>
                <a:lnTo>
                  <a:pt x="68199" y="313563"/>
                </a:lnTo>
                <a:lnTo>
                  <a:pt x="68071" y="312927"/>
                </a:lnTo>
                <a:close/>
              </a:path>
              <a:path w="1507490" h="812800">
                <a:moveTo>
                  <a:pt x="1422400" y="284480"/>
                </a:moveTo>
                <a:lnTo>
                  <a:pt x="1422226" y="284988"/>
                </a:lnTo>
                <a:lnTo>
                  <a:pt x="1422400" y="284480"/>
                </a:lnTo>
                <a:close/>
              </a:path>
              <a:path w="1507490" h="812800">
                <a:moveTo>
                  <a:pt x="56895" y="279145"/>
                </a:moveTo>
                <a:lnTo>
                  <a:pt x="57023" y="279653"/>
                </a:lnTo>
                <a:lnTo>
                  <a:pt x="56895" y="279145"/>
                </a:lnTo>
                <a:close/>
              </a:path>
              <a:path w="1507490" h="812800">
                <a:moveTo>
                  <a:pt x="1466476" y="216534"/>
                </a:moveTo>
                <a:lnTo>
                  <a:pt x="1440179" y="216534"/>
                </a:lnTo>
                <a:lnTo>
                  <a:pt x="1440052" y="217169"/>
                </a:lnTo>
                <a:lnTo>
                  <a:pt x="1431925" y="251332"/>
                </a:lnTo>
                <a:lnTo>
                  <a:pt x="1432178" y="250697"/>
                </a:lnTo>
                <a:lnTo>
                  <a:pt x="1458693" y="250697"/>
                </a:lnTo>
                <a:lnTo>
                  <a:pt x="1465452" y="222122"/>
                </a:lnTo>
                <a:lnTo>
                  <a:pt x="1466476" y="216534"/>
                </a:lnTo>
                <a:close/>
              </a:path>
              <a:path w="1507490" h="812800">
                <a:moveTo>
                  <a:pt x="47357" y="244601"/>
                </a:moveTo>
                <a:lnTo>
                  <a:pt x="47498" y="245237"/>
                </a:lnTo>
                <a:lnTo>
                  <a:pt x="47357" y="244601"/>
                </a:lnTo>
                <a:close/>
              </a:path>
              <a:path w="1507490" h="812800">
                <a:moveTo>
                  <a:pt x="1440132" y="216735"/>
                </a:moveTo>
                <a:lnTo>
                  <a:pt x="1440029" y="217169"/>
                </a:lnTo>
                <a:lnTo>
                  <a:pt x="1440132" y="216735"/>
                </a:lnTo>
                <a:close/>
              </a:path>
              <a:path w="1507490" h="812800">
                <a:moveTo>
                  <a:pt x="1472624" y="181737"/>
                </a:moveTo>
                <a:lnTo>
                  <a:pt x="1446529" y="181737"/>
                </a:lnTo>
                <a:lnTo>
                  <a:pt x="1440132" y="216735"/>
                </a:lnTo>
                <a:lnTo>
                  <a:pt x="1440179" y="216534"/>
                </a:lnTo>
                <a:lnTo>
                  <a:pt x="1466476" y="216534"/>
                </a:lnTo>
                <a:lnTo>
                  <a:pt x="1472056" y="186055"/>
                </a:lnTo>
                <a:lnTo>
                  <a:pt x="1472624" y="181737"/>
                </a:lnTo>
                <a:close/>
              </a:path>
              <a:path w="1507490" h="812800">
                <a:moveTo>
                  <a:pt x="39574" y="209516"/>
                </a:moveTo>
                <a:lnTo>
                  <a:pt x="39624" y="209803"/>
                </a:lnTo>
                <a:lnTo>
                  <a:pt x="39574" y="209516"/>
                </a:lnTo>
                <a:close/>
              </a:path>
              <a:path w="1507490" h="812800">
                <a:moveTo>
                  <a:pt x="39513" y="209169"/>
                </a:moveTo>
                <a:lnTo>
                  <a:pt x="39574" y="209516"/>
                </a:lnTo>
                <a:lnTo>
                  <a:pt x="39513" y="209169"/>
                </a:lnTo>
                <a:close/>
              </a:path>
              <a:path w="1507490" h="812800">
                <a:moveTo>
                  <a:pt x="1477132" y="146303"/>
                </a:moveTo>
                <a:lnTo>
                  <a:pt x="1451228" y="146303"/>
                </a:lnTo>
                <a:lnTo>
                  <a:pt x="1446402" y="182371"/>
                </a:lnTo>
                <a:lnTo>
                  <a:pt x="1446529" y="181737"/>
                </a:lnTo>
                <a:lnTo>
                  <a:pt x="1472624" y="181737"/>
                </a:lnTo>
                <a:lnTo>
                  <a:pt x="1476882" y="149351"/>
                </a:lnTo>
                <a:lnTo>
                  <a:pt x="1477132" y="146303"/>
                </a:lnTo>
                <a:close/>
              </a:path>
              <a:path w="1507490" h="812800">
                <a:moveTo>
                  <a:pt x="33325" y="173227"/>
                </a:moveTo>
                <a:lnTo>
                  <a:pt x="33400" y="173862"/>
                </a:lnTo>
                <a:lnTo>
                  <a:pt x="33325" y="173227"/>
                </a:lnTo>
                <a:close/>
              </a:path>
              <a:path w="1507490" h="812800">
                <a:moveTo>
                  <a:pt x="1480401" y="77158"/>
                </a:moveTo>
                <a:lnTo>
                  <a:pt x="1454472" y="78218"/>
                </a:lnTo>
                <a:lnTo>
                  <a:pt x="1454023" y="111378"/>
                </a:lnTo>
                <a:lnTo>
                  <a:pt x="1451102" y="146938"/>
                </a:lnTo>
                <a:lnTo>
                  <a:pt x="1451228" y="146303"/>
                </a:lnTo>
                <a:lnTo>
                  <a:pt x="1477132" y="146303"/>
                </a:lnTo>
                <a:lnTo>
                  <a:pt x="1479930" y="112140"/>
                </a:lnTo>
                <a:lnTo>
                  <a:pt x="1480401" y="77158"/>
                </a:lnTo>
                <a:close/>
              </a:path>
              <a:path w="1507490" h="812800">
                <a:moveTo>
                  <a:pt x="28955" y="136525"/>
                </a:moveTo>
                <a:lnTo>
                  <a:pt x="28955" y="137032"/>
                </a:lnTo>
                <a:lnTo>
                  <a:pt x="28955" y="136525"/>
                </a:lnTo>
                <a:close/>
              </a:path>
              <a:path w="1507490" h="812800">
                <a:moveTo>
                  <a:pt x="1454023" y="110489"/>
                </a:moveTo>
                <a:lnTo>
                  <a:pt x="1453951" y="111378"/>
                </a:lnTo>
                <a:lnTo>
                  <a:pt x="1454023" y="110489"/>
                </a:lnTo>
                <a:close/>
              </a:path>
              <a:path w="1507490" h="812800">
                <a:moveTo>
                  <a:pt x="26903" y="108712"/>
                </a:moveTo>
                <a:lnTo>
                  <a:pt x="26924" y="109219"/>
                </a:lnTo>
                <a:lnTo>
                  <a:pt x="26903" y="108712"/>
                </a:lnTo>
                <a:close/>
              </a:path>
              <a:path w="1507490" h="812800">
                <a:moveTo>
                  <a:pt x="1464817" y="0"/>
                </a:moveTo>
                <a:lnTo>
                  <a:pt x="1429257" y="79248"/>
                </a:lnTo>
                <a:lnTo>
                  <a:pt x="1454472" y="78218"/>
                </a:lnTo>
                <a:lnTo>
                  <a:pt x="1454657" y="64515"/>
                </a:lnTo>
                <a:lnTo>
                  <a:pt x="1500576" y="64515"/>
                </a:lnTo>
                <a:lnTo>
                  <a:pt x="1464817" y="0"/>
                </a:lnTo>
                <a:close/>
              </a:path>
              <a:path w="1507490" h="812800">
                <a:moveTo>
                  <a:pt x="1454657" y="64515"/>
                </a:moveTo>
                <a:lnTo>
                  <a:pt x="1454472" y="78218"/>
                </a:lnTo>
                <a:lnTo>
                  <a:pt x="1480401" y="77158"/>
                </a:lnTo>
                <a:lnTo>
                  <a:pt x="1480565" y="64897"/>
                </a:lnTo>
                <a:lnTo>
                  <a:pt x="1454657" y="64515"/>
                </a:lnTo>
                <a:close/>
              </a:path>
              <a:path w="1507490" h="812800">
                <a:moveTo>
                  <a:pt x="1500576" y="64515"/>
                </a:moveTo>
                <a:lnTo>
                  <a:pt x="1454657" y="64515"/>
                </a:lnTo>
                <a:lnTo>
                  <a:pt x="1480565" y="64897"/>
                </a:lnTo>
                <a:lnTo>
                  <a:pt x="1480401" y="77158"/>
                </a:lnTo>
                <a:lnTo>
                  <a:pt x="1506981" y="76073"/>
                </a:lnTo>
                <a:lnTo>
                  <a:pt x="1500576" y="64515"/>
                </a:lnTo>
                <a:close/>
              </a:path>
            </a:pathLst>
          </a:custGeom>
          <a:solidFill>
            <a:srgbClr val="12ABDB"/>
          </a:solidFill>
        </p:spPr>
        <p:txBody>
          <a:bodyPr wrap="square" lIns="0" tIns="0" rIns="0" bIns="0" rtlCol="0"/>
          <a:lstStyle/>
          <a:p>
            <a:endParaRPr/>
          </a:p>
        </p:txBody>
      </p:sp>
      <p:sp>
        <p:nvSpPr>
          <p:cNvPr id="32" name="object 32"/>
          <p:cNvSpPr/>
          <p:nvPr/>
        </p:nvSpPr>
        <p:spPr>
          <a:xfrm>
            <a:off x="8868409" y="2537460"/>
            <a:ext cx="1508760" cy="813435"/>
          </a:xfrm>
          <a:custGeom>
            <a:avLst/>
            <a:gdLst/>
            <a:ahLst/>
            <a:cxnLst/>
            <a:rect l="l" t="t" r="r" b="b"/>
            <a:pathLst>
              <a:path w="1508759" h="813435">
                <a:moveTo>
                  <a:pt x="1430782" y="733551"/>
                </a:moveTo>
                <a:lnTo>
                  <a:pt x="1466342" y="812926"/>
                </a:lnTo>
                <a:lnTo>
                  <a:pt x="1502170" y="748284"/>
                </a:lnTo>
                <a:lnTo>
                  <a:pt x="1456182" y="748284"/>
                </a:lnTo>
                <a:lnTo>
                  <a:pt x="1455996" y="734623"/>
                </a:lnTo>
                <a:lnTo>
                  <a:pt x="1430782" y="733551"/>
                </a:lnTo>
                <a:close/>
              </a:path>
              <a:path w="1508759" h="813435">
                <a:moveTo>
                  <a:pt x="1455996" y="734623"/>
                </a:moveTo>
                <a:lnTo>
                  <a:pt x="1456182" y="748284"/>
                </a:lnTo>
                <a:lnTo>
                  <a:pt x="1482090" y="748029"/>
                </a:lnTo>
                <a:lnTo>
                  <a:pt x="1481925" y="735724"/>
                </a:lnTo>
                <a:lnTo>
                  <a:pt x="1455996" y="734623"/>
                </a:lnTo>
                <a:close/>
              </a:path>
              <a:path w="1508759" h="813435">
                <a:moveTo>
                  <a:pt x="1481925" y="735724"/>
                </a:moveTo>
                <a:lnTo>
                  <a:pt x="1482090" y="748029"/>
                </a:lnTo>
                <a:lnTo>
                  <a:pt x="1456182" y="748284"/>
                </a:lnTo>
                <a:lnTo>
                  <a:pt x="1502170" y="748284"/>
                </a:lnTo>
                <a:lnTo>
                  <a:pt x="1508506" y="736853"/>
                </a:lnTo>
                <a:lnTo>
                  <a:pt x="1481925" y="735724"/>
                </a:lnTo>
                <a:close/>
              </a:path>
              <a:path w="1508759" h="813435">
                <a:moveTo>
                  <a:pt x="1481465" y="701420"/>
                </a:moveTo>
                <a:lnTo>
                  <a:pt x="1455547" y="701420"/>
                </a:lnTo>
                <a:lnTo>
                  <a:pt x="1455996" y="734623"/>
                </a:lnTo>
                <a:lnTo>
                  <a:pt x="1481925" y="735724"/>
                </a:lnTo>
                <a:lnTo>
                  <a:pt x="1481465" y="701420"/>
                </a:lnTo>
                <a:close/>
              </a:path>
              <a:path w="1508759" h="813435">
                <a:moveTo>
                  <a:pt x="735457" y="0"/>
                </a:moveTo>
                <a:lnTo>
                  <a:pt x="661162" y="4317"/>
                </a:lnTo>
                <a:lnTo>
                  <a:pt x="588518" y="15748"/>
                </a:lnTo>
                <a:lnTo>
                  <a:pt x="518541" y="34162"/>
                </a:lnTo>
                <a:lnTo>
                  <a:pt x="450976" y="59181"/>
                </a:lnTo>
                <a:lnTo>
                  <a:pt x="386588" y="90550"/>
                </a:lnTo>
                <a:lnTo>
                  <a:pt x="325755" y="127635"/>
                </a:lnTo>
                <a:lnTo>
                  <a:pt x="268859" y="170561"/>
                </a:lnTo>
                <a:lnTo>
                  <a:pt x="216154" y="218439"/>
                </a:lnTo>
                <a:lnTo>
                  <a:pt x="168275" y="271525"/>
                </a:lnTo>
                <a:lnTo>
                  <a:pt x="125603" y="329056"/>
                </a:lnTo>
                <a:lnTo>
                  <a:pt x="88392" y="390778"/>
                </a:lnTo>
                <a:lnTo>
                  <a:pt x="57150" y="456438"/>
                </a:lnTo>
                <a:lnTo>
                  <a:pt x="32258" y="525652"/>
                </a:lnTo>
                <a:lnTo>
                  <a:pt x="14097" y="598169"/>
                </a:lnTo>
                <a:lnTo>
                  <a:pt x="3175" y="673353"/>
                </a:lnTo>
                <a:lnTo>
                  <a:pt x="0" y="730885"/>
                </a:lnTo>
                <a:lnTo>
                  <a:pt x="25781" y="731901"/>
                </a:lnTo>
                <a:lnTo>
                  <a:pt x="26908" y="703961"/>
                </a:lnTo>
                <a:lnTo>
                  <a:pt x="28917" y="676148"/>
                </a:lnTo>
                <a:lnTo>
                  <a:pt x="29016" y="675639"/>
                </a:lnTo>
                <a:lnTo>
                  <a:pt x="33325" y="639444"/>
                </a:lnTo>
                <a:lnTo>
                  <a:pt x="39513" y="603503"/>
                </a:lnTo>
                <a:lnTo>
                  <a:pt x="39624" y="602868"/>
                </a:lnTo>
                <a:lnTo>
                  <a:pt x="47498" y="567436"/>
                </a:lnTo>
                <a:lnTo>
                  <a:pt x="56973" y="533526"/>
                </a:lnTo>
                <a:lnTo>
                  <a:pt x="68115" y="499744"/>
                </a:lnTo>
                <a:lnTo>
                  <a:pt x="80906" y="466725"/>
                </a:lnTo>
                <a:lnTo>
                  <a:pt x="81153" y="466089"/>
                </a:lnTo>
                <a:lnTo>
                  <a:pt x="95504" y="433959"/>
                </a:lnTo>
                <a:lnTo>
                  <a:pt x="111057" y="403351"/>
                </a:lnTo>
                <a:lnTo>
                  <a:pt x="128360" y="372999"/>
                </a:lnTo>
                <a:lnTo>
                  <a:pt x="146995" y="343662"/>
                </a:lnTo>
                <a:lnTo>
                  <a:pt x="166899" y="315467"/>
                </a:lnTo>
                <a:lnTo>
                  <a:pt x="188595" y="287654"/>
                </a:lnTo>
                <a:lnTo>
                  <a:pt x="211074" y="261492"/>
                </a:lnTo>
                <a:lnTo>
                  <a:pt x="234461" y="236981"/>
                </a:lnTo>
                <a:lnTo>
                  <a:pt x="234315" y="236981"/>
                </a:lnTo>
                <a:lnTo>
                  <a:pt x="259313" y="213232"/>
                </a:lnTo>
                <a:lnTo>
                  <a:pt x="285185" y="190626"/>
                </a:lnTo>
                <a:lnTo>
                  <a:pt x="312065" y="169290"/>
                </a:lnTo>
                <a:lnTo>
                  <a:pt x="312547" y="168910"/>
                </a:lnTo>
                <a:lnTo>
                  <a:pt x="340078" y="149351"/>
                </a:lnTo>
                <a:lnTo>
                  <a:pt x="369443" y="130301"/>
                </a:lnTo>
                <a:lnTo>
                  <a:pt x="369594" y="130301"/>
                </a:lnTo>
                <a:lnTo>
                  <a:pt x="398848" y="113411"/>
                </a:lnTo>
                <a:lnTo>
                  <a:pt x="429529" y="97536"/>
                </a:lnTo>
                <a:lnTo>
                  <a:pt x="429387" y="97536"/>
                </a:lnTo>
                <a:lnTo>
                  <a:pt x="461391" y="82930"/>
                </a:lnTo>
                <a:lnTo>
                  <a:pt x="493018" y="70230"/>
                </a:lnTo>
                <a:lnTo>
                  <a:pt x="493649" y="69976"/>
                </a:lnTo>
                <a:lnTo>
                  <a:pt x="526542" y="58800"/>
                </a:lnTo>
                <a:lnTo>
                  <a:pt x="526906" y="58800"/>
                </a:lnTo>
                <a:lnTo>
                  <a:pt x="559633" y="49275"/>
                </a:lnTo>
                <a:lnTo>
                  <a:pt x="559435" y="49275"/>
                </a:lnTo>
                <a:lnTo>
                  <a:pt x="593689" y="41275"/>
                </a:lnTo>
                <a:lnTo>
                  <a:pt x="628904" y="34670"/>
                </a:lnTo>
                <a:lnTo>
                  <a:pt x="629214" y="34670"/>
                </a:lnTo>
                <a:lnTo>
                  <a:pt x="664210" y="29972"/>
                </a:lnTo>
                <a:lnTo>
                  <a:pt x="665088" y="29972"/>
                </a:lnTo>
                <a:lnTo>
                  <a:pt x="699897" y="27050"/>
                </a:lnTo>
                <a:lnTo>
                  <a:pt x="699135" y="27050"/>
                </a:lnTo>
                <a:lnTo>
                  <a:pt x="735711" y="25915"/>
                </a:lnTo>
                <a:lnTo>
                  <a:pt x="735330" y="25907"/>
                </a:lnTo>
                <a:lnTo>
                  <a:pt x="934720" y="25907"/>
                </a:lnTo>
                <a:lnTo>
                  <a:pt x="922782" y="22605"/>
                </a:lnTo>
                <a:lnTo>
                  <a:pt x="886333" y="14350"/>
                </a:lnTo>
                <a:lnTo>
                  <a:pt x="849122" y="8000"/>
                </a:lnTo>
                <a:lnTo>
                  <a:pt x="811276" y="3428"/>
                </a:lnTo>
                <a:lnTo>
                  <a:pt x="773176" y="762"/>
                </a:lnTo>
                <a:lnTo>
                  <a:pt x="735457" y="0"/>
                </a:lnTo>
                <a:close/>
              </a:path>
              <a:path w="1508759" h="813435">
                <a:moveTo>
                  <a:pt x="26924" y="703579"/>
                </a:moveTo>
                <a:lnTo>
                  <a:pt x="26797" y="703961"/>
                </a:lnTo>
                <a:lnTo>
                  <a:pt x="26924" y="703579"/>
                </a:lnTo>
                <a:close/>
              </a:path>
              <a:path w="1508759" h="813435">
                <a:moveTo>
                  <a:pt x="1467883" y="595756"/>
                </a:moveTo>
                <a:lnTo>
                  <a:pt x="1441577" y="595756"/>
                </a:lnTo>
                <a:lnTo>
                  <a:pt x="1441704" y="596391"/>
                </a:lnTo>
                <a:lnTo>
                  <a:pt x="1448054" y="631189"/>
                </a:lnTo>
                <a:lnTo>
                  <a:pt x="1452753" y="666495"/>
                </a:lnTo>
                <a:lnTo>
                  <a:pt x="1455547" y="702310"/>
                </a:lnTo>
                <a:lnTo>
                  <a:pt x="1455547" y="701420"/>
                </a:lnTo>
                <a:lnTo>
                  <a:pt x="1481465" y="701420"/>
                </a:lnTo>
                <a:lnTo>
                  <a:pt x="1481455" y="700659"/>
                </a:lnTo>
                <a:lnTo>
                  <a:pt x="1478407" y="663448"/>
                </a:lnTo>
                <a:lnTo>
                  <a:pt x="1473581" y="626872"/>
                </a:lnTo>
                <a:lnTo>
                  <a:pt x="1467883" y="595756"/>
                </a:lnTo>
                <a:close/>
              </a:path>
              <a:path w="1508759" h="813435">
                <a:moveTo>
                  <a:pt x="29016" y="675639"/>
                </a:moveTo>
                <a:lnTo>
                  <a:pt x="28956" y="676148"/>
                </a:lnTo>
                <a:lnTo>
                  <a:pt x="29016" y="675639"/>
                </a:lnTo>
                <a:close/>
              </a:path>
              <a:path w="1508759" h="813435">
                <a:moveTo>
                  <a:pt x="1452626" y="665861"/>
                </a:moveTo>
                <a:lnTo>
                  <a:pt x="1452676" y="666495"/>
                </a:lnTo>
                <a:lnTo>
                  <a:pt x="1452626" y="665861"/>
                </a:lnTo>
                <a:close/>
              </a:path>
              <a:path w="1508759" h="813435">
                <a:moveTo>
                  <a:pt x="33400" y="638810"/>
                </a:moveTo>
                <a:lnTo>
                  <a:pt x="33274" y="639444"/>
                </a:lnTo>
                <a:lnTo>
                  <a:pt x="33400" y="638810"/>
                </a:lnTo>
                <a:close/>
              </a:path>
              <a:path w="1508759" h="813435">
                <a:moveTo>
                  <a:pt x="1447927" y="630554"/>
                </a:moveTo>
                <a:lnTo>
                  <a:pt x="1448012" y="631189"/>
                </a:lnTo>
                <a:lnTo>
                  <a:pt x="1447927" y="630554"/>
                </a:lnTo>
                <a:close/>
              </a:path>
              <a:path w="1508759" h="813435">
                <a:moveTo>
                  <a:pt x="39574" y="603156"/>
                </a:moveTo>
                <a:lnTo>
                  <a:pt x="39497" y="603503"/>
                </a:lnTo>
                <a:lnTo>
                  <a:pt x="39574" y="603156"/>
                </a:lnTo>
                <a:close/>
              </a:path>
              <a:path w="1508759" h="813435">
                <a:moveTo>
                  <a:pt x="39637" y="602868"/>
                </a:moveTo>
                <a:lnTo>
                  <a:pt x="39574" y="603156"/>
                </a:lnTo>
                <a:lnTo>
                  <a:pt x="39637" y="602868"/>
                </a:lnTo>
                <a:close/>
              </a:path>
              <a:path w="1508759" h="813435">
                <a:moveTo>
                  <a:pt x="1441656" y="596191"/>
                </a:moveTo>
                <a:lnTo>
                  <a:pt x="1441693" y="596391"/>
                </a:lnTo>
                <a:lnTo>
                  <a:pt x="1441656" y="596191"/>
                </a:lnTo>
                <a:close/>
              </a:path>
              <a:path w="1508759" h="813435">
                <a:moveTo>
                  <a:pt x="1460091" y="561593"/>
                </a:moveTo>
                <a:lnTo>
                  <a:pt x="1433449" y="561593"/>
                </a:lnTo>
                <a:lnTo>
                  <a:pt x="1433576" y="562101"/>
                </a:lnTo>
                <a:lnTo>
                  <a:pt x="1441656" y="596191"/>
                </a:lnTo>
                <a:lnTo>
                  <a:pt x="1441577" y="595756"/>
                </a:lnTo>
                <a:lnTo>
                  <a:pt x="1467883" y="595756"/>
                </a:lnTo>
                <a:lnTo>
                  <a:pt x="1466977" y="590803"/>
                </a:lnTo>
                <a:lnTo>
                  <a:pt x="1460091" y="561593"/>
                </a:lnTo>
                <a:close/>
              </a:path>
              <a:path w="1508759" h="813435">
                <a:moveTo>
                  <a:pt x="47547" y="567436"/>
                </a:moveTo>
                <a:lnTo>
                  <a:pt x="47371" y="568070"/>
                </a:lnTo>
                <a:lnTo>
                  <a:pt x="47547" y="567436"/>
                </a:lnTo>
                <a:close/>
              </a:path>
              <a:path w="1508759" h="813435">
                <a:moveTo>
                  <a:pt x="1433537" y="561966"/>
                </a:moveTo>
                <a:lnTo>
                  <a:pt x="1433569" y="562101"/>
                </a:lnTo>
                <a:lnTo>
                  <a:pt x="1433537" y="561966"/>
                </a:lnTo>
                <a:close/>
              </a:path>
              <a:path w="1508759" h="813435">
                <a:moveTo>
                  <a:pt x="1450714" y="527812"/>
                </a:moveTo>
                <a:lnTo>
                  <a:pt x="1423797" y="527812"/>
                </a:lnTo>
                <a:lnTo>
                  <a:pt x="1433537" y="561966"/>
                </a:lnTo>
                <a:lnTo>
                  <a:pt x="1433449" y="561593"/>
                </a:lnTo>
                <a:lnTo>
                  <a:pt x="1460091" y="561593"/>
                </a:lnTo>
                <a:lnTo>
                  <a:pt x="1458595" y="555243"/>
                </a:lnTo>
                <a:lnTo>
                  <a:pt x="1450714" y="527812"/>
                </a:lnTo>
                <a:close/>
              </a:path>
              <a:path w="1508759" h="813435">
                <a:moveTo>
                  <a:pt x="57150" y="532891"/>
                </a:moveTo>
                <a:lnTo>
                  <a:pt x="56896" y="533526"/>
                </a:lnTo>
                <a:lnTo>
                  <a:pt x="57150" y="532891"/>
                </a:lnTo>
                <a:close/>
              </a:path>
              <a:path w="1508759" h="813435">
                <a:moveTo>
                  <a:pt x="1439831" y="494791"/>
                </a:moveTo>
                <a:lnTo>
                  <a:pt x="1412494" y="494791"/>
                </a:lnTo>
                <a:lnTo>
                  <a:pt x="1423924" y="528447"/>
                </a:lnTo>
                <a:lnTo>
                  <a:pt x="1423797" y="527812"/>
                </a:lnTo>
                <a:lnTo>
                  <a:pt x="1450714" y="527812"/>
                </a:lnTo>
                <a:lnTo>
                  <a:pt x="1448562" y="520318"/>
                </a:lnTo>
                <a:lnTo>
                  <a:pt x="1439831" y="494791"/>
                </a:lnTo>
                <a:close/>
              </a:path>
              <a:path w="1508759" h="813435">
                <a:moveTo>
                  <a:pt x="68325" y="499110"/>
                </a:moveTo>
                <a:lnTo>
                  <a:pt x="68072" y="499744"/>
                </a:lnTo>
                <a:lnTo>
                  <a:pt x="68325" y="499110"/>
                </a:lnTo>
                <a:close/>
              </a:path>
              <a:path w="1508759" h="813435">
                <a:moveTo>
                  <a:pt x="1427522" y="462406"/>
                </a:moveTo>
                <a:lnTo>
                  <a:pt x="1399667" y="462406"/>
                </a:lnTo>
                <a:lnTo>
                  <a:pt x="1399921" y="463041"/>
                </a:lnTo>
                <a:lnTo>
                  <a:pt x="1412621" y="495426"/>
                </a:lnTo>
                <a:lnTo>
                  <a:pt x="1412494" y="494791"/>
                </a:lnTo>
                <a:lnTo>
                  <a:pt x="1439831" y="494791"/>
                </a:lnTo>
                <a:lnTo>
                  <a:pt x="1436878" y="486155"/>
                </a:lnTo>
                <a:lnTo>
                  <a:pt x="1427522" y="462406"/>
                </a:lnTo>
                <a:close/>
              </a:path>
              <a:path w="1508759" h="813435">
                <a:moveTo>
                  <a:pt x="81182" y="466089"/>
                </a:moveTo>
                <a:lnTo>
                  <a:pt x="80955" y="466599"/>
                </a:lnTo>
                <a:lnTo>
                  <a:pt x="81182" y="466089"/>
                </a:lnTo>
                <a:close/>
              </a:path>
              <a:path w="1508759" h="813435">
                <a:moveTo>
                  <a:pt x="1399885" y="462963"/>
                </a:moveTo>
                <a:close/>
              </a:path>
              <a:path w="1508759" h="813435">
                <a:moveTo>
                  <a:pt x="1413698" y="430911"/>
                </a:moveTo>
                <a:lnTo>
                  <a:pt x="1385316" y="430911"/>
                </a:lnTo>
                <a:lnTo>
                  <a:pt x="1385570" y="431418"/>
                </a:lnTo>
                <a:lnTo>
                  <a:pt x="1399885" y="462963"/>
                </a:lnTo>
                <a:lnTo>
                  <a:pt x="1399667" y="462406"/>
                </a:lnTo>
                <a:lnTo>
                  <a:pt x="1427522" y="462406"/>
                </a:lnTo>
                <a:lnTo>
                  <a:pt x="1423670" y="452627"/>
                </a:lnTo>
                <a:lnTo>
                  <a:pt x="1413698" y="430911"/>
                </a:lnTo>
                <a:close/>
              </a:path>
              <a:path w="1508759" h="813435">
                <a:moveTo>
                  <a:pt x="95571" y="433959"/>
                </a:moveTo>
                <a:lnTo>
                  <a:pt x="95250" y="434593"/>
                </a:lnTo>
                <a:lnTo>
                  <a:pt x="95571" y="433959"/>
                </a:lnTo>
                <a:close/>
              </a:path>
              <a:path w="1508759" h="813435">
                <a:moveTo>
                  <a:pt x="1385364" y="431018"/>
                </a:moveTo>
                <a:lnTo>
                  <a:pt x="1385546" y="431418"/>
                </a:lnTo>
                <a:lnTo>
                  <a:pt x="1385364" y="431018"/>
                </a:lnTo>
                <a:close/>
              </a:path>
              <a:path w="1508759" h="813435">
                <a:moveTo>
                  <a:pt x="1398580" y="400176"/>
                </a:moveTo>
                <a:lnTo>
                  <a:pt x="1369568" y="400176"/>
                </a:lnTo>
                <a:lnTo>
                  <a:pt x="1385364" y="431018"/>
                </a:lnTo>
                <a:lnTo>
                  <a:pt x="1413698" y="430911"/>
                </a:lnTo>
                <a:lnTo>
                  <a:pt x="1408684" y="419988"/>
                </a:lnTo>
                <a:lnTo>
                  <a:pt x="1398580" y="400176"/>
                </a:lnTo>
                <a:close/>
              </a:path>
              <a:path w="1508759" h="813435">
                <a:moveTo>
                  <a:pt x="111379" y="402716"/>
                </a:moveTo>
                <a:lnTo>
                  <a:pt x="110998" y="403351"/>
                </a:lnTo>
                <a:lnTo>
                  <a:pt x="111379" y="402716"/>
                </a:lnTo>
                <a:close/>
              </a:path>
              <a:path w="1508759" h="813435">
                <a:moveTo>
                  <a:pt x="1325339" y="286130"/>
                </a:moveTo>
                <a:lnTo>
                  <a:pt x="1292479" y="286130"/>
                </a:lnTo>
                <a:lnTo>
                  <a:pt x="1314069" y="313689"/>
                </a:lnTo>
                <a:lnTo>
                  <a:pt x="1334008" y="341884"/>
                </a:lnTo>
                <a:lnTo>
                  <a:pt x="1352677" y="370839"/>
                </a:lnTo>
                <a:lnTo>
                  <a:pt x="1369822" y="400685"/>
                </a:lnTo>
                <a:lnTo>
                  <a:pt x="1369568" y="400176"/>
                </a:lnTo>
                <a:lnTo>
                  <a:pt x="1398580" y="400176"/>
                </a:lnTo>
                <a:lnTo>
                  <a:pt x="1392428" y="388112"/>
                </a:lnTo>
                <a:lnTo>
                  <a:pt x="1374648" y="357124"/>
                </a:lnTo>
                <a:lnTo>
                  <a:pt x="1355344" y="327025"/>
                </a:lnTo>
                <a:lnTo>
                  <a:pt x="1334643" y="298068"/>
                </a:lnTo>
                <a:lnTo>
                  <a:pt x="1325339" y="286130"/>
                </a:lnTo>
                <a:close/>
              </a:path>
              <a:path w="1508759" h="813435">
                <a:moveTo>
                  <a:pt x="128650" y="372490"/>
                </a:moveTo>
                <a:lnTo>
                  <a:pt x="128270" y="372999"/>
                </a:lnTo>
                <a:lnTo>
                  <a:pt x="128650" y="372490"/>
                </a:lnTo>
                <a:close/>
              </a:path>
              <a:path w="1508759" h="813435">
                <a:moveTo>
                  <a:pt x="1352296" y="370331"/>
                </a:moveTo>
                <a:lnTo>
                  <a:pt x="1352589" y="370839"/>
                </a:lnTo>
                <a:lnTo>
                  <a:pt x="1352296" y="370331"/>
                </a:lnTo>
                <a:close/>
              </a:path>
              <a:path w="1508759" h="813435">
                <a:moveTo>
                  <a:pt x="147320" y="343153"/>
                </a:moveTo>
                <a:lnTo>
                  <a:pt x="146939" y="343662"/>
                </a:lnTo>
                <a:lnTo>
                  <a:pt x="147320" y="343153"/>
                </a:lnTo>
                <a:close/>
              </a:path>
              <a:path w="1508759" h="813435">
                <a:moveTo>
                  <a:pt x="1333627" y="341375"/>
                </a:moveTo>
                <a:lnTo>
                  <a:pt x="1333955" y="341884"/>
                </a:lnTo>
                <a:lnTo>
                  <a:pt x="1333627" y="341375"/>
                </a:lnTo>
                <a:close/>
              </a:path>
              <a:path w="1508759" h="813435">
                <a:moveTo>
                  <a:pt x="167106" y="315174"/>
                </a:moveTo>
                <a:lnTo>
                  <a:pt x="166878" y="315467"/>
                </a:lnTo>
                <a:lnTo>
                  <a:pt x="167106" y="315174"/>
                </a:lnTo>
                <a:close/>
              </a:path>
              <a:path w="1508759" h="813435">
                <a:moveTo>
                  <a:pt x="1313688" y="313309"/>
                </a:moveTo>
                <a:lnTo>
                  <a:pt x="1313958" y="313689"/>
                </a:lnTo>
                <a:lnTo>
                  <a:pt x="1313688" y="313309"/>
                </a:lnTo>
                <a:close/>
              </a:path>
              <a:path w="1508759" h="813435">
                <a:moveTo>
                  <a:pt x="188649" y="287654"/>
                </a:moveTo>
                <a:lnTo>
                  <a:pt x="188214" y="288163"/>
                </a:lnTo>
                <a:lnTo>
                  <a:pt x="188649" y="287654"/>
                </a:lnTo>
                <a:close/>
              </a:path>
              <a:path w="1508759" h="813435">
                <a:moveTo>
                  <a:pt x="1304230" y="260095"/>
                </a:moveTo>
                <a:lnTo>
                  <a:pt x="1270000" y="260095"/>
                </a:lnTo>
                <a:lnTo>
                  <a:pt x="1292860" y="286638"/>
                </a:lnTo>
                <a:lnTo>
                  <a:pt x="1292479" y="286130"/>
                </a:lnTo>
                <a:lnTo>
                  <a:pt x="1325339" y="286130"/>
                </a:lnTo>
                <a:lnTo>
                  <a:pt x="1312672" y="269875"/>
                </a:lnTo>
                <a:lnTo>
                  <a:pt x="1304230" y="260095"/>
                </a:lnTo>
                <a:close/>
              </a:path>
              <a:path w="1508759" h="813435">
                <a:moveTo>
                  <a:pt x="211175" y="261492"/>
                </a:moveTo>
                <a:lnTo>
                  <a:pt x="210693" y="262000"/>
                </a:lnTo>
                <a:lnTo>
                  <a:pt x="211175" y="261492"/>
                </a:lnTo>
                <a:close/>
              </a:path>
              <a:path w="1508759" h="813435">
                <a:moveTo>
                  <a:pt x="1282027" y="235203"/>
                </a:moveTo>
                <a:lnTo>
                  <a:pt x="1246251" y="235203"/>
                </a:lnTo>
                <a:lnTo>
                  <a:pt x="1270381" y="260603"/>
                </a:lnTo>
                <a:lnTo>
                  <a:pt x="1270000" y="260095"/>
                </a:lnTo>
                <a:lnTo>
                  <a:pt x="1304230" y="260095"/>
                </a:lnTo>
                <a:lnTo>
                  <a:pt x="1289431" y="242950"/>
                </a:lnTo>
                <a:lnTo>
                  <a:pt x="1282027" y="235203"/>
                </a:lnTo>
                <a:close/>
              </a:path>
              <a:path w="1508759" h="813435">
                <a:moveTo>
                  <a:pt x="234823" y="236600"/>
                </a:moveTo>
                <a:lnTo>
                  <a:pt x="234315" y="236981"/>
                </a:lnTo>
                <a:lnTo>
                  <a:pt x="234461" y="236981"/>
                </a:lnTo>
                <a:lnTo>
                  <a:pt x="234823" y="236600"/>
                </a:lnTo>
                <a:close/>
              </a:path>
              <a:path w="1508759" h="813435">
                <a:moveTo>
                  <a:pt x="1258812" y="211454"/>
                </a:moveTo>
                <a:lnTo>
                  <a:pt x="1221359" y="211454"/>
                </a:lnTo>
                <a:lnTo>
                  <a:pt x="1246632" y="235712"/>
                </a:lnTo>
                <a:lnTo>
                  <a:pt x="1246251" y="235203"/>
                </a:lnTo>
                <a:lnTo>
                  <a:pt x="1282027" y="235203"/>
                </a:lnTo>
                <a:lnTo>
                  <a:pt x="1264793" y="217169"/>
                </a:lnTo>
                <a:lnTo>
                  <a:pt x="1258812" y="211454"/>
                </a:lnTo>
                <a:close/>
              </a:path>
              <a:path w="1508759" h="813435">
                <a:moveTo>
                  <a:pt x="259715" y="212851"/>
                </a:moveTo>
                <a:lnTo>
                  <a:pt x="259207" y="213232"/>
                </a:lnTo>
                <a:lnTo>
                  <a:pt x="259715" y="212851"/>
                </a:lnTo>
                <a:close/>
              </a:path>
              <a:path w="1508759" h="813435">
                <a:moveTo>
                  <a:pt x="1210025" y="167512"/>
                </a:moveTo>
                <a:lnTo>
                  <a:pt x="1168019" y="167512"/>
                </a:lnTo>
                <a:lnTo>
                  <a:pt x="1168527" y="167893"/>
                </a:lnTo>
                <a:lnTo>
                  <a:pt x="1195705" y="189229"/>
                </a:lnTo>
                <a:lnTo>
                  <a:pt x="1221740" y="211962"/>
                </a:lnTo>
                <a:lnTo>
                  <a:pt x="1221359" y="211454"/>
                </a:lnTo>
                <a:lnTo>
                  <a:pt x="1258812" y="211454"/>
                </a:lnTo>
                <a:lnTo>
                  <a:pt x="1239012" y="192531"/>
                </a:lnTo>
                <a:lnTo>
                  <a:pt x="1211961" y="169037"/>
                </a:lnTo>
                <a:lnTo>
                  <a:pt x="1210025" y="167512"/>
                </a:lnTo>
                <a:close/>
              </a:path>
              <a:path w="1508759" h="813435">
                <a:moveTo>
                  <a:pt x="285623" y="190245"/>
                </a:moveTo>
                <a:lnTo>
                  <a:pt x="285115" y="190626"/>
                </a:lnTo>
                <a:lnTo>
                  <a:pt x="285623" y="190245"/>
                </a:lnTo>
                <a:close/>
              </a:path>
              <a:path w="1508759" h="813435">
                <a:moveTo>
                  <a:pt x="1195197" y="188849"/>
                </a:moveTo>
                <a:lnTo>
                  <a:pt x="1195634" y="189229"/>
                </a:lnTo>
                <a:lnTo>
                  <a:pt x="1195197" y="188849"/>
                </a:lnTo>
                <a:close/>
              </a:path>
              <a:path w="1508759" h="813435">
                <a:moveTo>
                  <a:pt x="312301" y="169104"/>
                </a:moveTo>
                <a:lnTo>
                  <a:pt x="312039" y="169290"/>
                </a:lnTo>
                <a:lnTo>
                  <a:pt x="312301" y="169104"/>
                </a:lnTo>
                <a:close/>
              </a:path>
              <a:path w="1508759" h="813435">
                <a:moveTo>
                  <a:pt x="312574" y="168910"/>
                </a:moveTo>
                <a:lnTo>
                  <a:pt x="312301" y="169104"/>
                </a:lnTo>
                <a:lnTo>
                  <a:pt x="312574" y="168910"/>
                </a:lnTo>
                <a:close/>
              </a:path>
              <a:path w="1508759" h="813435">
                <a:moveTo>
                  <a:pt x="1168288" y="167724"/>
                </a:moveTo>
                <a:lnTo>
                  <a:pt x="1168504" y="167893"/>
                </a:lnTo>
                <a:lnTo>
                  <a:pt x="1168288" y="167724"/>
                </a:lnTo>
                <a:close/>
              </a:path>
              <a:path w="1508759" h="813435">
                <a:moveTo>
                  <a:pt x="1139952" y="147574"/>
                </a:moveTo>
                <a:lnTo>
                  <a:pt x="1168288" y="167724"/>
                </a:lnTo>
                <a:lnTo>
                  <a:pt x="1168019" y="167512"/>
                </a:lnTo>
                <a:lnTo>
                  <a:pt x="1210025" y="167512"/>
                </a:lnTo>
                <a:lnTo>
                  <a:pt x="1185023" y="147827"/>
                </a:lnTo>
                <a:lnTo>
                  <a:pt x="1140460" y="147827"/>
                </a:lnTo>
                <a:lnTo>
                  <a:pt x="1139952" y="147574"/>
                </a:lnTo>
                <a:close/>
              </a:path>
              <a:path w="1508759" h="813435">
                <a:moveTo>
                  <a:pt x="340614" y="148970"/>
                </a:moveTo>
                <a:lnTo>
                  <a:pt x="339979" y="149351"/>
                </a:lnTo>
                <a:lnTo>
                  <a:pt x="340614" y="148970"/>
                </a:lnTo>
                <a:close/>
              </a:path>
              <a:path w="1508759" h="813435">
                <a:moveTo>
                  <a:pt x="1158268" y="128777"/>
                </a:moveTo>
                <a:lnTo>
                  <a:pt x="1110742" y="128777"/>
                </a:lnTo>
                <a:lnTo>
                  <a:pt x="1140460" y="147827"/>
                </a:lnTo>
                <a:lnTo>
                  <a:pt x="1185023" y="147827"/>
                </a:lnTo>
                <a:lnTo>
                  <a:pt x="1183894" y="146938"/>
                </a:lnTo>
                <a:lnTo>
                  <a:pt x="1158268" y="128777"/>
                </a:lnTo>
                <a:close/>
              </a:path>
              <a:path w="1508759" h="813435">
                <a:moveTo>
                  <a:pt x="369594" y="130301"/>
                </a:moveTo>
                <a:lnTo>
                  <a:pt x="369443" y="130301"/>
                </a:lnTo>
                <a:lnTo>
                  <a:pt x="368935" y="130682"/>
                </a:lnTo>
                <a:lnTo>
                  <a:pt x="369594" y="130301"/>
                </a:lnTo>
                <a:close/>
              </a:path>
              <a:path w="1508759" h="813435">
                <a:moveTo>
                  <a:pt x="1131767" y="111505"/>
                </a:moveTo>
                <a:lnTo>
                  <a:pt x="1080516" y="111505"/>
                </a:lnTo>
                <a:lnTo>
                  <a:pt x="1111250" y="129159"/>
                </a:lnTo>
                <a:lnTo>
                  <a:pt x="1110742" y="128777"/>
                </a:lnTo>
                <a:lnTo>
                  <a:pt x="1158268" y="128777"/>
                </a:lnTo>
                <a:lnTo>
                  <a:pt x="1154684" y="126237"/>
                </a:lnTo>
                <a:lnTo>
                  <a:pt x="1131767" y="111505"/>
                </a:lnTo>
                <a:close/>
              </a:path>
              <a:path w="1508759" h="813435">
                <a:moveTo>
                  <a:pt x="399288" y="113156"/>
                </a:moveTo>
                <a:lnTo>
                  <a:pt x="398780" y="113411"/>
                </a:lnTo>
                <a:lnTo>
                  <a:pt x="399288" y="113156"/>
                </a:lnTo>
                <a:close/>
              </a:path>
              <a:path w="1508759" h="813435">
                <a:moveTo>
                  <a:pt x="1049274" y="95630"/>
                </a:moveTo>
                <a:lnTo>
                  <a:pt x="1081024" y="111887"/>
                </a:lnTo>
                <a:lnTo>
                  <a:pt x="1080516" y="111505"/>
                </a:lnTo>
                <a:lnTo>
                  <a:pt x="1131767" y="111505"/>
                </a:lnTo>
                <a:lnTo>
                  <a:pt x="1124458" y="106806"/>
                </a:lnTo>
                <a:lnTo>
                  <a:pt x="1105325" y="95885"/>
                </a:lnTo>
                <a:lnTo>
                  <a:pt x="1049909" y="95885"/>
                </a:lnTo>
                <a:lnTo>
                  <a:pt x="1049274" y="95630"/>
                </a:lnTo>
                <a:close/>
              </a:path>
              <a:path w="1508759" h="813435">
                <a:moveTo>
                  <a:pt x="430022" y="97281"/>
                </a:moveTo>
                <a:lnTo>
                  <a:pt x="429387" y="97536"/>
                </a:lnTo>
                <a:lnTo>
                  <a:pt x="429529" y="97536"/>
                </a:lnTo>
                <a:lnTo>
                  <a:pt x="430022" y="97281"/>
                </a:lnTo>
                <a:close/>
              </a:path>
              <a:path w="1508759" h="813435">
                <a:moveTo>
                  <a:pt x="1017397" y="81406"/>
                </a:moveTo>
                <a:lnTo>
                  <a:pt x="1049909" y="95885"/>
                </a:lnTo>
                <a:lnTo>
                  <a:pt x="1105325" y="95885"/>
                </a:lnTo>
                <a:lnTo>
                  <a:pt x="1093089" y="88900"/>
                </a:lnTo>
                <a:lnTo>
                  <a:pt x="1078696" y="81534"/>
                </a:lnTo>
                <a:lnTo>
                  <a:pt x="1017905" y="81534"/>
                </a:lnTo>
                <a:lnTo>
                  <a:pt x="1017397" y="81406"/>
                </a:lnTo>
                <a:close/>
              </a:path>
              <a:path w="1508759" h="813435">
                <a:moveTo>
                  <a:pt x="461513" y="82930"/>
                </a:moveTo>
                <a:lnTo>
                  <a:pt x="460883" y="83185"/>
                </a:lnTo>
                <a:lnTo>
                  <a:pt x="461513" y="82930"/>
                </a:lnTo>
                <a:close/>
              </a:path>
              <a:path w="1508759" h="813435">
                <a:moveTo>
                  <a:pt x="1052048" y="68452"/>
                </a:moveTo>
                <a:lnTo>
                  <a:pt x="984376" y="68452"/>
                </a:lnTo>
                <a:lnTo>
                  <a:pt x="1017905" y="81534"/>
                </a:lnTo>
                <a:lnTo>
                  <a:pt x="1078696" y="81534"/>
                </a:lnTo>
                <a:lnTo>
                  <a:pt x="1060831" y="72389"/>
                </a:lnTo>
                <a:lnTo>
                  <a:pt x="1052048" y="68452"/>
                </a:lnTo>
                <a:close/>
              </a:path>
              <a:path w="1508759" h="813435">
                <a:moveTo>
                  <a:pt x="493759" y="69976"/>
                </a:moveTo>
                <a:lnTo>
                  <a:pt x="493045" y="70220"/>
                </a:lnTo>
                <a:lnTo>
                  <a:pt x="493759" y="69976"/>
                </a:lnTo>
                <a:close/>
              </a:path>
              <a:path w="1508759" h="813435">
                <a:moveTo>
                  <a:pt x="950722" y="57276"/>
                </a:moveTo>
                <a:lnTo>
                  <a:pt x="985012" y="68706"/>
                </a:lnTo>
                <a:lnTo>
                  <a:pt x="984376" y="68452"/>
                </a:lnTo>
                <a:lnTo>
                  <a:pt x="1052048" y="68452"/>
                </a:lnTo>
                <a:lnTo>
                  <a:pt x="1027684" y="57530"/>
                </a:lnTo>
                <a:lnTo>
                  <a:pt x="1027358" y="57403"/>
                </a:lnTo>
                <a:lnTo>
                  <a:pt x="951357" y="57403"/>
                </a:lnTo>
                <a:lnTo>
                  <a:pt x="950722" y="57276"/>
                </a:lnTo>
                <a:close/>
              </a:path>
              <a:path w="1508759" h="813435">
                <a:moveTo>
                  <a:pt x="526906" y="58800"/>
                </a:moveTo>
                <a:lnTo>
                  <a:pt x="526542" y="58800"/>
                </a:lnTo>
                <a:lnTo>
                  <a:pt x="526034" y="59054"/>
                </a:lnTo>
                <a:lnTo>
                  <a:pt x="526906" y="58800"/>
                </a:lnTo>
                <a:close/>
              </a:path>
              <a:path w="1508759" h="813435">
                <a:moveTo>
                  <a:pt x="916178" y="47625"/>
                </a:moveTo>
                <a:lnTo>
                  <a:pt x="951357" y="57403"/>
                </a:lnTo>
                <a:lnTo>
                  <a:pt x="1027358" y="57403"/>
                </a:lnTo>
                <a:lnTo>
                  <a:pt x="1002631" y="47751"/>
                </a:lnTo>
                <a:lnTo>
                  <a:pt x="916813" y="47751"/>
                </a:lnTo>
                <a:lnTo>
                  <a:pt x="916178" y="47625"/>
                </a:lnTo>
                <a:close/>
              </a:path>
              <a:path w="1508759" h="813435">
                <a:moveTo>
                  <a:pt x="560070" y="49149"/>
                </a:moveTo>
                <a:lnTo>
                  <a:pt x="559435" y="49275"/>
                </a:lnTo>
                <a:lnTo>
                  <a:pt x="559633" y="49275"/>
                </a:lnTo>
                <a:lnTo>
                  <a:pt x="560070" y="49149"/>
                </a:lnTo>
                <a:close/>
              </a:path>
              <a:path w="1508759" h="813435">
                <a:moveTo>
                  <a:pt x="979854" y="39624"/>
                </a:moveTo>
                <a:lnTo>
                  <a:pt x="880999" y="39624"/>
                </a:lnTo>
                <a:lnTo>
                  <a:pt x="916813" y="47751"/>
                </a:lnTo>
                <a:lnTo>
                  <a:pt x="1002631" y="47751"/>
                </a:lnTo>
                <a:lnTo>
                  <a:pt x="993521" y="44195"/>
                </a:lnTo>
                <a:lnTo>
                  <a:pt x="979854" y="39624"/>
                </a:lnTo>
                <a:close/>
              </a:path>
              <a:path w="1508759" h="813435">
                <a:moveTo>
                  <a:pt x="594056" y="41189"/>
                </a:moveTo>
                <a:lnTo>
                  <a:pt x="593598" y="41275"/>
                </a:lnTo>
                <a:lnTo>
                  <a:pt x="594056" y="41189"/>
                </a:lnTo>
                <a:close/>
              </a:path>
              <a:path w="1508759" h="813435">
                <a:moveTo>
                  <a:pt x="961632" y="33527"/>
                </a:moveTo>
                <a:lnTo>
                  <a:pt x="845058" y="33527"/>
                </a:lnTo>
                <a:lnTo>
                  <a:pt x="881634" y="39877"/>
                </a:lnTo>
                <a:lnTo>
                  <a:pt x="880999" y="39624"/>
                </a:lnTo>
                <a:lnTo>
                  <a:pt x="979854" y="39624"/>
                </a:lnTo>
                <a:lnTo>
                  <a:pt x="961632" y="33527"/>
                </a:lnTo>
                <a:close/>
              </a:path>
              <a:path w="1508759" h="813435">
                <a:moveTo>
                  <a:pt x="629214" y="34670"/>
                </a:moveTo>
                <a:lnTo>
                  <a:pt x="628904" y="34670"/>
                </a:lnTo>
                <a:lnTo>
                  <a:pt x="628269" y="34798"/>
                </a:lnTo>
                <a:lnTo>
                  <a:pt x="629214" y="34670"/>
                </a:lnTo>
                <a:close/>
              </a:path>
              <a:path w="1508759" h="813435">
                <a:moveTo>
                  <a:pt x="934720" y="25907"/>
                </a:moveTo>
                <a:lnTo>
                  <a:pt x="735711" y="25915"/>
                </a:lnTo>
                <a:lnTo>
                  <a:pt x="772287" y="26669"/>
                </a:lnTo>
                <a:lnTo>
                  <a:pt x="771779" y="26669"/>
                </a:lnTo>
                <a:lnTo>
                  <a:pt x="809117" y="29210"/>
                </a:lnTo>
                <a:lnTo>
                  <a:pt x="808482" y="29210"/>
                </a:lnTo>
                <a:lnTo>
                  <a:pt x="845693" y="33654"/>
                </a:lnTo>
                <a:lnTo>
                  <a:pt x="845058" y="33527"/>
                </a:lnTo>
                <a:lnTo>
                  <a:pt x="961632" y="33527"/>
                </a:lnTo>
                <a:lnTo>
                  <a:pt x="958596" y="32512"/>
                </a:lnTo>
                <a:lnTo>
                  <a:pt x="934720" y="25907"/>
                </a:lnTo>
                <a:close/>
              </a:path>
              <a:path w="1508759" h="813435">
                <a:moveTo>
                  <a:pt x="665088" y="29972"/>
                </a:moveTo>
                <a:lnTo>
                  <a:pt x="664210" y="29972"/>
                </a:lnTo>
                <a:lnTo>
                  <a:pt x="663575" y="30099"/>
                </a:lnTo>
                <a:lnTo>
                  <a:pt x="665088" y="29972"/>
                </a:lnTo>
                <a:close/>
              </a:path>
            </a:pathLst>
          </a:custGeom>
          <a:solidFill>
            <a:srgbClr val="12ABDB"/>
          </a:solidFill>
        </p:spPr>
        <p:txBody>
          <a:bodyPr wrap="square" lIns="0" tIns="0" rIns="0" bIns="0" rtlCol="0"/>
          <a:lstStyle/>
          <a:p>
            <a:endParaRPr/>
          </a:p>
        </p:txBody>
      </p:sp>
      <p:sp>
        <p:nvSpPr>
          <p:cNvPr id="33" name="object 3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34" name="object 3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3</a:t>
            </a:fld>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635875" cy="422275"/>
          </a:xfrm>
          <a:prstGeom prst="rect">
            <a:avLst/>
          </a:prstGeom>
        </p:spPr>
        <p:txBody>
          <a:bodyPr vert="horz" wrap="square" lIns="0" tIns="12700" rIns="0" bIns="0" rtlCol="0">
            <a:spAutoFit/>
          </a:bodyPr>
          <a:lstStyle/>
          <a:p>
            <a:pPr marL="12700">
              <a:lnSpc>
                <a:spcPct val="100000"/>
              </a:lnSpc>
              <a:spcBef>
                <a:spcPts val="100"/>
              </a:spcBef>
            </a:pPr>
            <a:r>
              <a:rPr sz="2600" spc="-5"/>
              <a:t>Project Governance </a:t>
            </a:r>
            <a:r>
              <a:rPr sz="2600"/>
              <a:t>Plan – Minimum</a:t>
            </a:r>
            <a:r>
              <a:rPr sz="2600" spc="-90"/>
              <a:t> </a:t>
            </a:r>
            <a:r>
              <a:rPr sz="2600"/>
              <a:t>Contents</a:t>
            </a:r>
          </a:p>
        </p:txBody>
      </p:sp>
      <p:sp>
        <p:nvSpPr>
          <p:cNvPr id="3" name="object 3"/>
          <p:cNvSpPr txBox="1"/>
          <p:nvPr/>
        </p:nvSpPr>
        <p:spPr>
          <a:xfrm>
            <a:off x="227075" y="1138427"/>
            <a:ext cx="11689080" cy="1015365"/>
          </a:xfrm>
          <a:prstGeom prst="rect">
            <a:avLst/>
          </a:prstGeom>
          <a:solidFill>
            <a:srgbClr val="CDEFFA"/>
          </a:solidFill>
        </p:spPr>
        <p:txBody>
          <a:bodyPr vert="horz" wrap="square" lIns="0" tIns="43815" rIns="0" bIns="0" rtlCol="0">
            <a:spAutoFit/>
          </a:bodyPr>
          <a:lstStyle/>
          <a:p>
            <a:pPr marL="91440" marR="83820">
              <a:lnSpc>
                <a:spcPct val="100000"/>
              </a:lnSpc>
              <a:spcBef>
                <a:spcPts val="345"/>
              </a:spcBef>
            </a:pPr>
            <a:r>
              <a:rPr sz="1200">
                <a:latin typeface="Verdana"/>
                <a:cs typeface="Verdana"/>
              </a:rPr>
              <a:t>A </a:t>
            </a:r>
            <a:r>
              <a:rPr sz="1200" spc="-5">
                <a:latin typeface="Verdana"/>
                <a:cs typeface="Verdana"/>
              </a:rPr>
              <a:t>Project Governance Plan will </a:t>
            </a:r>
            <a:r>
              <a:rPr sz="1200" spc="-10">
                <a:latin typeface="Verdana"/>
                <a:cs typeface="Verdana"/>
              </a:rPr>
              <a:t>vary </a:t>
            </a:r>
            <a:r>
              <a:rPr sz="1200" spc="-5">
                <a:latin typeface="Verdana"/>
                <a:cs typeface="Verdana"/>
              </a:rPr>
              <a:t>in formality and detail depending </a:t>
            </a:r>
            <a:r>
              <a:rPr sz="1200">
                <a:latin typeface="Verdana"/>
                <a:cs typeface="Verdana"/>
              </a:rPr>
              <a:t>on </a:t>
            </a:r>
            <a:r>
              <a:rPr sz="1200" spc="-5">
                <a:latin typeface="Verdana"/>
                <a:cs typeface="Verdana"/>
              </a:rPr>
              <a:t>the size </a:t>
            </a:r>
            <a:r>
              <a:rPr sz="1200">
                <a:latin typeface="Verdana"/>
                <a:cs typeface="Verdana"/>
              </a:rPr>
              <a:t>of </a:t>
            </a:r>
            <a:r>
              <a:rPr sz="1200" spc="-5">
                <a:latin typeface="Verdana"/>
                <a:cs typeface="Verdana"/>
              </a:rPr>
              <a:t>the </a:t>
            </a:r>
            <a:r>
              <a:rPr sz="1200" spc="-10">
                <a:latin typeface="Verdana"/>
                <a:cs typeface="Verdana"/>
              </a:rPr>
              <a:t>initiative. </a:t>
            </a:r>
            <a:r>
              <a:rPr sz="1200" spc="-5">
                <a:latin typeface="Verdana"/>
                <a:cs typeface="Verdana"/>
              </a:rPr>
              <a:t>While this </a:t>
            </a:r>
            <a:r>
              <a:rPr sz="1200">
                <a:latin typeface="Verdana"/>
                <a:cs typeface="Verdana"/>
              </a:rPr>
              <a:t>implementation </a:t>
            </a:r>
            <a:r>
              <a:rPr sz="1200" spc="-5">
                <a:latin typeface="Verdana"/>
                <a:cs typeface="Verdana"/>
              </a:rPr>
              <a:t>task size is not simple to  gauge, </a:t>
            </a:r>
            <a:r>
              <a:rPr sz="1200">
                <a:latin typeface="Verdana"/>
                <a:cs typeface="Verdana"/>
              </a:rPr>
              <a:t>some </a:t>
            </a:r>
            <a:r>
              <a:rPr sz="1200" spc="-5">
                <a:latin typeface="Verdana"/>
                <a:cs typeface="Verdana"/>
              </a:rPr>
              <a:t>discernment will be required to adapt to the different exigencies </a:t>
            </a:r>
            <a:r>
              <a:rPr sz="1200">
                <a:latin typeface="Verdana"/>
                <a:cs typeface="Verdana"/>
              </a:rPr>
              <a:t>of </a:t>
            </a:r>
            <a:r>
              <a:rPr sz="1200" spc="-5">
                <a:latin typeface="Verdana"/>
                <a:cs typeface="Verdana"/>
              </a:rPr>
              <a:t>the project phases. </a:t>
            </a:r>
            <a:r>
              <a:rPr sz="1200">
                <a:latin typeface="Verdana"/>
                <a:cs typeface="Verdana"/>
              </a:rPr>
              <a:t>A </a:t>
            </a:r>
            <a:r>
              <a:rPr sz="1200" spc="-5">
                <a:latin typeface="Verdana"/>
                <a:cs typeface="Verdana"/>
              </a:rPr>
              <a:t>complete PGP would </a:t>
            </a:r>
            <a:r>
              <a:rPr sz="1200" spc="15">
                <a:latin typeface="Verdana"/>
                <a:cs typeface="Verdana"/>
              </a:rPr>
              <a:t>also </a:t>
            </a:r>
            <a:r>
              <a:rPr sz="1200" spc="-5">
                <a:latin typeface="Verdana"/>
                <a:cs typeface="Verdana"/>
              </a:rPr>
              <a:t>factor in </a:t>
            </a:r>
            <a:r>
              <a:rPr sz="1200">
                <a:latin typeface="Verdana"/>
                <a:cs typeface="Verdana"/>
              </a:rPr>
              <a:t>a few </a:t>
            </a:r>
            <a:r>
              <a:rPr sz="1200" spc="-5">
                <a:latin typeface="Verdana"/>
                <a:cs typeface="Verdana"/>
              </a:rPr>
              <a:t>other  disciplines we can discuss during project </a:t>
            </a:r>
            <a:r>
              <a:rPr sz="1200" spc="-10">
                <a:latin typeface="Verdana"/>
                <a:cs typeface="Verdana"/>
              </a:rPr>
              <a:t>initiation </a:t>
            </a:r>
            <a:r>
              <a:rPr sz="1200" spc="-5">
                <a:latin typeface="Verdana"/>
                <a:cs typeface="Verdana"/>
              </a:rPr>
              <a:t>(e.g. Communication, </a:t>
            </a:r>
            <a:r>
              <a:rPr sz="1200" spc="-15">
                <a:latin typeface="Verdana"/>
                <a:cs typeface="Verdana"/>
              </a:rPr>
              <a:t>Vendor </a:t>
            </a:r>
            <a:r>
              <a:rPr sz="1200" spc="-5">
                <a:latin typeface="Verdana"/>
                <a:cs typeface="Verdana"/>
              </a:rPr>
              <a:t>Management </a:t>
            </a:r>
            <a:r>
              <a:rPr sz="1200">
                <a:latin typeface="Verdana"/>
                <a:cs typeface="Verdana"/>
              </a:rPr>
              <a:t>for </a:t>
            </a:r>
            <a:r>
              <a:rPr sz="1200" spc="-5">
                <a:latin typeface="Verdana"/>
                <a:cs typeface="Verdana"/>
              </a:rPr>
              <a:t>possible </a:t>
            </a:r>
            <a:r>
              <a:rPr sz="1200">
                <a:latin typeface="Verdana"/>
                <a:cs typeface="Verdana"/>
              </a:rPr>
              <a:t>3rd </a:t>
            </a:r>
            <a:r>
              <a:rPr sz="1200" spc="-5">
                <a:latin typeface="Verdana"/>
                <a:cs typeface="Verdana"/>
              </a:rPr>
              <a:t>parties, </a:t>
            </a:r>
            <a:r>
              <a:rPr sz="1200">
                <a:latin typeface="Verdana"/>
                <a:cs typeface="Verdana"/>
              </a:rPr>
              <a:t>Knowledge </a:t>
            </a:r>
            <a:r>
              <a:rPr sz="1200" spc="-5">
                <a:latin typeface="Verdana"/>
                <a:cs typeface="Verdana"/>
              </a:rPr>
              <a:t>Management,  Resource Management etc.). Please be aware we will start </a:t>
            </a:r>
            <a:r>
              <a:rPr sz="1200">
                <a:latin typeface="Verdana"/>
                <a:cs typeface="Verdana"/>
              </a:rPr>
              <a:t>from </a:t>
            </a:r>
            <a:r>
              <a:rPr sz="1200" spc="-5">
                <a:latin typeface="Verdana"/>
                <a:cs typeface="Verdana"/>
              </a:rPr>
              <a:t>governance best </a:t>
            </a:r>
            <a:r>
              <a:rPr sz="1200" spc="-10">
                <a:latin typeface="Verdana"/>
                <a:cs typeface="Verdana"/>
              </a:rPr>
              <a:t>practice </a:t>
            </a:r>
            <a:r>
              <a:rPr sz="1200" spc="-5">
                <a:latin typeface="Verdana"/>
                <a:cs typeface="Verdana"/>
              </a:rPr>
              <a:t>document templates with </a:t>
            </a:r>
            <a:r>
              <a:rPr sz="1200">
                <a:latin typeface="Verdana"/>
                <a:cs typeface="Verdana"/>
              </a:rPr>
              <a:t>rich </a:t>
            </a:r>
            <a:r>
              <a:rPr sz="1200" spc="-5">
                <a:latin typeface="Verdana"/>
                <a:cs typeface="Verdana"/>
              </a:rPr>
              <a:t>and </a:t>
            </a:r>
            <a:r>
              <a:rPr sz="1200">
                <a:latin typeface="Verdana"/>
                <a:cs typeface="Verdana"/>
              </a:rPr>
              <a:t>varied </a:t>
            </a:r>
            <a:r>
              <a:rPr sz="1200" spc="-5">
                <a:latin typeface="Verdana"/>
                <a:cs typeface="Verdana"/>
              </a:rPr>
              <a:t>content which will  allow us to </a:t>
            </a:r>
            <a:r>
              <a:rPr sz="1200" spc="-10">
                <a:latin typeface="Verdana"/>
                <a:cs typeface="Verdana"/>
              </a:rPr>
              <a:t>rapidly </a:t>
            </a:r>
            <a:r>
              <a:rPr sz="1200" spc="-5">
                <a:latin typeface="Verdana"/>
                <a:cs typeface="Verdana"/>
              </a:rPr>
              <a:t>put together the</a:t>
            </a:r>
            <a:r>
              <a:rPr sz="1200" spc="85">
                <a:latin typeface="Verdana"/>
                <a:cs typeface="Verdana"/>
              </a:rPr>
              <a:t> </a:t>
            </a:r>
            <a:r>
              <a:rPr sz="1200" spc="-5">
                <a:latin typeface="Verdana"/>
                <a:cs typeface="Verdana"/>
              </a:rPr>
              <a:t>manual.</a:t>
            </a:r>
            <a:endParaRPr sz="1200">
              <a:latin typeface="Verdana"/>
              <a:cs typeface="Verdana"/>
            </a:endParaRPr>
          </a:p>
        </p:txBody>
      </p:sp>
      <p:sp>
        <p:nvSpPr>
          <p:cNvPr id="4" name="object 4"/>
          <p:cNvSpPr txBox="1"/>
          <p:nvPr/>
        </p:nvSpPr>
        <p:spPr>
          <a:xfrm>
            <a:off x="4339209" y="2212086"/>
            <a:ext cx="2980055" cy="4050029"/>
          </a:xfrm>
          <a:prstGeom prst="rect">
            <a:avLst/>
          </a:prstGeom>
        </p:spPr>
        <p:txBody>
          <a:bodyPr vert="horz" wrap="square" lIns="0" tIns="13335" rIns="0" bIns="0" rtlCol="0">
            <a:spAutoFit/>
          </a:bodyPr>
          <a:lstStyle/>
          <a:p>
            <a:pPr marL="12700">
              <a:lnSpc>
                <a:spcPct val="100000"/>
              </a:lnSpc>
              <a:spcBef>
                <a:spcPts val="105"/>
              </a:spcBef>
            </a:pPr>
            <a:r>
              <a:rPr sz="1100" b="1" spc="-5">
                <a:solidFill>
                  <a:srgbClr val="12ABDB"/>
                </a:solidFill>
                <a:latin typeface="Verdana"/>
                <a:cs typeface="Verdana"/>
              </a:rPr>
              <a:t>Project</a:t>
            </a:r>
            <a:r>
              <a:rPr sz="1100" b="1" spc="-35">
                <a:solidFill>
                  <a:srgbClr val="12ABDB"/>
                </a:solidFill>
                <a:latin typeface="Verdana"/>
                <a:cs typeface="Verdana"/>
              </a:rPr>
              <a:t> </a:t>
            </a:r>
            <a:r>
              <a:rPr sz="1100" b="1" spc="-5">
                <a:solidFill>
                  <a:srgbClr val="12ABDB"/>
                </a:solidFill>
                <a:latin typeface="Verdana"/>
                <a:cs typeface="Verdana"/>
              </a:rPr>
              <a:t>Overview</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 </a:t>
            </a:r>
            <a:r>
              <a:rPr sz="1100" spc="-5">
                <a:latin typeface="Verdana"/>
                <a:cs typeface="Verdana"/>
              </a:rPr>
              <a:t>Description, Objectives </a:t>
            </a:r>
            <a:r>
              <a:rPr sz="1100">
                <a:latin typeface="Verdana"/>
                <a:cs typeface="Verdana"/>
              </a:rPr>
              <a:t>&amp;</a:t>
            </a:r>
            <a:r>
              <a:rPr sz="1100" spc="-10">
                <a:latin typeface="Verdana"/>
                <a:cs typeface="Verdana"/>
              </a:rPr>
              <a:t> </a:t>
            </a:r>
            <a:r>
              <a:rPr sz="1100">
                <a:latin typeface="Verdana"/>
                <a:cs typeface="Verdana"/>
              </a:rPr>
              <a:t>Scope</a:t>
            </a:r>
          </a:p>
          <a:p>
            <a:pPr marL="182880" indent="-170815">
              <a:lnSpc>
                <a:spcPct val="100000"/>
              </a:lnSpc>
              <a:buClr>
                <a:srgbClr val="006FAC"/>
              </a:buClr>
              <a:buFont typeface="Wingdings"/>
              <a:buChar char=""/>
              <a:tabLst>
                <a:tab pos="183515" algn="l"/>
              </a:tabLst>
            </a:pPr>
            <a:r>
              <a:rPr sz="1100" spc="-5">
                <a:latin typeface="Verdana"/>
                <a:cs typeface="Verdana"/>
              </a:rPr>
              <a:t>Contractual Deliverables </a:t>
            </a:r>
            <a:r>
              <a:rPr sz="1100">
                <a:latin typeface="Verdana"/>
                <a:cs typeface="Verdana"/>
              </a:rPr>
              <a:t>&amp;</a:t>
            </a:r>
            <a:r>
              <a:rPr sz="1100" spc="35">
                <a:latin typeface="Verdana"/>
                <a:cs typeface="Verdana"/>
              </a:rPr>
              <a:t> </a:t>
            </a:r>
            <a:r>
              <a:rPr sz="1100" spc="-5">
                <a:latin typeface="Verdana"/>
                <a:cs typeface="Verdana"/>
              </a:rPr>
              <a:t>Milestones</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Assumptions </a:t>
            </a:r>
            <a:r>
              <a:rPr sz="1100">
                <a:latin typeface="Verdana"/>
                <a:cs typeface="Verdana"/>
              </a:rPr>
              <a:t>And</a:t>
            </a:r>
            <a:r>
              <a:rPr sz="1100" spc="5">
                <a:latin typeface="Verdana"/>
                <a:cs typeface="Verdana"/>
              </a:rPr>
              <a:t> </a:t>
            </a:r>
            <a:r>
              <a:rPr sz="1100" spc="-5">
                <a:latin typeface="Verdana"/>
                <a:cs typeface="Verdana"/>
              </a:rPr>
              <a:t>Constraints</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a:t>
            </a:r>
            <a:r>
              <a:rPr sz="1100" spc="-20">
                <a:latin typeface="Verdana"/>
                <a:cs typeface="Verdana"/>
              </a:rPr>
              <a:t> </a:t>
            </a:r>
            <a:r>
              <a:rPr sz="1100" spc="-5">
                <a:latin typeface="Verdana"/>
                <a:cs typeface="Verdana"/>
              </a:rPr>
              <a:t>Language</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Dependencies</a:t>
            </a:r>
          </a:p>
          <a:p>
            <a:pPr marL="12700">
              <a:lnSpc>
                <a:spcPct val="100000"/>
              </a:lnSpc>
            </a:pPr>
            <a:r>
              <a:rPr sz="1100" b="1" spc="-5">
                <a:solidFill>
                  <a:srgbClr val="12ABDB"/>
                </a:solidFill>
                <a:latin typeface="Verdana"/>
                <a:cs typeface="Verdana"/>
              </a:rPr>
              <a:t>Project Delivery</a:t>
            </a:r>
            <a:r>
              <a:rPr sz="1100" b="1" spc="-60">
                <a:solidFill>
                  <a:srgbClr val="12ABDB"/>
                </a:solidFill>
                <a:latin typeface="Verdana"/>
                <a:cs typeface="Verdana"/>
              </a:rPr>
              <a:t> </a:t>
            </a:r>
            <a:r>
              <a:rPr sz="1100" b="1" spc="-5">
                <a:solidFill>
                  <a:srgbClr val="12ABDB"/>
                </a:solidFill>
                <a:latin typeface="Verdana"/>
                <a:cs typeface="Verdana"/>
              </a:rPr>
              <a:t>Approach</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Methodology For</a:t>
            </a:r>
            <a:r>
              <a:rPr sz="1100" spc="-40">
                <a:latin typeface="Verdana"/>
                <a:cs typeface="Verdana"/>
              </a:rPr>
              <a:t> </a:t>
            </a:r>
            <a:r>
              <a:rPr sz="1100" spc="-5">
                <a:latin typeface="Verdana"/>
                <a:cs typeface="Verdana"/>
              </a:rPr>
              <a:t>Implementation</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Phases</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Verification </a:t>
            </a:r>
            <a:r>
              <a:rPr sz="1100">
                <a:latin typeface="Verdana"/>
                <a:cs typeface="Verdana"/>
              </a:rPr>
              <a:t>And</a:t>
            </a:r>
            <a:r>
              <a:rPr sz="1100" spc="20">
                <a:latin typeface="Verdana"/>
                <a:cs typeface="Verdana"/>
              </a:rPr>
              <a:t> </a:t>
            </a:r>
            <a:r>
              <a:rPr sz="1100" spc="-5">
                <a:latin typeface="Verdana"/>
                <a:cs typeface="Verdana"/>
              </a:rPr>
              <a:t>Approval</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Notifications Of</a:t>
            </a:r>
            <a:r>
              <a:rPr sz="1100" spc="20">
                <a:latin typeface="Verdana"/>
                <a:cs typeface="Verdana"/>
              </a:rPr>
              <a:t> </a:t>
            </a:r>
            <a:r>
              <a:rPr sz="1100" spc="-5">
                <a:latin typeface="Verdana"/>
                <a:cs typeface="Verdana"/>
              </a:rPr>
              <a:t>Deliverables</a:t>
            </a:r>
            <a:endParaRPr sz="1100">
              <a:latin typeface="Verdana"/>
              <a:cs typeface="Verdana"/>
            </a:endParaRPr>
          </a:p>
          <a:p>
            <a:pPr marL="12700">
              <a:lnSpc>
                <a:spcPct val="100000"/>
              </a:lnSpc>
            </a:pPr>
            <a:r>
              <a:rPr sz="1100" b="1">
                <a:solidFill>
                  <a:srgbClr val="12ABDB"/>
                </a:solidFill>
                <a:latin typeface="Verdana"/>
                <a:cs typeface="Verdana"/>
              </a:rPr>
              <a:t>Governance</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a:t>
            </a:r>
            <a:r>
              <a:rPr sz="1100" spc="-20">
                <a:latin typeface="Verdana"/>
                <a:cs typeface="Verdana"/>
              </a:rPr>
              <a:t> </a:t>
            </a:r>
            <a:r>
              <a:rPr sz="1100" spc="-5">
                <a:latin typeface="Verdana"/>
                <a:cs typeface="Verdana"/>
              </a:rPr>
              <a:t>Organization</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 </a:t>
            </a:r>
            <a:r>
              <a:rPr sz="1100" spc="-5">
                <a:latin typeface="Verdana"/>
                <a:cs typeface="Verdana"/>
              </a:rPr>
              <a:t>Roles </a:t>
            </a:r>
            <a:r>
              <a:rPr sz="1100">
                <a:latin typeface="Verdana"/>
                <a:cs typeface="Verdana"/>
              </a:rPr>
              <a:t>And</a:t>
            </a:r>
            <a:r>
              <a:rPr sz="1100" spc="-95">
                <a:latin typeface="Verdana"/>
                <a:cs typeface="Verdana"/>
              </a:rPr>
              <a:t> </a:t>
            </a:r>
            <a:r>
              <a:rPr sz="1100" spc="-5">
                <a:latin typeface="Verdana"/>
                <a:cs typeface="Verdana"/>
              </a:rPr>
              <a:t>Responsibilities</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 </a:t>
            </a:r>
            <a:r>
              <a:rPr sz="1100" spc="-5">
                <a:latin typeface="Verdana"/>
                <a:cs typeface="Verdana"/>
              </a:rPr>
              <a:t>Monitoring </a:t>
            </a:r>
            <a:r>
              <a:rPr sz="1100">
                <a:latin typeface="Verdana"/>
                <a:cs typeface="Verdana"/>
              </a:rPr>
              <a:t>And</a:t>
            </a:r>
            <a:r>
              <a:rPr sz="1100" spc="-50">
                <a:latin typeface="Verdana"/>
                <a:cs typeface="Verdana"/>
              </a:rPr>
              <a:t> </a:t>
            </a:r>
            <a:r>
              <a:rPr sz="1100" spc="-5">
                <a:latin typeface="Verdana"/>
                <a:cs typeface="Verdana"/>
              </a:rPr>
              <a:t>Reporting</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Meetings</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Decision Analysis </a:t>
            </a:r>
            <a:r>
              <a:rPr sz="1100">
                <a:latin typeface="Verdana"/>
                <a:cs typeface="Verdana"/>
              </a:rPr>
              <a:t>And</a:t>
            </a:r>
            <a:r>
              <a:rPr sz="1100" spc="15">
                <a:latin typeface="Verdana"/>
                <a:cs typeface="Verdana"/>
              </a:rPr>
              <a:t> </a:t>
            </a:r>
            <a:r>
              <a:rPr sz="1100" spc="-5">
                <a:latin typeface="Verdana"/>
                <a:cs typeface="Verdana"/>
              </a:rPr>
              <a:t>Resolution</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Management </a:t>
            </a:r>
            <a:r>
              <a:rPr sz="1100" spc="-5">
                <a:latin typeface="Verdana"/>
                <a:cs typeface="Verdana"/>
              </a:rPr>
              <a:t>Of</a:t>
            </a:r>
            <a:r>
              <a:rPr sz="1100" spc="-15">
                <a:latin typeface="Verdana"/>
                <a:cs typeface="Verdana"/>
              </a:rPr>
              <a:t> </a:t>
            </a:r>
            <a:r>
              <a:rPr sz="1100" spc="-5">
                <a:latin typeface="Verdana"/>
                <a:cs typeface="Verdana"/>
              </a:rPr>
              <a:t>Actions</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Acceptance</a:t>
            </a:r>
          </a:p>
          <a:p>
            <a:pPr marL="182880" indent="-170815">
              <a:lnSpc>
                <a:spcPct val="100000"/>
              </a:lnSpc>
              <a:buClr>
                <a:srgbClr val="006FAC"/>
              </a:buClr>
              <a:buFont typeface="Wingdings"/>
              <a:buChar char=""/>
              <a:tabLst>
                <a:tab pos="183515" algn="l"/>
              </a:tabLst>
            </a:pPr>
            <a:r>
              <a:rPr sz="1100" spc="-5">
                <a:latin typeface="Verdana"/>
                <a:cs typeface="Verdana"/>
              </a:rPr>
              <a:t>Handover</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 </a:t>
            </a:r>
            <a:r>
              <a:rPr sz="1100" spc="-5">
                <a:latin typeface="Verdana"/>
                <a:cs typeface="Verdana"/>
              </a:rPr>
              <a:t>Close-down</a:t>
            </a:r>
            <a:r>
              <a:rPr sz="1100" spc="-40">
                <a:latin typeface="Verdana"/>
                <a:cs typeface="Verdana"/>
              </a:rPr>
              <a:t> </a:t>
            </a:r>
            <a:r>
              <a:rPr sz="1100" spc="-5">
                <a:latin typeface="Verdana"/>
                <a:cs typeface="Verdana"/>
              </a:rPr>
              <a:t>Report</a:t>
            </a:r>
            <a:endParaRPr sz="1100">
              <a:latin typeface="Verdana"/>
              <a:cs typeface="Verdana"/>
            </a:endParaRPr>
          </a:p>
          <a:p>
            <a:pPr marL="12700">
              <a:lnSpc>
                <a:spcPct val="100000"/>
              </a:lnSpc>
            </a:pPr>
            <a:r>
              <a:rPr sz="1100" b="1" spc="-5">
                <a:solidFill>
                  <a:srgbClr val="12ABDB"/>
                </a:solidFill>
                <a:latin typeface="Verdana"/>
                <a:cs typeface="Verdana"/>
              </a:rPr>
              <a:t>Planning </a:t>
            </a:r>
            <a:r>
              <a:rPr sz="1100" b="1">
                <a:solidFill>
                  <a:srgbClr val="12ABDB"/>
                </a:solidFill>
                <a:latin typeface="Verdana"/>
                <a:cs typeface="Verdana"/>
              </a:rPr>
              <a:t>And </a:t>
            </a:r>
            <a:r>
              <a:rPr sz="1100" b="1" spc="-5">
                <a:solidFill>
                  <a:srgbClr val="12ABDB"/>
                </a:solidFill>
                <a:latin typeface="Verdana"/>
                <a:cs typeface="Verdana"/>
              </a:rPr>
              <a:t>Financial</a:t>
            </a:r>
            <a:r>
              <a:rPr sz="1100" b="1" spc="-30">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82880" indent="-170815">
              <a:lnSpc>
                <a:spcPct val="100000"/>
              </a:lnSpc>
              <a:buClr>
                <a:srgbClr val="006FAC"/>
              </a:buClr>
              <a:buFont typeface="Wingdings"/>
              <a:buChar char=""/>
              <a:tabLst>
                <a:tab pos="183515" algn="l"/>
              </a:tabLst>
            </a:pPr>
            <a:r>
              <a:rPr sz="1100">
                <a:latin typeface="Verdana"/>
                <a:cs typeface="Verdana"/>
              </a:rPr>
              <a:t>Project</a:t>
            </a:r>
            <a:r>
              <a:rPr sz="1100" spc="-20">
                <a:latin typeface="Verdana"/>
                <a:cs typeface="Verdana"/>
              </a:rPr>
              <a:t> </a:t>
            </a:r>
            <a:r>
              <a:rPr sz="1100" spc="-10">
                <a:latin typeface="Verdana"/>
                <a:cs typeface="Verdana"/>
              </a:rPr>
              <a:t>Plan</a:t>
            </a:r>
            <a:endParaRPr sz="1100">
              <a:latin typeface="Verdana"/>
              <a:cs typeface="Verdana"/>
            </a:endParaRPr>
          </a:p>
          <a:p>
            <a:pPr marL="182880" indent="-170815">
              <a:lnSpc>
                <a:spcPct val="100000"/>
              </a:lnSpc>
              <a:buClr>
                <a:srgbClr val="006FAC"/>
              </a:buClr>
              <a:buFont typeface="Wingdings"/>
              <a:buChar char=""/>
              <a:tabLst>
                <a:tab pos="183515" algn="l"/>
              </a:tabLst>
            </a:pPr>
            <a:r>
              <a:rPr sz="1100" spc="-5">
                <a:latin typeface="Verdana"/>
                <a:cs typeface="Verdana"/>
              </a:rPr>
              <a:t>Client</a:t>
            </a:r>
            <a:r>
              <a:rPr sz="1100" spc="10">
                <a:latin typeface="Verdana"/>
                <a:cs typeface="Verdana"/>
              </a:rPr>
              <a:t> </a:t>
            </a:r>
            <a:r>
              <a:rPr sz="1100" spc="-5">
                <a:latin typeface="Verdana"/>
                <a:cs typeface="Verdana"/>
              </a:rPr>
              <a:t>Invoices</a:t>
            </a:r>
            <a:endParaRPr sz="1100">
              <a:latin typeface="Verdana"/>
              <a:cs typeface="Verdana"/>
            </a:endParaRPr>
          </a:p>
        </p:txBody>
      </p:sp>
      <p:sp>
        <p:nvSpPr>
          <p:cNvPr id="5" name="object 5"/>
          <p:cNvSpPr txBox="1"/>
          <p:nvPr/>
        </p:nvSpPr>
        <p:spPr>
          <a:xfrm>
            <a:off x="8185531" y="2212086"/>
            <a:ext cx="3504565" cy="3714750"/>
          </a:xfrm>
          <a:prstGeom prst="rect">
            <a:avLst/>
          </a:prstGeom>
        </p:spPr>
        <p:txBody>
          <a:bodyPr vert="horz" wrap="square" lIns="0" tIns="13335" rIns="0" bIns="0" rtlCol="0">
            <a:spAutoFit/>
          </a:bodyPr>
          <a:lstStyle/>
          <a:p>
            <a:pPr marL="12700">
              <a:lnSpc>
                <a:spcPct val="100000"/>
              </a:lnSpc>
              <a:spcBef>
                <a:spcPts val="105"/>
              </a:spcBef>
            </a:pPr>
            <a:r>
              <a:rPr sz="1100" b="1">
                <a:solidFill>
                  <a:srgbClr val="12ABDB"/>
                </a:solidFill>
                <a:latin typeface="Verdana"/>
                <a:cs typeface="Verdana"/>
              </a:rPr>
              <a:t>Resource</a:t>
            </a:r>
            <a:r>
              <a:rPr sz="1100" b="1" spc="-45">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Overall </a:t>
            </a:r>
            <a:r>
              <a:rPr sz="1100">
                <a:latin typeface="Verdana"/>
                <a:cs typeface="Verdana"/>
              </a:rPr>
              <a:t>Project</a:t>
            </a:r>
            <a:r>
              <a:rPr sz="1100" spc="-10">
                <a:latin typeface="Verdana"/>
                <a:cs typeface="Verdana"/>
              </a:rPr>
              <a:t> </a:t>
            </a:r>
            <a:r>
              <a:rPr sz="1100" spc="-5">
                <a:latin typeface="Verdana"/>
                <a:cs typeface="Verdana"/>
              </a:rPr>
              <a:t>Organization</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Team Members </a:t>
            </a:r>
            <a:r>
              <a:rPr sz="1100" spc="-5">
                <a:latin typeface="Verdana"/>
                <a:cs typeface="Verdana"/>
              </a:rPr>
              <a:t>Roles </a:t>
            </a:r>
            <a:r>
              <a:rPr sz="1100">
                <a:latin typeface="Verdana"/>
                <a:cs typeface="Verdana"/>
              </a:rPr>
              <a:t>And</a:t>
            </a:r>
            <a:r>
              <a:rPr sz="1100" spc="-70">
                <a:latin typeface="Verdana"/>
                <a:cs typeface="Verdana"/>
              </a:rPr>
              <a:t> </a:t>
            </a:r>
            <a:r>
              <a:rPr sz="1100" spc="-5">
                <a:latin typeface="Verdana"/>
                <a:cs typeface="Verdana"/>
              </a:rPr>
              <a:t>Responsibilities</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Resource Issue</a:t>
            </a:r>
            <a:r>
              <a:rPr sz="1100" spc="-50">
                <a:latin typeface="Verdana"/>
                <a:cs typeface="Verdana"/>
              </a:rPr>
              <a:t> </a:t>
            </a:r>
            <a:r>
              <a:rPr sz="1100">
                <a:latin typeface="Verdana"/>
                <a:cs typeface="Verdana"/>
              </a:rPr>
              <a:t>Management</a:t>
            </a:r>
          </a:p>
          <a:p>
            <a:pPr marL="12700">
              <a:lnSpc>
                <a:spcPct val="100000"/>
              </a:lnSpc>
            </a:pPr>
            <a:r>
              <a:rPr sz="1100" b="1" spc="-5">
                <a:solidFill>
                  <a:srgbClr val="12ABDB"/>
                </a:solidFill>
                <a:latin typeface="Verdana"/>
                <a:cs typeface="Verdana"/>
              </a:rPr>
              <a:t>Scope </a:t>
            </a:r>
            <a:r>
              <a:rPr sz="1100" b="1">
                <a:solidFill>
                  <a:srgbClr val="12ABDB"/>
                </a:solidFill>
                <a:latin typeface="Verdana"/>
                <a:cs typeface="Verdana"/>
              </a:rPr>
              <a:t>And </a:t>
            </a:r>
            <a:r>
              <a:rPr sz="1100" b="1" spc="-5">
                <a:solidFill>
                  <a:srgbClr val="12ABDB"/>
                </a:solidFill>
                <a:latin typeface="Verdana"/>
                <a:cs typeface="Verdana"/>
              </a:rPr>
              <a:t>Requirements</a:t>
            </a:r>
            <a:r>
              <a:rPr sz="1100" b="1" spc="-40">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Requirements</a:t>
            </a:r>
            <a:r>
              <a:rPr sz="1100">
                <a:latin typeface="Verdana"/>
                <a:cs typeface="Verdana"/>
              </a:rPr>
              <a:t> </a:t>
            </a:r>
            <a:r>
              <a:rPr sz="1100" spc="-5">
                <a:latin typeface="Verdana"/>
                <a:cs typeface="Verdana"/>
              </a:rPr>
              <a:t>Baseline</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Requirements</a:t>
            </a:r>
            <a:r>
              <a:rPr sz="1100">
                <a:latin typeface="Verdana"/>
                <a:cs typeface="Verdana"/>
              </a:rPr>
              <a:t> </a:t>
            </a:r>
            <a:r>
              <a:rPr sz="1100" spc="-5">
                <a:latin typeface="Verdana"/>
                <a:cs typeface="Verdana"/>
              </a:rPr>
              <a:t>Traceability</a:t>
            </a:r>
            <a:endParaRPr sz="1100">
              <a:latin typeface="Verdana"/>
              <a:cs typeface="Verdana"/>
            </a:endParaRPr>
          </a:p>
          <a:p>
            <a:pPr marL="12700">
              <a:lnSpc>
                <a:spcPct val="100000"/>
              </a:lnSpc>
            </a:pPr>
            <a:r>
              <a:rPr sz="1100" b="1">
                <a:solidFill>
                  <a:srgbClr val="12ABDB"/>
                </a:solidFill>
                <a:latin typeface="Verdana"/>
                <a:cs typeface="Verdana"/>
              </a:rPr>
              <a:t>Change</a:t>
            </a:r>
            <a:r>
              <a:rPr sz="1100" b="1" spc="-15">
                <a:solidFill>
                  <a:srgbClr val="12ABDB"/>
                </a:solidFill>
                <a:latin typeface="Verdana"/>
                <a:cs typeface="Verdana"/>
              </a:rPr>
              <a:t> </a:t>
            </a:r>
            <a:r>
              <a:rPr sz="1100" b="1">
                <a:solidFill>
                  <a:srgbClr val="12ABDB"/>
                </a:solidFill>
                <a:latin typeface="Verdana"/>
                <a:cs typeface="Verdana"/>
              </a:rPr>
              <a:t>Control</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Scope And</a:t>
            </a:r>
            <a:r>
              <a:rPr sz="1100" spc="-30">
                <a:latin typeface="Verdana"/>
                <a:cs typeface="Verdana"/>
              </a:rPr>
              <a:t> </a:t>
            </a:r>
            <a:r>
              <a:rPr sz="1100" spc="-5">
                <a:latin typeface="Verdana"/>
                <a:cs typeface="Verdana"/>
              </a:rPr>
              <a:t>Objectives</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Change </a:t>
            </a:r>
            <a:r>
              <a:rPr sz="1100">
                <a:latin typeface="Verdana"/>
                <a:cs typeface="Verdana"/>
              </a:rPr>
              <a:t>Requests</a:t>
            </a:r>
          </a:p>
          <a:p>
            <a:pPr marL="12700">
              <a:lnSpc>
                <a:spcPct val="100000"/>
              </a:lnSpc>
            </a:pPr>
            <a:r>
              <a:rPr sz="1100" b="1" spc="-5">
                <a:solidFill>
                  <a:srgbClr val="12ABDB"/>
                </a:solidFill>
                <a:latin typeface="Verdana"/>
                <a:cs typeface="Verdana"/>
              </a:rPr>
              <a:t>Configuration</a:t>
            </a:r>
            <a:r>
              <a:rPr sz="1100" b="1" spc="-35">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Naming Convention </a:t>
            </a:r>
            <a:r>
              <a:rPr sz="1100">
                <a:latin typeface="Verdana"/>
                <a:cs typeface="Verdana"/>
              </a:rPr>
              <a:t>For Project</a:t>
            </a:r>
            <a:r>
              <a:rPr sz="1100" spc="5">
                <a:latin typeface="Verdana"/>
                <a:cs typeface="Verdana"/>
              </a:rPr>
              <a:t> </a:t>
            </a:r>
            <a:r>
              <a:rPr sz="1100" spc="-5">
                <a:latin typeface="Verdana"/>
                <a:cs typeface="Verdana"/>
              </a:rPr>
              <a:t>Documentation</a:t>
            </a:r>
            <a:endParaRPr sz="1100">
              <a:latin typeface="Verdana"/>
              <a:cs typeface="Verdana"/>
            </a:endParaRPr>
          </a:p>
          <a:p>
            <a:pPr marL="12700">
              <a:lnSpc>
                <a:spcPct val="100000"/>
              </a:lnSpc>
            </a:pPr>
            <a:r>
              <a:rPr sz="1100" b="1" spc="-5">
                <a:solidFill>
                  <a:srgbClr val="12ABDB"/>
                </a:solidFill>
                <a:latin typeface="Verdana"/>
                <a:cs typeface="Verdana"/>
              </a:rPr>
              <a:t>Risk</a:t>
            </a:r>
            <a:r>
              <a:rPr sz="1100" b="1" spc="-20">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Risk </a:t>
            </a:r>
            <a:r>
              <a:rPr sz="1100">
                <a:latin typeface="Verdana"/>
                <a:cs typeface="Verdana"/>
              </a:rPr>
              <a:t>Management</a:t>
            </a:r>
            <a:r>
              <a:rPr sz="1100" spc="-15">
                <a:latin typeface="Verdana"/>
                <a:cs typeface="Verdana"/>
              </a:rPr>
              <a:t> </a:t>
            </a:r>
            <a:r>
              <a:rPr sz="1100">
                <a:latin typeface="Verdana"/>
                <a:cs typeface="Verdana"/>
              </a:rPr>
              <a:t>Process</a:t>
            </a:r>
          </a:p>
          <a:p>
            <a:pPr marL="183515" indent="-171450">
              <a:lnSpc>
                <a:spcPct val="100000"/>
              </a:lnSpc>
              <a:buClr>
                <a:srgbClr val="006FAC"/>
              </a:buClr>
              <a:buFont typeface="Wingdings"/>
              <a:buChar char=""/>
              <a:tabLst>
                <a:tab pos="184150" algn="l"/>
              </a:tabLst>
            </a:pPr>
            <a:r>
              <a:rPr sz="1100" spc="-5">
                <a:latin typeface="Verdana"/>
                <a:cs typeface="Verdana"/>
              </a:rPr>
              <a:t>Business </a:t>
            </a:r>
            <a:r>
              <a:rPr sz="1100">
                <a:latin typeface="Verdana"/>
                <a:cs typeface="Verdana"/>
              </a:rPr>
              <a:t>And </a:t>
            </a:r>
            <a:r>
              <a:rPr sz="1100" spc="-5">
                <a:latin typeface="Verdana"/>
                <a:cs typeface="Verdana"/>
              </a:rPr>
              <a:t>Technical</a:t>
            </a:r>
            <a:r>
              <a:rPr sz="1100" spc="-15">
                <a:latin typeface="Verdana"/>
                <a:cs typeface="Verdana"/>
              </a:rPr>
              <a:t> </a:t>
            </a:r>
            <a:r>
              <a:rPr sz="1100" spc="-5">
                <a:latin typeface="Verdana"/>
                <a:cs typeface="Verdana"/>
              </a:rPr>
              <a:t>Risk</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Open </a:t>
            </a:r>
            <a:r>
              <a:rPr sz="1100" spc="-5">
                <a:latin typeface="Verdana"/>
                <a:cs typeface="Verdana"/>
              </a:rPr>
              <a:t>Point</a:t>
            </a:r>
            <a:r>
              <a:rPr sz="1100" spc="-10">
                <a:latin typeface="Verdana"/>
                <a:cs typeface="Verdana"/>
              </a:rPr>
              <a:t> </a:t>
            </a:r>
            <a:r>
              <a:rPr sz="1100" spc="-5">
                <a:latin typeface="Verdana"/>
                <a:cs typeface="Verdana"/>
              </a:rPr>
              <a:t>Monitoring</a:t>
            </a:r>
            <a:endParaRPr sz="1100">
              <a:latin typeface="Verdana"/>
              <a:cs typeface="Verdana"/>
            </a:endParaRPr>
          </a:p>
          <a:p>
            <a:pPr marL="12700">
              <a:lnSpc>
                <a:spcPct val="100000"/>
              </a:lnSpc>
            </a:pPr>
            <a:r>
              <a:rPr sz="1100" b="1">
                <a:solidFill>
                  <a:srgbClr val="12ABDB"/>
                </a:solidFill>
                <a:latin typeface="Verdana"/>
                <a:cs typeface="Verdana"/>
              </a:rPr>
              <a:t>Issue</a:t>
            </a:r>
            <a:r>
              <a:rPr sz="1100" b="1" spc="-35">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2700">
              <a:lnSpc>
                <a:spcPct val="100000"/>
              </a:lnSpc>
            </a:pPr>
            <a:r>
              <a:rPr sz="1100" b="1" spc="-5">
                <a:solidFill>
                  <a:srgbClr val="12ABDB"/>
                </a:solidFill>
                <a:latin typeface="Verdana"/>
                <a:cs typeface="Verdana"/>
              </a:rPr>
              <a:t>Quality </a:t>
            </a:r>
            <a:r>
              <a:rPr sz="1100" b="1">
                <a:solidFill>
                  <a:srgbClr val="12ABDB"/>
                </a:solidFill>
                <a:latin typeface="Verdana"/>
                <a:cs typeface="Verdana"/>
              </a:rPr>
              <a:t>And </a:t>
            </a:r>
            <a:r>
              <a:rPr sz="1100" b="1" spc="-5">
                <a:solidFill>
                  <a:srgbClr val="12ABDB"/>
                </a:solidFill>
                <a:latin typeface="Verdana"/>
                <a:cs typeface="Verdana"/>
              </a:rPr>
              <a:t>Compliance</a:t>
            </a:r>
            <a:r>
              <a:rPr sz="1100" b="1" spc="-25">
                <a:solidFill>
                  <a:srgbClr val="12ABDB"/>
                </a:solidFill>
                <a:latin typeface="Verdana"/>
                <a:cs typeface="Verdana"/>
              </a:rPr>
              <a:t> </a:t>
            </a:r>
            <a:r>
              <a:rPr sz="1100" b="1" spc="-5">
                <a:solidFill>
                  <a:srgbClr val="12ABDB"/>
                </a:solidFill>
                <a:latin typeface="Verdana"/>
                <a:cs typeface="Verdana"/>
              </a:rPr>
              <a:t>Management</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Project</a:t>
            </a:r>
            <a:r>
              <a:rPr sz="1100" spc="-20">
                <a:latin typeface="Verdana"/>
                <a:cs typeface="Verdana"/>
              </a:rPr>
              <a:t> </a:t>
            </a:r>
            <a:r>
              <a:rPr sz="1100" spc="-5">
                <a:latin typeface="Verdana"/>
                <a:cs typeface="Verdana"/>
              </a:rPr>
              <a:t>Reviews</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Project</a:t>
            </a:r>
            <a:r>
              <a:rPr sz="1100" spc="-20">
                <a:latin typeface="Verdana"/>
                <a:cs typeface="Verdana"/>
              </a:rPr>
              <a:t> </a:t>
            </a:r>
            <a:r>
              <a:rPr sz="1100" spc="-5">
                <a:latin typeface="Verdana"/>
                <a:cs typeface="Verdana"/>
              </a:rPr>
              <a:t>Audits</a:t>
            </a:r>
            <a:endParaRPr sz="1100">
              <a:latin typeface="Verdana"/>
              <a:cs typeface="Verdana"/>
            </a:endParaRPr>
          </a:p>
          <a:p>
            <a:pPr marL="183515" indent="-171450">
              <a:lnSpc>
                <a:spcPct val="100000"/>
              </a:lnSpc>
              <a:buClr>
                <a:srgbClr val="006FAC"/>
              </a:buClr>
              <a:buFont typeface="Wingdings"/>
              <a:buChar char=""/>
              <a:tabLst>
                <a:tab pos="184150" algn="l"/>
              </a:tabLst>
            </a:pPr>
            <a:r>
              <a:rPr sz="1100">
                <a:latin typeface="Verdana"/>
                <a:cs typeface="Verdana"/>
              </a:rPr>
              <a:t>Defects</a:t>
            </a:r>
            <a:r>
              <a:rPr sz="1100" spc="-20">
                <a:latin typeface="Verdana"/>
                <a:cs typeface="Verdana"/>
              </a:rPr>
              <a:t> </a:t>
            </a:r>
            <a:r>
              <a:rPr sz="1100" spc="-5">
                <a:latin typeface="Verdana"/>
                <a:cs typeface="Verdana"/>
              </a:rPr>
              <a:t>Handling</a:t>
            </a:r>
            <a:endParaRPr sz="1100">
              <a:latin typeface="Verdana"/>
              <a:cs typeface="Verdana"/>
            </a:endParaRPr>
          </a:p>
          <a:p>
            <a:pPr marL="183515" indent="-171450">
              <a:lnSpc>
                <a:spcPct val="100000"/>
              </a:lnSpc>
              <a:buClr>
                <a:srgbClr val="006FAC"/>
              </a:buClr>
              <a:buFont typeface="Wingdings"/>
              <a:buChar char=""/>
              <a:tabLst>
                <a:tab pos="184150" algn="l"/>
              </a:tabLst>
            </a:pPr>
            <a:r>
              <a:rPr sz="1100" spc="-5">
                <a:latin typeface="Verdana"/>
                <a:cs typeface="Verdana"/>
              </a:rPr>
              <a:t>Quality Monitoring </a:t>
            </a:r>
            <a:r>
              <a:rPr sz="1100">
                <a:latin typeface="Verdana"/>
                <a:cs typeface="Verdana"/>
              </a:rPr>
              <a:t>And</a:t>
            </a:r>
            <a:r>
              <a:rPr sz="1100" spc="35">
                <a:latin typeface="Verdana"/>
                <a:cs typeface="Verdana"/>
              </a:rPr>
              <a:t> </a:t>
            </a:r>
            <a:r>
              <a:rPr sz="1100" spc="-5">
                <a:latin typeface="Verdana"/>
                <a:cs typeface="Verdana"/>
              </a:rPr>
              <a:t>Reporting</a:t>
            </a:r>
            <a:endParaRPr sz="1100">
              <a:latin typeface="Verdana"/>
              <a:cs typeface="Verdana"/>
            </a:endParaRPr>
          </a:p>
        </p:txBody>
      </p:sp>
      <p:sp>
        <p:nvSpPr>
          <p:cNvPr id="6" name="object 6"/>
          <p:cNvSpPr/>
          <p:nvPr/>
        </p:nvSpPr>
        <p:spPr>
          <a:xfrm>
            <a:off x="227075" y="2999232"/>
            <a:ext cx="3997452" cy="2624328"/>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8" name="object 8"/>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4</a:t>
            </a:fld>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40588"/>
            <a:ext cx="8066405" cy="779145"/>
          </a:xfrm>
          <a:prstGeom prst="rect">
            <a:avLst/>
          </a:prstGeom>
        </p:spPr>
        <p:txBody>
          <a:bodyPr vert="horz" wrap="square" lIns="0" tIns="57785" rIns="0" bIns="0" rtlCol="0">
            <a:spAutoFit/>
          </a:bodyPr>
          <a:lstStyle/>
          <a:p>
            <a:pPr marL="12700" marR="5080">
              <a:lnSpc>
                <a:spcPts val="2810"/>
              </a:lnSpc>
              <a:spcBef>
                <a:spcPts val="455"/>
              </a:spcBef>
            </a:pPr>
            <a:r>
              <a:rPr sz="2600" spc="-65"/>
              <a:t>We </a:t>
            </a:r>
            <a:r>
              <a:rPr sz="2600"/>
              <a:t>are Proposing an </a:t>
            </a:r>
            <a:r>
              <a:rPr sz="2600" spc="-5"/>
              <a:t>Integrated </a:t>
            </a:r>
            <a:r>
              <a:rPr sz="2600"/>
              <a:t>3 Tiered </a:t>
            </a:r>
            <a:r>
              <a:rPr sz="2600" spc="-5"/>
              <a:t>Project  Governance</a:t>
            </a:r>
            <a:r>
              <a:rPr sz="2600" spc="-10"/>
              <a:t> </a:t>
            </a:r>
            <a:r>
              <a:rPr sz="2600"/>
              <a:t>Model</a:t>
            </a:r>
          </a:p>
        </p:txBody>
      </p:sp>
      <p:sp>
        <p:nvSpPr>
          <p:cNvPr id="3" name="object 3"/>
          <p:cNvSpPr/>
          <p:nvPr/>
        </p:nvSpPr>
        <p:spPr>
          <a:xfrm>
            <a:off x="7040880" y="6321552"/>
            <a:ext cx="443865" cy="189230"/>
          </a:xfrm>
          <a:custGeom>
            <a:avLst/>
            <a:gdLst/>
            <a:ahLst/>
            <a:cxnLst/>
            <a:rect l="l" t="t" r="r" b="b"/>
            <a:pathLst>
              <a:path w="443865" h="189229">
                <a:moveTo>
                  <a:pt x="0" y="188976"/>
                </a:moveTo>
                <a:lnTo>
                  <a:pt x="443483" y="188976"/>
                </a:lnTo>
                <a:lnTo>
                  <a:pt x="443483" y="0"/>
                </a:lnTo>
                <a:lnTo>
                  <a:pt x="0" y="0"/>
                </a:lnTo>
                <a:lnTo>
                  <a:pt x="0" y="188976"/>
                </a:lnTo>
                <a:close/>
              </a:path>
            </a:pathLst>
          </a:custGeom>
          <a:solidFill>
            <a:srgbClr val="12ABDB"/>
          </a:solidFill>
        </p:spPr>
        <p:txBody>
          <a:bodyPr wrap="square" lIns="0" tIns="0" rIns="0" bIns="0" rtlCol="0"/>
          <a:lstStyle/>
          <a:p>
            <a:endParaRPr/>
          </a:p>
        </p:txBody>
      </p:sp>
      <p:sp>
        <p:nvSpPr>
          <p:cNvPr id="4" name="object 4"/>
          <p:cNvSpPr/>
          <p:nvPr/>
        </p:nvSpPr>
        <p:spPr>
          <a:xfrm>
            <a:off x="3515867" y="1153667"/>
            <a:ext cx="8400415" cy="1577340"/>
          </a:xfrm>
          <a:custGeom>
            <a:avLst/>
            <a:gdLst/>
            <a:ahLst/>
            <a:cxnLst/>
            <a:rect l="l" t="t" r="r" b="b"/>
            <a:pathLst>
              <a:path w="8400415" h="1577339">
                <a:moveTo>
                  <a:pt x="0" y="1577339"/>
                </a:moveTo>
                <a:lnTo>
                  <a:pt x="8400288" y="1577339"/>
                </a:lnTo>
                <a:lnTo>
                  <a:pt x="8400288" y="0"/>
                </a:lnTo>
                <a:lnTo>
                  <a:pt x="0" y="0"/>
                </a:lnTo>
                <a:lnTo>
                  <a:pt x="0" y="1577339"/>
                </a:lnTo>
                <a:close/>
              </a:path>
            </a:pathLst>
          </a:custGeom>
          <a:solidFill>
            <a:srgbClr val="F1F1F1"/>
          </a:solidFill>
        </p:spPr>
        <p:txBody>
          <a:bodyPr wrap="square" lIns="0" tIns="0" rIns="0" bIns="0" rtlCol="0"/>
          <a:lstStyle/>
          <a:p>
            <a:endParaRPr/>
          </a:p>
        </p:txBody>
      </p:sp>
      <p:sp>
        <p:nvSpPr>
          <p:cNvPr id="5" name="object 5"/>
          <p:cNvSpPr txBox="1"/>
          <p:nvPr/>
        </p:nvSpPr>
        <p:spPr>
          <a:xfrm>
            <a:off x="10108818" y="1497863"/>
            <a:ext cx="1572895" cy="838200"/>
          </a:xfrm>
          <a:prstGeom prst="rect">
            <a:avLst/>
          </a:prstGeom>
        </p:spPr>
        <p:txBody>
          <a:bodyPr vert="horz" wrap="square" lIns="0" tIns="62865" rIns="0" bIns="0" rtlCol="0">
            <a:spAutoFit/>
          </a:bodyPr>
          <a:lstStyle/>
          <a:p>
            <a:pPr marL="195580" indent="-182880">
              <a:lnSpc>
                <a:spcPct val="100000"/>
              </a:lnSpc>
              <a:spcBef>
                <a:spcPts val="495"/>
              </a:spcBef>
              <a:buClr>
                <a:srgbClr val="006FAC"/>
              </a:buClr>
              <a:buFont typeface="Wingdings"/>
              <a:buChar char=""/>
              <a:tabLst>
                <a:tab pos="195580" algn="l"/>
              </a:tabLst>
            </a:pPr>
            <a:r>
              <a:rPr sz="1000" spc="-10">
                <a:latin typeface="Verdana"/>
                <a:cs typeface="Verdana"/>
              </a:rPr>
              <a:t>Program</a:t>
            </a:r>
            <a:r>
              <a:rPr sz="1000" spc="-5">
                <a:latin typeface="Verdana"/>
                <a:cs typeface="Verdana"/>
              </a:rPr>
              <a:t> Sponsorship</a:t>
            </a:r>
            <a:endParaRPr sz="1000">
              <a:latin typeface="Verdana"/>
              <a:cs typeface="Verdana"/>
            </a:endParaRPr>
          </a:p>
          <a:p>
            <a:pPr marL="195580" indent="-182880">
              <a:lnSpc>
                <a:spcPct val="100000"/>
              </a:lnSpc>
              <a:spcBef>
                <a:spcPts val="395"/>
              </a:spcBef>
              <a:buClr>
                <a:srgbClr val="006FAC"/>
              </a:buClr>
              <a:buFont typeface="Wingdings"/>
              <a:buChar char=""/>
              <a:tabLst>
                <a:tab pos="195580" algn="l"/>
              </a:tabLst>
            </a:pPr>
            <a:r>
              <a:rPr sz="1000">
                <a:latin typeface="Verdana"/>
                <a:cs typeface="Verdana"/>
              </a:rPr>
              <a:t>Risk</a:t>
            </a:r>
            <a:r>
              <a:rPr sz="1000" spc="-25">
                <a:latin typeface="Verdana"/>
                <a:cs typeface="Verdana"/>
              </a:rPr>
              <a:t> </a:t>
            </a:r>
            <a:r>
              <a:rPr sz="1000" spc="-5">
                <a:latin typeface="Verdana"/>
                <a:cs typeface="Verdana"/>
              </a:rPr>
              <a:t>Management</a:t>
            </a:r>
            <a:endParaRPr sz="1000">
              <a:latin typeface="Verdana"/>
              <a:cs typeface="Verdana"/>
            </a:endParaRPr>
          </a:p>
          <a:p>
            <a:pPr marL="195580" indent="-182880">
              <a:lnSpc>
                <a:spcPct val="100000"/>
              </a:lnSpc>
              <a:spcBef>
                <a:spcPts val="395"/>
              </a:spcBef>
              <a:buClr>
                <a:srgbClr val="006FAC"/>
              </a:buClr>
              <a:buFont typeface="Wingdings"/>
              <a:buChar char=""/>
              <a:tabLst>
                <a:tab pos="195580" algn="l"/>
              </a:tabLst>
            </a:pPr>
            <a:r>
              <a:rPr sz="1000" spc="-5">
                <a:latin typeface="Verdana"/>
                <a:cs typeface="Verdana"/>
              </a:rPr>
              <a:t>Strategic</a:t>
            </a:r>
            <a:r>
              <a:rPr sz="1000" spc="5">
                <a:latin typeface="Verdana"/>
                <a:cs typeface="Verdana"/>
              </a:rPr>
              <a:t> </a:t>
            </a:r>
            <a:r>
              <a:rPr sz="1000">
                <a:latin typeface="Verdana"/>
                <a:cs typeface="Verdana"/>
              </a:rPr>
              <a:t>Planning</a:t>
            </a:r>
          </a:p>
          <a:p>
            <a:pPr marL="195580" indent="-182880">
              <a:lnSpc>
                <a:spcPct val="100000"/>
              </a:lnSpc>
              <a:spcBef>
                <a:spcPts val="409"/>
              </a:spcBef>
              <a:buClr>
                <a:srgbClr val="006FAC"/>
              </a:buClr>
              <a:buFont typeface="Wingdings"/>
              <a:buChar char=""/>
              <a:tabLst>
                <a:tab pos="195580" algn="l"/>
              </a:tabLst>
            </a:pPr>
            <a:r>
              <a:rPr sz="1000">
                <a:latin typeface="Verdana"/>
                <a:cs typeface="Verdana"/>
              </a:rPr>
              <a:t>Quality</a:t>
            </a:r>
            <a:r>
              <a:rPr sz="1000" spc="-50">
                <a:latin typeface="Verdana"/>
                <a:cs typeface="Verdana"/>
              </a:rPr>
              <a:t> </a:t>
            </a:r>
            <a:r>
              <a:rPr sz="1000" spc="-5">
                <a:latin typeface="Verdana"/>
                <a:cs typeface="Verdana"/>
              </a:rPr>
              <a:t>Management</a:t>
            </a:r>
            <a:endParaRPr sz="1000">
              <a:latin typeface="Verdana"/>
              <a:cs typeface="Verdana"/>
            </a:endParaRPr>
          </a:p>
        </p:txBody>
      </p:sp>
      <p:sp>
        <p:nvSpPr>
          <p:cNvPr id="6" name="object 6"/>
          <p:cNvSpPr/>
          <p:nvPr/>
        </p:nvSpPr>
        <p:spPr>
          <a:xfrm>
            <a:off x="3515867" y="2886455"/>
            <a:ext cx="8400415" cy="1577340"/>
          </a:xfrm>
          <a:custGeom>
            <a:avLst/>
            <a:gdLst/>
            <a:ahLst/>
            <a:cxnLst/>
            <a:rect l="l" t="t" r="r" b="b"/>
            <a:pathLst>
              <a:path w="8400415" h="1577339">
                <a:moveTo>
                  <a:pt x="0" y="1577340"/>
                </a:moveTo>
                <a:lnTo>
                  <a:pt x="8400288" y="1577340"/>
                </a:lnTo>
                <a:lnTo>
                  <a:pt x="8400288" y="0"/>
                </a:lnTo>
                <a:lnTo>
                  <a:pt x="0" y="0"/>
                </a:lnTo>
                <a:lnTo>
                  <a:pt x="0" y="1577340"/>
                </a:lnTo>
                <a:close/>
              </a:path>
            </a:pathLst>
          </a:custGeom>
          <a:solidFill>
            <a:srgbClr val="F1F1F1"/>
          </a:solidFill>
        </p:spPr>
        <p:txBody>
          <a:bodyPr wrap="square" lIns="0" tIns="0" rIns="0" bIns="0" rtlCol="0"/>
          <a:lstStyle/>
          <a:p>
            <a:endParaRPr/>
          </a:p>
        </p:txBody>
      </p:sp>
      <p:sp>
        <p:nvSpPr>
          <p:cNvPr id="7" name="object 7"/>
          <p:cNvSpPr txBox="1"/>
          <p:nvPr/>
        </p:nvSpPr>
        <p:spPr>
          <a:xfrm>
            <a:off x="10108818" y="2875940"/>
            <a:ext cx="1664335" cy="1548130"/>
          </a:xfrm>
          <a:prstGeom prst="rect">
            <a:avLst/>
          </a:prstGeom>
        </p:spPr>
        <p:txBody>
          <a:bodyPr vert="horz" wrap="square" lIns="0" tIns="62865" rIns="0" bIns="0" rtlCol="0">
            <a:spAutoFit/>
          </a:bodyPr>
          <a:lstStyle/>
          <a:p>
            <a:pPr marL="195580" indent="-182880">
              <a:lnSpc>
                <a:spcPct val="100000"/>
              </a:lnSpc>
              <a:spcBef>
                <a:spcPts val="495"/>
              </a:spcBef>
              <a:buClr>
                <a:srgbClr val="006FAC"/>
              </a:buClr>
              <a:buFont typeface="Wingdings"/>
              <a:buChar char=""/>
              <a:tabLst>
                <a:tab pos="195580" algn="l"/>
              </a:tabLst>
            </a:pPr>
            <a:r>
              <a:rPr sz="1000" spc="-10">
                <a:latin typeface="Verdana"/>
                <a:cs typeface="Verdana"/>
              </a:rPr>
              <a:t>Project</a:t>
            </a:r>
            <a:r>
              <a:rPr sz="1000" spc="35">
                <a:latin typeface="Verdana"/>
                <a:cs typeface="Verdana"/>
              </a:rPr>
              <a:t> </a:t>
            </a:r>
            <a:r>
              <a:rPr sz="1000" spc="-5">
                <a:latin typeface="Verdana"/>
                <a:cs typeface="Verdana"/>
              </a:rPr>
              <a:t>Monitoring</a:t>
            </a:r>
            <a:endParaRPr sz="1000">
              <a:latin typeface="Verdana"/>
              <a:cs typeface="Verdana"/>
            </a:endParaRPr>
          </a:p>
          <a:p>
            <a:pPr marL="194945" marR="638175" indent="-182880">
              <a:lnSpc>
                <a:spcPct val="100000"/>
              </a:lnSpc>
              <a:spcBef>
                <a:spcPts val="395"/>
              </a:spcBef>
              <a:buClr>
                <a:srgbClr val="006FAC"/>
              </a:buClr>
              <a:buFont typeface="Wingdings"/>
              <a:buChar char=""/>
              <a:tabLst>
                <a:tab pos="195580" algn="l"/>
              </a:tabLst>
            </a:pPr>
            <a:r>
              <a:rPr sz="1000">
                <a:latin typeface="Verdana"/>
                <a:cs typeface="Verdana"/>
              </a:rPr>
              <a:t>Risk </a:t>
            </a:r>
            <a:r>
              <a:rPr sz="1000" spc="-5">
                <a:latin typeface="Verdana"/>
                <a:cs typeface="Verdana"/>
              </a:rPr>
              <a:t>&amp; </a:t>
            </a:r>
            <a:r>
              <a:rPr sz="1000" spc="-10">
                <a:latin typeface="Verdana"/>
                <a:cs typeface="Verdana"/>
              </a:rPr>
              <a:t>Issue  </a:t>
            </a:r>
            <a:r>
              <a:rPr sz="1000" spc="-5">
                <a:latin typeface="Verdana"/>
                <a:cs typeface="Verdana"/>
              </a:rPr>
              <a:t>Ma</a:t>
            </a:r>
            <a:r>
              <a:rPr sz="1000">
                <a:latin typeface="Verdana"/>
                <a:cs typeface="Verdana"/>
              </a:rPr>
              <a:t>n</a:t>
            </a:r>
            <a:r>
              <a:rPr sz="1000" spc="-5">
                <a:latin typeface="Verdana"/>
                <a:cs typeface="Verdana"/>
              </a:rPr>
              <a:t>ag</a:t>
            </a:r>
            <a:r>
              <a:rPr sz="1000" spc="-15">
                <a:latin typeface="Verdana"/>
                <a:cs typeface="Verdana"/>
              </a:rPr>
              <a:t>e</a:t>
            </a:r>
            <a:r>
              <a:rPr sz="1000" spc="-5">
                <a:latin typeface="Verdana"/>
                <a:cs typeface="Verdana"/>
              </a:rPr>
              <a:t>ment</a:t>
            </a:r>
            <a:endParaRPr sz="1000">
              <a:latin typeface="Verdana"/>
              <a:cs typeface="Verdana"/>
            </a:endParaRPr>
          </a:p>
          <a:p>
            <a:pPr marL="195580" indent="-182880">
              <a:lnSpc>
                <a:spcPct val="100000"/>
              </a:lnSpc>
              <a:spcBef>
                <a:spcPts val="395"/>
              </a:spcBef>
              <a:buClr>
                <a:srgbClr val="006FAC"/>
              </a:buClr>
              <a:buFont typeface="Wingdings"/>
              <a:buChar char=""/>
              <a:tabLst>
                <a:tab pos="195580" algn="l"/>
              </a:tabLst>
            </a:pPr>
            <a:r>
              <a:rPr sz="1000" spc="-5">
                <a:latin typeface="Verdana"/>
                <a:cs typeface="Verdana"/>
              </a:rPr>
              <a:t>Budget</a:t>
            </a:r>
            <a:r>
              <a:rPr sz="1000" spc="-55">
                <a:latin typeface="Verdana"/>
                <a:cs typeface="Verdana"/>
              </a:rPr>
              <a:t> </a:t>
            </a:r>
            <a:r>
              <a:rPr sz="1000" spc="-5">
                <a:latin typeface="Verdana"/>
                <a:cs typeface="Verdana"/>
              </a:rPr>
              <a:t>Management</a:t>
            </a:r>
            <a:endParaRPr sz="1000">
              <a:latin typeface="Verdana"/>
              <a:cs typeface="Verdana"/>
            </a:endParaRPr>
          </a:p>
          <a:p>
            <a:pPr marL="195580" indent="-182880">
              <a:lnSpc>
                <a:spcPct val="100000"/>
              </a:lnSpc>
              <a:spcBef>
                <a:spcPts val="409"/>
              </a:spcBef>
              <a:buClr>
                <a:srgbClr val="006FAC"/>
              </a:buClr>
              <a:buFont typeface="Wingdings"/>
              <a:buChar char=""/>
              <a:tabLst>
                <a:tab pos="195580" algn="l"/>
              </a:tabLst>
            </a:pPr>
            <a:r>
              <a:rPr sz="1000" spc="-10">
                <a:latin typeface="Verdana"/>
                <a:cs typeface="Verdana"/>
              </a:rPr>
              <a:t>Project</a:t>
            </a:r>
            <a:r>
              <a:rPr sz="1000" spc="35">
                <a:latin typeface="Verdana"/>
                <a:cs typeface="Verdana"/>
              </a:rPr>
              <a:t> </a:t>
            </a:r>
            <a:r>
              <a:rPr sz="1000" spc="-5">
                <a:latin typeface="Verdana"/>
                <a:cs typeface="Verdana"/>
              </a:rPr>
              <a:t>Reporting</a:t>
            </a:r>
            <a:endParaRPr sz="1000">
              <a:latin typeface="Verdana"/>
              <a:cs typeface="Verdana"/>
            </a:endParaRPr>
          </a:p>
          <a:p>
            <a:pPr marL="195580" indent="-182880">
              <a:lnSpc>
                <a:spcPct val="100000"/>
              </a:lnSpc>
              <a:spcBef>
                <a:spcPts val="400"/>
              </a:spcBef>
              <a:buClr>
                <a:srgbClr val="006FAC"/>
              </a:buClr>
              <a:buFont typeface="Wingdings"/>
              <a:buChar char=""/>
              <a:tabLst>
                <a:tab pos="195580" algn="l"/>
              </a:tabLst>
            </a:pPr>
            <a:r>
              <a:rPr sz="1000">
                <a:latin typeface="Verdana"/>
                <a:cs typeface="Verdana"/>
              </a:rPr>
              <a:t>Quality</a:t>
            </a:r>
            <a:r>
              <a:rPr sz="1000" spc="-40">
                <a:latin typeface="Verdana"/>
                <a:cs typeface="Verdana"/>
              </a:rPr>
              <a:t> </a:t>
            </a:r>
            <a:r>
              <a:rPr sz="1000" spc="-5">
                <a:latin typeface="Verdana"/>
                <a:cs typeface="Verdana"/>
              </a:rPr>
              <a:t>management</a:t>
            </a:r>
            <a:endParaRPr sz="1000">
              <a:latin typeface="Verdana"/>
              <a:cs typeface="Verdana"/>
            </a:endParaRPr>
          </a:p>
          <a:p>
            <a:pPr marL="194945" marR="5080" indent="-182880">
              <a:lnSpc>
                <a:spcPct val="100000"/>
              </a:lnSpc>
              <a:spcBef>
                <a:spcPts val="395"/>
              </a:spcBef>
              <a:buClr>
                <a:srgbClr val="006FAC"/>
              </a:buClr>
              <a:buFont typeface="Wingdings"/>
              <a:buChar char=""/>
              <a:tabLst>
                <a:tab pos="195580" algn="l"/>
              </a:tabLst>
            </a:pPr>
            <a:r>
              <a:rPr sz="1000">
                <a:latin typeface="Verdana"/>
                <a:cs typeface="Verdana"/>
              </a:rPr>
              <a:t>Sign </a:t>
            </a:r>
            <a:r>
              <a:rPr sz="1000" spc="-10">
                <a:latin typeface="Verdana"/>
                <a:cs typeface="Verdana"/>
              </a:rPr>
              <a:t>off </a:t>
            </a:r>
            <a:r>
              <a:rPr sz="1000" spc="-5">
                <a:latin typeface="Verdana"/>
                <a:cs typeface="Verdana"/>
              </a:rPr>
              <a:t>on design and  architectural</a:t>
            </a:r>
            <a:r>
              <a:rPr sz="1000" spc="-20">
                <a:latin typeface="Verdana"/>
                <a:cs typeface="Verdana"/>
              </a:rPr>
              <a:t> </a:t>
            </a:r>
            <a:r>
              <a:rPr sz="1000">
                <a:latin typeface="Verdana"/>
                <a:cs typeface="Verdana"/>
              </a:rPr>
              <a:t>principles</a:t>
            </a:r>
          </a:p>
        </p:txBody>
      </p:sp>
      <p:sp>
        <p:nvSpPr>
          <p:cNvPr id="8" name="object 8"/>
          <p:cNvSpPr/>
          <p:nvPr/>
        </p:nvSpPr>
        <p:spPr>
          <a:xfrm>
            <a:off x="3515867" y="4619244"/>
            <a:ext cx="8400415" cy="1579245"/>
          </a:xfrm>
          <a:custGeom>
            <a:avLst/>
            <a:gdLst/>
            <a:ahLst/>
            <a:cxnLst/>
            <a:rect l="l" t="t" r="r" b="b"/>
            <a:pathLst>
              <a:path w="8400415" h="1579245">
                <a:moveTo>
                  <a:pt x="0" y="1578863"/>
                </a:moveTo>
                <a:lnTo>
                  <a:pt x="8400288" y="1578863"/>
                </a:lnTo>
                <a:lnTo>
                  <a:pt x="8400288" y="0"/>
                </a:lnTo>
                <a:lnTo>
                  <a:pt x="0" y="0"/>
                </a:lnTo>
                <a:lnTo>
                  <a:pt x="0" y="1578863"/>
                </a:lnTo>
                <a:close/>
              </a:path>
            </a:pathLst>
          </a:custGeom>
          <a:solidFill>
            <a:srgbClr val="F1F1F1"/>
          </a:solidFill>
        </p:spPr>
        <p:txBody>
          <a:bodyPr wrap="square" lIns="0" tIns="0" rIns="0" bIns="0" rtlCol="0"/>
          <a:lstStyle/>
          <a:p>
            <a:endParaRPr/>
          </a:p>
        </p:txBody>
      </p:sp>
      <p:sp>
        <p:nvSpPr>
          <p:cNvPr id="9" name="object 9"/>
          <p:cNvSpPr txBox="1"/>
          <p:nvPr/>
        </p:nvSpPr>
        <p:spPr>
          <a:xfrm>
            <a:off x="10108818" y="4685817"/>
            <a:ext cx="1598930" cy="1396365"/>
          </a:xfrm>
          <a:prstGeom prst="rect">
            <a:avLst/>
          </a:prstGeom>
        </p:spPr>
        <p:txBody>
          <a:bodyPr vert="horz" wrap="square" lIns="0" tIns="62865" rIns="0" bIns="0" rtlCol="0">
            <a:spAutoFit/>
          </a:bodyPr>
          <a:lstStyle/>
          <a:p>
            <a:pPr marL="195580" indent="-182880">
              <a:lnSpc>
                <a:spcPct val="100000"/>
              </a:lnSpc>
              <a:spcBef>
                <a:spcPts val="495"/>
              </a:spcBef>
              <a:buClr>
                <a:srgbClr val="006FAC"/>
              </a:buClr>
              <a:buFont typeface="Wingdings"/>
              <a:buChar char=""/>
              <a:tabLst>
                <a:tab pos="195580" algn="l"/>
              </a:tabLst>
            </a:pPr>
            <a:r>
              <a:rPr sz="1000" spc="-10">
                <a:latin typeface="Verdana"/>
                <a:cs typeface="Verdana"/>
              </a:rPr>
              <a:t>Project</a:t>
            </a:r>
            <a:r>
              <a:rPr sz="1000" spc="35">
                <a:latin typeface="Verdana"/>
                <a:cs typeface="Verdana"/>
              </a:rPr>
              <a:t> </a:t>
            </a:r>
            <a:r>
              <a:rPr sz="1000" spc="-5">
                <a:latin typeface="Verdana"/>
                <a:cs typeface="Verdana"/>
              </a:rPr>
              <a:t>Monitoring</a:t>
            </a:r>
            <a:endParaRPr sz="1000">
              <a:latin typeface="Verdana"/>
              <a:cs typeface="Verdana"/>
            </a:endParaRPr>
          </a:p>
          <a:p>
            <a:pPr marL="194945" marR="572770" indent="-182880">
              <a:lnSpc>
                <a:spcPct val="100000"/>
              </a:lnSpc>
              <a:spcBef>
                <a:spcPts val="395"/>
              </a:spcBef>
              <a:buClr>
                <a:srgbClr val="006FAC"/>
              </a:buClr>
              <a:buFont typeface="Wingdings"/>
              <a:buChar char=""/>
              <a:tabLst>
                <a:tab pos="195580" algn="l"/>
              </a:tabLst>
            </a:pPr>
            <a:r>
              <a:rPr sz="1000">
                <a:latin typeface="Verdana"/>
                <a:cs typeface="Verdana"/>
              </a:rPr>
              <a:t>Risk </a:t>
            </a:r>
            <a:r>
              <a:rPr sz="1000" spc="-5">
                <a:latin typeface="Verdana"/>
                <a:cs typeface="Verdana"/>
              </a:rPr>
              <a:t>&amp; </a:t>
            </a:r>
            <a:r>
              <a:rPr sz="1000" spc="-10">
                <a:latin typeface="Verdana"/>
                <a:cs typeface="Verdana"/>
              </a:rPr>
              <a:t>Issue  </a:t>
            </a:r>
            <a:r>
              <a:rPr sz="1000" spc="-5">
                <a:latin typeface="Verdana"/>
                <a:cs typeface="Verdana"/>
              </a:rPr>
              <a:t>Ma</a:t>
            </a:r>
            <a:r>
              <a:rPr sz="1000">
                <a:latin typeface="Verdana"/>
                <a:cs typeface="Verdana"/>
              </a:rPr>
              <a:t>n</a:t>
            </a:r>
            <a:r>
              <a:rPr sz="1000" spc="-5">
                <a:latin typeface="Verdana"/>
                <a:cs typeface="Verdana"/>
              </a:rPr>
              <a:t>ag</a:t>
            </a:r>
            <a:r>
              <a:rPr sz="1000" spc="-15">
                <a:latin typeface="Verdana"/>
                <a:cs typeface="Verdana"/>
              </a:rPr>
              <a:t>e</a:t>
            </a:r>
            <a:r>
              <a:rPr sz="1000" spc="-5">
                <a:latin typeface="Verdana"/>
                <a:cs typeface="Verdana"/>
              </a:rPr>
              <a:t>ment</a:t>
            </a:r>
            <a:endParaRPr sz="1000">
              <a:latin typeface="Verdana"/>
              <a:cs typeface="Verdana"/>
            </a:endParaRPr>
          </a:p>
          <a:p>
            <a:pPr marL="195580" indent="-182880">
              <a:lnSpc>
                <a:spcPct val="100000"/>
              </a:lnSpc>
              <a:spcBef>
                <a:spcPts val="400"/>
              </a:spcBef>
              <a:buClr>
                <a:srgbClr val="006FAC"/>
              </a:buClr>
              <a:buFont typeface="Wingdings"/>
              <a:buChar char=""/>
              <a:tabLst>
                <a:tab pos="195580" algn="l"/>
              </a:tabLst>
            </a:pPr>
            <a:r>
              <a:rPr sz="1000" spc="-5">
                <a:latin typeface="Verdana"/>
                <a:cs typeface="Verdana"/>
              </a:rPr>
              <a:t>Status</a:t>
            </a:r>
            <a:r>
              <a:rPr sz="1000" spc="5">
                <a:latin typeface="Verdana"/>
                <a:cs typeface="Verdana"/>
              </a:rPr>
              <a:t> </a:t>
            </a:r>
            <a:r>
              <a:rPr sz="1000" spc="-5">
                <a:latin typeface="Verdana"/>
                <a:cs typeface="Verdana"/>
              </a:rPr>
              <a:t>Reporting</a:t>
            </a:r>
            <a:endParaRPr sz="1000">
              <a:latin typeface="Verdana"/>
              <a:cs typeface="Verdana"/>
            </a:endParaRPr>
          </a:p>
          <a:p>
            <a:pPr marL="195580" indent="-182880">
              <a:lnSpc>
                <a:spcPct val="100000"/>
              </a:lnSpc>
              <a:spcBef>
                <a:spcPts val="409"/>
              </a:spcBef>
              <a:buClr>
                <a:srgbClr val="006FAC"/>
              </a:buClr>
              <a:buFont typeface="Wingdings"/>
              <a:buChar char=""/>
              <a:tabLst>
                <a:tab pos="195580" algn="l"/>
              </a:tabLst>
            </a:pPr>
            <a:r>
              <a:rPr sz="1000" spc="-5">
                <a:latin typeface="Verdana"/>
                <a:cs typeface="Verdana"/>
              </a:rPr>
              <a:t>Delivery</a:t>
            </a:r>
            <a:r>
              <a:rPr sz="1000" spc="-60">
                <a:latin typeface="Verdana"/>
                <a:cs typeface="Verdana"/>
              </a:rPr>
              <a:t> </a:t>
            </a:r>
            <a:r>
              <a:rPr sz="1000" spc="-5">
                <a:latin typeface="Verdana"/>
                <a:cs typeface="Verdana"/>
              </a:rPr>
              <a:t>Management</a:t>
            </a:r>
            <a:endParaRPr sz="1000">
              <a:latin typeface="Verdana"/>
              <a:cs typeface="Verdana"/>
            </a:endParaRPr>
          </a:p>
          <a:p>
            <a:pPr marL="195580" indent="-182880">
              <a:lnSpc>
                <a:spcPct val="100000"/>
              </a:lnSpc>
              <a:spcBef>
                <a:spcPts val="395"/>
              </a:spcBef>
              <a:buClr>
                <a:srgbClr val="006FAC"/>
              </a:buClr>
              <a:buFont typeface="Wingdings"/>
              <a:buChar char=""/>
              <a:tabLst>
                <a:tab pos="195580" algn="l"/>
              </a:tabLst>
            </a:pPr>
            <a:r>
              <a:rPr sz="1000">
                <a:latin typeface="Verdana"/>
                <a:cs typeface="Verdana"/>
              </a:rPr>
              <a:t>Quality</a:t>
            </a:r>
            <a:r>
              <a:rPr sz="1000" spc="-95">
                <a:latin typeface="Verdana"/>
                <a:cs typeface="Verdana"/>
              </a:rPr>
              <a:t> </a:t>
            </a:r>
            <a:r>
              <a:rPr sz="1000" spc="-5">
                <a:latin typeface="Verdana"/>
                <a:cs typeface="Verdana"/>
              </a:rPr>
              <a:t>Management</a:t>
            </a:r>
            <a:endParaRPr sz="1000">
              <a:latin typeface="Verdana"/>
              <a:cs typeface="Verdana"/>
            </a:endParaRPr>
          </a:p>
          <a:p>
            <a:pPr marL="195580" indent="-182880">
              <a:lnSpc>
                <a:spcPct val="100000"/>
              </a:lnSpc>
              <a:spcBef>
                <a:spcPts val="395"/>
              </a:spcBef>
              <a:buClr>
                <a:srgbClr val="006FAC"/>
              </a:buClr>
              <a:buFont typeface="Wingdings"/>
              <a:buChar char=""/>
              <a:tabLst>
                <a:tab pos="195580" algn="l"/>
              </a:tabLst>
            </a:pPr>
            <a:r>
              <a:rPr sz="1000" spc="-5">
                <a:latin typeface="Verdana"/>
                <a:cs typeface="Verdana"/>
              </a:rPr>
              <a:t>PMO</a:t>
            </a:r>
            <a:r>
              <a:rPr sz="1000" spc="-10">
                <a:latin typeface="Verdana"/>
                <a:cs typeface="Verdana"/>
              </a:rPr>
              <a:t> </a:t>
            </a:r>
            <a:r>
              <a:rPr sz="1000" spc="-5">
                <a:latin typeface="Verdana"/>
                <a:cs typeface="Verdana"/>
              </a:rPr>
              <a:t>Services</a:t>
            </a:r>
            <a:endParaRPr sz="1000">
              <a:latin typeface="Verdana"/>
              <a:cs typeface="Verdana"/>
            </a:endParaRPr>
          </a:p>
        </p:txBody>
      </p:sp>
      <p:sp>
        <p:nvSpPr>
          <p:cNvPr id="10" name="object 10"/>
          <p:cNvSpPr txBox="1"/>
          <p:nvPr/>
        </p:nvSpPr>
        <p:spPr>
          <a:xfrm>
            <a:off x="227075" y="1130808"/>
            <a:ext cx="2222500" cy="5073650"/>
          </a:xfrm>
          <a:prstGeom prst="rect">
            <a:avLst/>
          </a:prstGeom>
          <a:solidFill>
            <a:srgbClr val="F1F1F1"/>
          </a:solidFill>
        </p:spPr>
        <p:txBody>
          <a:bodyPr vert="horz" wrap="square" lIns="0" tIns="45085" rIns="0" bIns="0" rtlCol="0">
            <a:spAutoFit/>
          </a:bodyPr>
          <a:lstStyle/>
          <a:p>
            <a:pPr marL="263525" marR="129539" indent="-172720">
              <a:lnSpc>
                <a:spcPct val="100000"/>
              </a:lnSpc>
              <a:spcBef>
                <a:spcPts val="355"/>
              </a:spcBef>
              <a:buClr>
                <a:srgbClr val="006FAC"/>
              </a:buClr>
              <a:buFont typeface="Wingdings"/>
              <a:buChar char=""/>
              <a:tabLst>
                <a:tab pos="264160" algn="l"/>
              </a:tabLst>
            </a:pPr>
            <a:r>
              <a:rPr sz="1200">
                <a:latin typeface="Verdana"/>
                <a:cs typeface="Verdana"/>
              </a:rPr>
              <a:t>A </a:t>
            </a:r>
            <a:r>
              <a:rPr sz="1200" spc="-5">
                <a:latin typeface="Verdana"/>
                <a:cs typeface="Verdana"/>
              </a:rPr>
              <a:t>structured framework  that provides </a:t>
            </a:r>
            <a:r>
              <a:rPr sz="1200">
                <a:latin typeface="Verdana"/>
                <a:cs typeface="Verdana"/>
              </a:rPr>
              <a:t>for  </a:t>
            </a:r>
            <a:r>
              <a:rPr sz="1200" spc="-5">
                <a:latin typeface="Verdana"/>
                <a:cs typeface="Verdana"/>
              </a:rPr>
              <a:t>metrics based  transparency</a:t>
            </a:r>
            <a:endParaRPr sz="1200">
              <a:latin typeface="Verdana"/>
              <a:cs typeface="Verdana"/>
            </a:endParaRPr>
          </a:p>
          <a:p>
            <a:pPr marL="263525" marR="105410" indent="-172720">
              <a:lnSpc>
                <a:spcPct val="100000"/>
              </a:lnSpc>
              <a:spcBef>
                <a:spcPts val="600"/>
              </a:spcBef>
              <a:buClr>
                <a:srgbClr val="006FAC"/>
              </a:buClr>
              <a:buFont typeface="Wingdings"/>
              <a:buChar char=""/>
              <a:tabLst>
                <a:tab pos="264160" algn="l"/>
              </a:tabLst>
            </a:pPr>
            <a:r>
              <a:rPr sz="1200" spc="-5">
                <a:latin typeface="Verdana"/>
                <a:cs typeface="Verdana"/>
              </a:rPr>
              <a:t>Clear accountability and  escalation</a:t>
            </a:r>
            <a:r>
              <a:rPr sz="1200" spc="-10">
                <a:latin typeface="Verdana"/>
                <a:cs typeface="Verdana"/>
              </a:rPr>
              <a:t> </a:t>
            </a:r>
            <a:r>
              <a:rPr sz="1200" spc="-5">
                <a:latin typeface="Verdana"/>
                <a:cs typeface="Verdana"/>
              </a:rPr>
              <a:t>paths</a:t>
            </a:r>
            <a:endParaRPr sz="1200">
              <a:latin typeface="Verdana"/>
              <a:cs typeface="Verdana"/>
            </a:endParaRPr>
          </a:p>
          <a:p>
            <a:pPr marL="263525" marR="387350" indent="-172720">
              <a:lnSpc>
                <a:spcPct val="100000"/>
              </a:lnSpc>
              <a:spcBef>
                <a:spcPts val="600"/>
              </a:spcBef>
              <a:buClr>
                <a:srgbClr val="006FAC"/>
              </a:buClr>
              <a:buFont typeface="Wingdings"/>
              <a:buChar char=""/>
              <a:tabLst>
                <a:tab pos="264160" algn="l"/>
              </a:tabLst>
            </a:pPr>
            <a:r>
              <a:rPr sz="1200">
                <a:latin typeface="Verdana"/>
                <a:cs typeface="Verdana"/>
              </a:rPr>
              <a:t>A </a:t>
            </a:r>
            <a:r>
              <a:rPr sz="1200" spc="-5">
                <a:latin typeface="Verdana"/>
                <a:cs typeface="Verdana"/>
              </a:rPr>
              <a:t>model that fosters  </a:t>
            </a:r>
            <a:r>
              <a:rPr sz="1200" spc="-10">
                <a:latin typeface="Verdana"/>
                <a:cs typeface="Verdana"/>
              </a:rPr>
              <a:t>collaboration</a:t>
            </a:r>
            <a:endParaRPr sz="1200">
              <a:latin typeface="Verdana"/>
              <a:cs typeface="Verdana"/>
            </a:endParaRPr>
          </a:p>
          <a:p>
            <a:pPr marL="263525">
              <a:lnSpc>
                <a:spcPct val="100000"/>
              </a:lnSpc>
            </a:pPr>
            <a:r>
              <a:rPr sz="1200">
                <a:latin typeface="Verdana"/>
                <a:cs typeface="Verdana"/>
              </a:rPr>
              <a:t>across </a:t>
            </a:r>
            <a:r>
              <a:rPr sz="1200" spc="-5">
                <a:latin typeface="Verdana"/>
                <a:cs typeface="Verdana"/>
              </a:rPr>
              <a:t>all</a:t>
            </a:r>
            <a:r>
              <a:rPr sz="1200" spc="-30">
                <a:latin typeface="Verdana"/>
                <a:cs typeface="Verdana"/>
              </a:rPr>
              <a:t> </a:t>
            </a:r>
            <a:r>
              <a:rPr sz="1200" spc="-5">
                <a:latin typeface="Verdana"/>
                <a:cs typeface="Verdana"/>
              </a:rPr>
              <a:t>departments</a:t>
            </a:r>
            <a:endParaRPr sz="1200">
              <a:latin typeface="Verdana"/>
              <a:cs typeface="Verdana"/>
            </a:endParaRPr>
          </a:p>
          <a:p>
            <a:pPr marL="263525" marR="161290" indent="-172720">
              <a:lnSpc>
                <a:spcPct val="100000"/>
              </a:lnSpc>
              <a:spcBef>
                <a:spcPts val="600"/>
              </a:spcBef>
              <a:buClr>
                <a:srgbClr val="006FAC"/>
              </a:buClr>
              <a:buFont typeface="Wingdings"/>
              <a:buChar char=""/>
              <a:tabLst>
                <a:tab pos="264160" algn="l"/>
              </a:tabLst>
            </a:pPr>
            <a:r>
              <a:rPr sz="1200" spc="-5">
                <a:latin typeface="Verdana"/>
                <a:cs typeface="Verdana"/>
              </a:rPr>
              <a:t>Sponsorships </a:t>
            </a:r>
            <a:r>
              <a:rPr sz="1200">
                <a:latin typeface="Verdana"/>
                <a:cs typeface="Verdana"/>
              </a:rPr>
              <a:t>at </a:t>
            </a:r>
            <a:r>
              <a:rPr sz="1200" spc="-5">
                <a:latin typeface="Verdana"/>
                <a:cs typeface="Verdana"/>
              </a:rPr>
              <a:t>all  levels </a:t>
            </a:r>
            <a:r>
              <a:rPr sz="1200">
                <a:latin typeface="Verdana"/>
                <a:cs typeface="Verdana"/>
              </a:rPr>
              <a:t>of </a:t>
            </a:r>
            <a:r>
              <a:rPr sz="1200" spc="-5">
                <a:latin typeface="Verdana"/>
                <a:cs typeface="Verdana"/>
              </a:rPr>
              <a:t>the program</a:t>
            </a:r>
            <a:r>
              <a:rPr sz="1200" spc="-65">
                <a:latin typeface="Verdana"/>
                <a:cs typeface="Verdana"/>
              </a:rPr>
              <a:t> </a:t>
            </a:r>
            <a:r>
              <a:rPr sz="1200">
                <a:latin typeface="Verdana"/>
                <a:cs typeface="Verdana"/>
              </a:rPr>
              <a:t>–  </a:t>
            </a:r>
            <a:r>
              <a:rPr sz="1200" spc="-20">
                <a:latin typeface="Verdana"/>
                <a:cs typeface="Verdana"/>
              </a:rPr>
              <a:t>Strategy,</a:t>
            </a:r>
            <a:endParaRPr sz="1200">
              <a:latin typeface="Verdana"/>
              <a:cs typeface="Verdana"/>
            </a:endParaRPr>
          </a:p>
          <a:p>
            <a:pPr marL="263525" marR="730885">
              <a:lnSpc>
                <a:spcPct val="100000"/>
              </a:lnSpc>
              <a:spcBef>
                <a:spcPts val="5"/>
              </a:spcBef>
            </a:pPr>
            <a:r>
              <a:rPr sz="1200" spc="-10">
                <a:latin typeface="Verdana"/>
                <a:cs typeface="Verdana"/>
              </a:rPr>
              <a:t>Operational </a:t>
            </a:r>
            <a:r>
              <a:rPr sz="1200" spc="-5">
                <a:latin typeface="Verdana"/>
                <a:cs typeface="Verdana"/>
              </a:rPr>
              <a:t>and  </a:t>
            </a:r>
            <a:r>
              <a:rPr sz="1200" spc="-10">
                <a:latin typeface="Verdana"/>
                <a:cs typeface="Verdana"/>
              </a:rPr>
              <a:t>Execution</a:t>
            </a:r>
            <a:endParaRPr sz="1200">
              <a:latin typeface="Verdana"/>
              <a:cs typeface="Verdana"/>
            </a:endParaRPr>
          </a:p>
          <a:p>
            <a:pPr marL="263525" marR="336550" indent="-172720">
              <a:lnSpc>
                <a:spcPct val="100000"/>
              </a:lnSpc>
              <a:spcBef>
                <a:spcPts val="600"/>
              </a:spcBef>
              <a:buClr>
                <a:srgbClr val="006FAC"/>
              </a:buClr>
              <a:buFont typeface="Wingdings"/>
              <a:buChar char=""/>
              <a:tabLst>
                <a:tab pos="264160" algn="l"/>
              </a:tabLst>
            </a:pPr>
            <a:r>
              <a:rPr sz="1200" spc="-5">
                <a:latin typeface="Verdana"/>
                <a:cs typeface="Verdana"/>
              </a:rPr>
              <a:t>Integrated</a:t>
            </a:r>
            <a:r>
              <a:rPr sz="1200" spc="-75">
                <a:latin typeface="Verdana"/>
                <a:cs typeface="Verdana"/>
              </a:rPr>
              <a:t> </a:t>
            </a:r>
            <a:r>
              <a:rPr sz="1200">
                <a:latin typeface="Verdana"/>
                <a:cs typeface="Verdana"/>
              </a:rPr>
              <a:t>processes  </a:t>
            </a:r>
            <a:r>
              <a:rPr sz="1200" spc="-5">
                <a:latin typeface="Verdana"/>
                <a:cs typeface="Verdana"/>
              </a:rPr>
              <a:t>and</a:t>
            </a:r>
            <a:endParaRPr sz="1200">
              <a:latin typeface="Verdana"/>
              <a:cs typeface="Verdana"/>
            </a:endParaRPr>
          </a:p>
          <a:p>
            <a:pPr marL="263525">
              <a:lnSpc>
                <a:spcPct val="100000"/>
              </a:lnSpc>
            </a:pPr>
            <a:r>
              <a:rPr sz="1200" spc="-5">
                <a:latin typeface="Verdana"/>
                <a:cs typeface="Verdana"/>
              </a:rPr>
              <a:t>tools to</a:t>
            </a:r>
            <a:r>
              <a:rPr sz="1200" spc="-20">
                <a:latin typeface="Verdana"/>
                <a:cs typeface="Verdana"/>
              </a:rPr>
              <a:t> </a:t>
            </a:r>
            <a:r>
              <a:rPr sz="1200" spc="-5">
                <a:latin typeface="Verdana"/>
                <a:cs typeface="Verdana"/>
              </a:rPr>
              <a:t>facilitate</a:t>
            </a:r>
            <a:endParaRPr sz="1200">
              <a:latin typeface="Verdana"/>
              <a:cs typeface="Verdana"/>
            </a:endParaRPr>
          </a:p>
          <a:p>
            <a:pPr marL="263525">
              <a:lnSpc>
                <a:spcPct val="100000"/>
              </a:lnSpc>
            </a:pPr>
            <a:r>
              <a:rPr sz="1200" spc="-5">
                <a:latin typeface="Verdana"/>
                <a:cs typeface="Verdana"/>
              </a:rPr>
              <a:t>smooth</a:t>
            </a:r>
            <a:endParaRPr sz="1200">
              <a:latin typeface="Verdana"/>
              <a:cs typeface="Verdana"/>
            </a:endParaRPr>
          </a:p>
          <a:p>
            <a:pPr marL="263525">
              <a:lnSpc>
                <a:spcPct val="100000"/>
              </a:lnSpc>
            </a:pPr>
            <a:r>
              <a:rPr sz="1200" spc="-5">
                <a:latin typeface="Verdana"/>
                <a:cs typeface="Verdana"/>
              </a:rPr>
              <a:t>global</a:t>
            </a:r>
            <a:r>
              <a:rPr sz="1200" spc="-10">
                <a:latin typeface="Verdana"/>
                <a:cs typeface="Verdana"/>
              </a:rPr>
              <a:t> </a:t>
            </a:r>
            <a:r>
              <a:rPr sz="1200" spc="-5">
                <a:latin typeface="Verdana"/>
                <a:cs typeface="Verdana"/>
              </a:rPr>
              <a:t>delivery</a:t>
            </a:r>
            <a:endParaRPr sz="1200">
              <a:latin typeface="Verdana"/>
              <a:cs typeface="Verdana"/>
            </a:endParaRPr>
          </a:p>
          <a:p>
            <a:pPr marL="263525" marR="104139" indent="-172720">
              <a:lnSpc>
                <a:spcPct val="100000"/>
              </a:lnSpc>
              <a:spcBef>
                <a:spcPts val="600"/>
              </a:spcBef>
              <a:buClr>
                <a:srgbClr val="006FAC"/>
              </a:buClr>
              <a:buFont typeface="Wingdings"/>
              <a:buChar char=""/>
              <a:tabLst>
                <a:tab pos="264160" algn="l"/>
              </a:tabLst>
            </a:pPr>
            <a:r>
              <a:rPr sz="1200" spc="-10">
                <a:latin typeface="Verdana"/>
                <a:cs typeface="Verdana"/>
              </a:rPr>
              <a:t>Quality </a:t>
            </a:r>
            <a:r>
              <a:rPr sz="1200" spc="-5">
                <a:latin typeface="Verdana"/>
                <a:cs typeface="Verdana"/>
              </a:rPr>
              <a:t>management by  </a:t>
            </a:r>
            <a:r>
              <a:rPr sz="1200">
                <a:latin typeface="Verdana"/>
                <a:cs typeface="Verdana"/>
              </a:rPr>
              <a:t>review </a:t>
            </a:r>
            <a:r>
              <a:rPr sz="1200" spc="-5">
                <a:latin typeface="Verdana"/>
                <a:cs typeface="Verdana"/>
              </a:rPr>
              <a:t>and sign </a:t>
            </a:r>
            <a:r>
              <a:rPr sz="1200">
                <a:latin typeface="Verdana"/>
                <a:cs typeface="Verdana"/>
              </a:rPr>
              <a:t>off  from </a:t>
            </a:r>
            <a:r>
              <a:rPr sz="1200" spc="-5">
                <a:latin typeface="Verdana"/>
                <a:cs typeface="Verdana"/>
              </a:rPr>
              <a:t>Architects/design  authority </a:t>
            </a:r>
            <a:r>
              <a:rPr sz="1200">
                <a:latin typeface="Verdana"/>
                <a:cs typeface="Verdana"/>
              </a:rPr>
              <a:t>for </a:t>
            </a:r>
            <a:r>
              <a:rPr sz="1200" spc="-5">
                <a:latin typeface="Verdana"/>
                <a:cs typeface="Verdana"/>
              </a:rPr>
              <a:t>the </a:t>
            </a:r>
            <a:r>
              <a:rPr sz="1200">
                <a:latin typeface="Verdana"/>
                <a:cs typeface="Verdana"/>
              </a:rPr>
              <a:t>code  </a:t>
            </a:r>
            <a:r>
              <a:rPr sz="1200" spc="-5">
                <a:latin typeface="Verdana"/>
                <a:cs typeface="Verdana"/>
              </a:rPr>
              <a:t>and design  implemented per</a:t>
            </a:r>
            <a:r>
              <a:rPr sz="1200" spc="-55">
                <a:latin typeface="Verdana"/>
                <a:cs typeface="Verdana"/>
              </a:rPr>
              <a:t> </a:t>
            </a:r>
            <a:r>
              <a:rPr sz="1200" spc="-5">
                <a:latin typeface="Verdana"/>
                <a:cs typeface="Verdana"/>
              </a:rPr>
              <a:t>sprint.</a:t>
            </a:r>
            <a:endParaRPr sz="1200">
              <a:latin typeface="Verdana"/>
              <a:cs typeface="Verdana"/>
            </a:endParaRPr>
          </a:p>
        </p:txBody>
      </p:sp>
      <p:sp>
        <p:nvSpPr>
          <p:cNvPr id="11" name="object 11"/>
          <p:cNvSpPr/>
          <p:nvPr/>
        </p:nvSpPr>
        <p:spPr>
          <a:xfrm>
            <a:off x="5305044" y="3464052"/>
            <a:ext cx="3086100" cy="1158240"/>
          </a:xfrm>
          <a:custGeom>
            <a:avLst/>
            <a:gdLst/>
            <a:ahLst/>
            <a:cxnLst/>
            <a:rect l="l" t="t" r="r" b="b"/>
            <a:pathLst>
              <a:path w="3086100" h="1158239">
                <a:moveTo>
                  <a:pt x="2306701" y="0"/>
                </a:moveTo>
                <a:lnTo>
                  <a:pt x="779398" y="0"/>
                </a:lnTo>
                <a:lnTo>
                  <a:pt x="0" y="1158240"/>
                </a:lnTo>
                <a:lnTo>
                  <a:pt x="3086100" y="1158240"/>
                </a:lnTo>
                <a:lnTo>
                  <a:pt x="2306701" y="0"/>
                </a:lnTo>
                <a:close/>
              </a:path>
            </a:pathLst>
          </a:custGeom>
          <a:solidFill>
            <a:srgbClr val="12ABDB"/>
          </a:solidFill>
        </p:spPr>
        <p:txBody>
          <a:bodyPr wrap="square" lIns="0" tIns="0" rIns="0" bIns="0" rtlCol="0"/>
          <a:lstStyle/>
          <a:p>
            <a:endParaRPr/>
          </a:p>
        </p:txBody>
      </p:sp>
      <p:sp>
        <p:nvSpPr>
          <p:cNvPr id="12" name="object 12"/>
          <p:cNvSpPr/>
          <p:nvPr/>
        </p:nvSpPr>
        <p:spPr>
          <a:xfrm>
            <a:off x="4532376" y="5102352"/>
            <a:ext cx="4630420" cy="1100455"/>
          </a:xfrm>
          <a:custGeom>
            <a:avLst/>
            <a:gdLst/>
            <a:ahLst/>
            <a:cxnLst/>
            <a:rect l="l" t="t" r="r" b="b"/>
            <a:pathLst>
              <a:path w="4630420" h="1100454">
                <a:moveTo>
                  <a:pt x="3855720" y="0"/>
                </a:moveTo>
                <a:lnTo>
                  <a:pt x="774191" y="0"/>
                </a:lnTo>
                <a:lnTo>
                  <a:pt x="0" y="1100328"/>
                </a:lnTo>
                <a:lnTo>
                  <a:pt x="4629912" y="1100328"/>
                </a:lnTo>
                <a:lnTo>
                  <a:pt x="3855720" y="0"/>
                </a:lnTo>
                <a:close/>
              </a:path>
            </a:pathLst>
          </a:custGeom>
          <a:solidFill>
            <a:srgbClr val="005382"/>
          </a:solidFill>
        </p:spPr>
        <p:txBody>
          <a:bodyPr wrap="square" lIns="0" tIns="0" rIns="0" bIns="0" rtlCol="0"/>
          <a:lstStyle/>
          <a:p>
            <a:endParaRPr/>
          </a:p>
        </p:txBody>
      </p:sp>
      <p:sp>
        <p:nvSpPr>
          <p:cNvPr id="13" name="object 13"/>
          <p:cNvSpPr/>
          <p:nvPr/>
        </p:nvSpPr>
        <p:spPr>
          <a:xfrm>
            <a:off x="6091428" y="1752600"/>
            <a:ext cx="1527175" cy="1100455"/>
          </a:xfrm>
          <a:custGeom>
            <a:avLst/>
            <a:gdLst/>
            <a:ahLst/>
            <a:cxnLst/>
            <a:rect l="l" t="t" r="r" b="b"/>
            <a:pathLst>
              <a:path w="1527175" h="1100455">
                <a:moveTo>
                  <a:pt x="763524" y="0"/>
                </a:moveTo>
                <a:lnTo>
                  <a:pt x="0" y="1100327"/>
                </a:lnTo>
                <a:lnTo>
                  <a:pt x="1527048" y="1100327"/>
                </a:lnTo>
                <a:lnTo>
                  <a:pt x="763524" y="0"/>
                </a:lnTo>
                <a:close/>
              </a:path>
            </a:pathLst>
          </a:custGeom>
          <a:solidFill>
            <a:srgbClr val="BEBEBE"/>
          </a:solidFill>
        </p:spPr>
        <p:txBody>
          <a:bodyPr wrap="square" lIns="0" tIns="0" rIns="0" bIns="0" rtlCol="0"/>
          <a:lstStyle/>
          <a:p>
            <a:endParaRPr/>
          </a:p>
        </p:txBody>
      </p:sp>
      <p:sp>
        <p:nvSpPr>
          <p:cNvPr id="14" name="object 14"/>
          <p:cNvSpPr/>
          <p:nvPr/>
        </p:nvSpPr>
        <p:spPr>
          <a:xfrm>
            <a:off x="2747772" y="5134355"/>
            <a:ext cx="562610" cy="873760"/>
          </a:xfrm>
          <a:custGeom>
            <a:avLst/>
            <a:gdLst/>
            <a:ahLst/>
            <a:cxnLst/>
            <a:rect l="l" t="t" r="r" b="b"/>
            <a:pathLst>
              <a:path w="562610" h="873760">
                <a:moveTo>
                  <a:pt x="0" y="873252"/>
                </a:moveTo>
                <a:lnTo>
                  <a:pt x="562355" y="873252"/>
                </a:lnTo>
                <a:lnTo>
                  <a:pt x="562355" y="0"/>
                </a:lnTo>
                <a:lnTo>
                  <a:pt x="0" y="0"/>
                </a:lnTo>
                <a:lnTo>
                  <a:pt x="0" y="873252"/>
                </a:lnTo>
                <a:close/>
              </a:path>
            </a:pathLst>
          </a:custGeom>
          <a:solidFill>
            <a:srgbClr val="35B8FF"/>
          </a:solidFill>
        </p:spPr>
        <p:txBody>
          <a:bodyPr wrap="square" lIns="0" tIns="0" rIns="0" bIns="0" rtlCol="0"/>
          <a:lstStyle/>
          <a:p>
            <a:endParaRPr/>
          </a:p>
        </p:txBody>
      </p:sp>
      <p:sp>
        <p:nvSpPr>
          <p:cNvPr id="15" name="object 15"/>
          <p:cNvSpPr txBox="1"/>
          <p:nvPr/>
        </p:nvSpPr>
        <p:spPr>
          <a:xfrm>
            <a:off x="2808499" y="5188149"/>
            <a:ext cx="438784" cy="769620"/>
          </a:xfrm>
          <a:prstGeom prst="rect">
            <a:avLst/>
          </a:prstGeom>
        </p:spPr>
        <p:txBody>
          <a:bodyPr vert="vert270" wrap="square" lIns="0" tIns="13335" rIns="0" bIns="0" rtlCol="0">
            <a:spAutoFit/>
          </a:bodyPr>
          <a:lstStyle/>
          <a:p>
            <a:pPr marL="12065" marR="5080" algn="ctr">
              <a:lnSpc>
                <a:spcPct val="100000"/>
              </a:lnSpc>
              <a:spcBef>
                <a:spcPts val="105"/>
              </a:spcBef>
            </a:pPr>
            <a:r>
              <a:rPr sz="900" b="1" spc="-5">
                <a:solidFill>
                  <a:srgbClr val="FFFFFF"/>
                </a:solidFill>
                <a:latin typeface="Verdana"/>
                <a:cs typeface="Verdana"/>
              </a:rPr>
              <a:t>Review</a:t>
            </a:r>
            <a:r>
              <a:rPr sz="900" b="1" spc="-75">
                <a:solidFill>
                  <a:srgbClr val="FFFFFF"/>
                </a:solidFill>
                <a:latin typeface="Verdana"/>
                <a:cs typeface="Verdana"/>
              </a:rPr>
              <a:t> </a:t>
            </a:r>
            <a:r>
              <a:rPr sz="900" b="1" spc="-5">
                <a:solidFill>
                  <a:srgbClr val="FFFFFF"/>
                </a:solidFill>
                <a:latin typeface="Verdana"/>
                <a:cs typeface="Verdana"/>
              </a:rPr>
              <a:t>and  Status  Meeting</a:t>
            </a:r>
            <a:endParaRPr sz="900">
              <a:latin typeface="Verdana"/>
              <a:cs typeface="Verdana"/>
            </a:endParaRPr>
          </a:p>
        </p:txBody>
      </p:sp>
      <p:sp>
        <p:nvSpPr>
          <p:cNvPr id="16" name="object 16"/>
          <p:cNvSpPr/>
          <p:nvPr/>
        </p:nvSpPr>
        <p:spPr>
          <a:xfrm>
            <a:off x="2740151" y="3558540"/>
            <a:ext cx="573405" cy="866140"/>
          </a:xfrm>
          <a:custGeom>
            <a:avLst/>
            <a:gdLst/>
            <a:ahLst/>
            <a:cxnLst/>
            <a:rect l="l" t="t" r="r" b="b"/>
            <a:pathLst>
              <a:path w="573404" h="866139">
                <a:moveTo>
                  <a:pt x="0" y="865631"/>
                </a:moveTo>
                <a:lnTo>
                  <a:pt x="573024" y="865631"/>
                </a:lnTo>
                <a:lnTo>
                  <a:pt x="573024" y="0"/>
                </a:lnTo>
                <a:lnTo>
                  <a:pt x="0" y="0"/>
                </a:lnTo>
                <a:lnTo>
                  <a:pt x="0" y="865631"/>
                </a:lnTo>
                <a:close/>
              </a:path>
            </a:pathLst>
          </a:custGeom>
          <a:solidFill>
            <a:srgbClr val="35B8FF"/>
          </a:solidFill>
        </p:spPr>
        <p:txBody>
          <a:bodyPr wrap="square" lIns="0" tIns="0" rIns="0" bIns="0" rtlCol="0"/>
          <a:lstStyle/>
          <a:p>
            <a:endParaRPr/>
          </a:p>
        </p:txBody>
      </p:sp>
      <p:sp>
        <p:nvSpPr>
          <p:cNvPr id="17" name="object 17"/>
          <p:cNvSpPr txBox="1"/>
          <p:nvPr/>
        </p:nvSpPr>
        <p:spPr>
          <a:xfrm>
            <a:off x="2737505" y="3605336"/>
            <a:ext cx="576580" cy="776605"/>
          </a:xfrm>
          <a:prstGeom prst="rect">
            <a:avLst/>
          </a:prstGeom>
        </p:spPr>
        <p:txBody>
          <a:bodyPr vert="vert270" wrap="square" lIns="0" tIns="13335" rIns="0" bIns="0" rtlCol="0">
            <a:spAutoFit/>
          </a:bodyPr>
          <a:lstStyle/>
          <a:p>
            <a:pPr marL="12065" marR="5715" algn="ctr">
              <a:lnSpc>
                <a:spcPct val="100000"/>
              </a:lnSpc>
              <a:spcBef>
                <a:spcPts val="105"/>
              </a:spcBef>
            </a:pPr>
            <a:r>
              <a:rPr sz="900" b="1">
                <a:solidFill>
                  <a:srgbClr val="FFFFFF"/>
                </a:solidFill>
                <a:latin typeface="Verdana"/>
                <a:cs typeface="Verdana"/>
              </a:rPr>
              <a:t>O</a:t>
            </a:r>
            <a:r>
              <a:rPr sz="900" b="1" spc="-10">
                <a:solidFill>
                  <a:srgbClr val="FFFFFF"/>
                </a:solidFill>
                <a:latin typeface="Verdana"/>
                <a:cs typeface="Verdana"/>
              </a:rPr>
              <a:t>p</a:t>
            </a:r>
            <a:r>
              <a:rPr sz="900" b="1" spc="-5">
                <a:solidFill>
                  <a:srgbClr val="FFFFFF"/>
                </a:solidFill>
                <a:latin typeface="Verdana"/>
                <a:cs typeface="Verdana"/>
              </a:rPr>
              <a:t>erat</a:t>
            </a:r>
            <a:r>
              <a:rPr sz="900" b="1">
                <a:solidFill>
                  <a:srgbClr val="FFFFFF"/>
                </a:solidFill>
                <a:latin typeface="Verdana"/>
                <a:cs typeface="Verdana"/>
              </a:rPr>
              <a:t>i</a:t>
            </a:r>
            <a:r>
              <a:rPr sz="900" b="1" spc="-10">
                <a:solidFill>
                  <a:srgbClr val="FFFFFF"/>
                </a:solidFill>
                <a:latin typeface="Verdana"/>
                <a:cs typeface="Verdana"/>
              </a:rPr>
              <a:t>o</a:t>
            </a:r>
            <a:r>
              <a:rPr sz="900" b="1" spc="-5">
                <a:solidFill>
                  <a:srgbClr val="FFFFFF"/>
                </a:solidFill>
                <a:latin typeface="Verdana"/>
                <a:cs typeface="Verdana"/>
              </a:rPr>
              <a:t>n</a:t>
            </a:r>
            <a:r>
              <a:rPr sz="900" b="1">
                <a:solidFill>
                  <a:srgbClr val="FFFFFF"/>
                </a:solidFill>
                <a:latin typeface="Verdana"/>
                <a:cs typeface="Verdana"/>
              </a:rPr>
              <a:t>al  </a:t>
            </a:r>
            <a:r>
              <a:rPr sz="900" b="1" spc="-5">
                <a:solidFill>
                  <a:srgbClr val="FFFFFF"/>
                </a:solidFill>
                <a:latin typeface="Verdana"/>
                <a:cs typeface="Verdana"/>
              </a:rPr>
              <a:t>committee  (Global </a:t>
            </a:r>
            <a:r>
              <a:rPr sz="900" b="1">
                <a:solidFill>
                  <a:srgbClr val="FFFFFF"/>
                </a:solidFill>
                <a:latin typeface="Verdana"/>
                <a:cs typeface="Verdana"/>
              </a:rPr>
              <a:t>&amp;  </a:t>
            </a:r>
            <a:r>
              <a:rPr sz="900" b="1" spc="-5">
                <a:solidFill>
                  <a:srgbClr val="FFFFFF"/>
                </a:solidFill>
                <a:latin typeface="Verdana"/>
                <a:cs typeface="Verdana"/>
              </a:rPr>
              <a:t>Country)</a:t>
            </a:r>
            <a:endParaRPr sz="900">
              <a:latin typeface="Verdana"/>
              <a:cs typeface="Verdana"/>
            </a:endParaRPr>
          </a:p>
        </p:txBody>
      </p:sp>
      <p:sp>
        <p:nvSpPr>
          <p:cNvPr id="18" name="object 18"/>
          <p:cNvSpPr/>
          <p:nvPr/>
        </p:nvSpPr>
        <p:spPr>
          <a:xfrm>
            <a:off x="2747772" y="1702307"/>
            <a:ext cx="541020" cy="1007744"/>
          </a:xfrm>
          <a:custGeom>
            <a:avLst/>
            <a:gdLst/>
            <a:ahLst/>
            <a:cxnLst/>
            <a:rect l="l" t="t" r="r" b="b"/>
            <a:pathLst>
              <a:path w="541020" h="1007744">
                <a:moveTo>
                  <a:pt x="0" y="1007363"/>
                </a:moveTo>
                <a:lnTo>
                  <a:pt x="541020" y="1007363"/>
                </a:lnTo>
                <a:lnTo>
                  <a:pt x="541020" y="0"/>
                </a:lnTo>
                <a:lnTo>
                  <a:pt x="0" y="0"/>
                </a:lnTo>
                <a:lnTo>
                  <a:pt x="0" y="1007363"/>
                </a:lnTo>
                <a:close/>
              </a:path>
            </a:pathLst>
          </a:custGeom>
          <a:solidFill>
            <a:srgbClr val="35B8FF"/>
          </a:solidFill>
        </p:spPr>
        <p:txBody>
          <a:bodyPr wrap="square" lIns="0" tIns="0" rIns="0" bIns="0" rtlCol="0"/>
          <a:lstStyle/>
          <a:p>
            <a:endParaRPr/>
          </a:p>
        </p:txBody>
      </p:sp>
      <p:sp>
        <p:nvSpPr>
          <p:cNvPr id="19" name="object 19"/>
          <p:cNvSpPr txBox="1"/>
          <p:nvPr/>
        </p:nvSpPr>
        <p:spPr>
          <a:xfrm>
            <a:off x="2798212" y="1795109"/>
            <a:ext cx="438784" cy="824865"/>
          </a:xfrm>
          <a:prstGeom prst="rect">
            <a:avLst/>
          </a:prstGeom>
        </p:spPr>
        <p:txBody>
          <a:bodyPr vert="vert270" wrap="square" lIns="0" tIns="13335" rIns="0" bIns="0" rtlCol="0">
            <a:spAutoFit/>
          </a:bodyPr>
          <a:lstStyle/>
          <a:p>
            <a:pPr marL="12700" marR="5080" indent="-635" algn="ctr">
              <a:lnSpc>
                <a:spcPct val="100000"/>
              </a:lnSpc>
              <a:spcBef>
                <a:spcPts val="105"/>
              </a:spcBef>
            </a:pPr>
            <a:r>
              <a:rPr sz="900" b="1" spc="-5">
                <a:solidFill>
                  <a:srgbClr val="FFFFFF"/>
                </a:solidFill>
                <a:latin typeface="Verdana"/>
                <a:cs typeface="Verdana"/>
              </a:rPr>
              <a:t>Strategic  En</a:t>
            </a:r>
            <a:r>
              <a:rPr sz="900" b="1" spc="-10">
                <a:solidFill>
                  <a:srgbClr val="FFFFFF"/>
                </a:solidFill>
                <a:latin typeface="Verdana"/>
                <a:cs typeface="Verdana"/>
              </a:rPr>
              <a:t>g</a:t>
            </a:r>
            <a:r>
              <a:rPr sz="900" b="1">
                <a:solidFill>
                  <a:srgbClr val="FFFFFF"/>
                </a:solidFill>
                <a:latin typeface="Verdana"/>
                <a:cs typeface="Verdana"/>
              </a:rPr>
              <a:t>a</a:t>
            </a:r>
            <a:r>
              <a:rPr sz="900" b="1" spc="-10">
                <a:solidFill>
                  <a:srgbClr val="FFFFFF"/>
                </a:solidFill>
                <a:latin typeface="Verdana"/>
                <a:cs typeface="Verdana"/>
              </a:rPr>
              <a:t>g</a:t>
            </a:r>
            <a:r>
              <a:rPr sz="900" b="1" spc="-5">
                <a:solidFill>
                  <a:srgbClr val="FFFFFF"/>
                </a:solidFill>
                <a:latin typeface="Verdana"/>
                <a:cs typeface="Verdana"/>
              </a:rPr>
              <a:t>emen</a:t>
            </a:r>
            <a:r>
              <a:rPr sz="900" b="1">
                <a:solidFill>
                  <a:srgbClr val="FFFFFF"/>
                </a:solidFill>
                <a:latin typeface="Verdana"/>
                <a:cs typeface="Verdana"/>
              </a:rPr>
              <a:t>t  </a:t>
            </a:r>
            <a:r>
              <a:rPr sz="900" b="1" spc="-5">
                <a:solidFill>
                  <a:srgbClr val="FFFFFF"/>
                </a:solidFill>
                <a:latin typeface="Verdana"/>
                <a:cs typeface="Verdana"/>
              </a:rPr>
              <a:t>Meeting</a:t>
            </a:r>
            <a:endParaRPr sz="900">
              <a:latin typeface="Verdana"/>
              <a:cs typeface="Verdana"/>
            </a:endParaRPr>
          </a:p>
        </p:txBody>
      </p:sp>
      <p:sp>
        <p:nvSpPr>
          <p:cNvPr id="20" name="object 20"/>
          <p:cNvSpPr txBox="1"/>
          <p:nvPr/>
        </p:nvSpPr>
        <p:spPr>
          <a:xfrm>
            <a:off x="2491187" y="2589590"/>
            <a:ext cx="179705" cy="2848610"/>
          </a:xfrm>
          <a:prstGeom prst="rect">
            <a:avLst/>
          </a:prstGeom>
        </p:spPr>
        <p:txBody>
          <a:bodyPr vert="vert270" wrap="square" lIns="0" tIns="12700" rIns="0" bIns="0" rtlCol="0">
            <a:spAutoFit/>
          </a:bodyPr>
          <a:lstStyle/>
          <a:p>
            <a:pPr marL="12700">
              <a:lnSpc>
                <a:spcPct val="100000"/>
              </a:lnSpc>
              <a:spcBef>
                <a:spcPts val="100"/>
              </a:spcBef>
            </a:pPr>
            <a:r>
              <a:rPr sz="1000" b="1" spc="-10">
                <a:latin typeface="Verdana"/>
                <a:cs typeface="Verdana"/>
              </a:rPr>
              <a:t>Ongoing Communication and</a:t>
            </a:r>
            <a:r>
              <a:rPr sz="1000" b="1" spc="95">
                <a:latin typeface="Verdana"/>
                <a:cs typeface="Verdana"/>
              </a:rPr>
              <a:t> </a:t>
            </a:r>
            <a:r>
              <a:rPr sz="1000" b="1" spc="-10">
                <a:latin typeface="Verdana"/>
                <a:cs typeface="Verdana"/>
              </a:rPr>
              <a:t>Escalation</a:t>
            </a:r>
            <a:endParaRPr sz="1000">
              <a:latin typeface="Verdana"/>
              <a:cs typeface="Verdana"/>
            </a:endParaRPr>
          </a:p>
        </p:txBody>
      </p:sp>
      <p:sp>
        <p:nvSpPr>
          <p:cNvPr id="21" name="object 21"/>
          <p:cNvSpPr/>
          <p:nvPr/>
        </p:nvSpPr>
        <p:spPr>
          <a:xfrm>
            <a:off x="3523488" y="3680459"/>
            <a:ext cx="1582420" cy="607060"/>
          </a:xfrm>
          <a:custGeom>
            <a:avLst/>
            <a:gdLst/>
            <a:ahLst/>
            <a:cxnLst/>
            <a:rect l="l" t="t" r="r" b="b"/>
            <a:pathLst>
              <a:path w="1582420" h="607060">
                <a:moveTo>
                  <a:pt x="0" y="606551"/>
                </a:moveTo>
                <a:lnTo>
                  <a:pt x="1581912" y="606551"/>
                </a:lnTo>
                <a:lnTo>
                  <a:pt x="1581912" y="0"/>
                </a:lnTo>
                <a:lnTo>
                  <a:pt x="0" y="0"/>
                </a:lnTo>
                <a:lnTo>
                  <a:pt x="0" y="606551"/>
                </a:lnTo>
                <a:close/>
              </a:path>
            </a:pathLst>
          </a:custGeom>
          <a:solidFill>
            <a:srgbClr val="F1F1F1"/>
          </a:solidFill>
        </p:spPr>
        <p:txBody>
          <a:bodyPr wrap="square" lIns="0" tIns="0" rIns="0" bIns="0" rtlCol="0"/>
          <a:lstStyle/>
          <a:p>
            <a:endParaRPr/>
          </a:p>
        </p:txBody>
      </p:sp>
      <p:sp>
        <p:nvSpPr>
          <p:cNvPr id="22" name="object 22"/>
          <p:cNvSpPr txBox="1"/>
          <p:nvPr/>
        </p:nvSpPr>
        <p:spPr>
          <a:xfrm>
            <a:off x="3553459" y="3693058"/>
            <a:ext cx="1290320" cy="557530"/>
          </a:xfrm>
          <a:prstGeom prst="rect">
            <a:avLst/>
          </a:prstGeom>
        </p:spPr>
        <p:txBody>
          <a:bodyPr vert="horz" wrap="square" lIns="0" tIns="36830" rIns="0" bIns="0" rtlCol="0">
            <a:spAutoFit/>
          </a:bodyPr>
          <a:lstStyle/>
          <a:p>
            <a:pPr marL="195580" indent="-182880">
              <a:lnSpc>
                <a:spcPct val="100000"/>
              </a:lnSpc>
              <a:spcBef>
                <a:spcPts val="290"/>
              </a:spcBef>
              <a:buClr>
                <a:srgbClr val="006FAC"/>
              </a:buClr>
              <a:buFont typeface="Wingdings"/>
              <a:buChar char=""/>
              <a:tabLst>
                <a:tab pos="195580" algn="l"/>
              </a:tabLst>
            </a:pPr>
            <a:r>
              <a:rPr sz="1000" spc="-10">
                <a:latin typeface="Verdana"/>
                <a:cs typeface="Verdana"/>
              </a:rPr>
              <a:t>Project</a:t>
            </a:r>
            <a:r>
              <a:rPr sz="1000" spc="10">
                <a:latin typeface="Verdana"/>
                <a:cs typeface="Verdana"/>
              </a:rPr>
              <a:t> </a:t>
            </a:r>
            <a:r>
              <a:rPr sz="1000" spc="-5">
                <a:latin typeface="Verdana"/>
                <a:cs typeface="Verdana"/>
              </a:rPr>
              <a:t>Manager</a:t>
            </a:r>
            <a:endParaRPr sz="1000">
              <a:latin typeface="Verdana"/>
              <a:cs typeface="Verdana"/>
            </a:endParaRPr>
          </a:p>
          <a:p>
            <a:pPr marL="195580" indent="-182880">
              <a:lnSpc>
                <a:spcPct val="100000"/>
              </a:lnSpc>
              <a:spcBef>
                <a:spcPts val="195"/>
              </a:spcBef>
              <a:buClr>
                <a:srgbClr val="006FAC"/>
              </a:buClr>
              <a:buFont typeface="Wingdings"/>
              <a:buChar char=""/>
              <a:tabLst>
                <a:tab pos="195580" algn="l"/>
              </a:tabLst>
            </a:pPr>
            <a:r>
              <a:rPr sz="1000" spc="-5">
                <a:latin typeface="Verdana"/>
                <a:cs typeface="Verdana"/>
              </a:rPr>
              <a:t>Business</a:t>
            </a:r>
            <a:r>
              <a:rPr sz="1000" spc="-10">
                <a:latin typeface="Verdana"/>
                <a:cs typeface="Verdana"/>
              </a:rPr>
              <a:t> Owners</a:t>
            </a:r>
            <a:endParaRPr sz="1000">
              <a:latin typeface="Verdana"/>
              <a:cs typeface="Verdana"/>
            </a:endParaRPr>
          </a:p>
          <a:p>
            <a:pPr marL="195580" indent="-182880">
              <a:lnSpc>
                <a:spcPct val="100000"/>
              </a:lnSpc>
              <a:spcBef>
                <a:spcPts val="200"/>
              </a:spcBef>
              <a:buClr>
                <a:srgbClr val="006FAC"/>
              </a:buClr>
              <a:buFont typeface="Wingdings"/>
              <a:buChar char=""/>
              <a:tabLst>
                <a:tab pos="195580" algn="l"/>
              </a:tabLst>
            </a:pPr>
            <a:r>
              <a:rPr sz="1000" spc="-5">
                <a:latin typeface="Verdana"/>
                <a:cs typeface="Verdana"/>
              </a:rPr>
              <a:t>Architect</a:t>
            </a:r>
            <a:endParaRPr sz="1000">
              <a:latin typeface="Verdana"/>
              <a:cs typeface="Verdana"/>
            </a:endParaRPr>
          </a:p>
        </p:txBody>
      </p:sp>
      <p:sp>
        <p:nvSpPr>
          <p:cNvPr id="23" name="object 23"/>
          <p:cNvSpPr/>
          <p:nvPr/>
        </p:nvSpPr>
        <p:spPr>
          <a:xfrm>
            <a:off x="5819394" y="5512434"/>
            <a:ext cx="2204085" cy="90170"/>
          </a:xfrm>
          <a:custGeom>
            <a:avLst/>
            <a:gdLst/>
            <a:ahLst/>
            <a:cxnLst/>
            <a:rect l="l" t="t" r="r" b="b"/>
            <a:pathLst>
              <a:path w="2204084" h="90170">
                <a:moveTo>
                  <a:pt x="86867" y="2793"/>
                </a:moveTo>
                <a:lnTo>
                  <a:pt x="0" y="46354"/>
                </a:lnTo>
                <a:lnTo>
                  <a:pt x="86867" y="89674"/>
                </a:lnTo>
                <a:lnTo>
                  <a:pt x="86867" y="60705"/>
                </a:lnTo>
                <a:lnTo>
                  <a:pt x="72389" y="60705"/>
                </a:lnTo>
                <a:lnTo>
                  <a:pt x="72389" y="31749"/>
                </a:lnTo>
                <a:lnTo>
                  <a:pt x="86867" y="31730"/>
                </a:lnTo>
                <a:lnTo>
                  <a:pt x="86867" y="2793"/>
                </a:lnTo>
                <a:close/>
              </a:path>
              <a:path w="2204084" h="90170">
                <a:moveTo>
                  <a:pt x="2174917" y="28955"/>
                </a:moveTo>
                <a:lnTo>
                  <a:pt x="2131313" y="28955"/>
                </a:lnTo>
                <a:lnTo>
                  <a:pt x="2131313" y="57911"/>
                </a:lnTo>
                <a:lnTo>
                  <a:pt x="2116835" y="57931"/>
                </a:lnTo>
                <a:lnTo>
                  <a:pt x="2116835" y="86855"/>
                </a:lnTo>
                <a:lnTo>
                  <a:pt x="2203704" y="43306"/>
                </a:lnTo>
                <a:lnTo>
                  <a:pt x="2174917" y="28955"/>
                </a:lnTo>
                <a:close/>
              </a:path>
              <a:path w="2204084" h="90170">
                <a:moveTo>
                  <a:pt x="86867" y="31730"/>
                </a:moveTo>
                <a:lnTo>
                  <a:pt x="72389" y="31749"/>
                </a:lnTo>
                <a:lnTo>
                  <a:pt x="72389" y="60705"/>
                </a:lnTo>
                <a:lnTo>
                  <a:pt x="86867" y="60686"/>
                </a:lnTo>
                <a:lnTo>
                  <a:pt x="86867" y="31730"/>
                </a:lnTo>
                <a:close/>
              </a:path>
              <a:path w="2204084" h="90170">
                <a:moveTo>
                  <a:pt x="86867" y="60686"/>
                </a:moveTo>
                <a:lnTo>
                  <a:pt x="72389" y="60705"/>
                </a:lnTo>
                <a:lnTo>
                  <a:pt x="86867" y="60705"/>
                </a:lnTo>
                <a:close/>
              </a:path>
              <a:path w="2204084" h="90170">
                <a:moveTo>
                  <a:pt x="2116835" y="28975"/>
                </a:moveTo>
                <a:lnTo>
                  <a:pt x="86867" y="31730"/>
                </a:lnTo>
                <a:lnTo>
                  <a:pt x="86867" y="60686"/>
                </a:lnTo>
                <a:lnTo>
                  <a:pt x="2116835" y="57931"/>
                </a:lnTo>
                <a:lnTo>
                  <a:pt x="2116835" y="28975"/>
                </a:lnTo>
                <a:close/>
              </a:path>
              <a:path w="2204084" h="90170">
                <a:moveTo>
                  <a:pt x="2131313" y="28955"/>
                </a:moveTo>
                <a:lnTo>
                  <a:pt x="2116835" y="28975"/>
                </a:lnTo>
                <a:lnTo>
                  <a:pt x="2116835" y="57931"/>
                </a:lnTo>
                <a:lnTo>
                  <a:pt x="2131313" y="57911"/>
                </a:lnTo>
                <a:lnTo>
                  <a:pt x="2131313" y="28955"/>
                </a:lnTo>
                <a:close/>
              </a:path>
              <a:path w="2204084" h="90170">
                <a:moveTo>
                  <a:pt x="2116835" y="0"/>
                </a:moveTo>
                <a:lnTo>
                  <a:pt x="2116835" y="28975"/>
                </a:lnTo>
                <a:lnTo>
                  <a:pt x="2174917" y="28955"/>
                </a:lnTo>
                <a:lnTo>
                  <a:pt x="2116835" y="0"/>
                </a:lnTo>
                <a:close/>
              </a:path>
            </a:pathLst>
          </a:custGeom>
          <a:solidFill>
            <a:srgbClr val="FFFFFF"/>
          </a:solidFill>
        </p:spPr>
        <p:txBody>
          <a:bodyPr wrap="square" lIns="0" tIns="0" rIns="0" bIns="0" rtlCol="0"/>
          <a:lstStyle/>
          <a:p>
            <a:endParaRPr/>
          </a:p>
        </p:txBody>
      </p:sp>
      <p:sp>
        <p:nvSpPr>
          <p:cNvPr id="24" name="object 24"/>
          <p:cNvSpPr txBox="1"/>
          <p:nvPr/>
        </p:nvSpPr>
        <p:spPr>
          <a:xfrm>
            <a:off x="6557518" y="5831230"/>
            <a:ext cx="57912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Resolve</a:t>
            </a:r>
            <a:endParaRPr sz="1000">
              <a:latin typeface="Verdana"/>
              <a:cs typeface="Verdana"/>
            </a:endParaRPr>
          </a:p>
        </p:txBody>
      </p:sp>
      <p:sp>
        <p:nvSpPr>
          <p:cNvPr id="25" name="object 25"/>
          <p:cNvSpPr txBox="1"/>
          <p:nvPr/>
        </p:nvSpPr>
        <p:spPr>
          <a:xfrm>
            <a:off x="6540754" y="5134736"/>
            <a:ext cx="61404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Escalate</a:t>
            </a:r>
            <a:endParaRPr sz="1000">
              <a:latin typeface="Verdana"/>
              <a:cs typeface="Verdana"/>
            </a:endParaRPr>
          </a:p>
        </p:txBody>
      </p:sp>
      <p:sp>
        <p:nvSpPr>
          <p:cNvPr id="26" name="object 26"/>
          <p:cNvSpPr/>
          <p:nvPr/>
        </p:nvSpPr>
        <p:spPr>
          <a:xfrm>
            <a:off x="6215634" y="3962400"/>
            <a:ext cx="1417320" cy="86995"/>
          </a:xfrm>
          <a:custGeom>
            <a:avLst/>
            <a:gdLst/>
            <a:ahLst/>
            <a:cxnLst/>
            <a:rect l="l" t="t" r="r" b="b"/>
            <a:pathLst>
              <a:path w="1417320" h="86995">
                <a:moveTo>
                  <a:pt x="86867" y="0"/>
                </a:moveTo>
                <a:lnTo>
                  <a:pt x="0" y="43433"/>
                </a:lnTo>
                <a:lnTo>
                  <a:pt x="86867" y="86868"/>
                </a:lnTo>
                <a:lnTo>
                  <a:pt x="86867" y="57912"/>
                </a:lnTo>
                <a:lnTo>
                  <a:pt x="72389" y="57912"/>
                </a:lnTo>
                <a:lnTo>
                  <a:pt x="72389" y="28956"/>
                </a:lnTo>
                <a:lnTo>
                  <a:pt x="86867" y="28956"/>
                </a:lnTo>
                <a:lnTo>
                  <a:pt x="86867" y="0"/>
                </a:lnTo>
                <a:close/>
              </a:path>
              <a:path w="1417320" h="86995">
                <a:moveTo>
                  <a:pt x="1330451" y="0"/>
                </a:moveTo>
                <a:lnTo>
                  <a:pt x="1330451" y="86868"/>
                </a:lnTo>
                <a:lnTo>
                  <a:pt x="1388364" y="57912"/>
                </a:lnTo>
                <a:lnTo>
                  <a:pt x="1344930" y="57912"/>
                </a:lnTo>
                <a:lnTo>
                  <a:pt x="1344930" y="28956"/>
                </a:lnTo>
                <a:lnTo>
                  <a:pt x="1388364" y="28956"/>
                </a:lnTo>
                <a:lnTo>
                  <a:pt x="1330451" y="0"/>
                </a:lnTo>
                <a:close/>
              </a:path>
              <a:path w="1417320" h="86995">
                <a:moveTo>
                  <a:pt x="86867" y="28956"/>
                </a:moveTo>
                <a:lnTo>
                  <a:pt x="72389" y="28956"/>
                </a:lnTo>
                <a:lnTo>
                  <a:pt x="72389" y="57912"/>
                </a:lnTo>
                <a:lnTo>
                  <a:pt x="86867" y="57912"/>
                </a:lnTo>
                <a:lnTo>
                  <a:pt x="86867" y="28956"/>
                </a:lnTo>
                <a:close/>
              </a:path>
              <a:path w="1417320" h="86995">
                <a:moveTo>
                  <a:pt x="1330451" y="28956"/>
                </a:moveTo>
                <a:lnTo>
                  <a:pt x="86867" y="28956"/>
                </a:lnTo>
                <a:lnTo>
                  <a:pt x="86867" y="57912"/>
                </a:lnTo>
                <a:lnTo>
                  <a:pt x="1330451" y="57912"/>
                </a:lnTo>
                <a:lnTo>
                  <a:pt x="1330451" y="28956"/>
                </a:lnTo>
                <a:close/>
              </a:path>
              <a:path w="1417320" h="86995">
                <a:moveTo>
                  <a:pt x="1388364" y="28956"/>
                </a:moveTo>
                <a:lnTo>
                  <a:pt x="1344930" y="28956"/>
                </a:lnTo>
                <a:lnTo>
                  <a:pt x="1344930" y="57912"/>
                </a:lnTo>
                <a:lnTo>
                  <a:pt x="1388364" y="57912"/>
                </a:lnTo>
                <a:lnTo>
                  <a:pt x="1417319" y="43433"/>
                </a:lnTo>
                <a:lnTo>
                  <a:pt x="1388364" y="28956"/>
                </a:lnTo>
                <a:close/>
              </a:path>
            </a:pathLst>
          </a:custGeom>
          <a:solidFill>
            <a:srgbClr val="FFFFFF"/>
          </a:solidFill>
        </p:spPr>
        <p:txBody>
          <a:bodyPr wrap="square" lIns="0" tIns="0" rIns="0" bIns="0" rtlCol="0"/>
          <a:lstStyle/>
          <a:p>
            <a:endParaRPr/>
          </a:p>
        </p:txBody>
      </p:sp>
      <p:sp>
        <p:nvSpPr>
          <p:cNvPr id="27" name="object 27"/>
          <p:cNvSpPr/>
          <p:nvPr/>
        </p:nvSpPr>
        <p:spPr>
          <a:xfrm>
            <a:off x="6800977" y="3809238"/>
            <a:ext cx="86995" cy="409956"/>
          </a:xfrm>
          <a:prstGeom prst="rect">
            <a:avLst/>
          </a:prstGeom>
          <a:blipFill>
            <a:blip r:embed="rId2" cstate="print"/>
            <a:stretch>
              <a:fillRect/>
            </a:stretch>
          </a:blipFill>
        </p:spPr>
        <p:txBody>
          <a:bodyPr wrap="square" lIns="0" tIns="0" rIns="0" bIns="0" rtlCol="0"/>
          <a:lstStyle/>
          <a:p>
            <a:endParaRPr/>
          </a:p>
        </p:txBody>
      </p:sp>
      <p:sp>
        <p:nvSpPr>
          <p:cNvPr id="28" name="object 28"/>
          <p:cNvSpPr/>
          <p:nvPr/>
        </p:nvSpPr>
        <p:spPr>
          <a:xfrm>
            <a:off x="6511290" y="2322829"/>
            <a:ext cx="685800" cy="88265"/>
          </a:xfrm>
          <a:custGeom>
            <a:avLst/>
            <a:gdLst/>
            <a:ahLst/>
            <a:cxnLst/>
            <a:rect l="l" t="t" r="r" b="b"/>
            <a:pathLst>
              <a:path w="685800" h="88264">
                <a:moveTo>
                  <a:pt x="598889" y="59020"/>
                </a:moveTo>
                <a:lnTo>
                  <a:pt x="598804" y="87884"/>
                </a:lnTo>
                <a:lnTo>
                  <a:pt x="656886" y="59055"/>
                </a:lnTo>
                <a:lnTo>
                  <a:pt x="613409" y="59055"/>
                </a:lnTo>
                <a:lnTo>
                  <a:pt x="598889" y="59020"/>
                </a:lnTo>
                <a:close/>
              </a:path>
              <a:path w="685800" h="88264">
                <a:moveTo>
                  <a:pt x="86994" y="0"/>
                </a:moveTo>
                <a:lnTo>
                  <a:pt x="0" y="43180"/>
                </a:lnTo>
                <a:lnTo>
                  <a:pt x="86740" y="86868"/>
                </a:lnTo>
                <a:lnTo>
                  <a:pt x="86825" y="57818"/>
                </a:lnTo>
                <a:lnTo>
                  <a:pt x="72389" y="57785"/>
                </a:lnTo>
                <a:lnTo>
                  <a:pt x="72389" y="28829"/>
                </a:lnTo>
                <a:lnTo>
                  <a:pt x="86910" y="28829"/>
                </a:lnTo>
                <a:lnTo>
                  <a:pt x="86994" y="0"/>
                </a:lnTo>
                <a:close/>
              </a:path>
              <a:path w="685800" h="88264">
                <a:moveTo>
                  <a:pt x="598974" y="30065"/>
                </a:moveTo>
                <a:lnTo>
                  <a:pt x="598889" y="59020"/>
                </a:lnTo>
                <a:lnTo>
                  <a:pt x="613409" y="59055"/>
                </a:lnTo>
                <a:lnTo>
                  <a:pt x="613409" y="30099"/>
                </a:lnTo>
                <a:lnTo>
                  <a:pt x="598974" y="30065"/>
                </a:lnTo>
                <a:close/>
              </a:path>
              <a:path w="685800" h="88264">
                <a:moveTo>
                  <a:pt x="599058" y="1016"/>
                </a:moveTo>
                <a:lnTo>
                  <a:pt x="598974" y="30065"/>
                </a:lnTo>
                <a:lnTo>
                  <a:pt x="613409" y="30099"/>
                </a:lnTo>
                <a:lnTo>
                  <a:pt x="613409" y="59055"/>
                </a:lnTo>
                <a:lnTo>
                  <a:pt x="656886" y="59055"/>
                </a:lnTo>
                <a:lnTo>
                  <a:pt x="685800" y="44704"/>
                </a:lnTo>
                <a:lnTo>
                  <a:pt x="599058" y="1016"/>
                </a:lnTo>
                <a:close/>
              </a:path>
              <a:path w="685800" h="88264">
                <a:moveTo>
                  <a:pt x="86910" y="28863"/>
                </a:moveTo>
                <a:lnTo>
                  <a:pt x="86825" y="57818"/>
                </a:lnTo>
                <a:lnTo>
                  <a:pt x="598889" y="59020"/>
                </a:lnTo>
                <a:lnTo>
                  <a:pt x="598974" y="30065"/>
                </a:lnTo>
                <a:lnTo>
                  <a:pt x="86910" y="28863"/>
                </a:lnTo>
                <a:close/>
              </a:path>
              <a:path w="685800" h="88264">
                <a:moveTo>
                  <a:pt x="72389" y="28829"/>
                </a:moveTo>
                <a:lnTo>
                  <a:pt x="72389" y="57785"/>
                </a:lnTo>
                <a:lnTo>
                  <a:pt x="86825" y="57818"/>
                </a:lnTo>
                <a:lnTo>
                  <a:pt x="86910" y="28863"/>
                </a:lnTo>
                <a:lnTo>
                  <a:pt x="72389" y="28829"/>
                </a:lnTo>
                <a:close/>
              </a:path>
              <a:path w="685800" h="88264">
                <a:moveTo>
                  <a:pt x="86910" y="28829"/>
                </a:moveTo>
                <a:lnTo>
                  <a:pt x="72389" y="28829"/>
                </a:lnTo>
                <a:lnTo>
                  <a:pt x="86910" y="28863"/>
                </a:lnTo>
                <a:close/>
              </a:path>
            </a:pathLst>
          </a:custGeom>
          <a:solidFill>
            <a:srgbClr val="FFFFFF"/>
          </a:solidFill>
        </p:spPr>
        <p:txBody>
          <a:bodyPr wrap="square" lIns="0" tIns="0" rIns="0" bIns="0" rtlCol="0"/>
          <a:lstStyle/>
          <a:p>
            <a:endParaRPr/>
          </a:p>
        </p:txBody>
      </p:sp>
      <p:sp>
        <p:nvSpPr>
          <p:cNvPr id="29" name="object 29"/>
          <p:cNvSpPr/>
          <p:nvPr/>
        </p:nvSpPr>
        <p:spPr>
          <a:xfrm>
            <a:off x="6807072" y="2367407"/>
            <a:ext cx="86868" cy="227202"/>
          </a:xfrm>
          <a:prstGeom prst="rect">
            <a:avLst/>
          </a:prstGeom>
          <a:blipFill>
            <a:blip r:embed="rId3" cstate="print"/>
            <a:stretch>
              <a:fillRect/>
            </a:stretch>
          </a:blipFill>
        </p:spPr>
        <p:txBody>
          <a:bodyPr wrap="square" lIns="0" tIns="0" rIns="0" bIns="0" rtlCol="0"/>
          <a:lstStyle/>
          <a:p>
            <a:endParaRPr/>
          </a:p>
        </p:txBody>
      </p:sp>
      <p:sp>
        <p:nvSpPr>
          <p:cNvPr id="30" name="object 30"/>
          <p:cNvSpPr txBox="1"/>
          <p:nvPr/>
        </p:nvSpPr>
        <p:spPr>
          <a:xfrm>
            <a:off x="6522719" y="2170176"/>
            <a:ext cx="669290" cy="123825"/>
          </a:xfrm>
          <a:prstGeom prst="rect">
            <a:avLst/>
          </a:prstGeom>
          <a:solidFill>
            <a:srgbClr val="FFFFFF"/>
          </a:solidFill>
        </p:spPr>
        <p:txBody>
          <a:bodyPr vert="horz" wrap="square" lIns="0" tIns="0" rIns="0" bIns="0" rtlCol="0">
            <a:spAutoFit/>
          </a:bodyPr>
          <a:lstStyle/>
          <a:p>
            <a:pPr marL="174625">
              <a:lnSpc>
                <a:spcPts val="960"/>
              </a:lnSpc>
            </a:pPr>
            <a:r>
              <a:rPr sz="800" b="1">
                <a:latin typeface="Verdana"/>
                <a:cs typeface="Verdana"/>
              </a:rPr>
              <a:t>Issue</a:t>
            </a:r>
            <a:endParaRPr sz="800">
              <a:latin typeface="Verdana"/>
              <a:cs typeface="Verdana"/>
            </a:endParaRPr>
          </a:p>
        </p:txBody>
      </p:sp>
      <p:sp>
        <p:nvSpPr>
          <p:cNvPr id="31" name="object 31"/>
          <p:cNvSpPr txBox="1"/>
          <p:nvPr/>
        </p:nvSpPr>
        <p:spPr>
          <a:xfrm>
            <a:off x="6560057" y="4205732"/>
            <a:ext cx="57912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Resolve</a:t>
            </a:r>
            <a:endParaRPr sz="1000">
              <a:latin typeface="Verdana"/>
              <a:cs typeface="Verdana"/>
            </a:endParaRPr>
          </a:p>
        </p:txBody>
      </p:sp>
      <p:sp>
        <p:nvSpPr>
          <p:cNvPr id="32" name="object 32"/>
          <p:cNvSpPr txBox="1"/>
          <p:nvPr/>
        </p:nvSpPr>
        <p:spPr>
          <a:xfrm>
            <a:off x="6565772" y="2545461"/>
            <a:ext cx="57912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Resolve</a:t>
            </a:r>
            <a:endParaRPr sz="1000">
              <a:latin typeface="Verdana"/>
              <a:cs typeface="Verdana"/>
            </a:endParaRPr>
          </a:p>
        </p:txBody>
      </p:sp>
      <p:sp>
        <p:nvSpPr>
          <p:cNvPr id="33" name="object 33"/>
          <p:cNvSpPr txBox="1"/>
          <p:nvPr/>
        </p:nvSpPr>
        <p:spPr>
          <a:xfrm>
            <a:off x="6542913" y="3644646"/>
            <a:ext cx="61404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Escalate</a:t>
            </a:r>
            <a:endParaRPr sz="1000">
              <a:latin typeface="Verdana"/>
              <a:cs typeface="Verdana"/>
            </a:endParaRPr>
          </a:p>
        </p:txBody>
      </p:sp>
      <p:sp>
        <p:nvSpPr>
          <p:cNvPr id="34" name="object 34"/>
          <p:cNvSpPr/>
          <p:nvPr/>
        </p:nvSpPr>
        <p:spPr>
          <a:xfrm>
            <a:off x="6798564" y="5296661"/>
            <a:ext cx="86995" cy="516890"/>
          </a:xfrm>
          <a:custGeom>
            <a:avLst/>
            <a:gdLst/>
            <a:ahLst/>
            <a:cxnLst/>
            <a:rect l="l" t="t" r="r" b="b"/>
            <a:pathLst>
              <a:path w="86995" h="516889">
                <a:moveTo>
                  <a:pt x="28955" y="429768"/>
                </a:moveTo>
                <a:lnTo>
                  <a:pt x="0" y="429768"/>
                </a:lnTo>
                <a:lnTo>
                  <a:pt x="43433" y="516635"/>
                </a:lnTo>
                <a:lnTo>
                  <a:pt x="79628" y="444246"/>
                </a:lnTo>
                <a:lnTo>
                  <a:pt x="28955" y="444246"/>
                </a:lnTo>
                <a:lnTo>
                  <a:pt x="28955" y="429768"/>
                </a:lnTo>
                <a:close/>
              </a:path>
              <a:path w="86995" h="516889">
                <a:moveTo>
                  <a:pt x="57911" y="72390"/>
                </a:moveTo>
                <a:lnTo>
                  <a:pt x="28955" y="72390"/>
                </a:lnTo>
                <a:lnTo>
                  <a:pt x="28955" y="444246"/>
                </a:lnTo>
                <a:lnTo>
                  <a:pt x="57911" y="444246"/>
                </a:lnTo>
                <a:lnTo>
                  <a:pt x="57911" y="72390"/>
                </a:lnTo>
                <a:close/>
              </a:path>
              <a:path w="86995" h="516889">
                <a:moveTo>
                  <a:pt x="86867" y="429768"/>
                </a:moveTo>
                <a:lnTo>
                  <a:pt x="57911" y="429768"/>
                </a:lnTo>
                <a:lnTo>
                  <a:pt x="57911" y="444246"/>
                </a:lnTo>
                <a:lnTo>
                  <a:pt x="79628" y="444246"/>
                </a:lnTo>
                <a:lnTo>
                  <a:pt x="86867" y="429768"/>
                </a:lnTo>
                <a:close/>
              </a:path>
              <a:path w="86995" h="516889">
                <a:moveTo>
                  <a:pt x="43433" y="0"/>
                </a:moveTo>
                <a:lnTo>
                  <a:pt x="0" y="86868"/>
                </a:lnTo>
                <a:lnTo>
                  <a:pt x="28955" y="86868"/>
                </a:lnTo>
                <a:lnTo>
                  <a:pt x="28955" y="72390"/>
                </a:lnTo>
                <a:lnTo>
                  <a:pt x="79628" y="72390"/>
                </a:lnTo>
                <a:lnTo>
                  <a:pt x="43433" y="0"/>
                </a:lnTo>
                <a:close/>
              </a:path>
              <a:path w="86995" h="516889">
                <a:moveTo>
                  <a:pt x="79628" y="72390"/>
                </a:moveTo>
                <a:lnTo>
                  <a:pt x="57911" y="72390"/>
                </a:lnTo>
                <a:lnTo>
                  <a:pt x="57911" y="86868"/>
                </a:lnTo>
                <a:lnTo>
                  <a:pt x="86867" y="86868"/>
                </a:lnTo>
                <a:lnTo>
                  <a:pt x="79628" y="72390"/>
                </a:lnTo>
                <a:close/>
              </a:path>
            </a:pathLst>
          </a:custGeom>
          <a:solidFill>
            <a:srgbClr val="FFFFFF"/>
          </a:solidFill>
        </p:spPr>
        <p:txBody>
          <a:bodyPr wrap="square" lIns="0" tIns="0" rIns="0" bIns="0" rtlCol="0"/>
          <a:lstStyle/>
          <a:p>
            <a:endParaRPr/>
          </a:p>
        </p:txBody>
      </p:sp>
      <p:sp>
        <p:nvSpPr>
          <p:cNvPr id="35" name="object 35"/>
          <p:cNvSpPr txBox="1"/>
          <p:nvPr/>
        </p:nvSpPr>
        <p:spPr>
          <a:xfrm>
            <a:off x="6568440" y="3925823"/>
            <a:ext cx="561340" cy="157480"/>
          </a:xfrm>
          <a:prstGeom prst="rect">
            <a:avLst/>
          </a:prstGeom>
          <a:solidFill>
            <a:srgbClr val="FFFFFF"/>
          </a:solidFill>
        </p:spPr>
        <p:txBody>
          <a:bodyPr vert="horz" wrap="square" lIns="0" tIns="17145" rIns="0" bIns="0" rtlCol="0">
            <a:spAutoFit/>
          </a:bodyPr>
          <a:lstStyle/>
          <a:p>
            <a:pPr marL="120650">
              <a:lnSpc>
                <a:spcPct val="100000"/>
              </a:lnSpc>
              <a:spcBef>
                <a:spcPts val="135"/>
              </a:spcBef>
            </a:pPr>
            <a:r>
              <a:rPr sz="800" b="1">
                <a:latin typeface="Verdana"/>
                <a:cs typeface="Verdana"/>
              </a:rPr>
              <a:t>Issue</a:t>
            </a:r>
            <a:endParaRPr sz="800">
              <a:latin typeface="Verdana"/>
              <a:cs typeface="Verdana"/>
            </a:endParaRPr>
          </a:p>
        </p:txBody>
      </p:sp>
      <p:sp>
        <p:nvSpPr>
          <p:cNvPr id="36" name="object 36"/>
          <p:cNvSpPr txBox="1"/>
          <p:nvPr/>
        </p:nvSpPr>
        <p:spPr>
          <a:xfrm>
            <a:off x="6597395" y="5481828"/>
            <a:ext cx="498475" cy="157480"/>
          </a:xfrm>
          <a:prstGeom prst="rect">
            <a:avLst/>
          </a:prstGeom>
          <a:solidFill>
            <a:srgbClr val="FFFFFF"/>
          </a:solidFill>
        </p:spPr>
        <p:txBody>
          <a:bodyPr vert="horz" wrap="square" lIns="0" tIns="17780" rIns="0" bIns="0" rtlCol="0">
            <a:spAutoFit/>
          </a:bodyPr>
          <a:lstStyle/>
          <a:p>
            <a:pPr marL="89535">
              <a:lnSpc>
                <a:spcPct val="100000"/>
              </a:lnSpc>
              <a:spcBef>
                <a:spcPts val="140"/>
              </a:spcBef>
            </a:pPr>
            <a:r>
              <a:rPr sz="800" b="1">
                <a:latin typeface="Verdana"/>
                <a:cs typeface="Verdana"/>
              </a:rPr>
              <a:t>Issue</a:t>
            </a:r>
            <a:endParaRPr sz="800">
              <a:latin typeface="Verdana"/>
              <a:cs typeface="Verdana"/>
            </a:endParaRPr>
          </a:p>
        </p:txBody>
      </p:sp>
      <p:sp>
        <p:nvSpPr>
          <p:cNvPr id="37" name="object 37"/>
          <p:cNvSpPr txBox="1"/>
          <p:nvPr/>
        </p:nvSpPr>
        <p:spPr>
          <a:xfrm>
            <a:off x="3522090" y="5139969"/>
            <a:ext cx="1214120" cy="531495"/>
          </a:xfrm>
          <a:prstGeom prst="rect">
            <a:avLst/>
          </a:prstGeom>
        </p:spPr>
        <p:txBody>
          <a:bodyPr vert="horz" wrap="square" lIns="0" tIns="36830" rIns="0" bIns="0" rtlCol="0">
            <a:spAutoFit/>
          </a:bodyPr>
          <a:lstStyle/>
          <a:p>
            <a:pPr marL="195580" indent="-182880">
              <a:lnSpc>
                <a:spcPct val="100000"/>
              </a:lnSpc>
              <a:spcBef>
                <a:spcPts val="290"/>
              </a:spcBef>
              <a:buClr>
                <a:srgbClr val="006FAC"/>
              </a:buClr>
              <a:buFont typeface="Wingdings"/>
              <a:buChar char=""/>
              <a:tabLst>
                <a:tab pos="195580" algn="l"/>
              </a:tabLst>
            </a:pPr>
            <a:r>
              <a:rPr sz="1000" spc="-5">
                <a:latin typeface="Verdana"/>
                <a:cs typeface="Verdana"/>
              </a:rPr>
              <a:t>Stream</a:t>
            </a:r>
            <a:r>
              <a:rPr sz="1000" spc="-30">
                <a:latin typeface="Verdana"/>
                <a:cs typeface="Verdana"/>
              </a:rPr>
              <a:t> </a:t>
            </a:r>
            <a:r>
              <a:rPr sz="1000" spc="-10">
                <a:latin typeface="Verdana"/>
                <a:cs typeface="Verdana"/>
              </a:rPr>
              <a:t>Leaders</a:t>
            </a:r>
            <a:endParaRPr sz="1000">
              <a:latin typeface="Verdana"/>
              <a:cs typeface="Verdana"/>
            </a:endParaRPr>
          </a:p>
          <a:p>
            <a:pPr marL="195580" marR="9525" indent="-182880">
              <a:lnSpc>
                <a:spcPct val="100000"/>
              </a:lnSpc>
              <a:spcBef>
                <a:spcPts val="195"/>
              </a:spcBef>
              <a:buClr>
                <a:srgbClr val="006FAC"/>
              </a:buClr>
              <a:buFont typeface="Wingdings"/>
              <a:buChar char=""/>
              <a:tabLst>
                <a:tab pos="195580" algn="l"/>
              </a:tabLst>
            </a:pPr>
            <a:r>
              <a:rPr sz="1000">
                <a:latin typeface="Verdana"/>
                <a:cs typeface="Verdana"/>
              </a:rPr>
              <a:t>Function </a:t>
            </a:r>
            <a:r>
              <a:rPr sz="1000" spc="-5">
                <a:latin typeface="Verdana"/>
                <a:cs typeface="Verdana"/>
              </a:rPr>
              <a:t>and</a:t>
            </a:r>
            <a:r>
              <a:rPr sz="1000" spc="-65">
                <a:latin typeface="Verdana"/>
                <a:cs typeface="Verdana"/>
              </a:rPr>
              <a:t> </a:t>
            </a:r>
            <a:r>
              <a:rPr sz="1000" spc="-10">
                <a:latin typeface="Verdana"/>
                <a:cs typeface="Verdana"/>
              </a:rPr>
              <a:t>IT  Leaders</a:t>
            </a:r>
            <a:endParaRPr sz="1000">
              <a:latin typeface="Verdana"/>
              <a:cs typeface="Verdana"/>
            </a:endParaRPr>
          </a:p>
        </p:txBody>
      </p:sp>
      <p:sp>
        <p:nvSpPr>
          <p:cNvPr id="38" name="object 38"/>
          <p:cNvSpPr txBox="1"/>
          <p:nvPr/>
        </p:nvSpPr>
        <p:spPr>
          <a:xfrm>
            <a:off x="3553459" y="1780184"/>
            <a:ext cx="1311910" cy="888365"/>
          </a:xfrm>
          <a:prstGeom prst="rect">
            <a:avLst/>
          </a:prstGeom>
        </p:spPr>
        <p:txBody>
          <a:bodyPr vert="horz" wrap="square" lIns="0" tIns="36830" rIns="0" bIns="0" rtlCol="0">
            <a:spAutoFit/>
          </a:bodyPr>
          <a:lstStyle/>
          <a:p>
            <a:pPr marL="195580" indent="-182880">
              <a:lnSpc>
                <a:spcPct val="100000"/>
              </a:lnSpc>
              <a:spcBef>
                <a:spcPts val="290"/>
              </a:spcBef>
              <a:buClr>
                <a:srgbClr val="006FAC"/>
              </a:buClr>
              <a:buFont typeface="Wingdings"/>
              <a:buChar char=""/>
              <a:tabLst>
                <a:tab pos="195580" algn="l"/>
              </a:tabLst>
            </a:pPr>
            <a:r>
              <a:rPr sz="1000" spc="-10">
                <a:latin typeface="Verdana"/>
                <a:cs typeface="Verdana"/>
              </a:rPr>
              <a:t>Program</a:t>
            </a:r>
            <a:r>
              <a:rPr sz="1000" spc="-15">
                <a:latin typeface="Verdana"/>
                <a:cs typeface="Verdana"/>
              </a:rPr>
              <a:t> </a:t>
            </a:r>
            <a:r>
              <a:rPr sz="1000" spc="-5">
                <a:latin typeface="Verdana"/>
                <a:cs typeface="Verdana"/>
              </a:rPr>
              <a:t>Director</a:t>
            </a:r>
            <a:endParaRPr sz="1000">
              <a:latin typeface="Verdana"/>
              <a:cs typeface="Verdana"/>
            </a:endParaRPr>
          </a:p>
          <a:p>
            <a:pPr marL="195580" indent="-182880">
              <a:lnSpc>
                <a:spcPct val="100000"/>
              </a:lnSpc>
              <a:spcBef>
                <a:spcPts val="195"/>
              </a:spcBef>
              <a:buClr>
                <a:srgbClr val="006FAC"/>
              </a:buClr>
              <a:buFont typeface="Wingdings"/>
              <a:buChar char=""/>
              <a:tabLst>
                <a:tab pos="195580" algn="l"/>
              </a:tabLst>
            </a:pPr>
            <a:r>
              <a:rPr sz="1000" spc="-5">
                <a:latin typeface="Verdana"/>
                <a:cs typeface="Verdana"/>
              </a:rPr>
              <a:t>Sales</a:t>
            </a:r>
            <a:r>
              <a:rPr sz="1000" spc="-10">
                <a:latin typeface="Verdana"/>
                <a:cs typeface="Verdana"/>
              </a:rPr>
              <a:t> </a:t>
            </a:r>
            <a:r>
              <a:rPr sz="1000" spc="-5">
                <a:latin typeface="Verdana"/>
                <a:cs typeface="Verdana"/>
              </a:rPr>
              <a:t>Director</a:t>
            </a:r>
            <a:endParaRPr sz="1000">
              <a:latin typeface="Verdana"/>
              <a:cs typeface="Verdana"/>
            </a:endParaRPr>
          </a:p>
          <a:p>
            <a:pPr marL="194945" marR="243204" indent="-182880">
              <a:lnSpc>
                <a:spcPct val="100000"/>
              </a:lnSpc>
              <a:spcBef>
                <a:spcPts val="200"/>
              </a:spcBef>
              <a:buClr>
                <a:srgbClr val="006FAC"/>
              </a:buClr>
              <a:buFont typeface="Wingdings"/>
              <a:buChar char=""/>
              <a:tabLst>
                <a:tab pos="195580" algn="l"/>
              </a:tabLst>
            </a:pPr>
            <a:r>
              <a:rPr sz="1000" spc="-5">
                <a:latin typeface="Verdana"/>
                <a:cs typeface="Verdana"/>
              </a:rPr>
              <a:t>Business</a:t>
            </a:r>
            <a:r>
              <a:rPr sz="1000" spc="-35">
                <a:latin typeface="Verdana"/>
                <a:cs typeface="Verdana"/>
              </a:rPr>
              <a:t> </a:t>
            </a:r>
            <a:r>
              <a:rPr sz="1000">
                <a:latin typeface="Verdana"/>
                <a:cs typeface="Verdana"/>
              </a:rPr>
              <a:t>Unit  </a:t>
            </a:r>
            <a:r>
              <a:rPr sz="1000" spc="-5">
                <a:latin typeface="Verdana"/>
                <a:cs typeface="Verdana"/>
              </a:rPr>
              <a:t>Directors</a:t>
            </a:r>
            <a:endParaRPr sz="1000">
              <a:latin typeface="Verdana"/>
              <a:cs typeface="Verdana"/>
            </a:endParaRPr>
          </a:p>
          <a:p>
            <a:pPr marL="195580" indent="-182880">
              <a:lnSpc>
                <a:spcPct val="100000"/>
              </a:lnSpc>
              <a:spcBef>
                <a:spcPts val="204"/>
              </a:spcBef>
              <a:buClr>
                <a:srgbClr val="006FAC"/>
              </a:buClr>
              <a:buFont typeface="Wingdings"/>
              <a:buChar char=""/>
              <a:tabLst>
                <a:tab pos="195580" algn="l"/>
              </a:tabLst>
            </a:pPr>
            <a:r>
              <a:rPr sz="1000" spc="-10">
                <a:latin typeface="Verdana"/>
                <a:cs typeface="Verdana"/>
              </a:rPr>
              <a:t>Project</a:t>
            </a:r>
            <a:r>
              <a:rPr sz="1000" spc="-5">
                <a:latin typeface="Verdana"/>
                <a:cs typeface="Verdana"/>
              </a:rPr>
              <a:t> Managers</a:t>
            </a:r>
            <a:endParaRPr sz="1000">
              <a:latin typeface="Verdana"/>
              <a:cs typeface="Verdana"/>
            </a:endParaRPr>
          </a:p>
        </p:txBody>
      </p:sp>
      <p:sp>
        <p:nvSpPr>
          <p:cNvPr id="39" name="object 39"/>
          <p:cNvSpPr/>
          <p:nvPr/>
        </p:nvSpPr>
        <p:spPr>
          <a:xfrm>
            <a:off x="2819400" y="2737104"/>
            <a:ext cx="7145020" cy="182880"/>
          </a:xfrm>
          <a:custGeom>
            <a:avLst/>
            <a:gdLst/>
            <a:ahLst/>
            <a:cxnLst/>
            <a:rect l="l" t="t" r="r" b="b"/>
            <a:pathLst>
              <a:path w="7145020" h="182880">
                <a:moveTo>
                  <a:pt x="0" y="182879"/>
                </a:moveTo>
                <a:lnTo>
                  <a:pt x="7144511" y="182879"/>
                </a:lnTo>
                <a:lnTo>
                  <a:pt x="7144511" y="0"/>
                </a:lnTo>
                <a:lnTo>
                  <a:pt x="0" y="0"/>
                </a:lnTo>
                <a:lnTo>
                  <a:pt x="0" y="182879"/>
                </a:lnTo>
                <a:close/>
              </a:path>
            </a:pathLst>
          </a:custGeom>
          <a:solidFill>
            <a:srgbClr val="7E7E7E"/>
          </a:solidFill>
        </p:spPr>
        <p:txBody>
          <a:bodyPr wrap="square" lIns="0" tIns="0" rIns="0" bIns="0" rtlCol="0"/>
          <a:lstStyle/>
          <a:p>
            <a:endParaRPr/>
          </a:p>
        </p:txBody>
      </p:sp>
      <p:sp>
        <p:nvSpPr>
          <p:cNvPr id="40" name="object 40"/>
          <p:cNvSpPr txBox="1"/>
          <p:nvPr/>
        </p:nvSpPr>
        <p:spPr>
          <a:xfrm>
            <a:off x="4394072" y="2740532"/>
            <a:ext cx="399542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Overall </a:t>
            </a:r>
            <a:r>
              <a:rPr sz="1000" b="1" spc="-10">
                <a:solidFill>
                  <a:srgbClr val="FFFFFF"/>
                </a:solidFill>
                <a:latin typeface="Verdana"/>
                <a:cs typeface="Verdana"/>
              </a:rPr>
              <a:t>Performance </a:t>
            </a:r>
            <a:r>
              <a:rPr sz="1000" b="1" spc="-5">
                <a:solidFill>
                  <a:srgbClr val="FFFFFF"/>
                </a:solidFill>
                <a:latin typeface="Verdana"/>
                <a:cs typeface="Verdana"/>
              </a:rPr>
              <a:t>of </a:t>
            </a:r>
            <a:r>
              <a:rPr sz="1000" b="1" spc="-10">
                <a:solidFill>
                  <a:srgbClr val="FFFFFF"/>
                </a:solidFill>
                <a:latin typeface="Verdana"/>
                <a:cs typeface="Verdana"/>
              </a:rPr>
              <a:t>supplier, Strategic Planning</a:t>
            </a:r>
            <a:r>
              <a:rPr sz="1000" b="1" spc="180">
                <a:solidFill>
                  <a:srgbClr val="FFFFFF"/>
                </a:solidFill>
                <a:latin typeface="Verdana"/>
                <a:cs typeface="Verdana"/>
              </a:rPr>
              <a:t> </a:t>
            </a:r>
            <a:r>
              <a:rPr sz="1000" b="1" spc="-10">
                <a:solidFill>
                  <a:srgbClr val="FFFFFF"/>
                </a:solidFill>
                <a:latin typeface="Verdana"/>
                <a:cs typeface="Verdana"/>
              </a:rPr>
              <a:t>etc.</a:t>
            </a:r>
            <a:endParaRPr sz="1000">
              <a:latin typeface="Verdana"/>
              <a:cs typeface="Verdana"/>
            </a:endParaRPr>
          </a:p>
        </p:txBody>
      </p:sp>
      <p:sp>
        <p:nvSpPr>
          <p:cNvPr id="41" name="object 41"/>
          <p:cNvSpPr/>
          <p:nvPr/>
        </p:nvSpPr>
        <p:spPr>
          <a:xfrm>
            <a:off x="2811779" y="6019800"/>
            <a:ext cx="7145020" cy="184785"/>
          </a:xfrm>
          <a:custGeom>
            <a:avLst/>
            <a:gdLst/>
            <a:ahLst/>
            <a:cxnLst/>
            <a:rect l="l" t="t" r="r" b="b"/>
            <a:pathLst>
              <a:path w="7145020" h="184785">
                <a:moveTo>
                  <a:pt x="0" y="184404"/>
                </a:moveTo>
                <a:lnTo>
                  <a:pt x="7144511" y="184404"/>
                </a:lnTo>
                <a:lnTo>
                  <a:pt x="7144511" y="0"/>
                </a:lnTo>
                <a:lnTo>
                  <a:pt x="0" y="0"/>
                </a:lnTo>
                <a:lnTo>
                  <a:pt x="0" y="184404"/>
                </a:lnTo>
                <a:close/>
              </a:path>
            </a:pathLst>
          </a:custGeom>
          <a:solidFill>
            <a:srgbClr val="7E7E7E"/>
          </a:solidFill>
        </p:spPr>
        <p:txBody>
          <a:bodyPr wrap="square" lIns="0" tIns="0" rIns="0" bIns="0" rtlCol="0"/>
          <a:lstStyle/>
          <a:p>
            <a:endParaRPr/>
          </a:p>
        </p:txBody>
      </p:sp>
      <p:sp>
        <p:nvSpPr>
          <p:cNvPr id="42" name="object 42"/>
          <p:cNvSpPr txBox="1"/>
          <p:nvPr/>
        </p:nvSpPr>
        <p:spPr>
          <a:xfrm>
            <a:off x="3389503" y="6024473"/>
            <a:ext cx="5986780" cy="481965"/>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Execution (day </a:t>
            </a:r>
            <a:r>
              <a:rPr sz="1000" b="1" spc="-5">
                <a:solidFill>
                  <a:srgbClr val="FFFFFF"/>
                </a:solidFill>
                <a:latin typeface="Verdana"/>
                <a:cs typeface="Verdana"/>
              </a:rPr>
              <a:t>to </a:t>
            </a:r>
            <a:r>
              <a:rPr sz="1000" b="1" spc="-10">
                <a:solidFill>
                  <a:srgbClr val="FFFFFF"/>
                </a:solidFill>
                <a:latin typeface="Verdana"/>
                <a:cs typeface="Verdana"/>
              </a:rPr>
              <a:t>day </a:t>
            </a:r>
            <a:r>
              <a:rPr sz="1000" b="1" spc="-5">
                <a:solidFill>
                  <a:srgbClr val="FFFFFF"/>
                </a:solidFill>
                <a:latin typeface="Verdana"/>
                <a:cs typeface="Verdana"/>
              </a:rPr>
              <a:t>work), </a:t>
            </a:r>
            <a:r>
              <a:rPr sz="1000" b="1" spc="-10">
                <a:solidFill>
                  <a:srgbClr val="FFFFFF"/>
                </a:solidFill>
                <a:latin typeface="Verdana"/>
                <a:cs typeface="Verdana"/>
              </a:rPr>
              <a:t>Performance, Resourcing, </a:t>
            </a:r>
            <a:r>
              <a:rPr sz="1000" b="1" spc="-5">
                <a:solidFill>
                  <a:srgbClr val="FFFFFF"/>
                </a:solidFill>
                <a:latin typeface="Verdana"/>
                <a:cs typeface="Verdana"/>
              </a:rPr>
              <a:t>Monthly </a:t>
            </a:r>
            <a:r>
              <a:rPr sz="1000" b="1" spc="-10">
                <a:solidFill>
                  <a:srgbClr val="FFFFFF"/>
                </a:solidFill>
                <a:latin typeface="Verdana"/>
                <a:cs typeface="Verdana"/>
              </a:rPr>
              <a:t>Forecast, SLAs</a:t>
            </a:r>
            <a:r>
              <a:rPr sz="1000" b="1" spc="285">
                <a:solidFill>
                  <a:srgbClr val="FFFFFF"/>
                </a:solidFill>
                <a:latin typeface="Verdana"/>
                <a:cs typeface="Verdana"/>
              </a:rPr>
              <a:t> </a:t>
            </a:r>
            <a:r>
              <a:rPr sz="1000" b="1" spc="-10">
                <a:solidFill>
                  <a:srgbClr val="FFFFFF"/>
                </a:solidFill>
                <a:latin typeface="Verdana"/>
                <a:cs typeface="Verdana"/>
              </a:rPr>
              <a:t>etc.</a:t>
            </a:r>
            <a:endParaRPr sz="1000">
              <a:latin typeface="Verdana"/>
              <a:cs typeface="Verdana"/>
            </a:endParaRPr>
          </a:p>
          <a:p>
            <a:pPr>
              <a:lnSpc>
                <a:spcPct val="100000"/>
              </a:lnSpc>
              <a:spcBef>
                <a:spcPts val="45"/>
              </a:spcBef>
            </a:pPr>
            <a:endParaRPr sz="1000">
              <a:latin typeface="Times New Roman"/>
              <a:cs typeface="Times New Roman"/>
            </a:endParaRPr>
          </a:p>
          <a:p>
            <a:pPr marL="2985135">
              <a:lnSpc>
                <a:spcPct val="100000"/>
              </a:lnSpc>
              <a:tabLst>
                <a:tab pos="4199255" algn="l"/>
              </a:tabLst>
            </a:pPr>
            <a:r>
              <a:rPr sz="1000" spc="-5">
                <a:latin typeface="Verdana"/>
                <a:cs typeface="Verdana"/>
              </a:rPr>
              <a:t>Marelli	Capgemini</a:t>
            </a:r>
            <a:endParaRPr sz="1000">
              <a:latin typeface="Verdana"/>
              <a:cs typeface="Verdana"/>
            </a:endParaRPr>
          </a:p>
        </p:txBody>
      </p:sp>
      <p:sp>
        <p:nvSpPr>
          <p:cNvPr id="43" name="object 43"/>
          <p:cNvSpPr/>
          <p:nvPr/>
        </p:nvSpPr>
        <p:spPr>
          <a:xfrm>
            <a:off x="2813304" y="4442459"/>
            <a:ext cx="7146290" cy="184785"/>
          </a:xfrm>
          <a:custGeom>
            <a:avLst/>
            <a:gdLst/>
            <a:ahLst/>
            <a:cxnLst/>
            <a:rect l="l" t="t" r="r" b="b"/>
            <a:pathLst>
              <a:path w="7146290" h="184785">
                <a:moveTo>
                  <a:pt x="0" y="184404"/>
                </a:moveTo>
                <a:lnTo>
                  <a:pt x="7146035" y="184404"/>
                </a:lnTo>
                <a:lnTo>
                  <a:pt x="7146035" y="0"/>
                </a:lnTo>
                <a:lnTo>
                  <a:pt x="0" y="0"/>
                </a:lnTo>
                <a:lnTo>
                  <a:pt x="0" y="184404"/>
                </a:lnTo>
                <a:close/>
              </a:path>
            </a:pathLst>
          </a:custGeom>
          <a:solidFill>
            <a:srgbClr val="7E7E7E"/>
          </a:solidFill>
        </p:spPr>
        <p:txBody>
          <a:bodyPr wrap="square" lIns="0" tIns="0" rIns="0" bIns="0" rtlCol="0"/>
          <a:lstStyle/>
          <a:p>
            <a:endParaRPr/>
          </a:p>
        </p:txBody>
      </p:sp>
      <p:sp>
        <p:nvSpPr>
          <p:cNvPr id="44" name="object 44"/>
          <p:cNvSpPr txBox="1"/>
          <p:nvPr/>
        </p:nvSpPr>
        <p:spPr>
          <a:xfrm>
            <a:off x="3222751" y="4446778"/>
            <a:ext cx="632650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Performance, Relationship, </a:t>
            </a:r>
            <a:r>
              <a:rPr sz="1000" b="1" spc="-5">
                <a:solidFill>
                  <a:srgbClr val="FFFFFF"/>
                </a:solidFill>
                <a:latin typeface="Verdana"/>
                <a:cs typeface="Verdana"/>
              </a:rPr>
              <a:t>Contracting, </a:t>
            </a:r>
            <a:r>
              <a:rPr sz="1000" b="1" spc="-10">
                <a:solidFill>
                  <a:srgbClr val="FFFFFF"/>
                </a:solidFill>
                <a:latin typeface="Verdana"/>
                <a:cs typeface="Verdana"/>
              </a:rPr>
              <a:t>Quarterly Forecast, Resourcing, Escalations</a:t>
            </a:r>
            <a:r>
              <a:rPr sz="1000" b="1" spc="-5">
                <a:solidFill>
                  <a:srgbClr val="FFFFFF"/>
                </a:solidFill>
                <a:latin typeface="Verdana"/>
                <a:cs typeface="Verdana"/>
              </a:rPr>
              <a:t> </a:t>
            </a:r>
            <a:r>
              <a:rPr sz="1000" b="1" spc="-10">
                <a:solidFill>
                  <a:srgbClr val="FFFFFF"/>
                </a:solidFill>
                <a:latin typeface="Verdana"/>
                <a:cs typeface="Verdana"/>
              </a:rPr>
              <a:t>etc.</a:t>
            </a:r>
            <a:endParaRPr sz="1000">
              <a:latin typeface="Verdana"/>
              <a:cs typeface="Verdana"/>
            </a:endParaRPr>
          </a:p>
        </p:txBody>
      </p:sp>
      <p:sp>
        <p:nvSpPr>
          <p:cNvPr id="45" name="object 45"/>
          <p:cNvSpPr txBox="1"/>
          <p:nvPr/>
        </p:nvSpPr>
        <p:spPr>
          <a:xfrm>
            <a:off x="8657970" y="1646580"/>
            <a:ext cx="1376680" cy="913130"/>
          </a:xfrm>
          <a:prstGeom prst="rect">
            <a:avLst/>
          </a:prstGeom>
        </p:spPr>
        <p:txBody>
          <a:bodyPr vert="horz" wrap="square" lIns="0" tIns="36830" rIns="0" bIns="0" rtlCol="0">
            <a:spAutoFit/>
          </a:bodyPr>
          <a:lstStyle/>
          <a:p>
            <a:pPr marL="195580" indent="-182880">
              <a:lnSpc>
                <a:spcPct val="100000"/>
              </a:lnSpc>
              <a:spcBef>
                <a:spcPts val="290"/>
              </a:spcBef>
              <a:buClr>
                <a:srgbClr val="006FAC"/>
              </a:buClr>
              <a:buFont typeface="Wingdings"/>
              <a:buChar char=""/>
              <a:tabLst>
                <a:tab pos="195580" algn="l"/>
              </a:tabLst>
            </a:pPr>
            <a:r>
              <a:rPr sz="1000" spc="-5">
                <a:latin typeface="Verdana"/>
                <a:cs typeface="Verdana"/>
              </a:rPr>
              <a:t>Account Executive</a:t>
            </a:r>
            <a:endParaRPr sz="1000">
              <a:latin typeface="Verdana"/>
              <a:cs typeface="Verdana"/>
            </a:endParaRPr>
          </a:p>
          <a:p>
            <a:pPr marL="195580" indent="-182880">
              <a:lnSpc>
                <a:spcPct val="100000"/>
              </a:lnSpc>
              <a:spcBef>
                <a:spcPts val="195"/>
              </a:spcBef>
              <a:buClr>
                <a:srgbClr val="006FAC"/>
              </a:buClr>
              <a:buFont typeface="Wingdings"/>
              <a:buChar char=""/>
              <a:tabLst>
                <a:tab pos="195580" algn="l"/>
              </a:tabLst>
            </a:pPr>
            <a:r>
              <a:rPr sz="1000" spc="-10">
                <a:latin typeface="Verdana"/>
                <a:cs typeface="Verdana"/>
              </a:rPr>
              <a:t>QA</a:t>
            </a:r>
            <a:endParaRPr sz="1000">
              <a:latin typeface="Verdana"/>
              <a:cs typeface="Verdana"/>
            </a:endParaRPr>
          </a:p>
          <a:p>
            <a:pPr marL="195580" indent="-182880">
              <a:lnSpc>
                <a:spcPct val="100000"/>
              </a:lnSpc>
              <a:spcBef>
                <a:spcPts val="204"/>
              </a:spcBef>
              <a:buClr>
                <a:srgbClr val="006FAC"/>
              </a:buClr>
              <a:buFont typeface="Wingdings"/>
              <a:buChar char=""/>
              <a:tabLst>
                <a:tab pos="195580" algn="l"/>
              </a:tabLst>
            </a:pPr>
            <a:r>
              <a:rPr sz="1000" spc="-5">
                <a:latin typeface="Verdana"/>
                <a:cs typeface="Verdana"/>
              </a:rPr>
              <a:t>Salesforce</a:t>
            </a:r>
            <a:r>
              <a:rPr sz="1000" spc="10">
                <a:latin typeface="Verdana"/>
                <a:cs typeface="Verdana"/>
              </a:rPr>
              <a:t> </a:t>
            </a:r>
            <a:r>
              <a:rPr sz="1000" spc="-5">
                <a:latin typeface="Verdana"/>
                <a:cs typeface="Verdana"/>
              </a:rPr>
              <a:t>(CS)</a:t>
            </a:r>
            <a:endParaRPr sz="1000">
              <a:latin typeface="Verdana"/>
              <a:cs typeface="Verdana"/>
            </a:endParaRPr>
          </a:p>
          <a:p>
            <a:pPr marL="195580" indent="-182880">
              <a:lnSpc>
                <a:spcPct val="100000"/>
              </a:lnSpc>
              <a:spcBef>
                <a:spcPts val="204"/>
              </a:spcBef>
              <a:buClr>
                <a:srgbClr val="006FAC"/>
              </a:buClr>
              <a:buFont typeface="Wingdings"/>
              <a:buChar char=""/>
              <a:tabLst>
                <a:tab pos="195580" algn="l"/>
              </a:tabLst>
            </a:pPr>
            <a:r>
              <a:rPr sz="1000" spc="-10">
                <a:latin typeface="Verdana"/>
                <a:cs typeface="Verdana"/>
              </a:rPr>
              <a:t>Program</a:t>
            </a:r>
            <a:r>
              <a:rPr sz="1000">
                <a:latin typeface="Verdana"/>
                <a:cs typeface="Verdana"/>
              </a:rPr>
              <a:t> </a:t>
            </a:r>
            <a:r>
              <a:rPr sz="1000" spc="-5">
                <a:latin typeface="Verdana"/>
                <a:cs typeface="Verdana"/>
              </a:rPr>
              <a:t>Director</a:t>
            </a:r>
            <a:endParaRPr sz="1000">
              <a:latin typeface="Verdana"/>
              <a:cs typeface="Verdana"/>
            </a:endParaRPr>
          </a:p>
          <a:p>
            <a:pPr marL="195580" indent="-182880">
              <a:lnSpc>
                <a:spcPct val="100000"/>
              </a:lnSpc>
              <a:spcBef>
                <a:spcPts val="190"/>
              </a:spcBef>
              <a:buClr>
                <a:srgbClr val="006FAC"/>
              </a:buClr>
              <a:buFont typeface="Wingdings"/>
              <a:buChar char=""/>
              <a:tabLst>
                <a:tab pos="195580" algn="l"/>
              </a:tabLst>
            </a:pPr>
            <a:r>
              <a:rPr sz="1000">
                <a:latin typeface="Verdana"/>
                <a:cs typeface="Verdana"/>
              </a:rPr>
              <a:t>Solution</a:t>
            </a:r>
            <a:r>
              <a:rPr sz="1000" spc="-25">
                <a:latin typeface="Verdana"/>
                <a:cs typeface="Verdana"/>
              </a:rPr>
              <a:t> </a:t>
            </a:r>
            <a:r>
              <a:rPr sz="1000" spc="-5">
                <a:latin typeface="Verdana"/>
                <a:cs typeface="Verdana"/>
              </a:rPr>
              <a:t>Architect</a:t>
            </a:r>
            <a:endParaRPr sz="1000">
              <a:latin typeface="Verdana"/>
              <a:cs typeface="Verdana"/>
            </a:endParaRPr>
          </a:p>
        </p:txBody>
      </p:sp>
      <p:sp>
        <p:nvSpPr>
          <p:cNvPr id="46" name="object 46"/>
          <p:cNvSpPr txBox="1"/>
          <p:nvPr/>
        </p:nvSpPr>
        <p:spPr>
          <a:xfrm>
            <a:off x="8619870" y="3224555"/>
            <a:ext cx="1341755" cy="550151"/>
          </a:xfrm>
          <a:prstGeom prst="rect">
            <a:avLst/>
          </a:prstGeom>
        </p:spPr>
        <p:txBody>
          <a:bodyPr vert="horz" wrap="square" lIns="0" tIns="36830" rIns="0" bIns="0" rtlCol="0">
            <a:spAutoFit/>
          </a:bodyPr>
          <a:lstStyle/>
          <a:p>
            <a:pPr marL="195580" indent="-182880">
              <a:lnSpc>
                <a:spcPct val="100000"/>
              </a:lnSpc>
              <a:spcBef>
                <a:spcPts val="290"/>
              </a:spcBef>
              <a:buClr>
                <a:srgbClr val="006FAC"/>
              </a:buClr>
              <a:buFont typeface="Wingdings"/>
              <a:buChar char=""/>
              <a:tabLst>
                <a:tab pos="195580" algn="l"/>
              </a:tabLst>
            </a:pPr>
            <a:r>
              <a:rPr sz="1000" spc="-10">
                <a:latin typeface="Verdana"/>
                <a:cs typeface="Verdana"/>
              </a:rPr>
              <a:t>Program</a:t>
            </a:r>
            <a:r>
              <a:rPr sz="1000" spc="-5">
                <a:latin typeface="Verdana"/>
                <a:cs typeface="Verdana"/>
              </a:rPr>
              <a:t> Director</a:t>
            </a:r>
            <a:endParaRPr sz="1000">
              <a:latin typeface="Verdana"/>
              <a:cs typeface="Verdana"/>
            </a:endParaRPr>
          </a:p>
          <a:p>
            <a:pPr marL="195580" indent="-182880">
              <a:lnSpc>
                <a:spcPct val="100000"/>
              </a:lnSpc>
              <a:spcBef>
                <a:spcPts val="195"/>
              </a:spcBef>
              <a:buClr>
                <a:srgbClr val="006FAC"/>
              </a:buClr>
              <a:buFont typeface="Wingdings"/>
              <a:buChar char=""/>
              <a:tabLst>
                <a:tab pos="195580" algn="l"/>
              </a:tabLst>
            </a:pPr>
            <a:r>
              <a:rPr sz="1000" spc="-10">
                <a:latin typeface="Verdana"/>
                <a:cs typeface="Verdana"/>
              </a:rPr>
              <a:t>Project</a:t>
            </a:r>
            <a:r>
              <a:rPr sz="1000" spc="-20">
                <a:latin typeface="Verdana"/>
                <a:cs typeface="Verdana"/>
              </a:rPr>
              <a:t> </a:t>
            </a:r>
            <a:r>
              <a:rPr sz="1000" spc="-5">
                <a:latin typeface="Verdana"/>
                <a:cs typeface="Verdana"/>
              </a:rPr>
              <a:t>Manager</a:t>
            </a:r>
            <a:endParaRPr sz="1000">
              <a:latin typeface="Verdana"/>
              <a:cs typeface="Verdana"/>
            </a:endParaRPr>
          </a:p>
          <a:p>
            <a:pPr marL="195580" indent="-182880">
              <a:lnSpc>
                <a:spcPct val="100000"/>
              </a:lnSpc>
              <a:spcBef>
                <a:spcPts val="200"/>
              </a:spcBef>
              <a:buClr>
                <a:srgbClr val="006FAC"/>
              </a:buClr>
              <a:buFont typeface="Wingdings"/>
              <a:buChar char=""/>
              <a:tabLst>
                <a:tab pos="195580" algn="l"/>
              </a:tabLst>
            </a:pPr>
            <a:r>
              <a:rPr sz="1000">
                <a:latin typeface="Verdana"/>
                <a:cs typeface="Verdana"/>
              </a:rPr>
              <a:t>Solution</a:t>
            </a:r>
            <a:r>
              <a:rPr sz="1000" spc="-60">
                <a:latin typeface="Verdana"/>
                <a:cs typeface="Verdana"/>
              </a:rPr>
              <a:t> </a:t>
            </a:r>
            <a:r>
              <a:rPr sz="1000" spc="-5">
                <a:latin typeface="Verdana"/>
                <a:cs typeface="Verdana"/>
              </a:rPr>
              <a:t>Architect</a:t>
            </a:r>
            <a:endParaRPr sz="1000">
              <a:latin typeface="Verdana"/>
              <a:cs typeface="Verdana"/>
            </a:endParaRPr>
          </a:p>
        </p:txBody>
      </p:sp>
      <p:sp>
        <p:nvSpPr>
          <p:cNvPr id="47" name="object 47"/>
          <p:cNvSpPr txBox="1"/>
          <p:nvPr/>
        </p:nvSpPr>
        <p:spPr>
          <a:xfrm>
            <a:off x="8742044" y="4801387"/>
            <a:ext cx="1246505" cy="889000"/>
          </a:xfrm>
          <a:prstGeom prst="rect">
            <a:avLst/>
          </a:prstGeom>
        </p:spPr>
        <p:txBody>
          <a:bodyPr vert="horz" wrap="square" lIns="0" tIns="37465" rIns="0" bIns="0" rtlCol="0">
            <a:spAutoFit/>
          </a:bodyPr>
          <a:lstStyle/>
          <a:p>
            <a:pPr marL="195580" indent="-182880">
              <a:lnSpc>
                <a:spcPct val="100000"/>
              </a:lnSpc>
              <a:spcBef>
                <a:spcPts val="295"/>
              </a:spcBef>
              <a:buClr>
                <a:srgbClr val="006FAC"/>
              </a:buClr>
              <a:buFont typeface="Wingdings"/>
              <a:buChar char=""/>
              <a:tabLst>
                <a:tab pos="195580" algn="l"/>
              </a:tabLst>
            </a:pPr>
            <a:r>
              <a:rPr sz="1000" spc="-10">
                <a:latin typeface="Verdana"/>
                <a:cs typeface="Verdana"/>
              </a:rPr>
              <a:t>Project</a:t>
            </a:r>
            <a:r>
              <a:rPr sz="1000" spc="-5">
                <a:latin typeface="Verdana"/>
                <a:cs typeface="Verdana"/>
              </a:rPr>
              <a:t> Manager</a:t>
            </a:r>
            <a:endParaRPr sz="1000">
              <a:latin typeface="Verdana"/>
              <a:cs typeface="Verdana"/>
            </a:endParaRPr>
          </a:p>
          <a:p>
            <a:pPr marL="195580" indent="-182880">
              <a:lnSpc>
                <a:spcPct val="100000"/>
              </a:lnSpc>
              <a:spcBef>
                <a:spcPts val="190"/>
              </a:spcBef>
              <a:buClr>
                <a:srgbClr val="006FAC"/>
              </a:buClr>
              <a:buFont typeface="Wingdings"/>
              <a:buChar char=""/>
              <a:tabLst>
                <a:tab pos="195580" algn="l"/>
              </a:tabLst>
            </a:pPr>
            <a:r>
              <a:rPr sz="1000" spc="-5">
                <a:latin typeface="Verdana"/>
                <a:cs typeface="Verdana"/>
              </a:rPr>
              <a:t>Stream</a:t>
            </a:r>
            <a:r>
              <a:rPr sz="1000" spc="-50">
                <a:latin typeface="Verdana"/>
                <a:cs typeface="Verdana"/>
              </a:rPr>
              <a:t> </a:t>
            </a:r>
            <a:r>
              <a:rPr sz="1000" spc="-10">
                <a:latin typeface="Verdana"/>
                <a:cs typeface="Verdana"/>
              </a:rPr>
              <a:t>Leaders</a:t>
            </a:r>
            <a:endParaRPr sz="1000">
              <a:latin typeface="Verdana"/>
              <a:cs typeface="Verdana"/>
            </a:endParaRPr>
          </a:p>
          <a:p>
            <a:pPr marL="194945" marR="387985" indent="-182880">
              <a:lnSpc>
                <a:spcPct val="100000"/>
              </a:lnSpc>
              <a:spcBef>
                <a:spcPts val="204"/>
              </a:spcBef>
              <a:buClr>
                <a:srgbClr val="006FAC"/>
              </a:buClr>
              <a:buFont typeface="Wingdings"/>
              <a:buChar char=""/>
              <a:tabLst>
                <a:tab pos="195580" algn="l"/>
              </a:tabLst>
            </a:pPr>
            <a:r>
              <a:rPr sz="1000" spc="-5">
                <a:latin typeface="Verdana"/>
                <a:cs typeface="Verdana"/>
              </a:rPr>
              <a:t>F</a:t>
            </a:r>
            <a:r>
              <a:rPr sz="1000">
                <a:latin typeface="Verdana"/>
                <a:cs typeface="Verdana"/>
              </a:rPr>
              <a:t>un</a:t>
            </a:r>
            <a:r>
              <a:rPr sz="1000" spc="-5">
                <a:latin typeface="Verdana"/>
                <a:cs typeface="Verdana"/>
              </a:rPr>
              <a:t>ct</a:t>
            </a:r>
            <a:r>
              <a:rPr sz="1000" spc="10">
                <a:latin typeface="Verdana"/>
                <a:cs typeface="Verdana"/>
              </a:rPr>
              <a:t>i</a:t>
            </a:r>
            <a:r>
              <a:rPr sz="1000" spc="-10">
                <a:latin typeface="Verdana"/>
                <a:cs typeface="Verdana"/>
              </a:rPr>
              <a:t>o</a:t>
            </a:r>
            <a:r>
              <a:rPr sz="1000">
                <a:latin typeface="Verdana"/>
                <a:cs typeface="Verdana"/>
              </a:rPr>
              <a:t>n</a:t>
            </a:r>
            <a:r>
              <a:rPr sz="1000" spc="-5">
                <a:latin typeface="Verdana"/>
                <a:cs typeface="Verdana"/>
              </a:rPr>
              <a:t>al  </a:t>
            </a:r>
            <a:r>
              <a:rPr sz="1000" spc="-10">
                <a:latin typeface="Verdana"/>
                <a:cs typeface="Verdana"/>
              </a:rPr>
              <a:t>Leaders</a:t>
            </a:r>
            <a:endParaRPr sz="1000">
              <a:latin typeface="Verdana"/>
              <a:cs typeface="Verdana"/>
            </a:endParaRPr>
          </a:p>
          <a:p>
            <a:pPr marL="195580" indent="-182880">
              <a:lnSpc>
                <a:spcPct val="100000"/>
              </a:lnSpc>
              <a:spcBef>
                <a:spcPts val="204"/>
              </a:spcBef>
              <a:buClr>
                <a:srgbClr val="006FAC"/>
              </a:buClr>
              <a:buFont typeface="Wingdings"/>
              <a:buChar char=""/>
              <a:tabLst>
                <a:tab pos="195580" algn="l"/>
              </a:tabLst>
            </a:pPr>
            <a:r>
              <a:rPr sz="1000" spc="-5">
                <a:latin typeface="Verdana"/>
                <a:cs typeface="Verdana"/>
              </a:rPr>
              <a:t>DM e </a:t>
            </a:r>
            <a:r>
              <a:rPr sz="1000" spc="-10">
                <a:latin typeface="Verdana"/>
                <a:cs typeface="Verdana"/>
              </a:rPr>
              <a:t>Int</a:t>
            </a:r>
            <a:r>
              <a:rPr sz="1000" spc="-5">
                <a:latin typeface="Verdana"/>
                <a:cs typeface="Verdana"/>
              </a:rPr>
              <a:t> Lead</a:t>
            </a:r>
            <a:endParaRPr sz="1000">
              <a:latin typeface="Verdana"/>
              <a:cs typeface="Verdana"/>
            </a:endParaRPr>
          </a:p>
        </p:txBody>
      </p:sp>
      <p:sp>
        <p:nvSpPr>
          <p:cNvPr id="48" name="object 48"/>
          <p:cNvSpPr/>
          <p:nvPr/>
        </p:nvSpPr>
        <p:spPr>
          <a:xfrm>
            <a:off x="8743188" y="1211580"/>
            <a:ext cx="1097279" cy="243839"/>
          </a:xfrm>
          <a:prstGeom prst="rect">
            <a:avLst/>
          </a:prstGeom>
          <a:blipFill>
            <a:blip r:embed="rId4" cstate="print"/>
            <a:stretch>
              <a:fillRect/>
            </a:stretch>
          </a:blipFill>
        </p:spPr>
        <p:txBody>
          <a:bodyPr wrap="square" lIns="0" tIns="0" rIns="0" bIns="0" rtlCol="0"/>
          <a:lstStyle/>
          <a:p>
            <a:endParaRPr/>
          </a:p>
        </p:txBody>
      </p:sp>
      <p:sp>
        <p:nvSpPr>
          <p:cNvPr id="49" name="object 49"/>
          <p:cNvSpPr/>
          <p:nvPr/>
        </p:nvSpPr>
        <p:spPr>
          <a:xfrm>
            <a:off x="7581900" y="2133600"/>
            <a:ext cx="274320" cy="274320"/>
          </a:xfrm>
          <a:custGeom>
            <a:avLst/>
            <a:gdLst/>
            <a:ahLst/>
            <a:cxnLst/>
            <a:rect l="l" t="t" r="r" b="b"/>
            <a:pathLst>
              <a:path w="274320" h="274319">
                <a:moveTo>
                  <a:pt x="137159" y="0"/>
                </a:moveTo>
                <a:lnTo>
                  <a:pt x="93829" y="6998"/>
                </a:lnTo>
                <a:lnTo>
                  <a:pt x="56180" y="26481"/>
                </a:lnTo>
                <a:lnTo>
                  <a:pt x="26481" y="56180"/>
                </a:lnTo>
                <a:lnTo>
                  <a:pt x="6998" y="93829"/>
                </a:lnTo>
                <a:lnTo>
                  <a:pt x="0" y="137160"/>
                </a:lnTo>
                <a:lnTo>
                  <a:pt x="6998" y="180490"/>
                </a:lnTo>
                <a:lnTo>
                  <a:pt x="26481" y="218139"/>
                </a:lnTo>
                <a:lnTo>
                  <a:pt x="56180" y="247838"/>
                </a:lnTo>
                <a:lnTo>
                  <a:pt x="93829" y="267321"/>
                </a:lnTo>
                <a:lnTo>
                  <a:pt x="137159" y="274320"/>
                </a:lnTo>
                <a:lnTo>
                  <a:pt x="180490" y="267321"/>
                </a:lnTo>
                <a:lnTo>
                  <a:pt x="218139" y="247838"/>
                </a:lnTo>
                <a:lnTo>
                  <a:pt x="247838" y="218139"/>
                </a:lnTo>
                <a:lnTo>
                  <a:pt x="267321" y="180490"/>
                </a:lnTo>
                <a:lnTo>
                  <a:pt x="274320" y="137160"/>
                </a:lnTo>
                <a:lnTo>
                  <a:pt x="267321" y="93829"/>
                </a:lnTo>
                <a:lnTo>
                  <a:pt x="247838" y="56180"/>
                </a:lnTo>
                <a:lnTo>
                  <a:pt x="218139" y="26481"/>
                </a:lnTo>
                <a:lnTo>
                  <a:pt x="180490" y="6998"/>
                </a:lnTo>
                <a:lnTo>
                  <a:pt x="137159" y="0"/>
                </a:lnTo>
                <a:close/>
              </a:path>
            </a:pathLst>
          </a:custGeom>
          <a:solidFill>
            <a:srgbClr val="12ABDB"/>
          </a:solidFill>
        </p:spPr>
        <p:txBody>
          <a:bodyPr wrap="square" lIns="0" tIns="0" rIns="0" bIns="0" rtlCol="0"/>
          <a:lstStyle/>
          <a:p>
            <a:endParaRPr/>
          </a:p>
        </p:txBody>
      </p:sp>
      <p:sp>
        <p:nvSpPr>
          <p:cNvPr id="50" name="object 50"/>
          <p:cNvSpPr txBox="1"/>
          <p:nvPr/>
        </p:nvSpPr>
        <p:spPr>
          <a:xfrm>
            <a:off x="7670418" y="2188845"/>
            <a:ext cx="9842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Verdana"/>
                <a:cs typeface="Verdana"/>
              </a:rPr>
              <a:t>3</a:t>
            </a:r>
            <a:endParaRPr sz="900">
              <a:latin typeface="Verdana"/>
              <a:cs typeface="Verdana"/>
            </a:endParaRPr>
          </a:p>
        </p:txBody>
      </p:sp>
      <p:sp>
        <p:nvSpPr>
          <p:cNvPr id="51" name="object 51"/>
          <p:cNvSpPr/>
          <p:nvPr/>
        </p:nvSpPr>
        <p:spPr>
          <a:xfrm>
            <a:off x="7981188" y="3666744"/>
            <a:ext cx="274320" cy="274320"/>
          </a:xfrm>
          <a:custGeom>
            <a:avLst/>
            <a:gdLst/>
            <a:ahLst/>
            <a:cxnLst/>
            <a:rect l="l" t="t" r="r" b="b"/>
            <a:pathLst>
              <a:path w="274320" h="274320">
                <a:moveTo>
                  <a:pt x="137159" y="0"/>
                </a:move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59" y="274319"/>
                </a:lnTo>
                <a:lnTo>
                  <a:pt x="180490" y="267321"/>
                </a:lnTo>
                <a:lnTo>
                  <a:pt x="218139" y="247838"/>
                </a:lnTo>
                <a:lnTo>
                  <a:pt x="247838" y="218139"/>
                </a:lnTo>
                <a:lnTo>
                  <a:pt x="267321" y="180490"/>
                </a:lnTo>
                <a:lnTo>
                  <a:pt x="274319" y="137159"/>
                </a:lnTo>
                <a:lnTo>
                  <a:pt x="267321" y="93829"/>
                </a:lnTo>
                <a:lnTo>
                  <a:pt x="247838" y="56180"/>
                </a:lnTo>
                <a:lnTo>
                  <a:pt x="218139" y="26481"/>
                </a:lnTo>
                <a:lnTo>
                  <a:pt x="180490" y="6998"/>
                </a:lnTo>
                <a:lnTo>
                  <a:pt x="137159" y="0"/>
                </a:lnTo>
                <a:close/>
              </a:path>
            </a:pathLst>
          </a:custGeom>
          <a:solidFill>
            <a:srgbClr val="12ABDB"/>
          </a:solidFill>
        </p:spPr>
        <p:txBody>
          <a:bodyPr wrap="square" lIns="0" tIns="0" rIns="0" bIns="0" rtlCol="0"/>
          <a:lstStyle/>
          <a:p>
            <a:endParaRPr/>
          </a:p>
        </p:txBody>
      </p:sp>
      <p:sp>
        <p:nvSpPr>
          <p:cNvPr id="52" name="object 52"/>
          <p:cNvSpPr txBox="1"/>
          <p:nvPr/>
        </p:nvSpPr>
        <p:spPr>
          <a:xfrm>
            <a:off x="8069960" y="3722623"/>
            <a:ext cx="9842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Verdana"/>
                <a:cs typeface="Verdana"/>
              </a:rPr>
              <a:t>2</a:t>
            </a:r>
            <a:endParaRPr sz="900">
              <a:latin typeface="Verdana"/>
              <a:cs typeface="Verdana"/>
            </a:endParaRPr>
          </a:p>
        </p:txBody>
      </p:sp>
      <p:sp>
        <p:nvSpPr>
          <p:cNvPr id="53" name="object 53"/>
          <p:cNvSpPr/>
          <p:nvPr/>
        </p:nvSpPr>
        <p:spPr>
          <a:xfrm>
            <a:off x="8436864" y="5661659"/>
            <a:ext cx="274320" cy="274320"/>
          </a:xfrm>
          <a:custGeom>
            <a:avLst/>
            <a:gdLst/>
            <a:ahLst/>
            <a:cxnLst/>
            <a:rect l="l" t="t" r="r" b="b"/>
            <a:pathLst>
              <a:path w="274320" h="274320">
                <a:moveTo>
                  <a:pt x="137159" y="0"/>
                </a:moveTo>
                <a:lnTo>
                  <a:pt x="93829" y="6992"/>
                </a:lnTo>
                <a:lnTo>
                  <a:pt x="56180" y="26462"/>
                </a:lnTo>
                <a:lnTo>
                  <a:pt x="26481" y="56153"/>
                </a:lnTo>
                <a:lnTo>
                  <a:pt x="6998" y="93805"/>
                </a:lnTo>
                <a:lnTo>
                  <a:pt x="0" y="137159"/>
                </a:lnTo>
                <a:lnTo>
                  <a:pt x="6998" y="180514"/>
                </a:lnTo>
                <a:lnTo>
                  <a:pt x="26481" y="218166"/>
                </a:lnTo>
                <a:lnTo>
                  <a:pt x="56180" y="247857"/>
                </a:lnTo>
                <a:lnTo>
                  <a:pt x="93829" y="267327"/>
                </a:lnTo>
                <a:lnTo>
                  <a:pt x="137159" y="274319"/>
                </a:lnTo>
                <a:lnTo>
                  <a:pt x="180490" y="267327"/>
                </a:lnTo>
                <a:lnTo>
                  <a:pt x="218139" y="247857"/>
                </a:lnTo>
                <a:lnTo>
                  <a:pt x="247838" y="218166"/>
                </a:lnTo>
                <a:lnTo>
                  <a:pt x="267321" y="180514"/>
                </a:lnTo>
                <a:lnTo>
                  <a:pt x="274319" y="137159"/>
                </a:lnTo>
                <a:lnTo>
                  <a:pt x="267321" y="93805"/>
                </a:lnTo>
                <a:lnTo>
                  <a:pt x="247838" y="56153"/>
                </a:lnTo>
                <a:lnTo>
                  <a:pt x="218139" y="26462"/>
                </a:lnTo>
                <a:lnTo>
                  <a:pt x="180490" y="6992"/>
                </a:lnTo>
                <a:lnTo>
                  <a:pt x="137159" y="0"/>
                </a:lnTo>
                <a:close/>
              </a:path>
            </a:pathLst>
          </a:custGeom>
          <a:solidFill>
            <a:srgbClr val="12ABDB"/>
          </a:solidFill>
        </p:spPr>
        <p:txBody>
          <a:bodyPr wrap="square" lIns="0" tIns="0" rIns="0" bIns="0" rtlCol="0"/>
          <a:lstStyle/>
          <a:p>
            <a:endParaRPr/>
          </a:p>
        </p:txBody>
      </p:sp>
      <p:sp>
        <p:nvSpPr>
          <p:cNvPr id="54" name="object 54"/>
          <p:cNvSpPr txBox="1"/>
          <p:nvPr/>
        </p:nvSpPr>
        <p:spPr>
          <a:xfrm>
            <a:off x="8526526" y="5716930"/>
            <a:ext cx="9842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FFFFFF"/>
                </a:solidFill>
                <a:latin typeface="Verdana"/>
                <a:cs typeface="Verdana"/>
              </a:rPr>
              <a:t>1</a:t>
            </a:r>
            <a:endParaRPr sz="900">
              <a:latin typeface="Verdana"/>
              <a:cs typeface="Verdana"/>
            </a:endParaRPr>
          </a:p>
        </p:txBody>
      </p:sp>
      <p:sp>
        <p:nvSpPr>
          <p:cNvPr id="55" name="object 55"/>
          <p:cNvSpPr txBox="1"/>
          <p:nvPr/>
        </p:nvSpPr>
        <p:spPr>
          <a:xfrm>
            <a:off x="5356605" y="1199027"/>
            <a:ext cx="2967355" cy="490220"/>
          </a:xfrm>
          <a:prstGeom prst="rect">
            <a:avLst/>
          </a:prstGeom>
        </p:spPr>
        <p:txBody>
          <a:bodyPr vert="horz" wrap="square" lIns="0" tIns="83185" rIns="0" bIns="0" rtlCol="0">
            <a:spAutoFit/>
          </a:bodyPr>
          <a:lstStyle/>
          <a:p>
            <a:pPr algn="ctr">
              <a:lnSpc>
                <a:spcPct val="100000"/>
              </a:lnSpc>
              <a:spcBef>
                <a:spcPts val="655"/>
              </a:spcBef>
            </a:pPr>
            <a:r>
              <a:rPr sz="1200" b="1" spc="-5">
                <a:solidFill>
                  <a:srgbClr val="006FAC"/>
                </a:solidFill>
                <a:latin typeface="Verdana"/>
                <a:cs typeface="Verdana"/>
              </a:rPr>
              <a:t>Engagement Management</a:t>
            </a:r>
            <a:r>
              <a:rPr sz="1200" b="1" spc="-35">
                <a:solidFill>
                  <a:srgbClr val="006FAC"/>
                </a:solidFill>
                <a:latin typeface="Verdana"/>
                <a:cs typeface="Verdana"/>
              </a:rPr>
              <a:t> </a:t>
            </a:r>
            <a:r>
              <a:rPr sz="1200" b="1" spc="-5">
                <a:solidFill>
                  <a:srgbClr val="006FAC"/>
                </a:solidFill>
                <a:latin typeface="Verdana"/>
                <a:cs typeface="Verdana"/>
              </a:rPr>
              <a:t>Process</a:t>
            </a:r>
            <a:endParaRPr sz="1200">
              <a:latin typeface="Verdana"/>
              <a:cs typeface="Verdana"/>
            </a:endParaRPr>
          </a:p>
          <a:p>
            <a:pPr marR="40640" algn="ctr">
              <a:lnSpc>
                <a:spcPct val="100000"/>
              </a:lnSpc>
              <a:spcBef>
                <a:spcPts val="459"/>
              </a:spcBef>
            </a:pPr>
            <a:r>
              <a:rPr sz="1000" spc="-5">
                <a:solidFill>
                  <a:srgbClr val="FF2F4B"/>
                </a:solidFill>
                <a:latin typeface="Verdana"/>
                <a:cs typeface="Verdana"/>
              </a:rPr>
              <a:t>(Quarterly)</a:t>
            </a:r>
            <a:endParaRPr sz="1000">
              <a:latin typeface="Verdana"/>
              <a:cs typeface="Verdana"/>
            </a:endParaRPr>
          </a:p>
        </p:txBody>
      </p:sp>
      <p:sp>
        <p:nvSpPr>
          <p:cNvPr id="56" name="object 56"/>
          <p:cNvSpPr txBox="1"/>
          <p:nvPr/>
        </p:nvSpPr>
        <p:spPr>
          <a:xfrm>
            <a:off x="6539865" y="4815585"/>
            <a:ext cx="601345" cy="177800"/>
          </a:xfrm>
          <a:prstGeom prst="rect">
            <a:avLst/>
          </a:prstGeom>
        </p:spPr>
        <p:txBody>
          <a:bodyPr vert="horz" wrap="square" lIns="0" tIns="12065" rIns="0" bIns="0" rtlCol="0">
            <a:spAutoFit/>
          </a:bodyPr>
          <a:lstStyle/>
          <a:p>
            <a:pPr marL="12700">
              <a:lnSpc>
                <a:spcPct val="100000"/>
              </a:lnSpc>
              <a:spcBef>
                <a:spcPts val="95"/>
              </a:spcBef>
            </a:pPr>
            <a:r>
              <a:rPr sz="1000" spc="-5">
                <a:solidFill>
                  <a:srgbClr val="FF2F4B"/>
                </a:solidFill>
                <a:latin typeface="Verdana"/>
                <a:cs typeface="Verdana"/>
              </a:rPr>
              <a:t>(W</a:t>
            </a:r>
            <a:r>
              <a:rPr sz="1000" spc="-15">
                <a:solidFill>
                  <a:srgbClr val="FF2F4B"/>
                </a:solidFill>
                <a:latin typeface="Verdana"/>
                <a:cs typeface="Verdana"/>
              </a:rPr>
              <a:t>ee</a:t>
            </a:r>
            <a:r>
              <a:rPr sz="1000" spc="-5">
                <a:solidFill>
                  <a:srgbClr val="FF2F4B"/>
                </a:solidFill>
                <a:latin typeface="Verdana"/>
                <a:cs typeface="Verdana"/>
              </a:rPr>
              <a:t>k</a:t>
            </a:r>
            <a:r>
              <a:rPr sz="1000" spc="10">
                <a:solidFill>
                  <a:srgbClr val="FF2F4B"/>
                </a:solidFill>
                <a:latin typeface="Verdana"/>
                <a:cs typeface="Verdana"/>
              </a:rPr>
              <a:t>l</a:t>
            </a:r>
            <a:r>
              <a:rPr sz="1000" spc="-5">
                <a:solidFill>
                  <a:srgbClr val="FF2F4B"/>
                </a:solidFill>
                <a:latin typeface="Verdana"/>
                <a:cs typeface="Verdana"/>
              </a:rPr>
              <a:t>y)</a:t>
            </a:r>
            <a:endParaRPr sz="1000">
              <a:latin typeface="Verdana"/>
              <a:cs typeface="Verdana"/>
            </a:endParaRPr>
          </a:p>
        </p:txBody>
      </p:sp>
      <p:sp>
        <p:nvSpPr>
          <p:cNvPr id="57" name="object 57"/>
          <p:cNvSpPr txBox="1"/>
          <p:nvPr/>
        </p:nvSpPr>
        <p:spPr>
          <a:xfrm>
            <a:off x="6581647" y="3218179"/>
            <a:ext cx="647065" cy="177800"/>
          </a:xfrm>
          <a:prstGeom prst="rect">
            <a:avLst/>
          </a:prstGeom>
        </p:spPr>
        <p:txBody>
          <a:bodyPr vert="horz" wrap="square" lIns="0" tIns="12065" rIns="0" bIns="0" rtlCol="0">
            <a:spAutoFit/>
          </a:bodyPr>
          <a:lstStyle/>
          <a:p>
            <a:pPr marL="12700">
              <a:lnSpc>
                <a:spcPct val="100000"/>
              </a:lnSpc>
              <a:spcBef>
                <a:spcPts val="95"/>
              </a:spcBef>
            </a:pPr>
            <a:r>
              <a:rPr sz="1000" spc="-5">
                <a:solidFill>
                  <a:srgbClr val="FF2F4B"/>
                </a:solidFill>
                <a:latin typeface="Verdana"/>
                <a:cs typeface="Verdana"/>
              </a:rPr>
              <a:t>(Monthly)</a:t>
            </a:r>
            <a:endParaRPr sz="1000">
              <a:latin typeface="Verdana"/>
              <a:cs typeface="Verdana"/>
            </a:endParaRPr>
          </a:p>
        </p:txBody>
      </p:sp>
      <p:sp>
        <p:nvSpPr>
          <p:cNvPr id="58" name="object 58"/>
          <p:cNvSpPr/>
          <p:nvPr/>
        </p:nvSpPr>
        <p:spPr>
          <a:xfrm>
            <a:off x="3573779" y="1141475"/>
            <a:ext cx="627888" cy="513588"/>
          </a:xfrm>
          <a:prstGeom prst="rect">
            <a:avLst/>
          </a:prstGeom>
          <a:blipFill>
            <a:blip r:embed="rId5" cstate="print"/>
            <a:stretch>
              <a:fillRect/>
            </a:stretch>
          </a:blipFill>
        </p:spPr>
        <p:txBody>
          <a:bodyPr wrap="square" lIns="0" tIns="0" rIns="0" bIns="0" rtlCol="0"/>
          <a:lstStyle/>
          <a:p>
            <a:endParaRPr/>
          </a:p>
        </p:txBody>
      </p:sp>
      <p:sp>
        <p:nvSpPr>
          <p:cNvPr id="59" name="object 5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60" name="object 60"/>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5</a:t>
            </a:fld>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660140" cy="422275"/>
          </a:xfrm>
          <a:prstGeom prst="rect">
            <a:avLst/>
          </a:prstGeom>
        </p:spPr>
        <p:txBody>
          <a:bodyPr vert="horz" wrap="square" lIns="0" tIns="12700" rIns="0" bIns="0" rtlCol="0">
            <a:spAutoFit/>
          </a:bodyPr>
          <a:lstStyle/>
          <a:p>
            <a:pPr marL="12700">
              <a:lnSpc>
                <a:spcPct val="100000"/>
              </a:lnSpc>
              <a:spcBef>
                <a:spcPts val="100"/>
              </a:spcBef>
            </a:pPr>
            <a:r>
              <a:rPr sz="2600"/>
              <a:t>Escalation</a:t>
            </a:r>
            <a:r>
              <a:rPr sz="2600" spc="-114"/>
              <a:t> </a:t>
            </a:r>
            <a:r>
              <a:rPr sz="2600"/>
              <a:t>Mechanism</a:t>
            </a:r>
          </a:p>
        </p:txBody>
      </p:sp>
      <p:sp>
        <p:nvSpPr>
          <p:cNvPr id="3" name="object 3"/>
          <p:cNvSpPr txBox="1"/>
          <p:nvPr/>
        </p:nvSpPr>
        <p:spPr>
          <a:xfrm>
            <a:off x="227075" y="1124711"/>
            <a:ext cx="3157855" cy="5363210"/>
          </a:xfrm>
          <a:prstGeom prst="rect">
            <a:avLst/>
          </a:prstGeom>
          <a:solidFill>
            <a:srgbClr val="F1F1F1"/>
          </a:solidFill>
        </p:spPr>
        <p:txBody>
          <a:bodyPr vert="horz" wrap="square" lIns="0" tIns="0" rIns="0" bIns="0" rtlCol="0">
            <a:spAutoFit/>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marL="263525" marR="223520" indent="-172720">
              <a:lnSpc>
                <a:spcPct val="100000"/>
              </a:lnSpc>
              <a:spcBef>
                <a:spcPts val="844"/>
              </a:spcBef>
              <a:buClr>
                <a:srgbClr val="006FAC"/>
              </a:buClr>
              <a:buFont typeface="Wingdings"/>
              <a:buChar char=""/>
              <a:tabLst>
                <a:tab pos="264160" algn="l"/>
              </a:tabLst>
            </a:pPr>
            <a:r>
              <a:rPr sz="1200" spc="-5">
                <a:latin typeface="Verdana"/>
                <a:cs typeface="Verdana"/>
              </a:rPr>
              <a:t>Capgemini project governance  </a:t>
            </a:r>
            <a:r>
              <a:rPr sz="1200" spc="-10">
                <a:latin typeface="Verdana"/>
                <a:cs typeface="Verdana"/>
              </a:rPr>
              <a:t>practices </a:t>
            </a:r>
            <a:r>
              <a:rPr sz="1200" spc="-5">
                <a:latin typeface="Verdana"/>
                <a:cs typeface="Verdana"/>
              </a:rPr>
              <a:t>prescribe </a:t>
            </a:r>
            <a:r>
              <a:rPr sz="1200">
                <a:latin typeface="Verdana"/>
                <a:cs typeface="Verdana"/>
              </a:rPr>
              <a:t>a </a:t>
            </a:r>
            <a:r>
              <a:rPr sz="1200" spc="-5">
                <a:latin typeface="Verdana"/>
                <a:cs typeface="Verdana"/>
              </a:rPr>
              <a:t>defined issue  resolution and escalation </a:t>
            </a:r>
            <a:r>
              <a:rPr sz="1200">
                <a:latin typeface="Verdana"/>
                <a:cs typeface="Verdana"/>
              </a:rPr>
              <a:t>process  </a:t>
            </a:r>
            <a:r>
              <a:rPr sz="1200" spc="-5">
                <a:latin typeface="Verdana"/>
                <a:cs typeface="Verdana"/>
              </a:rPr>
              <a:t>which helps organizations bridge  the gap between control  requirements, technical issues and  business</a:t>
            </a:r>
            <a:r>
              <a:rPr sz="1200" spc="10">
                <a:latin typeface="Verdana"/>
                <a:cs typeface="Verdana"/>
              </a:rPr>
              <a:t> </a:t>
            </a:r>
            <a:r>
              <a:rPr sz="1200">
                <a:latin typeface="Verdana"/>
                <a:cs typeface="Verdana"/>
              </a:rPr>
              <a:t>risks</a:t>
            </a:r>
          </a:p>
          <a:p>
            <a:pPr marL="263525" marR="410209" indent="-172720">
              <a:lnSpc>
                <a:spcPct val="100000"/>
              </a:lnSpc>
              <a:spcBef>
                <a:spcPts val="805"/>
              </a:spcBef>
              <a:buClr>
                <a:srgbClr val="006FAC"/>
              </a:buClr>
              <a:buFont typeface="Wingdings"/>
              <a:buChar char=""/>
              <a:tabLst>
                <a:tab pos="264160" algn="l"/>
              </a:tabLst>
            </a:pPr>
            <a:r>
              <a:rPr sz="1200" spc="-5">
                <a:latin typeface="Verdana"/>
                <a:cs typeface="Verdana"/>
              </a:rPr>
              <a:t>The pace </a:t>
            </a:r>
            <a:r>
              <a:rPr sz="1200">
                <a:latin typeface="Verdana"/>
                <a:cs typeface="Verdana"/>
              </a:rPr>
              <a:t>of </a:t>
            </a:r>
            <a:r>
              <a:rPr sz="1200" spc="-5">
                <a:latin typeface="Verdana"/>
                <a:cs typeface="Verdana"/>
              </a:rPr>
              <a:t>escalation </a:t>
            </a:r>
            <a:r>
              <a:rPr sz="1200">
                <a:latin typeface="Verdana"/>
                <a:cs typeface="Verdana"/>
              </a:rPr>
              <a:t>of </a:t>
            </a:r>
            <a:r>
              <a:rPr sz="1200" spc="-5">
                <a:latin typeface="Verdana"/>
                <a:cs typeface="Verdana"/>
              </a:rPr>
              <a:t>these  issues will be determined by the  type </a:t>
            </a:r>
            <a:r>
              <a:rPr sz="1200">
                <a:latin typeface="Verdana"/>
                <a:cs typeface="Verdana"/>
              </a:rPr>
              <a:t>of </a:t>
            </a:r>
            <a:r>
              <a:rPr sz="1200" spc="-5">
                <a:latin typeface="Verdana"/>
                <a:cs typeface="Verdana"/>
              </a:rPr>
              <a:t>issue, </a:t>
            </a:r>
            <a:r>
              <a:rPr sz="1200" spc="-10">
                <a:latin typeface="Verdana"/>
                <a:cs typeface="Verdana"/>
              </a:rPr>
              <a:t>its </a:t>
            </a:r>
            <a:r>
              <a:rPr sz="1200" spc="-5">
                <a:latin typeface="Verdana"/>
                <a:cs typeface="Verdana"/>
              </a:rPr>
              <a:t>severity and  potential impact to business  </a:t>
            </a:r>
            <a:r>
              <a:rPr sz="1200" spc="-10">
                <a:latin typeface="Verdana"/>
                <a:cs typeface="Verdana"/>
              </a:rPr>
              <a:t>continuity</a:t>
            </a:r>
            <a:endParaRPr sz="1200">
              <a:latin typeface="Verdana"/>
              <a:cs typeface="Verdana"/>
            </a:endParaRPr>
          </a:p>
          <a:p>
            <a:pPr marL="263525" marR="114300" indent="-172720">
              <a:lnSpc>
                <a:spcPct val="100000"/>
              </a:lnSpc>
              <a:spcBef>
                <a:spcPts val="805"/>
              </a:spcBef>
              <a:buClr>
                <a:srgbClr val="006FAC"/>
              </a:buClr>
              <a:buFont typeface="Wingdings"/>
              <a:buChar char=""/>
              <a:tabLst>
                <a:tab pos="264160" algn="l"/>
              </a:tabLst>
            </a:pPr>
            <a:r>
              <a:rPr sz="1200" spc="-5">
                <a:latin typeface="Verdana"/>
                <a:cs typeface="Verdana"/>
              </a:rPr>
              <a:t>An environment(Governance Model)  to identify and </a:t>
            </a:r>
            <a:r>
              <a:rPr sz="1200">
                <a:latin typeface="Verdana"/>
                <a:cs typeface="Verdana"/>
              </a:rPr>
              <a:t>report </a:t>
            </a:r>
            <a:r>
              <a:rPr sz="1200" spc="-5">
                <a:latin typeface="Verdana"/>
                <a:cs typeface="Verdana"/>
              </a:rPr>
              <a:t>issues quickly  will be set up with mutual  agreement between the</a:t>
            </a:r>
            <a:r>
              <a:rPr sz="1200" spc="15">
                <a:latin typeface="Verdana"/>
                <a:cs typeface="Verdana"/>
              </a:rPr>
              <a:t> </a:t>
            </a:r>
            <a:r>
              <a:rPr sz="1200" spc="-5">
                <a:latin typeface="Verdana"/>
                <a:cs typeface="Verdana"/>
              </a:rPr>
              <a:t>parties</a:t>
            </a:r>
            <a:endParaRPr sz="1200">
              <a:latin typeface="Verdana"/>
              <a:cs typeface="Verdana"/>
            </a:endParaRPr>
          </a:p>
          <a:p>
            <a:pPr marL="263525" marR="95885" indent="-172720">
              <a:lnSpc>
                <a:spcPct val="100000"/>
              </a:lnSpc>
              <a:spcBef>
                <a:spcPts val="795"/>
              </a:spcBef>
              <a:buClr>
                <a:srgbClr val="006FAC"/>
              </a:buClr>
              <a:buFont typeface="Wingdings"/>
              <a:buChar char=""/>
              <a:tabLst>
                <a:tab pos="264160" algn="l"/>
              </a:tabLst>
            </a:pPr>
            <a:r>
              <a:rPr sz="1200" spc="-5">
                <a:latin typeface="Verdana"/>
                <a:cs typeface="Verdana"/>
              </a:rPr>
              <a:t>This consists </a:t>
            </a:r>
            <a:r>
              <a:rPr sz="1200">
                <a:latin typeface="Verdana"/>
                <a:cs typeface="Verdana"/>
              </a:rPr>
              <a:t>of </a:t>
            </a:r>
            <a:r>
              <a:rPr sz="1200" spc="-5">
                <a:latin typeface="Verdana"/>
                <a:cs typeface="Verdana"/>
              </a:rPr>
              <a:t>the governance  team details with the contact details  and </a:t>
            </a:r>
            <a:r>
              <a:rPr sz="1200">
                <a:latin typeface="Verdana"/>
                <a:cs typeface="Verdana"/>
              </a:rPr>
              <a:t>an </a:t>
            </a:r>
            <a:r>
              <a:rPr sz="1200" spc="-5">
                <a:latin typeface="Verdana"/>
                <a:cs typeface="Verdana"/>
              </a:rPr>
              <a:t>escalation matrix to define  the threshold period for the  </a:t>
            </a:r>
            <a:r>
              <a:rPr sz="1200" spc="-10">
                <a:latin typeface="Verdana"/>
                <a:cs typeface="Verdana"/>
              </a:rPr>
              <a:t>implementation </a:t>
            </a:r>
            <a:r>
              <a:rPr sz="1200" spc="-5">
                <a:latin typeface="Verdana"/>
                <a:cs typeface="Verdana"/>
              </a:rPr>
              <a:t>problem and  escalation level </a:t>
            </a:r>
            <a:r>
              <a:rPr sz="1200">
                <a:latin typeface="Verdana"/>
                <a:cs typeface="Verdana"/>
              </a:rPr>
              <a:t>from </a:t>
            </a:r>
            <a:r>
              <a:rPr sz="1200" spc="-5">
                <a:latin typeface="Verdana"/>
                <a:cs typeface="Verdana"/>
              </a:rPr>
              <a:t>both the</a:t>
            </a:r>
            <a:r>
              <a:rPr sz="1200" spc="-40">
                <a:latin typeface="Verdana"/>
                <a:cs typeface="Verdana"/>
              </a:rPr>
              <a:t> </a:t>
            </a:r>
            <a:r>
              <a:rPr sz="1200" spc="-5">
                <a:latin typeface="Verdana"/>
                <a:cs typeface="Verdana"/>
              </a:rPr>
              <a:t>ends.</a:t>
            </a:r>
            <a:endParaRPr sz="1200">
              <a:latin typeface="Verdana"/>
              <a:cs typeface="Verdana"/>
            </a:endParaRPr>
          </a:p>
        </p:txBody>
      </p:sp>
      <p:sp>
        <p:nvSpPr>
          <p:cNvPr id="4" name="object 4"/>
          <p:cNvSpPr/>
          <p:nvPr/>
        </p:nvSpPr>
        <p:spPr>
          <a:xfrm>
            <a:off x="4084320" y="1124711"/>
            <a:ext cx="2874645" cy="5364480"/>
          </a:xfrm>
          <a:custGeom>
            <a:avLst/>
            <a:gdLst/>
            <a:ahLst/>
            <a:cxnLst/>
            <a:rect l="l" t="t" r="r" b="b"/>
            <a:pathLst>
              <a:path w="2874645" h="5364480">
                <a:moveTo>
                  <a:pt x="0" y="5364480"/>
                </a:moveTo>
                <a:lnTo>
                  <a:pt x="2874264" y="5364480"/>
                </a:lnTo>
                <a:lnTo>
                  <a:pt x="2874264" y="0"/>
                </a:lnTo>
                <a:lnTo>
                  <a:pt x="0" y="0"/>
                </a:lnTo>
                <a:lnTo>
                  <a:pt x="0" y="5364480"/>
                </a:lnTo>
                <a:close/>
              </a:path>
            </a:pathLst>
          </a:custGeom>
          <a:solidFill>
            <a:srgbClr val="F1F1F1"/>
          </a:solidFill>
        </p:spPr>
        <p:txBody>
          <a:bodyPr wrap="square" lIns="0" tIns="0" rIns="0" bIns="0" rtlCol="0"/>
          <a:lstStyle/>
          <a:p>
            <a:endParaRPr/>
          </a:p>
        </p:txBody>
      </p:sp>
      <p:sp>
        <p:nvSpPr>
          <p:cNvPr id="5" name="object 5"/>
          <p:cNvSpPr txBox="1"/>
          <p:nvPr/>
        </p:nvSpPr>
        <p:spPr>
          <a:xfrm>
            <a:off x="4163695" y="2594864"/>
            <a:ext cx="2668905" cy="2425065"/>
          </a:xfrm>
          <a:prstGeom prst="rect">
            <a:avLst/>
          </a:prstGeom>
        </p:spPr>
        <p:txBody>
          <a:bodyPr vert="horz" wrap="square" lIns="0" tIns="12700" rIns="0" bIns="0" rtlCol="0">
            <a:spAutoFit/>
          </a:bodyPr>
          <a:lstStyle/>
          <a:p>
            <a:pPr marL="12700" marR="24765">
              <a:lnSpc>
                <a:spcPct val="100000"/>
              </a:lnSpc>
              <a:spcBef>
                <a:spcPts val="100"/>
              </a:spcBef>
            </a:pPr>
            <a:r>
              <a:rPr sz="1200">
                <a:latin typeface="Verdana"/>
                <a:cs typeface="Verdana"/>
              </a:rPr>
              <a:t>If </a:t>
            </a:r>
            <a:r>
              <a:rPr sz="1200" spc="-5">
                <a:latin typeface="Verdana"/>
                <a:cs typeface="Verdana"/>
              </a:rPr>
              <a:t>the issue is unresolved it will be  escalated to the Steering  Committee </a:t>
            </a:r>
            <a:r>
              <a:rPr sz="1200">
                <a:latin typeface="Verdana"/>
                <a:cs typeface="Verdana"/>
              </a:rPr>
              <a:t>for</a:t>
            </a:r>
            <a:r>
              <a:rPr sz="1200" spc="-20">
                <a:latin typeface="Verdana"/>
                <a:cs typeface="Verdana"/>
              </a:rPr>
              <a:t> </a:t>
            </a:r>
            <a:r>
              <a:rPr sz="1200" spc="-5">
                <a:latin typeface="Verdana"/>
                <a:cs typeface="Verdana"/>
              </a:rPr>
              <a:t>direction</a:t>
            </a:r>
            <a:endParaRPr sz="1200">
              <a:latin typeface="Verdana"/>
              <a:cs typeface="Verdana"/>
            </a:endParaRPr>
          </a:p>
          <a:p>
            <a:pPr marL="12700" marR="55880">
              <a:lnSpc>
                <a:spcPct val="100000"/>
              </a:lnSpc>
              <a:spcBef>
                <a:spcPts val="805"/>
              </a:spcBef>
            </a:pPr>
            <a:r>
              <a:rPr sz="1200" spc="-5">
                <a:latin typeface="Verdana"/>
                <a:cs typeface="Verdana"/>
              </a:rPr>
              <a:t>Capgemini Account </a:t>
            </a:r>
            <a:r>
              <a:rPr sz="1200" spc="-10">
                <a:latin typeface="Verdana"/>
                <a:cs typeface="Verdana"/>
              </a:rPr>
              <a:t>Executive </a:t>
            </a:r>
            <a:r>
              <a:rPr sz="1200" spc="-5">
                <a:latin typeface="Verdana"/>
                <a:cs typeface="Verdana"/>
              </a:rPr>
              <a:t>and  Project Manager liaises with the  Client Project Manager/Business  PO to resolve the</a:t>
            </a:r>
            <a:r>
              <a:rPr sz="1200" spc="5">
                <a:latin typeface="Verdana"/>
                <a:cs typeface="Verdana"/>
              </a:rPr>
              <a:t> </a:t>
            </a:r>
            <a:r>
              <a:rPr sz="1200" spc="-5">
                <a:latin typeface="Verdana"/>
                <a:cs typeface="Verdana"/>
              </a:rPr>
              <a:t>issue</a:t>
            </a:r>
            <a:endParaRPr sz="1200">
              <a:latin typeface="Verdana"/>
              <a:cs typeface="Verdana"/>
            </a:endParaRPr>
          </a:p>
          <a:p>
            <a:pPr marL="12700" marR="5080">
              <a:lnSpc>
                <a:spcPct val="100000"/>
              </a:lnSpc>
              <a:spcBef>
                <a:spcPts val="805"/>
              </a:spcBef>
            </a:pPr>
            <a:r>
              <a:rPr sz="1200" spc="-5">
                <a:latin typeface="Verdana"/>
                <a:cs typeface="Verdana"/>
              </a:rPr>
              <a:t>The first level </a:t>
            </a:r>
            <a:r>
              <a:rPr sz="1200">
                <a:latin typeface="Verdana"/>
                <a:cs typeface="Verdana"/>
              </a:rPr>
              <a:t>of </a:t>
            </a:r>
            <a:r>
              <a:rPr sz="1200" spc="-5">
                <a:latin typeface="Verdana"/>
                <a:cs typeface="Verdana"/>
              </a:rPr>
              <a:t>escalation is </a:t>
            </a:r>
            <a:r>
              <a:rPr sz="1200">
                <a:latin typeface="Verdana"/>
                <a:cs typeface="Verdana"/>
              </a:rPr>
              <a:t>from  </a:t>
            </a:r>
            <a:r>
              <a:rPr sz="1200" spc="-5">
                <a:latin typeface="Verdana"/>
                <a:cs typeface="Verdana"/>
              </a:rPr>
              <a:t>Capgemini </a:t>
            </a:r>
            <a:r>
              <a:rPr sz="1200" spc="-35">
                <a:latin typeface="Verdana"/>
                <a:cs typeface="Verdana"/>
              </a:rPr>
              <a:t>Team </a:t>
            </a:r>
            <a:r>
              <a:rPr sz="1200" spc="-5">
                <a:latin typeface="Verdana"/>
                <a:cs typeface="Verdana"/>
              </a:rPr>
              <a:t>Leaders to  Project Manager </a:t>
            </a:r>
            <a:r>
              <a:rPr sz="1200">
                <a:latin typeface="Verdana"/>
                <a:cs typeface="Verdana"/>
              </a:rPr>
              <a:t>, </a:t>
            </a:r>
            <a:r>
              <a:rPr sz="1200" spc="-5">
                <a:latin typeface="Verdana"/>
                <a:cs typeface="Verdana"/>
              </a:rPr>
              <a:t>who escalates  </a:t>
            </a:r>
            <a:r>
              <a:rPr sz="1200" spc="-10">
                <a:latin typeface="Verdana"/>
                <a:cs typeface="Verdana"/>
              </a:rPr>
              <a:t>any </a:t>
            </a:r>
            <a:r>
              <a:rPr sz="1200" spc="-5">
                <a:latin typeface="Verdana"/>
                <a:cs typeface="Verdana"/>
              </a:rPr>
              <a:t>issues to Capgemini Account  </a:t>
            </a:r>
            <a:r>
              <a:rPr sz="1200" spc="-10">
                <a:latin typeface="Verdana"/>
                <a:cs typeface="Verdana"/>
              </a:rPr>
              <a:t>Executive</a:t>
            </a:r>
            <a:endParaRPr sz="1200">
              <a:latin typeface="Verdana"/>
              <a:cs typeface="Verdana"/>
            </a:endParaRPr>
          </a:p>
        </p:txBody>
      </p:sp>
      <p:sp>
        <p:nvSpPr>
          <p:cNvPr id="6" name="object 6"/>
          <p:cNvSpPr/>
          <p:nvPr/>
        </p:nvSpPr>
        <p:spPr>
          <a:xfrm>
            <a:off x="3433571" y="1124711"/>
            <a:ext cx="601980" cy="5364480"/>
          </a:xfrm>
          <a:custGeom>
            <a:avLst/>
            <a:gdLst/>
            <a:ahLst/>
            <a:cxnLst/>
            <a:rect l="l" t="t" r="r" b="b"/>
            <a:pathLst>
              <a:path w="601979" h="5364480">
                <a:moveTo>
                  <a:pt x="461010" y="300989"/>
                </a:moveTo>
                <a:lnTo>
                  <a:pt x="140969" y="300989"/>
                </a:lnTo>
                <a:lnTo>
                  <a:pt x="140969" y="5364480"/>
                </a:lnTo>
                <a:lnTo>
                  <a:pt x="461010" y="5364480"/>
                </a:lnTo>
                <a:lnTo>
                  <a:pt x="461010" y="300989"/>
                </a:lnTo>
                <a:close/>
              </a:path>
              <a:path w="601979" h="5364480">
                <a:moveTo>
                  <a:pt x="300989" y="0"/>
                </a:moveTo>
                <a:lnTo>
                  <a:pt x="0" y="300989"/>
                </a:lnTo>
                <a:lnTo>
                  <a:pt x="601979" y="300989"/>
                </a:lnTo>
                <a:lnTo>
                  <a:pt x="300989" y="0"/>
                </a:lnTo>
                <a:close/>
              </a:path>
            </a:pathLst>
          </a:custGeom>
          <a:solidFill>
            <a:srgbClr val="12ABDB"/>
          </a:solidFill>
        </p:spPr>
        <p:txBody>
          <a:bodyPr wrap="square" lIns="0" tIns="0" rIns="0" bIns="0" rtlCol="0"/>
          <a:lstStyle/>
          <a:p>
            <a:endParaRPr/>
          </a:p>
        </p:txBody>
      </p:sp>
      <p:sp>
        <p:nvSpPr>
          <p:cNvPr id="7" name="object 7"/>
          <p:cNvSpPr txBox="1"/>
          <p:nvPr/>
        </p:nvSpPr>
        <p:spPr>
          <a:xfrm>
            <a:off x="3626682" y="3358585"/>
            <a:ext cx="210820" cy="900430"/>
          </a:xfrm>
          <a:prstGeom prst="rect">
            <a:avLst/>
          </a:prstGeom>
        </p:spPr>
        <p:txBody>
          <a:bodyPr vert="vert270" wrap="square" lIns="0" tIns="13335" rIns="0" bIns="0" rtlCol="0">
            <a:spAutoFit/>
          </a:bodyPr>
          <a:lstStyle/>
          <a:p>
            <a:pPr marL="12700">
              <a:lnSpc>
                <a:spcPct val="100000"/>
              </a:lnSpc>
              <a:spcBef>
                <a:spcPts val="105"/>
              </a:spcBef>
            </a:pPr>
            <a:r>
              <a:rPr sz="1200" b="1" spc="-5">
                <a:solidFill>
                  <a:srgbClr val="FFFFFF"/>
                </a:solidFill>
                <a:latin typeface="Verdana"/>
                <a:cs typeface="Verdana"/>
              </a:rPr>
              <a:t>Escalation</a:t>
            </a:r>
            <a:endParaRPr sz="1200">
              <a:latin typeface="Verdana"/>
              <a:cs typeface="Verdana"/>
            </a:endParaRPr>
          </a:p>
        </p:txBody>
      </p:sp>
      <p:sp>
        <p:nvSpPr>
          <p:cNvPr id="8" name="object 8"/>
          <p:cNvSpPr/>
          <p:nvPr/>
        </p:nvSpPr>
        <p:spPr>
          <a:xfrm>
            <a:off x="7039356" y="1546860"/>
            <a:ext cx="4876800" cy="1144905"/>
          </a:xfrm>
          <a:custGeom>
            <a:avLst/>
            <a:gdLst/>
            <a:ahLst/>
            <a:cxnLst/>
            <a:rect l="l" t="t" r="r" b="b"/>
            <a:pathLst>
              <a:path w="4876800" h="1144905">
                <a:moveTo>
                  <a:pt x="0" y="1144524"/>
                </a:moveTo>
                <a:lnTo>
                  <a:pt x="4876800" y="1144524"/>
                </a:lnTo>
                <a:lnTo>
                  <a:pt x="4876800" y="0"/>
                </a:lnTo>
                <a:lnTo>
                  <a:pt x="0" y="0"/>
                </a:lnTo>
                <a:lnTo>
                  <a:pt x="0" y="1144524"/>
                </a:lnTo>
                <a:close/>
              </a:path>
            </a:pathLst>
          </a:custGeom>
          <a:solidFill>
            <a:srgbClr val="006FAC"/>
          </a:solidFill>
        </p:spPr>
        <p:txBody>
          <a:bodyPr wrap="square" lIns="0" tIns="0" rIns="0" bIns="0" rtlCol="0"/>
          <a:lstStyle/>
          <a:p>
            <a:endParaRPr/>
          </a:p>
        </p:txBody>
      </p:sp>
      <p:sp>
        <p:nvSpPr>
          <p:cNvPr id="9" name="object 9"/>
          <p:cNvSpPr txBox="1"/>
          <p:nvPr/>
        </p:nvSpPr>
        <p:spPr>
          <a:xfrm>
            <a:off x="7118984" y="1578990"/>
            <a:ext cx="265620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Strategic Engagement</a:t>
            </a:r>
            <a:r>
              <a:rPr sz="1200" b="1" spc="-40">
                <a:solidFill>
                  <a:srgbClr val="FFFFFF"/>
                </a:solidFill>
                <a:latin typeface="Verdana"/>
                <a:cs typeface="Verdana"/>
              </a:rPr>
              <a:t> </a:t>
            </a:r>
            <a:r>
              <a:rPr sz="1200" b="1" spc="-5">
                <a:solidFill>
                  <a:srgbClr val="FFFFFF"/>
                </a:solidFill>
                <a:latin typeface="Verdana"/>
                <a:cs typeface="Verdana"/>
              </a:rPr>
              <a:t>Meeting</a:t>
            </a:r>
            <a:endParaRPr sz="1200">
              <a:latin typeface="Verdana"/>
              <a:cs typeface="Verdana"/>
            </a:endParaRPr>
          </a:p>
        </p:txBody>
      </p:sp>
      <p:sp>
        <p:nvSpPr>
          <p:cNvPr id="10" name="object 10"/>
          <p:cNvSpPr txBox="1"/>
          <p:nvPr/>
        </p:nvSpPr>
        <p:spPr>
          <a:xfrm>
            <a:off x="11175618" y="1596390"/>
            <a:ext cx="63690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78CFFF"/>
                </a:solidFill>
                <a:latin typeface="Verdana"/>
                <a:cs typeface="Verdana"/>
              </a:rPr>
              <a:t>Level</a:t>
            </a:r>
            <a:r>
              <a:rPr sz="1200" b="1" spc="-65">
                <a:solidFill>
                  <a:srgbClr val="78CFFF"/>
                </a:solidFill>
                <a:latin typeface="Verdana"/>
                <a:cs typeface="Verdana"/>
              </a:rPr>
              <a:t> </a:t>
            </a:r>
            <a:r>
              <a:rPr sz="1200" b="1">
                <a:solidFill>
                  <a:srgbClr val="78CFFF"/>
                </a:solidFill>
                <a:latin typeface="Verdana"/>
                <a:cs typeface="Verdana"/>
              </a:rPr>
              <a:t>3</a:t>
            </a:r>
            <a:endParaRPr sz="1200">
              <a:latin typeface="Verdana"/>
              <a:cs typeface="Verdana"/>
            </a:endParaRPr>
          </a:p>
        </p:txBody>
      </p:sp>
      <p:sp>
        <p:nvSpPr>
          <p:cNvPr id="11" name="object 11"/>
          <p:cNvSpPr/>
          <p:nvPr/>
        </p:nvSpPr>
        <p:spPr>
          <a:xfrm>
            <a:off x="7039356" y="3235451"/>
            <a:ext cx="4876800" cy="1144905"/>
          </a:xfrm>
          <a:custGeom>
            <a:avLst/>
            <a:gdLst/>
            <a:ahLst/>
            <a:cxnLst/>
            <a:rect l="l" t="t" r="r" b="b"/>
            <a:pathLst>
              <a:path w="4876800" h="1144904">
                <a:moveTo>
                  <a:pt x="0" y="1144524"/>
                </a:moveTo>
                <a:lnTo>
                  <a:pt x="4876800" y="1144524"/>
                </a:lnTo>
                <a:lnTo>
                  <a:pt x="4876800" y="0"/>
                </a:lnTo>
                <a:lnTo>
                  <a:pt x="0" y="0"/>
                </a:lnTo>
                <a:lnTo>
                  <a:pt x="0" y="1144524"/>
                </a:lnTo>
                <a:close/>
              </a:path>
            </a:pathLst>
          </a:custGeom>
          <a:solidFill>
            <a:srgbClr val="006FAC"/>
          </a:solidFill>
        </p:spPr>
        <p:txBody>
          <a:bodyPr wrap="square" lIns="0" tIns="0" rIns="0" bIns="0" rtlCol="0"/>
          <a:lstStyle/>
          <a:p>
            <a:endParaRPr/>
          </a:p>
        </p:txBody>
      </p:sp>
      <p:sp>
        <p:nvSpPr>
          <p:cNvPr id="12" name="object 12"/>
          <p:cNvSpPr txBox="1"/>
          <p:nvPr/>
        </p:nvSpPr>
        <p:spPr>
          <a:xfrm>
            <a:off x="7118984" y="3267202"/>
            <a:ext cx="3405504"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Steering Committee (Global </a:t>
            </a:r>
            <a:r>
              <a:rPr sz="1200" b="1">
                <a:solidFill>
                  <a:srgbClr val="FFFFFF"/>
                </a:solidFill>
                <a:latin typeface="Verdana"/>
                <a:cs typeface="Verdana"/>
              </a:rPr>
              <a:t>&amp;</a:t>
            </a:r>
            <a:r>
              <a:rPr sz="1200" b="1" spc="15">
                <a:solidFill>
                  <a:srgbClr val="FFFFFF"/>
                </a:solidFill>
                <a:latin typeface="Verdana"/>
                <a:cs typeface="Verdana"/>
              </a:rPr>
              <a:t> </a:t>
            </a:r>
            <a:r>
              <a:rPr sz="1200" b="1" spc="-5">
                <a:solidFill>
                  <a:srgbClr val="FFFFFF"/>
                </a:solidFill>
                <a:latin typeface="Verdana"/>
                <a:cs typeface="Verdana"/>
              </a:rPr>
              <a:t>Country)</a:t>
            </a:r>
            <a:endParaRPr sz="1200">
              <a:latin typeface="Verdana"/>
              <a:cs typeface="Verdana"/>
            </a:endParaRPr>
          </a:p>
        </p:txBody>
      </p:sp>
      <p:sp>
        <p:nvSpPr>
          <p:cNvPr id="13" name="object 13"/>
          <p:cNvSpPr txBox="1"/>
          <p:nvPr/>
        </p:nvSpPr>
        <p:spPr>
          <a:xfrm>
            <a:off x="11175618" y="3284601"/>
            <a:ext cx="63690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78CFFF"/>
                </a:solidFill>
                <a:latin typeface="Verdana"/>
                <a:cs typeface="Verdana"/>
              </a:rPr>
              <a:t>Level</a:t>
            </a:r>
            <a:r>
              <a:rPr sz="1200" b="1" spc="-65">
                <a:solidFill>
                  <a:srgbClr val="78CFFF"/>
                </a:solidFill>
                <a:latin typeface="Verdana"/>
                <a:cs typeface="Verdana"/>
              </a:rPr>
              <a:t> </a:t>
            </a:r>
            <a:r>
              <a:rPr sz="1200" b="1">
                <a:solidFill>
                  <a:srgbClr val="78CFFF"/>
                </a:solidFill>
                <a:latin typeface="Verdana"/>
                <a:cs typeface="Verdana"/>
              </a:rPr>
              <a:t>2</a:t>
            </a:r>
            <a:endParaRPr sz="1200">
              <a:latin typeface="Verdana"/>
              <a:cs typeface="Verdana"/>
            </a:endParaRPr>
          </a:p>
        </p:txBody>
      </p:sp>
      <p:sp>
        <p:nvSpPr>
          <p:cNvPr id="14" name="object 14"/>
          <p:cNvSpPr/>
          <p:nvPr/>
        </p:nvSpPr>
        <p:spPr>
          <a:xfrm>
            <a:off x="7039356" y="4922520"/>
            <a:ext cx="4876800" cy="1144905"/>
          </a:xfrm>
          <a:custGeom>
            <a:avLst/>
            <a:gdLst/>
            <a:ahLst/>
            <a:cxnLst/>
            <a:rect l="l" t="t" r="r" b="b"/>
            <a:pathLst>
              <a:path w="4876800" h="1144904">
                <a:moveTo>
                  <a:pt x="0" y="1144523"/>
                </a:moveTo>
                <a:lnTo>
                  <a:pt x="4876800" y="1144523"/>
                </a:lnTo>
                <a:lnTo>
                  <a:pt x="4876800" y="0"/>
                </a:lnTo>
                <a:lnTo>
                  <a:pt x="0" y="0"/>
                </a:lnTo>
                <a:lnTo>
                  <a:pt x="0" y="1144523"/>
                </a:lnTo>
                <a:close/>
              </a:path>
            </a:pathLst>
          </a:custGeom>
          <a:solidFill>
            <a:srgbClr val="006FAC"/>
          </a:solidFill>
        </p:spPr>
        <p:txBody>
          <a:bodyPr wrap="square" lIns="0" tIns="0" rIns="0" bIns="0" rtlCol="0"/>
          <a:lstStyle/>
          <a:p>
            <a:endParaRPr/>
          </a:p>
        </p:txBody>
      </p:sp>
      <p:sp>
        <p:nvSpPr>
          <p:cNvPr id="15" name="object 15"/>
          <p:cNvSpPr txBox="1"/>
          <p:nvPr/>
        </p:nvSpPr>
        <p:spPr>
          <a:xfrm>
            <a:off x="7118984" y="4955540"/>
            <a:ext cx="235077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Review </a:t>
            </a:r>
            <a:r>
              <a:rPr sz="1200" b="1">
                <a:solidFill>
                  <a:srgbClr val="FFFFFF"/>
                </a:solidFill>
                <a:latin typeface="Verdana"/>
                <a:cs typeface="Verdana"/>
              </a:rPr>
              <a:t>and </a:t>
            </a:r>
            <a:r>
              <a:rPr sz="1200" b="1" spc="-5">
                <a:solidFill>
                  <a:srgbClr val="FFFFFF"/>
                </a:solidFill>
                <a:latin typeface="Verdana"/>
                <a:cs typeface="Verdana"/>
              </a:rPr>
              <a:t>Status</a:t>
            </a:r>
            <a:r>
              <a:rPr sz="1200" b="1" spc="-45">
                <a:solidFill>
                  <a:srgbClr val="FFFFFF"/>
                </a:solidFill>
                <a:latin typeface="Verdana"/>
                <a:cs typeface="Verdana"/>
              </a:rPr>
              <a:t> </a:t>
            </a:r>
            <a:r>
              <a:rPr sz="1200" b="1" spc="-5">
                <a:solidFill>
                  <a:srgbClr val="FFFFFF"/>
                </a:solidFill>
                <a:latin typeface="Verdana"/>
                <a:cs typeface="Verdana"/>
              </a:rPr>
              <a:t>Meeting</a:t>
            </a:r>
            <a:endParaRPr sz="1200">
              <a:latin typeface="Verdana"/>
              <a:cs typeface="Verdana"/>
            </a:endParaRPr>
          </a:p>
        </p:txBody>
      </p:sp>
      <p:sp>
        <p:nvSpPr>
          <p:cNvPr id="16" name="object 16"/>
          <p:cNvSpPr txBox="1"/>
          <p:nvPr/>
        </p:nvSpPr>
        <p:spPr>
          <a:xfrm>
            <a:off x="11175618" y="4972939"/>
            <a:ext cx="63690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78CFFF"/>
                </a:solidFill>
                <a:latin typeface="Verdana"/>
                <a:cs typeface="Verdana"/>
              </a:rPr>
              <a:t>Level</a:t>
            </a:r>
            <a:r>
              <a:rPr sz="1200" b="1" spc="-65">
                <a:solidFill>
                  <a:srgbClr val="78CFFF"/>
                </a:solidFill>
                <a:latin typeface="Verdana"/>
                <a:cs typeface="Verdana"/>
              </a:rPr>
              <a:t> </a:t>
            </a:r>
            <a:r>
              <a:rPr sz="1200" b="1">
                <a:solidFill>
                  <a:srgbClr val="78CFFF"/>
                </a:solidFill>
                <a:latin typeface="Verdana"/>
                <a:cs typeface="Verdana"/>
              </a:rPr>
              <a:t>1</a:t>
            </a:r>
            <a:endParaRPr sz="1200">
              <a:latin typeface="Verdana"/>
              <a:cs typeface="Verdana"/>
            </a:endParaRPr>
          </a:p>
        </p:txBody>
      </p:sp>
      <p:sp>
        <p:nvSpPr>
          <p:cNvPr id="17" name="object 17"/>
          <p:cNvSpPr/>
          <p:nvPr/>
        </p:nvSpPr>
        <p:spPr>
          <a:xfrm>
            <a:off x="9515856" y="1906523"/>
            <a:ext cx="2169160" cy="668020"/>
          </a:xfrm>
          <a:custGeom>
            <a:avLst/>
            <a:gdLst/>
            <a:ahLst/>
            <a:cxnLst/>
            <a:rect l="l" t="t" r="r" b="b"/>
            <a:pathLst>
              <a:path w="2169159" h="668019">
                <a:moveTo>
                  <a:pt x="0" y="667512"/>
                </a:moveTo>
                <a:lnTo>
                  <a:pt x="2168652" y="667512"/>
                </a:lnTo>
                <a:lnTo>
                  <a:pt x="2168652" y="0"/>
                </a:lnTo>
                <a:lnTo>
                  <a:pt x="0" y="0"/>
                </a:lnTo>
                <a:lnTo>
                  <a:pt x="0" y="667512"/>
                </a:lnTo>
                <a:close/>
              </a:path>
            </a:pathLst>
          </a:custGeom>
          <a:solidFill>
            <a:srgbClr val="FFFFFF"/>
          </a:solidFill>
        </p:spPr>
        <p:txBody>
          <a:bodyPr wrap="square" lIns="0" tIns="0" rIns="0" bIns="0" rtlCol="0"/>
          <a:lstStyle/>
          <a:p>
            <a:endParaRPr/>
          </a:p>
        </p:txBody>
      </p:sp>
      <p:sp>
        <p:nvSpPr>
          <p:cNvPr id="18" name="object 18"/>
          <p:cNvSpPr/>
          <p:nvPr/>
        </p:nvSpPr>
        <p:spPr>
          <a:xfrm>
            <a:off x="7271004" y="1906523"/>
            <a:ext cx="2169160" cy="668020"/>
          </a:xfrm>
          <a:custGeom>
            <a:avLst/>
            <a:gdLst/>
            <a:ahLst/>
            <a:cxnLst/>
            <a:rect l="l" t="t" r="r" b="b"/>
            <a:pathLst>
              <a:path w="2169159" h="668019">
                <a:moveTo>
                  <a:pt x="0" y="667512"/>
                </a:moveTo>
                <a:lnTo>
                  <a:pt x="2168652" y="667512"/>
                </a:lnTo>
                <a:lnTo>
                  <a:pt x="2168652" y="0"/>
                </a:lnTo>
                <a:lnTo>
                  <a:pt x="0" y="0"/>
                </a:lnTo>
                <a:lnTo>
                  <a:pt x="0" y="667512"/>
                </a:lnTo>
                <a:close/>
              </a:path>
            </a:pathLst>
          </a:custGeom>
          <a:solidFill>
            <a:srgbClr val="FFFFFF"/>
          </a:solidFill>
        </p:spPr>
        <p:txBody>
          <a:bodyPr wrap="square" lIns="0" tIns="0" rIns="0" bIns="0" rtlCol="0"/>
          <a:lstStyle/>
          <a:p>
            <a:endParaRPr/>
          </a:p>
        </p:txBody>
      </p:sp>
      <p:sp>
        <p:nvSpPr>
          <p:cNvPr id="19" name="object 19"/>
          <p:cNvSpPr/>
          <p:nvPr/>
        </p:nvSpPr>
        <p:spPr>
          <a:xfrm>
            <a:off x="10468356" y="2778251"/>
            <a:ext cx="264160" cy="370840"/>
          </a:xfrm>
          <a:custGeom>
            <a:avLst/>
            <a:gdLst/>
            <a:ahLst/>
            <a:cxnLst/>
            <a:rect l="l" t="t" r="r" b="b"/>
            <a:pathLst>
              <a:path w="264159" h="370839">
                <a:moveTo>
                  <a:pt x="197739" y="131825"/>
                </a:moveTo>
                <a:lnTo>
                  <a:pt x="65913" y="131825"/>
                </a:lnTo>
                <a:lnTo>
                  <a:pt x="65913" y="370332"/>
                </a:lnTo>
                <a:lnTo>
                  <a:pt x="197739" y="370332"/>
                </a:lnTo>
                <a:lnTo>
                  <a:pt x="197739" y="131825"/>
                </a:lnTo>
                <a:close/>
              </a:path>
              <a:path w="264159" h="370839">
                <a:moveTo>
                  <a:pt x="131825" y="0"/>
                </a:moveTo>
                <a:lnTo>
                  <a:pt x="0" y="131825"/>
                </a:lnTo>
                <a:lnTo>
                  <a:pt x="263651" y="131825"/>
                </a:lnTo>
                <a:lnTo>
                  <a:pt x="131825" y="0"/>
                </a:lnTo>
                <a:close/>
              </a:path>
            </a:pathLst>
          </a:custGeom>
          <a:solidFill>
            <a:srgbClr val="7E7E7E"/>
          </a:solidFill>
        </p:spPr>
        <p:txBody>
          <a:bodyPr wrap="square" lIns="0" tIns="0" rIns="0" bIns="0" rtlCol="0"/>
          <a:lstStyle/>
          <a:p>
            <a:endParaRPr/>
          </a:p>
        </p:txBody>
      </p:sp>
      <p:sp>
        <p:nvSpPr>
          <p:cNvPr id="20" name="object 20"/>
          <p:cNvSpPr/>
          <p:nvPr/>
        </p:nvSpPr>
        <p:spPr>
          <a:xfrm>
            <a:off x="8223504" y="2778251"/>
            <a:ext cx="264160" cy="370840"/>
          </a:xfrm>
          <a:custGeom>
            <a:avLst/>
            <a:gdLst/>
            <a:ahLst/>
            <a:cxnLst/>
            <a:rect l="l" t="t" r="r" b="b"/>
            <a:pathLst>
              <a:path w="264159" h="370839">
                <a:moveTo>
                  <a:pt x="197739" y="131825"/>
                </a:moveTo>
                <a:lnTo>
                  <a:pt x="65913" y="131825"/>
                </a:lnTo>
                <a:lnTo>
                  <a:pt x="65913" y="370332"/>
                </a:lnTo>
                <a:lnTo>
                  <a:pt x="197739" y="370332"/>
                </a:lnTo>
                <a:lnTo>
                  <a:pt x="197739" y="131825"/>
                </a:lnTo>
                <a:close/>
              </a:path>
              <a:path w="264159" h="370839">
                <a:moveTo>
                  <a:pt x="131825" y="0"/>
                </a:moveTo>
                <a:lnTo>
                  <a:pt x="0" y="131825"/>
                </a:lnTo>
                <a:lnTo>
                  <a:pt x="263651" y="131825"/>
                </a:lnTo>
                <a:lnTo>
                  <a:pt x="131825" y="0"/>
                </a:lnTo>
                <a:close/>
              </a:path>
            </a:pathLst>
          </a:custGeom>
          <a:solidFill>
            <a:srgbClr val="7E7E7E"/>
          </a:solidFill>
        </p:spPr>
        <p:txBody>
          <a:bodyPr wrap="square" lIns="0" tIns="0" rIns="0" bIns="0" rtlCol="0"/>
          <a:lstStyle/>
          <a:p>
            <a:endParaRPr/>
          </a:p>
        </p:txBody>
      </p:sp>
      <p:sp>
        <p:nvSpPr>
          <p:cNvPr id="21" name="object 21"/>
          <p:cNvSpPr/>
          <p:nvPr/>
        </p:nvSpPr>
        <p:spPr>
          <a:xfrm>
            <a:off x="9515856" y="3593591"/>
            <a:ext cx="2169160" cy="668020"/>
          </a:xfrm>
          <a:custGeom>
            <a:avLst/>
            <a:gdLst/>
            <a:ahLst/>
            <a:cxnLst/>
            <a:rect l="l" t="t" r="r" b="b"/>
            <a:pathLst>
              <a:path w="2169159" h="668020">
                <a:moveTo>
                  <a:pt x="0" y="667511"/>
                </a:moveTo>
                <a:lnTo>
                  <a:pt x="2168652" y="667511"/>
                </a:lnTo>
                <a:lnTo>
                  <a:pt x="2168652" y="0"/>
                </a:lnTo>
                <a:lnTo>
                  <a:pt x="0" y="0"/>
                </a:lnTo>
                <a:lnTo>
                  <a:pt x="0" y="667511"/>
                </a:lnTo>
                <a:close/>
              </a:path>
            </a:pathLst>
          </a:custGeom>
          <a:solidFill>
            <a:srgbClr val="FFFFFF"/>
          </a:solidFill>
        </p:spPr>
        <p:txBody>
          <a:bodyPr wrap="square" lIns="0" tIns="0" rIns="0" bIns="0" rtlCol="0"/>
          <a:lstStyle/>
          <a:p>
            <a:endParaRPr/>
          </a:p>
        </p:txBody>
      </p:sp>
      <p:sp>
        <p:nvSpPr>
          <p:cNvPr id="22" name="object 22"/>
          <p:cNvSpPr/>
          <p:nvPr/>
        </p:nvSpPr>
        <p:spPr>
          <a:xfrm>
            <a:off x="7271004" y="3593591"/>
            <a:ext cx="2169160" cy="668020"/>
          </a:xfrm>
          <a:custGeom>
            <a:avLst/>
            <a:gdLst/>
            <a:ahLst/>
            <a:cxnLst/>
            <a:rect l="l" t="t" r="r" b="b"/>
            <a:pathLst>
              <a:path w="2169159" h="668020">
                <a:moveTo>
                  <a:pt x="0" y="667511"/>
                </a:moveTo>
                <a:lnTo>
                  <a:pt x="2168652" y="667511"/>
                </a:lnTo>
                <a:lnTo>
                  <a:pt x="2168652" y="0"/>
                </a:lnTo>
                <a:lnTo>
                  <a:pt x="0" y="0"/>
                </a:lnTo>
                <a:lnTo>
                  <a:pt x="0" y="667511"/>
                </a:lnTo>
                <a:close/>
              </a:path>
            </a:pathLst>
          </a:custGeom>
          <a:solidFill>
            <a:srgbClr val="FFFFFF"/>
          </a:solidFill>
        </p:spPr>
        <p:txBody>
          <a:bodyPr wrap="square" lIns="0" tIns="0" rIns="0" bIns="0" rtlCol="0"/>
          <a:lstStyle/>
          <a:p>
            <a:endParaRPr/>
          </a:p>
        </p:txBody>
      </p:sp>
      <p:sp>
        <p:nvSpPr>
          <p:cNvPr id="23" name="object 23"/>
          <p:cNvSpPr/>
          <p:nvPr/>
        </p:nvSpPr>
        <p:spPr>
          <a:xfrm>
            <a:off x="10468356" y="4465320"/>
            <a:ext cx="264160" cy="372110"/>
          </a:xfrm>
          <a:custGeom>
            <a:avLst/>
            <a:gdLst/>
            <a:ahLst/>
            <a:cxnLst/>
            <a:rect l="l" t="t" r="r" b="b"/>
            <a:pathLst>
              <a:path w="264159" h="372110">
                <a:moveTo>
                  <a:pt x="197739" y="131825"/>
                </a:moveTo>
                <a:lnTo>
                  <a:pt x="65913" y="131825"/>
                </a:lnTo>
                <a:lnTo>
                  <a:pt x="65913" y="371855"/>
                </a:lnTo>
                <a:lnTo>
                  <a:pt x="197739" y="371855"/>
                </a:lnTo>
                <a:lnTo>
                  <a:pt x="197739" y="131825"/>
                </a:lnTo>
                <a:close/>
              </a:path>
              <a:path w="264159" h="372110">
                <a:moveTo>
                  <a:pt x="131825" y="0"/>
                </a:moveTo>
                <a:lnTo>
                  <a:pt x="0" y="131825"/>
                </a:lnTo>
                <a:lnTo>
                  <a:pt x="263651" y="131825"/>
                </a:lnTo>
                <a:lnTo>
                  <a:pt x="131825" y="0"/>
                </a:lnTo>
                <a:close/>
              </a:path>
            </a:pathLst>
          </a:custGeom>
          <a:solidFill>
            <a:srgbClr val="7E7E7E"/>
          </a:solidFill>
        </p:spPr>
        <p:txBody>
          <a:bodyPr wrap="square" lIns="0" tIns="0" rIns="0" bIns="0" rtlCol="0"/>
          <a:lstStyle/>
          <a:p>
            <a:endParaRPr/>
          </a:p>
        </p:txBody>
      </p:sp>
      <p:sp>
        <p:nvSpPr>
          <p:cNvPr id="24" name="object 24"/>
          <p:cNvSpPr/>
          <p:nvPr/>
        </p:nvSpPr>
        <p:spPr>
          <a:xfrm>
            <a:off x="8223504" y="4465320"/>
            <a:ext cx="264160" cy="372110"/>
          </a:xfrm>
          <a:custGeom>
            <a:avLst/>
            <a:gdLst/>
            <a:ahLst/>
            <a:cxnLst/>
            <a:rect l="l" t="t" r="r" b="b"/>
            <a:pathLst>
              <a:path w="264159" h="372110">
                <a:moveTo>
                  <a:pt x="197739" y="131825"/>
                </a:moveTo>
                <a:lnTo>
                  <a:pt x="65913" y="131825"/>
                </a:lnTo>
                <a:lnTo>
                  <a:pt x="65913" y="371855"/>
                </a:lnTo>
                <a:lnTo>
                  <a:pt x="197739" y="371855"/>
                </a:lnTo>
                <a:lnTo>
                  <a:pt x="197739" y="131825"/>
                </a:lnTo>
                <a:close/>
              </a:path>
              <a:path w="264159" h="372110">
                <a:moveTo>
                  <a:pt x="131825" y="0"/>
                </a:moveTo>
                <a:lnTo>
                  <a:pt x="0" y="131825"/>
                </a:lnTo>
                <a:lnTo>
                  <a:pt x="263651" y="131825"/>
                </a:lnTo>
                <a:lnTo>
                  <a:pt x="131825" y="0"/>
                </a:lnTo>
                <a:close/>
              </a:path>
            </a:pathLst>
          </a:custGeom>
          <a:solidFill>
            <a:srgbClr val="7E7E7E"/>
          </a:solidFill>
        </p:spPr>
        <p:txBody>
          <a:bodyPr wrap="square" lIns="0" tIns="0" rIns="0" bIns="0" rtlCol="0"/>
          <a:lstStyle/>
          <a:p>
            <a:endParaRPr/>
          </a:p>
        </p:txBody>
      </p:sp>
      <p:sp>
        <p:nvSpPr>
          <p:cNvPr id="25" name="object 25"/>
          <p:cNvSpPr/>
          <p:nvPr/>
        </p:nvSpPr>
        <p:spPr>
          <a:xfrm>
            <a:off x="9515856" y="5282184"/>
            <a:ext cx="2169160" cy="668020"/>
          </a:xfrm>
          <a:custGeom>
            <a:avLst/>
            <a:gdLst/>
            <a:ahLst/>
            <a:cxnLst/>
            <a:rect l="l" t="t" r="r" b="b"/>
            <a:pathLst>
              <a:path w="2169159" h="668020">
                <a:moveTo>
                  <a:pt x="0" y="667511"/>
                </a:moveTo>
                <a:lnTo>
                  <a:pt x="2168652" y="667511"/>
                </a:lnTo>
                <a:lnTo>
                  <a:pt x="2168652" y="0"/>
                </a:lnTo>
                <a:lnTo>
                  <a:pt x="0" y="0"/>
                </a:lnTo>
                <a:lnTo>
                  <a:pt x="0" y="667511"/>
                </a:lnTo>
                <a:close/>
              </a:path>
            </a:pathLst>
          </a:custGeom>
          <a:solidFill>
            <a:srgbClr val="FFFFFF"/>
          </a:solidFill>
        </p:spPr>
        <p:txBody>
          <a:bodyPr wrap="square" lIns="0" tIns="0" rIns="0" bIns="0" rtlCol="0"/>
          <a:lstStyle/>
          <a:p>
            <a:endParaRPr/>
          </a:p>
        </p:txBody>
      </p:sp>
      <p:sp>
        <p:nvSpPr>
          <p:cNvPr id="26" name="object 26"/>
          <p:cNvSpPr/>
          <p:nvPr/>
        </p:nvSpPr>
        <p:spPr>
          <a:xfrm>
            <a:off x="7271004" y="5282184"/>
            <a:ext cx="2169160" cy="668020"/>
          </a:xfrm>
          <a:custGeom>
            <a:avLst/>
            <a:gdLst/>
            <a:ahLst/>
            <a:cxnLst/>
            <a:rect l="l" t="t" r="r" b="b"/>
            <a:pathLst>
              <a:path w="2169159" h="668020">
                <a:moveTo>
                  <a:pt x="0" y="667511"/>
                </a:moveTo>
                <a:lnTo>
                  <a:pt x="2168652" y="667511"/>
                </a:lnTo>
                <a:lnTo>
                  <a:pt x="2168652" y="0"/>
                </a:lnTo>
                <a:lnTo>
                  <a:pt x="0" y="0"/>
                </a:lnTo>
                <a:lnTo>
                  <a:pt x="0" y="667511"/>
                </a:lnTo>
                <a:close/>
              </a:path>
            </a:pathLst>
          </a:custGeom>
          <a:solidFill>
            <a:srgbClr val="FFFFFF"/>
          </a:solidFill>
        </p:spPr>
        <p:txBody>
          <a:bodyPr wrap="square" lIns="0" tIns="0" rIns="0" bIns="0" rtlCol="0"/>
          <a:lstStyle/>
          <a:p>
            <a:endParaRPr/>
          </a:p>
        </p:txBody>
      </p:sp>
      <p:sp>
        <p:nvSpPr>
          <p:cNvPr id="27" name="object 27"/>
          <p:cNvSpPr/>
          <p:nvPr/>
        </p:nvSpPr>
        <p:spPr>
          <a:xfrm>
            <a:off x="9259823" y="3816096"/>
            <a:ext cx="467995" cy="224154"/>
          </a:xfrm>
          <a:custGeom>
            <a:avLst/>
            <a:gdLst/>
            <a:ahLst/>
            <a:cxnLst/>
            <a:rect l="l" t="t" r="r" b="b"/>
            <a:pathLst>
              <a:path w="467995" h="224154">
                <a:moveTo>
                  <a:pt x="70739" y="0"/>
                </a:moveTo>
                <a:lnTo>
                  <a:pt x="0" y="112013"/>
                </a:lnTo>
                <a:lnTo>
                  <a:pt x="70739" y="224027"/>
                </a:lnTo>
                <a:lnTo>
                  <a:pt x="70739" y="168020"/>
                </a:lnTo>
                <a:lnTo>
                  <a:pt x="432498" y="168020"/>
                </a:lnTo>
                <a:lnTo>
                  <a:pt x="467868" y="112013"/>
                </a:lnTo>
                <a:lnTo>
                  <a:pt x="432498" y="56006"/>
                </a:lnTo>
                <a:lnTo>
                  <a:pt x="70739" y="56006"/>
                </a:lnTo>
                <a:lnTo>
                  <a:pt x="70739" y="0"/>
                </a:lnTo>
                <a:close/>
              </a:path>
              <a:path w="467995" h="224154">
                <a:moveTo>
                  <a:pt x="432498" y="168020"/>
                </a:moveTo>
                <a:lnTo>
                  <a:pt x="397128" y="168020"/>
                </a:lnTo>
                <a:lnTo>
                  <a:pt x="397128" y="224027"/>
                </a:lnTo>
                <a:lnTo>
                  <a:pt x="432498" y="168020"/>
                </a:lnTo>
                <a:close/>
              </a:path>
              <a:path w="467995" h="224154">
                <a:moveTo>
                  <a:pt x="397128" y="0"/>
                </a:moveTo>
                <a:lnTo>
                  <a:pt x="397128" y="56006"/>
                </a:lnTo>
                <a:lnTo>
                  <a:pt x="432498" y="56006"/>
                </a:lnTo>
                <a:lnTo>
                  <a:pt x="397128" y="0"/>
                </a:lnTo>
                <a:close/>
              </a:path>
            </a:pathLst>
          </a:custGeom>
          <a:solidFill>
            <a:srgbClr val="7E7E7E"/>
          </a:solidFill>
        </p:spPr>
        <p:txBody>
          <a:bodyPr wrap="square" lIns="0" tIns="0" rIns="0" bIns="0" rtlCol="0"/>
          <a:lstStyle/>
          <a:p>
            <a:endParaRPr/>
          </a:p>
        </p:txBody>
      </p:sp>
      <p:sp>
        <p:nvSpPr>
          <p:cNvPr id="28" name="object 28"/>
          <p:cNvSpPr/>
          <p:nvPr/>
        </p:nvSpPr>
        <p:spPr>
          <a:xfrm>
            <a:off x="10009631" y="2107692"/>
            <a:ext cx="1181100" cy="263651"/>
          </a:xfrm>
          <a:prstGeom prst="rect">
            <a:avLst/>
          </a:prstGeom>
          <a:blipFill>
            <a:blip r:embed="rId2" cstate="print"/>
            <a:stretch>
              <a:fillRect/>
            </a:stretch>
          </a:blipFill>
        </p:spPr>
        <p:txBody>
          <a:bodyPr wrap="square" lIns="0" tIns="0" rIns="0" bIns="0" rtlCol="0"/>
          <a:lstStyle/>
          <a:p>
            <a:endParaRPr/>
          </a:p>
        </p:txBody>
      </p:sp>
      <p:sp>
        <p:nvSpPr>
          <p:cNvPr id="29" name="object 29"/>
          <p:cNvSpPr/>
          <p:nvPr/>
        </p:nvSpPr>
        <p:spPr>
          <a:xfrm>
            <a:off x="10009631" y="3796284"/>
            <a:ext cx="1181100" cy="263651"/>
          </a:xfrm>
          <a:prstGeom prst="rect">
            <a:avLst/>
          </a:prstGeom>
          <a:blipFill>
            <a:blip r:embed="rId2" cstate="print"/>
            <a:stretch>
              <a:fillRect/>
            </a:stretch>
          </a:blipFill>
        </p:spPr>
        <p:txBody>
          <a:bodyPr wrap="square" lIns="0" tIns="0" rIns="0" bIns="0" rtlCol="0"/>
          <a:lstStyle/>
          <a:p>
            <a:endParaRPr/>
          </a:p>
        </p:txBody>
      </p:sp>
      <p:sp>
        <p:nvSpPr>
          <p:cNvPr id="30" name="object 30"/>
          <p:cNvSpPr/>
          <p:nvPr/>
        </p:nvSpPr>
        <p:spPr>
          <a:xfrm>
            <a:off x="10009631" y="5483352"/>
            <a:ext cx="1181100" cy="263652"/>
          </a:xfrm>
          <a:prstGeom prst="rect">
            <a:avLst/>
          </a:prstGeom>
          <a:blipFill>
            <a:blip r:embed="rId2" cstate="print"/>
            <a:stretch>
              <a:fillRect/>
            </a:stretch>
          </a:blipFill>
        </p:spPr>
        <p:txBody>
          <a:bodyPr wrap="square" lIns="0" tIns="0" rIns="0" bIns="0" rtlCol="0"/>
          <a:lstStyle/>
          <a:p>
            <a:endParaRPr/>
          </a:p>
        </p:txBody>
      </p:sp>
      <p:sp>
        <p:nvSpPr>
          <p:cNvPr id="31" name="object 31"/>
          <p:cNvSpPr/>
          <p:nvPr/>
        </p:nvSpPr>
        <p:spPr>
          <a:xfrm>
            <a:off x="9259823" y="5503164"/>
            <a:ext cx="467995" cy="224154"/>
          </a:xfrm>
          <a:custGeom>
            <a:avLst/>
            <a:gdLst/>
            <a:ahLst/>
            <a:cxnLst/>
            <a:rect l="l" t="t" r="r" b="b"/>
            <a:pathLst>
              <a:path w="467995" h="224154">
                <a:moveTo>
                  <a:pt x="70739" y="0"/>
                </a:moveTo>
                <a:lnTo>
                  <a:pt x="0" y="112014"/>
                </a:lnTo>
                <a:lnTo>
                  <a:pt x="70739" y="224028"/>
                </a:lnTo>
                <a:lnTo>
                  <a:pt x="70739" y="168021"/>
                </a:lnTo>
                <a:lnTo>
                  <a:pt x="432498" y="168021"/>
                </a:lnTo>
                <a:lnTo>
                  <a:pt x="467868" y="112014"/>
                </a:lnTo>
                <a:lnTo>
                  <a:pt x="432498" y="56007"/>
                </a:lnTo>
                <a:lnTo>
                  <a:pt x="70739" y="56007"/>
                </a:lnTo>
                <a:lnTo>
                  <a:pt x="70739" y="0"/>
                </a:lnTo>
                <a:close/>
              </a:path>
              <a:path w="467995" h="224154">
                <a:moveTo>
                  <a:pt x="432498" y="168021"/>
                </a:moveTo>
                <a:lnTo>
                  <a:pt x="397128" y="168021"/>
                </a:lnTo>
                <a:lnTo>
                  <a:pt x="397128" y="224028"/>
                </a:lnTo>
                <a:lnTo>
                  <a:pt x="432498" y="168021"/>
                </a:lnTo>
                <a:close/>
              </a:path>
              <a:path w="467995" h="224154">
                <a:moveTo>
                  <a:pt x="397128" y="0"/>
                </a:moveTo>
                <a:lnTo>
                  <a:pt x="397128" y="56007"/>
                </a:lnTo>
                <a:lnTo>
                  <a:pt x="432498" y="56007"/>
                </a:lnTo>
                <a:lnTo>
                  <a:pt x="397128" y="0"/>
                </a:lnTo>
                <a:close/>
              </a:path>
            </a:pathLst>
          </a:custGeom>
          <a:solidFill>
            <a:srgbClr val="7E7E7E"/>
          </a:solidFill>
        </p:spPr>
        <p:txBody>
          <a:bodyPr wrap="square" lIns="0" tIns="0" rIns="0" bIns="0" rtlCol="0"/>
          <a:lstStyle/>
          <a:p>
            <a:endParaRPr/>
          </a:p>
        </p:txBody>
      </p:sp>
      <p:sp>
        <p:nvSpPr>
          <p:cNvPr id="32" name="object 32"/>
          <p:cNvSpPr/>
          <p:nvPr/>
        </p:nvSpPr>
        <p:spPr>
          <a:xfrm>
            <a:off x="8043671" y="1962911"/>
            <a:ext cx="664464" cy="542544"/>
          </a:xfrm>
          <a:prstGeom prst="rect">
            <a:avLst/>
          </a:prstGeom>
          <a:blipFill>
            <a:blip r:embed="rId3" cstate="print"/>
            <a:stretch>
              <a:fillRect/>
            </a:stretch>
          </a:blipFill>
        </p:spPr>
        <p:txBody>
          <a:bodyPr wrap="square" lIns="0" tIns="0" rIns="0" bIns="0" rtlCol="0"/>
          <a:lstStyle/>
          <a:p>
            <a:endParaRPr/>
          </a:p>
        </p:txBody>
      </p:sp>
      <p:sp>
        <p:nvSpPr>
          <p:cNvPr id="33" name="object 33"/>
          <p:cNvSpPr/>
          <p:nvPr/>
        </p:nvSpPr>
        <p:spPr>
          <a:xfrm>
            <a:off x="8043671" y="3625596"/>
            <a:ext cx="664464" cy="542544"/>
          </a:xfrm>
          <a:prstGeom prst="rect">
            <a:avLst/>
          </a:prstGeom>
          <a:blipFill>
            <a:blip r:embed="rId3" cstate="print"/>
            <a:stretch>
              <a:fillRect/>
            </a:stretch>
          </a:blipFill>
        </p:spPr>
        <p:txBody>
          <a:bodyPr wrap="square" lIns="0" tIns="0" rIns="0" bIns="0" rtlCol="0"/>
          <a:lstStyle/>
          <a:p>
            <a:endParaRPr/>
          </a:p>
        </p:txBody>
      </p:sp>
      <p:sp>
        <p:nvSpPr>
          <p:cNvPr id="34" name="object 34"/>
          <p:cNvSpPr/>
          <p:nvPr/>
        </p:nvSpPr>
        <p:spPr>
          <a:xfrm>
            <a:off x="8043671" y="5344667"/>
            <a:ext cx="664464" cy="542544"/>
          </a:xfrm>
          <a:prstGeom prst="rect">
            <a:avLst/>
          </a:prstGeom>
          <a:blipFill>
            <a:blip r:embed="rId3" cstate="print"/>
            <a:stretch>
              <a:fillRect/>
            </a:stretch>
          </a:blipFill>
        </p:spPr>
        <p:txBody>
          <a:bodyPr wrap="square" lIns="0" tIns="0" rIns="0" bIns="0" rtlCol="0"/>
          <a:lstStyle/>
          <a:p>
            <a:endParaRPr/>
          </a:p>
        </p:txBody>
      </p:sp>
      <p:sp>
        <p:nvSpPr>
          <p:cNvPr id="35" name="object 3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36" name="object 3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81737"/>
            <a:ext cx="3312795" cy="696595"/>
          </a:xfrm>
          <a:prstGeom prst="rect">
            <a:avLst/>
          </a:prstGeom>
        </p:spPr>
        <p:txBody>
          <a:bodyPr vert="horz" wrap="square" lIns="0" tIns="12700" rIns="0" bIns="0" rtlCol="0">
            <a:spAutoFit/>
          </a:bodyPr>
          <a:lstStyle/>
          <a:p>
            <a:pPr marL="12700">
              <a:lnSpc>
                <a:spcPts val="3000"/>
              </a:lnSpc>
              <a:spcBef>
                <a:spcPts val="100"/>
              </a:spcBef>
            </a:pPr>
            <a:r>
              <a:rPr sz="2600"/>
              <a:t>Consensus</a:t>
            </a:r>
            <a:r>
              <a:rPr sz="2600" spc="-95"/>
              <a:t> </a:t>
            </a:r>
            <a:r>
              <a:rPr sz="2600"/>
              <a:t>Creation</a:t>
            </a:r>
          </a:p>
          <a:p>
            <a:pPr marL="12700">
              <a:lnSpc>
                <a:spcPts val="2280"/>
              </a:lnSpc>
            </a:pPr>
            <a:r>
              <a:rPr sz="2000" spc="-5">
                <a:solidFill>
                  <a:srgbClr val="12ABDB"/>
                </a:solidFill>
              </a:rPr>
              <a:t>Drivers </a:t>
            </a:r>
            <a:r>
              <a:rPr sz="2000">
                <a:solidFill>
                  <a:srgbClr val="12ABDB"/>
                </a:solidFill>
              </a:rPr>
              <a:t>and</a:t>
            </a:r>
            <a:r>
              <a:rPr sz="2000" spc="-40">
                <a:solidFill>
                  <a:srgbClr val="12ABDB"/>
                </a:solidFill>
              </a:rPr>
              <a:t> </a:t>
            </a:r>
            <a:r>
              <a:rPr sz="2000" spc="-10">
                <a:solidFill>
                  <a:srgbClr val="12ABDB"/>
                </a:solidFill>
              </a:rPr>
              <a:t>Practices</a:t>
            </a:r>
            <a:endParaRPr sz="2000"/>
          </a:p>
        </p:txBody>
      </p:sp>
      <p:sp>
        <p:nvSpPr>
          <p:cNvPr id="3" name="object 3"/>
          <p:cNvSpPr/>
          <p:nvPr/>
        </p:nvSpPr>
        <p:spPr>
          <a:xfrm>
            <a:off x="327659" y="1328927"/>
            <a:ext cx="897890" cy="894715"/>
          </a:xfrm>
          <a:custGeom>
            <a:avLst/>
            <a:gdLst/>
            <a:ahLst/>
            <a:cxnLst/>
            <a:rect l="l" t="t" r="r" b="b"/>
            <a:pathLst>
              <a:path w="897890" h="894714">
                <a:moveTo>
                  <a:pt x="448818" y="0"/>
                </a:moveTo>
                <a:lnTo>
                  <a:pt x="400243" y="2648"/>
                </a:lnTo>
                <a:lnTo>
                  <a:pt x="353103" y="10405"/>
                </a:lnTo>
                <a:lnTo>
                  <a:pt x="307682" y="22988"/>
                </a:lnTo>
                <a:lnTo>
                  <a:pt x="264263" y="40112"/>
                </a:lnTo>
                <a:lnTo>
                  <a:pt x="223130" y="61496"/>
                </a:lnTo>
                <a:lnTo>
                  <a:pt x="184567" y="86855"/>
                </a:lnTo>
                <a:lnTo>
                  <a:pt x="148859" y="115908"/>
                </a:lnTo>
                <a:lnTo>
                  <a:pt x="116288" y="148370"/>
                </a:lnTo>
                <a:lnTo>
                  <a:pt x="87139" y="183958"/>
                </a:lnTo>
                <a:lnTo>
                  <a:pt x="61696" y="222391"/>
                </a:lnTo>
                <a:lnTo>
                  <a:pt x="40242" y="263383"/>
                </a:lnTo>
                <a:lnTo>
                  <a:pt x="23062" y="306653"/>
                </a:lnTo>
                <a:lnTo>
                  <a:pt x="10439" y="351916"/>
                </a:lnTo>
                <a:lnTo>
                  <a:pt x="2657" y="398891"/>
                </a:lnTo>
                <a:lnTo>
                  <a:pt x="0" y="447294"/>
                </a:lnTo>
                <a:lnTo>
                  <a:pt x="2657" y="496072"/>
                </a:lnTo>
                <a:lnTo>
                  <a:pt x="10439" y="543319"/>
                </a:lnTo>
                <a:lnTo>
                  <a:pt x="23062" y="588763"/>
                </a:lnTo>
                <a:lnTo>
                  <a:pt x="40242" y="632133"/>
                </a:lnTo>
                <a:lnTo>
                  <a:pt x="61696" y="673156"/>
                </a:lnTo>
                <a:lnTo>
                  <a:pt x="87139" y="711561"/>
                </a:lnTo>
                <a:lnTo>
                  <a:pt x="116288" y="747077"/>
                </a:lnTo>
                <a:lnTo>
                  <a:pt x="148859" y="779432"/>
                </a:lnTo>
                <a:lnTo>
                  <a:pt x="184567" y="808353"/>
                </a:lnTo>
                <a:lnTo>
                  <a:pt x="223130" y="833571"/>
                </a:lnTo>
                <a:lnTo>
                  <a:pt x="264263" y="854813"/>
                </a:lnTo>
                <a:lnTo>
                  <a:pt x="307682" y="871807"/>
                </a:lnTo>
                <a:lnTo>
                  <a:pt x="353103" y="884282"/>
                </a:lnTo>
                <a:lnTo>
                  <a:pt x="400243" y="891966"/>
                </a:lnTo>
                <a:lnTo>
                  <a:pt x="448818" y="894588"/>
                </a:lnTo>
                <a:lnTo>
                  <a:pt x="497768" y="891966"/>
                </a:lnTo>
                <a:lnTo>
                  <a:pt x="545181" y="884282"/>
                </a:lnTo>
                <a:lnTo>
                  <a:pt x="570181" y="877443"/>
                </a:lnTo>
                <a:lnTo>
                  <a:pt x="448818" y="877443"/>
                </a:lnTo>
                <a:lnTo>
                  <a:pt x="401967" y="874933"/>
                </a:lnTo>
                <a:lnTo>
                  <a:pt x="356536" y="867576"/>
                </a:lnTo>
                <a:lnTo>
                  <a:pt x="312793" y="855628"/>
                </a:lnTo>
                <a:lnTo>
                  <a:pt x="271006" y="839344"/>
                </a:lnTo>
                <a:lnTo>
                  <a:pt x="231443" y="818980"/>
                </a:lnTo>
                <a:lnTo>
                  <a:pt x="194374" y="794793"/>
                </a:lnTo>
                <a:lnTo>
                  <a:pt x="160066" y="767038"/>
                </a:lnTo>
                <a:lnTo>
                  <a:pt x="128789" y="735972"/>
                </a:lnTo>
                <a:lnTo>
                  <a:pt x="100811" y="701850"/>
                </a:lnTo>
                <a:lnTo>
                  <a:pt x="76400" y="664929"/>
                </a:lnTo>
                <a:lnTo>
                  <a:pt x="55825" y="625465"/>
                </a:lnTo>
                <a:lnTo>
                  <a:pt x="39355" y="583713"/>
                </a:lnTo>
                <a:lnTo>
                  <a:pt x="27258" y="539930"/>
                </a:lnTo>
                <a:lnTo>
                  <a:pt x="19803" y="494371"/>
                </a:lnTo>
                <a:lnTo>
                  <a:pt x="17259" y="447294"/>
                </a:lnTo>
                <a:lnTo>
                  <a:pt x="19803" y="400592"/>
                </a:lnTo>
                <a:lnTo>
                  <a:pt x="27258" y="355306"/>
                </a:lnTo>
                <a:lnTo>
                  <a:pt x="39355" y="311703"/>
                </a:lnTo>
                <a:lnTo>
                  <a:pt x="55825" y="270051"/>
                </a:lnTo>
                <a:lnTo>
                  <a:pt x="76400" y="230617"/>
                </a:lnTo>
                <a:lnTo>
                  <a:pt x="100811" y="193669"/>
                </a:lnTo>
                <a:lnTo>
                  <a:pt x="128789" y="159475"/>
                </a:lnTo>
                <a:lnTo>
                  <a:pt x="160066" y="128301"/>
                </a:lnTo>
                <a:lnTo>
                  <a:pt x="194374" y="100416"/>
                </a:lnTo>
                <a:lnTo>
                  <a:pt x="231443" y="76087"/>
                </a:lnTo>
                <a:lnTo>
                  <a:pt x="271006" y="55581"/>
                </a:lnTo>
                <a:lnTo>
                  <a:pt x="312793" y="39166"/>
                </a:lnTo>
                <a:lnTo>
                  <a:pt x="356536" y="27110"/>
                </a:lnTo>
                <a:lnTo>
                  <a:pt x="401967" y="19681"/>
                </a:lnTo>
                <a:lnTo>
                  <a:pt x="448818" y="17145"/>
                </a:lnTo>
                <a:lnTo>
                  <a:pt x="569606" y="17145"/>
                </a:lnTo>
                <a:lnTo>
                  <a:pt x="545181" y="10405"/>
                </a:lnTo>
                <a:lnTo>
                  <a:pt x="497768" y="2648"/>
                </a:lnTo>
                <a:lnTo>
                  <a:pt x="448818" y="0"/>
                </a:lnTo>
                <a:close/>
              </a:path>
              <a:path w="897890" h="894714">
                <a:moveTo>
                  <a:pt x="569606" y="17145"/>
                </a:moveTo>
                <a:lnTo>
                  <a:pt x="448818" y="17145"/>
                </a:lnTo>
                <a:lnTo>
                  <a:pt x="496044" y="19681"/>
                </a:lnTo>
                <a:lnTo>
                  <a:pt x="541747" y="27110"/>
                </a:lnTo>
                <a:lnTo>
                  <a:pt x="585671" y="39166"/>
                </a:lnTo>
                <a:lnTo>
                  <a:pt x="627558" y="55581"/>
                </a:lnTo>
                <a:lnTo>
                  <a:pt x="667152" y="76087"/>
                </a:lnTo>
                <a:lnTo>
                  <a:pt x="704194" y="100416"/>
                </a:lnTo>
                <a:lnTo>
                  <a:pt x="738429" y="128301"/>
                </a:lnTo>
                <a:lnTo>
                  <a:pt x="769599" y="159475"/>
                </a:lnTo>
                <a:lnTo>
                  <a:pt x="797446" y="193669"/>
                </a:lnTo>
                <a:lnTo>
                  <a:pt x="821715" y="230617"/>
                </a:lnTo>
                <a:lnTo>
                  <a:pt x="842148" y="270051"/>
                </a:lnTo>
                <a:lnTo>
                  <a:pt x="858487" y="311703"/>
                </a:lnTo>
                <a:lnTo>
                  <a:pt x="870476" y="355306"/>
                </a:lnTo>
                <a:lnTo>
                  <a:pt x="877858" y="400592"/>
                </a:lnTo>
                <a:lnTo>
                  <a:pt x="880376" y="447294"/>
                </a:lnTo>
                <a:lnTo>
                  <a:pt x="877858" y="494371"/>
                </a:lnTo>
                <a:lnTo>
                  <a:pt x="870476" y="539930"/>
                </a:lnTo>
                <a:lnTo>
                  <a:pt x="858487" y="583713"/>
                </a:lnTo>
                <a:lnTo>
                  <a:pt x="842148" y="625465"/>
                </a:lnTo>
                <a:lnTo>
                  <a:pt x="821715" y="664929"/>
                </a:lnTo>
                <a:lnTo>
                  <a:pt x="797446" y="701850"/>
                </a:lnTo>
                <a:lnTo>
                  <a:pt x="769599" y="735972"/>
                </a:lnTo>
                <a:lnTo>
                  <a:pt x="738429" y="767038"/>
                </a:lnTo>
                <a:lnTo>
                  <a:pt x="704194" y="794793"/>
                </a:lnTo>
                <a:lnTo>
                  <a:pt x="667152" y="818980"/>
                </a:lnTo>
                <a:lnTo>
                  <a:pt x="627558" y="839344"/>
                </a:lnTo>
                <a:lnTo>
                  <a:pt x="585671" y="855628"/>
                </a:lnTo>
                <a:lnTo>
                  <a:pt x="541747" y="867576"/>
                </a:lnTo>
                <a:lnTo>
                  <a:pt x="496044" y="874933"/>
                </a:lnTo>
                <a:lnTo>
                  <a:pt x="448818" y="877443"/>
                </a:lnTo>
                <a:lnTo>
                  <a:pt x="570181" y="877443"/>
                </a:lnTo>
                <a:lnTo>
                  <a:pt x="634301" y="854813"/>
                </a:lnTo>
                <a:lnTo>
                  <a:pt x="675465" y="833571"/>
                </a:lnTo>
                <a:lnTo>
                  <a:pt x="714000" y="808353"/>
                </a:lnTo>
                <a:lnTo>
                  <a:pt x="749636" y="779432"/>
                </a:lnTo>
                <a:lnTo>
                  <a:pt x="782099" y="747077"/>
                </a:lnTo>
                <a:lnTo>
                  <a:pt x="811117" y="711561"/>
                </a:lnTo>
                <a:lnTo>
                  <a:pt x="836419" y="673156"/>
                </a:lnTo>
                <a:lnTo>
                  <a:pt x="857730" y="632133"/>
                </a:lnTo>
                <a:lnTo>
                  <a:pt x="874780" y="588763"/>
                </a:lnTo>
                <a:lnTo>
                  <a:pt x="887296" y="543319"/>
                </a:lnTo>
                <a:lnTo>
                  <a:pt x="895005" y="496072"/>
                </a:lnTo>
                <a:lnTo>
                  <a:pt x="897636" y="447294"/>
                </a:lnTo>
                <a:lnTo>
                  <a:pt x="895005" y="398891"/>
                </a:lnTo>
                <a:lnTo>
                  <a:pt x="887296" y="351916"/>
                </a:lnTo>
                <a:lnTo>
                  <a:pt x="874780" y="306653"/>
                </a:lnTo>
                <a:lnTo>
                  <a:pt x="857730" y="263383"/>
                </a:lnTo>
                <a:lnTo>
                  <a:pt x="836419" y="222391"/>
                </a:lnTo>
                <a:lnTo>
                  <a:pt x="811117" y="183958"/>
                </a:lnTo>
                <a:lnTo>
                  <a:pt x="782099" y="148370"/>
                </a:lnTo>
                <a:lnTo>
                  <a:pt x="749636" y="115908"/>
                </a:lnTo>
                <a:lnTo>
                  <a:pt x="714000" y="86855"/>
                </a:lnTo>
                <a:lnTo>
                  <a:pt x="675465" y="61496"/>
                </a:lnTo>
                <a:lnTo>
                  <a:pt x="634301" y="40112"/>
                </a:lnTo>
                <a:lnTo>
                  <a:pt x="590782" y="22988"/>
                </a:lnTo>
                <a:lnTo>
                  <a:pt x="569606" y="17145"/>
                </a:lnTo>
                <a:close/>
              </a:path>
            </a:pathLst>
          </a:custGeom>
          <a:solidFill>
            <a:srgbClr val="12ABDB"/>
          </a:solidFill>
        </p:spPr>
        <p:txBody>
          <a:bodyPr wrap="square" lIns="0" tIns="0" rIns="0" bIns="0" rtlCol="0"/>
          <a:lstStyle/>
          <a:p>
            <a:endParaRPr/>
          </a:p>
        </p:txBody>
      </p:sp>
      <p:sp>
        <p:nvSpPr>
          <p:cNvPr id="4" name="object 4"/>
          <p:cNvSpPr/>
          <p:nvPr/>
        </p:nvSpPr>
        <p:spPr>
          <a:xfrm>
            <a:off x="372618" y="1372361"/>
            <a:ext cx="810895" cy="807720"/>
          </a:xfrm>
          <a:custGeom>
            <a:avLst/>
            <a:gdLst/>
            <a:ahLst/>
            <a:cxnLst/>
            <a:rect l="l" t="t" r="r" b="b"/>
            <a:pathLst>
              <a:path w="810894" h="807719">
                <a:moveTo>
                  <a:pt x="405384" y="0"/>
                </a:moveTo>
                <a:lnTo>
                  <a:pt x="358107" y="2717"/>
                </a:lnTo>
                <a:lnTo>
                  <a:pt x="312432" y="10668"/>
                </a:lnTo>
                <a:lnTo>
                  <a:pt x="268664" y="23548"/>
                </a:lnTo>
                <a:lnTo>
                  <a:pt x="227105" y="41054"/>
                </a:lnTo>
                <a:lnTo>
                  <a:pt x="188062" y="62884"/>
                </a:lnTo>
                <a:lnTo>
                  <a:pt x="151836" y="88734"/>
                </a:lnTo>
                <a:lnTo>
                  <a:pt x="118733" y="118300"/>
                </a:lnTo>
                <a:lnTo>
                  <a:pt x="89058" y="151280"/>
                </a:lnTo>
                <a:lnTo>
                  <a:pt x="63113" y="187370"/>
                </a:lnTo>
                <a:lnTo>
                  <a:pt x="41203" y="226267"/>
                </a:lnTo>
                <a:lnTo>
                  <a:pt x="23633" y="267668"/>
                </a:lnTo>
                <a:lnTo>
                  <a:pt x="10706" y="311269"/>
                </a:lnTo>
                <a:lnTo>
                  <a:pt x="2727" y="356767"/>
                </a:lnTo>
                <a:lnTo>
                  <a:pt x="0" y="403860"/>
                </a:lnTo>
                <a:lnTo>
                  <a:pt x="2727" y="450952"/>
                </a:lnTo>
                <a:lnTo>
                  <a:pt x="10706" y="496450"/>
                </a:lnTo>
                <a:lnTo>
                  <a:pt x="23633" y="540051"/>
                </a:lnTo>
                <a:lnTo>
                  <a:pt x="41203" y="581452"/>
                </a:lnTo>
                <a:lnTo>
                  <a:pt x="63113" y="620349"/>
                </a:lnTo>
                <a:lnTo>
                  <a:pt x="89058" y="656439"/>
                </a:lnTo>
                <a:lnTo>
                  <a:pt x="118733" y="689419"/>
                </a:lnTo>
                <a:lnTo>
                  <a:pt x="151836" y="718985"/>
                </a:lnTo>
                <a:lnTo>
                  <a:pt x="188062" y="744835"/>
                </a:lnTo>
                <a:lnTo>
                  <a:pt x="227105" y="766665"/>
                </a:lnTo>
                <a:lnTo>
                  <a:pt x="268664" y="784171"/>
                </a:lnTo>
                <a:lnTo>
                  <a:pt x="312432" y="797052"/>
                </a:lnTo>
                <a:lnTo>
                  <a:pt x="358107" y="805002"/>
                </a:lnTo>
                <a:lnTo>
                  <a:pt x="405384" y="807720"/>
                </a:lnTo>
                <a:lnTo>
                  <a:pt x="452660" y="805002"/>
                </a:lnTo>
                <a:lnTo>
                  <a:pt x="498335" y="797052"/>
                </a:lnTo>
                <a:lnTo>
                  <a:pt x="542103" y="784171"/>
                </a:lnTo>
                <a:lnTo>
                  <a:pt x="583662" y="766665"/>
                </a:lnTo>
                <a:lnTo>
                  <a:pt x="622705" y="744835"/>
                </a:lnTo>
                <a:lnTo>
                  <a:pt x="658931" y="718985"/>
                </a:lnTo>
                <a:lnTo>
                  <a:pt x="692034" y="689419"/>
                </a:lnTo>
                <a:lnTo>
                  <a:pt x="721709" y="656439"/>
                </a:lnTo>
                <a:lnTo>
                  <a:pt x="747654" y="620349"/>
                </a:lnTo>
                <a:lnTo>
                  <a:pt x="769564" y="581452"/>
                </a:lnTo>
                <a:lnTo>
                  <a:pt x="787134" y="540051"/>
                </a:lnTo>
                <a:lnTo>
                  <a:pt x="800061" y="496450"/>
                </a:lnTo>
                <a:lnTo>
                  <a:pt x="808040" y="450952"/>
                </a:lnTo>
                <a:lnTo>
                  <a:pt x="810768" y="403860"/>
                </a:lnTo>
                <a:lnTo>
                  <a:pt x="808040" y="356767"/>
                </a:lnTo>
                <a:lnTo>
                  <a:pt x="800061" y="311269"/>
                </a:lnTo>
                <a:lnTo>
                  <a:pt x="787134" y="267668"/>
                </a:lnTo>
                <a:lnTo>
                  <a:pt x="769564" y="226267"/>
                </a:lnTo>
                <a:lnTo>
                  <a:pt x="747654" y="187370"/>
                </a:lnTo>
                <a:lnTo>
                  <a:pt x="721709" y="151280"/>
                </a:lnTo>
                <a:lnTo>
                  <a:pt x="692034" y="118300"/>
                </a:lnTo>
                <a:lnTo>
                  <a:pt x="658931" y="88734"/>
                </a:lnTo>
                <a:lnTo>
                  <a:pt x="622705" y="62884"/>
                </a:lnTo>
                <a:lnTo>
                  <a:pt x="583662" y="41054"/>
                </a:lnTo>
                <a:lnTo>
                  <a:pt x="542103" y="23548"/>
                </a:lnTo>
                <a:lnTo>
                  <a:pt x="498335" y="10668"/>
                </a:lnTo>
                <a:lnTo>
                  <a:pt x="452660" y="2717"/>
                </a:lnTo>
                <a:lnTo>
                  <a:pt x="405384" y="0"/>
                </a:lnTo>
                <a:close/>
              </a:path>
            </a:pathLst>
          </a:custGeom>
          <a:solidFill>
            <a:srgbClr val="2B133C"/>
          </a:solidFill>
        </p:spPr>
        <p:txBody>
          <a:bodyPr wrap="square" lIns="0" tIns="0" rIns="0" bIns="0" rtlCol="0"/>
          <a:lstStyle/>
          <a:p>
            <a:endParaRPr/>
          </a:p>
        </p:txBody>
      </p:sp>
      <p:sp>
        <p:nvSpPr>
          <p:cNvPr id="5" name="object 5"/>
          <p:cNvSpPr/>
          <p:nvPr/>
        </p:nvSpPr>
        <p:spPr>
          <a:xfrm>
            <a:off x="372618" y="1372361"/>
            <a:ext cx="810895" cy="807720"/>
          </a:xfrm>
          <a:custGeom>
            <a:avLst/>
            <a:gdLst/>
            <a:ahLst/>
            <a:cxnLst/>
            <a:rect l="l" t="t" r="r" b="b"/>
            <a:pathLst>
              <a:path w="810894" h="807719">
                <a:moveTo>
                  <a:pt x="405384" y="0"/>
                </a:moveTo>
                <a:lnTo>
                  <a:pt x="452660" y="2717"/>
                </a:lnTo>
                <a:lnTo>
                  <a:pt x="498335" y="10667"/>
                </a:lnTo>
                <a:lnTo>
                  <a:pt x="542103" y="23548"/>
                </a:lnTo>
                <a:lnTo>
                  <a:pt x="583662" y="41054"/>
                </a:lnTo>
                <a:lnTo>
                  <a:pt x="622705" y="62884"/>
                </a:lnTo>
                <a:lnTo>
                  <a:pt x="658931" y="88734"/>
                </a:lnTo>
                <a:lnTo>
                  <a:pt x="692034" y="118300"/>
                </a:lnTo>
                <a:lnTo>
                  <a:pt x="721709" y="151280"/>
                </a:lnTo>
                <a:lnTo>
                  <a:pt x="747654" y="187370"/>
                </a:lnTo>
                <a:lnTo>
                  <a:pt x="769564" y="226267"/>
                </a:lnTo>
                <a:lnTo>
                  <a:pt x="787134" y="267668"/>
                </a:lnTo>
                <a:lnTo>
                  <a:pt x="800061" y="311269"/>
                </a:lnTo>
                <a:lnTo>
                  <a:pt x="808040" y="356767"/>
                </a:lnTo>
                <a:lnTo>
                  <a:pt x="810768" y="403860"/>
                </a:lnTo>
                <a:lnTo>
                  <a:pt x="808040" y="450952"/>
                </a:lnTo>
                <a:lnTo>
                  <a:pt x="800061" y="496450"/>
                </a:lnTo>
                <a:lnTo>
                  <a:pt x="787134" y="540051"/>
                </a:lnTo>
                <a:lnTo>
                  <a:pt x="769564" y="581452"/>
                </a:lnTo>
                <a:lnTo>
                  <a:pt x="747654" y="620349"/>
                </a:lnTo>
                <a:lnTo>
                  <a:pt x="721709" y="656439"/>
                </a:lnTo>
                <a:lnTo>
                  <a:pt x="692034" y="689419"/>
                </a:lnTo>
                <a:lnTo>
                  <a:pt x="658931" y="718985"/>
                </a:lnTo>
                <a:lnTo>
                  <a:pt x="622705" y="744835"/>
                </a:lnTo>
                <a:lnTo>
                  <a:pt x="583662" y="766665"/>
                </a:lnTo>
                <a:lnTo>
                  <a:pt x="542103" y="784171"/>
                </a:lnTo>
                <a:lnTo>
                  <a:pt x="498335" y="797051"/>
                </a:lnTo>
                <a:lnTo>
                  <a:pt x="452660" y="805002"/>
                </a:lnTo>
                <a:lnTo>
                  <a:pt x="405384" y="807720"/>
                </a:lnTo>
                <a:lnTo>
                  <a:pt x="358107" y="805002"/>
                </a:lnTo>
                <a:lnTo>
                  <a:pt x="312432" y="797052"/>
                </a:lnTo>
                <a:lnTo>
                  <a:pt x="268664" y="784171"/>
                </a:lnTo>
                <a:lnTo>
                  <a:pt x="227105" y="766665"/>
                </a:lnTo>
                <a:lnTo>
                  <a:pt x="188062" y="744835"/>
                </a:lnTo>
                <a:lnTo>
                  <a:pt x="151836" y="718985"/>
                </a:lnTo>
                <a:lnTo>
                  <a:pt x="118733" y="689419"/>
                </a:lnTo>
                <a:lnTo>
                  <a:pt x="89058" y="656439"/>
                </a:lnTo>
                <a:lnTo>
                  <a:pt x="63113" y="620349"/>
                </a:lnTo>
                <a:lnTo>
                  <a:pt x="41203" y="581452"/>
                </a:lnTo>
                <a:lnTo>
                  <a:pt x="23633" y="540051"/>
                </a:lnTo>
                <a:lnTo>
                  <a:pt x="10706" y="496450"/>
                </a:lnTo>
                <a:lnTo>
                  <a:pt x="2727" y="450952"/>
                </a:lnTo>
                <a:lnTo>
                  <a:pt x="0" y="403860"/>
                </a:lnTo>
                <a:lnTo>
                  <a:pt x="2727" y="356767"/>
                </a:lnTo>
                <a:lnTo>
                  <a:pt x="10706" y="311269"/>
                </a:lnTo>
                <a:lnTo>
                  <a:pt x="23633" y="267668"/>
                </a:lnTo>
                <a:lnTo>
                  <a:pt x="41203" y="226267"/>
                </a:lnTo>
                <a:lnTo>
                  <a:pt x="63113" y="187370"/>
                </a:lnTo>
                <a:lnTo>
                  <a:pt x="89058" y="151280"/>
                </a:lnTo>
                <a:lnTo>
                  <a:pt x="118733" y="118300"/>
                </a:lnTo>
                <a:lnTo>
                  <a:pt x="151836" y="88734"/>
                </a:lnTo>
                <a:lnTo>
                  <a:pt x="188062" y="62884"/>
                </a:lnTo>
                <a:lnTo>
                  <a:pt x="227105" y="41054"/>
                </a:lnTo>
                <a:lnTo>
                  <a:pt x="268664" y="23548"/>
                </a:lnTo>
                <a:lnTo>
                  <a:pt x="312432" y="10668"/>
                </a:lnTo>
                <a:lnTo>
                  <a:pt x="358107" y="2717"/>
                </a:lnTo>
                <a:lnTo>
                  <a:pt x="405384" y="0"/>
                </a:lnTo>
                <a:close/>
              </a:path>
            </a:pathLst>
          </a:custGeom>
          <a:ln w="19812">
            <a:solidFill>
              <a:srgbClr val="006FAC"/>
            </a:solidFill>
          </a:ln>
        </p:spPr>
        <p:txBody>
          <a:bodyPr wrap="square" lIns="0" tIns="0" rIns="0" bIns="0" rtlCol="0"/>
          <a:lstStyle/>
          <a:p>
            <a:endParaRPr/>
          </a:p>
        </p:txBody>
      </p:sp>
      <p:sp>
        <p:nvSpPr>
          <p:cNvPr id="6" name="object 6"/>
          <p:cNvSpPr/>
          <p:nvPr/>
        </p:nvSpPr>
        <p:spPr>
          <a:xfrm>
            <a:off x="198120" y="1748027"/>
            <a:ext cx="546100" cy="1450975"/>
          </a:xfrm>
          <a:custGeom>
            <a:avLst/>
            <a:gdLst/>
            <a:ahLst/>
            <a:cxnLst/>
            <a:rect l="l" t="t" r="r" b="b"/>
            <a:pathLst>
              <a:path w="546100" h="1450975">
                <a:moveTo>
                  <a:pt x="30187" y="0"/>
                </a:moveTo>
                <a:lnTo>
                  <a:pt x="18195" y="2258"/>
                </a:lnTo>
                <a:lnTo>
                  <a:pt x="8626" y="8350"/>
                </a:lnTo>
                <a:lnTo>
                  <a:pt x="2291" y="17252"/>
                </a:lnTo>
                <a:lnTo>
                  <a:pt x="0" y="27939"/>
                </a:lnTo>
                <a:lnTo>
                  <a:pt x="1549" y="38324"/>
                </a:lnTo>
                <a:lnTo>
                  <a:pt x="5929" y="46720"/>
                </a:lnTo>
                <a:lnTo>
                  <a:pt x="12735" y="52710"/>
                </a:lnTo>
                <a:lnTo>
                  <a:pt x="21564" y="55880"/>
                </a:lnTo>
                <a:lnTo>
                  <a:pt x="26159" y="105274"/>
                </a:lnTo>
                <a:lnTo>
                  <a:pt x="34971" y="153364"/>
                </a:lnTo>
                <a:lnTo>
                  <a:pt x="47820" y="199953"/>
                </a:lnTo>
                <a:lnTo>
                  <a:pt x="64526" y="244848"/>
                </a:lnTo>
                <a:lnTo>
                  <a:pt x="84908" y="287852"/>
                </a:lnTo>
                <a:lnTo>
                  <a:pt x="108788" y="328771"/>
                </a:lnTo>
                <a:lnTo>
                  <a:pt x="135984" y="367410"/>
                </a:lnTo>
                <a:lnTo>
                  <a:pt x="166317" y="403574"/>
                </a:lnTo>
                <a:lnTo>
                  <a:pt x="199607" y="437068"/>
                </a:lnTo>
                <a:lnTo>
                  <a:pt x="235674" y="467697"/>
                </a:lnTo>
                <a:lnTo>
                  <a:pt x="274337" y="495266"/>
                </a:lnTo>
                <a:lnTo>
                  <a:pt x="315417" y="519580"/>
                </a:lnTo>
                <a:lnTo>
                  <a:pt x="358734" y="540445"/>
                </a:lnTo>
                <a:lnTo>
                  <a:pt x="404107" y="557664"/>
                </a:lnTo>
                <a:lnTo>
                  <a:pt x="451357" y="571044"/>
                </a:lnTo>
                <a:lnTo>
                  <a:pt x="500303" y="580389"/>
                </a:lnTo>
                <a:lnTo>
                  <a:pt x="500303" y="1377823"/>
                </a:lnTo>
                <a:lnTo>
                  <a:pt x="488311" y="1381660"/>
                </a:lnTo>
                <a:lnTo>
                  <a:pt x="478742" y="1389570"/>
                </a:lnTo>
                <a:lnTo>
                  <a:pt x="472407" y="1400718"/>
                </a:lnTo>
                <a:lnTo>
                  <a:pt x="470115" y="1414272"/>
                </a:lnTo>
                <a:lnTo>
                  <a:pt x="473147" y="1428184"/>
                </a:lnTo>
                <a:lnTo>
                  <a:pt x="481434" y="1439846"/>
                </a:lnTo>
                <a:lnTo>
                  <a:pt x="493765" y="1447865"/>
                </a:lnTo>
                <a:lnTo>
                  <a:pt x="508927" y="1450848"/>
                </a:lnTo>
                <a:lnTo>
                  <a:pt x="523753" y="1447865"/>
                </a:lnTo>
                <a:lnTo>
                  <a:pt x="535346" y="1439846"/>
                </a:lnTo>
                <a:lnTo>
                  <a:pt x="539323" y="1433702"/>
                </a:lnTo>
                <a:lnTo>
                  <a:pt x="508927" y="1433702"/>
                </a:lnTo>
                <a:lnTo>
                  <a:pt x="501008" y="1432184"/>
                </a:lnTo>
                <a:lnTo>
                  <a:pt x="494101" y="1428035"/>
                </a:lnTo>
                <a:lnTo>
                  <a:pt x="489215" y="1421862"/>
                </a:lnTo>
                <a:lnTo>
                  <a:pt x="487362" y="1414272"/>
                </a:lnTo>
                <a:lnTo>
                  <a:pt x="489215" y="1405507"/>
                </a:lnTo>
                <a:lnTo>
                  <a:pt x="494101" y="1398730"/>
                </a:lnTo>
                <a:lnTo>
                  <a:pt x="501008" y="1394358"/>
                </a:lnTo>
                <a:lnTo>
                  <a:pt x="508927" y="1392809"/>
                </a:lnTo>
                <a:lnTo>
                  <a:pt x="539669" y="1392809"/>
                </a:lnTo>
                <a:lnTo>
                  <a:pt x="538045" y="1389570"/>
                </a:lnTo>
                <a:lnTo>
                  <a:pt x="529218" y="1381660"/>
                </a:lnTo>
                <a:lnTo>
                  <a:pt x="517563" y="1377823"/>
                </a:lnTo>
                <a:lnTo>
                  <a:pt x="517563" y="565276"/>
                </a:lnTo>
                <a:lnTo>
                  <a:pt x="508927" y="563118"/>
                </a:lnTo>
                <a:lnTo>
                  <a:pt x="461144" y="554963"/>
                </a:lnTo>
                <a:lnTo>
                  <a:pt x="414960" y="542729"/>
                </a:lnTo>
                <a:lnTo>
                  <a:pt x="370558" y="526617"/>
                </a:lnTo>
                <a:lnTo>
                  <a:pt x="328120" y="506829"/>
                </a:lnTo>
                <a:lnTo>
                  <a:pt x="287830" y="483565"/>
                </a:lnTo>
                <a:lnTo>
                  <a:pt x="249872" y="457028"/>
                </a:lnTo>
                <a:lnTo>
                  <a:pt x="214427" y="427419"/>
                </a:lnTo>
                <a:lnTo>
                  <a:pt x="181681" y="394938"/>
                </a:lnTo>
                <a:lnTo>
                  <a:pt x="151815" y="359787"/>
                </a:lnTo>
                <a:lnTo>
                  <a:pt x="125014" y="322167"/>
                </a:lnTo>
                <a:lnTo>
                  <a:pt x="101459" y="282280"/>
                </a:lnTo>
                <a:lnTo>
                  <a:pt x="81336" y="240327"/>
                </a:lnTo>
                <a:lnTo>
                  <a:pt x="64826" y="196509"/>
                </a:lnTo>
                <a:lnTo>
                  <a:pt x="52113" y="151028"/>
                </a:lnTo>
                <a:lnTo>
                  <a:pt x="43380" y="104084"/>
                </a:lnTo>
                <a:lnTo>
                  <a:pt x="38811" y="55880"/>
                </a:lnTo>
                <a:lnTo>
                  <a:pt x="46394" y="51514"/>
                </a:lnTo>
                <a:lnTo>
                  <a:pt x="52563" y="45148"/>
                </a:lnTo>
                <a:lnTo>
                  <a:pt x="56711" y="37163"/>
                </a:lnTo>
                <a:lnTo>
                  <a:pt x="58229" y="27939"/>
                </a:lnTo>
                <a:lnTo>
                  <a:pt x="55971" y="17252"/>
                </a:lnTo>
                <a:lnTo>
                  <a:pt x="49871" y="8350"/>
                </a:lnTo>
                <a:lnTo>
                  <a:pt x="40939" y="2258"/>
                </a:lnTo>
                <a:lnTo>
                  <a:pt x="30187" y="0"/>
                </a:lnTo>
                <a:close/>
              </a:path>
              <a:path w="546100" h="1450975">
                <a:moveTo>
                  <a:pt x="539669" y="1392809"/>
                </a:moveTo>
                <a:lnTo>
                  <a:pt x="508927" y="1392809"/>
                </a:lnTo>
                <a:lnTo>
                  <a:pt x="516509" y="1394358"/>
                </a:lnTo>
                <a:lnTo>
                  <a:pt x="522679" y="1398730"/>
                </a:lnTo>
                <a:lnTo>
                  <a:pt x="526827" y="1405507"/>
                </a:lnTo>
                <a:lnTo>
                  <a:pt x="528345" y="1414272"/>
                </a:lnTo>
                <a:lnTo>
                  <a:pt x="526827" y="1421862"/>
                </a:lnTo>
                <a:lnTo>
                  <a:pt x="522679" y="1428035"/>
                </a:lnTo>
                <a:lnTo>
                  <a:pt x="516509" y="1432184"/>
                </a:lnTo>
                <a:lnTo>
                  <a:pt x="508927" y="1433702"/>
                </a:lnTo>
                <a:lnTo>
                  <a:pt x="539323" y="1433702"/>
                </a:lnTo>
                <a:lnTo>
                  <a:pt x="542895" y="1428184"/>
                </a:lnTo>
                <a:lnTo>
                  <a:pt x="545592" y="1414272"/>
                </a:lnTo>
                <a:lnTo>
                  <a:pt x="543637" y="1400718"/>
                </a:lnTo>
                <a:lnTo>
                  <a:pt x="539669" y="1392809"/>
                </a:lnTo>
                <a:close/>
              </a:path>
            </a:pathLst>
          </a:custGeom>
          <a:solidFill>
            <a:srgbClr val="12ABDB"/>
          </a:solidFill>
        </p:spPr>
        <p:txBody>
          <a:bodyPr wrap="square" lIns="0" tIns="0" rIns="0" bIns="0" rtlCol="0"/>
          <a:lstStyle/>
          <a:p>
            <a:endParaRPr/>
          </a:p>
        </p:txBody>
      </p:sp>
      <p:sp>
        <p:nvSpPr>
          <p:cNvPr id="7" name="object 7"/>
          <p:cNvSpPr/>
          <p:nvPr/>
        </p:nvSpPr>
        <p:spPr>
          <a:xfrm>
            <a:off x="268224" y="1269491"/>
            <a:ext cx="1019810" cy="1015365"/>
          </a:xfrm>
          <a:custGeom>
            <a:avLst/>
            <a:gdLst/>
            <a:ahLst/>
            <a:cxnLst/>
            <a:rect l="l" t="t" r="r" b="b"/>
            <a:pathLst>
              <a:path w="1019810" h="1015364">
                <a:moveTo>
                  <a:pt x="508660" y="0"/>
                </a:moveTo>
                <a:lnTo>
                  <a:pt x="459790" y="2326"/>
                </a:lnTo>
                <a:lnTo>
                  <a:pt x="412209" y="9163"/>
                </a:lnTo>
                <a:lnTo>
                  <a:pt x="366133" y="20294"/>
                </a:lnTo>
                <a:lnTo>
                  <a:pt x="321778" y="35504"/>
                </a:lnTo>
                <a:lnTo>
                  <a:pt x="279359" y="54579"/>
                </a:lnTo>
                <a:lnTo>
                  <a:pt x="239094" y="77304"/>
                </a:lnTo>
                <a:lnTo>
                  <a:pt x="201196" y="103462"/>
                </a:lnTo>
                <a:lnTo>
                  <a:pt x="165884" y="132840"/>
                </a:lnTo>
                <a:lnTo>
                  <a:pt x="133372" y="165222"/>
                </a:lnTo>
                <a:lnTo>
                  <a:pt x="103876" y="200392"/>
                </a:lnTo>
                <a:lnTo>
                  <a:pt x="77612" y="238136"/>
                </a:lnTo>
                <a:lnTo>
                  <a:pt x="54797" y="278239"/>
                </a:lnTo>
                <a:lnTo>
                  <a:pt x="35646" y="320485"/>
                </a:lnTo>
                <a:lnTo>
                  <a:pt x="20374" y="364660"/>
                </a:lnTo>
                <a:lnTo>
                  <a:pt x="9199" y="410548"/>
                </a:lnTo>
                <a:lnTo>
                  <a:pt x="2335" y="457934"/>
                </a:lnTo>
                <a:lnTo>
                  <a:pt x="0" y="506603"/>
                </a:lnTo>
                <a:lnTo>
                  <a:pt x="2204" y="554511"/>
                </a:lnTo>
                <a:lnTo>
                  <a:pt x="8689" y="601153"/>
                </a:lnTo>
                <a:lnTo>
                  <a:pt x="19259" y="646330"/>
                </a:lnTo>
                <a:lnTo>
                  <a:pt x="33720" y="689847"/>
                </a:lnTo>
                <a:lnTo>
                  <a:pt x="51877" y="731507"/>
                </a:lnTo>
                <a:lnTo>
                  <a:pt x="73534" y="771114"/>
                </a:lnTo>
                <a:lnTo>
                  <a:pt x="98498" y="808469"/>
                </a:lnTo>
                <a:lnTo>
                  <a:pt x="126573" y="843378"/>
                </a:lnTo>
                <a:lnTo>
                  <a:pt x="157566" y="875643"/>
                </a:lnTo>
                <a:lnTo>
                  <a:pt x="191280" y="905067"/>
                </a:lnTo>
                <a:lnTo>
                  <a:pt x="227522" y="931454"/>
                </a:lnTo>
                <a:lnTo>
                  <a:pt x="266097" y="954607"/>
                </a:lnTo>
                <a:lnTo>
                  <a:pt x="306810" y="974330"/>
                </a:lnTo>
                <a:lnTo>
                  <a:pt x="349466" y="990426"/>
                </a:lnTo>
                <a:lnTo>
                  <a:pt x="393870" y="1002698"/>
                </a:lnTo>
                <a:lnTo>
                  <a:pt x="439829" y="1010949"/>
                </a:lnTo>
                <a:lnTo>
                  <a:pt x="487146" y="1014984"/>
                </a:lnTo>
                <a:lnTo>
                  <a:pt x="530275" y="1014984"/>
                </a:lnTo>
                <a:lnTo>
                  <a:pt x="530275" y="972185"/>
                </a:lnTo>
                <a:lnTo>
                  <a:pt x="508660" y="972185"/>
                </a:lnTo>
                <a:lnTo>
                  <a:pt x="461174" y="969785"/>
                </a:lnTo>
                <a:lnTo>
                  <a:pt x="415034" y="962743"/>
                </a:lnTo>
                <a:lnTo>
                  <a:pt x="370478" y="951289"/>
                </a:lnTo>
                <a:lnTo>
                  <a:pt x="327741" y="935656"/>
                </a:lnTo>
                <a:lnTo>
                  <a:pt x="287061" y="916076"/>
                </a:lnTo>
                <a:lnTo>
                  <a:pt x="248676" y="892782"/>
                </a:lnTo>
                <a:lnTo>
                  <a:pt x="212821" y="866005"/>
                </a:lnTo>
                <a:lnTo>
                  <a:pt x="179735" y="835977"/>
                </a:lnTo>
                <a:lnTo>
                  <a:pt x="149653" y="802931"/>
                </a:lnTo>
                <a:lnTo>
                  <a:pt x="122813" y="767099"/>
                </a:lnTo>
                <a:lnTo>
                  <a:pt x="99453" y="728714"/>
                </a:lnTo>
                <a:lnTo>
                  <a:pt x="79808" y="688006"/>
                </a:lnTo>
                <a:lnTo>
                  <a:pt x="64116" y="645209"/>
                </a:lnTo>
                <a:lnTo>
                  <a:pt x="52615" y="600555"/>
                </a:lnTo>
                <a:lnTo>
                  <a:pt x="45540" y="554275"/>
                </a:lnTo>
                <a:lnTo>
                  <a:pt x="43129" y="506603"/>
                </a:lnTo>
                <a:lnTo>
                  <a:pt x="45540" y="459288"/>
                </a:lnTo>
                <a:lnTo>
                  <a:pt x="52615" y="413321"/>
                </a:lnTo>
                <a:lnTo>
                  <a:pt x="64116" y="368938"/>
                </a:lnTo>
                <a:lnTo>
                  <a:pt x="79808" y="326374"/>
                </a:lnTo>
                <a:lnTo>
                  <a:pt x="99453" y="285863"/>
                </a:lnTo>
                <a:lnTo>
                  <a:pt x="122813" y="247642"/>
                </a:lnTo>
                <a:lnTo>
                  <a:pt x="149653" y="211944"/>
                </a:lnTo>
                <a:lnTo>
                  <a:pt x="179735" y="179006"/>
                </a:lnTo>
                <a:lnTo>
                  <a:pt x="212821" y="149062"/>
                </a:lnTo>
                <a:lnTo>
                  <a:pt x="248676" y="122348"/>
                </a:lnTo>
                <a:lnTo>
                  <a:pt x="287061" y="99099"/>
                </a:lnTo>
                <a:lnTo>
                  <a:pt x="327741" y="79549"/>
                </a:lnTo>
                <a:lnTo>
                  <a:pt x="370478" y="63935"/>
                </a:lnTo>
                <a:lnTo>
                  <a:pt x="415034" y="52490"/>
                </a:lnTo>
                <a:lnTo>
                  <a:pt x="461174" y="45451"/>
                </a:lnTo>
                <a:lnTo>
                  <a:pt x="508660" y="43053"/>
                </a:lnTo>
                <a:lnTo>
                  <a:pt x="713648" y="43053"/>
                </a:lnTo>
                <a:lnTo>
                  <a:pt x="696778" y="35504"/>
                </a:lnTo>
                <a:lnTo>
                  <a:pt x="652174" y="20294"/>
                </a:lnTo>
                <a:lnTo>
                  <a:pt x="605811" y="9163"/>
                </a:lnTo>
                <a:lnTo>
                  <a:pt x="557902" y="2326"/>
                </a:lnTo>
                <a:lnTo>
                  <a:pt x="508660" y="0"/>
                </a:lnTo>
                <a:close/>
              </a:path>
              <a:path w="1019810" h="1015364">
                <a:moveTo>
                  <a:pt x="713648" y="43053"/>
                </a:moveTo>
                <a:lnTo>
                  <a:pt x="508660" y="43053"/>
                </a:lnTo>
                <a:lnTo>
                  <a:pt x="556539" y="45451"/>
                </a:lnTo>
                <a:lnTo>
                  <a:pt x="603023" y="52490"/>
                </a:lnTo>
                <a:lnTo>
                  <a:pt x="647878" y="63935"/>
                </a:lnTo>
                <a:lnTo>
                  <a:pt x="690871" y="79549"/>
                </a:lnTo>
                <a:lnTo>
                  <a:pt x="731767" y="99099"/>
                </a:lnTo>
                <a:lnTo>
                  <a:pt x="770333" y="122348"/>
                </a:lnTo>
                <a:lnTo>
                  <a:pt x="806336" y="149062"/>
                </a:lnTo>
                <a:lnTo>
                  <a:pt x="839541" y="179006"/>
                </a:lnTo>
                <a:lnTo>
                  <a:pt x="869715" y="211944"/>
                </a:lnTo>
                <a:lnTo>
                  <a:pt x="896624" y="247642"/>
                </a:lnTo>
                <a:lnTo>
                  <a:pt x="920034" y="285863"/>
                </a:lnTo>
                <a:lnTo>
                  <a:pt x="939712" y="326374"/>
                </a:lnTo>
                <a:lnTo>
                  <a:pt x="955424" y="368938"/>
                </a:lnTo>
                <a:lnTo>
                  <a:pt x="966936" y="413321"/>
                </a:lnTo>
                <a:lnTo>
                  <a:pt x="974015" y="459288"/>
                </a:lnTo>
                <a:lnTo>
                  <a:pt x="976426" y="506603"/>
                </a:lnTo>
                <a:lnTo>
                  <a:pt x="973853" y="555632"/>
                </a:lnTo>
                <a:lnTo>
                  <a:pt x="966314" y="603153"/>
                </a:lnTo>
                <a:lnTo>
                  <a:pt x="954081" y="648921"/>
                </a:lnTo>
                <a:lnTo>
                  <a:pt x="937428" y="692693"/>
                </a:lnTo>
                <a:lnTo>
                  <a:pt x="916625" y="734227"/>
                </a:lnTo>
                <a:lnTo>
                  <a:pt x="891945" y="773278"/>
                </a:lnTo>
                <a:lnTo>
                  <a:pt x="863660" y="809603"/>
                </a:lnTo>
                <a:lnTo>
                  <a:pt x="832042" y="842960"/>
                </a:lnTo>
                <a:lnTo>
                  <a:pt x="797363" y="873104"/>
                </a:lnTo>
                <a:lnTo>
                  <a:pt x="759896" y="899792"/>
                </a:lnTo>
                <a:lnTo>
                  <a:pt x="719912" y="922782"/>
                </a:lnTo>
                <a:lnTo>
                  <a:pt x="719912" y="970153"/>
                </a:lnTo>
                <a:lnTo>
                  <a:pt x="762944" y="948265"/>
                </a:lnTo>
                <a:lnTo>
                  <a:pt x="803491" y="922516"/>
                </a:lnTo>
                <a:lnTo>
                  <a:pt x="841312" y="893151"/>
                </a:lnTo>
                <a:lnTo>
                  <a:pt x="876168" y="860415"/>
                </a:lnTo>
                <a:lnTo>
                  <a:pt x="907820" y="824554"/>
                </a:lnTo>
                <a:lnTo>
                  <a:pt x="936028" y="785812"/>
                </a:lnTo>
                <a:lnTo>
                  <a:pt x="960553" y="744435"/>
                </a:lnTo>
                <a:lnTo>
                  <a:pt x="981155" y="700668"/>
                </a:lnTo>
                <a:lnTo>
                  <a:pt x="997596" y="654756"/>
                </a:lnTo>
                <a:lnTo>
                  <a:pt x="1009636" y="606944"/>
                </a:lnTo>
                <a:lnTo>
                  <a:pt x="1017036" y="557478"/>
                </a:lnTo>
                <a:lnTo>
                  <a:pt x="1019556" y="506603"/>
                </a:lnTo>
                <a:lnTo>
                  <a:pt x="1017219" y="457934"/>
                </a:lnTo>
                <a:lnTo>
                  <a:pt x="1010352" y="410548"/>
                </a:lnTo>
                <a:lnTo>
                  <a:pt x="999168" y="364660"/>
                </a:lnTo>
                <a:lnTo>
                  <a:pt x="983880" y="320485"/>
                </a:lnTo>
                <a:lnTo>
                  <a:pt x="964701" y="278239"/>
                </a:lnTo>
                <a:lnTo>
                  <a:pt x="941844" y="238136"/>
                </a:lnTo>
                <a:lnTo>
                  <a:pt x="915523" y="200392"/>
                </a:lnTo>
                <a:lnTo>
                  <a:pt x="885950" y="165222"/>
                </a:lnTo>
                <a:lnTo>
                  <a:pt x="853340" y="132840"/>
                </a:lnTo>
                <a:lnTo>
                  <a:pt x="817904" y="103462"/>
                </a:lnTo>
                <a:lnTo>
                  <a:pt x="779856" y="77304"/>
                </a:lnTo>
                <a:lnTo>
                  <a:pt x="739410" y="54579"/>
                </a:lnTo>
                <a:lnTo>
                  <a:pt x="713648" y="43053"/>
                </a:lnTo>
                <a:close/>
              </a:path>
            </a:pathLst>
          </a:custGeom>
          <a:solidFill>
            <a:srgbClr val="006FAC"/>
          </a:solidFill>
        </p:spPr>
        <p:txBody>
          <a:bodyPr wrap="square" lIns="0" tIns="0" rIns="0" bIns="0" rtlCol="0"/>
          <a:lstStyle/>
          <a:p>
            <a:endParaRPr/>
          </a:p>
        </p:txBody>
      </p:sp>
      <p:sp>
        <p:nvSpPr>
          <p:cNvPr id="8" name="object 8"/>
          <p:cNvSpPr/>
          <p:nvPr/>
        </p:nvSpPr>
        <p:spPr>
          <a:xfrm>
            <a:off x="781812" y="2244851"/>
            <a:ext cx="0" cy="3566160"/>
          </a:xfrm>
          <a:custGeom>
            <a:avLst/>
            <a:gdLst/>
            <a:ahLst/>
            <a:cxnLst/>
            <a:rect l="l" t="t" r="r" b="b"/>
            <a:pathLst>
              <a:path h="3566160">
                <a:moveTo>
                  <a:pt x="0" y="0"/>
                </a:moveTo>
                <a:lnTo>
                  <a:pt x="0" y="3566160"/>
                </a:lnTo>
              </a:path>
            </a:pathLst>
          </a:custGeom>
          <a:ln w="36576">
            <a:solidFill>
              <a:srgbClr val="006FAC"/>
            </a:solidFill>
          </a:ln>
        </p:spPr>
        <p:txBody>
          <a:bodyPr wrap="square" lIns="0" tIns="0" rIns="0" bIns="0" rtlCol="0"/>
          <a:lstStyle/>
          <a:p>
            <a:endParaRPr/>
          </a:p>
        </p:txBody>
      </p:sp>
      <p:sp>
        <p:nvSpPr>
          <p:cNvPr id="9" name="object 9"/>
          <p:cNvSpPr/>
          <p:nvPr/>
        </p:nvSpPr>
        <p:spPr>
          <a:xfrm>
            <a:off x="669036" y="5766815"/>
            <a:ext cx="216408" cy="213359"/>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752855" y="1594103"/>
            <a:ext cx="217931" cy="143256"/>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61416" y="1543811"/>
            <a:ext cx="356870" cy="260985"/>
          </a:xfrm>
          <a:custGeom>
            <a:avLst/>
            <a:gdLst/>
            <a:ahLst/>
            <a:cxnLst/>
            <a:rect l="l" t="t" r="r" b="b"/>
            <a:pathLst>
              <a:path w="356869" h="260985">
                <a:moveTo>
                  <a:pt x="0" y="209168"/>
                </a:moveTo>
                <a:lnTo>
                  <a:pt x="0" y="256666"/>
                </a:lnTo>
                <a:lnTo>
                  <a:pt x="3975" y="260603"/>
                </a:lnTo>
                <a:lnTo>
                  <a:pt x="352640" y="260603"/>
                </a:lnTo>
                <a:lnTo>
                  <a:pt x="356616" y="256666"/>
                </a:lnTo>
                <a:lnTo>
                  <a:pt x="356616" y="243459"/>
                </a:lnTo>
                <a:lnTo>
                  <a:pt x="16535" y="243459"/>
                </a:lnTo>
                <a:lnTo>
                  <a:pt x="16535" y="214375"/>
                </a:lnTo>
                <a:lnTo>
                  <a:pt x="13893" y="213740"/>
                </a:lnTo>
                <a:lnTo>
                  <a:pt x="10591" y="213740"/>
                </a:lnTo>
                <a:lnTo>
                  <a:pt x="7937" y="212471"/>
                </a:lnTo>
                <a:lnTo>
                  <a:pt x="0" y="209168"/>
                </a:lnTo>
                <a:close/>
              </a:path>
              <a:path w="356869" h="260985">
                <a:moveTo>
                  <a:pt x="356616" y="16510"/>
                </a:moveTo>
                <a:lnTo>
                  <a:pt x="340080" y="16510"/>
                </a:lnTo>
                <a:lnTo>
                  <a:pt x="340080" y="243459"/>
                </a:lnTo>
                <a:lnTo>
                  <a:pt x="356616" y="243459"/>
                </a:lnTo>
                <a:lnTo>
                  <a:pt x="356616" y="16510"/>
                </a:lnTo>
                <a:close/>
              </a:path>
              <a:path w="356869" h="260985">
                <a:moveTo>
                  <a:pt x="352640" y="0"/>
                </a:moveTo>
                <a:lnTo>
                  <a:pt x="3975" y="0"/>
                </a:lnTo>
                <a:lnTo>
                  <a:pt x="0" y="3937"/>
                </a:lnTo>
                <a:lnTo>
                  <a:pt x="0" y="139826"/>
                </a:lnTo>
                <a:lnTo>
                  <a:pt x="16535" y="147065"/>
                </a:lnTo>
                <a:lnTo>
                  <a:pt x="16535" y="16510"/>
                </a:lnTo>
                <a:lnTo>
                  <a:pt x="356616" y="16510"/>
                </a:lnTo>
                <a:lnTo>
                  <a:pt x="356616" y="3937"/>
                </a:lnTo>
                <a:lnTo>
                  <a:pt x="352640" y="0"/>
                </a:lnTo>
                <a:close/>
              </a:path>
            </a:pathLst>
          </a:custGeom>
          <a:solidFill>
            <a:srgbClr val="FFFFFF"/>
          </a:solidFill>
        </p:spPr>
        <p:txBody>
          <a:bodyPr wrap="square" lIns="0" tIns="0" rIns="0" bIns="0" rtlCol="0"/>
          <a:lstStyle/>
          <a:p>
            <a:endParaRPr/>
          </a:p>
        </p:txBody>
      </p:sp>
      <p:sp>
        <p:nvSpPr>
          <p:cNvPr id="12" name="object 12"/>
          <p:cNvSpPr/>
          <p:nvPr/>
        </p:nvSpPr>
        <p:spPr>
          <a:xfrm>
            <a:off x="716280" y="1842516"/>
            <a:ext cx="149351" cy="166116"/>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888491" y="1842516"/>
            <a:ext cx="150876" cy="166116"/>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515112" y="1610867"/>
            <a:ext cx="237490" cy="337185"/>
          </a:xfrm>
          <a:custGeom>
            <a:avLst/>
            <a:gdLst/>
            <a:ahLst/>
            <a:cxnLst/>
            <a:rect l="l" t="t" r="r" b="b"/>
            <a:pathLst>
              <a:path w="237490" h="337185">
                <a:moveTo>
                  <a:pt x="79247" y="0"/>
                </a:moveTo>
                <a:lnTo>
                  <a:pt x="66458" y="2573"/>
                </a:lnTo>
                <a:lnTo>
                  <a:pt x="55854" y="9636"/>
                </a:lnTo>
                <a:lnTo>
                  <a:pt x="48622" y="20198"/>
                </a:lnTo>
                <a:lnTo>
                  <a:pt x="45948" y="33274"/>
                </a:lnTo>
                <a:lnTo>
                  <a:pt x="48622" y="46081"/>
                </a:lnTo>
                <a:lnTo>
                  <a:pt x="55854" y="56673"/>
                </a:lnTo>
                <a:lnTo>
                  <a:pt x="66458" y="63884"/>
                </a:lnTo>
                <a:lnTo>
                  <a:pt x="79247" y="66548"/>
                </a:lnTo>
                <a:lnTo>
                  <a:pt x="92316" y="63884"/>
                </a:lnTo>
                <a:lnTo>
                  <a:pt x="102889" y="56673"/>
                </a:lnTo>
                <a:lnTo>
                  <a:pt x="109966" y="46081"/>
                </a:lnTo>
                <a:lnTo>
                  <a:pt x="112547" y="33274"/>
                </a:lnTo>
                <a:lnTo>
                  <a:pt x="109966" y="20198"/>
                </a:lnTo>
                <a:lnTo>
                  <a:pt x="102889" y="9636"/>
                </a:lnTo>
                <a:lnTo>
                  <a:pt x="92316" y="2573"/>
                </a:lnTo>
                <a:lnTo>
                  <a:pt x="79247" y="0"/>
                </a:lnTo>
                <a:close/>
              </a:path>
              <a:path w="237490" h="337185">
                <a:moveTo>
                  <a:pt x="77363" y="138430"/>
                </a:moveTo>
                <a:lnTo>
                  <a:pt x="43954" y="138430"/>
                </a:lnTo>
                <a:lnTo>
                  <a:pt x="47282" y="143129"/>
                </a:lnTo>
                <a:lnTo>
                  <a:pt x="49275" y="149098"/>
                </a:lnTo>
                <a:lnTo>
                  <a:pt x="47942" y="209042"/>
                </a:lnTo>
                <a:lnTo>
                  <a:pt x="31305" y="234315"/>
                </a:lnTo>
                <a:lnTo>
                  <a:pt x="31305" y="336804"/>
                </a:lnTo>
                <a:lnTo>
                  <a:pt x="39013" y="327225"/>
                </a:lnTo>
                <a:lnTo>
                  <a:pt x="48031" y="318658"/>
                </a:lnTo>
                <a:lnTo>
                  <a:pt x="58173" y="311354"/>
                </a:lnTo>
                <a:lnTo>
                  <a:pt x="69253" y="305562"/>
                </a:lnTo>
                <a:lnTo>
                  <a:pt x="69253" y="295529"/>
                </a:lnTo>
                <a:lnTo>
                  <a:pt x="64398" y="289059"/>
                </a:lnTo>
                <a:lnTo>
                  <a:pt x="60852" y="281781"/>
                </a:lnTo>
                <a:lnTo>
                  <a:pt x="58676" y="273883"/>
                </a:lnTo>
                <a:lnTo>
                  <a:pt x="57937" y="265557"/>
                </a:lnTo>
                <a:lnTo>
                  <a:pt x="61559" y="248098"/>
                </a:lnTo>
                <a:lnTo>
                  <a:pt x="71424" y="233711"/>
                </a:lnTo>
                <a:lnTo>
                  <a:pt x="86033" y="223944"/>
                </a:lnTo>
                <a:lnTo>
                  <a:pt x="103886" y="220345"/>
                </a:lnTo>
                <a:lnTo>
                  <a:pt x="127190" y="220345"/>
                </a:lnTo>
                <a:lnTo>
                  <a:pt x="127190" y="184404"/>
                </a:lnTo>
                <a:lnTo>
                  <a:pt x="130423" y="141097"/>
                </a:lnTo>
                <a:lnTo>
                  <a:pt x="79247" y="141097"/>
                </a:lnTo>
                <a:lnTo>
                  <a:pt x="77363" y="138430"/>
                </a:lnTo>
                <a:close/>
              </a:path>
              <a:path w="237490" h="337185">
                <a:moveTo>
                  <a:pt x="55943" y="75184"/>
                </a:moveTo>
                <a:lnTo>
                  <a:pt x="17983" y="92583"/>
                </a:lnTo>
                <a:lnTo>
                  <a:pt x="1993" y="149733"/>
                </a:lnTo>
                <a:lnTo>
                  <a:pt x="1333" y="151130"/>
                </a:lnTo>
                <a:lnTo>
                  <a:pt x="1250" y="157734"/>
                </a:lnTo>
                <a:lnTo>
                  <a:pt x="0" y="207645"/>
                </a:lnTo>
                <a:lnTo>
                  <a:pt x="1509" y="215161"/>
                </a:lnTo>
                <a:lnTo>
                  <a:pt x="5578" y="221297"/>
                </a:lnTo>
                <a:lnTo>
                  <a:pt x="11519" y="225432"/>
                </a:lnTo>
                <a:lnTo>
                  <a:pt x="18643" y="226949"/>
                </a:lnTo>
                <a:lnTo>
                  <a:pt x="19316" y="226949"/>
                </a:lnTo>
                <a:lnTo>
                  <a:pt x="38620" y="157734"/>
                </a:lnTo>
                <a:lnTo>
                  <a:pt x="43954" y="138430"/>
                </a:lnTo>
                <a:lnTo>
                  <a:pt x="77363" y="138430"/>
                </a:lnTo>
                <a:lnTo>
                  <a:pt x="63271" y="118491"/>
                </a:lnTo>
                <a:lnTo>
                  <a:pt x="55943" y="75184"/>
                </a:lnTo>
                <a:close/>
              </a:path>
              <a:path w="237490" h="337185">
                <a:moveTo>
                  <a:pt x="127190" y="220345"/>
                </a:moveTo>
                <a:lnTo>
                  <a:pt x="112547" y="220345"/>
                </a:lnTo>
                <a:lnTo>
                  <a:pt x="120535" y="222377"/>
                </a:lnTo>
                <a:lnTo>
                  <a:pt x="127190" y="226314"/>
                </a:lnTo>
                <a:lnTo>
                  <a:pt x="127190" y="220345"/>
                </a:lnTo>
                <a:close/>
              </a:path>
              <a:path w="237490" h="337185">
                <a:moveTo>
                  <a:pt x="102552" y="75184"/>
                </a:moveTo>
                <a:lnTo>
                  <a:pt x="95897" y="118491"/>
                </a:lnTo>
                <a:lnTo>
                  <a:pt x="79247" y="141097"/>
                </a:lnTo>
                <a:lnTo>
                  <a:pt x="130423" y="141097"/>
                </a:lnTo>
                <a:lnTo>
                  <a:pt x="131864" y="121793"/>
                </a:lnTo>
                <a:lnTo>
                  <a:pt x="236091" y="121793"/>
                </a:lnTo>
                <a:lnTo>
                  <a:pt x="237083" y="117094"/>
                </a:lnTo>
                <a:lnTo>
                  <a:pt x="169151" y="97155"/>
                </a:lnTo>
                <a:lnTo>
                  <a:pt x="129857" y="80518"/>
                </a:lnTo>
                <a:lnTo>
                  <a:pt x="127190" y="79248"/>
                </a:lnTo>
                <a:lnTo>
                  <a:pt x="125869" y="79248"/>
                </a:lnTo>
                <a:lnTo>
                  <a:pt x="102552" y="75184"/>
                </a:lnTo>
                <a:close/>
              </a:path>
              <a:path w="237490" h="337185">
                <a:moveTo>
                  <a:pt x="236091" y="121793"/>
                </a:moveTo>
                <a:lnTo>
                  <a:pt x="131864" y="121793"/>
                </a:lnTo>
                <a:lnTo>
                  <a:pt x="157835" y="133096"/>
                </a:lnTo>
                <a:lnTo>
                  <a:pt x="159829" y="133731"/>
                </a:lnTo>
                <a:lnTo>
                  <a:pt x="162496" y="134493"/>
                </a:lnTo>
                <a:lnTo>
                  <a:pt x="165150" y="134493"/>
                </a:lnTo>
                <a:lnTo>
                  <a:pt x="218427" y="135762"/>
                </a:lnTo>
                <a:lnTo>
                  <a:pt x="225558" y="134256"/>
                </a:lnTo>
                <a:lnTo>
                  <a:pt x="231503" y="130190"/>
                </a:lnTo>
                <a:lnTo>
                  <a:pt x="235574" y="124243"/>
                </a:lnTo>
                <a:lnTo>
                  <a:pt x="236091" y="121793"/>
                </a:lnTo>
                <a:close/>
              </a:path>
              <a:path w="237490" h="337185">
                <a:moveTo>
                  <a:pt x="84569" y="73914"/>
                </a:moveTo>
                <a:lnTo>
                  <a:pt x="73926" y="73914"/>
                </a:lnTo>
                <a:lnTo>
                  <a:pt x="71259" y="75819"/>
                </a:lnTo>
                <a:lnTo>
                  <a:pt x="74587" y="83820"/>
                </a:lnTo>
                <a:lnTo>
                  <a:pt x="70586" y="119126"/>
                </a:lnTo>
                <a:lnTo>
                  <a:pt x="79247" y="132461"/>
                </a:lnTo>
                <a:lnTo>
                  <a:pt x="87909" y="119126"/>
                </a:lnTo>
                <a:lnTo>
                  <a:pt x="83908" y="83820"/>
                </a:lnTo>
                <a:lnTo>
                  <a:pt x="87236" y="75819"/>
                </a:lnTo>
                <a:lnTo>
                  <a:pt x="84569" y="73914"/>
                </a:lnTo>
                <a:close/>
              </a:path>
            </a:pathLst>
          </a:custGeom>
          <a:solidFill>
            <a:srgbClr val="FFFFFF"/>
          </a:solidFill>
        </p:spPr>
        <p:txBody>
          <a:bodyPr wrap="square" lIns="0" tIns="0" rIns="0" bIns="0" rtlCol="0"/>
          <a:lstStyle/>
          <a:p>
            <a:endParaRPr/>
          </a:p>
        </p:txBody>
      </p:sp>
      <p:sp>
        <p:nvSpPr>
          <p:cNvPr id="15" name="object 15"/>
          <p:cNvSpPr/>
          <p:nvPr/>
        </p:nvSpPr>
        <p:spPr>
          <a:xfrm>
            <a:off x="544068" y="1842516"/>
            <a:ext cx="149351" cy="166116"/>
          </a:xfrm>
          <a:prstGeom prst="rect">
            <a:avLst/>
          </a:prstGeom>
          <a:blipFill>
            <a:blip r:embed="rId6" cstate="print"/>
            <a:stretch>
              <a:fillRect/>
            </a:stretch>
          </a:blipFill>
        </p:spPr>
        <p:txBody>
          <a:bodyPr wrap="square" lIns="0" tIns="0" rIns="0" bIns="0" rtlCol="0"/>
          <a:lstStyle/>
          <a:p>
            <a:endParaRPr/>
          </a:p>
        </p:txBody>
      </p:sp>
      <p:sp>
        <p:nvSpPr>
          <p:cNvPr id="16" name="object 16"/>
          <p:cNvSpPr/>
          <p:nvPr/>
        </p:nvSpPr>
        <p:spPr>
          <a:xfrm>
            <a:off x="3355847" y="1269491"/>
            <a:ext cx="2590800" cy="1365885"/>
          </a:xfrm>
          <a:custGeom>
            <a:avLst/>
            <a:gdLst/>
            <a:ahLst/>
            <a:cxnLst/>
            <a:rect l="l" t="t" r="r" b="b"/>
            <a:pathLst>
              <a:path w="2590800" h="1365885">
                <a:moveTo>
                  <a:pt x="2159000" y="984504"/>
                </a:moveTo>
                <a:lnTo>
                  <a:pt x="1511300" y="984504"/>
                </a:lnTo>
                <a:lnTo>
                  <a:pt x="1674749" y="1365758"/>
                </a:lnTo>
                <a:lnTo>
                  <a:pt x="2159000" y="984504"/>
                </a:lnTo>
                <a:close/>
              </a:path>
              <a:path w="2590800" h="1365885">
                <a:moveTo>
                  <a:pt x="2590800" y="0"/>
                </a:moveTo>
                <a:lnTo>
                  <a:pt x="0" y="0"/>
                </a:lnTo>
                <a:lnTo>
                  <a:pt x="0" y="984504"/>
                </a:lnTo>
                <a:lnTo>
                  <a:pt x="2590800" y="984504"/>
                </a:lnTo>
                <a:lnTo>
                  <a:pt x="2590800" y="0"/>
                </a:lnTo>
                <a:close/>
              </a:path>
            </a:pathLst>
          </a:custGeom>
          <a:solidFill>
            <a:srgbClr val="EBEBEB"/>
          </a:solidFill>
        </p:spPr>
        <p:txBody>
          <a:bodyPr wrap="square" lIns="0" tIns="0" rIns="0" bIns="0" rtlCol="0"/>
          <a:lstStyle/>
          <a:p>
            <a:endParaRPr/>
          </a:p>
        </p:txBody>
      </p:sp>
      <p:sp>
        <p:nvSpPr>
          <p:cNvPr id="17" name="object 17"/>
          <p:cNvSpPr txBox="1"/>
          <p:nvPr/>
        </p:nvSpPr>
        <p:spPr>
          <a:xfrm>
            <a:off x="3434588" y="1521079"/>
            <a:ext cx="2394585" cy="482600"/>
          </a:xfrm>
          <a:prstGeom prst="rect">
            <a:avLst/>
          </a:prstGeom>
        </p:spPr>
        <p:txBody>
          <a:bodyPr vert="horz" wrap="square" lIns="0" tIns="12065" rIns="0" bIns="0" rtlCol="0">
            <a:spAutoFit/>
          </a:bodyPr>
          <a:lstStyle/>
          <a:p>
            <a:pPr marL="182880" marR="5080" indent="-170815">
              <a:lnSpc>
                <a:spcPct val="100000"/>
              </a:lnSpc>
              <a:spcBef>
                <a:spcPts val="95"/>
              </a:spcBef>
              <a:buClr>
                <a:srgbClr val="006FAC"/>
              </a:buClr>
              <a:buFont typeface="Wingdings"/>
              <a:buChar char=""/>
              <a:tabLst>
                <a:tab pos="183515" algn="l"/>
              </a:tabLst>
            </a:pPr>
            <a:r>
              <a:rPr sz="1000" spc="-5">
                <a:latin typeface="Verdana"/>
                <a:cs typeface="Verdana"/>
              </a:rPr>
              <a:t>The Product </a:t>
            </a:r>
            <a:r>
              <a:rPr sz="1000" spc="-10">
                <a:latin typeface="Verdana"/>
                <a:cs typeface="Verdana"/>
              </a:rPr>
              <a:t>Owner </a:t>
            </a:r>
            <a:r>
              <a:rPr sz="1000">
                <a:latin typeface="Verdana"/>
                <a:cs typeface="Verdana"/>
              </a:rPr>
              <a:t>is </a:t>
            </a:r>
            <a:r>
              <a:rPr sz="1000" spc="-5">
                <a:latin typeface="Verdana"/>
                <a:cs typeface="Verdana"/>
              </a:rPr>
              <a:t>one </a:t>
            </a:r>
            <a:r>
              <a:rPr sz="1000" spc="-10">
                <a:latin typeface="Verdana"/>
                <a:cs typeface="Verdana"/>
              </a:rPr>
              <a:t>way to  </a:t>
            </a:r>
            <a:r>
              <a:rPr sz="1000" spc="-5">
                <a:latin typeface="Verdana"/>
                <a:cs typeface="Verdana"/>
              </a:rPr>
              <a:t>help ensure </a:t>
            </a:r>
            <a:r>
              <a:rPr sz="1000">
                <a:latin typeface="Verdana"/>
                <a:cs typeface="Verdana"/>
              </a:rPr>
              <a:t>no </a:t>
            </a:r>
            <a:r>
              <a:rPr sz="1000" spc="-5">
                <a:latin typeface="Verdana"/>
                <a:cs typeface="Verdana"/>
              </a:rPr>
              <a:t>Lack Of Consensus  to the</a:t>
            </a:r>
            <a:r>
              <a:rPr sz="1000" spc="10">
                <a:latin typeface="Verdana"/>
                <a:cs typeface="Verdana"/>
              </a:rPr>
              <a:t> </a:t>
            </a:r>
            <a:r>
              <a:rPr sz="1000" spc="-5">
                <a:latin typeface="Verdana"/>
                <a:cs typeface="Verdana"/>
              </a:rPr>
              <a:t>team.</a:t>
            </a:r>
            <a:endParaRPr sz="1000">
              <a:latin typeface="Verdana"/>
              <a:cs typeface="Verdana"/>
            </a:endParaRPr>
          </a:p>
        </p:txBody>
      </p:sp>
      <p:sp>
        <p:nvSpPr>
          <p:cNvPr id="18" name="object 18"/>
          <p:cNvSpPr/>
          <p:nvPr/>
        </p:nvSpPr>
        <p:spPr>
          <a:xfrm>
            <a:off x="6102096" y="1239011"/>
            <a:ext cx="3689985" cy="1457960"/>
          </a:xfrm>
          <a:custGeom>
            <a:avLst/>
            <a:gdLst/>
            <a:ahLst/>
            <a:cxnLst/>
            <a:rect l="l" t="t" r="r" b="b"/>
            <a:pathLst>
              <a:path w="3689984" h="1457960">
                <a:moveTo>
                  <a:pt x="3074670" y="1014984"/>
                </a:moveTo>
                <a:lnTo>
                  <a:pt x="2152269" y="1014984"/>
                </a:lnTo>
                <a:lnTo>
                  <a:pt x="2078735" y="1457960"/>
                </a:lnTo>
                <a:lnTo>
                  <a:pt x="3074670" y="1014984"/>
                </a:lnTo>
                <a:close/>
              </a:path>
              <a:path w="3689984" h="1457960">
                <a:moveTo>
                  <a:pt x="3689604" y="0"/>
                </a:moveTo>
                <a:lnTo>
                  <a:pt x="0" y="0"/>
                </a:lnTo>
                <a:lnTo>
                  <a:pt x="0" y="1014984"/>
                </a:lnTo>
                <a:lnTo>
                  <a:pt x="3689604" y="1014984"/>
                </a:lnTo>
                <a:lnTo>
                  <a:pt x="3689604" y="0"/>
                </a:lnTo>
                <a:close/>
              </a:path>
            </a:pathLst>
          </a:custGeom>
          <a:solidFill>
            <a:srgbClr val="EBEBEB"/>
          </a:solidFill>
        </p:spPr>
        <p:txBody>
          <a:bodyPr wrap="square" lIns="0" tIns="0" rIns="0" bIns="0" rtlCol="0"/>
          <a:lstStyle/>
          <a:p>
            <a:endParaRPr/>
          </a:p>
        </p:txBody>
      </p:sp>
      <p:sp>
        <p:nvSpPr>
          <p:cNvPr id="19" name="object 19"/>
          <p:cNvSpPr txBox="1"/>
          <p:nvPr/>
        </p:nvSpPr>
        <p:spPr>
          <a:xfrm>
            <a:off x="6182105" y="1486661"/>
            <a:ext cx="3097530" cy="520700"/>
          </a:xfrm>
          <a:prstGeom prst="rect">
            <a:avLst/>
          </a:prstGeom>
        </p:spPr>
        <p:txBody>
          <a:bodyPr vert="horz" wrap="square" lIns="0" tIns="12065" rIns="0" bIns="0" rtlCol="0">
            <a:spAutoFit/>
          </a:bodyPr>
          <a:lstStyle/>
          <a:p>
            <a:pPr marL="245745" marR="5080" indent="-233679">
              <a:lnSpc>
                <a:spcPct val="100000"/>
              </a:lnSpc>
              <a:spcBef>
                <a:spcPts val="95"/>
              </a:spcBef>
              <a:buClr>
                <a:srgbClr val="006FAC"/>
              </a:buClr>
              <a:buFont typeface="Wingdings"/>
              <a:buChar char=""/>
              <a:tabLst>
                <a:tab pos="245745" algn="l"/>
                <a:tab pos="246379" algn="l"/>
              </a:tabLst>
            </a:pPr>
            <a:r>
              <a:rPr sz="1000">
                <a:latin typeface="Verdana"/>
                <a:cs typeface="Verdana"/>
              </a:rPr>
              <a:t>Allow </a:t>
            </a:r>
            <a:r>
              <a:rPr sz="1000" spc="-5">
                <a:latin typeface="Verdana"/>
                <a:cs typeface="Verdana"/>
              </a:rPr>
              <a:t>management to </a:t>
            </a:r>
            <a:r>
              <a:rPr sz="1000" spc="-10">
                <a:latin typeface="Verdana"/>
                <a:cs typeface="Verdana"/>
              </a:rPr>
              <a:t>see </a:t>
            </a:r>
            <a:r>
              <a:rPr sz="1000" spc="-5">
                <a:latin typeface="Verdana"/>
                <a:cs typeface="Verdana"/>
              </a:rPr>
              <a:t>improvement and  results </a:t>
            </a:r>
            <a:r>
              <a:rPr sz="1000" spc="-10">
                <a:latin typeface="Verdana"/>
                <a:cs typeface="Verdana"/>
              </a:rPr>
              <a:t>even </a:t>
            </a:r>
            <a:r>
              <a:rPr sz="1000">
                <a:latin typeface="Verdana"/>
                <a:cs typeface="Verdana"/>
              </a:rPr>
              <a:t>if</a:t>
            </a:r>
            <a:r>
              <a:rPr sz="1000" spc="40">
                <a:latin typeface="Verdana"/>
                <a:cs typeface="Verdana"/>
              </a:rPr>
              <a:t> </a:t>
            </a:r>
            <a:r>
              <a:rPr sz="1000">
                <a:latin typeface="Verdana"/>
                <a:cs typeface="Verdana"/>
              </a:rPr>
              <a:t>small</a:t>
            </a:r>
          </a:p>
          <a:p>
            <a:pPr marL="245745" indent="-233679">
              <a:lnSpc>
                <a:spcPct val="100000"/>
              </a:lnSpc>
              <a:spcBef>
                <a:spcPts val="300"/>
              </a:spcBef>
              <a:buClr>
                <a:srgbClr val="006FAC"/>
              </a:buClr>
              <a:buFont typeface="Wingdings"/>
              <a:buChar char=""/>
              <a:tabLst>
                <a:tab pos="245745" algn="l"/>
                <a:tab pos="246379" algn="l"/>
              </a:tabLst>
            </a:pPr>
            <a:r>
              <a:rPr sz="1000" spc="-5">
                <a:latin typeface="Verdana"/>
                <a:cs typeface="Verdana"/>
              </a:rPr>
              <a:t>Celebrate </a:t>
            </a:r>
            <a:r>
              <a:rPr sz="1000" spc="-10">
                <a:latin typeface="Verdana"/>
                <a:cs typeface="Verdana"/>
              </a:rPr>
              <a:t>success, </a:t>
            </a:r>
            <a:r>
              <a:rPr sz="1000" spc="-5">
                <a:latin typeface="Verdana"/>
                <a:cs typeface="Verdana"/>
              </a:rPr>
              <a:t>whatever the</a:t>
            </a:r>
            <a:r>
              <a:rPr sz="1000" spc="120">
                <a:latin typeface="Verdana"/>
                <a:cs typeface="Verdana"/>
              </a:rPr>
              <a:t> </a:t>
            </a:r>
            <a:r>
              <a:rPr sz="1000" spc="-5">
                <a:latin typeface="Verdana"/>
                <a:cs typeface="Verdana"/>
              </a:rPr>
              <a:t>entity</a:t>
            </a:r>
            <a:endParaRPr sz="1000">
              <a:latin typeface="Verdana"/>
              <a:cs typeface="Verdana"/>
            </a:endParaRPr>
          </a:p>
        </p:txBody>
      </p:sp>
      <p:sp>
        <p:nvSpPr>
          <p:cNvPr id="20" name="object 20"/>
          <p:cNvSpPr/>
          <p:nvPr/>
        </p:nvSpPr>
        <p:spPr>
          <a:xfrm>
            <a:off x="2770632" y="3052572"/>
            <a:ext cx="1186180" cy="1203960"/>
          </a:xfrm>
          <a:custGeom>
            <a:avLst/>
            <a:gdLst/>
            <a:ahLst/>
            <a:cxnLst/>
            <a:rect l="l" t="t" r="r" b="b"/>
            <a:pathLst>
              <a:path w="1186179" h="1203960">
                <a:moveTo>
                  <a:pt x="592835" y="0"/>
                </a:moveTo>
                <a:lnTo>
                  <a:pt x="544215" y="1995"/>
                </a:lnTo>
                <a:lnTo>
                  <a:pt x="496676" y="7878"/>
                </a:lnTo>
                <a:lnTo>
                  <a:pt x="450373" y="17493"/>
                </a:lnTo>
                <a:lnTo>
                  <a:pt x="405457" y="30687"/>
                </a:lnTo>
                <a:lnTo>
                  <a:pt x="362080" y="47303"/>
                </a:lnTo>
                <a:lnTo>
                  <a:pt x="320397" y="67187"/>
                </a:lnTo>
                <a:lnTo>
                  <a:pt x="280558" y="90185"/>
                </a:lnTo>
                <a:lnTo>
                  <a:pt x="242718" y="116140"/>
                </a:lnTo>
                <a:lnTo>
                  <a:pt x="207028" y="144900"/>
                </a:lnTo>
                <a:lnTo>
                  <a:pt x="173640" y="176307"/>
                </a:lnTo>
                <a:lnTo>
                  <a:pt x="142708" y="210209"/>
                </a:lnTo>
                <a:lnTo>
                  <a:pt x="114385" y="246449"/>
                </a:lnTo>
                <a:lnTo>
                  <a:pt x="88822" y="284873"/>
                </a:lnTo>
                <a:lnTo>
                  <a:pt x="66172" y="325325"/>
                </a:lnTo>
                <a:lnTo>
                  <a:pt x="46589" y="367653"/>
                </a:lnTo>
                <a:lnTo>
                  <a:pt x="30223" y="411699"/>
                </a:lnTo>
                <a:lnTo>
                  <a:pt x="17229" y="457310"/>
                </a:lnTo>
                <a:lnTo>
                  <a:pt x="7759" y="504330"/>
                </a:lnTo>
                <a:lnTo>
                  <a:pt x="1965" y="552605"/>
                </a:lnTo>
                <a:lnTo>
                  <a:pt x="0" y="601979"/>
                </a:lnTo>
                <a:lnTo>
                  <a:pt x="1965" y="651354"/>
                </a:lnTo>
                <a:lnTo>
                  <a:pt x="7759" y="699629"/>
                </a:lnTo>
                <a:lnTo>
                  <a:pt x="17229" y="746649"/>
                </a:lnTo>
                <a:lnTo>
                  <a:pt x="30223" y="792260"/>
                </a:lnTo>
                <a:lnTo>
                  <a:pt x="46589" y="836306"/>
                </a:lnTo>
                <a:lnTo>
                  <a:pt x="66172" y="878634"/>
                </a:lnTo>
                <a:lnTo>
                  <a:pt x="88822" y="919086"/>
                </a:lnTo>
                <a:lnTo>
                  <a:pt x="114385" y="957510"/>
                </a:lnTo>
                <a:lnTo>
                  <a:pt x="142708" y="993750"/>
                </a:lnTo>
                <a:lnTo>
                  <a:pt x="173640" y="1027652"/>
                </a:lnTo>
                <a:lnTo>
                  <a:pt x="207028" y="1059059"/>
                </a:lnTo>
                <a:lnTo>
                  <a:pt x="242718" y="1087819"/>
                </a:lnTo>
                <a:lnTo>
                  <a:pt x="280558" y="1113774"/>
                </a:lnTo>
                <a:lnTo>
                  <a:pt x="320397" y="1136772"/>
                </a:lnTo>
                <a:lnTo>
                  <a:pt x="362080" y="1156656"/>
                </a:lnTo>
                <a:lnTo>
                  <a:pt x="405457" y="1173272"/>
                </a:lnTo>
                <a:lnTo>
                  <a:pt x="450373" y="1186466"/>
                </a:lnTo>
                <a:lnTo>
                  <a:pt x="496676" y="1196081"/>
                </a:lnTo>
                <a:lnTo>
                  <a:pt x="544215" y="1201964"/>
                </a:lnTo>
                <a:lnTo>
                  <a:pt x="592835" y="1203959"/>
                </a:lnTo>
                <a:lnTo>
                  <a:pt x="641456" y="1201964"/>
                </a:lnTo>
                <a:lnTo>
                  <a:pt x="688995" y="1196081"/>
                </a:lnTo>
                <a:lnTo>
                  <a:pt x="735298" y="1186466"/>
                </a:lnTo>
                <a:lnTo>
                  <a:pt x="780214" y="1173272"/>
                </a:lnTo>
                <a:lnTo>
                  <a:pt x="823591" y="1156656"/>
                </a:lnTo>
                <a:lnTo>
                  <a:pt x="865274" y="1136772"/>
                </a:lnTo>
                <a:lnTo>
                  <a:pt x="905113" y="1113774"/>
                </a:lnTo>
                <a:lnTo>
                  <a:pt x="942953" y="1087819"/>
                </a:lnTo>
                <a:lnTo>
                  <a:pt x="978643" y="1059059"/>
                </a:lnTo>
                <a:lnTo>
                  <a:pt x="1012031" y="1027652"/>
                </a:lnTo>
                <a:lnTo>
                  <a:pt x="1042963" y="993750"/>
                </a:lnTo>
                <a:lnTo>
                  <a:pt x="1071286" y="957510"/>
                </a:lnTo>
                <a:lnTo>
                  <a:pt x="1096849" y="919086"/>
                </a:lnTo>
                <a:lnTo>
                  <a:pt x="1119499" y="878634"/>
                </a:lnTo>
                <a:lnTo>
                  <a:pt x="1139082" y="836306"/>
                </a:lnTo>
                <a:lnTo>
                  <a:pt x="1155448" y="792260"/>
                </a:lnTo>
                <a:lnTo>
                  <a:pt x="1168442" y="746649"/>
                </a:lnTo>
                <a:lnTo>
                  <a:pt x="1177912" y="699629"/>
                </a:lnTo>
                <a:lnTo>
                  <a:pt x="1183706" y="651354"/>
                </a:lnTo>
                <a:lnTo>
                  <a:pt x="1185671" y="601979"/>
                </a:lnTo>
                <a:lnTo>
                  <a:pt x="1183706" y="552605"/>
                </a:lnTo>
                <a:lnTo>
                  <a:pt x="1177912" y="504330"/>
                </a:lnTo>
                <a:lnTo>
                  <a:pt x="1168442" y="457310"/>
                </a:lnTo>
                <a:lnTo>
                  <a:pt x="1155448" y="411699"/>
                </a:lnTo>
                <a:lnTo>
                  <a:pt x="1139082" y="367653"/>
                </a:lnTo>
                <a:lnTo>
                  <a:pt x="1119499" y="325325"/>
                </a:lnTo>
                <a:lnTo>
                  <a:pt x="1096849" y="284873"/>
                </a:lnTo>
                <a:lnTo>
                  <a:pt x="1071286" y="246449"/>
                </a:lnTo>
                <a:lnTo>
                  <a:pt x="1042963" y="210209"/>
                </a:lnTo>
                <a:lnTo>
                  <a:pt x="1012031" y="176307"/>
                </a:lnTo>
                <a:lnTo>
                  <a:pt x="978643" y="144900"/>
                </a:lnTo>
                <a:lnTo>
                  <a:pt x="942953" y="116140"/>
                </a:lnTo>
                <a:lnTo>
                  <a:pt x="905113" y="90185"/>
                </a:lnTo>
                <a:lnTo>
                  <a:pt x="865274" y="67187"/>
                </a:lnTo>
                <a:lnTo>
                  <a:pt x="823591" y="47303"/>
                </a:lnTo>
                <a:lnTo>
                  <a:pt x="780214" y="30687"/>
                </a:lnTo>
                <a:lnTo>
                  <a:pt x="735298" y="17493"/>
                </a:lnTo>
                <a:lnTo>
                  <a:pt x="688995" y="7878"/>
                </a:lnTo>
                <a:lnTo>
                  <a:pt x="641456" y="1995"/>
                </a:lnTo>
                <a:lnTo>
                  <a:pt x="592835" y="0"/>
                </a:lnTo>
                <a:close/>
              </a:path>
            </a:pathLst>
          </a:custGeom>
          <a:solidFill>
            <a:srgbClr val="12ABDB"/>
          </a:solidFill>
        </p:spPr>
        <p:txBody>
          <a:bodyPr wrap="square" lIns="0" tIns="0" rIns="0" bIns="0" rtlCol="0"/>
          <a:lstStyle/>
          <a:p>
            <a:endParaRPr/>
          </a:p>
        </p:txBody>
      </p:sp>
      <p:sp>
        <p:nvSpPr>
          <p:cNvPr id="21" name="object 21"/>
          <p:cNvSpPr txBox="1"/>
          <p:nvPr/>
        </p:nvSpPr>
        <p:spPr>
          <a:xfrm>
            <a:off x="3154172" y="3557396"/>
            <a:ext cx="419100" cy="193675"/>
          </a:xfrm>
          <a:prstGeom prst="rect">
            <a:avLst/>
          </a:prstGeom>
        </p:spPr>
        <p:txBody>
          <a:bodyPr vert="horz" wrap="square" lIns="0" tIns="13335" rIns="0" bIns="0" rtlCol="0">
            <a:spAutoFit/>
          </a:bodyPr>
          <a:lstStyle/>
          <a:p>
            <a:pPr marL="12700">
              <a:lnSpc>
                <a:spcPct val="100000"/>
              </a:lnSpc>
              <a:spcBef>
                <a:spcPts val="105"/>
              </a:spcBef>
            </a:pPr>
            <a:r>
              <a:rPr sz="1100" b="1" spc="-5">
                <a:solidFill>
                  <a:srgbClr val="FFFFFF"/>
                </a:solidFill>
                <a:latin typeface="Verdana"/>
                <a:cs typeface="Verdana"/>
              </a:rPr>
              <a:t>Ag</a:t>
            </a:r>
            <a:r>
              <a:rPr sz="1100" b="1" spc="-10">
                <a:solidFill>
                  <a:srgbClr val="FFFFFF"/>
                </a:solidFill>
                <a:latin typeface="Verdana"/>
                <a:cs typeface="Verdana"/>
              </a:rPr>
              <a:t>il</a:t>
            </a:r>
            <a:r>
              <a:rPr sz="1100" b="1">
                <a:solidFill>
                  <a:srgbClr val="FFFFFF"/>
                </a:solidFill>
                <a:latin typeface="Verdana"/>
                <a:cs typeface="Verdana"/>
              </a:rPr>
              <a:t>e</a:t>
            </a:r>
            <a:endParaRPr sz="1100">
              <a:latin typeface="Verdana"/>
              <a:cs typeface="Verdana"/>
            </a:endParaRPr>
          </a:p>
        </p:txBody>
      </p:sp>
      <p:sp>
        <p:nvSpPr>
          <p:cNvPr id="22" name="object 22"/>
          <p:cNvSpPr/>
          <p:nvPr/>
        </p:nvSpPr>
        <p:spPr>
          <a:xfrm>
            <a:off x="5652515" y="2985516"/>
            <a:ext cx="1186180" cy="1202690"/>
          </a:xfrm>
          <a:custGeom>
            <a:avLst/>
            <a:gdLst/>
            <a:ahLst/>
            <a:cxnLst/>
            <a:rect l="l" t="t" r="r" b="b"/>
            <a:pathLst>
              <a:path w="1186179" h="1202689">
                <a:moveTo>
                  <a:pt x="592836" y="0"/>
                </a:moveTo>
                <a:lnTo>
                  <a:pt x="544215" y="1992"/>
                </a:lnTo>
                <a:lnTo>
                  <a:pt x="496676" y="7867"/>
                </a:lnTo>
                <a:lnTo>
                  <a:pt x="450373" y="17469"/>
                </a:lnTo>
                <a:lnTo>
                  <a:pt x="405457" y="30644"/>
                </a:lnTo>
                <a:lnTo>
                  <a:pt x="362080" y="47238"/>
                </a:lnTo>
                <a:lnTo>
                  <a:pt x="320397" y="67095"/>
                </a:lnTo>
                <a:lnTo>
                  <a:pt x="280558" y="90061"/>
                </a:lnTo>
                <a:lnTo>
                  <a:pt x="242718" y="115982"/>
                </a:lnTo>
                <a:lnTo>
                  <a:pt x="207028" y="144703"/>
                </a:lnTo>
                <a:lnTo>
                  <a:pt x="173640" y="176069"/>
                </a:lnTo>
                <a:lnTo>
                  <a:pt x="142708" y="209926"/>
                </a:lnTo>
                <a:lnTo>
                  <a:pt x="114385" y="246119"/>
                </a:lnTo>
                <a:lnTo>
                  <a:pt x="88822" y="284494"/>
                </a:lnTo>
                <a:lnTo>
                  <a:pt x="66172" y="324896"/>
                </a:lnTo>
                <a:lnTo>
                  <a:pt x="46589" y="367170"/>
                </a:lnTo>
                <a:lnTo>
                  <a:pt x="30223" y="411163"/>
                </a:lnTo>
                <a:lnTo>
                  <a:pt x="17229" y="456718"/>
                </a:lnTo>
                <a:lnTo>
                  <a:pt x="7759" y="503682"/>
                </a:lnTo>
                <a:lnTo>
                  <a:pt x="1965" y="551900"/>
                </a:lnTo>
                <a:lnTo>
                  <a:pt x="0" y="601218"/>
                </a:lnTo>
                <a:lnTo>
                  <a:pt x="1965" y="650535"/>
                </a:lnTo>
                <a:lnTo>
                  <a:pt x="7759" y="698753"/>
                </a:lnTo>
                <a:lnTo>
                  <a:pt x="17229" y="745717"/>
                </a:lnTo>
                <a:lnTo>
                  <a:pt x="30223" y="791272"/>
                </a:lnTo>
                <a:lnTo>
                  <a:pt x="46589" y="835265"/>
                </a:lnTo>
                <a:lnTo>
                  <a:pt x="66172" y="877539"/>
                </a:lnTo>
                <a:lnTo>
                  <a:pt x="88822" y="917941"/>
                </a:lnTo>
                <a:lnTo>
                  <a:pt x="114385" y="956316"/>
                </a:lnTo>
                <a:lnTo>
                  <a:pt x="142708" y="992509"/>
                </a:lnTo>
                <a:lnTo>
                  <a:pt x="173640" y="1026366"/>
                </a:lnTo>
                <a:lnTo>
                  <a:pt x="207028" y="1057732"/>
                </a:lnTo>
                <a:lnTo>
                  <a:pt x="242718" y="1086453"/>
                </a:lnTo>
                <a:lnTo>
                  <a:pt x="280558" y="1112374"/>
                </a:lnTo>
                <a:lnTo>
                  <a:pt x="320397" y="1135340"/>
                </a:lnTo>
                <a:lnTo>
                  <a:pt x="362080" y="1155197"/>
                </a:lnTo>
                <a:lnTo>
                  <a:pt x="405457" y="1171791"/>
                </a:lnTo>
                <a:lnTo>
                  <a:pt x="450373" y="1184966"/>
                </a:lnTo>
                <a:lnTo>
                  <a:pt x="496676" y="1194568"/>
                </a:lnTo>
                <a:lnTo>
                  <a:pt x="544215" y="1200443"/>
                </a:lnTo>
                <a:lnTo>
                  <a:pt x="592836" y="1202436"/>
                </a:lnTo>
                <a:lnTo>
                  <a:pt x="641456" y="1200443"/>
                </a:lnTo>
                <a:lnTo>
                  <a:pt x="688995" y="1194568"/>
                </a:lnTo>
                <a:lnTo>
                  <a:pt x="735298" y="1184966"/>
                </a:lnTo>
                <a:lnTo>
                  <a:pt x="780214" y="1171791"/>
                </a:lnTo>
                <a:lnTo>
                  <a:pt x="823591" y="1155197"/>
                </a:lnTo>
                <a:lnTo>
                  <a:pt x="865274" y="1135340"/>
                </a:lnTo>
                <a:lnTo>
                  <a:pt x="905113" y="1112374"/>
                </a:lnTo>
                <a:lnTo>
                  <a:pt x="942953" y="1086453"/>
                </a:lnTo>
                <a:lnTo>
                  <a:pt x="978643" y="1057732"/>
                </a:lnTo>
                <a:lnTo>
                  <a:pt x="1012031" y="1026366"/>
                </a:lnTo>
                <a:lnTo>
                  <a:pt x="1042963" y="992509"/>
                </a:lnTo>
                <a:lnTo>
                  <a:pt x="1071286" y="956316"/>
                </a:lnTo>
                <a:lnTo>
                  <a:pt x="1096849" y="917941"/>
                </a:lnTo>
                <a:lnTo>
                  <a:pt x="1119499" y="877539"/>
                </a:lnTo>
                <a:lnTo>
                  <a:pt x="1139082" y="835265"/>
                </a:lnTo>
                <a:lnTo>
                  <a:pt x="1155448" y="791272"/>
                </a:lnTo>
                <a:lnTo>
                  <a:pt x="1168442" y="745717"/>
                </a:lnTo>
                <a:lnTo>
                  <a:pt x="1177912" y="698753"/>
                </a:lnTo>
                <a:lnTo>
                  <a:pt x="1183706" y="650535"/>
                </a:lnTo>
                <a:lnTo>
                  <a:pt x="1185672" y="601218"/>
                </a:lnTo>
                <a:lnTo>
                  <a:pt x="1183706" y="551900"/>
                </a:lnTo>
                <a:lnTo>
                  <a:pt x="1177912" y="503682"/>
                </a:lnTo>
                <a:lnTo>
                  <a:pt x="1168442" y="456718"/>
                </a:lnTo>
                <a:lnTo>
                  <a:pt x="1155448" y="411163"/>
                </a:lnTo>
                <a:lnTo>
                  <a:pt x="1139082" y="367170"/>
                </a:lnTo>
                <a:lnTo>
                  <a:pt x="1119499" y="324896"/>
                </a:lnTo>
                <a:lnTo>
                  <a:pt x="1096849" y="284494"/>
                </a:lnTo>
                <a:lnTo>
                  <a:pt x="1071286" y="246119"/>
                </a:lnTo>
                <a:lnTo>
                  <a:pt x="1042963" y="209926"/>
                </a:lnTo>
                <a:lnTo>
                  <a:pt x="1012031" y="176069"/>
                </a:lnTo>
                <a:lnTo>
                  <a:pt x="978643" y="144703"/>
                </a:lnTo>
                <a:lnTo>
                  <a:pt x="942953" y="115982"/>
                </a:lnTo>
                <a:lnTo>
                  <a:pt x="905113" y="90061"/>
                </a:lnTo>
                <a:lnTo>
                  <a:pt x="865274" y="67095"/>
                </a:lnTo>
                <a:lnTo>
                  <a:pt x="823591" y="47238"/>
                </a:lnTo>
                <a:lnTo>
                  <a:pt x="780214" y="30644"/>
                </a:lnTo>
                <a:lnTo>
                  <a:pt x="735298" y="17469"/>
                </a:lnTo>
                <a:lnTo>
                  <a:pt x="688995" y="7867"/>
                </a:lnTo>
                <a:lnTo>
                  <a:pt x="641456" y="1992"/>
                </a:lnTo>
                <a:lnTo>
                  <a:pt x="592836" y="0"/>
                </a:lnTo>
                <a:close/>
              </a:path>
            </a:pathLst>
          </a:custGeom>
          <a:solidFill>
            <a:srgbClr val="12ABDB"/>
          </a:solidFill>
        </p:spPr>
        <p:txBody>
          <a:bodyPr wrap="square" lIns="0" tIns="0" rIns="0" bIns="0" rtlCol="0"/>
          <a:lstStyle/>
          <a:p>
            <a:endParaRPr/>
          </a:p>
        </p:txBody>
      </p:sp>
      <p:sp>
        <p:nvSpPr>
          <p:cNvPr id="23" name="object 23"/>
          <p:cNvSpPr txBox="1"/>
          <p:nvPr/>
        </p:nvSpPr>
        <p:spPr>
          <a:xfrm>
            <a:off x="5839459" y="3489705"/>
            <a:ext cx="814069" cy="193675"/>
          </a:xfrm>
          <a:prstGeom prst="rect">
            <a:avLst/>
          </a:prstGeom>
        </p:spPr>
        <p:txBody>
          <a:bodyPr vert="horz" wrap="square" lIns="0" tIns="13335" rIns="0" bIns="0" rtlCol="0">
            <a:spAutoFit/>
          </a:bodyPr>
          <a:lstStyle/>
          <a:p>
            <a:pPr marL="12700">
              <a:lnSpc>
                <a:spcPct val="100000"/>
              </a:lnSpc>
              <a:spcBef>
                <a:spcPts val="105"/>
              </a:spcBef>
            </a:pPr>
            <a:r>
              <a:rPr sz="1100" b="1">
                <a:solidFill>
                  <a:srgbClr val="FFFFFF"/>
                </a:solidFill>
                <a:latin typeface="Verdana"/>
                <a:cs typeface="Verdana"/>
              </a:rPr>
              <a:t>One</a:t>
            </a:r>
            <a:r>
              <a:rPr sz="1100" b="1" spc="-90">
                <a:solidFill>
                  <a:srgbClr val="FFFFFF"/>
                </a:solidFill>
                <a:latin typeface="Verdana"/>
                <a:cs typeface="Verdana"/>
              </a:rPr>
              <a:t> </a:t>
            </a:r>
            <a:r>
              <a:rPr sz="1100" b="1">
                <a:solidFill>
                  <a:srgbClr val="FFFFFF"/>
                </a:solidFill>
                <a:latin typeface="Verdana"/>
                <a:cs typeface="Verdana"/>
              </a:rPr>
              <a:t>Team</a:t>
            </a:r>
            <a:endParaRPr sz="1100">
              <a:latin typeface="Verdana"/>
              <a:cs typeface="Verdana"/>
            </a:endParaRPr>
          </a:p>
        </p:txBody>
      </p:sp>
      <p:sp>
        <p:nvSpPr>
          <p:cNvPr id="24" name="object 24"/>
          <p:cNvSpPr/>
          <p:nvPr/>
        </p:nvSpPr>
        <p:spPr>
          <a:xfrm>
            <a:off x="8596883" y="2959607"/>
            <a:ext cx="1184275" cy="1203960"/>
          </a:xfrm>
          <a:custGeom>
            <a:avLst/>
            <a:gdLst/>
            <a:ahLst/>
            <a:cxnLst/>
            <a:rect l="l" t="t" r="r" b="b"/>
            <a:pathLst>
              <a:path w="1184275" h="1203960">
                <a:moveTo>
                  <a:pt x="592074" y="0"/>
                </a:moveTo>
                <a:lnTo>
                  <a:pt x="543510" y="1995"/>
                </a:lnTo>
                <a:lnTo>
                  <a:pt x="496028" y="7878"/>
                </a:lnTo>
                <a:lnTo>
                  <a:pt x="449781" y="17493"/>
                </a:lnTo>
                <a:lnTo>
                  <a:pt x="404920" y="30687"/>
                </a:lnTo>
                <a:lnTo>
                  <a:pt x="361598" y="47303"/>
                </a:lnTo>
                <a:lnTo>
                  <a:pt x="319967" y="67187"/>
                </a:lnTo>
                <a:lnTo>
                  <a:pt x="280180" y="90185"/>
                </a:lnTo>
                <a:lnTo>
                  <a:pt x="242389" y="116140"/>
                </a:lnTo>
                <a:lnTo>
                  <a:pt x="206745" y="144900"/>
                </a:lnTo>
                <a:lnTo>
                  <a:pt x="173402" y="176307"/>
                </a:lnTo>
                <a:lnTo>
                  <a:pt x="142512" y="210209"/>
                </a:lnTo>
                <a:lnTo>
                  <a:pt x="114226" y="246449"/>
                </a:lnTo>
                <a:lnTo>
                  <a:pt x="88698" y="284873"/>
                </a:lnTo>
                <a:lnTo>
                  <a:pt x="66080" y="325325"/>
                </a:lnTo>
                <a:lnTo>
                  <a:pt x="46523" y="367653"/>
                </a:lnTo>
                <a:lnTo>
                  <a:pt x="30181" y="411699"/>
                </a:lnTo>
                <a:lnTo>
                  <a:pt x="17205" y="457310"/>
                </a:lnTo>
                <a:lnTo>
                  <a:pt x="7748" y="504330"/>
                </a:lnTo>
                <a:lnTo>
                  <a:pt x="1962" y="552605"/>
                </a:lnTo>
                <a:lnTo>
                  <a:pt x="0" y="601979"/>
                </a:lnTo>
                <a:lnTo>
                  <a:pt x="1962" y="651354"/>
                </a:lnTo>
                <a:lnTo>
                  <a:pt x="7748" y="699629"/>
                </a:lnTo>
                <a:lnTo>
                  <a:pt x="17205" y="746649"/>
                </a:lnTo>
                <a:lnTo>
                  <a:pt x="30181" y="792260"/>
                </a:lnTo>
                <a:lnTo>
                  <a:pt x="46523" y="836306"/>
                </a:lnTo>
                <a:lnTo>
                  <a:pt x="66080" y="878634"/>
                </a:lnTo>
                <a:lnTo>
                  <a:pt x="88698" y="919086"/>
                </a:lnTo>
                <a:lnTo>
                  <a:pt x="114226" y="957510"/>
                </a:lnTo>
                <a:lnTo>
                  <a:pt x="142512" y="993750"/>
                </a:lnTo>
                <a:lnTo>
                  <a:pt x="173402" y="1027652"/>
                </a:lnTo>
                <a:lnTo>
                  <a:pt x="206745" y="1059059"/>
                </a:lnTo>
                <a:lnTo>
                  <a:pt x="242389" y="1087819"/>
                </a:lnTo>
                <a:lnTo>
                  <a:pt x="280180" y="1113774"/>
                </a:lnTo>
                <a:lnTo>
                  <a:pt x="319967" y="1136772"/>
                </a:lnTo>
                <a:lnTo>
                  <a:pt x="361598" y="1156656"/>
                </a:lnTo>
                <a:lnTo>
                  <a:pt x="404920" y="1173272"/>
                </a:lnTo>
                <a:lnTo>
                  <a:pt x="449781" y="1186466"/>
                </a:lnTo>
                <a:lnTo>
                  <a:pt x="496028" y="1196081"/>
                </a:lnTo>
                <a:lnTo>
                  <a:pt x="543510" y="1201964"/>
                </a:lnTo>
                <a:lnTo>
                  <a:pt x="592074" y="1203959"/>
                </a:lnTo>
                <a:lnTo>
                  <a:pt x="640637" y="1201964"/>
                </a:lnTo>
                <a:lnTo>
                  <a:pt x="688119" y="1196081"/>
                </a:lnTo>
                <a:lnTo>
                  <a:pt x="734366" y="1186466"/>
                </a:lnTo>
                <a:lnTo>
                  <a:pt x="779227" y="1173272"/>
                </a:lnTo>
                <a:lnTo>
                  <a:pt x="822549" y="1156656"/>
                </a:lnTo>
                <a:lnTo>
                  <a:pt x="864180" y="1136772"/>
                </a:lnTo>
                <a:lnTo>
                  <a:pt x="903967" y="1113774"/>
                </a:lnTo>
                <a:lnTo>
                  <a:pt x="941758" y="1087819"/>
                </a:lnTo>
                <a:lnTo>
                  <a:pt x="977402" y="1059059"/>
                </a:lnTo>
                <a:lnTo>
                  <a:pt x="1010745" y="1027652"/>
                </a:lnTo>
                <a:lnTo>
                  <a:pt x="1041635" y="993750"/>
                </a:lnTo>
                <a:lnTo>
                  <a:pt x="1069921" y="957510"/>
                </a:lnTo>
                <a:lnTo>
                  <a:pt x="1095449" y="919086"/>
                </a:lnTo>
                <a:lnTo>
                  <a:pt x="1118067" y="878634"/>
                </a:lnTo>
                <a:lnTo>
                  <a:pt x="1137624" y="836306"/>
                </a:lnTo>
                <a:lnTo>
                  <a:pt x="1153966" y="792260"/>
                </a:lnTo>
                <a:lnTo>
                  <a:pt x="1166942" y="746649"/>
                </a:lnTo>
                <a:lnTo>
                  <a:pt x="1176399" y="699629"/>
                </a:lnTo>
                <a:lnTo>
                  <a:pt x="1182185" y="651354"/>
                </a:lnTo>
                <a:lnTo>
                  <a:pt x="1184148" y="601979"/>
                </a:lnTo>
                <a:lnTo>
                  <a:pt x="1182185" y="552605"/>
                </a:lnTo>
                <a:lnTo>
                  <a:pt x="1176399" y="504330"/>
                </a:lnTo>
                <a:lnTo>
                  <a:pt x="1166942" y="457310"/>
                </a:lnTo>
                <a:lnTo>
                  <a:pt x="1153966" y="411699"/>
                </a:lnTo>
                <a:lnTo>
                  <a:pt x="1137624" y="367653"/>
                </a:lnTo>
                <a:lnTo>
                  <a:pt x="1118067" y="325325"/>
                </a:lnTo>
                <a:lnTo>
                  <a:pt x="1095449" y="284873"/>
                </a:lnTo>
                <a:lnTo>
                  <a:pt x="1069921" y="246449"/>
                </a:lnTo>
                <a:lnTo>
                  <a:pt x="1041635" y="210209"/>
                </a:lnTo>
                <a:lnTo>
                  <a:pt x="1010745" y="176307"/>
                </a:lnTo>
                <a:lnTo>
                  <a:pt x="977402" y="144900"/>
                </a:lnTo>
                <a:lnTo>
                  <a:pt x="941758" y="116140"/>
                </a:lnTo>
                <a:lnTo>
                  <a:pt x="903967" y="90185"/>
                </a:lnTo>
                <a:lnTo>
                  <a:pt x="864180" y="67187"/>
                </a:lnTo>
                <a:lnTo>
                  <a:pt x="822549" y="47303"/>
                </a:lnTo>
                <a:lnTo>
                  <a:pt x="779227" y="30687"/>
                </a:lnTo>
                <a:lnTo>
                  <a:pt x="734366" y="17493"/>
                </a:lnTo>
                <a:lnTo>
                  <a:pt x="688119" y="7878"/>
                </a:lnTo>
                <a:lnTo>
                  <a:pt x="640637" y="1995"/>
                </a:lnTo>
                <a:lnTo>
                  <a:pt x="592074" y="0"/>
                </a:lnTo>
                <a:close/>
              </a:path>
            </a:pathLst>
          </a:custGeom>
          <a:solidFill>
            <a:srgbClr val="12ABDB"/>
          </a:solidFill>
        </p:spPr>
        <p:txBody>
          <a:bodyPr wrap="square" lIns="0" tIns="0" rIns="0" bIns="0" rtlCol="0"/>
          <a:lstStyle/>
          <a:p>
            <a:endParaRPr/>
          </a:p>
        </p:txBody>
      </p:sp>
      <p:sp>
        <p:nvSpPr>
          <p:cNvPr id="25" name="object 25"/>
          <p:cNvSpPr txBox="1"/>
          <p:nvPr/>
        </p:nvSpPr>
        <p:spPr>
          <a:xfrm>
            <a:off x="8727185" y="3380994"/>
            <a:ext cx="927100" cy="361315"/>
          </a:xfrm>
          <a:prstGeom prst="rect">
            <a:avLst/>
          </a:prstGeom>
        </p:spPr>
        <p:txBody>
          <a:bodyPr vert="horz" wrap="square" lIns="0" tIns="13335" rIns="0" bIns="0" rtlCol="0">
            <a:spAutoFit/>
          </a:bodyPr>
          <a:lstStyle/>
          <a:p>
            <a:pPr marL="12700" marR="5080" indent="80645">
              <a:lnSpc>
                <a:spcPct val="100000"/>
              </a:lnSpc>
              <a:spcBef>
                <a:spcPts val="105"/>
              </a:spcBef>
            </a:pPr>
            <a:r>
              <a:rPr sz="1100" b="1" spc="-5">
                <a:solidFill>
                  <a:srgbClr val="FFFFFF"/>
                </a:solidFill>
                <a:latin typeface="Verdana"/>
                <a:cs typeface="Verdana"/>
              </a:rPr>
              <a:t>Problems  </a:t>
            </a:r>
            <a:r>
              <a:rPr sz="1100" b="1">
                <a:solidFill>
                  <a:srgbClr val="FFFFFF"/>
                </a:solidFill>
                <a:latin typeface="Verdana"/>
                <a:cs typeface="Verdana"/>
              </a:rPr>
              <a:t>&amp;</a:t>
            </a:r>
            <a:r>
              <a:rPr sz="1100" b="1" spc="-100">
                <a:solidFill>
                  <a:srgbClr val="FFFFFF"/>
                </a:solidFill>
                <a:latin typeface="Verdana"/>
                <a:cs typeface="Verdana"/>
              </a:rPr>
              <a:t> </a:t>
            </a:r>
            <a:r>
              <a:rPr sz="1100" b="1">
                <a:solidFill>
                  <a:srgbClr val="FFFFFF"/>
                </a:solidFill>
                <a:latin typeface="Verdana"/>
                <a:cs typeface="Verdana"/>
              </a:rPr>
              <a:t>Solutions</a:t>
            </a:r>
            <a:endParaRPr sz="1100">
              <a:latin typeface="Verdana"/>
              <a:cs typeface="Verdana"/>
            </a:endParaRPr>
          </a:p>
        </p:txBody>
      </p:sp>
      <p:sp>
        <p:nvSpPr>
          <p:cNvPr id="26" name="object 26"/>
          <p:cNvSpPr/>
          <p:nvPr/>
        </p:nvSpPr>
        <p:spPr>
          <a:xfrm>
            <a:off x="4186428" y="2734055"/>
            <a:ext cx="1186180" cy="1203960"/>
          </a:xfrm>
          <a:custGeom>
            <a:avLst/>
            <a:gdLst/>
            <a:ahLst/>
            <a:cxnLst/>
            <a:rect l="l" t="t" r="r" b="b"/>
            <a:pathLst>
              <a:path w="1186179" h="1203960">
                <a:moveTo>
                  <a:pt x="592836" y="0"/>
                </a:moveTo>
                <a:lnTo>
                  <a:pt x="544215" y="1995"/>
                </a:lnTo>
                <a:lnTo>
                  <a:pt x="496676" y="7878"/>
                </a:lnTo>
                <a:lnTo>
                  <a:pt x="450373" y="17493"/>
                </a:lnTo>
                <a:lnTo>
                  <a:pt x="405457" y="30687"/>
                </a:lnTo>
                <a:lnTo>
                  <a:pt x="362080" y="47303"/>
                </a:lnTo>
                <a:lnTo>
                  <a:pt x="320397" y="67187"/>
                </a:lnTo>
                <a:lnTo>
                  <a:pt x="280558" y="90185"/>
                </a:lnTo>
                <a:lnTo>
                  <a:pt x="242718" y="116140"/>
                </a:lnTo>
                <a:lnTo>
                  <a:pt x="207028" y="144900"/>
                </a:lnTo>
                <a:lnTo>
                  <a:pt x="173640" y="176307"/>
                </a:lnTo>
                <a:lnTo>
                  <a:pt x="142708" y="210209"/>
                </a:lnTo>
                <a:lnTo>
                  <a:pt x="114385" y="246449"/>
                </a:lnTo>
                <a:lnTo>
                  <a:pt x="88822" y="284873"/>
                </a:lnTo>
                <a:lnTo>
                  <a:pt x="66172" y="325325"/>
                </a:lnTo>
                <a:lnTo>
                  <a:pt x="46589" y="367653"/>
                </a:lnTo>
                <a:lnTo>
                  <a:pt x="30223" y="411699"/>
                </a:lnTo>
                <a:lnTo>
                  <a:pt x="17229" y="457310"/>
                </a:lnTo>
                <a:lnTo>
                  <a:pt x="7759" y="504330"/>
                </a:lnTo>
                <a:lnTo>
                  <a:pt x="1965" y="552605"/>
                </a:lnTo>
                <a:lnTo>
                  <a:pt x="0" y="601980"/>
                </a:lnTo>
                <a:lnTo>
                  <a:pt x="1965" y="651354"/>
                </a:lnTo>
                <a:lnTo>
                  <a:pt x="7759" y="699629"/>
                </a:lnTo>
                <a:lnTo>
                  <a:pt x="17229" y="746649"/>
                </a:lnTo>
                <a:lnTo>
                  <a:pt x="30223" y="792260"/>
                </a:lnTo>
                <a:lnTo>
                  <a:pt x="46589" y="836306"/>
                </a:lnTo>
                <a:lnTo>
                  <a:pt x="66172" y="878634"/>
                </a:lnTo>
                <a:lnTo>
                  <a:pt x="88822" y="919086"/>
                </a:lnTo>
                <a:lnTo>
                  <a:pt x="114385" y="957510"/>
                </a:lnTo>
                <a:lnTo>
                  <a:pt x="142708" y="993750"/>
                </a:lnTo>
                <a:lnTo>
                  <a:pt x="173640" y="1027652"/>
                </a:lnTo>
                <a:lnTo>
                  <a:pt x="207028" y="1059059"/>
                </a:lnTo>
                <a:lnTo>
                  <a:pt x="242718" y="1087819"/>
                </a:lnTo>
                <a:lnTo>
                  <a:pt x="280558" y="1113774"/>
                </a:lnTo>
                <a:lnTo>
                  <a:pt x="320397" y="1136772"/>
                </a:lnTo>
                <a:lnTo>
                  <a:pt x="362080" y="1156656"/>
                </a:lnTo>
                <a:lnTo>
                  <a:pt x="405457" y="1173272"/>
                </a:lnTo>
                <a:lnTo>
                  <a:pt x="450373" y="1186466"/>
                </a:lnTo>
                <a:lnTo>
                  <a:pt x="496676" y="1196081"/>
                </a:lnTo>
                <a:lnTo>
                  <a:pt x="544215" y="1201964"/>
                </a:lnTo>
                <a:lnTo>
                  <a:pt x="592836" y="1203960"/>
                </a:lnTo>
                <a:lnTo>
                  <a:pt x="641456" y="1201964"/>
                </a:lnTo>
                <a:lnTo>
                  <a:pt x="688995" y="1196081"/>
                </a:lnTo>
                <a:lnTo>
                  <a:pt x="735298" y="1186466"/>
                </a:lnTo>
                <a:lnTo>
                  <a:pt x="780214" y="1173272"/>
                </a:lnTo>
                <a:lnTo>
                  <a:pt x="823591" y="1156656"/>
                </a:lnTo>
                <a:lnTo>
                  <a:pt x="865274" y="1136772"/>
                </a:lnTo>
                <a:lnTo>
                  <a:pt x="905113" y="1113774"/>
                </a:lnTo>
                <a:lnTo>
                  <a:pt x="942953" y="1087819"/>
                </a:lnTo>
                <a:lnTo>
                  <a:pt x="978643" y="1059059"/>
                </a:lnTo>
                <a:lnTo>
                  <a:pt x="1012031" y="1027652"/>
                </a:lnTo>
                <a:lnTo>
                  <a:pt x="1042963" y="993750"/>
                </a:lnTo>
                <a:lnTo>
                  <a:pt x="1071286" y="957510"/>
                </a:lnTo>
                <a:lnTo>
                  <a:pt x="1096849" y="919086"/>
                </a:lnTo>
                <a:lnTo>
                  <a:pt x="1119499" y="878634"/>
                </a:lnTo>
                <a:lnTo>
                  <a:pt x="1139082" y="836306"/>
                </a:lnTo>
                <a:lnTo>
                  <a:pt x="1155448" y="792260"/>
                </a:lnTo>
                <a:lnTo>
                  <a:pt x="1168442" y="746649"/>
                </a:lnTo>
                <a:lnTo>
                  <a:pt x="1177912" y="699629"/>
                </a:lnTo>
                <a:lnTo>
                  <a:pt x="1183706" y="651354"/>
                </a:lnTo>
                <a:lnTo>
                  <a:pt x="1185672" y="601980"/>
                </a:lnTo>
                <a:lnTo>
                  <a:pt x="1183706" y="552605"/>
                </a:lnTo>
                <a:lnTo>
                  <a:pt x="1177912" y="504330"/>
                </a:lnTo>
                <a:lnTo>
                  <a:pt x="1168442" y="457310"/>
                </a:lnTo>
                <a:lnTo>
                  <a:pt x="1155448" y="411699"/>
                </a:lnTo>
                <a:lnTo>
                  <a:pt x="1139082" y="367653"/>
                </a:lnTo>
                <a:lnTo>
                  <a:pt x="1119499" y="325325"/>
                </a:lnTo>
                <a:lnTo>
                  <a:pt x="1096849" y="284873"/>
                </a:lnTo>
                <a:lnTo>
                  <a:pt x="1071286" y="246449"/>
                </a:lnTo>
                <a:lnTo>
                  <a:pt x="1042963" y="210209"/>
                </a:lnTo>
                <a:lnTo>
                  <a:pt x="1012031" y="176307"/>
                </a:lnTo>
                <a:lnTo>
                  <a:pt x="978643" y="144900"/>
                </a:lnTo>
                <a:lnTo>
                  <a:pt x="942953" y="116140"/>
                </a:lnTo>
                <a:lnTo>
                  <a:pt x="905113" y="90185"/>
                </a:lnTo>
                <a:lnTo>
                  <a:pt x="865274" y="67187"/>
                </a:lnTo>
                <a:lnTo>
                  <a:pt x="823591" y="47303"/>
                </a:lnTo>
                <a:lnTo>
                  <a:pt x="780214" y="30687"/>
                </a:lnTo>
                <a:lnTo>
                  <a:pt x="735298" y="17493"/>
                </a:lnTo>
                <a:lnTo>
                  <a:pt x="688995" y="7878"/>
                </a:lnTo>
                <a:lnTo>
                  <a:pt x="641456" y="1995"/>
                </a:lnTo>
                <a:lnTo>
                  <a:pt x="592836" y="0"/>
                </a:lnTo>
                <a:close/>
              </a:path>
            </a:pathLst>
          </a:custGeom>
          <a:solidFill>
            <a:srgbClr val="12ABDB"/>
          </a:solidFill>
        </p:spPr>
        <p:txBody>
          <a:bodyPr wrap="square" lIns="0" tIns="0" rIns="0" bIns="0" rtlCol="0"/>
          <a:lstStyle/>
          <a:p>
            <a:endParaRPr/>
          </a:p>
        </p:txBody>
      </p:sp>
      <p:sp>
        <p:nvSpPr>
          <p:cNvPr id="27" name="object 27"/>
          <p:cNvSpPr txBox="1"/>
          <p:nvPr/>
        </p:nvSpPr>
        <p:spPr>
          <a:xfrm>
            <a:off x="4551679" y="3239262"/>
            <a:ext cx="454659" cy="193675"/>
          </a:xfrm>
          <a:prstGeom prst="rect">
            <a:avLst/>
          </a:prstGeom>
        </p:spPr>
        <p:txBody>
          <a:bodyPr vert="horz" wrap="square" lIns="0" tIns="13335" rIns="0" bIns="0" rtlCol="0">
            <a:spAutoFit/>
          </a:bodyPr>
          <a:lstStyle/>
          <a:p>
            <a:pPr marL="12700">
              <a:lnSpc>
                <a:spcPct val="100000"/>
              </a:lnSpc>
              <a:spcBef>
                <a:spcPts val="105"/>
              </a:spcBef>
            </a:pPr>
            <a:r>
              <a:rPr sz="1100" b="1" spc="-5">
                <a:solidFill>
                  <a:srgbClr val="FFFFFF"/>
                </a:solidFill>
                <a:latin typeface="Verdana"/>
                <a:cs typeface="Verdana"/>
              </a:rPr>
              <a:t>Ro</a:t>
            </a:r>
            <a:r>
              <a:rPr sz="1100" b="1" spc="-10">
                <a:solidFill>
                  <a:srgbClr val="FFFFFF"/>
                </a:solidFill>
                <a:latin typeface="Verdana"/>
                <a:cs typeface="Verdana"/>
              </a:rPr>
              <a:t>l</a:t>
            </a:r>
            <a:r>
              <a:rPr sz="1100" b="1" spc="-5">
                <a:solidFill>
                  <a:srgbClr val="FFFFFF"/>
                </a:solidFill>
                <a:latin typeface="Verdana"/>
                <a:cs typeface="Verdana"/>
              </a:rPr>
              <a:t>es</a:t>
            </a:r>
            <a:endParaRPr sz="1100">
              <a:latin typeface="Verdana"/>
              <a:cs typeface="Verdana"/>
            </a:endParaRPr>
          </a:p>
        </p:txBody>
      </p:sp>
      <p:sp>
        <p:nvSpPr>
          <p:cNvPr id="28" name="object 28"/>
          <p:cNvSpPr/>
          <p:nvPr/>
        </p:nvSpPr>
        <p:spPr>
          <a:xfrm>
            <a:off x="7124700" y="2717292"/>
            <a:ext cx="1184275" cy="1202690"/>
          </a:xfrm>
          <a:custGeom>
            <a:avLst/>
            <a:gdLst/>
            <a:ahLst/>
            <a:cxnLst/>
            <a:rect l="l" t="t" r="r" b="b"/>
            <a:pathLst>
              <a:path w="1184275" h="1202689">
                <a:moveTo>
                  <a:pt x="592074" y="0"/>
                </a:moveTo>
                <a:lnTo>
                  <a:pt x="543510" y="1992"/>
                </a:lnTo>
                <a:lnTo>
                  <a:pt x="496028" y="7867"/>
                </a:lnTo>
                <a:lnTo>
                  <a:pt x="449781" y="17469"/>
                </a:lnTo>
                <a:lnTo>
                  <a:pt x="404920" y="30644"/>
                </a:lnTo>
                <a:lnTo>
                  <a:pt x="361598" y="47238"/>
                </a:lnTo>
                <a:lnTo>
                  <a:pt x="319967" y="67095"/>
                </a:lnTo>
                <a:lnTo>
                  <a:pt x="280180" y="90061"/>
                </a:lnTo>
                <a:lnTo>
                  <a:pt x="242389" y="115982"/>
                </a:lnTo>
                <a:lnTo>
                  <a:pt x="206745" y="144703"/>
                </a:lnTo>
                <a:lnTo>
                  <a:pt x="173402" y="176069"/>
                </a:lnTo>
                <a:lnTo>
                  <a:pt x="142512" y="209926"/>
                </a:lnTo>
                <a:lnTo>
                  <a:pt x="114226" y="246119"/>
                </a:lnTo>
                <a:lnTo>
                  <a:pt x="88698" y="284494"/>
                </a:lnTo>
                <a:lnTo>
                  <a:pt x="66080" y="324896"/>
                </a:lnTo>
                <a:lnTo>
                  <a:pt x="46523" y="367170"/>
                </a:lnTo>
                <a:lnTo>
                  <a:pt x="30181" y="411163"/>
                </a:lnTo>
                <a:lnTo>
                  <a:pt x="17205" y="456718"/>
                </a:lnTo>
                <a:lnTo>
                  <a:pt x="7748" y="503682"/>
                </a:lnTo>
                <a:lnTo>
                  <a:pt x="1962" y="551900"/>
                </a:lnTo>
                <a:lnTo>
                  <a:pt x="0" y="601218"/>
                </a:lnTo>
                <a:lnTo>
                  <a:pt x="1962" y="650535"/>
                </a:lnTo>
                <a:lnTo>
                  <a:pt x="7748" y="698753"/>
                </a:lnTo>
                <a:lnTo>
                  <a:pt x="17205" y="745717"/>
                </a:lnTo>
                <a:lnTo>
                  <a:pt x="30181" y="791272"/>
                </a:lnTo>
                <a:lnTo>
                  <a:pt x="46523" y="835265"/>
                </a:lnTo>
                <a:lnTo>
                  <a:pt x="66080" y="877539"/>
                </a:lnTo>
                <a:lnTo>
                  <a:pt x="88698" y="917941"/>
                </a:lnTo>
                <a:lnTo>
                  <a:pt x="114226" y="956316"/>
                </a:lnTo>
                <a:lnTo>
                  <a:pt x="142512" y="992509"/>
                </a:lnTo>
                <a:lnTo>
                  <a:pt x="173402" y="1026366"/>
                </a:lnTo>
                <a:lnTo>
                  <a:pt x="206745" y="1057732"/>
                </a:lnTo>
                <a:lnTo>
                  <a:pt x="242389" y="1086453"/>
                </a:lnTo>
                <a:lnTo>
                  <a:pt x="280180" y="1112374"/>
                </a:lnTo>
                <a:lnTo>
                  <a:pt x="319967" y="1135340"/>
                </a:lnTo>
                <a:lnTo>
                  <a:pt x="361598" y="1155197"/>
                </a:lnTo>
                <a:lnTo>
                  <a:pt x="404920" y="1171791"/>
                </a:lnTo>
                <a:lnTo>
                  <a:pt x="449781" y="1184966"/>
                </a:lnTo>
                <a:lnTo>
                  <a:pt x="496028" y="1194568"/>
                </a:lnTo>
                <a:lnTo>
                  <a:pt x="543510" y="1200443"/>
                </a:lnTo>
                <a:lnTo>
                  <a:pt x="592074" y="1202436"/>
                </a:lnTo>
                <a:lnTo>
                  <a:pt x="640637" y="1200443"/>
                </a:lnTo>
                <a:lnTo>
                  <a:pt x="688119" y="1194568"/>
                </a:lnTo>
                <a:lnTo>
                  <a:pt x="734366" y="1184966"/>
                </a:lnTo>
                <a:lnTo>
                  <a:pt x="779227" y="1171791"/>
                </a:lnTo>
                <a:lnTo>
                  <a:pt x="822549" y="1155197"/>
                </a:lnTo>
                <a:lnTo>
                  <a:pt x="864180" y="1135340"/>
                </a:lnTo>
                <a:lnTo>
                  <a:pt x="903967" y="1112374"/>
                </a:lnTo>
                <a:lnTo>
                  <a:pt x="941758" y="1086453"/>
                </a:lnTo>
                <a:lnTo>
                  <a:pt x="977402" y="1057732"/>
                </a:lnTo>
                <a:lnTo>
                  <a:pt x="1010745" y="1026366"/>
                </a:lnTo>
                <a:lnTo>
                  <a:pt x="1041635" y="992509"/>
                </a:lnTo>
                <a:lnTo>
                  <a:pt x="1069921" y="956316"/>
                </a:lnTo>
                <a:lnTo>
                  <a:pt x="1095449" y="917941"/>
                </a:lnTo>
                <a:lnTo>
                  <a:pt x="1118067" y="877539"/>
                </a:lnTo>
                <a:lnTo>
                  <a:pt x="1137624" y="835265"/>
                </a:lnTo>
                <a:lnTo>
                  <a:pt x="1153966" y="791272"/>
                </a:lnTo>
                <a:lnTo>
                  <a:pt x="1166942" y="745717"/>
                </a:lnTo>
                <a:lnTo>
                  <a:pt x="1176399" y="698753"/>
                </a:lnTo>
                <a:lnTo>
                  <a:pt x="1182185" y="650535"/>
                </a:lnTo>
                <a:lnTo>
                  <a:pt x="1184148" y="601218"/>
                </a:lnTo>
                <a:lnTo>
                  <a:pt x="1182185" y="551900"/>
                </a:lnTo>
                <a:lnTo>
                  <a:pt x="1176399" y="503682"/>
                </a:lnTo>
                <a:lnTo>
                  <a:pt x="1166942" y="456718"/>
                </a:lnTo>
                <a:lnTo>
                  <a:pt x="1153966" y="411163"/>
                </a:lnTo>
                <a:lnTo>
                  <a:pt x="1137624" y="367170"/>
                </a:lnTo>
                <a:lnTo>
                  <a:pt x="1118067" y="324896"/>
                </a:lnTo>
                <a:lnTo>
                  <a:pt x="1095449" y="284494"/>
                </a:lnTo>
                <a:lnTo>
                  <a:pt x="1069921" y="246119"/>
                </a:lnTo>
                <a:lnTo>
                  <a:pt x="1041635" y="209926"/>
                </a:lnTo>
                <a:lnTo>
                  <a:pt x="1010745" y="176069"/>
                </a:lnTo>
                <a:lnTo>
                  <a:pt x="977402" y="144703"/>
                </a:lnTo>
                <a:lnTo>
                  <a:pt x="941758" y="115982"/>
                </a:lnTo>
                <a:lnTo>
                  <a:pt x="903967" y="90061"/>
                </a:lnTo>
                <a:lnTo>
                  <a:pt x="864180" y="67095"/>
                </a:lnTo>
                <a:lnTo>
                  <a:pt x="822549" y="47238"/>
                </a:lnTo>
                <a:lnTo>
                  <a:pt x="779227" y="30644"/>
                </a:lnTo>
                <a:lnTo>
                  <a:pt x="734366" y="17469"/>
                </a:lnTo>
                <a:lnTo>
                  <a:pt x="688119" y="7867"/>
                </a:lnTo>
                <a:lnTo>
                  <a:pt x="640637" y="1992"/>
                </a:lnTo>
                <a:lnTo>
                  <a:pt x="592074" y="0"/>
                </a:lnTo>
                <a:close/>
              </a:path>
            </a:pathLst>
          </a:custGeom>
          <a:solidFill>
            <a:srgbClr val="12ABDB"/>
          </a:solidFill>
        </p:spPr>
        <p:txBody>
          <a:bodyPr wrap="square" lIns="0" tIns="0" rIns="0" bIns="0" rtlCol="0"/>
          <a:lstStyle/>
          <a:p>
            <a:endParaRPr/>
          </a:p>
        </p:txBody>
      </p:sp>
      <p:sp>
        <p:nvSpPr>
          <p:cNvPr id="29" name="object 29"/>
          <p:cNvSpPr txBox="1"/>
          <p:nvPr/>
        </p:nvSpPr>
        <p:spPr>
          <a:xfrm>
            <a:off x="7461884" y="3137154"/>
            <a:ext cx="487045" cy="361950"/>
          </a:xfrm>
          <a:prstGeom prst="rect">
            <a:avLst/>
          </a:prstGeom>
        </p:spPr>
        <p:txBody>
          <a:bodyPr vert="horz" wrap="square" lIns="0" tIns="13335" rIns="0" bIns="0" rtlCol="0">
            <a:spAutoFit/>
          </a:bodyPr>
          <a:lstStyle/>
          <a:p>
            <a:pPr marL="12700">
              <a:lnSpc>
                <a:spcPct val="100000"/>
              </a:lnSpc>
              <a:spcBef>
                <a:spcPts val="105"/>
              </a:spcBef>
            </a:pPr>
            <a:r>
              <a:rPr sz="1100" b="1" spc="-5">
                <a:solidFill>
                  <a:srgbClr val="FFFFFF"/>
                </a:solidFill>
                <a:latin typeface="Verdana"/>
                <a:cs typeface="Verdana"/>
              </a:rPr>
              <a:t>Small</a:t>
            </a:r>
            <a:endParaRPr sz="1100">
              <a:latin typeface="Verdana"/>
              <a:cs typeface="Verdana"/>
            </a:endParaRPr>
          </a:p>
          <a:p>
            <a:pPr marL="36830">
              <a:lnSpc>
                <a:spcPct val="100000"/>
              </a:lnSpc>
            </a:pPr>
            <a:r>
              <a:rPr sz="1100" b="1" spc="-10">
                <a:solidFill>
                  <a:srgbClr val="FFFFFF"/>
                </a:solidFill>
                <a:latin typeface="Verdana"/>
                <a:cs typeface="Verdana"/>
              </a:rPr>
              <a:t>S</a:t>
            </a:r>
            <a:r>
              <a:rPr sz="1100" b="1">
                <a:solidFill>
                  <a:srgbClr val="FFFFFF"/>
                </a:solidFill>
                <a:latin typeface="Verdana"/>
                <a:cs typeface="Verdana"/>
              </a:rPr>
              <a:t>te</a:t>
            </a:r>
            <a:r>
              <a:rPr sz="1100" b="1" spc="-10">
                <a:solidFill>
                  <a:srgbClr val="FFFFFF"/>
                </a:solidFill>
                <a:latin typeface="Verdana"/>
                <a:cs typeface="Verdana"/>
              </a:rPr>
              <a:t>p</a:t>
            </a:r>
            <a:r>
              <a:rPr sz="1100" b="1">
                <a:solidFill>
                  <a:srgbClr val="FFFFFF"/>
                </a:solidFill>
                <a:latin typeface="Verdana"/>
                <a:cs typeface="Verdana"/>
              </a:rPr>
              <a:t>s</a:t>
            </a:r>
            <a:endParaRPr sz="1100">
              <a:latin typeface="Verdana"/>
              <a:cs typeface="Verdana"/>
            </a:endParaRPr>
          </a:p>
        </p:txBody>
      </p:sp>
      <p:sp>
        <p:nvSpPr>
          <p:cNvPr id="30" name="object 30"/>
          <p:cNvSpPr/>
          <p:nvPr/>
        </p:nvSpPr>
        <p:spPr>
          <a:xfrm>
            <a:off x="1109472" y="4295521"/>
            <a:ext cx="3144520" cy="1191260"/>
          </a:xfrm>
          <a:custGeom>
            <a:avLst/>
            <a:gdLst/>
            <a:ahLst/>
            <a:cxnLst/>
            <a:rect l="l" t="t" r="r" b="b"/>
            <a:pathLst>
              <a:path w="3144520" h="1191260">
                <a:moveTo>
                  <a:pt x="3144012" y="282574"/>
                </a:moveTo>
                <a:lnTo>
                  <a:pt x="0" y="282574"/>
                </a:lnTo>
                <a:lnTo>
                  <a:pt x="0" y="1190878"/>
                </a:lnTo>
                <a:lnTo>
                  <a:pt x="3144012" y="1190878"/>
                </a:lnTo>
                <a:lnTo>
                  <a:pt x="3144012" y="282574"/>
                </a:lnTo>
                <a:close/>
              </a:path>
              <a:path w="3144520" h="1191260">
                <a:moveTo>
                  <a:pt x="1939163" y="0"/>
                </a:moveTo>
                <a:lnTo>
                  <a:pt x="1834007" y="282574"/>
                </a:lnTo>
                <a:lnTo>
                  <a:pt x="2620010" y="282574"/>
                </a:lnTo>
                <a:lnTo>
                  <a:pt x="1939163" y="0"/>
                </a:lnTo>
                <a:close/>
              </a:path>
            </a:pathLst>
          </a:custGeom>
          <a:solidFill>
            <a:srgbClr val="EBEBEB"/>
          </a:solidFill>
        </p:spPr>
        <p:txBody>
          <a:bodyPr wrap="square" lIns="0" tIns="0" rIns="0" bIns="0" rtlCol="0"/>
          <a:lstStyle/>
          <a:p>
            <a:endParaRPr/>
          </a:p>
        </p:txBody>
      </p:sp>
      <p:sp>
        <p:nvSpPr>
          <p:cNvPr id="31" name="object 31"/>
          <p:cNvSpPr txBox="1"/>
          <p:nvPr/>
        </p:nvSpPr>
        <p:spPr>
          <a:xfrm>
            <a:off x="1189126" y="4715636"/>
            <a:ext cx="2933700" cy="635000"/>
          </a:xfrm>
          <a:prstGeom prst="rect">
            <a:avLst/>
          </a:prstGeom>
        </p:spPr>
        <p:txBody>
          <a:bodyPr vert="horz" wrap="square" lIns="0" tIns="12065" rIns="0" bIns="0" rtlCol="0">
            <a:spAutoFit/>
          </a:bodyPr>
          <a:lstStyle/>
          <a:p>
            <a:pPr marL="182880" marR="5080" indent="-170815">
              <a:lnSpc>
                <a:spcPct val="100000"/>
              </a:lnSpc>
              <a:spcBef>
                <a:spcPts val="95"/>
              </a:spcBef>
              <a:buClr>
                <a:srgbClr val="006FAC"/>
              </a:buClr>
              <a:buFont typeface="Wingdings"/>
              <a:buChar char=""/>
              <a:tabLst>
                <a:tab pos="183515" algn="l"/>
              </a:tabLst>
            </a:pPr>
            <a:r>
              <a:rPr sz="1000">
                <a:latin typeface="Verdana"/>
                <a:cs typeface="Verdana"/>
              </a:rPr>
              <a:t>Agile </a:t>
            </a:r>
            <a:r>
              <a:rPr sz="1000" spc="-5">
                <a:latin typeface="Verdana"/>
                <a:cs typeface="Verdana"/>
              </a:rPr>
              <a:t>methodologies approach openness </a:t>
            </a:r>
            <a:r>
              <a:rPr sz="1000">
                <a:latin typeface="Verdana"/>
                <a:cs typeface="Verdana"/>
              </a:rPr>
              <a:t>in  </a:t>
            </a:r>
            <a:r>
              <a:rPr sz="1000" spc="-5">
                <a:latin typeface="Verdana"/>
                <a:cs typeface="Verdana"/>
              </a:rPr>
              <a:t>decision-making and </a:t>
            </a:r>
            <a:r>
              <a:rPr sz="1000">
                <a:latin typeface="Verdana"/>
                <a:cs typeface="Verdana"/>
              </a:rPr>
              <a:t>in </a:t>
            </a:r>
            <a:r>
              <a:rPr sz="1000" spc="-5">
                <a:latin typeface="Verdana"/>
                <a:cs typeface="Verdana"/>
              </a:rPr>
              <a:t>communication,  breaking the barriers of denial and the  finger-pointing</a:t>
            </a:r>
            <a:endParaRPr sz="1000">
              <a:latin typeface="Verdana"/>
              <a:cs typeface="Verdana"/>
            </a:endParaRPr>
          </a:p>
        </p:txBody>
      </p:sp>
      <p:sp>
        <p:nvSpPr>
          <p:cNvPr id="32" name="object 32"/>
          <p:cNvSpPr/>
          <p:nvPr/>
        </p:nvSpPr>
        <p:spPr>
          <a:xfrm>
            <a:off x="8295131" y="4323079"/>
            <a:ext cx="3413760" cy="1163320"/>
          </a:xfrm>
          <a:custGeom>
            <a:avLst/>
            <a:gdLst/>
            <a:ahLst/>
            <a:cxnLst/>
            <a:rect l="l" t="t" r="r" b="b"/>
            <a:pathLst>
              <a:path w="3413759" h="1163320">
                <a:moveTo>
                  <a:pt x="3413760" y="255016"/>
                </a:moveTo>
                <a:lnTo>
                  <a:pt x="0" y="255016"/>
                </a:lnTo>
                <a:lnTo>
                  <a:pt x="0" y="1163320"/>
                </a:lnTo>
                <a:lnTo>
                  <a:pt x="3413760" y="1163320"/>
                </a:lnTo>
                <a:lnTo>
                  <a:pt x="3413760" y="255016"/>
                </a:lnTo>
                <a:close/>
              </a:path>
              <a:path w="3413759" h="1163320">
                <a:moveTo>
                  <a:pt x="779779" y="0"/>
                </a:moveTo>
                <a:lnTo>
                  <a:pt x="568960" y="255016"/>
                </a:lnTo>
                <a:lnTo>
                  <a:pt x="1422400" y="255016"/>
                </a:lnTo>
                <a:lnTo>
                  <a:pt x="779779" y="0"/>
                </a:lnTo>
                <a:close/>
              </a:path>
            </a:pathLst>
          </a:custGeom>
          <a:solidFill>
            <a:srgbClr val="EBEBEB"/>
          </a:solidFill>
        </p:spPr>
        <p:txBody>
          <a:bodyPr wrap="square" lIns="0" tIns="0" rIns="0" bIns="0" rtlCol="0"/>
          <a:lstStyle/>
          <a:p>
            <a:endParaRPr/>
          </a:p>
        </p:txBody>
      </p:sp>
      <p:sp>
        <p:nvSpPr>
          <p:cNvPr id="33" name="object 33"/>
          <p:cNvSpPr txBox="1"/>
          <p:nvPr/>
        </p:nvSpPr>
        <p:spPr>
          <a:xfrm>
            <a:off x="8375650" y="4868036"/>
            <a:ext cx="2995930" cy="330200"/>
          </a:xfrm>
          <a:prstGeom prst="rect">
            <a:avLst/>
          </a:prstGeom>
        </p:spPr>
        <p:txBody>
          <a:bodyPr vert="horz" wrap="square" lIns="0" tIns="12065" rIns="0" bIns="0" rtlCol="0">
            <a:spAutoFit/>
          </a:bodyPr>
          <a:lstStyle/>
          <a:p>
            <a:pPr marL="245745" marR="5080" indent="-233679">
              <a:lnSpc>
                <a:spcPct val="100000"/>
              </a:lnSpc>
              <a:spcBef>
                <a:spcPts val="95"/>
              </a:spcBef>
              <a:buClr>
                <a:srgbClr val="006FAC"/>
              </a:buClr>
              <a:buFont typeface="Wingdings"/>
              <a:buChar char=""/>
              <a:tabLst>
                <a:tab pos="245745" algn="l"/>
                <a:tab pos="246379" algn="l"/>
              </a:tabLst>
            </a:pPr>
            <a:r>
              <a:rPr sz="1000">
                <a:latin typeface="Verdana"/>
                <a:cs typeface="Verdana"/>
              </a:rPr>
              <a:t>Avoiding </a:t>
            </a:r>
            <a:r>
              <a:rPr sz="1000" spc="-5">
                <a:latin typeface="Verdana"/>
                <a:cs typeface="Verdana"/>
              </a:rPr>
              <a:t>escalation problems, but escalate  possible alternative solution</a:t>
            </a:r>
            <a:r>
              <a:rPr sz="1000" spc="35">
                <a:latin typeface="Verdana"/>
                <a:cs typeface="Verdana"/>
              </a:rPr>
              <a:t> </a:t>
            </a:r>
            <a:r>
              <a:rPr sz="1000" spc="-5">
                <a:latin typeface="Verdana"/>
                <a:cs typeface="Verdana"/>
              </a:rPr>
              <a:t>choices</a:t>
            </a:r>
            <a:endParaRPr sz="1000">
              <a:latin typeface="Verdana"/>
              <a:cs typeface="Verdana"/>
            </a:endParaRPr>
          </a:p>
        </p:txBody>
      </p:sp>
      <p:sp>
        <p:nvSpPr>
          <p:cNvPr id="34" name="object 34"/>
          <p:cNvSpPr/>
          <p:nvPr/>
        </p:nvSpPr>
        <p:spPr>
          <a:xfrm>
            <a:off x="4421123" y="4197350"/>
            <a:ext cx="3642360" cy="1289050"/>
          </a:xfrm>
          <a:custGeom>
            <a:avLst/>
            <a:gdLst/>
            <a:ahLst/>
            <a:cxnLst/>
            <a:rect l="l" t="t" r="r" b="b"/>
            <a:pathLst>
              <a:path w="3642359" h="1289050">
                <a:moveTo>
                  <a:pt x="3642359" y="380745"/>
                </a:moveTo>
                <a:lnTo>
                  <a:pt x="0" y="380745"/>
                </a:lnTo>
                <a:lnTo>
                  <a:pt x="0" y="1289050"/>
                </a:lnTo>
                <a:lnTo>
                  <a:pt x="3642359" y="1289050"/>
                </a:lnTo>
                <a:lnTo>
                  <a:pt x="3642359" y="380745"/>
                </a:lnTo>
                <a:close/>
              </a:path>
              <a:path w="3642359" h="1289050">
                <a:moveTo>
                  <a:pt x="1369822" y="0"/>
                </a:moveTo>
                <a:lnTo>
                  <a:pt x="607060" y="380745"/>
                </a:lnTo>
                <a:lnTo>
                  <a:pt x="1517650" y="380745"/>
                </a:lnTo>
                <a:lnTo>
                  <a:pt x="1369822" y="0"/>
                </a:lnTo>
                <a:close/>
              </a:path>
            </a:pathLst>
          </a:custGeom>
          <a:solidFill>
            <a:srgbClr val="EBEBEB"/>
          </a:solidFill>
        </p:spPr>
        <p:txBody>
          <a:bodyPr wrap="square" lIns="0" tIns="0" rIns="0" bIns="0" rtlCol="0"/>
          <a:lstStyle/>
          <a:p>
            <a:endParaRPr/>
          </a:p>
        </p:txBody>
      </p:sp>
      <p:sp>
        <p:nvSpPr>
          <p:cNvPr id="35" name="object 35"/>
          <p:cNvSpPr txBox="1"/>
          <p:nvPr/>
        </p:nvSpPr>
        <p:spPr>
          <a:xfrm>
            <a:off x="4500498" y="4677536"/>
            <a:ext cx="3222625" cy="711200"/>
          </a:xfrm>
          <a:prstGeom prst="rect">
            <a:avLst/>
          </a:prstGeom>
        </p:spPr>
        <p:txBody>
          <a:bodyPr vert="horz" wrap="square" lIns="0" tIns="12065" rIns="0" bIns="0" rtlCol="0">
            <a:spAutoFit/>
          </a:bodyPr>
          <a:lstStyle/>
          <a:p>
            <a:pPr marL="182880" marR="5080" indent="-170815">
              <a:lnSpc>
                <a:spcPct val="100000"/>
              </a:lnSpc>
              <a:spcBef>
                <a:spcPts val="95"/>
              </a:spcBef>
              <a:buClr>
                <a:srgbClr val="006FAC"/>
              </a:buClr>
              <a:buFont typeface="Wingdings"/>
              <a:buChar char=""/>
              <a:tabLst>
                <a:tab pos="183515" algn="l"/>
              </a:tabLst>
            </a:pPr>
            <a:r>
              <a:rPr sz="1000" spc="-5">
                <a:latin typeface="Verdana"/>
                <a:cs typeface="Verdana"/>
              </a:rPr>
              <a:t>Avoid </a:t>
            </a:r>
            <a:r>
              <a:rPr sz="1000">
                <a:latin typeface="Verdana"/>
                <a:cs typeface="Verdana"/>
              </a:rPr>
              <a:t>isolating </a:t>
            </a:r>
            <a:r>
              <a:rPr sz="1000" spc="-5">
                <a:latin typeface="Verdana"/>
                <a:cs typeface="Verdana"/>
              </a:rPr>
              <a:t>the development </a:t>
            </a:r>
            <a:r>
              <a:rPr sz="1000" spc="-10">
                <a:latin typeface="Verdana"/>
                <a:cs typeface="Verdana"/>
              </a:rPr>
              <a:t>team from </a:t>
            </a:r>
            <a:r>
              <a:rPr sz="1000" spc="-5">
                <a:latin typeface="Verdana"/>
                <a:cs typeface="Verdana"/>
              </a:rPr>
              <a:t>the  management.</a:t>
            </a:r>
            <a:endParaRPr sz="1000">
              <a:latin typeface="Verdana"/>
              <a:cs typeface="Verdana"/>
            </a:endParaRPr>
          </a:p>
          <a:p>
            <a:pPr marL="182880" indent="-170815">
              <a:lnSpc>
                <a:spcPct val="100000"/>
              </a:lnSpc>
              <a:spcBef>
                <a:spcPts val="300"/>
              </a:spcBef>
              <a:buClr>
                <a:srgbClr val="006FAC"/>
              </a:buClr>
              <a:buFont typeface="Wingdings"/>
              <a:buChar char=""/>
              <a:tabLst>
                <a:tab pos="183515" algn="l"/>
              </a:tabLst>
            </a:pPr>
            <a:r>
              <a:rPr sz="1000" spc="-10">
                <a:latin typeface="Verdana"/>
                <a:cs typeface="Verdana"/>
              </a:rPr>
              <a:t>Break down </a:t>
            </a:r>
            <a:r>
              <a:rPr sz="1000" spc="-5">
                <a:latin typeface="Verdana"/>
                <a:cs typeface="Verdana"/>
              </a:rPr>
              <a:t>communication</a:t>
            </a:r>
            <a:r>
              <a:rPr sz="1000" spc="80">
                <a:latin typeface="Verdana"/>
                <a:cs typeface="Verdana"/>
              </a:rPr>
              <a:t> </a:t>
            </a:r>
            <a:r>
              <a:rPr sz="1000" spc="-5">
                <a:latin typeface="Verdana"/>
                <a:cs typeface="Verdana"/>
              </a:rPr>
              <a:t>barriers</a:t>
            </a:r>
            <a:endParaRPr sz="1000">
              <a:latin typeface="Verdana"/>
              <a:cs typeface="Verdana"/>
            </a:endParaRPr>
          </a:p>
          <a:p>
            <a:pPr marL="182880" indent="-170815">
              <a:lnSpc>
                <a:spcPct val="100000"/>
              </a:lnSpc>
              <a:spcBef>
                <a:spcPts val="300"/>
              </a:spcBef>
              <a:buClr>
                <a:srgbClr val="006FAC"/>
              </a:buClr>
              <a:buFont typeface="Wingdings"/>
              <a:buChar char=""/>
              <a:tabLst>
                <a:tab pos="183515" algn="l"/>
              </a:tabLst>
            </a:pPr>
            <a:r>
              <a:rPr sz="1000" spc="-5">
                <a:latin typeface="Verdana"/>
                <a:cs typeface="Verdana"/>
              </a:rPr>
              <a:t>Act as</a:t>
            </a:r>
            <a:r>
              <a:rPr sz="1000" spc="15">
                <a:latin typeface="Verdana"/>
                <a:cs typeface="Verdana"/>
              </a:rPr>
              <a:t> </a:t>
            </a:r>
            <a:r>
              <a:rPr sz="1000" spc="-5">
                <a:latin typeface="Verdana"/>
                <a:cs typeface="Verdana"/>
              </a:rPr>
              <a:t>one-team</a:t>
            </a:r>
            <a:endParaRPr sz="1000">
              <a:latin typeface="Verdana"/>
              <a:cs typeface="Verdana"/>
            </a:endParaRPr>
          </a:p>
        </p:txBody>
      </p:sp>
      <p:sp>
        <p:nvSpPr>
          <p:cNvPr id="36" name="object 36"/>
          <p:cNvSpPr/>
          <p:nvPr/>
        </p:nvSpPr>
        <p:spPr>
          <a:xfrm>
            <a:off x="2604770" y="3543680"/>
            <a:ext cx="1506855" cy="814069"/>
          </a:xfrm>
          <a:custGeom>
            <a:avLst/>
            <a:gdLst/>
            <a:ahLst/>
            <a:cxnLst/>
            <a:rect l="l" t="t" r="r" b="b"/>
            <a:pathLst>
              <a:path w="1506854" h="814070">
                <a:moveTo>
                  <a:pt x="25781" y="80899"/>
                </a:moveTo>
                <a:lnTo>
                  <a:pt x="0" y="81788"/>
                </a:lnTo>
                <a:lnTo>
                  <a:pt x="1035" y="110744"/>
                </a:lnTo>
                <a:lnTo>
                  <a:pt x="3175" y="139319"/>
                </a:lnTo>
                <a:lnTo>
                  <a:pt x="7747" y="177165"/>
                </a:lnTo>
                <a:lnTo>
                  <a:pt x="22225" y="251206"/>
                </a:lnTo>
                <a:lnTo>
                  <a:pt x="43687" y="322199"/>
                </a:lnTo>
                <a:lnTo>
                  <a:pt x="71881" y="389763"/>
                </a:lnTo>
                <a:lnTo>
                  <a:pt x="106044" y="453644"/>
                </a:lnTo>
                <a:lnTo>
                  <a:pt x="146050" y="513334"/>
                </a:lnTo>
                <a:lnTo>
                  <a:pt x="191262" y="568706"/>
                </a:lnTo>
                <a:lnTo>
                  <a:pt x="241554" y="619252"/>
                </a:lnTo>
                <a:lnTo>
                  <a:pt x="296291" y="664845"/>
                </a:lnTo>
                <a:lnTo>
                  <a:pt x="355219" y="704850"/>
                </a:lnTo>
                <a:lnTo>
                  <a:pt x="417703" y="739267"/>
                </a:lnTo>
                <a:lnTo>
                  <a:pt x="483616" y="767461"/>
                </a:lnTo>
                <a:lnTo>
                  <a:pt x="552450" y="789305"/>
                </a:lnTo>
                <a:lnTo>
                  <a:pt x="623824" y="804291"/>
                </a:lnTo>
                <a:lnTo>
                  <a:pt x="697230" y="812292"/>
                </a:lnTo>
                <a:lnTo>
                  <a:pt x="734568" y="813562"/>
                </a:lnTo>
                <a:lnTo>
                  <a:pt x="772287" y="812800"/>
                </a:lnTo>
                <a:lnTo>
                  <a:pt x="848106" y="805434"/>
                </a:lnTo>
                <a:lnTo>
                  <a:pt x="921766" y="790829"/>
                </a:lnTo>
                <a:lnTo>
                  <a:pt x="933204" y="787654"/>
                </a:lnTo>
                <a:lnTo>
                  <a:pt x="734441" y="787654"/>
                </a:lnTo>
                <a:lnTo>
                  <a:pt x="734839" y="787645"/>
                </a:lnTo>
                <a:lnTo>
                  <a:pt x="698372" y="786384"/>
                </a:lnTo>
                <a:lnTo>
                  <a:pt x="699007" y="786384"/>
                </a:lnTo>
                <a:lnTo>
                  <a:pt x="664265" y="783590"/>
                </a:lnTo>
                <a:lnTo>
                  <a:pt x="663320" y="783590"/>
                </a:lnTo>
                <a:lnTo>
                  <a:pt x="628425" y="778764"/>
                </a:lnTo>
                <a:lnTo>
                  <a:pt x="628142" y="778764"/>
                </a:lnTo>
                <a:lnTo>
                  <a:pt x="592963" y="772287"/>
                </a:lnTo>
                <a:lnTo>
                  <a:pt x="558800" y="764159"/>
                </a:lnTo>
                <a:lnTo>
                  <a:pt x="558997" y="764159"/>
                </a:lnTo>
                <a:lnTo>
                  <a:pt x="526147" y="754634"/>
                </a:lnTo>
                <a:lnTo>
                  <a:pt x="525907" y="754634"/>
                </a:lnTo>
                <a:lnTo>
                  <a:pt x="493115" y="743331"/>
                </a:lnTo>
                <a:lnTo>
                  <a:pt x="460878" y="730377"/>
                </a:lnTo>
                <a:lnTo>
                  <a:pt x="429586" y="716153"/>
                </a:lnTo>
                <a:lnTo>
                  <a:pt x="429387" y="716153"/>
                </a:lnTo>
                <a:lnTo>
                  <a:pt x="399001" y="700278"/>
                </a:lnTo>
                <a:lnTo>
                  <a:pt x="398780" y="700278"/>
                </a:lnTo>
                <a:lnTo>
                  <a:pt x="368988" y="682879"/>
                </a:lnTo>
                <a:lnTo>
                  <a:pt x="340188" y="664337"/>
                </a:lnTo>
                <a:lnTo>
                  <a:pt x="312188" y="644271"/>
                </a:lnTo>
                <a:lnTo>
                  <a:pt x="311657" y="643890"/>
                </a:lnTo>
                <a:lnTo>
                  <a:pt x="285375" y="623062"/>
                </a:lnTo>
                <a:lnTo>
                  <a:pt x="285115" y="623062"/>
                </a:lnTo>
                <a:lnTo>
                  <a:pt x="258825" y="599948"/>
                </a:lnTo>
                <a:lnTo>
                  <a:pt x="234465" y="576580"/>
                </a:lnTo>
                <a:lnTo>
                  <a:pt x="233934" y="576072"/>
                </a:lnTo>
                <a:lnTo>
                  <a:pt x="210792" y="551561"/>
                </a:lnTo>
                <a:lnTo>
                  <a:pt x="187832" y="524891"/>
                </a:lnTo>
                <a:lnTo>
                  <a:pt x="166624" y="497586"/>
                </a:lnTo>
                <a:lnTo>
                  <a:pt x="146685" y="469392"/>
                </a:lnTo>
                <a:lnTo>
                  <a:pt x="128543" y="440563"/>
                </a:lnTo>
                <a:lnTo>
                  <a:pt x="128397" y="440563"/>
                </a:lnTo>
                <a:lnTo>
                  <a:pt x="110871" y="409702"/>
                </a:lnTo>
                <a:lnTo>
                  <a:pt x="95444" y="378968"/>
                </a:lnTo>
                <a:lnTo>
                  <a:pt x="81055" y="346837"/>
                </a:lnTo>
                <a:lnTo>
                  <a:pt x="68316" y="313817"/>
                </a:lnTo>
                <a:lnTo>
                  <a:pt x="56768" y="279273"/>
                </a:lnTo>
                <a:lnTo>
                  <a:pt x="47243" y="244729"/>
                </a:lnTo>
                <a:lnTo>
                  <a:pt x="39637" y="209931"/>
                </a:lnTo>
                <a:lnTo>
                  <a:pt x="33383" y="173863"/>
                </a:lnTo>
                <a:lnTo>
                  <a:pt x="33325" y="173228"/>
                </a:lnTo>
                <a:lnTo>
                  <a:pt x="29016" y="137033"/>
                </a:lnTo>
                <a:lnTo>
                  <a:pt x="26835" y="109220"/>
                </a:lnTo>
                <a:lnTo>
                  <a:pt x="26903" y="108712"/>
                </a:lnTo>
                <a:lnTo>
                  <a:pt x="25781" y="80899"/>
                </a:lnTo>
                <a:close/>
              </a:path>
              <a:path w="1506854" h="814070">
                <a:moveTo>
                  <a:pt x="734839" y="787645"/>
                </a:moveTo>
                <a:lnTo>
                  <a:pt x="734441" y="787654"/>
                </a:lnTo>
                <a:lnTo>
                  <a:pt x="735076" y="787654"/>
                </a:lnTo>
                <a:lnTo>
                  <a:pt x="734839" y="787645"/>
                </a:lnTo>
                <a:close/>
              </a:path>
              <a:path w="1506854" h="814070">
                <a:moveTo>
                  <a:pt x="844677" y="779780"/>
                </a:moveTo>
                <a:lnTo>
                  <a:pt x="807466" y="784352"/>
                </a:lnTo>
                <a:lnTo>
                  <a:pt x="808228" y="784352"/>
                </a:lnTo>
                <a:lnTo>
                  <a:pt x="770890" y="786892"/>
                </a:lnTo>
                <a:lnTo>
                  <a:pt x="771525" y="786892"/>
                </a:lnTo>
                <a:lnTo>
                  <a:pt x="734839" y="787645"/>
                </a:lnTo>
                <a:lnTo>
                  <a:pt x="933233" y="787645"/>
                </a:lnTo>
                <a:lnTo>
                  <a:pt x="957453" y="780923"/>
                </a:lnTo>
                <a:lnTo>
                  <a:pt x="960489" y="779907"/>
                </a:lnTo>
                <a:lnTo>
                  <a:pt x="844042" y="779907"/>
                </a:lnTo>
                <a:lnTo>
                  <a:pt x="844677" y="779780"/>
                </a:lnTo>
                <a:close/>
              </a:path>
              <a:path w="1506854" h="814070">
                <a:moveTo>
                  <a:pt x="662685" y="783463"/>
                </a:moveTo>
                <a:lnTo>
                  <a:pt x="663320" y="783590"/>
                </a:lnTo>
                <a:lnTo>
                  <a:pt x="664265" y="783590"/>
                </a:lnTo>
                <a:lnTo>
                  <a:pt x="662685" y="783463"/>
                </a:lnTo>
                <a:close/>
              </a:path>
              <a:path w="1506854" h="814070">
                <a:moveTo>
                  <a:pt x="880618" y="773557"/>
                </a:moveTo>
                <a:lnTo>
                  <a:pt x="844042" y="779907"/>
                </a:lnTo>
                <a:lnTo>
                  <a:pt x="960489" y="779907"/>
                </a:lnTo>
                <a:lnTo>
                  <a:pt x="978711" y="773811"/>
                </a:lnTo>
                <a:lnTo>
                  <a:pt x="879982" y="773811"/>
                </a:lnTo>
                <a:lnTo>
                  <a:pt x="880618" y="773557"/>
                </a:lnTo>
                <a:close/>
              </a:path>
              <a:path w="1506854" h="814070">
                <a:moveTo>
                  <a:pt x="627507" y="778637"/>
                </a:moveTo>
                <a:lnTo>
                  <a:pt x="628142" y="778764"/>
                </a:lnTo>
                <a:lnTo>
                  <a:pt x="628425" y="778764"/>
                </a:lnTo>
                <a:lnTo>
                  <a:pt x="627507" y="778637"/>
                </a:lnTo>
                <a:close/>
              </a:path>
              <a:path w="1506854" h="814070">
                <a:moveTo>
                  <a:pt x="1001454" y="765683"/>
                </a:moveTo>
                <a:lnTo>
                  <a:pt x="915796" y="765683"/>
                </a:lnTo>
                <a:lnTo>
                  <a:pt x="879982" y="773811"/>
                </a:lnTo>
                <a:lnTo>
                  <a:pt x="978711" y="773811"/>
                </a:lnTo>
                <a:lnTo>
                  <a:pt x="992378" y="769239"/>
                </a:lnTo>
                <a:lnTo>
                  <a:pt x="1001454" y="765683"/>
                </a:lnTo>
                <a:close/>
              </a:path>
              <a:path w="1506854" h="814070">
                <a:moveTo>
                  <a:pt x="593408" y="772368"/>
                </a:moveTo>
                <a:lnTo>
                  <a:pt x="593598" y="772414"/>
                </a:lnTo>
                <a:lnTo>
                  <a:pt x="593408" y="772368"/>
                </a:lnTo>
                <a:close/>
              </a:path>
              <a:path w="1506854" h="814070">
                <a:moveTo>
                  <a:pt x="593062" y="772287"/>
                </a:moveTo>
                <a:lnTo>
                  <a:pt x="593408" y="772368"/>
                </a:lnTo>
                <a:lnTo>
                  <a:pt x="593062" y="772287"/>
                </a:lnTo>
                <a:close/>
              </a:path>
              <a:path w="1506854" h="814070">
                <a:moveTo>
                  <a:pt x="1026089" y="756031"/>
                </a:moveTo>
                <a:lnTo>
                  <a:pt x="950214" y="756031"/>
                </a:lnTo>
                <a:lnTo>
                  <a:pt x="915162" y="765810"/>
                </a:lnTo>
                <a:lnTo>
                  <a:pt x="915796" y="765683"/>
                </a:lnTo>
                <a:lnTo>
                  <a:pt x="1001454" y="765683"/>
                </a:lnTo>
                <a:lnTo>
                  <a:pt x="1026089" y="756031"/>
                </a:lnTo>
                <a:close/>
              </a:path>
              <a:path w="1506854" h="814070">
                <a:moveTo>
                  <a:pt x="558997" y="764159"/>
                </a:moveTo>
                <a:lnTo>
                  <a:pt x="558800" y="764159"/>
                </a:lnTo>
                <a:lnTo>
                  <a:pt x="559435" y="764286"/>
                </a:lnTo>
                <a:lnTo>
                  <a:pt x="558997" y="764159"/>
                </a:lnTo>
                <a:close/>
              </a:path>
              <a:path w="1506854" h="814070">
                <a:moveTo>
                  <a:pt x="1016634" y="731901"/>
                </a:moveTo>
                <a:lnTo>
                  <a:pt x="983233" y="744982"/>
                </a:lnTo>
                <a:lnTo>
                  <a:pt x="949579" y="756158"/>
                </a:lnTo>
                <a:lnTo>
                  <a:pt x="950214" y="756031"/>
                </a:lnTo>
                <a:lnTo>
                  <a:pt x="1026089" y="756031"/>
                </a:lnTo>
                <a:lnTo>
                  <a:pt x="1026414" y="755904"/>
                </a:lnTo>
                <a:lnTo>
                  <a:pt x="1059560" y="741045"/>
                </a:lnTo>
                <a:lnTo>
                  <a:pt x="1076930" y="732155"/>
                </a:lnTo>
                <a:lnTo>
                  <a:pt x="1016127" y="732155"/>
                </a:lnTo>
                <a:lnTo>
                  <a:pt x="1016634" y="731901"/>
                </a:lnTo>
                <a:close/>
              </a:path>
              <a:path w="1506854" h="814070">
                <a:moveTo>
                  <a:pt x="525272" y="754380"/>
                </a:moveTo>
                <a:lnTo>
                  <a:pt x="525907" y="754634"/>
                </a:lnTo>
                <a:lnTo>
                  <a:pt x="526147" y="754634"/>
                </a:lnTo>
                <a:lnTo>
                  <a:pt x="525272" y="754380"/>
                </a:lnTo>
                <a:close/>
              </a:path>
              <a:path w="1506854" h="814070">
                <a:moveTo>
                  <a:pt x="983869" y="744728"/>
                </a:moveTo>
                <a:lnTo>
                  <a:pt x="983107" y="744982"/>
                </a:lnTo>
                <a:lnTo>
                  <a:pt x="983869" y="744728"/>
                </a:lnTo>
                <a:close/>
              </a:path>
              <a:path w="1506854" h="814070">
                <a:moveTo>
                  <a:pt x="492412" y="743088"/>
                </a:moveTo>
                <a:lnTo>
                  <a:pt x="493013" y="743331"/>
                </a:lnTo>
                <a:lnTo>
                  <a:pt x="492412" y="743088"/>
                </a:lnTo>
                <a:close/>
              </a:path>
              <a:path w="1506854" h="814070">
                <a:moveTo>
                  <a:pt x="492383" y="743077"/>
                </a:moveTo>
                <a:close/>
              </a:path>
              <a:path w="1506854" h="814070">
                <a:moveTo>
                  <a:pt x="1104005" y="717550"/>
                </a:moveTo>
                <a:lnTo>
                  <a:pt x="1048639" y="717550"/>
                </a:lnTo>
                <a:lnTo>
                  <a:pt x="1048131" y="717804"/>
                </a:lnTo>
                <a:lnTo>
                  <a:pt x="1016127" y="732155"/>
                </a:lnTo>
                <a:lnTo>
                  <a:pt x="1076930" y="732155"/>
                </a:lnTo>
                <a:lnTo>
                  <a:pt x="1091819" y="724535"/>
                </a:lnTo>
                <a:lnTo>
                  <a:pt x="1104005" y="717550"/>
                </a:lnTo>
                <a:close/>
              </a:path>
              <a:path w="1506854" h="814070">
                <a:moveTo>
                  <a:pt x="460248" y="730123"/>
                </a:moveTo>
                <a:lnTo>
                  <a:pt x="460756" y="730377"/>
                </a:lnTo>
                <a:lnTo>
                  <a:pt x="460248" y="730123"/>
                </a:lnTo>
                <a:close/>
              </a:path>
              <a:path w="1506854" h="814070">
                <a:moveTo>
                  <a:pt x="1048528" y="717599"/>
                </a:moveTo>
                <a:lnTo>
                  <a:pt x="1048073" y="717804"/>
                </a:lnTo>
                <a:lnTo>
                  <a:pt x="1048528" y="717599"/>
                </a:lnTo>
                <a:close/>
              </a:path>
              <a:path w="1506854" h="814070">
                <a:moveTo>
                  <a:pt x="1079754" y="701548"/>
                </a:moveTo>
                <a:lnTo>
                  <a:pt x="1048528" y="717599"/>
                </a:lnTo>
                <a:lnTo>
                  <a:pt x="1104005" y="717550"/>
                </a:lnTo>
                <a:lnTo>
                  <a:pt x="1123060" y="706628"/>
                </a:lnTo>
                <a:lnTo>
                  <a:pt x="1130370" y="701929"/>
                </a:lnTo>
                <a:lnTo>
                  <a:pt x="1079245" y="701929"/>
                </a:lnTo>
                <a:lnTo>
                  <a:pt x="1079754" y="701548"/>
                </a:lnTo>
                <a:close/>
              </a:path>
              <a:path w="1506854" h="814070">
                <a:moveTo>
                  <a:pt x="428752" y="715772"/>
                </a:moveTo>
                <a:lnTo>
                  <a:pt x="429387" y="716153"/>
                </a:lnTo>
                <a:lnTo>
                  <a:pt x="429586" y="716153"/>
                </a:lnTo>
                <a:lnTo>
                  <a:pt x="428752" y="715772"/>
                </a:lnTo>
                <a:close/>
              </a:path>
              <a:path w="1506854" h="814070">
                <a:moveTo>
                  <a:pt x="1109853" y="684276"/>
                </a:moveTo>
                <a:lnTo>
                  <a:pt x="1079245" y="701929"/>
                </a:lnTo>
                <a:lnTo>
                  <a:pt x="1130370" y="701929"/>
                </a:lnTo>
                <a:lnTo>
                  <a:pt x="1153287" y="687197"/>
                </a:lnTo>
                <a:lnTo>
                  <a:pt x="1156886" y="684657"/>
                </a:lnTo>
                <a:lnTo>
                  <a:pt x="1109345" y="684657"/>
                </a:lnTo>
                <a:lnTo>
                  <a:pt x="1109853" y="684276"/>
                </a:lnTo>
                <a:close/>
              </a:path>
              <a:path w="1506854" h="814070">
                <a:moveTo>
                  <a:pt x="398272" y="699897"/>
                </a:moveTo>
                <a:lnTo>
                  <a:pt x="398780" y="700278"/>
                </a:lnTo>
                <a:lnTo>
                  <a:pt x="399001" y="700278"/>
                </a:lnTo>
                <a:lnTo>
                  <a:pt x="398272" y="699897"/>
                </a:lnTo>
                <a:close/>
              </a:path>
              <a:path w="1506854" h="814070">
                <a:moveTo>
                  <a:pt x="1183746" y="665607"/>
                </a:moveTo>
                <a:lnTo>
                  <a:pt x="1139063" y="665607"/>
                </a:lnTo>
                <a:lnTo>
                  <a:pt x="1109345" y="684657"/>
                </a:lnTo>
                <a:lnTo>
                  <a:pt x="1156886" y="684657"/>
                </a:lnTo>
                <a:lnTo>
                  <a:pt x="1182624" y="666496"/>
                </a:lnTo>
                <a:lnTo>
                  <a:pt x="1183746" y="665607"/>
                </a:lnTo>
                <a:close/>
              </a:path>
              <a:path w="1506854" h="814070">
                <a:moveTo>
                  <a:pt x="368554" y="682625"/>
                </a:moveTo>
                <a:lnTo>
                  <a:pt x="368935" y="682879"/>
                </a:lnTo>
                <a:lnTo>
                  <a:pt x="368554" y="682625"/>
                </a:lnTo>
                <a:close/>
              </a:path>
              <a:path w="1506854" h="814070">
                <a:moveTo>
                  <a:pt x="1209087" y="645541"/>
                </a:moveTo>
                <a:lnTo>
                  <a:pt x="1167383" y="645541"/>
                </a:lnTo>
                <a:lnTo>
                  <a:pt x="1138555" y="665861"/>
                </a:lnTo>
                <a:lnTo>
                  <a:pt x="1139063" y="665607"/>
                </a:lnTo>
                <a:lnTo>
                  <a:pt x="1183746" y="665607"/>
                </a:lnTo>
                <a:lnTo>
                  <a:pt x="1209087" y="645541"/>
                </a:lnTo>
                <a:close/>
              </a:path>
              <a:path w="1506854" h="814070">
                <a:moveTo>
                  <a:pt x="339598" y="663956"/>
                </a:moveTo>
                <a:lnTo>
                  <a:pt x="340106" y="664337"/>
                </a:lnTo>
                <a:lnTo>
                  <a:pt x="339598" y="663956"/>
                </a:lnTo>
                <a:close/>
              </a:path>
              <a:path w="1506854" h="814070">
                <a:moveTo>
                  <a:pt x="1280994" y="577723"/>
                </a:moveTo>
                <a:lnTo>
                  <a:pt x="1245234" y="577723"/>
                </a:lnTo>
                <a:lnTo>
                  <a:pt x="1219962" y="601980"/>
                </a:lnTo>
                <a:lnTo>
                  <a:pt x="1193927" y="624459"/>
                </a:lnTo>
                <a:lnTo>
                  <a:pt x="1166749" y="645922"/>
                </a:lnTo>
                <a:lnTo>
                  <a:pt x="1167383" y="645541"/>
                </a:lnTo>
                <a:lnTo>
                  <a:pt x="1209087" y="645541"/>
                </a:lnTo>
                <a:lnTo>
                  <a:pt x="1210691" y="644271"/>
                </a:lnTo>
                <a:lnTo>
                  <a:pt x="1237615" y="620903"/>
                </a:lnTo>
                <a:lnTo>
                  <a:pt x="1263395" y="596138"/>
                </a:lnTo>
                <a:lnTo>
                  <a:pt x="1280994" y="577723"/>
                </a:lnTo>
                <a:close/>
              </a:path>
              <a:path w="1506854" h="814070">
                <a:moveTo>
                  <a:pt x="311948" y="644098"/>
                </a:moveTo>
                <a:lnTo>
                  <a:pt x="312166" y="644271"/>
                </a:lnTo>
                <a:lnTo>
                  <a:pt x="311948" y="644098"/>
                </a:lnTo>
                <a:close/>
              </a:path>
              <a:path w="1506854" h="814070">
                <a:moveTo>
                  <a:pt x="311684" y="643890"/>
                </a:moveTo>
                <a:lnTo>
                  <a:pt x="311948" y="644098"/>
                </a:lnTo>
                <a:lnTo>
                  <a:pt x="311684" y="643890"/>
                </a:lnTo>
                <a:close/>
              </a:path>
              <a:path w="1506854" h="814070">
                <a:moveTo>
                  <a:pt x="1194308" y="624078"/>
                </a:moveTo>
                <a:lnTo>
                  <a:pt x="1193827" y="624459"/>
                </a:lnTo>
                <a:lnTo>
                  <a:pt x="1194308" y="624078"/>
                </a:lnTo>
                <a:close/>
              </a:path>
              <a:path w="1506854" h="814070">
                <a:moveTo>
                  <a:pt x="284734" y="622554"/>
                </a:moveTo>
                <a:lnTo>
                  <a:pt x="285115" y="623062"/>
                </a:lnTo>
                <a:lnTo>
                  <a:pt x="285375" y="623062"/>
                </a:lnTo>
                <a:lnTo>
                  <a:pt x="284734" y="622554"/>
                </a:lnTo>
                <a:close/>
              </a:path>
              <a:path w="1506854" h="814070">
                <a:moveTo>
                  <a:pt x="1220470" y="601472"/>
                </a:moveTo>
                <a:lnTo>
                  <a:pt x="1219883" y="601980"/>
                </a:lnTo>
                <a:lnTo>
                  <a:pt x="1220470" y="601472"/>
                </a:lnTo>
                <a:close/>
              </a:path>
              <a:path w="1506854" h="814070">
                <a:moveTo>
                  <a:pt x="258935" y="599948"/>
                </a:moveTo>
                <a:lnTo>
                  <a:pt x="259334" y="600329"/>
                </a:lnTo>
                <a:lnTo>
                  <a:pt x="258935" y="599948"/>
                </a:lnTo>
                <a:close/>
              </a:path>
              <a:path w="1506854" h="814070">
                <a:moveTo>
                  <a:pt x="1324298" y="526796"/>
                </a:moveTo>
                <a:lnTo>
                  <a:pt x="1291463" y="526796"/>
                </a:lnTo>
                <a:lnTo>
                  <a:pt x="1268603" y="553212"/>
                </a:lnTo>
                <a:lnTo>
                  <a:pt x="1245018" y="577930"/>
                </a:lnTo>
                <a:lnTo>
                  <a:pt x="1245234" y="577723"/>
                </a:lnTo>
                <a:lnTo>
                  <a:pt x="1280994" y="577723"/>
                </a:lnTo>
                <a:lnTo>
                  <a:pt x="1288033" y="570357"/>
                </a:lnTo>
                <a:lnTo>
                  <a:pt x="1311275" y="543433"/>
                </a:lnTo>
                <a:lnTo>
                  <a:pt x="1324298" y="526796"/>
                </a:lnTo>
                <a:close/>
              </a:path>
              <a:path w="1506854" h="814070">
                <a:moveTo>
                  <a:pt x="234219" y="576344"/>
                </a:moveTo>
                <a:lnTo>
                  <a:pt x="234442" y="576580"/>
                </a:lnTo>
                <a:lnTo>
                  <a:pt x="234219" y="576344"/>
                </a:lnTo>
                <a:close/>
              </a:path>
              <a:path w="1506854" h="814070">
                <a:moveTo>
                  <a:pt x="233961" y="576072"/>
                </a:moveTo>
                <a:lnTo>
                  <a:pt x="234219" y="576344"/>
                </a:lnTo>
                <a:lnTo>
                  <a:pt x="233961" y="576072"/>
                </a:lnTo>
                <a:close/>
              </a:path>
              <a:path w="1506854" h="814070">
                <a:moveTo>
                  <a:pt x="1268983" y="552704"/>
                </a:moveTo>
                <a:lnTo>
                  <a:pt x="1268501" y="553212"/>
                </a:lnTo>
                <a:lnTo>
                  <a:pt x="1268983" y="552704"/>
                </a:lnTo>
                <a:close/>
              </a:path>
              <a:path w="1506854" h="814070">
                <a:moveTo>
                  <a:pt x="210312" y="551053"/>
                </a:moveTo>
                <a:lnTo>
                  <a:pt x="210693" y="551561"/>
                </a:lnTo>
                <a:lnTo>
                  <a:pt x="210312" y="551053"/>
                </a:lnTo>
                <a:close/>
              </a:path>
              <a:path w="1506854" h="814070">
                <a:moveTo>
                  <a:pt x="1344455" y="499618"/>
                </a:moveTo>
                <a:lnTo>
                  <a:pt x="1312671" y="499618"/>
                </a:lnTo>
                <a:lnTo>
                  <a:pt x="1312291" y="500126"/>
                </a:lnTo>
                <a:lnTo>
                  <a:pt x="1291082" y="527177"/>
                </a:lnTo>
                <a:lnTo>
                  <a:pt x="1291463" y="526796"/>
                </a:lnTo>
                <a:lnTo>
                  <a:pt x="1324298" y="526796"/>
                </a:lnTo>
                <a:lnTo>
                  <a:pt x="1333245" y="515366"/>
                </a:lnTo>
                <a:lnTo>
                  <a:pt x="1344455" y="499618"/>
                </a:lnTo>
                <a:close/>
              </a:path>
              <a:path w="1506854" h="814070">
                <a:moveTo>
                  <a:pt x="187944" y="524891"/>
                </a:moveTo>
                <a:lnTo>
                  <a:pt x="188341" y="525399"/>
                </a:lnTo>
                <a:lnTo>
                  <a:pt x="187944" y="524891"/>
                </a:lnTo>
                <a:close/>
              </a:path>
              <a:path w="1506854" h="814070">
                <a:moveTo>
                  <a:pt x="1312457" y="499891"/>
                </a:moveTo>
                <a:lnTo>
                  <a:pt x="1312274" y="500126"/>
                </a:lnTo>
                <a:lnTo>
                  <a:pt x="1312457" y="499891"/>
                </a:lnTo>
                <a:close/>
              </a:path>
              <a:path w="1506854" h="814070">
                <a:moveTo>
                  <a:pt x="1363333" y="471551"/>
                </a:moveTo>
                <a:lnTo>
                  <a:pt x="1332610" y="471551"/>
                </a:lnTo>
                <a:lnTo>
                  <a:pt x="1312457" y="499891"/>
                </a:lnTo>
                <a:lnTo>
                  <a:pt x="1312671" y="499618"/>
                </a:lnTo>
                <a:lnTo>
                  <a:pt x="1344455" y="499618"/>
                </a:lnTo>
                <a:lnTo>
                  <a:pt x="1353946" y="486283"/>
                </a:lnTo>
                <a:lnTo>
                  <a:pt x="1363333" y="471551"/>
                </a:lnTo>
                <a:close/>
              </a:path>
              <a:path w="1506854" h="814070">
                <a:moveTo>
                  <a:pt x="166852" y="497879"/>
                </a:moveTo>
                <a:lnTo>
                  <a:pt x="167005" y="498094"/>
                </a:lnTo>
                <a:lnTo>
                  <a:pt x="166852" y="497879"/>
                </a:lnTo>
                <a:close/>
              </a:path>
              <a:path w="1506854" h="814070">
                <a:moveTo>
                  <a:pt x="166645" y="497586"/>
                </a:moveTo>
                <a:lnTo>
                  <a:pt x="166852" y="497879"/>
                </a:lnTo>
                <a:lnTo>
                  <a:pt x="166645" y="497586"/>
                </a:lnTo>
                <a:close/>
              </a:path>
              <a:path w="1506854" h="814070">
                <a:moveTo>
                  <a:pt x="1380993" y="442468"/>
                </a:moveTo>
                <a:lnTo>
                  <a:pt x="1351153" y="442468"/>
                </a:lnTo>
                <a:lnTo>
                  <a:pt x="1332230" y="472059"/>
                </a:lnTo>
                <a:lnTo>
                  <a:pt x="1332610" y="471551"/>
                </a:lnTo>
                <a:lnTo>
                  <a:pt x="1363333" y="471551"/>
                </a:lnTo>
                <a:lnTo>
                  <a:pt x="1373124" y="456184"/>
                </a:lnTo>
                <a:lnTo>
                  <a:pt x="1380993" y="442468"/>
                </a:lnTo>
                <a:close/>
              </a:path>
              <a:path w="1506854" h="814070">
                <a:moveTo>
                  <a:pt x="146745" y="469392"/>
                </a:moveTo>
                <a:lnTo>
                  <a:pt x="147066" y="469900"/>
                </a:lnTo>
                <a:lnTo>
                  <a:pt x="146745" y="469392"/>
                </a:lnTo>
                <a:close/>
              </a:path>
              <a:path w="1506854" h="814070">
                <a:moveTo>
                  <a:pt x="1412527" y="381762"/>
                </a:moveTo>
                <a:lnTo>
                  <a:pt x="1384172" y="381762"/>
                </a:lnTo>
                <a:lnTo>
                  <a:pt x="1368044" y="413131"/>
                </a:lnTo>
                <a:lnTo>
                  <a:pt x="1350771" y="442976"/>
                </a:lnTo>
                <a:lnTo>
                  <a:pt x="1351153" y="442468"/>
                </a:lnTo>
                <a:lnTo>
                  <a:pt x="1380993" y="442468"/>
                </a:lnTo>
                <a:lnTo>
                  <a:pt x="1390904" y="425196"/>
                </a:lnTo>
                <a:lnTo>
                  <a:pt x="1407287" y="393319"/>
                </a:lnTo>
                <a:lnTo>
                  <a:pt x="1412527" y="381762"/>
                </a:lnTo>
                <a:close/>
              </a:path>
              <a:path w="1506854" h="814070">
                <a:moveTo>
                  <a:pt x="128143" y="439928"/>
                </a:moveTo>
                <a:lnTo>
                  <a:pt x="128397" y="440563"/>
                </a:lnTo>
                <a:lnTo>
                  <a:pt x="128543" y="440563"/>
                </a:lnTo>
                <a:lnTo>
                  <a:pt x="128143" y="439928"/>
                </a:lnTo>
                <a:close/>
              </a:path>
              <a:path w="1506854" h="814070">
                <a:moveTo>
                  <a:pt x="1368297" y="412496"/>
                </a:moveTo>
                <a:lnTo>
                  <a:pt x="1367932" y="413131"/>
                </a:lnTo>
                <a:lnTo>
                  <a:pt x="1368297" y="412496"/>
                </a:lnTo>
                <a:close/>
              </a:path>
              <a:path w="1506854" h="814070">
                <a:moveTo>
                  <a:pt x="110994" y="409702"/>
                </a:moveTo>
                <a:lnTo>
                  <a:pt x="111252" y="410210"/>
                </a:lnTo>
                <a:lnTo>
                  <a:pt x="110994" y="409702"/>
                </a:lnTo>
                <a:close/>
              </a:path>
              <a:path w="1506854" h="814070">
                <a:moveTo>
                  <a:pt x="1426287" y="350139"/>
                </a:moveTo>
                <a:lnTo>
                  <a:pt x="1398396" y="350139"/>
                </a:lnTo>
                <a:lnTo>
                  <a:pt x="1383792" y="382270"/>
                </a:lnTo>
                <a:lnTo>
                  <a:pt x="1384172" y="381762"/>
                </a:lnTo>
                <a:lnTo>
                  <a:pt x="1412527" y="381762"/>
                </a:lnTo>
                <a:lnTo>
                  <a:pt x="1422145" y="360553"/>
                </a:lnTo>
                <a:lnTo>
                  <a:pt x="1426287" y="350139"/>
                </a:lnTo>
                <a:close/>
              </a:path>
              <a:path w="1506854" h="814070">
                <a:moveTo>
                  <a:pt x="95123" y="378333"/>
                </a:moveTo>
                <a:lnTo>
                  <a:pt x="95377" y="378968"/>
                </a:lnTo>
                <a:lnTo>
                  <a:pt x="95123" y="378333"/>
                </a:lnTo>
                <a:close/>
              </a:path>
              <a:path w="1506854" h="814070">
                <a:moveTo>
                  <a:pt x="1438605" y="317754"/>
                </a:moveTo>
                <a:lnTo>
                  <a:pt x="1411224" y="317754"/>
                </a:lnTo>
                <a:lnTo>
                  <a:pt x="1398143" y="350647"/>
                </a:lnTo>
                <a:lnTo>
                  <a:pt x="1398396" y="350139"/>
                </a:lnTo>
                <a:lnTo>
                  <a:pt x="1426287" y="350139"/>
                </a:lnTo>
                <a:lnTo>
                  <a:pt x="1435481" y="327025"/>
                </a:lnTo>
                <a:lnTo>
                  <a:pt x="1438605" y="317754"/>
                </a:lnTo>
                <a:close/>
              </a:path>
              <a:path w="1506854" h="814070">
                <a:moveTo>
                  <a:pt x="80842" y="346359"/>
                </a:moveTo>
                <a:lnTo>
                  <a:pt x="81025" y="346837"/>
                </a:lnTo>
                <a:lnTo>
                  <a:pt x="80842" y="346359"/>
                </a:lnTo>
                <a:close/>
              </a:path>
              <a:path w="1506854" h="814070">
                <a:moveTo>
                  <a:pt x="80781" y="346202"/>
                </a:moveTo>
                <a:lnTo>
                  <a:pt x="80842" y="346359"/>
                </a:lnTo>
                <a:lnTo>
                  <a:pt x="80781" y="346202"/>
                </a:lnTo>
                <a:close/>
              </a:path>
              <a:path w="1506854" h="814070">
                <a:moveTo>
                  <a:pt x="1458633" y="251079"/>
                </a:moveTo>
                <a:lnTo>
                  <a:pt x="1432052" y="251079"/>
                </a:lnTo>
                <a:lnTo>
                  <a:pt x="1431925" y="251587"/>
                </a:lnTo>
                <a:lnTo>
                  <a:pt x="1422272" y="285369"/>
                </a:lnTo>
                <a:lnTo>
                  <a:pt x="1410970" y="318389"/>
                </a:lnTo>
                <a:lnTo>
                  <a:pt x="1411224" y="317754"/>
                </a:lnTo>
                <a:lnTo>
                  <a:pt x="1438605" y="317754"/>
                </a:lnTo>
                <a:lnTo>
                  <a:pt x="1447038" y="292735"/>
                </a:lnTo>
                <a:lnTo>
                  <a:pt x="1457070" y="257810"/>
                </a:lnTo>
                <a:lnTo>
                  <a:pt x="1458633" y="251079"/>
                </a:lnTo>
                <a:close/>
              </a:path>
              <a:path w="1506854" h="814070">
                <a:moveTo>
                  <a:pt x="68072" y="313182"/>
                </a:moveTo>
                <a:lnTo>
                  <a:pt x="68199" y="313817"/>
                </a:lnTo>
                <a:lnTo>
                  <a:pt x="68072" y="313182"/>
                </a:lnTo>
                <a:close/>
              </a:path>
              <a:path w="1506854" h="814070">
                <a:moveTo>
                  <a:pt x="1422400" y="284734"/>
                </a:moveTo>
                <a:lnTo>
                  <a:pt x="1422184" y="285369"/>
                </a:lnTo>
                <a:lnTo>
                  <a:pt x="1422400" y="284734"/>
                </a:lnTo>
                <a:close/>
              </a:path>
              <a:path w="1506854" h="814070">
                <a:moveTo>
                  <a:pt x="56846" y="279273"/>
                </a:moveTo>
                <a:lnTo>
                  <a:pt x="57023" y="279908"/>
                </a:lnTo>
                <a:lnTo>
                  <a:pt x="56846" y="279273"/>
                </a:lnTo>
                <a:close/>
              </a:path>
              <a:path w="1506854" h="814070">
                <a:moveTo>
                  <a:pt x="1432004" y="251246"/>
                </a:moveTo>
                <a:lnTo>
                  <a:pt x="1431907" y="251587"/>
                </a:lnTo>
                <a:lnTo>
                  <a:pt x="1432004" y="251246"/>
                </a:lnTo>
                <a:close/>
              </a:path>
              <a:path w="1506854" h="814070">
                <a:moveTo>
                  <a:pt x="1466368" y="216662"/>
                </a:moveTo>
                <a:lnTo>
                  <a:pt x="1440053" y="216662"/>
                </a:lnTo>
                <a:lnTo>
                  <a:pt x="1439926" y="217297"/>
                </a:lnTo>
                <a:lnTo>
                  <a:pt x="1432004" y="251246"/>
                </a:lnTo>
                <a:lnTo>
                  <a:pt x="1432052" y="251079"/>
                </a:lnTo>
                <a:lnTo>
                  <a:pt x="1458633" y="251079"/>
                </a:lnTo>
                <a:lnTo>
                  <a:pt x="1465326" y="222250"/>
                </a:lnTo>
                <a:lnTo>
                  <a:pt x="1466368" y="216662"/>
                </a:lnTo>
                <a:close/>
              </a:path>
              <a:path w="1506854" h="814070">
                <a:moveTo>
                  <a:pt x="47357" y="244729"/>
                </a:moveTo>
                <a:lnTo>
                  <a:pt x="47498" y="245364"/>
                </a:lnTo>
                <a:lnTo>
                  <a:pt x="47357" y="244729"/>
                </a:lnTo>
                <a:close/>
              </a:path>
              <a:path w="1506854" h="814070">
                <a:moveTo>
                  <a:pt x="1440009" y="216848"/>
                </a:moveTo>
                <a:lnTo>
                  <a:pt x="1439905" y="217297"/>
                </a:lnTo>
                <a:lnTo>
                  <a:pt x="1440009" y="216848"/>
                </a:lnTo>
                <a:close/>
              </a:path>
              <a:path w="1506854" h="814070">
                <a:moveTo>
                  <a:pt x="1472626" y="181864"/>
                </a:moveTo>
                <a:lnTo>
                  <a:pt x="1446530" y="181864"/>
                </a:lnTo>
                <a:lnTo>
                  <a:pt x="1440009" y="216848"/>
                </a:lnTo>
                <a:lnTo>
                  <a:pt x="1440053" y="216662"/>
                </a:lnTo>
                <a:lnTo>
                  <a:pt x="1466368" y="216662"/>
                </a:lnTo>
                <a:lnTo>
                  <a:pt x="1472057" y="186182"/>
                </a:lnTo>
                <a:lnTo>
                  <a:pt x="1472626" y="181864"/>
                </a:lnTo>
                <a:close/>
              </a:path>
              <a:path w="1506854" h="814070">
                <a:moveTo>
                  <a:pt x="39574" y="209647"/>
                </a:moveTo>
                <a:lnTo>
                  <a:pt x="39624" y="209931"/>
                </a:lnTo>
                <a:lnTo>
                  <a:pt x="39574" y="209647"/>
                </a:lnTo>
                <a:close/>
              </a:path>
              <a:path w="1506854" h="814070">
                <a:moveTo>
                  <a:pt x="39514" y="209296"/>
                </a:moveTo>
                <a:lnTo>
                  <a:pt x="39574" y="209647"/>
                </a:lnTo>
                <a:lnTo>
                  <a:pt x="39514" y="209296"/>
                </a:lnTo>
                <a:close/>
              </a:path>
              <a:path w="1506854" h="814070">
                <a:moveTo>
                  <a:pt x="1477131" y="146558"/>
                </a:moveTo>
                <a:lnTo>
                  <a:pt x="1451229" y="146558"/>
                </a:lnTo>
                <a:lnTo>
                  <a:pt x="1446403" y="182499"/>
                </a:lnTo>
                <a:lnTo>
                  <a:pt x="1446530" y="181864"/>
                </a:lnTo>
                <a:lnTo>
                  <a:pt x="1472626" y="181864"/>
                </a:lnTo>
                <a:lnTo>
                  <a:pt x="1476883" y="149606"/>
                </a:lnTo>
                <a:lnTo>
                  <a:pt x="1477131" y="146558"/>
                </a:lnTo>
                <a:close/>
              </a:path>
              <a:path w="1506854" h="814070">
                <a:moveTo>
                  <a:pt x="33325" y="173228"/>
                </a:moveTo>
                <a:lnTo>
                  <a:pt x="33400" y="173863"/>
                </a:lnTo>
                <a:lnTo>
                  <a:pt x="33325" y="173228"/>
                </a:lnTo>
                <a:close/>
              </a:path>
              <a:path w="1506854" h="814070">
                <a:moveTo>
                  <a:pt x="1480307" y="77159"/>
                </a:moveTo>
                <a:lnTo>
                  <a:pt x="1454383" y="78219"/>
                </a:lnTo>
                <a:lnTo>
                  <a:pt x="1454022" y="111633"/>
                </a:lnTo>
                <a:lnTo>
                  <a:pt x="1453900" y="112268"/>
                </a:lnTo>
                <a:lnTo>
                  <a:pt x="1451102" y="147193"/>
                </a:lnTo>
                <a:lnTo>
                  <a:pt x="1451229" y="146558"/>
                </a:lnTo>
                <a:lnTo>
                  <a:pt x="1477131" y="146558"/>
                </a:lnTo>
                <a:lnTo>
                  <a:pt x="1479931" y="112268"/>
                </a:lnTo>
                <a:lnTo>
                  <a:pt x="1480307" y="77159"/>
                </a:lnTo>
                <a:close/>
              </a:path>
              <a:path w="1506854" h="814070">
                <a:moveTo>
                  <a:pt x="28956" y="136525"/>
                </a:moveTo>
                <a:lnTo>
                  <a:pt x="28956" y="137033"/>
                </a:lnTo>
                <a:lnTo>
                  <a:pt x="28956" y="136525"/>
                </a:lnTo>
                <a:close/>
              </a:path>
              <a:path w="1506854" h="814070">
                <a:moveTo>
                  <a:pt x="1454022" y="110744"/>
                </a:moveTo>
                <a:lnTo>
                  <a:pt x="1453951" y="111633"/>
                </a:lnTo>
                <a:lnTo>
                  <a:pt x="1454022" y="110744"/>
                </a:lnTo>
                <a:close/>
              </a:path>
              <a:path w="1506854" h="814070">
                <a:moveTo>
                  <a:pt x="26903" y="108712"/>
                </a:moveTo>
                <a:lnTo>
                  <a:pt x="26924" y="109220"/>
                </a:lnTo>
                <a:lnTo>
                  <a:pt x="26903" y="108712"/>
                </a:lnTo>
                <a:close/>
              </a:path>
              <a:path w="1506854" h="814070">
                <a:moveTo>
                  <a:pt x="1464818" y="0"/>
                </a:moveTo>
                <a:lnTo>
                  <a:pt x="1429258" y="79248"/>
                </a:lnTo>
                <a:lnTo>
                  <a:pt x="1454383" y="78219"/>
                </a:lnTo>
                <a:lnTo>
                  <a:pt x="1454531" y="64516"/>
                </a:lnTo>
                <a:lnTo>
                  <a:pt x="1500468" y="64516"/>
                </a:lnTo>
                <a:lnTo>
                  <a:pt x="1464818" y="0"/>
                </a:lnTo>
                <a:close/>
              </a:path>
              <a:path w="1506854" h="814070">
                <a:moveTo>
                  <a:pt x="1454531" y="64516"/>
                </a:moveTo>
                <a:lnTo>
                  <a:pt x="1454383" y="78219"/>
                </a:lnTo>
                <a:lnTo>
                  <a:pt x="1480307" y="77159"/>
                </a:lnTo>
                <a:lnTo>
                  <a:pt x="1480439" y="64897"/>
                </a:lnTo>
                <a:lnTo>
                  <a:pt x="1454531" y="64516"/>
                </a:lnTo>
                <a:close/>
              </a:path>
              <a:path w="1506854" h="814070">
                <a:moveTo>
                  <a:pt x="1500468" y="64516"/>
                </a:moveTo>
                <a:lnTo>
                  <a:pt x="1454531" y="64516"/>
                </a:lnTo>
                <a:lnTo>
                  <a:pt x="1480439" y="64897"/>
                </a:lnTo>
                <a:lnTo>
                  <a:pt x="1480307" y="77159"/>
                </a:lnTo>
                <a:lnTo>
                  <a:pt x="1506855" y="76073"/>
                </a:lnTo>
                <a:lnTo>
                  <a:pt x="1500468" y="64516"/>
                </a:lnTo>
                <a:close/>
              </a:path>
            </a:pathLst>
          </a:custGeom>
          <a:solidFill>
            <a:srgbClr val="12ABDB"/>
          </a:solidFill>
        </p:spPr>
        <p:txBody>
          <a:bodyPr wrap="square" lIns="0" tIns="0" rIns="0" bIns="0" rtlCol="0"/>
          <a:lstStyle/>
          <a:p>
            <a:endParaRPr/>
          </a:p>
        </p:txBody>
      </p:sp>
      <p:sp>
        <p:nvSpPr>
          <p:cNvPr id="37" name="object 37"/>
          <p:cNvSpPr/>
          <p:nvPr/>
        </p:nvSpPr>
        <p:spPr>
          <a:xfrm>
            <a:off x="4060190" y="2601467"/>
            <a:ext cx="1507490" cy="812800"/>
          </a:xfrm>
          <a:custGeom>
            <a:avLst/>
            <a:gdLst/>
            <a:ahLst/>
            <a:cxnLst/>
            <a:rect l="l" t="t" r="r" b="b"/>
            <a:pathLst>
              <a:path w="1507489" h="812800">
                <a:moveTo>
                  <a:pt x="1429258" y="733552"/>
                </a:moveTo>
                <a:lnTo>
                  <a:pt x="1464818" y="812800"/>
                </a:lnTo>
                <a:lnTo>
                  <a:pt x="1500576" y="748284"/>
                </a:lnTo>
                <a:lnTo>
                  <a:pt x="1454658" y="748284"/>
                </a:lnTo>
                <a:lnTo>
                  <a:pt x="1454472" y="734581"/>
                </a:lnTo>
                <a:lnTo>
                  <a:pt x="1429258" y="733552"/>
                </a:lnTo>
                <a:close/>
              </a:path>
              <a:path w="1507489" h="812800">
                <a:moveTo>
                  <a:pt x="1454472" y="734581"/>
                </a:moveTo>
                <a:lnTo>
                  <a:pt x="1454658" y="748284"/>
                </a:lnTo>
                <a:lnTo>
                  <a:pt x="1480565" y="747903"/>
                </a:lnTo>
                <a:lnTo>
                  <a:pt x="1480401" y="735641"/>
                </a:lnTo>
                <a:lnTo>
                  <a:pt x="1454472" y="734581"/>
                </a:lnTo>
                <a:close/>
              </a:path>
              <a:path w="1507489" h="812800">
                <a:moveTo>
                  <a:pt x="1480401" y="735641"/>
                </a:moveTo>
                <a:lnTo>
                  <a:pt x="1480565" y="747903"/>
                </a:lnTo>
                <a:lnTo>
                  <a:pt x="1454658" y="748284"/>
                </a:lnTo>
                <a:lnTo>
                  <a:pt x="1500576" y="748284"/>
                </a:lnTo>
                <a:lnTo>
                  <a:pt x="1506982" y="736727"/>
                </a:lnTo>
                <a:lnTo>
                  <a:pt x="1480401" y="735641"/>
                </a:lnTo>
                <a:close/>
              </a:path>
              <a:path w="1507489" h="812800">
                <a:moveTo>
                  <a:pt x="1479941" y="701421"/>
                </a:moveTo>
                <a:lnTo>
                  <a:pt x="1454023" y="701421"/>
                </a:lnTo>
                <a:lnTo>
                  <a:pt x="1454472" y="734581"/>
                </a:lnTo>
                <a:lnTo>
                  <a:pt x="1480401" y="735641"/>
                </a:lnTo>
                <a:lnTo>
                  <a:pt x="1479941" y="701421"/>
                </a:lnTo>
                <a:close/>
              </a:path>
              <a:path w="1507489" h="812800">
                <a:moveTo>
                  <a:pt x="734695" y="0"/>
                </a:moveTo>
                <a:lnTo>
                  <a:pt x="660400" y="4318"/>
                </a:lnTo>
                <a:lnTo>
                  <a:pt x="588010" y="15748"/>
                </a:lnTo>
                <a:lnTo>
                  <a:pt x="517906" y="34162"/>
                </a:lnTo>
                <a:lnTo>
                  <a:pt x="450469" y="59309"/>
                </a:lnTo>
                <a:lnTo>
                  <a:pt x="386080" y="90551"/>
                </a:lnTo>
                <a:lnTo>
                  <a:pt x="325374" y="127762"/>
                </a:lnTo>
                <a:lnTo>
                  <a:pt x="268477" y="170561"/>
                </a:lnTo>
                <a:lnTo>
                  <a:pt x="215900" y="218567"/>
                </a:lnTo>
                <a:lnTo>
                  <a:pt x="168148" y="271653"/>
                </a:lnTo>
                <a:lnTo>
                  <a:pt x="125349" y="329057"/>
                </a:lnTo>
                <a:lnTo>
                  <a:pt x="88264" y="390906"/>
                </a:lnTo>
                <a:lnTo>
                  <a:pt x="57023" y="456438"/>
                </a:lnTo>
                <a:lnTo>
                  <a:pt x="32258" y="525780"/>
                </a:lnTo>
                <a:lnTo>
                  <a:pt x="14097" y="598297"/>
                </a:lnTo>
                <a:lnTo>
                  <a:pt x="3175" y="673481"/>
                </a:lnTo>
                <a:lnTo>
                  <a:pt x="0" y="730885"/>
                </a:lnTo>
                <a:lnTo>
                  <a:pt x="25781" y="731901"/>
                </a:lnTo>
                <a:lnTo>
                  <a:pt x="26908" y="703961"/>
                </a:lnTo>
                <a:lnTo>
                  <a:pt x="28917" y="676275"/>
                </a:lnTo>
                <a:lnTo>
                  <a:pt x="29016" y="675767"/>
                </a:lnTo>
                <a:lnTo>
                  <a:pt x="33325" y="639572"/>
                </a:lnTo>
                <a:lnTo>
                  <a:pt x="39514" y="603504"/>
                </a:lnTo>
                <a:lnTo>
                  <a:pt x="39624" y="602869"/>
                </a:lnTo>
                <a:lnTo>
                  <a:pt x="47356" y="568198"/>
                </a:lnTo>
                <a:lnTo>
                  <a:pt x="57023" y="533019"/>
                </a:lnTo>
                <a:lnTo>
                  <a:pt x="68199" y="499110"/>
                </a:lnTo>
                <a:lnTo>
                  <a:pt x="80829" y="466725"/>
                </a:lnTo>
                <a:lnTo>
                  <a:pt x="95376" y="434086"/>
                </a:lnTo>
                <a:lnTo>
                  <a:pt x="110994" y="403352"/>
                </a:lnTo>
                <a:lnTo>
                  <a:pt x="128397" y="372491"/>
                </a:lnTo>
                <a:lnTo>
                  <a:pt x="128545" y="372491"/>
                </a:lnTo>
                <a:lnTo>
                  <a:pt x="146743" y="343789"/>
                </a:lnTo>
                <a:lnTo>
                  <a:pt x="166860" y="315468"/>
                </a:lnTo>
                <a:lnTo>
                  <a:pt x="188340" y="287782"/>
                </a:lnTo>
                <a:lnTo>
                  <a:pt x="210820" y="261620"/>
                </a:lnTo>
                <a:lnTo>
                  <a:pt x="234088" y="237109"/>
                </a:lnTo>
                <a:lnTo>
                  <a:pt x="234569" y="236601"/>
                </a:lnTo>
                <a:lnTo>
                  <a:pt x="259334" y="212852"/>
                </a:lnTo>
                <a:lnTo>
                  <a:pt x="284804" y="190754"/>
                </a:lnTo>
                <a:lnTo>
                  <a:pt x="311684" y="169418"/>
                </a:lnTo>
                <a:lnTo>
                  <a:pt x="312165" y="169037"/>
                </a:lnTo>
                <a:lnTo>
                  <a:pt x="339700" y="149352"/>
                </a:lnTo>
                <a:lnTo>
                  <a:pt x="368666" y="130683"/>
                </a:lnTo>
                <a:lnTo>
                  <a:pt x="398467" y="113411"/>
                </a:lnTo>
                <a:lnTo>
                  <a:pt x="398272" y="113411"/>
                </a:lnTo>
                <a:lnTo>
                  <a:pt x="429513" y="97282"/>
                </a:lnTo>
                <a:lnTo>
                  <a:pt x="429713" y="97282"/>
                </a:lnTo>
                <a:lnTo>
                  <a:pt x="460883" y="83058"/>
                </a:lnTo>
                <a:lnTo>
                  <a:pt x="492510" y="70358"/>
                </a:lnTo>
                <a:lnTo>
                  <a:pt x="493140" y="70104"/>
                </a:lnTo>
                <a:lnTo>
                  <a:pt x="526034" y="58801"/>
                </a:lnTo>
                <a:lnTo>
                  <a:pt x="526274" y="58801"/>
                </a:lnTo>
                <a:lnTo>
                  <a:pt x="559124" y="49276"/>
                </a:lnTo>
                <a:lnTo>
                  <a:pt x="558926" y="49276"/>
                </a:lnTo>
                <a:lnTo>
                  <a:pt x="593598" y="41148"/>
                </a:lnTo>
                <a:lnTo>
                  <a:pt x="593766" y="41148"/>
                </a:lnTo>
                <a:lnTo>
                  <a:pt x="628269" y="34671"/>
                </a:lnTo>
                <a:lnTo>
                  <a:pt x="628576" y="34671"/>
                </a:lnTo>
                <a:lnTo>
                  <a:pt x="663448" y="29972"/>
                </a:lnTo>
                <a:lnTo>
                  <a:pt x="664326" y="29972"/>
                </a:lnTo>
                <a:lnTo>
                  <a:pt x="699135" y="27051"/>
                </a:lnTo>
                <a:lnTo>
                  <a:pt x="702170" y="27051"/>
                </a:lnTo>
                <a:lnTo>
                  <a:pt x="734965" y="25916"/>
                </a:lnTo>
                <a:lnTo>
                  <a:pt x="734568" y="25908"/>
                </a:lnTo>
                <a:lnTo>
                  <a:pt x="933788" y="25908"/>
                </a:lnTo>
                <a:lnTo>
                  <a:pt x="885444" y="14351"/>
                </a:lnTo>
                <a:lnTo>
                  <a:pt x="810387" y="3429"/>
                </a:lnTo>
                <a:lnTo>
                  <a:pt x="772413" y="762"/>
                </a:lnTo>
                <a:lnTo>
                  <a:pt x="734695" y="0"/>
                </a:lnTo>
                <a:close/>
              </a:path>
              <a:path w="1507489" h="812800">
                <a:moveTo>
                  <a:pt x="26924" y="703580"/>
                </a:moveTo>
                <a:lnTo>
                  <a:pt x="26797" y="703961"/>
                </a:lnTo>
                <a:lnTo>
                  <a:pt x="26924" y="703580"/>
                </a:lnTo>
                <a:close/>
              </a:path>
              <a:path w="1507489" h="812800">
                <a:moveTo>
                  <a:pt x="1466359" y="595630"/>
                </a:moveTo>
                <a:lnTo>
                  <a:pt x="1440052" y="595630"/>
                </a:lnTo>
                <a:lnTo>
                  <a:pt x="1440180" y="596265"/>
                </a:lnTo>
                <a:lnTo>
                  <a:pt x="1446530" y="631063"/>
                </a:lnTo>
                <a:lnTo>
                  <a:pt x="1451229" y="666496"/>
                </a:lnTo>
                <a:lnTo>
                  <a:pt x="1454023" y="702310"/>
                </a:lnTo>
                <a:lnTo>
                  <a:pt x="1454023" y="701421"/>
                </a:lnTo>
                <a:lnTo>
                  <a:pt x="1479941" y="701421"/>
                </a:lnTo>
                <a:lnTo>
                  <a:pt x="1479931" y="700659"/>
                </a:lnTo>
                <a:lnTo>
                  <a:pt x="1476883" y="663321"/>
                </a:lnTo>
                <a:lnTo>
                  <a:pt x="1472057" y="626745"/>
                </a:lnTo>
                <a:lnTo>
                  <a:pt x="1466359" y="595630"/>
                </a:lnTo>
                <a:close/>
              </a:path>
              <a:path w="1507489" h="812800">
                <a:moveTo>
                  <a:pt x="29016" y="675767"/>
                </a:moveTo>
                <a:lnTo>
                  <a:pt x="28956" y="676275"/>
                </a:lnTo>
                <a:lnTo>
                  <a:pt x="29016" y="675767"/>
                </a:lnTo>
                <a:close/>
              </a:path>
              <a:path w="1507489" h="812800">
                <a:moveTo>
                  <a:pt x="1451102" y="665734"/>
                </a:moveTo>
                <a:lnTo>
                  <a:pt x="1451162" y="666496"/>
                </a:lnTo>
                <a:lnTo>
                  <a:pt x="1451102" y="665734"/>
                </a:lnTo>
                <a:close/>
              </a:path>
              <a:path w="1507489" h="812800">
                <a:moveTo>
                  <a:pt x="33400" y="638937"/>
                </a:moveTo>
                <a:lnTo>
                  <a:pt x="33274" y="639572"/>
                </a:lnTo>
                <a:lnTo>
                  <a:pt x="33400" y="638937"/>
                </a:lnTo>
                <a:close/>
              </a:path>
              <a:path w="1507489" h="812800">
                <a:moveTo>
                  <a:pt x="1446402" y="630428"/>
                </a:moveTo>
                <a:lnTo>
                  <a:pt x="1446487" y="631063"/>
                </a:lnTo>
                <a:lnTo>
                  <a:pt x="1446402" y="630428"/>
                </a:lnTo>
                <a:close/>
              </a:path>
              <a:path w="1507489" h="812800">
                <a:moveTo>
                  <a:pt x="39573" y="603158"/>
                </a:moveTo>
                <a:lnTo>
                  <a:pt x="39497" y="603504"/>
                </a:lnTo>
                <a:lnTo>
                  <a:pt x="39573" y="603158"/>
                </a:lnTo>
                <a:close/>
              </a:path>
              <a:path w="1507489" h="812800">
                <a:moveTo>
                  <a:pt x="39638" y="602869"/>
                </a:moveTo>
                <a:lnTo>
                  <a:pt x="39573" y="603158"/>
                </a:lnTo>
                <a:lnTo>
                  <a:pt x="39638" y="602869"/>
                </a:lnTo>
                <a:close/>
              </a:path>
              <a:path w="1507489" h="812800">
                <a:moveTo>
                  <a:pt x="1440132" y="596064"/>
                </a:moveTo>
                <a:lnTo>
                  <a:pt x="1440169" y="596265"/>
                </a:lnTo>
                <a:lnTo>
                  <a:pt x="1440132" y="596064"/>
                </a:lnTo>
                <a:close/>
              </a:path>
              <a:path w="1507489" h="812800">
                <a:moveTo>
                  <a:pt x="1449198" y="527812"/>
                </a:moveTo>
                <a:lnTo>
                  <a:pt x="1422273" y="527812"/>
                </a:lnTo>
                <a:lnTo>
                  <a:pt x="1432179" y="562102"/>
                </a:lnTo>
                <a:lnTo>
                  <a:pt x="1440132" y="596064"/>
                </a:lnTo>
                <a:lnTo>
                  <a:pt x="1440052" y="595630"/>
                </a:lnTo>
                <a:lnTo>
                  <a:pt x="1466359" y="595630"/>
                </a:lnTo>
                <a:lnTo>
                  <a:pt x="1465452" y="590677"/>
                </a:lnTo>
                <a:lnTo>
                  <a:pt x="1457071" y="555117"/>
                </a:lnTo>
                <a:lnTo>
                  <a:pt x="1449198" y="527812"/>
                </a:lnTo>
                <a:close/>
              </a:path>
              <a:path w="1507489" h="812800">
                <a:moveTo>
                  <a:pt x="47498" y="567563"/>
                </a:moveTo>
                <a:lnTo>
                  <a:pt x="47244" y="568198"/>
                </a:lnTo>
                <a:lnTo>
                  <a:pt x="47498" y="567563"/>
                </a:lnTo>
                <a:close/>
              </a:path>
              <a:path w="1507489" h="812800">
                <a:moveTo>
                  <a:pt x="1431925" y="561467"/>
                </a:moveTo>
                <a:lnTo>
                  <a:pt x="1432075" y="562102"/>
                </a:lnTo>
                <a:lnTo>
                  <a:pt x="1431925" y="561467"/>
                </a:lnTo>
                <a:close/>
              </a:path>
              <a:path w="1507489" h="812800">
                <a:moveTo>
                  <a:pt x="57103" y="533019"/>
                </a:moveTo>
                <a:lnTo>
                  <a:pt x="56896" y="533654"/>
                </a:lnTo>
                <a:lnTo>
                  <a:pt x="57103" y="533019"/>
                </a:lnTo>
                <a:close/>
              </a:path>
              <a:path w="1507489" h="812800">
                <a:moveTo>
                  <a:pt x="1426012" y="462407"/>
                </a:moveTo>
                <a:lnTo>
                  <a:pt x="1398143" y="462407"/>
                </a:lnTo>
                <a:lnTo>
                  <a:pt x="1398397" y="463042"/>
                </a:lnTo>
                <a:lnTo>
                  <a:pt x="1411224" y="495300"/>
                </a:lnTo>
                <a:lnTo>
                  <a:pt x="1422400" y="528320"/>
                </a:lnTo>
                <a:lnTo>
                  <a:pt x="1422273" y="527812"/>
                </a:lnTo>
                <a:lnTo>
                  <a:pt x="1449198" y="527812"/>
                </a:lnTo>
                <a:lnTo>
                  <a:pt x="1447038" y="520319"/>
                </a:lnTo>
                <a:lnTo>
                  <a:pt x="1435354" y="486029"/>
                </a:lnTo>
                <a:lnTo>
                  <a:pt x="1426012" y="462407"/>
                </a:lnTo>
                <a:close/>
              </a:path>
              <a:path w="1507489" h="812800">
                <a:moveTo>
                  <a:pt x="68317" y="499110"/>
                </a:moveTo>
                <a:lnTo>
                  <a:pt x="68072" y="499745"/>
                </a:lnTo>
                <a:lnTo>
                  <a:pt x="68317" y="499110"/>
                </a:lnTo>
                <a:close/>
              </a:path>
              <a:path w="1507489" h="812800">
                <a:moveTo>
                  <a:pt x="1410970" y="494665"/>
                </a:moveTo>
                <a:lnTo>
                  <a:pt x="1411185" y="495300"/>
                </a:lnTo>
                <a:lnTo>
                  <a:pt x="1410970" y="494665"/>
                </a:lnTo>
                <a:close/>
              </a:path>
              <a:path w="1507489" h="812800">
                <a:moveTo>
                  <a:pt x="81025" y="466217"/>
                </a:moveTo>
                <a:lnTo>
                  <a:pt x="80772" y="466725"/>
                </a:lnTo>
                <a:lnTo>
                  <a:pt x="81025" y="466217"/>
                </a:lnTo>
                <a:close/>
              </a:path>
              <a:path w="1507489" h="812800">
                <a:moveTo>
                  <a:pt x="1398385" y="463016"/>
                </a:moveTo>
                <a:close/>
              </a:path>
              <a:path w="1507489" h="812800">
                <a:moveTo>
                  <a:pt x="1412259" y="430911"/>
                </a:moveTo>
                <a:lnTo>
                  <a:pt x="1383792" y="430911"/>
                </a:lnTo>
                <a:lnTo>
                  <a:pt x="1384046" y="431419"/>
                </a:lnTo>
                <a:lnTo>
                  <a:pt x="1398385" y="463016"/>
                </a:lnTo>
                <a:lnTo>
                  <a:pt x="1398143" y="462407"/>
                </a:lnTo>
                <a:lnTo>
                  <a:pt x="1426012" y="462407"/>
                </a:lnTo>
                <a:lnTo>
                  <a:pt x="1422146" y="452628"/>
                </a:lnTo>
                <a:lnTo>
                  <a:pt x="1412259" y="430911"/>
                </a:lnTo>
                <a:close/>
              </a:path>
              <a:path w="1507489" h="812800">
                <a:moveTo>
                  <a:pt x="95444" y="434086"/>
                </a:moveTo>
                <a:lnTo>
                  <a:pt x="95123" y="434721"/>
                </a:lnTo>
                <a:lnTo>
                  <a:pt x="95444" y="434086"/>
                </a:lnTo>
                <a:close/>
              </a:path>
              <a:path w="1507489" h="812800">
                <a:moveTo>
                  <a:pt x="1383840" y="431018"/>
                </a:moveTo>
                <a:lnTo>
                  <a:pt x="1384022" y="431419"/>
                </a:lnTo>
                <a:lnTo>
                  <a:pt x="1383840" y="431018"/>
                </a:lnTo>
                <a:close/>
              </a:path>
              <a:path w="1507489" h="812800">
                <a:moveTo>
                  <a:pt x="1380725" y="370205"/>
                </a:moveTo>
                <a:lnTo>
                  <a:pt x="1350899" y="370205"/>
                </a:lnTo>
                <a:lnTo>
                  <a:pt x="1368425" y="400685"/>
                </a:lnTo>
                <a:lnTo>
                  <a:pt x="1383840" y="431018"/>
                </a:lnTo>
                <a:lnTo>
                  <a:pt x="1412259" y="430911"/>
                </a:lnTo>
                <a:lnTo>
                  <a:pt x="1407287" y="419989"/>
                </a:lnTo>
                <a:lnTo>
                  <a:pt x="1391031" y="388112"/>
                </a:lnTo>
                <a:lnTo>
                  <a:pt x="1380725" y="370205"/>
                </a:lnTo>
                <a:close/>
              </a:path>
              <a:path w="1507489" h="812800">
                <a:moveTo>
                  <a:pt x="111251" y="402844"/>
                </a:moveTo>
                <a:lnTo>
                  <a:pt x="110871" y="403352"/>
                </a:lnTo>
                <a:lnTo>
                  <a:pt x="111251" y="402844"/>
                </a:lnTo>
                <a:close/>
              </a:path>
              <a:path w="1507489" h="812800">
                <a:moveTo>
                  <a:pt x="1368044" y="400177"/>
                </a:moveTo>
                <a:lnTo>
                  <a:pt x="1368304" y="400685"/>
                </a:lnTo>
                <a:lnTo>
                  <a:pt x="1368044" y="400177"/>
                </a:lnTo>
                <a:close/>
              </a:path>
              <a:path w="1507489" h="812800">
                <a:moveTo>
                  <a:pt x="128545" y="372491"/>
                </a:moveTo>
                <a:lnTo>
                  <a:pt x="128397" y="372491"/>
                </a:lnTo>
                <a:lnTo>
                  <a:pt x="128143" y="373126"/>
                </a:lnTo>
                <a:lnTo>
                  <a:pt x="128545" y="372491"/>
                </a:lnTo>
                <a:close/>
              </a:path>
              <a:path w="1507489" h="812800">
                <a:moveTo>
                  <a:pt x="1344093" y="313182"/>
                </a:moveTo>
                <a:lnTo>
                  <a:pt x="1312290" y="313182"/>
                </a:lnTo>
                <a:lnTo>
                  <a:pt x="1312672" y="313690"/>
                </a:lnTo>
                <a:lnTo>
                  <a:pt x="1332611" y="341757"/>
                </a:lnTo>
                <a:lnTo>
                  <a:pt x="1351152" y="370713"/>
                </a:lnTo>
                <a:lnTo>
                  <a:pt x="1350899" y="370205"/>
                </a:lnTo>
                <a:lnTo>
                  <a:pt x="1380725" y="370205"/>
                </a:lnTo>
                <a:lnTo>
                  <a:pt x="1373124" y="356997"/>
                </a:lnTo>
                <a:lnTo>
                  <a:pt x="1353947" y="327025"/>
                </a:lnTo>
                <a:lnTo>
                  <a:pt x="1344093" y="313182"/>
                </a:lnTo>
                <a:close/>
              </a:path>
              <a:path w="1507489" h="812800">
                <a:moveTo>
                  <a:pt x="147065" y="343281"/>
                </a:moveTo>
                <a:lnTo>
                  <a:pt x="146685" y="343789"/>
                </a:lnTo>
                <a:lnTo>
                  <a:pt x="147065" y="343281"/>
                </a:lnTo>
                <a:close/>
              </a:path>
              <a:path w="1507489" h="812800">
                <a:moveTo>
                  <a:pt x="1332230" y="341249"/>
                </a:moveTo>
                <a:lnTo>
                  <a:pt x="1332556" y="341757"/>
                </a:lnTo>
                <a:lnTo>
                  <a:pt x="1332230" y="341249"/>
                </a:lnTo>
                <a:close/>
              </a:path>
              <a:path w="1507489" h="812800">
                <a:moveTo>
                  <a:pt x="167132" y="315087"/>
                </a:moveTo>
                <a:lnTo>
                  <a:pt x="166750" y="315468"/>
                </a:lnTo>
                <a:lnTo>
                  <a:pt x="167132" y="315087"/>
                </a:lnTo>
                <a:close/>
              </a:path>
              <a:path w="1507489" h="812800">
                <a:moveTo>
                  <a:pt x="1312457" y="313416"/>
                </a:moveTo>
                <a:lnTo>
                  <a:pt x="1312652" y="313690"/>
                </a:lnTo>
                <a:lnTo>
                  <a:pt x="1312457" y="313416"/>
                </a:lnTo>
                <a:close/>
              </a:path>
              <a:path w="1507489" h="812800">
                <a:moveTo>
                  <a:pt x="1302914" y="260096"/>
                </a:moveTo>
                <a:lnTo>
                  <a:pt x="1268602" y="260096"/>
                </a:lnTo>
                <a:lnTo>
                  <a:pt x="1291589" y="286639"/>
                </a:lnTo>
                <a:lnTo>
                  <a:pt x="1312457" y="313416"/>
                </a:lnTo>
                <a:lnTo>
                  <a:pt x="1312290" y="313182"/>
                </a:lnTo>
                <a:lnTo>
                  <a:pt x="1344093" y="313182"/>
                </a:lnTo>
                <a:lnTo>
                  <a:pt x="1333246" y="297942"/>
                </a:lnTo>
                <a:lnTo>
                  <a:pt x="1311402" y="269875"/>
                </a:lnTo>
                <a:lnTo>
                  <a:pt x="1302914" y="260096"/>
                </a:lnTo>
                <a:close/>
              </a:path>
              <a:path w="1507489" h="812800">
                <a:moveTo>
                  <a:pt x="188395" y="287782"/>
                </a:moveTo>
                <a:lnTo>
                  <a:pt x="187960" y="288290"/>
                </a:lnTo>
                <a:lnTo>
                  <a:pt x="188395" y="287782"/>
                </a:lnTo>
                <a:close/>
              </a:path>
              <a:path w="1507489" h="812800">
                <a:moveTo>
                  <a:pt x="1291082" y="286131"/>
                </a:moveTo>
                <a:lnTo>
                  <a:pt x="1291479" y="286639"/>
                </a:lnTo>
                <a:lnTo>
                  <a:pt x="1291082" y="286131"/>
                </a:lnTo>
                <a:close/>
              </a:path>
              <a:path w="1507489" h="812800">
                <a:moveTo>
                  <a:pt x="210919" y="261620"/>
                </a:moveTo>
                <a:lnTo>
                  <a:pt x="210438" y="262128"/>
                </a:lnTo>
                <a:lnTo>
                  <a:pt x="210919" y="261620"/>
                </a:lnTo>
                <a:close/>
              </a:path>
              <a:path w="1507489" h="812800">
                <a:moveTo>
                  <a:pt x="1280630" y="235204"/>
                </a:moveTo>
                <a:lnTo>
                  <a:pt x="1244854" y="235204"/>
                </a:lnTo>
                <a:lnTo>
                  <a:pt x="1245362" y="235712"/>
                </a:lnTo>
                <a:lnTo>
                  <a:pt x="1268984" y="260604"/>
                </a:lnTo>
                <a:lnTo>
                  <a:pt x="1268602" y="260096"/>
                </a:lnTo>
                <a:lnTo>
                  <a:pt x="1302914" y="260096"/>
                </a:lnTo>
                <a:lnTo>
                  <a:pt x="1288034" y="242951"/>
                </a:lnTo>
                <a:lnTo>
                  <a:pt x="1280630" y="235204"/>
                </a:lnTo>
                <a:close/>
              </a:path>
              <a:path w="1507489" h="812800">
                <a:moveTo>
                  <a:pt x="234360" y="236821"/>
                </a:moveTo>
                <a:lnTo>
                  <a:pt x="234061" y="237109"/>
                </a:lnTo>
                <a:lnTo>
                  <a:pt x="234360" y="236821"/>
                </a:lnTo>
                <a:close/>
              </a:path>
              <a:path w="1507489" h="812800">
                <a:moveTo>
                  <a:pt x="234590" y="236601"/>
                </a:moveTo>
                <a:lnTo>
                  <a:pt x="234360" y="236821"/>
                </a:lnTo>
                <a:lnTo>
                  <a:pt x="234590" y="236601"/>
                </a:lnTo>
                <a:close/>
              </a:path>
              <a:path w="1507489" h="812800">
                <a:moveTo>
                  <a:pt x="1245088" y="235450"/>
                </a:moveTo>
                <a:lnTo>
                  <a:pt x="1245336" y="235712"/>
                </a:lnTo>
                <a:lnTo>
                  <a:pt x="1245088" y="235450"/>
                </a:lnTo>
                <a:close/>
              </a:path>
              <a:path w="1507489" h="812800">
                <a:moveTo>
                  <a:pt x="1208755" y="167512"/>
                </a:moveTo>
                <a:lnTo>
                  <a:pt x="1166876" y="167512"/>
                </a:lnTo>
                <a:lnTo>
                  <a:pt x="1167384" y="167894"/>
                </a:lnTo>
                <a:lnTo>
                  <a:pt x="1194435" y="189230"/>
                </a:lnTo>
                <a:lnTo>
                  <a:pt x="1220470" y="211836"/>
                </a:lnTo>
                <a:lnTo>
                  <a:pt x="1245088" y="235450"/>
                </a:lnTo>
                <a:lnTo>
                  <a:pt x="1244854" y="235204"/>
                </a:lnTo>
                <a:lnTo>
                  <a:pt x="1280630" y="235204"/>
                </a:lnTo>
                <a:lnTo>
                  <a:pt x="1263396" y="217170"/>
                </a:lnTo>
                <a:lnTo>
                  <a:pt x="1237614" y="192532"/>
                </a:lnTo>
                <a:lnTo>
                  <a:pt x="1210690" y="169037"/>
                </a:lnTo>
                <a:lnTo>
                  <a:pt x="1208755" y="167512"/>
                </a:lnTo>
                <a:close/>
              </a:path>
              <a:path w="1507489" h="812800">
                <a:moveTo>
                  <a:pt x="259409" y="212852"/>
                </a:moveTo>
                <a:lnTo>
                  <a:pt x="258825" y="213360"/>
                </a:lnTo>
                <a:lnTo>
                  <a:pt x="259409" y="212852"/>
                </a:lnTo>
                <a:close/>
              </a:path>
              <a:path w="1507489" h="812800">
                <a:moveTo>
                  <a:pt x="1219962" y="211455"/>
                </a:moveTo>
                <a:lnTo>
                  <a:pt x="1220360" y="211836"/>
                </a:lnTo>
                <a:lnTo>
                  <a:pt x="1219962" y="211455"/>
                </a:lnTo>
                <a:close/>
              </a:path>
              <a:path w="1507489" h="812800">
                <a:moveTo>
                  <a:pt x="285242" y="190373"/>
                </a:moveTo>
                <a:lnTo>
                  <a:pt x="284734" y="190754"/>
                </a:lnTo>
                <a:lnTo>
                  <a:pt x="285242" y="190373"/>
                </a:lnTo>
                <a:close/>
              </a:path>
              <a:path w="1507489" h="812800">
                <a:moveTo>
                  <a:pt x="1193927" y="188849"/>
                </a:moveTo>
                <a:lnTo>
                  <a:pt x="1194366" y="189230"/>
                </a:lnTo>
                <a:lnTo>
                  <a:pt x="1193927" y="188849"/>
                </a:lnTo>
                <a:close/>
              </a:path>
              <a:path w="1507489" h="812800">
                <a:moveTo>
                  <a:pt x="311936" y="169219"/>
                </a:moveTo>
                <a:lnTo>
                  <a:pt x="311658" y="169418"/>
                </a:lnTo>
                <a:lnTo>
                  <a:pt x="311936" y="169219"/>
                </a:lnTo>
                <a:close/>
              </a:path>
              <a:path w="1507489" h="812800">
                <a:moveTo>
                  <a:pt x="312190" y="169037"/>
                </a:moveTo>
                <a:lnTo>
                  <a:pt x="311936" y="169219"/>
                </a:lnTo>
                <a:lnTo>
                  <a:pt x="312190" y="169037"/>
                </a:lnTo>
                <a:close/>
              </a:path>
              <a:path w="1507489" h="812800">
                <a:moveTo>
                  <a:pt x="1167142" y="167723"/>
                </a:moveTo>
                <a:lnTo>
                  <a:pt x="1167359" y="167894"/>
                </a:lnTo>
                <a:lnTo>
                  <a:pt x="1167142" y="167723"/>
                </a:lnTo>
                <a:close/>
              </a:path>
              <a:path w="1507489" h="812800">
                <a:moveTo>
                  <a:pt x="1138682" y="147574"/>
                </a:moveTo>
                <a:lnTo>
                  <a:pt x="1167142" y="167723"/>
                </a:lnTo>
                <a:lnTo>
                  <a:pt x="1166876" y="167512"/>
                </a:lnTo>
                <a:lnTo>
                  <a:pt x="1208755" y="167512"/>
                </a:lnTo>
                <a:lnTo>
                  <a:pt x="1183753" y="147828"/>
                </a:lnTo>
                <a:lnTo>
                  <a:pt x="1139189" y="147828"/>
                </a:lnTo>
                <a:lnTo>
                  <a:pt x="1138682" y="147574"/>
                </a:lnTo>
                <a:close/>
              </a:path>
              <a:path w="1507489" h="812800">
                <a:moveTo>
                  <a:pt x="340233" y="148971"/>
                </a:moveTo>
                <a:lnTo>
                  <a:pt x="339598" y="149352"/>
                </a:lnTo>
                <a:lnTo>
                  <a:pt x="340233" y="148971"/>
                </a:lnTo>
                <a:close/>
              </a:path>
              <a:path w="1507489" h="812800">
                <a:moveTo>
                  <a:pt x="1156998" y="128778"/>
                </a:moveTo>
                <a:lnTo>
                  <a:pt x="1109472" y="128778"/>
                </a:lnTo>
                <a:lnTo>
                  <a:pt x="1139189" y="147828"/>
                </a:lnTo>
                <a:lnTo>
                  <a:pt x="1183753" y="147828"/>
                </a:lnTo>
                <a:lnTo>
                  <a:pt x="1182624" y="146939"/>
                </a:lnTo>
                <a:lnTo>
                  <a:pt x="1156998" y="128778"/>
                </a:lnTo>
                <a:close/>
              </a:path>
              <a:path w="1507489" h="812800">
                <a:moveTo>
                  <a:pt x="369062" y="130429"/>
                </a:moveTo>
                <a:lnTo>
                  <a:pt x="368554" y="130683"/>
                </a:lnTo>
                <a:lnTo>
                  <a:pt x="369062" y="130429"/>
                </a:lnTo>
                <a:close/>
              </a:path>
              <a:path w="1507489" h="812800">
                <a:moveTo>
                  <a:pt x="1130497" y="111506"/>
                </a:moveTo>
                <a:lnTo>
                  <a:pt x="1079246" y="111506"/>
                </a:lnTo>
                <a:lnTo>
                  <a:pt x="1109980" y="129159"/>
                </a:lnTo>
                <a:lnTo>
                  <a:pt x="1109472" y="128778"/>
                </a:lnTo>
                <a:lnTo>
                  <a:pt x="1156998" y="128778"/>
                </a:lnTo>
                <a:lnTo>
                  <a:pt x="1153414" y="126237"/>
                </a:lnTo>
                <a:lnTo>
                  <a:pt x="1130497" y="111506"/>
                </a:lnTo>
                <a:close/>
              </a:path>
              <a:path w="1507489" h="812800">
                <a:moveTo>
                  <a:pt x="398907" y="113157"/>
                </a:moveTo>
                <a:lnTo>
                  <a:pt x="398272" y="113411"/>
                </a:lnTo>
                <a:lnTo>
                  <a:pt x="398467" y="113411"/>
                </a:lnTo>
                <a:lnTo>
                  <a:pt x="398907" y="113157"/>
                </a:lnTo>
                <a:close/>
              </a:path>
              <a:path w="1507489" h="812800">
                <a:moveTo>
                  <a:pt x="1048131" y="95631"/>
                </a:moveTo>
                <a:lnTo>
                  <a:pt x="1079754" y="111887"/>
                </a:lnTo>
                <a:lnTo>
                  <a:pt x="1079246" y="111506"/>
                </a:lnTo>
                <a:lnTo>
                  <a:pt x="1130497" y="111506"/>
                </a:lnTo>
                <a:lnTo>
                  <a:pt x="1123188" y="106807"/>
                </a:lnTo>
                <a:lnTo>
                  <a:pt x="1104055" y="95885"/>
                </a:lnTo>
                <a:lnTo>
                  <a:pt x="1048765" y="95885"/>
                </a:lnTo>
                <a:lnTo>
                  <a:pt x="1048131" y="95631"/>
                </a:lnTo>
                <a:close/>
              </a:path>
              <a:path w="1507489" h="812800">
                <a:moveTo>
                  <a:pt x="429713" y="97282"/>
                </a:moveTo>
                <a:lnTo>
                  <a:pt x="429513" y="97282"/>
                </a:lnTo>
                <a:lnTo>
                  <a:pt x="428879" y="97662"/>
                </a:lnTo>
                <a:lnTo>
                  <a:pt x="429713" y="97282"/>
                </a:lnTo>
                <a:close/>
              </a:path>
              <a:path w="1507489" h="812800">
                <a:moveTo>
                  <a:pt x="1016254" y="81407"/>
                </a:moveTo>
                <a:lnTo>
                  <a:pt x="1048765" y="95885"/>
                </a:lnTo>
                <a:lnTo>
                  <a:pt x="1104055" y="95885"/>
                </a:lnTo>
                <a:lnTo>
                  <a:pt x="1091819" y="88900"/>
                </a:lnTo>
                <a:lnTo>
                  <a:pt x="1077483" y="81534"/>
                </a:lnTo>
                <a:lnTo>
                  <a:pt x="1016762" y="81534"/>
                </a:lnTo>
                <a:lnTo>
                  <a:pt x="1016254" y="81407"/>
                </a:lnTo>
                <a:close/>
              </a:path>
              <a:path w="1507489" h="812800">
                <a:moveTo>
                  <a:pt x="461005" y="83058"/>
                </a:moveTo>
                <a:lnTo>
                  <a:pt x="460375" y="83312"/>
                </a:lnTo>
                <a:lnTo>
                  <a:pt x="461005" y="83058"/>
                </a:lnTo>
                <a:close/>
              </a:path>
              <a:path w="1507489" h="812800">
                <a:moveTo>
                  <a:pt x="1050905" y="68453"/>
                </a:moveTo>
                <a:lnTo>
                  <a:pt x="983361" y="68453"/>
                </a:lnTo>
                <a:lnTo>
                  <a:pt x="1016762" y="81534"/>
                </a:lnTo>
                <a:lnTo>
                  <a:pt x="1077483" y="81534"/>
                </a:lnTo>
                <a:lnTo>
                  <a:pt x="1059688" y="72390"/>
                </a:lnTo>
                <a:lnTo>
                  <a:pt x="1050905" y="68453"/>
                </a:lnTo>
                <a:close/>
              </a:path>
              <a:path w="1507489" h="812800">
                <a:moveTo>
                  <a:pt x="493242" y="70104"/>
                </a:moveTo>
                <a:lnTo>
                  <a:pt x="492539" y="70346"/>
                </a:lnTo>
                <a:lnTo>
                  <a:pt x="493242" y="70104"/>
                </a:lnTo>
                <a:close/>
              </a:path>
              <a:path w="1507489" h="812800">
                <a:moveTo>
                  <a:pt x="949706" y="57277"/>
                </a:moveTo>
                <a:lnTo>
                  <a:pt x="983996" y="68707"/>
                </a:lnTo>
                <a:lnTo>
                  <a:pt x="983361" y="68453"/>
                </a:lnTo>
                <a:lnTo>
                  <a:pt x="1050905" y="68453"/>
                </a:lnTo>
                <a:lnTo>
                  <a:pt x="1026540" y="57531"/>
                </a:lnTo>
                <a:lnTo>
                  <a:pt x="1026216" y="57404"/>
                </a:lnTo>
                <a:lnTo>
                  <a:pt x="950340" y="57404"/>
                </a:lnTo>
                <a:lnTo>
                  <a:pt x="949706" y="57277"/>
                </a:lnTo>
                <a:close/>
              </a:path>
              <a:path w="1507489" h="812800">
                <a:moveTo>
                  <a:pt x="526274" y="58801"/>
                </a:moveTo>
                <a:lnTo>
                  <a:pt x="526034" y="58801"/>
                </a:lnTo>
                <a:lnTo>
                  <a:pt x="525399" y="59055"/>
                </a:lnTo>
                <a:lnTo>
                  <a:pt x="526274" y="58801"/>
                </a:lnTo>
                <a:close/>
              </a:path>
              <a:path w="1507489" h="812800">
                <a:moveTo>
                  <a:pt x="915288" y="47625"/>
                </a:moveTo>
                <a:lnTo>
                  <a:pt x="950340" y="57404"/>
                </a:lnTo>
                <a:lnTo>
                  <a:pt x="1026216" y="57404"/>
                </a:lnTo>
                <a:lnTo>
                  <a:pt x="1001581" y="47752"/>
                </a:lnTo>
                <a:lnTo>
                  <a:pt x="915924" y="47752"/>
                </a:lnTo>
                <a:lnTo>
                  <a:pt x="915288" y="47625"/>
                </a:lnTo>
                <a:close/>
              </a:path>
              <a:path w="1507489" h="812800">
                <a:moveTo>
                  <a:pt x="559562" y="49149"/>
                </a:moveTo>
                <a:lnTo>
                  <a:pt x="558926" y="49276"/>
                </a:lnTo>
                <a:lnTo>
                  <a:pt x="559124" y="49276"/>
                </a:lnTo>
                <a:lnTo>
                  <a:pt x="559562" y="49149"/>
                </a:lnTo>
                <a:close/>
              </a:path>
              <a:path w="1507489" h="812800">
                <a:moveTo>
                  <a:pt x="978838" y="39624"/>
                </a:moveTo>
                <a:lnTo>
                  <a:pt x="880110" y="39624"/>
                </a:lnTo>
                <a:lnTo>
                  <a:pt x="915924" y="47752"/>
                </a:lnTo>
                <a:lnTo>
                  <a:pt x="1001581" y="47752"/>
                </a:lnTo>
                <a:lnTo>
                  <a:pt x="992505" y="44196"/>
                </a:lnTo>
                <a:lnTo>
                  <a:pt x="978838" y="39624"/>
                </a:lnTo>
                <a:close/>
              </a:path>
              <a:path w="1507489" h="812800">
                <a:moveTo>
                  <a:pt x="593766" y="41148"/>
                </a:moveTo>
                <a:lnTo>
                  <a:pt x="593598" y="41148"/>
                </a:lnTo>
                <a:lnTo>
                  <a:pt x="593089" y="41275"/>
                </a:lnTo>
                <a:lnTo>
                  <a:pt x="593766" y="41148"/>
                </a:lnTo>
                <a:close/>
              </a:path>
              <a:path w="1507489" h="812800">
                <a:moveTo>
                  <a:pt x="960616" y="33528"/>
                </a:moveTo>
                <a:lnTo>
                  <a:pt x="844169" y="33528"/>
                </a:lnTo>
                <a:lnTo>
                  <a:pt x="880745" y="39878"/>
                </a:lnTo>
                <a:lnTo>
                  <a:pt x="880110" y="39624"/>
                </a:lnTo>
                <a:lnTo>
                  <a:pt x="978838" y="39624"/>
                </a:lnTo>
                <a:lnTo>
                  <a:pt x="960616" y="33528"/>
                </a:lnTo>
                <a:close/>
              </a:path>
              <a:path w="1507489" h="812800">
                <a:moveTo>
                  <a:pt x="628576" y="34671"/>
                </a:moveTo>
                <a:lnTo>
                  <a:pt x="628269" y="34671"/>
                </a:lnTo>
                <a:lnTo>
                  <a:pt x="627634" y="34798"/>
                </a:lnTo>
                <a:lnTo>
                  <a:pt x="628576" y="34671"/>
                </a:lnTo>
                <a:close/>
              </a:path>
              <a:path w="1507489" h="812800">
                <a:moveTo>
                  <a:pt x="933788" y="25908"/>
                </a:moveTo>
                <a:lnTo>
                  <a:pt x="734965" y="25916"/>
                </a:lnTo>
                <a:lnTo>
                  <a:pt x="771525" y="26670"/>
                </a:lnTo>
                <a:lnTo>
                  <a:pt x="770889" y="26670"/>
                </a:lnTo>
                <a:lnTo>
                  <a:pt x="808227" y="29210"/>
                </a:lnTo>
                <a:lnTo>
                  <a:pt x="807593" y="29210"/>
                </a:lnTo>
                <a:lnTo>
                  <a:pt x="844804" y="33655"/>
                </a:lnTo>
                <a:lnTo>
                  <a:pt x="844169" y="33528"/>
                </a:lnTo>
                <a:lnTo>
                  <a:pt x="960616" y="33528"/>
                </a:lnTo>
                <a:lnTo>
                  <a:pt x="957580" y="32512"/>
                </a:lnTo>
                <a:lnTo>
                  <a:pt x="933788" y="25908"/>
                </a:lnTo>
                <a:close/>
              </a:path>
              <a:path w="1507489" h="812800">
                <a:moveTo>
                  <a:pt x="664326" y="29972"/>
                </a:moveTo>
                <a:lnTo>
                  <a:pt x="663448" y="29972"/>
                </a:lnTo>
                <a:lnTo>
                  <a:pt x="662813" y="30099"/>
                </a:lnTo>
                <a:lnTo>
                  <a:pt x="664326" y="29972"/>
                </a:lnTo>
                <a:close/>
              </a:path>
              <a:path w="1507489" h="812800">
                <a:moveTo>
                  <a:pt x="702170" y="27051"/>
                </a:moveTo>
                <a:lnTo>
                  <a:pt x="699135" y="27051"/>
                </a:lnTo>
                <a:lnTo>
                  <a:pt x="698500" y="27178"/>
                </a:lnTo>
                <a:lnTo>
                  <a:pt x="702170" y="27051"/>
                </a:lnTo>
                <a:close/>
              </a:path>
            </a:pathLst>
          </a:custGeom>
          <a:solidFill>
            <a:srgbClr val="12ABDB"/>
          </a:solidFill>
        </p:spPr>
        <p:txBody>
          <a:bodyPr wrap="square" lIns="0" tIns="0" rIns="0" bIns="0" rtlCol="0"/>
          <a:lstStyle/>
          <a:p>
            <a:endParaRPr/>
          </a:p>
        </p:txBody>
      </p:sp>
      <p:sp>
        <p:nvSpPr>
          <p:cNvPr id="38" name="object 38"/>
          <p:cNvSpPr/>
          <p:nvPr/>
        </p:nvSpPr>
        <p:spPr>
          <a:xfrm>
            <a:off x="5515609" y="3501644"/>
            <a:ext cx="1508760" cy="813435"/>
          </a:xfrm>
          <a:custGeom>
            <a:avLst/>
            <a:gdLst/>
            <a:ahLst/>
            <a:cxnLst/>
            <a:rect l="l" t="t" r="r" b="b"/>
            <a:pathLst>
              <a:path w="1508759" h="813435">
                <a:moveTo>
                  <a:pt x="25780" y="81025"/>
                </a:moveTo>
                <a:lnTo>
                  <a:pt x="0" y="81914"/>
                </a:lnTo>
                <a:lnTo>
                  <a:pt x="1015" y="110616"/>
                </a:lnTo>
                <a:lnTo>
                  <a:pt x="3175" y="139445"/>
                </a:lnTo>
                <a:lnTo>
                  <a:pt x="7747" y="177418"/>
                </a:lnTo>
                <a:lnTo>
                  <a:pt x="22351" y="251332"/>
                </a:lnTo>
                <a:lnTo>
                  <a:pt x="43814" y="322325"/>
                </a:lnTo>
                <a:lnTo>
                  <a:pt x="72009" y="389762"/>
                </a:lnTo>
                <a:lnTo>
                  <a:pt x="106299" y="453516"/>
                </a:lnTo>
                <a:lnTo>
                  <a:pt x="146303" y="513206"/>
                </a:lnTo>
                <a:lnTo>
                  <a:pt x="191642" y="568451"/>
                </a:lnTo>
                <a:lnTo>
                  <a:pt x="241935" y="618997"/>
                </a:lnTo>
                <a:lnTo>
                  <a:pt x="296799" y="664463"/>
                </a:lnTo>
                <a:lnTo>
                  <a:pt x="355726" y="704468"/>
                </a:lnTo>
                <a:lnTo>
                  <a:pt x="418338" y="738758"/>
                </a:lnTo>
                <a:lnTo>
                  <a:pt x="484377" y="767079"/>
                </a:lnTo>
                <a:lnTo>
                  <a:pt x="553212" y="788796"/>
                </a:lnTo>
                <a:lnTo>
                  <a:pt x="624586" y="803782"/>
                </a:lnTo>
                <a:lnTo>
                  <a:pt x="697991" y="811783"/>
                </a:lnTo>
                <a:lnTo>
                  <a:pt x="735456" y="812926"/>
                </a:lnTo>
                <a:lnTo>
                  <a:pt x="773176" y="812164"/>
                </a:lnTo>
                <a:lnTo>
                  <a:pt x="811276" y="809497"/>
                </a:lnTo>
                <a:lnTo>
                  <a:pt x="849122" y="804798"/>
                </a:lnTo>
                <a:lnTo>
                  <a:pt x="922781" y="790193"/>
                </a:lnTo>
                <a:lnTo>
                  <a:pt x="934260" y="787018"/>
                </a:lnTo>
                <a:lnTo>
                  <a:pt x="735329" y="787018"/>
                </a:lnTo>
                <a:lnTo>
                  <a:pt x="735711" y="787011"/>
                </a:lnTo>
                <a:lnTo>
                  <a:pt x="699135" y="785875"/>
                </a:lnTo>
                <a:lnTo>
                  <a:pt x="699897" y="785875"/>
                </a:lnTo>
                <a:lnTo>
                  <a:pt x="665088" y="782954"/>
                </a:lnTo>
                <a:lnTo>
                  <a:pt x="664210" y="782954"/>
                </a:lnTo>
                <a:lnTo>
                  <a:pt x="629214" y="778255"/>
                </a:lnTo>
                <a:lnTo>
                  <a:pt x="628903" y="778255"/>
                </a:lnTo>
                <a:lnTo>
                  <a:pt x="593598" y="771651"/>
                </a:lnTo>
                <a:lnTo>
                  <a:pt x="559435" y="763650"/>
                </a:lnTo>
                <a:lnTo>
                  <a:pt x="559633" y="763650"/>
                </a:lnTo>
                <a:lnTo>
                  <a:pt x="526034" y="753871"/>
                </a:lnTo>
                <a:lnTo>
                  <a:pt x="526169" y="753871"/>
                </a:lnTo>
                <a:lnTo>
                  <a:pt x="493759" y="742822"/>
                </a:lnTo>
                <a:lnTo>
                  <a:pt x="461519" y="729995"/>
                </a:lnTo>
                <a:lnTo>
                  <a:pt x="461390" y="729995"/>
                </a:lnTo>
                <a:lnTo>
                  <a:pt x="429387" y="715390"/>
                </a:lnTo>
                <a:lnTo>
                  <a:pt x="429530" y="715390"/>
                </a:lnTo>
                <a:lnTo>
                  <a:pt x="398779" y="699515"/>
                </a:lnTo>
                <a:lnTo>
                  <a:pt x="368935" y="682243"/>
                </a:lnTo>
                <a:lnTo>
                  <a:pt x="339978" y="663574"/>
                </a:lnTo>
                <a:lnTo>
                  <a:pt x="312574" y="644016"/>
                </a:lnTo>
                <a:lnTo>
                  <a:pt x="312038" y="643635"/>
                </a:lnTo>
                <a:lnTo>
                  <a:pt x="285114" y="622299"/>
                </a:lnTo>
                <a:lnTo>
                  <a:pt x="259206" y="599693"/>
                </a:lnTo>
                <a:lnTo>
                  <a:pt x="234314" y="575817"/>
                </a:lnTo>
                <a:lnTo>
                  <a:pt x="234461" y="575817"/>
                </a:lnTo>
                <a:lnTo>
                  <a:pt x="211175" y="551306"/>
                </a:lnTo>
                <a:lnTo>
                  <a:pt x="188087" y="524636"/>
                </a:lnTo>
                <a:lnTo>
                  <a:pt x="167276" y="497966"/>
                </a:lnTo>
                <a:lnTo>
                  <a:pt x="166877" y="497458"/>
                </a:lnTo>
                <a:lnTo>
                  <a:pt x="147386" y="469772"/>
                </a:lnTo>
                <a:lnTo>
                  <a:pt x="128269" y="439927"/>
                </a:lnTo>
                <a:lnTo>
                  <a:pt x="110998" y="409574"/>
                </a:lnTo>
                <a:lnTo>
                  <a:pt x="95572" y="378967"/>
                </a:lnTo>
                <a:lnTo>
                  <a:pt x="80899" y="346201"/>
                </a:lnTo>
                <a:lnTo>
                  <a:pt x="68072" y="313181"/>
                </a:lnTo>
                <a:lnTo>
                  <a:pt x="56895" y="279272"/>
                </a:lnTo>
                <a:lnTo>
                  <a:pt x="47547" y="245363"/>
                </a:lnTo>
                <a:lnTo>
                  <a:pt x="39638" y="210057"/>
                </a:lnTo>
                <a:lnTo>
                  <a:pt x="33383" y="173989"/>
                </a:lnTo>
                <a:lnTo>
                  <a:pt x="33325" y="173354"/>
                </a:lnTo>
                <a:lnTo>
                  <a:pt x="29031" y="137286"/>
                </a:lnTo>
                <a:lnTo>
                  <a:pt x="26835" y="109346"/>
                </a:lnTo>
                <a:lnTo>
                  <a:pt x="26903" y="108838"/>
                </a:lnTo>
                <a:lnTo>
                  <a:pt x="25780" y="81025"/>
                </a:lnTo>
                <a:close/>
              </a:path>
              <a:path w="1508759" h="813435">
                <a:moveTo>
                  <a:pt x="735711" y="787011"/>
                </a:moveTo>
                <a:lnTo>
                  <a:pt x="735329" y="787018"/>
                </a:lnTo>
                <a:lnTo>
                  <a:pt x="735964" y="787018"/>
                </a:lnTo>
                <a:lnTo>
                  <a:pt x="735711" y="787011"/>
                </a:lnTo>
                <a:close/>
              </a:path>
              <a:path w="1508759" h="813435">
                <a:moveTo>
                  <a:pt x="845692" y="779144"/>
                </a:moveTo>
                <a:lnTo>
                  <a:pt x="808481" y="783716"/>
                </a:lnTo>
                <a:lnTo>
                  <a:pt x="809116" y="783716"/>
                </a:lnTo>
                <a:lnTo>
                  <a:pt x="771778" y="786256"/>
                </a:lnTo>
                <a:lnTo>
                  <a:pt x="772287" y="786256"/>
                </a:lnTo>
                <a:lnTo>
                  <a:pt x="735711" y="787011"/>
                </a:lnTo>
                <a:lnTo>
                  <a:pt x="934289" y="787011"/>
                </a:lnTo>
                <a:lnTo>
                  <a:pt x="958595" y="780287"/>
                </a:lnTo>
                <a:lnTo>
                  <a:pt x="961632" y="779271"/>
                </a:lnTo>
                <a:lnTo>
                  <a:pt x="845057" y="779271"/>
                </a:lnTo>
                <a:lnTo>
                  <a:pt x="845692" y="779144"/>
                </a:lnTo>
                <a:close/>
              </a:path>
              <a:path w="1508759" h="813435">
                <a:moveTo>
                  <a:pt x="663575" y="782827"/>
                </a:moveTo>
                <a:lnTo>
                  <a:pt x="664210" y="782954"/>
                </a:lnTo>
                <a:lnTo>
                  <a:pt x="665088" y="782954"/>
                </a:lnTo>
                <a:lnTo>
                  <a:pt x="663575" y="782827"/>
                </a:lnTo>
                <a:close/>
              </a:path>
              <a:path w="1508759" h="813435">
                <a:moveTo>
                  <a:pt x="881634" y="772921"/>
                </a:moveTo>
                <a:lnTo>
                  <a:pt x="845057" y="779271"/>
                </a:lnTo>
                <a:lnTo>
                  <a:pt x="961632" y="779271"/>
                </a:lnTo>
                <a:lnTo>
                  <a:pt x="979854" y="773175"/>
                </a:lnTo>
                <a:lnTo>
                  <a:pt x="880999" y="773175"/>
                </a:lnTo>
                <a:lnTo>
                  <a:pt x="881634" y="772921"/>
                </a:lnTo>
                <a:close/>
              </a:path>
              <a:path w="1508759" h="813435">
                <a:moveTo>
                  <a:pt x="628268" y="778128"/>
                </a:moveTo>
                <a:lnTo>
                  <a:pt x="628903" y="778255"/>
                </a:lnTo>
                <a:lnTo>
                  <a:pt x="629214" y="778255"/>
                </a:lnTo>
                <a:lnTo>
                  <a:pt x="628268" y="778128"/>
                </a:lnTo>
                <a:close/>
              </a:path>
              <a:path w="1508759" h="813435">
                <a:moveTo>
                  <a:pt x="1002631" y="765047"/>
                </a:moveTo>
                <a:lnTo>
                  <a:pt x="916813" y="765047"/>
                </a:lnTo>
                <a:lnTo>
                  <a:pt x="880999" y="773175"/>
                </a:lnTo>
                <a:lnTo>
                  <a:pt x="979854" y="773175"/>
                </a:lnTo>
                <a:lnTo>
                  <a:pt x="993520" y="768603"/>
                </a:lnTo>
                <a:lnTo>
                  <a:pt x="1002631" y="765047"/>
                </a:lnTo>
                <a:close/>
              </a:path>
              <a:path w="1508759" h="813435">
                <a:moveTo>
                  <a:pt x="594056" y="771737"/>
                </a:moveTo>
                <a:lnTo>
                  <a:pt x="594232" y="771778"/>
                </a:lnTo>
                <a:lnTo>
                  <a:pt x="594056" y="771737"/>
                </a:lnTo>
                <a:close/>
              </a:path>
              <a:path w="1508759" h="813435">
                <a:moveTo>
                  <a:pt x="593689" y="771651"/>
                </a:moveTo>
                <a:lnTo>
                  <a:pt x="594056" y="771737"/>
                </a:lnTo>
                <a:lnTo>
                  <a:pt x="593689" y="771651"/>
                </a:lnTo>
                <a:close/>
              </a:path>
              <a:path w="1508759" h="813435">
                <a:moveTo>
                  <a:pt x="951356" y="755395"/>
                </a:moveTo>
                <a:lnTo>
                  <a:pt x="916177" y="765174"/>
                </a:lnTo>
                <a:lnTo>
                  <a:pt x="916813" y="765047"/>
                </a:lnTo>
                <a:lnTo>
                  <a:pt x="1002631" y="765047"/>
                </a:lnTo>
                <a:lnTo>
                  <a:pt x="1026707" y="755649"/>
                </a:lnTo>
                <a:lnTo>
                  <a:pt x="950722" y="755649"/>
                </a:lnTo>
                <a:lnTo>
                  <a:pt x="951356" y="755395"/>
                </a:lnTo>
                <a:close/>
              </a:path>
              <a:path w="1508759" h="813435">
                <a:moveTo>
                  <a:pt x="559633" y="763650"/>
                </a:moveTo>
                <a:lnTo>
                  <a:pt x="559435" y="763650"/>
                </a:lnTo>
                <a:lnTo>
                  <a:pt x="560069" y="763777"/>
                </a:lnTo>
                <a:lnTo>
                  <a:pt x="559633" y="763650"/>
                </a:lnTo>
                <a:close/>
              </a:path>
              <a:path w="1508759" h="813435">
                <a:moveTo>
                  <a:pt x="1078835" y="731265"/>
                </a:moveTo>
                <a:lnTo>
                  <a:pt x="1017905" y="731265"/>
                </a:lnTo>
                <a:lnTo>
                  <a:pt x="984376" y="744346"/>
                </a:lnTo>
                <a:lnTo>
                  <a:pt x="950722" y="755649"/>
                </a:lnTo>
                <a:lnTo>
                  <a:pt x="1026707" y="755649"/>
                </a:lnTo>
                <a:lnTo>
                  <a:pt x="1027684" y="755268"/>
                </a:lnTo>
                <a:lnTo>
                  <a:pt x="1060831" y="740409"/>
                </a:lnTo>
                <a:lnTo>
                  <a:pt x="1078835" y="731265"/>
                </a:lnTo>
                <a:close/>
              </a:path>
              <a:path w="1508759" h="813435">
                <a:moveTo>
                  <a:pt x="526169" y="753871"/>
                </a:moveTo>
                <a:lnTo>
                  <a:pt x="526034" y="753871"/>
                </a:lnTo>
                <a:lnTo>
                  <a:pt x="526541" y="753998"/>
                </a:lnTo>
                <a:lnTo>
                  <a:pt x="526169" y="753871"/>
                </a:lnTo>
                <a:close/>
              </a:path>
              <a:path w="1508759" h="813435">
                <a:moveTo>
                  <a:pt x="985012" y="744092"/>
                </a:moveTo>
                <a:lnTo>
                  <a:pt x="984258" y="744346"/>
                </a:lnTo>
                <a:lnTo>
                  <a:pt x="985012" y="744092"/>
                </a:lnTo>
                <a:close/>
              </a:path>
              <a:path w="1508759" h="813435">
                <a:moveTo>
                  <a:pt x="493013" y="742568"/>
                </a:moveTo>
                <a:lnTo>
                  <a:pt x="493649" y="742822"/>
                </a:lnTo>
                <a:lnTo>
                  <a:pt x="493013" y="742568"/>
                </a:lnTo>
                <a:close/>
              </a:path>
              <a:path w="1508759" h="813435">
                <a:moveTo>
                  <a:pt x="1105459" y="716914"/>
                </a:moveTo>
                <a:lnTo>
                  <a:pt x="1049909" y="716914"/>
                </a:lnTo>
                <a:lnTo>
                  <a:pt x="1049400" y="717168"/>
                </a:lnTo>
                <a:lnTo>
                  <a:pt x="1017379" y="731471"/>
                </a:lnTo>
                <a:lnTo>
                  <a:pt x="1017905" y="731265"/>
                </a:lnTo>
                <a:lnTo>
                  <a:pt x="1078835" y="731265"/>
                </a:lnTo>
                <a:lnTo>
                  <a:pt x="1093089" y="724026"/>
                </a:lnTo>
                <a:lnTo>
                  <a:pt x="1105459" y="716914"/>
                </a:lnTo>
                <a:close/>
              </a:path>
              <a:path w="1508759" h="813435">
                <a:moveTo>
                  <a:pt x="460882" y="729741"/>
                </a:moveTo>
                <a:lnTo>
                  <a:pt x="461390" y="729995"/>
                </a:lnTo>
                <a:lnTo>
                  <a:pt x="461519" y="729995"/>
                </a:lnTo>
                <a:lnTo>
                  <a:pt x="460882" y="729741"/>
                </a:lnTo>
                <a:close/>
              </a:path>
              <a:path w="1508759" h="813435">
                <a:moveTo>
                  <a:pt x="1049827" y="716951"/>
                </a:moveTo>
                <a:lnTo>
                  <a:pt x="1049341" y="717168"/>
                </a:lnTo>
                <a:lnTo>
                  <a:pt x="1049827" y="716951"/>
                </a:lnTo>
                <a:close/>
              </a:path>
              <a:path w="1508759" h="813435">
                <a:moveTo>
                  <a:pt x="1132213" y="701039"/>
                </a:moveTo>
                <a:lnTo>
                  <a:pt x="1081023" y="701039"/>
                </a:lnTo>
                <a:lnTo>
                  <a:pt x="1049827" y="716951"/>
                </a:lnTo>
                <a:lnTo>
                  <a:pt x="1105459" y="716914"/>
                </a:lnTo>
                <a:lnTo>
                  <a:pt x="1124458" y="705992"/>
                </a:lnTo>
                <a:lnTo>
                  <a:pt x="1132213" y="701039"/>
                </a:lnTo>
                <a:close/>
              </a:path>
              <a:path w="1508759" h="813435">
                <a:moveTo>
                  <a:pt x="429530" y="715390"/>
                </a:moveTo>
                <a:lnTo>
                  <a:pt x="429387" y="715390"/>
                </a:lnTo>
                <a:lnTo>
                  <a:pt x="430022" y="715644"/>
                </a:lnTo>
                <a:lnTo>
                  <a:pt x="429530" y="715390"/>
                </a:lnTo>
                <a:close/>
              </a:path>
              <a:path w="1508759" h="813435">
                <a:moveTo>
                  <a:pt x="1158780" y="683767"/>
                </a:moveTo>
                <a:lnTo>
                  <a:pt x="1111249" y="683767"/>
                </a:lnTo>
                <a:lnTo>
                  <a:pt x="1080515" y="701293"/>
                </a:lnTo>
                <a:lnTo>
                  <a:pt x="1081023" y="701039"/>
                </a:lnTo>
                <a:lnTo>
                  <a:pt x="1132213" y="701039"/>
                </a:lnTo>
                <a:lnTo>
                  <a:pt x="1154684" y="686688"/>
                </a:lnTo>
                <a:lnTo>
                  <a:pt x="1158780" y="683767"/>
                </a:lnTo>
                <a:close/>
              </a:path>
              <a:path w="1508759" h="813435">
                <a:moveTo>
                  <a:pt x="398848" y="699515"/>
                </a:moveTo>
                <a:lnTo>
                  <a:pt x="399288" y="699769"/>
                </a:lnTo>
                <a:lnTo>
                  <a:pt x="398848" y="699515"/>
                </a:lnTo>
                <a:close/>
              </a:path>
              <a:path w="1508759" h="813435">
                <a:moveTo>
                  <a:pt x="1210347" y="645032"/>
                </a:moveTo>
                <a:lnTo>
                  <a:pt x="1168526" y="645032"/>
                </a:lnTo>
                <a:lnTo>
                  <a:pt x="1168018" y="645413"/>
                </a:lnTo>
                <a:lnTo>
                  <a:pt x="1139951" y="665352"/>
                </a:lnTo>
                <a:lnTo>
                  <a:pt x="1110741" y="684021"/>
                </a:lnTo>
                <a:lnTo>
                  <a:pt x="1111249" y="683767"/>
                </a:lnTo>
                <a:lnTo>
                  <a:pt x="1158780" y="683767"/>
                </a:lnTo>
                <a:lnTo>
                  <a:pt x="1183893" y="665860"/>
                </a:lnTo>
                <a:lnTo>
                  <a:pt x="1210347" y="645032"/>
                </a:lnTo>
                <a:close/>
              </a:path>
              <a:path w="1508759" h="813435">
                <a:moveTo>
                  <a:pt x="369047" y="682243"/>
                </a:moveTo>
                <a:lnTo>
                  <a:pt x="369442" y="682497"/>
                </a:lnTo>
                <a:lnTo>
                  <a:pt x="369047" y="682243"/>
                </a:lnTo>
                <a:close/>
              </a:path>
              <a:path w="1508759" h="813435">
                <a:moveTo>
                  <a:pt x="1140460" y="664971"/>
                </a:moveTo>
                <a:lnTo>
                  <a:pt x="1139865" y="665352"/>
                </a:lnTo>
                <a:lnTo>
                  <a:pt x="1140460" y="664971"/>
                </a:lnTo>
                <a:close/>
              </a:path>
              <a:path w="1508759" h="813435">
                <a:moveTo>
                  <a:pt x="340078" y="663574"/>
                </a:moveTo>
                <a:lnTo>
                  <a:pt x="340613" y="663955"/>
                </a:lnTo>
                <a:lnTo>
                  <a:pt x="340078" y="663574"/>
                </a:lnTo>
                <a:close/>
              </a:path>
              <a:path w="1508759" h="813435">
                <a:moveTo>
                  <a:pt x="1168272" y="645213"/>
                </a:moveTo>
                <a:lnTo>
                  <a:pt x="1167991" y="645413"/>
                </a:lnTo>
                <a:lnTo>
                  <a:pt x="1168272" y="645213"/>
                </a:lnTo>
                <a:close/>
              </a:path>
              <a:path w="1508759" h="813435">
                <a:moveTo>
                  <a:pt x="1235336" y="623569"/>
                </a:moveTo>
                <a:lnTo>
                  <a:pt x="1195705" y="623569"/>
                </a:lnTo>
                <a:lnTo>
                  <a:pt x="1168272" y="645213"/>
                </a:lnTo>
                <a:lnTo>
                  <a:pt x="1168526" y="645032"/>
                </a:lnTo>
                <a:lnTo>
                  <a:pt x="1210347" y="645032"/>
                </a:lnTo>
                <a:lnTo>
                  <a:pt x="1211961" y="643762"/>
                </a:lnTo>
                <a:lnTo>
                  <a:pt x="1235336" y="623569"/>
                </a:lnTo>
                <a:close/>
              </a:path>
              <a:path w="1508759" h="813435">
                <a:moveTo>
                  <a:pt x="312301" y="643822"/>
                </a:moveTo>
                <a:lnTo>
                  <a:pt x="312547" y="644016"/>
                </a:lnTo>
                <a:lnTo>
                  <a:pt x="312301" y="643822"/>
                </a:lnTo>
                <a:close/>
              </a:path>
              <a:path w="1508759" h="813435">
                <a:moveTo>
                  <a:pt x="312065" y="643635"/>
                </a:moveTo>
                <a:lnTo>
                  <a:pt x="312301" y="643822"/>
                </a:lnTo>
                <a:lnTo>
                  <a:pt x="312065" y="643635"/>
                </a:lnTo>
                <a:close/>
              </a:path>
              <a:path w="1508759" h="813435">
                <a:moveTo>
                  <a:pt x="1259344" y="600963"/>
                </a:moveTo>
                <a:lnTo>
                  <a:pt x="1221866" y="600963"/>
                </a:lnTo>
                <a:lnTo>
                  <a:pt x="1195196" y="623950"/>
                </a:lnTo>
                <a:lnTo>
                  <a:pt x="1195705" y="623569"/>
                </a:lnTo>
                <a:lnTo>
                  <a:pt x="1235336" y="623569"/>
                </a:lnTo>
                <a:lnTo>
                  <a:pt x="1239012" y="620394"/>
                </a:lnTo>
                <a:lnTo>
                  <a:pt x="1259344" y="600963"/>
                </a:lnTo>
                <a:close/>
              </a:path>
              <a:path w="1508759" h="813435">
                <a:moveTo>
                  <a:pt x="285185" y="622299"/>
                </a:moveTo>
                <a:lnTo>
                  <a:pt x="285623" y="622680"/>
                </a:lnTo>
                <a:lnTo>
                  <a:pt x="285185" y="622299"/>
                </a:lnTo>
                <a:close/>
              </a:path>
              <a:path w="1508759" h="813435">
                <a:moveTo>
                  <a:pt x="1282512" y="577214"/>
                </a:moveTo>
                <a:lnTo>
                  <a:pt x="1246632" y="577214"/>
                </a:lnTo>
                <a:lnTo>
                  <a:pt x="1221359" y="601344"/>
                </a:lnTo>
                <a:lnTo>
                  <a:pt x="1221866" y="600963"/>
                </a:lnTo>
                <a:lnTo>
                  <a:pt x="1259344" y="600963"/>
                </a:lnTo>
                <a:lnTo>
                  <a:pt x="1264792" y="595756"/>
                </a:lnTo>
                <a:lnTo>
                  <a:pt x="1282512" y="577214"/>
                </a:lnTo>
                <a:close/>
              </a:path>
              <a:path w="1508759" h="813435">
                <a:moveTo>
                  <a:pt x="259316" y="599693"/>
                </a:moveTo>
                <a:lnTo>
                  <a:pt x="259714" y="600074"/>
                </a:lnTo>
                <a:lnTo>
                  <a:pt x="259316" y="599693"/>
                </a:lnTo>
                <a:close/>
              </a:path>
              <a:path w="1508759" h="813435">
                <a:moveTo>
                  <a:pt x="1345852" y="499109"/>
                </a:moveTo>
                <a:lnTo>
                  <a:pt x="1314068" y="499109"/>
                </a:lnTo>
                <a:lnTo>
                  <a:pt x="1292479" y="526795"/>
                </a:lnTo>
                <a:lnTo>
                  <a:pt x="1269999" y="552830"/>
                </a:lnTo>
                <a:lnTo>
                  <a:pt x="1246437" y="577401"/>
                </a:lnTo>
                <a:lnTo>
                  <a:pt x="1246632" y="577214"/>
                </a:lnTo>
                <a:lnTo>
                  <a:pt x="1282512" y="577214"/>
                </a:lnTo>
                <a:lnTo>
                  <a:pt x="1289431" y="569975"/>
                </a:lnTo>
                <a:lnTo>
                  <a:pt x="1312671" y="543051"/>
                </a:lnTo>
                <a:lnTo>
                  <a:pt x="1334642" y="514857"/>
                </a:lnTo>
                <a:lnTo>
                  <a:pt x="1345852" y="499109"/>
                </a:lnTo>
                <a:close/>
              </a:path>
              <a:path w="1508759" h="813435">
                <a:moveTo>
                  <a:pt x="234461" y="575817"/>
                </a:moveTo>
                <a:lnTo>
                  <a:pt x="234314" y="575817"/>
                </a:lnTo>
                <a:lnTo>
                  <a:pt x="234823" y="576198"/>
                </a:lnTo>
                <a:lnTo>
                  <a:pt x="234461" y="575817"/>
                </a:lnTo>
                <a:close/>
              </a:path>
              <a:path w="1508759" h="813435">
                <a:moveTo>
                  <a:pt x="1270381" y="552322"/>
                </a:moveTo>
                <a:lnTo>
                  <a:pt x="1269895" y="552830"/>
                </a:lnTo>
                <a:lnTo>
                  <a:pt x="1270381" y="552322"/>
                </a:lnTo>
                <a:close/>
              </a:path>
              <a:path w="1508759" h="813435">
                <a:moveTo>
                  <a:pt x="210692" y="550798"/>
                </a:moveTo>
                <a:lnTo>
                  <a:pt x="211074" y="551306"/>
                </a:lnTo>
                <a:lnTo>
                  <a:pt x="210692" y="550798"/>
                </a:lnTo>
                <a:close/>
              </a:path>
              <a:path w="1508759" h="813435">
                <a:moveTo>
                  <a:pt x="1292860" y="526287"/>
                </a:moveTo>
                <a:lnTo>
                  <a:pt x="1292422" y="526795"/>
                </a:lnTo>
                <a:lnTo>
                  <a:pt x="1292860" y="526287"/>
                </a:lnTo>
                <a:close/>
              </a:path>
              <a:path w="1508759" h="813435">
                <a:moveTo>
                  <a:pt x="188196" y="524636"/>
                </a:moveTo>
                <a:lnTo>
                  <a:pt x="188594" y="525144"/>
                </a:lnTo>
                <a:lnTo>
                  <a:pt x="188196" y="524636"/>
                </a:lnTo>
                <a:close/>
              </a:path>
              <a:path w="1508759" h="813435">
                <a:moveTo>
                  <a:pt x="1364832" y="471042"/>
                </a:moveTo>
                <a:lnTo>
                  <a:pt x="1334008" y="471042"/>
                </a:lnTo>
                <a:lnTo>
                  <a:pt x="1313844" y="499397"/>
                </a:lnTo>
                <a:lnTo>
                  <a:pt x="1314068" y="499109"/>
                </a:lnTo>
                <a:lnTo>
                  <a:pt x="1345852" y="499109"/>
                </a:lnTo>
                <a:lnTo>
                  <a:pt x="1355343" y="485774"/>
                </a:lnTo>
                <a:lnTo>
                  <a:pt x="1364832" y="471042"/>
                </a:lnTo>
                <a:close/>
              </a:path>
              <a:path w="1508759" h="813435">
                <a:moveTo>
                  <a:pt x="167104" y="497747"/>
                </a:moveTo>
                <a:lnTo>
                  <a:pt x="167259" y="497966"/>
                </a:lnTo>
                <a:lnTo>
                  <a:pt x="167104" y="497747"/>
                </a:lnTo>
                <a:close/>
              </a:path>
              <a:path w="1508759" h="813435">
                <a:moveTo>
                  <a:pt x="166900" y="497458"/>
                </a:moveTo>
                <a:lnTo>
                  <a:pt x="167104" y="497747"/>
                </a:lnTo>
                <a:lnTo>
                  <a:pt x="166900" y="497458"/>
                </a:lnTo>
                <a:close/>
              </a:path>
              <a:path w="1508759" h="813435">
                <a:moveTo>
                  <a:pt x="1382517" y="442086"/>
                </a:moveTo>
                <a:lnTo>
                  <a:pt x="1352676" y="442086"/>
                </a:lnTo>
                <a:lnTo>
                  <a:pt x="1333626" y="471550"/>
                </a:lnTo>
                <a:lnTo>
                  <a:pt x="1334008" y="471042"/>
                </a:lnTo>
                <a:lnTo>
                  <a:pt x="1364832" y="471042"/>
                </a:lnTo>
                <a:lnTo>
                  <a:pt x="1374647" y="455802"/>
                </a:lnTo>
                <a:lnTo>
                  <a:pt x="1382517" y="442086"/>
                </a:lnTo>
                <a:close/>
              </a:path>
              <a:path w="1508759" h="813435">
                <a:moveTo>
                  <a:pt x="146938" y="469137"/>
                </a:moveTo>
                <a:lnTo>
                  <a:pt x="147319" y="469772"/>
                </a:lnTo>
                <a:lnTo>
                  <a:pt x="146938" y="469137"/>
                </a:lnTo>
                <a:close/>
              </a:path>
              <a:path w="1508759" h="813435">
                <a:moveTo>
                  <a:pt x="1413990" y="381380"/>
                </a:moveTo>
                <a:lnTo>
                  <a:pt x="1385569" y="381380"/>
                </a:lnTo>
                <a:lnTo>
                  <a:pt x="1369567" y="412749"/>
                </a:lnTo>
                <a:lnTo>
                  <a:pt x="1352295" y="442594"/>
                </a:lnTo>
                <a:lnTo>
                  <a:pt x="1352676" y="442086"/>
                </a:lnTo>
                <a:lnTo>
                  <a:pt x="1382517" y="442086"/>
                </a:lnTo>
                <a:lnTo>
                  <a:pt x="1392428" y="424814"/>
                </a:lnTo>
                <a:lnTo>
                  <a:pt x="1408684" y="392937"/>
                </a:lnTo>
                <a:lnTo>
                  <a:pt x="1413990" y="381380"/>
                </a:lnTo>
                <a:close/>
              </a:path>
              <a:path w="1508759" h="813435">
                <a:moveTo>
                  <a:pt x="128360" y="439927"/>
                </a:moveTo>
                <a:lnTo>
                  <a:pt x="128650" y="440435"/>
                </a:lnTo>
                <a:lnTo>
                  <a:pt x="128360" y="439927"/>
                </a:lnTo>
                <a:close/>
              </a:path>
              <a:path w="1508759" h="813435">
                <a:moveTo>
                  <a:pt x="1369821" y="412241"/>
                </a:moveTo>
                <a:lnTo>
                  <a:pt x="1369528" y="412749"/>
                </a:lnTo>
                <a:lnTo>
                  <a:pt x="1369821" y="412241"/>
                </a:lnTo>
                <a:close/>
              </a:path>
              <a:path w="1508759" h="813435">
                <a:moveTo>
                  <a:pt x="111120" y="409574"/>
                </a:moveTo>
                <a:lnTo>
                  <a:pt x="111378" y="410082"/>
                </a:lnTo>
                <a:lnTo>
                  <a:pt x="111120" y="409574"/>
                </a:lnTo>
                <a:close/>
              </a:path>
              <a:path w="1508759" h="813435">
                <a:moveTo>
                  <a:pt x="1427772" y="349884"/>
                </a:moveTo>
                <a:lnTo>
                  <a:pt x="1399920" y="349884"/>
                </a:lnTo>
                <a:lnTo>
                  <a:pt x="1399666" y="350519"/>
                </a:lnTo>
                <a:lnTo>
                  <a:pt x="1385359" y="381793"/>
                </a:lnTo>
                <a:lnTo>
                  <a:pt x="1385569" y="381380"/>
                </a:lnTo>
                <a:lnTo>
                  <a:pt x="1413990" y="381380"/>
                </a:lnTo>
                <a:lnTo>
                  <a:pt x="1423669" y="360298"/>
                </a:lnTo>
                <a:lnTo>
                  <a:pt x="1427772" y="349884"/>
                </a:lnTo>
                <a:close/>
              </a:path>
              <a:path w="1508759" h="813435">
                <a:moveTo>
                  <a:pt x="95250" y="378332"/>
                </a:moveTo>
                <a:lnTo>
                  <a:pt x="95503" y="378967"/>
                </a:lnTo>
                <a:lnTo>
                  <a:pt x="95250" y="378332"/>
                </a:lnTo>
                <a:close/>
              </a:path>
              <a:path w="1508759" h="813435">
                <a:moveTo>
                  <a:pt x="1399886" y="349961"/>
                </a:moveTo>
                <a:lnTo>
                  <a:pt x="1399631" y="350519"/>
                </a:lnTo>
                <a:lnTo>
                  <a:pt x="1399886" y="349961"/>
                </a:lnTo>
                <a:close/>
              </a:path>
              <a:path w="1508759" h="813435">
                <a:moveTo>
                  <a:pt x="1460211" y="250824"/>
                </a:moveTo>
                <a:lnTo>
                  <a:pt x="1433575" y="250824"/>
                </a:lnTo>
                <a:lnTo>
                  <a:pt x="1433448" y="251332"/>
                </a:lnTo>
                <a:lnTo>
                  <a:pt x="1423796" y="285114"/>
                </a:lnTo>
                <a:lnTo>
                  <a:pt x="1412493" y="318007"/>
                </a:lnTo>
                <a:lnTo>
                  <a:pt x="1399886" y="349961"/>
                </a:lnTo>
                <a:lnTo>
                  <a:pt x="1427772" y="349884"/>
                </a:lnTo>
                <a:lnTo>
                  <a:pt x="1436878" y="326770"/>
                </a:lnTo>
                <a:lnTo>
                  <a:pt x="1448562" y="292480"/>
                </a:lnTo>
                <a:lnTo>
                  <a:pt x="1458594" y="257682"/>
                </a:lnTo>
                <a:lnTo>
                  <a:pt x="1460211" y="250824"/>
                </a:lnTo>
                <a:close/>
              </a:path>
              <a:path w="1508759" h="813435">
                <a:moveTo>
                  <a:pt x="80954" y="346201"/>
                </a:moveTo>
                <a:lnTo>
                  <a:pt x="81152" y="346709"/>
                </a:lnTo>
                <a:lnTo>
                  <a:pt x="80954" y="346201"/>
                </a:lnTo>
                <a:close/>
              </a:path>
              <a:path w="1508759" h="813435">
                <a:moveTo>
                  <a:pt x="1412620" y="317499"/>
                </a:moveTo>
                <a:lnTo>
                  <a:pt x="1412421" y="318007"/>
                </a:lnTo>
                <a:lnTo>
                  <a:pt x="1412620" y="317499"/>
                </a:lnTo>
                <a:close/>
              </a:path>
              <a:path w="1508759" h="813435">
                <a:moveTo>
                  <a:pt x="68115" y="313181"/>
                </a:moveTo>
                <a:lnTo>
                  <a:pt x="68325" y="313816"/>
                </a:lnTo>
                <a:lnTo>
                  <a:pt x="68115" y="313181"/>
                </a:lnTo>
                <a:close/>
              </a:path>
              <a:path w="1508759" h="813435">
                <a:moveTo>
                  <a:pt x="1423923" y="284479"/>
                </a:moveTo>
                <a:lnTo>
                  <a:pt x="1423707" y="285114"/>
                </a:lnTo>
                <a:lnTo>
                  <a:pt x="1423923" y="284479"/>
                </a:lnTo>
                <a:close/>
              </a:path>
              <a:path w="1508759" h="813435">
                <a:moveTo>
                  <a:pt x="56973" y="279272"/>
                </a:moveTo>
                <a:lnTo>
                  <a:pt x="57150" y="279907"/>
                </a:lnTo>
                <a:lnTo>
                  <a:pt x="56973" y="279272"/>
                </a:lnTo>
                <a:close/>
              </a:path>
              <a:path w="1508759" h="813435">
                <a:moveTo>
                  <a:pt x="1433537" y="250960"/>
                </a:moveTo>
                <a:lnTo>
                  <a:pt x="1433431" y="251332"/>
                </a:lnTo>
                <a:lnTo>
                  <a:pt x="1433537" y="250960"/>
                </a:lnTo>
                <a:close/>
              </a:path>
              <a:path w="1508759" h="813435">
                <a:moveTo>
                  <a:pt x="1468000" y="216534"/>
                </a:moveTo>
                <a:lnTo>
                  <a:pt x="1441704" y="216534"/>
                </a:lnTo>
                <a:lnTo>
                  <a:pt x="1441576" y="217169"/>
                </a:lnTo>
                <a:lnTo>
                  <a:pt x="1433537" y="250960"/>
                </a:lnTo>
                <a:lnTo>
                  <a:pt x="1433575" y="250824"/>
                </a:lnTo>
                <a:lnTo>
                  <a:pt x="1460211" y="250824"/>
                </a:lnTo>
                <a:lnTo>
                  <a:pt x="1466976" y="222122"/>
                </a:lnTo>
                <a:lnTo>
                  <a:pt x="1468000" y="216534"/>
                </a:lnTo>
                <a:close/>
              </a:path>
              <a:path w="1508759" h="813435">
                <a:moveTo>
                  <a:pt x="47370" y="244728"/>
                </a:moveTo>
                <a:lnTo>
                  <a:pt x="47498" y="245363"/>
                </a:lnTo>
                <a:lnTo>
                  <a:pt x="47370" y="244728"/>
                </a:lnTo>
                <a:close/>
              </a:path>
              <a:path w="1508759" h="813435">
                <a:moveTo>
                  <a:pt x="1441656" y="216735"/>
                </a:moveTo>
                <a:lnTo>
                  <a:pt x="1441553" y="217169"/>
                </a:lnTo>
                <a:lnTo>
                  <a:pt x="1441656" y="216735"/>
                </a:lnTo>
                <a:close/>
              </a:path>
              <a:path w="1508759" h="813435">
                <a:moveTo>
                  <a:pt x="1474150" y="181736"/>
                </a:moveTo>
                <a:lnTo>
                  <a:pt x="1448054" y="181736"/>
                </a:lnTo>
                <a:lnTo>
                  <a:pt x="1441656" y="216735"/>
                </a:lnTo>
                <a:lnTo>
                  <a:pt x="1441704" y="216534"/>
                </a:lnTo>
                <a:lnTo>
                  <a:pt x="1468000" y="216534"/>
                </a:lnTo>
                <a:lnTo>
                  <a:pt x="1473581" y="186054"/>
                </a:lnTo>
                <a:lnTo>
                  <a:pt x="1474150" y="181736"/>
                </a:lnTo>
                <a:close/>
              </a:path>
              <a:path w="1508759" h="813435">
                <a:moveTo>
                  <a:pt x="39573" y="209768"/>
                </a:moveTo>
                <a:lnTo>
                  <a:pt x="39624" y="210057"/>
                </a:lnTo>
                <a:lnTo>
                  <a:pt x="39573" y="209768"/>
                </a:lnTo>
                <a:close/>
              </a:path>
              <a:path w="1508759" h="813435">
                <a:moveTo>
                  <a:pt x="39514" y="209422"/>
                </a:moveTo>
                <a:lnTo>
                  <a:pt x="39573" y="209768"/>
                </a:lnTo>
                <a:lnTo>
                  <a:pt x="39514" y="209422"/>
                </a:lnTo>
                <a:close/>
              </a:path>
              <a:path w="1508759" h="813435">
                <a:moveTo>
                  <a:pt x="1478667" y="146303"/>
                </a:moveTo>
                <a:lnTo>
                  <a:pt x="1452753" y="146303"/>
                </a:lnTo>
                <a:lnTo>
                  <a:pt x="1447926" y="182371"/>
                </a:lnTo>
                <a:lnTo>
                  <a:pt x="1448054" y="181736"/>
                </a:lnTo>
                <a:lnTo>
                  <a:pt x="1474150" y="181736"/>
                </a:lnTo>
                <a:lnTo>
                  <a:pt x="1478407" y="149478"/>
                </a:lnTo>
                <a:lnTo>
                  <a:pt x="1478667" y="146303"/>
                </a:lnTo>
                <a:close/>
              </a:path>
              <a:path w="1508759" h="813435">
                <a:moveTo>
                  <a:pt x="33325" y="173354"/>
                </a:moveTo>
                <a:lnTo>
                  <a:pt x="33400" y="173989"/>
                </a:lnTo>
                <a:lnTo>
                  <a:pt x="33325" y="173354"/>
                </a:lnTo>
                <a:close/>
              </a:path>
              <a:path w="1508759" h="813435">
                <a:moveTo>
                  <a:pt x="1481925" y="77158"/>
                </a:moveTo>
                <a:lnTo>
                  <a:pt x="1455996" y="78217"/>
                </a:lnTo>
                <a:lnTo>
                  <a:pt x="1455546" y="111505"/>
                </a:lnTo>
                <a:lnTo>
                  <a:pt x="1452625" y="146938"/>
                </a:lnTo>
                <a:lnTo>
                  <a:pt x="1452753" y="146303"/>
                </a:lnTo>
                <a:lnTo>
                  <a:pt x="1478667" y="146303"/>
                </a:lnTo>
                <a:lnTo>
                  <a:pt x="1481455" y="112267"/>
                </a:lnTo>
                <a:lnTo>
                  <a:pt x="1481925" y="77158"/>
                </a:lnTo>
                <a:close/>
              </a:path>
              <a:path w="1508759" h="813435">
                <a:moveTo>
                  <a:pt x="28955" y="136651"/>
                </a:moveTo>
                <a:lnTo>
                  <a:pt x="28955" y="137286"/>
                </a:lnTo>
                <a:lnTo>
                  <a:pt x="28955" y="136651"/>
                </a:lnTo>
                <a:close/>
              </a:path>
              <a:path w="1508759" h="813435">
                <a:moveTo>
                  <a:pt x="1455546" y="110616"/>
                </a:moveTo>
                <a:lnTo>
                  <a:pt x="1455475" y="111505"/>
                </a:lnTo>
                <a:lnTo>
                  <a:pt x="1455546" y="110616"/>
                </a:lnTo>
                <a:close/>
              </a:path>
              <a:path w="1508759" h="813435">
                <a:moveTo>
                  <a:pt x="26903" y="108838"/>
                </a:moveTo>
                <a:lnTo>
                  <a:pt x="26924" y="109346"/>
                </a:lnTo>
                <a:lnTo>
                  <a:pt x="26903" y="108838"/>
                </a:lnTo>
                <a:close/>
              </a:path>
              <a:path w="1508759" h="813435">
                <a:moveTo>
                  <a:pt x="1466341" y="0"/>
                </a:moveTo>
                <a:lnTo>
                  <a:pt x="1430782" y="79247"/>
                </a:lnTo>
                <a:lnTo>
                  <a:pt x="1455996" y="78217"/>
                </a:lnTo>
                <a:lnTo>
                  <a:pt x="1456182" y="64515"/>
                </a:lnTo>
                <a:lnTo>
                  <a:pt x="1502100" y="64515"/>
                </a:lnTo>
                <a:lnTo>
                  <a:pt x="1466341" y="0"/>
                </a:lnTo>
                <a:close/>
              </a:path>
              <a:path w="1508759" h="813435">
                <a:moveTo>
                  <a:pt x="1456182" y="64515"/>
                </a:moveTo>
                <a:lnTo>
                  <a:pt x="1455996" y="78217"/>
                </a:lnTo>
                <a:lnTo>
                  <a:pt x="1481925" y="77158"/>
                </a:lnTo>
                <a:lnTo>
                  <a:pt x="1482089" y="64896"/>
                </a:lnTo>
                <a:lnTo>
                  <a:pt x="1456182" y="64515"/>
                </a:lnTo>
                <a:close/>
              </a:path>
              <a:path w="1508759" h="813435">
                <a:moveTo>
                  <a:pt x="1502100" y="64515"/>
                </a:moveTo>
                <a:lnTo>
                  <a:pt x="1456182" y="64515"/>
                </a:lnTo>
                <a:lnTo>
                  <a:pt x="1482089" y="64896"/>
                </a:lnTo>
                <a:lnTo>
                  <a:pt x="1481925" y="77158"/>
                </a:lnTo>
                <a:lnTo>
                  <a:pt x="1508506" y="76072"/>
                </a:lnTo>
                <a:lnTo>
                  <a:pt x="1502100" y="64515"/>
                </a:lnTo>
                <a:close/>
              </a:path>
            </a:pathLst>
          </a:custGeom>
          <a:solidFill>
            <a:srgbClr val="12ABDB"/>
          </a:solidFill>
        </p:spPr>
        <p:txBody>
          <a:bodyPr wrap="square" lIns="0" tIns="0" rIns="0" bIns="0" rtlCol="0"/>
          <a:lstStyle/>
          <a:p>
            <a:endParaRPr/>
          </a:p>
        </p:txBody>
      </p:sp>
      <p:sp>
        <p:nvSpPr>
          <p:cNvPr id="39" name="object 39"/>
          <p:cNvSpPr/>
          <p:nvPr/>
        </p:nvSpPr>
        <p:spPr>
          <a:xfrm>
            <a:off x="6972554" y="2560320"/>
            <a:ext cx="1507490" cy="812800"/>
          </a:xfrm>
          <a:custGeom>
            <a:avLst/>
            <a:gdLst/>
            <a:ahLst/>
            <a:cxnLst/>
            <a:rect l="l" t="t" r="r" b="b"/>
            <a:pathLst>
              <a:path w="1507490" h="812800">
                <a:moveTo>
                  <a:pt x="1429257" y="733551"/>
                </a:moveTo>
                <a:lnTo>
                  <a:pt x="1464818" y="812800"/>
                </a:lnTo>
                <a:lnTo>
                  <a:pt x="1500576" y="748283"/>
                </a:lnTo>
                <a:lnTo>
                  <a:pt x="1454657" y="748283"/>
                </a:lnTo>
                <a:lnTo>
                  <a:pt x="1454472" y="734581"/>
                </a:lnTo>
                <a:lnTo>
                  <a:pt x="1429257" y="733551"/>
                </a:lnTo>
                <a:close/>
              </a:path>
              <a:path w="1507490" h="812800">
                <a:moveTo>
                  <a:pt x="1454472" y="734581"/>
                </a:moveTo>
                <a:lnTo>
                  <a:pt x="1454657" y="748283"/>
                </a:lnTo>
                <a:lnTo>
                  <a:pt x="1480566" y="747902"/>
                </a:lnTo>
                <a:lnTo>
                  <a:pt x="1480401" y="735641"/>
                </a:lnTo>
                <a:lnTo>
                  <a:pt x="1454472" y="734581"/>
                </a:lnTo>
                <a:close/>
              </a:path>
              <a:path w="1507490" h="812800">
                <a:moveTo>
                  <a:pt x="1480401" y="735641"/>
                </a:moveTo>
                <a:lnTo>
                  <a:pt x="1480566" y="747902"/>
                </a:lnTo>
                <a:lnTo>
                  <a:pt x="1454657" y="748283"/>
                </a:lnTo>
                <a:lnTo>
                  <a:pt x="1500576" y="748283"/>
                </a:lnTo>
                <a:lnTo>
                  <a:pt x="1506981" y="736726"/>
                </a:lnTo>
                <a:lnTo>
                  <a:pt x="1480401" y="735641"/>
                </a:lnTo>
                <a:close/>
              </a:path>
              <a:path w="1507490" h="812800">
                <a:moveTo>
                  <a:pt x="1479941" y="701420"/>
                </a:moveTo>
                <a:lnTo>
                  <a:pt x="1454023" y="701420"/>
                </a:lnTo>
                <a:lnTo>
                  <a:pt x="1454472" y="734581"/>
                </a:lnTo>
                <a:lnTo>
                  <a:pt x="1480401" y="735641"/>
                </a:lnTo>
                <a:lnTo>
                  <a:pt x="1479941" y="701420"/>
                </a:lnTo>
                <a:close/>
              </a:path>
              <a:path w="1507490" h="812800">
                <a:moveTo>
                  <a:pt x="734695" y="0"/>
                </a:moveTo>
                <a:lnTo>
                  <a:pt x="660400" y="4317"/>
                </a:lnTo>
                <a:lnTo>
                  <a:pt x="588010" y="15747"/>
                </a:lnTo>
                <a:lnTo>
                  <a:pt x="517905" y="34162"/>
                </a:lnTo>
                <a:lnTo>
                  <a:pt x="450469" y="59308"/>
                </a:lnTo>
                <a:lnTo>
                  <a:pt x="386079" y="90550"/>
                </a:lnTo>
                <a:lnTo>
                  <a:pt x="325374" y="127762"/>
                </a:lnTo>
                <a:lnTo>
                  <a:pt x="268477" y="170560"/>
                </a:lnTo>
                <a:lnTo>
                  <a:pt x="215900" y="218566"/>
                </a:lnTo>
                <a:lnTo>
                  <a:pt x="168148" y="271652"/>
                </a:lnTo>
                <a:lnTo>
                  <a:pt x="125349" y="329056"/>
                </a:lnTo>
                <a:lnTo>
                  <a:pt x="88265" y="390905"/>
                </a:lnTo>
                <a:lnTo>
                  <a:pt x="57023" y="456438"/>
                </a:lnTo>
                <a:lnTo>
                  <a:pt x="32257" y="525779"/>
                </a:lnTo>
                <a:lnTo>
                  <a:pt x="14097" y="598296"/>
                </a:lnTo>
                <a:lnTo>
                  <a:pt x="3175" y="673480"/>
                </a:lnTo>
                <a:lnTo>
                  <a:pt x="0" y="730884"/>
                </a:lnTo>
                <a:lnTo>
                  <a:pt x="25780" y="731901"/>
                </a:lnTo>
                <a:lnTo>
                  <a:pt x="26908" y="703960"/>
                </a:lnTo>
                <a:lnTo>
                  <a:pt x="28917" y="676275"/>
                </a:lnTo>
                <a:lnTo>
                  <a:pt x="29016" y="675766"/>
                </a:lnTo>
                <a:lnTo>
                  <a:pt x="33325" y="639571"/>
                </a:lnTo>
                <a:lnTo>
                  <a:pt x="39514" y="603503"/>
                </a:lnTo>
                <a:lnTo>
                  <a:pt x="39624" y="602868"/>
                </a:lnTo>
                <a:lnTo>
                  <a:pt x="47356" y="568197"/>
                </a:lnTo>
                <a:lnTo>
                  <a:pt x="57023" y="533018"/>
                </a:lnTo>
                <a:lnTo>
                  <a:pt x="68199" y="499109"/>
                </a:lnTo>
                <a:lnTo>
                  <a:pt x="80829" y="466725"/>
                </a:lnTo>
                <a:lnTo>
                  <a:pt x="95376" y="434085"/>
                </a:lnTo>
                <a:lnTo>
                  <a:pt x="110994" y="403351"/>
                </a:lnTo>
                <a:lnTo>
                  <a:pt x="128397" y="372490"/>
                </a:lnTo>
                <a:lnTo>
                  <a:pt x="128545" y="372490"/>
                </a:lnTo>
                <a:lnTo>
                  <a:pt x="146743" y="343788"/>
                </a:lnTo>
                <a:lnTo>
                  <a:pt x="166860" y="315467"/>
                </a:lnTo>
                <a:lnTo>
                  <a:pt x="188341" y="287781"/>
                </a:lnTo>
                <a:lnTo>
                  <a:pt x="210820" y="261619"/>
                </a:lnTo>
                <a:lnTo>
                  <a:pt x="234088" y="237108"/>
                </a:lnTo>
                <a:lnTo>
                  <a:pt x="234569" y="236600"/>
                </a:lnTo>
                <a:lnTo>
                  <a:pt x="259334" y="212851"/>
                </a:lnTo>
                <a:lnTo>
                  <a:pt x="284804" y="190753"/>
                </a:lnTo>
                <a:lnTo>
                  <a:pt x="311684" y="169417"/>
                </a:lnTo>
                <a:lnTo>
                  <a:pt x="312166" y="169037"/>
                </a:lnTo>
                <a:lnTo>
                  <a:pt x="339700" y="149351"/>
                </a:lnTo>
                <a:lnTo>
                  <a:pt x="368666" y="130682"/>
                </a:lnTo>
                <a:lnTo>
                  <a:pt x="398467" y="113410"/>
                </a:lnTo>
                <a:lnTo>
                  <a:pt x="398272" y="113410"/>
                </a:lnTo>
                <a:lnTo>
                  <a:pt x="429514" y="97281"/>
                </a:lnTo>
                <a:lnTo>
                  <a:pt x="429713" y="97281"/>
                </a:lnTo>
                <a:lnTo>
                  <a:pt x="460882" y="83057"/>
                </a:lnTo>
                <a:lnTo>
                  <a:pt x="492510" y="70357"/>
                </a:lnTo>
                <a:lnTo>
                  <a:pt x="493141" y="70103"/>
                </a:lnTo>
                <a:lnTo>
                  <a:pt x="526034" y="58800"/>
                </a:lnTo>
                <a:lnTo>
                  <a:pt x="526274" y="58800"/>
                </a:lnTo>
                <a:lnTo>
                  <a:pt x="559124" y="49275"/>
                </a:lnTo>
                <a:lnTo>
                  <a:pt x="558926" y="49275"/>
                </a:lnTo>
                <a:lnTo>
                  <a:pt x="593598" y="41147"/>
                </a:lnTo>
                <a:lnTo>
                  <a:pt x="593766" y="41147"/>
                </a:lnTo>
                <a:lnTo>
                  <a:pt x="628269" y="34670"/>
                </a:lnTo>
                <a:lnTo>
                  <a:pt x="628576" y="34670"/>
                </a:lnTo>
                <a:lnTo>
                  <a:pt x="663448" y="29971"/>
                </a:lnTo>
                <a:lnTo>
                  <a:pt x="664326" y="29971"/>
                </a:lnTo>
                <a:lnTo>
                  <a:pt x="699135" y="27050"/>
                </a:lnTo>
                <a:lnTo>
                  <a:pt x="702170" y="27050"/>
                </a:lnTo>
                <a:lnTo>
                  <a:pt x="734965" y="25916"/>
                </a:lnTo>
                <a:lnTo>
                  <a:pt x="734568" y="25907"/>
                </a:lnTo>
                <a:lnTo>
                  <a:pt x="933788" y="25907"/>
                </a:lnTo>
                <a:lnTo>
                  <a:pt x="885444" y="14350"/>
                </a:lnTo>
                <a:lnTo>
                  <a:pt x="810387" y="3428"/>
                </a:lnTo>
                <a:lnTo>
                  <a:pt x="772414" y="762"/>
                </a:lnTo>
                <a:lnTo>
                  <a:pt x="734695" y="0"/>
                </a:lnTo>
                <a:close/>
              </a:path>
              <a:path w="1507490" h="812800">
                <a:moveTo>
                  <a:pt x="26924" y="703579"/>
                </a:moveTo>
                <a:lnTo>
                  <a:pt x="26797" y="703960"/>
                </a:lnTo>
                <a:lnTo>
                  <a:pt x="26924" y="703579"/>
                </a:lnTo>
                <a:close/>
              </a:path>
              <a:path w="1507490" h="812800">
                <a:moveTo>
                  <a:pt x="1466359" y="595629"/>
                </a:moveTo>
                <a:lnTo>
                  <a:pt x="1440052" y="595629"/>
                </a:lnTo>
                <a:lnTo>
                  <a:pt x="1440179" y="596264"/>
                </a:lnTo>
                <a:lnTo>
                  <a:pt x="1446529" y="631063"/>
                </a:lnTo>
                <a:lnTo>
                  <a:pt x="1451228" y="666495"/>
                </a:lnTo>
                <a:lnTo>
                  <a:pt x="1454023" y="702309"/>
                </a:lnTo>
                <a:lnTo>
                  <a:pt x="1454023" y="701420"/>
                </a:lnTo>
                <a:lnTo>
                  <a:pt x="1479941" y="701420"/>
                </a:lnTo>
                <a:lnTo>
                  <a:pt x="1479930" y="700658"/>
                </a:lnTo>
                <a:lnTo>
                  <a:pt x="1476882" y="663320"/>
                </a:lnTo>
                <a:lnTo>
                  <a:pt x="1472056" y="626744"/>
                </a:lnTo>
                <a:lnTo>
                  <a:pt x="1466359" y="595629"/>
                </a:lnTo>
                <a:close/>
              </a:path>
              <a:path w="1507490" h="812800">
                <a:moveTo>
                  <a:pt x="29016" y="675766"/>
                </a:moveTo>
                <a:lnTo>
                  <a:pt x="28955" y="676275"/>
                </a:lnTo>
                <a:lnTo>
                  <a:pt x="29016" y="675766"/>
                </a:lnTo>
                <a:close/>
              </a:path>
              <a:path w="1507490" h="812800">
                <a:moveTo>
                  <a:pt x="1451102" y="665733"/>
                </a:moveTo>
                <a:lnTo>
                  <a:pt x="1451162" y="666495"/>
                </a:lnTo>
                <a:lnTo>
                  <a:pt x="1451102" y="665733"/>
                </a:lnTo>
                <a:close/>
              </a:path>
              <a:path w="1507490" h="812800">
                <a:moveTo>
                  <a:pt x="33400" y="638937"/>
                </a:moveTo>
                <a:lnTo>
                  <a:pt x="33274" y="639571"/>
                </a:lnTo>
                <a:lnTo>
                  <a:pt x="33400" y="638937"/>
                </a:lnTo>
                <a:close/>
              </a:path>
              <a:path w="1507490" h="812800">
                <a:moveTo>
                  <a:pt x="1446402" y="630427"/>
                </a:moveTo>
                <a:lnTo>
                  <a:pt x="1446487" y="631063"/>
                </a:lnTo>
                <a:lnTo>
                  <a:pt x="1446402" y="630427"/>
                </a:lnTo>
                <a:close/>
              </a:path>
              <a:path w="1507490" h="812800">
                <a:moveTo>
                  <a:pt x="39573" y="603158"/>
                </a:moveTo>
                <a:lnTo>
                  <a:pt x="39497" y="603503"/>
                </a:lnTo>
                <a:lnTo>
                  <a:pt x="39573" y="603158"/>
                </a:lnTo>
                <a:close/>
              </a:path>
              <a:path w="1507490" h="812800">
                <a:moveTo>
                  <a:pt x="39638" y="602868"/>
                </a:moveTo>
                <a:lnTo>
                  <a:pt x="39573" y="603158"/>
                </a:lnTo>
                <a:lnTo>
                  <a:pt x="39638" y="602868"/>
                </a:lnTo>
                <a:close/>
              </a:path>
              <a:path w="1507490" h="812800">
                <a:moveTo>
                  <a:pt x="1440132" y="596064"/>
                </a:moveTo>
                <a:lnTo>
                  <a:pt x="1440169" y="596264"/>
                </a:lnTo>
                <a:lnTo>
                  <a:pt x="1440132" y="596064"/>
                </a:lnTo>
                <a:close/>
              </a:path>
              <a:path w="1507490" h="812800">
                <a:moveTo>
                  <a:pt x="1449198" y="527812"/>
                </a:moveTo>
                <a:lnTo>
                  <a:pt x="1422273" y="527812"/>
                </a:lnTo>
                <a:lnTo>
                  <a:pt x="1432178" y="562101"/>
                </a:lnTo>
                <a:lnTo>
                  <a:pt x="1440132" y="596064"/>
                </a:lnTo>
                <a:lnTo>
                  <a:pt x="1440052" y="595629"/>
                </a:lnTo>
                <a:lnTo>
                  <a:pt x="1466359" y="595629"/>
                </a:lnTo>
                <a:lnTo>
                  <a:pt x="1465452" y="590676"/>
                </a:lnTo>
                <a:lnTo>
                  <a:pt x="1457071" y="555116"/>
                </a:lnTo>
                <a:lnTo>
                  <a:pt x="1449198" y="527812"/>
                </a:lnTo>
                <a:close/>
              </a:path>
              <a:path w="1507490" h="812800">
                <a:moveTo>
                  <a:pt x="47498" y="567563"/>
                </a:moveTo>
                <a:lnTo>
                  <a:pt x="47244" y="568197"/>
                </a:lnTo>
                <a:lnTo>
                  <a:pt x="47498" y="567563"/>
                </a:lnTo>
                <a:close/>
              </a:path>
              <a:path w="1507490" h="812800">
                <a:moveTo>
                  <a:pt x="1431925" y="561466"/>
                </a:moveTo>
                <a:lnTo>
                  <a:pt x="1432075" y="562101"/>
                </a:lnTo>
                <a:lnTo>
                  <a:pt x="1431925" y="561466"/>
                </a:lnTo>
                <a:close/>
              </a:path>
              <a:path w="1507490" h="812800">
                <a:moveTo>
                  <a:pt x="57103" y="533018"/>
                </a:moveTo>
                <a:lnTo>
                  <a:pt x="56896" y="533653"/>
                </a:lnTo>
                <a:lnTo>
                  <a:pt x="57103" y="533018"/>
                </a:lnTo>
                <a:close/>
              </a:path>
              <a:path w="1507490" h="812800">
                <a:moveTo>
                  <a:pt x="1426012" y="462406"/>
                </a:moveTo>
                <a:lnTo>
                  <a:pt x="1398143" y="462406"/>
                </a:lnTo>
                <a:lnTo>
                  <a:pt x="1398397" y="463041"/>
                </a:lnTo>
                <a:lnTo>
                  <a:pt x="1411224" y="495300"/>
                </a:lnTo>
                <a:lnTo>
                  <a:pt x="1422400" y="528319"/>
                </a:lnTo>
                <a:lnTo>
                  <a:pt x="1422273" y="527812"/>
                </a:lnTo>
                <a:lnTo>
                  <a:pt x="1449198" y="527812"/>
                </a:lnTo>
                <a:lnTo>
                  <a:pt x="1447038" y="520318"/>
                </a:lnTo>
                <a:lnTo>
                  <a:pt x="1435353" y="486028"/>
                </a:lnTo>
                <a:lnTo>
                  <a:pt x="1426012" y="462406"/>
                </a:lnTo>
                <a:close/>
              </a:path>
              <a:path w="1507490" h="812800">
                <a:moveTo>
                  <a:pt x="68317" y="499109"/>
                </a:moveTo>
                <a:lnTo>
                  <a:pt x="68072" y="499744"/>
                </a:lnTo>
                <a:lnTo>
                  <a:pt x="68317" y="499109"/>
                </a:lnTo>
                <a:close/>
              </a:path>
              <a:path w="1507490" h="812800">
                <a:moveTo>
                  <a:pt x="1410970" y="494664"/>
                </a:moveTo>
                <a:lnTo>
                  <a:pt x="1411185" y="495300"/>
                </a:lnTo>
                <a:lnTo>
                  <a:pt x="1410970" y="494664"/>
                </a:lnTo>
                <a:close/>
              </a:path>
              <a:path w="1507490" h="812800">
                <a:moveTo>
                  <a:pt x="81025" y="466216"/>
                </a:moveTo>
                <a:lnTo>
                  <a:pt x="80772" y="466725"/>
                </a:lnTo>
                <a:lnTo>
                  <a:pt x="81025" y="466216"/>
                </a:lnTo>
                <a:close/>
              </a:path>
              <a:path w="1507490" h="812800">
                <a:moveTo>
                  <a:pt x="1398385" y="463016"/>
                </a:moveTo>
                <a:close/>
              </a:path>
              <a:path w="1507490" h="812800">
                <a:moveTo>
                  <a:pt x="1412259" y="430910"/>
                </a:moveTo>
                <a:lnTo>
                  <a:pt x="1383792" y="430910"/>
                </a:lnTo>
                <a:lnTo>
                  <a:pt x="1384046" y="431418"/>
                </a:lnTo>
                <a:lnTo>
                  <a:pt x="1398385" y="463016"/>
                </a:lnTo>
                <a:lnTo>
                  <a:pt x="1398143" y="462406"/>
                </a:lnTo>
                <a:lnTo>
                  <a:pt x="1426012" y="462406"/>
                </a:lnTo>
                <a:lnTo>
                  <a:pt x="1422146" y="452627"/>
                </a:lnTo>
                <a:lnTo>
                  <a:pt x="1412259" y="430910"/>
                </a:lnTo>
                <a:close/>
              </a:path>
              <a:path w="1507490" h="812800">
                <a:moveTo>
                  <a:pt x="95444" y="434085"/>
                </a:moveTo>
                <a:lnTo>
                  <a:pt x="95123" y="434720"/>
                </a:lnTo>
                <a:lnTo>
                  <a:pt x="95444" y="434085"/>
                </a:lnTo>
                <a:close/>
              </a:path>
              <a:path w="1507490" h="812800">
                <a:moveTo>
                  <a:pt x="1383840" y="431018"/>
                </a:moveTo>
                <a:lnTo>
                  <a:pt x="1384022" y="431418"/>
                </a:lnTo>
                <a:lnTo>
                  <a:pt x="1383840" y="431018"/>
                </a:lnTo>
                <a:close/>
              </a:path>
              <a:path w="1507490" h="812800">
                <a:moveTo>
                  <a:pt x="1380725" y="370204"/>
                </a:moveTo>
                <a:lnTo>
                  <a:pt x="1350899" y="370204"/>
                </a:lnTo>
                <a:lnTo>
                  <a:pt x="1368425" y="400684"/>
                </a:lnTo>
                <a:lnTo>
                  <a:pt x="1383840" y="431018"/>
                </a:lnTo>
                <a:lnTo>
                  <a:pt x="1412259" y="430910"/>
                </a:lnTo>
                <a:lnTo>
                  <a:pt x="1407287" y="419988"/>
                </a:lnTo>
                <a:lnTo>
                  <a:pt x="1391030" y="388112"/>
                </a:lnTo>
                <a:lnTo>
                  <a:pt x="1380725" y="370204"/>
                </a:lnTo>
                <a:close/>
              </a:path>
              <a:path w="1507490" h="812800">
                <a:moveTo>
                  <a:pt x="111251" y="402843"/>
                </a:moveTo>
                <a:lnTo>
                  <a:pt x="110871" y="403351"/>
                </a:lnTo>
                <a:lnTo>
                  <a:pt x="111251" y="402843"/>
                </a:lnTo>
                <a:close/>
              </a:path>
              <a:path w="1507490" h="812800">
                <a:moveTo>
                  <a:pt x="1368044" y="400176"/>
                </a:moveTo>
                <a:lnTo>
                  <a:pt x="1368304" y="400684"/>
                </a:lnTo>
                <a:lnTo>
                  <a:pt x="1368044" y="400176"/>
                </a:lnTo>
                <a:close/>
              </a:path>
              <a:path w="1507490" h="812800">
                <a:moveTo>
                  <a:pt x="128545" y="372490"/>
                </a:moveTo>
                <a:lnTo>
                  <a:pt x="128397" y="372490"/>
                </a:lnTo>
                <a:lnTo>
                  <a:pt x="128143" y="373125"/>
                </a:lnTo>
                <a:lnTo>
                  <a:pt x="128545" y="372490"/>
                </a:lnTo>
                <a:close/>
              </a:path>
              <a:path w="1507490" h="812800">
                <a:moveTo>
                  <a:pt x="1344093" y="313181"/>
                </a:moveTo>
                <a:lnTo>
                  <a:pt x="1312291" y="313181"/>
                </a:lnTo>
                <a:lnTo>
                  <a:pt x="1312672" y="313689"/>
                </a:lnTo>
                <a:lnTo>
                  <a:pt x="1332611" y="341756"/>
                </a:lnTo>
                <a:lnTo>
                  <a:pt x="1351152" y="370713"/>
                </a:lnTo>
                <a:lnTo>
                  <a:pt x="1350899" y="370204"/>
                </a:lnTo>
                <a:lnTo>
                  <a:pt x="1380725" y="370204"/>
                </a:lnTo>
                <a:lnTo>
                  <a:pt x="1373124" y="356996"/>
                </a:lnTo>
                <a:lnTo>
                  <a:pt x="1353947" y="327025"/>
                </a:lnTo>
                <a:lnTo>
                  <a:pt x="1344093" y="313181"/>
                </a:lnTo>
                <a:close/>
              </a:path>
              <a:path w="1507490" h="812800">
                <a:moveTo>
                  <a:pt x="147066" y="343280"/>
                </a:moveTo>
                <a:lnTo>
                  <a:pt x="146685" y="343788"/>
                </a:lnTo>
                <a:lnTo>
                  <a:pt x="147066" y="343280"/>
                </a:lnTo>
                <a:close/>
              </a:path>
              <a:path w="1507490" h="812800">
                <a:moveTo>
                  <a:pt x="1332229" y="341249"/>
                </a:moveTo>
                <a:lnTo>
                  <a:pt x="1332556" y="341756"/>
                </a:lnTo>
                <a:lnTo>
                  <a:pt x="1332229" y="341249"/>
                </a:lnTo>
                <a:close/>
              </a:path>
              <a:path w="1507490" h="812800">
                <a:moveTo>
                  <a:pt x="167131" y="315087"/>
                </a:moveTo>
                <a:lnTo>
                  <a:pt x="166750" y="315467"/>
                </a:lnTo>
                <a:lnTo>
                  <a:pt x="167131" y="315087"/>
                </a:lnTo>
                <a:close/>
              </a:path>
              <a:path w="1507490" h="812800">
                <a:moveTo>
                  <a:pt x="1312457" y="313416"/>
                </a:moveTo>
                <a:lnTo>
                  <a:pt x="1312652" y="313689"/>
                </a:lnTo>
                <a:lnTo>
                  <a:pt x="1312457" y="313416"/>
                </a:lnTo>
                <a:close/>
              </a:path>
              <a:path w="1507490" h="812800">
                <a:moveTo>
                  <a:pt x="1302914" y="260095"/>
                </a:moveTo>
                <a:lnTo>
                  <a:pt x="1268602" y="260095"/>
                </a:lnTo>
                <a:lnTo>
                  <a:pt x="1291590" y="286638"/>
                </a:lnTo>
                <a:lnTo>
                  <a:pt x="1312457" y="313416"/>
                </a:lnTo>
                <a:lnTo>
                  <a:pt x="1312291" y="313181"/>
                </a:lnTo>
                <a:lnTo>
                  <a:pt x="1344093" y="313181"/>
                </a:lnTo>
                <a:lnTo>
                  <a:pt x="1333246" y="297941"/>
                </a:lnTo>
                <a:lnTo>
                  <a:pt x="1311402" y="269875"/>
                </a:lnTo>
                <a:lnTo>
                  <a:pt x="1302914" y="260095"/>
                </a:lnTo>
                <a:close/>
              </a:path>
              <a:path w="1507490" h="812800">
                <a:moveTo>
                  <a:pt x="188395" y="287781"/>
                </a:moveTo>
                <a:lnTo>
                  <a:pt x="187960" y="288289"/>
                </a:lnTo>
                <a:lnTo>
                  <a:pt x="188395" y="287781"/>
                </a:lnTo>
                <a:close/>
              </a:path>
              <a:path w="1507490" h="812800">
                <a:moveTo>
                  <a:pt x="1291081" y="286130"/>
                </a:moveTo>
                <a:lnTo>
                  <a:pt x="1291479" y="286638"/>
                </a:lnTo>
                <a:lnTo>
                  <a:pt x="1291081" y="286130"/>
                </a:lnTo>
                <a:close/>
              </a:path>
              <a:path w="1507490" h="812800">
                <a:moveTo>
                  <a:pt x="210919" y="261619"/>
                </a:moveTo>
                <a:lnTo>
                  <a:pt x="210439" y="262127"/>
                </a:lnTo>
                <a:lnTo>
                  <a:pt x="210919" y="261619"/>
                </a:lnTo>
                <a:close/>
              </a:path>
              <a:path w="1507490" h="812800">
                <a:moveTo>
                  <a:pt x="1280630" y="235203"/>
                </a:moveTo>
                <a:lnTo>
                  <a:pt x="1244853" y="235203"/>
                </a:lnTo>
                <a:lnTo>
                  <a:pt x="1245362" y="235712"/>
                </a:lnTo>
                <a:lnTo>
                  <a:pt x="1268984" y="260603"/>
                </a:lnTo>
                <a:lnTo>
                  <a:pt x="1268602" y="260095"/>
                </a:lnTo>
                <a:lnTo>
                  <a:pt x="1302914" y="260095"/>
                </a:lnTo>
                <a:lnTo>
                  <a:pt x="1288034" y="242950"/>
                </a:lnTo>
                <a:lnTo>
                  <a:pt x="1280630" y="235203"/>
                </a:lnTo>
                <a:close/>
              </a:path>
              <a:path w="1507490" h="812800">
                <a:moveTo>
                  <a:pt x="234360" y="236821"/>
                </a:moveTo>
                <a:lnTo>
                  <a:pt x="234061" y="237108"/>
                </a:lnTo>
                <a:lnTo>
                  <a:pt x="234360" y="236821"/>
                </a:lnTo>
                <a:close/>
              </a:path>
              <a:path w="1507490" h="812800">
                <a:moveTo>
                  <a:pt x="234590" y="236600"/>
                </a:moveTo>
                <a:lnTo>
                  <a:pt x="234360" y="236821"/>
                </a:lnTo>
                <a:lnTo>
                  <a:pt x="234590" y="236600"/>
                </a:lnTo>
                <a:close/>
              </a:path>
              <a:path w="1507490" h="812800">
                <a:moveTo>
                  <a:pt x="1245088" y="235450"/>
                </a:moveTo>
                <a:lnTo>
                  <a:pt x="1245336" y="235712"/>
                </a:lnTo>
                <a:lnTo>
                  <a:pt x="1245088" y="235450"/>
                </a:lnTo>
                <a:close/>
              </a:path>
              <a:path w="1507490" h="812800">
                <a:moveTo>
                  <a:pt x="1208755" y="167512"/>
                </a:moveTo>
                <a:lnTo>
                  <a:pt x="1166876" y="167512"/>
                </a:lnTo>
                <a:lnTo>
                  <a:pt x="1167384" y="167893"/>
                </a:lnTo>
                <a:lnTo>
                  <a:pt x="1194435" y="189229"/>
                </a:lnTo>
                <a:lnTo>
                  <a:pt x="1220470" y="211835"/>
                </a:lnTo>
                <a:lnTo>
                  <a:pt x="1245088" y="235450"/>
                </a:lnTo>
                <a:lnTo>
                  <a:pt x="1244853" y="235203"/>
                </a:lnTo>
                <a:lnTo>
                  <a:pt x="1280630" y="235203"/>
                </a:lnTo>
                <a:lnTo>
                  <a:pt x="1263396" y="217169"/>
                </a:lnTo>
                <a:lnTo>
                  <a:pt x="1237615" y="192531"/>
                </a:lnTo>
                <a:lnTo>
                  <a:pt x="1210691" y="169037"/>
                </a:lnTo>
                <a:lnTo>
                  <a:pt x="1208755" y="167512"/>
                </a:lnTo>
                <a:close/>
              </a:path>
              <a:path w="1507490" h="812800">
                <a:moveTo>
                  <a:pt x="259409" y="212851"/>
                </a:moveTo>
                <a:lnTo>
                  <a:pt x="258825" y="213359"/>
                </a:lnTo>
                <a:lnTo>
                  <a:pt x="259409" y="212851"/>
                </a:lnTo>
                <a:close/>
              </a:path>
              <a:path w="1507490" h="812800">
                <a:moveTo>
                  <a:pt x="1219962" y="211454"/>
                </a:moveTo>
                <a:lnTo>
                  <a:pt x="1220360" y="211835"/>
                </a:lnTo>
                <a:lnTo>
                  <a:pt x="1219962" y="211454"/>
                </a:lnTo>
                <a:close/>
              </a:path>
              <a:path w="1507490" h="812800">
                <a:moveTo>
                  <a:pt x="285242" y="190372"/>
                </a:moveTo>
                <a:lnTo>
                  <a:pt x="284734" y="190753"/>
                </a:lnTo>
                <a:lnTo>
                  <a:pt x="285242" y="190372"/>
                </a:lnTo>
                <a:close/>
              </a:path>
              <a:path w="1507490" h="812800">
                <a:moveTo>
                  <a:pt x="1193927" y="188849"/>
                </a:moveTo>
                <a:lnTo>
                  <a:pt x="1194366" y="189229"/>
                </a:lnTo>
                <a:lnTo>
                  <a:pt x="1193927" y="188849"/>
                </a:lnTo>
                <a:close/>
              </a:path>
              <a:path w="1507490" h="812800">
                <a:moveTo>
                  <a:pt x="311936" y="169219"/>
                </a:moveTo>
                <a:lnTo>
                  <a:pt x="311657" y="169417"/>
                </a:lnTo>
                <a:lnTo>
                  <a:pt x="311936" y="169219"/>
                </a:lnTo>
                <a:close/>
              </a:path>
              <a:path w="1507490" h="812800">
                <a:moveTo>
                  <a:pt x="312190" y="169037"/>
                </a:moveTo>
                <a:lnTo>
                  <a:pt x="311936" y="169219"/>
                </a:lnTo>
                <a:lnTo>
                  <a:pt x="312190" y="169037"/>
                </a:lnTo>
                <a:close/>
              </a:path>
              <a:path w="1507490" h="812800">
                <a:moveTo>
                  <a:pt x="1167142" y="167723"/>
                </a:moveTo>
                <a:lnTo>
                  <a:pt x="1167359" y="167893"/>
                </a:lnTo>
                <a:lnTo>
                  <a:pt x="1167142" y="167723"/>
                </a:lnTo>
                <a:close/>
              </a:path>
              <a:path w="1507490" h="812800">
                <a:moveTo>
                  <a:pt x="1138681" y="147574"/>
                </a:moveTo>
                <a:lnTo>
                  <a:pt x="1167142" y="167723"/>
                </a:lnTo>
                <a:lnTo>
                  <a:pt x="1166876" y="167512"/>
                </a:lnTo>
                <a:lnTo>
                  <a:pt x="1208755" y="167512"/>
                </a:lnTo>
                <a:lnTo>
                  <a:pt x="1183753" y="147827"/>
                </a:lnTo>
                <a:lnTo>
                  <a:pt x="1139190" y="147827"/>
                </a:lnTo>
                <a:lnTo>
                  <a:pt x="1138681" y="147574"/>
                </a:lnTo>
                <a:close/>
              </a:path>
              <a:path w="1507490" h="812800">
                <a:moveTo>
                  <a:pt x="340232" y="148970"/>
                </a:moveTo>
                <a:lnTo>
                  <a:pt x="339598" y="149351"/>
                </a:lnTo>
                <a:lnTo>
                  <a:pt x="340232" y="148970"/>
                </a:lnTo>
                <a:close/>
              </a:path>
              <a:path w="1507490" h="812800">
                <a:moveTo>
                  <a:pt x="1156998" y="128777"/>
                </a:moveTo>
                <a:lnTo>
                  <a:pt x="1109472" y="128777"/>
                </a:lnTo>
                <a:lnTo>
                  <a:pt x="1139190" y="147827"/>
                </a:lnTo>
                <a:lnTo>
                  <a:pt x="1183753" y="147827"/>
                </a:lnTo>
                <a:lnTo>
                  <a:pt x="1182624" y="146938"/>
                </a:lnTo>
                <a:lnTo>
                  <a:pt x="1156998" y="128777"/>
                </a:lnTo>
                <a:close/>
              </a:path>
              <a:path w="1507490" h="812800">
                <a:moveTo>
                  <a:pt x="369062" y="130428"/>
                </a:moveTo>
                <a:lnTo>
                  <a:pt x="368553" y="130682"/>
                </a:lnTo>
                <a:lnTo>
                  <a:pt x="369062" y="130428"/>
                </a:lnTo>
                <a:close/>
              </a:path>
              <a:path w="1507490" h="812800">
                <a:moveTo>
                  <a:pt x="1130497" y="111505"/>
                </a:moveTo>
                <a:lnTo>
                  <a:pt x="1079246" y="111505"/>
                </a:lnTo>
                <a:lnTo>
                  <a:pt x="1109979" y="129158"/>
                </a:lnTo>
                <a:lnTo>
                  <a:pt x="1109472" y="128777"/>
                </a:lnTo>
                <a:lnTo>
                  <a:pt x="1156998" y="128777"/>
                </a:lnTo>
                <a:lnTo>
                  <a:pt x="1153414" y="126237"/>
                </a:lnTo>
                <a:lnTo>
                  <a:pt x="1130497" y="111505"/>
                </a:lnTo>
                <a:close/>
              </a:path>
              <a:path w="1507490" h="812800">
                <a:moveTo>
                  <a:pt x="398906" y="113156"/>
                </a:moveTo>
                <a:lnTo>
                  <a:pt x="398272" y="113410"/>
                </a:lnTo>
                <a:lnTo>
                  <a:pt x="398467" y="113410"/>
                </a:lnTo>
                <a:lnTo>
                  <a:pt x="398906" y="113156"/>
                </a:lnTo>
                <a:close/>
              </a:path>
              <a:path w="1507490" h="812800">
                <a:moveTo>
                  <a:pt x="1048130" y="95630"/>
                </a:moveTo>
                <a:lnTo>
                  <a:pt x="1079753" y="111887"/>
                </a:lnTo>
                <a:lnTo>
                  <a:pt x="1079246" y="111505"/>
                </a:lnTo>
                <a:lnTo>
                  <a:pt x="1130497" y="111505"/>
                </a:lnTo>
                <a:lnTo>
                  <a:pt x="1123188" y="106806"/>
                </a:lnTo>
                <a:lnTo>
                  <a:pt x="1104055" y="95884"/>
                </a:lnTo>
                <a:lnTo>
                  <a:pt x="1048766" y="95884"/>
                </a:lnTo>
                <a:lnTo>
                  <a:pt x="1048130" y="95630"/>
                </a:lnTo>
                <a:close/>
              </a:path>
              <a:path w="1507490" h="812800">
                <a:moveTo>
                  <a:pt x="429713" y="97281"/>
                </a:moveTo>
                <a:lnTo>
                  <a:pt x="429514" y="97281"/>
                </a:lnTo>
                <a:lnTo>
                  <a:pt x="428878" y="97662"/>
                </a:lnTo>
                <a:lnTo>
                  <a:pt x="429713" y="97281"/>
                </a:lnTo>
                <a:close/>
              </a:path>
              <a:path w="1507490" h="812800">
                <a:moveTo>
                  <a:pt x="1016253" y="81406"/>
                </a:moveTo>
                <a:lnTo>
                  <a:pt x="1048766" y="95884"/>
                </a:lnTo>
                <a:lnTo>
                  <a:pt x="1104055" y="95884"/>
                </a:lnTo>
                <a:lnTo>
                  <a:pt x="1091819" y="88900"/>
                </a:lnTo>
                <a:lnTo>
                  <a:pt x="1077483" y="81533"/>
                </a:lnTo>
                <a:lnTo>
                  <a:pt x="1016762" y="81533"/>
                </a:lnTo>
                <a:lnTo>
                  <a:pt x="1016253" y="81406"/>
                </a:lnTo>
                <a:close/>
              </a:path>
              <a:path w="1507490" h="812800">
                <a:moveTo>
                  <a:pt x="461005" y="83057"/>
                </a:moveTo>
                <a:lnTo>
                  <a:pt x="460375" y="83312"/>
                </a:lnTo>
                <a:lnTo>
                  <a:pt x="461005" y="83057"/>
                </a:lnTo>
                <a:close/>
              </a:path>
              <a:path w="1507490" h="812800">
                <a:moveTo>
                  <a:pt x="1050905" y="68452"/>
                </a:moveTo>
                <a:lnTo>
                  <a:pt x="983361" y="68452"/>
                </a:lnTo>
                <a:lnTo>
                  <a:pt x="1016762" y="81533"/>
                </a:lnTo>
                <a:lnTo>
                  <a:pt x="1077483" y="81533"/>
                </a:lnTo>
                <a:lnTo>
                  <a:pt x="1059688" y="72389"/>
                </a:lnTo>
                <a:lnTo>
                  <a:pt x="1050905" y="68452"/>
                </a:lnTo>
                <a:close/>
              </a:path>
              <a:path w="1507490" h="812800">
                <a:moveTo>
                  <a:pt x="493242" y="70103"/>
                </a:moveTo>
                <a:lnTo>
                  <a:pt x="492539" y="70346"/>
                </a:lnTo>
                <a:lnTo>
                  <a:pt x="493242" y="70103"/>
                </a:lnTo>
                <a:close/>
              </a:path>
              <a:path w="1507490" h="812800">
                <a:moveTo>
                  <a:pt x="949705" y="57276"/>
                </a:moveTo>
                <a:lnTo>
                  <a:pt x="983996" y="68706"/>
                </a:lnTo>
                <a:lnTo>
                  <a:pt x="983361" y="68452"/>
                </a:lnTo>
                <a:lnTo>
                  <a:pt x="1050905" y="68452"/>
                </a:lnTo>
                <a:lnTo>
                  <a:pt x="1026541" y="57530"/>
                </a:lnTo>
                <a:lnTo>
                  <a:pt x="1026216" y="57403"/>
                </a:lnTo>
                <a:lnTo>
                  <a:pt x="950341" y="57403"/>
                </a:lnTo>
                <a:lnTo>
                  <a:pt x="949705" y="57276"/>
                </a:lnTo>
                <a:close/>
              </a:path>
              <a:path w="1507490" h="812800">
                <a:moveTo>
                  <a:pt x="526274" y="58800"/>
                </a:moveTo>
                <a:lnTo>
                  <a:pt x="526034" y="58800"/>
                </a:lnTo>
                <a:lnTo>
                  <a:pt x="525399" y="59054"/>
                </a:lnTo>
                <a:lnTo>
                  <a:pt x="526274" y="58800"/>
                </a:lnTo>
                <a:close/>
              </a:path>
              <a:path w="1507490" h="812800">
                <a:moveTo>
                  <a:pt x="915289" y="47625"/>
                </a:moveTo>
                <a:lnTo>
                  <a:pt x="950341" y="57403"/>
                </a:lnTo>
                <a:lnTo>
                  <a:pt x="1026216" y="57403"/>
                </a:lnTo>
                <a:lnTo>
                  <a:pt x="1001581" y="47751"/>
                </a:lnTo>
                <a:lnTo>
                  <a:pt x="915924" y="47751"/>
                </a:lnTo>
                <a:lnTo>
                  <a:pt x="915289" y="47625"/>
                </a:lnTo>
                <a:close/>
              </a:path>
              <a:path w="1507490" h="812800">
                <a:moveTo>
                  <a:pt x="559562" y="49149"/>
                </a:moveTo>
                <a:lnTo>
                  <a:pt x="558926" y="49275"/>
                </a:lnTo>
                <a:lnTo>
                  <a:pt x="559124" y="49275"/>
                </a:lnTo>
                <a:lnTo>
                  <a:pt x="559562" y="49149"/>
                </a:lnTo>
                <a:close/>
              </a:path>
              <a:path w="1507490" h="812800">
                <a:moveTo>
                  <a:pt x="978838" y="39624"/>
                </a:moveTo>
                <a:lnTo>
                  <a:pt x="880110" y="39624"/>
                </a:lnTo>
                <a:lnTo>
                  <a:pt x="915924" y="47751"/>
                </a:lnTo>
                <a:lnTo>
                  <a:pt x="1001581" y="47751"/>
                </a:lnTo>
                <a:lnTo>
                  <a:pt x="992504" y="44195"/>
                </a:lnTo>
                <a:lnTo>
                  <a:pt x="978838" y="39624"/>
                </a:lnTo>
                <a:close/>
              </a:path>
              <a:path w="1507490" h="812800">
                <a:moveTo>
                  <a:pt x="593766" y="41147"/>
                </a:moveTo>
                <a:lnTo>
                  <a:pt x="593598" y="41147"/>
                </a:lnTo>
                <a:lnTo>
                  <a:pt x="593090" y="41275"/>
                </a:lnTo>
                <a:lnTo>
                  <a:pt x="593766" y="41147"/>
                </a:lnTo>
                <a:close/>
              </a:path>
              <a:path w="1507490" h="812800">
                <a:moveTo>
                  <a:pt x="960616" y="33527"/>
                </a:moveTo>
                <a:lnTo>
                  <a:pt x="844169" y="33527"/>
                </a:lnTo>
                <a:lnTo>
                  <a:pt x="880745" y="39877"/>
                </a:lnTo>
                <a:lnTo>
                  <a:pt x="880110" y="39624"/>
                </a:lnTo>
                <a:lnTo>
                  <a:pt x="978838" y="39624"/>
                </a:lnTo>
                <a:lnTo>
                  <a:pt x="960616" y="33527"/>
                </a:lnTo>
                <a:close/>
              </a:path>
              <a:path w="1507490" h="812800">
                <a:moveTo>
                  <a:pt x="628576" y="34670"/>
                </a:moveTo>
                <a:lnTo>
                  <a:pt x="628269" y="34670"/>
                </a:lnTo>
                <a:lnTo>
                  <a:pt x="627634" y="34797"/>
                </a:lnTo>
                <a:lnTo>
                  <a:pt x="628576" y="34670"/>
                </a:lnTo>
                <a:close/>
              </a:path>
              <a:path w="1507490" h="812800">
                <a:moveTo>
                  <a:pt x="933788" y="25907"/>
                </a:moveTo>
                <a:lnTo>
                  <a:pt x="734965" y="25916"/>
                </a:lnTo>
                <a:lnTo>
                  <a:pt x="771525" y="26669"/>
                </a:lnTo>
                <a:lnTo>
                  <a:pt x="770890" y="26669"/>
                </a:lnTo>
                <a:lnTo>
                  <a:pt x="808227" y="29209"/>
                </a:lnTo>
                <a:lnTo>
                  <a:pt x="807593" y="29209"/>
                </a:lnTo>
                <a:lnTo>
                  <a:pt x="844803" y="33654"/>
                </a:lnTo>
                <a:lnTo>
                  <a:pt x="844169" y="33527"/>
                </a:lnTo>
                <a:lnTo>
                  <a:pt x="960616" y="33527"/>
                </a:lnTo>
                <a:lnTo>
                  <a:pt x="957579" y="32512"/>
                </a:lnTo>
                <a:lnTo>
                  <a:pt x="933788" y="25907"/>
                </a:lnTo>
                <a:close/>
              </a:path>
              <a:path w="1507490" h="812800">
                <a:moveTo>
                  <a:pt x="664326" y="29971"/>
                </a:moveTo>
                <a:lnTo>
                  <a:pt x="663448" y="29971"/>
                </a:lnTo>
                <a:lnTo>
                  <a:pt x="662813" y="30099"/>
                </a:lnTo>
                <a:lnTo>
                  <a:pt x="664326" y="29971"/>
                </a:lnTo>
                <a:close/>
              </a:path>
              <a:path w="1507490" h="812800">
                <a:moveTo>
                  <a:pt x="702170" y="27050"/>
                </a:moveTo>
                <a:lnTo>
                  <a:pt x="699135" y="27050"/>
                </a:lnTo>
                <a:lnTo>
                  <a:pt x="698500" y="27177"/>
                </a:lnTo>
                <a:lnTo>
                  <a:pt x="702170" y="27050"/>
                </a:lnTo>
                <a:close/>
              </a:path>
            </a:pathLst>
          </a:custGeom>
          <a:solidFill>
            <a:srgbClr val="12ABDB"/>
          </a:solidFill>
        </p:spPr>
        <p:txBody>
          <a:bodyPr wrap="square" lIns="0" tIns="0" rIns="0" bIns="0" rtlCol="0"/>
          <a:lstStyle/>
          <a:p>
            <a:endParaRPr/>
          </a:p>
        </p:txBody>
      </p:sp>
      <p:sp>
        <p:nvSpPr>
          <p:cNvPr id="40" name="object 40"/>
          <p:cNvSpPr/>
          <p:nvPr/>
        </p:nvSpPr>
        <p:spPr>
          <a:xfrm>
            <a:off x="8437118" y="3481832"/>
            <a:ext cx="1508760" cy="813435"/>
          </a:xfrm>
          <a:custGeom>
            <a:avLst/>
            <a:gdLst/>
            <a:ahLst/>
            <a:cxnLst/>
            <a:rect l="l" t="t" r="r" b="b"/>
            <a:pathLst>
              <a:path w="1508759" h="813435">
                <a:moveTo>
                  <a:pt x="25780" y="81025"/>
                </a:moveTo>
                <a:lnTo>
                  <a:pt x="0" y="81914"/>
                </a:lnTo>
                <a:lnTo>
                  <a:pt x="1015" y="110616"/>
                </a:lnTo>
                <a:lnTo>
                  <a:pt x="3175" y="139445"/>
                </a:lnTo>
                <a:lnTo>
                  <a:pt x="7747" y="177418"/>
                </a:lnTo>
                <a:lnTo>
                  <a:pt x="22351" y="251332"/>
                </a:lnTo>
                <a:lnTo>
                  <a:pt x="43814" y="322325"/>
                </a:lnTo>
                <a:lnTo>
                  <a:pt x="72008" y="389762"/>
                </a:lnTo>
                <a:lnTo>
                  <a:pt x="106299" y="453516"/>
                </a:lnTo>
                <a:lnTo>
                  <a:pt x="146303" y="513206"/>
                </a:lnTo>
                <a:lnTo>
                  <a:pt x="191642" y="568451"/>
                </a:lnTo>
                <a:lnTo>
                  <a:pt x="241934" y="618997"/>
                </a:lnTo>
                <a:lnTo>
                  <a:pt x="296799" y="664463"/>
                </a:lnTo>
                <a:lnTo>
                  <a:pt x="355726" y="704468"/>
                </a:lnTo>
                <a:lnTo>
                  <a:pt x="418337" y="738758"/>
                </a:lnTo>
                <a:lnTo>
                  <a:pt x="484377" y="767079"/>
                </a:lnTo>
                <a:lnTo>
                  <a:pt x="553211" y="788796"/>
                </a:lnTo>
                <a:lnTo>
                  <a:pt x="624585" y="803782"/>
                </a:lnTo>
                <a:lnTo>
                  <a:pt x="697991" y="811783"/>
                </a:lnTo>
                <a:lnTo>
                  <a:pt x="735456" y="812926"/>
                </a:lnTo>
                <a:lnTo>
                  <a:pt x="773176" y="812164"/>
                </a:lnTo>
                <a:lnTo>
                  <a:pt x="811276" y="809497"/>
                </a:lnTo>
                <a:lnTo>
                  <a:pt x="849122" y="804798"/>
                </a:lnTo>
                <a:lnTo>
                  <a:pt x="922781" y="790193"/>
                </a:lnTo>
                <a:lnTo>
                  <a:pt x="934260" y="787018"/>
                </a:lnTo>
                <a:lnTo>
                  <a:pt x="735329" y="787018"/>
                </a:lnTo>
                <a:lnTo>
                  <a:pt x="735711" y="787011"/>
                </a:lnTo>
                <a:lnTo>
                  <a:pt x="699134" y="785875"/>
                </a:lnTo>
                <a:lnTo>
                  <a:pt x="699897" y="785875"/>
                </a:lnTo>
                <a:lnTo>
                  <a:pt x="665088" y="782954"/>
                </a:lnTo>
                <a:lnTo>
                  <a:pt x="664209" y="782954"/>
                </a:lnTo>
                <a:lnTo>
                  <a:pt x="629214" y="778255"/>
                </a:lnTo>
                <a:lnTo>
                  <a:pt x="628903" y="778255"/>
                </a:lnTo>
                <a:lnTo>
                  <a:pt x="593598" y="771651"/>
                </a:lnTo>
                <a:lnTo>
                  <a:pt x="559434" y="763650"/>
                </a:lnTo>
                <a:lnTo>
                  <a:pt x="559633" y="763650"/>
                </a:lnTo>
                <a:lnTo>
                  <a:pt x="526033" y="753871"/>
                </a:lnTo>
                <a:lnTo>
                  <a:pt x="526169" y="753871"/>
                </a:lnTo>
                <a:lnTo>
                  <a:pt x="493759" y="742822"/>
                </a:lnTo>
                <a:lnTo>
                  <a:pt x="461519" y="729995"/>
                </a:lnTo>
                <a:lnTo>
                  <a:pt x="461390" y="729995"/>
                </a:lnTo>
                <a:lnTo>
                  <a:pt x="429386" y="715390"/>
                </a:lnTo>
                <a:lnTo>
                  <a:pt x="429529" y="715390"/>
                </a:lnTo>
                <a:lnTo>
                  <a:pt x="398779" y="699515"/>
                </a:lnTo>
                <a:lnTo>
                  <a:pt x="368934" y="682243"/>
                </a:lnTo>
                <a:lnTo>
                  <a:pt x="339978" y="663574"/>
                </a:lnTo>
                <a:lnTo>
                  <a:pt x="312574" y="644016"/>
                </a:lnTo>
                <a:lnTo>
                  <a:pt x="312038" y="643635"/>
                </a:lnTo>
                <a:lnTo>
                  <a:pt x="285114" y="622299"/>
                </a:lnTo>
                <a:lnTo>
                  <a:pt x="259206" y="599693"/>
                </a:lnTo>
                <a:lnTo>
                  <a:pt x="234314" y="575817"/>
                </a:lnTo>
                <a:lnTo>
                  <a:pt x="234461" y="575817"/>
                </a:lnTo>
                <a:lnTo>
                  <a:pt x="211175" y="551306"/>
                </a:lnTo>
                <a:lnTo>
                  <a:pt x="188086" y="524636"/>
                </a:lnTo>
                <a:lnTo>
                  <a:pt x="167276" y="497966"/>
                </a:lnTo>
                <a:lnTo>
                  <a:pt x="166877" y="497458"/>
                </a:lnTo>
                <a:lnTo>
                  <a:pt x="147386" y="469772"/>
                </a:lnTo>
                <a:lnTo>
                  <a:pt x="128270" y="439927"/>
                </a:lnTo>
                <a:lnTo>
                  <a:pt x="110998" y="409574"/>
                </a:lnTo>
                <a:lnTo>
                  <a:pt x="95572" y="378967"/>
                </a:lnTo>
                <a:lnTo>
                  <a:pt x="80899" y="346201"/>
                </a:lnTo>
                <a:lnTo>
                  <a:pt x="68072" y="313181"/>
                </a:lnTo>
                <a:lnTo>
                  <a:pt x="56896" y="279272"/>
                </a:lnTo>
                <a:lnTo>
                  <a:pt x="47547" y="245363"/>
                </a:lnTo>
                <a:lnTo>
                  <a:pt x="39370" y="209422"/>
                </a:lnTo>
                <a:lnTo>
                  <a:pt x="39514" y="209422"/>
                </a:lnTo>
                <a:lnTo>
                  <a:pt x="33383" y="173989"/>
                </a:lnTo>
                <a:lnTo>
                  <a:pt x="33325" y="173354"/>
                </a:lnTo>
                <a:lnTo>
                  <a:pt x="29031" y="137286"/>
                </a:lnTo>
                <a:lnTo>
                  <a:pt x="26835" y="109346"/>
                </a:lnTo>
                <a:lnTo>
                  <a:pt x="26903" y="108838"/>
                </a:lnTo>
                <a:lnTo>
                  <a:pt x="25780" y="81025"/>
                </a:lnTo>
                <a:close/>
              </a:path>
              <a:path w="1508759" h="813435">
                <a:moveTo>
                  <a:pt x="735711" y="787011"/>
                </a:moveTo>
                <a:lnTo>
                  <a:pt x="735329" y="787018"/>
                </a:lnTo>
                <a:lnTo>
                  <a:pt x="735964" y="787018"/>
                </a:lnTo>
                <a:lnTo>
                  <a:pt x="735711" y="787011"/>
                </a:lnTo>
                <a:close/>
              </a:path>
              <a:path w="1508759" h="813435">
                <a:moveTo>
                  <a:pt x="845692" y="779144"/>
                </a:moveTo>
                <a:lnTo>
                  <a:pt x="808481" y="783716"/>
                </a:lnTo>
                <a:lnTo>
                  <a:pt x="809116" y="783716"/>
                </a:lnTo>
                <a:lnTo>
                  <a:pt x="771651" y="786256"/>
                </a:lnTo>
                <a:lnTo>
                  <a:pt x="772286" y="786256"/>
                </a:lnTo>
                <a:lnTo>
                  <a:pt x="735711" y="787011"/>
                </a:lnTo>
                <a:lnTo>
                  <a:pt x="934289" y="787011"/>
                </a:lnTo>
                <a:lnTo>
                  <a:pt x="958596" y="780287"/>
                </a:lnTo>
                <a:lnTo>
                  <a:pt x="961632" y="779271"/>
                </a:lnTo>
                <a:lnTo>
                  <a:pt x="845057" y="779271"/>
                </a:lnTo>
                <a:lnTo>
                  <a:pt x="845692" y="779144"/>
                </a:lnTo>
                <a:close/>
              </a:path>
              <a:path w="1508759" h="813435">
                <a:moveTo>
                  <a:pt x="663575" y="782827"/>
                </a:moveTo>
                <a:lnTo>
                  <a:pt x="664209" y="782954"/>
                </a:lnTo>
                <a:lnTo>
                  <a:pt x="665088" y="782954"/>
                </a:lnTo>
                <a:lnTo>
                  <a:pt x="663575" y="782827"/>
                </a:lnTo>
                <a:close/>
              </a:path>
              <a:path w="1508759" h="813435">
                <a:moveTo>
                  <a:pt x="881633" y="772921"/>
                </a:moveTo>
                <a:lnTo>
                  <a:pt x="845057" y="779271"/>
                </a:lnTo>
                <a:lnTo>
                  <a:pt x="961632" y="779271"/>
                </a:lnTo>
                <a:lnTo>
                  <a:pt x="979854" y="773175"/>
                </a:lnTo>
                <a:lnTo>
                  <a:pt x="880999" y="773175"/>
                </a:lnTo>
                <a:lnTo>
                  <a:pt x="881633" y="772921"/>
                </a:lnTo>
                <a:close/>
              </a:path>
              <a:path w="1508759" h="813435">
                <a:moveTo>
                  <a:pt x="628268" y="778128"/>
                </a:moveTo>
                <a:lnTo>
                  <a:pt x="628903" y="778255"/>
                </a:lnTo>
                <a:lnTo>
                  <a:pt x="629214" y="778255"/>
                </a:lnTo>
                <a:lnTo>
                  <a:pt x="628268" y="778128"/>
                </a:lnTo>
                <a:close/>
              </a:path>
              <a:path w="1508759" h="813435">
                <a:moveTo>
                  <a:pt x="1002631" y="765047"/>
                </a:moveTo>
                <a:lnTo>
                  <a:pt x="916812" y="765047"/>
                </a:lnTo>
                <a:lnTo>
                  <a:pt x="880999" y="773175"/>
                </a:lnTo>
                <a:lnTo>
                  <a:pt x="979854" y="773175"/>
                </a:lnTo>
                <a:lnTo>
                  <a:pt x="993521" y="768603"/>
                </a:lnTo>
                <a:lnTo>
                  <a:pt x="1002631" y="765047"/>
                </a:lnTo>
                <a:close/>
              </a:path>
              <a:path w="1508759" h="813435">
                <a:moveTo>
                  <a:pt x="594056" y="771737"/>
                </a:moveTo>
                <a:lnTo>
                  <a:pt x="594232" y="771778"/>
                </a:lnTo>
                <a:lnTo>
                  <a:pt x="594056" y="771737"/>
                </a:lnTo>
                <a:close/>
              </a:path>
              <a:path w="1508759" h="813435">
                <a:moveTo>
                  <a:pt x="593689" y="771651"/>
                </a:moveTo>
                <a:lnTo>
                  <a:pt x="594056" y="771737"/>
                </a:lnTo>
                <a:lnTo>
                  <a:pt x="593689" y="771651"/>
                </a:lnTo>
                <a:close/>
              </a:path>
              <a:path w="1508759" h="813435">
                <a:moveTo>
                  <a:pt x="951356" y="755395"/>
                </a:moveTo>
                <a:lnTo>
                  <a:pt x="916177" y="765174"/>
                </a:lnTo>
                <a:lnTo>
                  <a:pt x="916812" y="765047"/>
                </a:lnTo>
                <a:lnTo>
                  <a:pt x="1002631" y="765047"/>
                </a:lnTo>
                <a:lnTo>
                  <a:pt x="1026707" y="755649"/>
                </a:lnTo>
                <a:lnTo>
                  <a:pt x="950722" y="755649"/>
                </a:lnTo>
                <a:lnTo>
                  <a:pt x="951356" y="755395"/>
                </a:lnTo>
                <a:close/>
              </a:path>
              <a:path w="1508759" h="813435">
                <a:moveTo>
                  <a:pt x="559633" y="763650"/>
                </a:moveTo>
                <a:lnTo>
                  <a:pt x="559434" y="763650"/>
                </a:lnTo>
                <a:lnTo>
                  <a:pt x="560070" y="763777"/>
                </a:lnTo>
                <a:lnTo>
                  <a:pt x="559633" y="763650"/>
                </a:lnTo>
                <a:close/>
              </a:path>
              <a:path w="1508759" h="813435">
                <a:moveTo>
                  <a:pt x="1078835" y="731265"/>
                </a:moveTo>
                <a:lnTo>
                  <a:pt x="1017904" y="731265"/>
                </a:lnTo>
                <a:lnTo>
                  <a:pt x="984376" y="744346"/>
                </a:lnTo>
                <a:lnTo>
                  <a:pt x="950722" y="755649"/>
                </a:lnTo>
                <a:lnTo>
                  <a:pt x="1026707" y="755649"/>
                </a:lnTo>
                <a:lnTo>
                  <a:pt x="1027683" y="755268"/>
                </a:lnTo>
                <a:lnTo>
                  <a:pt x="1060830" y="740409"/>
                </a:lnTo>
                <a:lnTo>
                  <a:pt x="1078835" y="731265"/>
                </a:lnTo>
                <a:close/>
              </a:path>
              <a:path w="1508759" h="813435">
                <a:moveTo>
                  <a:pt x="526169" y="753871"/>
                </a:moveTo>
                <a:lnTo>
                  <a:pt x="526033" y="753871"/>
                </a:lnTo>
                <a:lnTo>
                  <a:pt x="526541" y="753998"/>
                </a:lnTo>
                <a:lnTo>
                  <a:pt x="526169" y="753871"/>
                </a:lnTo>
                <a:close/>
              </a:path>
              <a:path w="1508759" h="813435">
                <a:moveTo>
                  <a:pt x="985011" y="744092"/>
                </a:moveTo>
                <a:lnTo>
                  <a:pt x="984258" y="744346"/>
                </a:lnTo>
                <a:lnTo>
                  <a:pt x="985011" y="744092"/>
                </a:lnTo>
                <a:close/>
              </a:path>
              <a:path w="1508759" h="813435">
                <a:moveTo>
                  <a:pt x="493013" y="742568"/>
                </a:moveTo>
                <a:lnTo>
                  <a:pt x="493649" y="742822"/>
                </a:lnTo>
                <a:lnTo>
                  <a:pt x="493013" y="742568"/>
                </a:lnTo>
                <a:close/>
              </a:path>
              <a:path w="1508759" h="813435">
                <a:moveTo>
                  <a:pt x="1105459" y="716914"/>
                </a:moveTo>
                <a:lnTo>
                  <a:pt x="1049908" y="716914"/>
                </a:lnTo>
                <a:lnTo>
                  <a:pt x="1049401" y="717168"/>
                </a:lnTo>
                <a:lnTo>
                  <a:pt x="1017379" y="731471"/>
                </a:lnTo>
                <a:lnTo>
                  <a:pt x="1017904" y="731265"/>
                </a:lnTo>
                <a:lnTo>
                  <a:pt x="1078835" y="731265"/>
                </a:lnTo>
                <a:lnTo>
                  <a:pt x="1093088" y="724026"/>
                </a:lnTo>
                <a:lnTo>
                  <a:pt x="1105459" y="716914"/>
                </a:lnTo>
                <a:close/>
              </a:path>
              <a:path w="1508759" h="813435">
                <a:moveTo>
                  <a:pt x="460882" y="729741"/>
                </a:moveTo>
                <a:lnTo>
                  <a:pt x="461390" y="729995"/>
                </a:lnTo>
                <a:lnTo>
                  <a:pt x="461519" y="729995"/>
                </a:lnTo>
                <a:lnTo>
                  <a:pt x="460882" y="729741"/>
                </a:lnTo>
                <a:close/>
              </a:path>
              <a:path w="1508759" h="813435">
                <a:moveTo>
                  <a:pt x="1049827" y="716951"/>
                </a:moveTo>
                <a:lnTo>
                  <a:pt x="1049341" y="717168"/>
                </a:lnTo>
                <a:lnTo>
                  <a:pt x="1049827" y="716951"/>
                </a:lnTo>
                <a:close/>
              </a:path>
              <a:path w="1508759" h="813435">
                <a:moveTo>
                  <a:pt x="1132213" y="701039"/>
                </a:moveTo>
                <a:lnTo>
                  <a:pt x="1081024" y="701039"/>
                </a:lnTo>
                <a:lnTo>
                  <a:pt x="1049827" y="716951"/>
                </a:lnTo>
                <a:lnTo>
                  <a:pt x="1105459" y="716914"/>
                </a:lnTo>
                <a:lnTo>
                  <a:pt x="1124457" y="705992"/>
                </a:lnTo>
                <a:lnTo>
                  <a:pt x="1132213" y="701039"/>
                </a:lnTo>
                <a:close/>
              </a:path>
              <a:path w="1508759" h="813435">
                <a:moveTo>
                  <a:pt x="429529" y="715390"/>
                </a:moveTo>
                <a:lnTo>
                  <a:pt x="429386" y="715390"/>
                </a:lnTo>
                <a:lnTo>
                  <a:pt x="430022" y="715644"/>
                </a:lnTo>
                <a:lnTo>
                  <a:pt x="429529" y="715390"/>
                </a:lnTo>
                <a:close/>
              </a:path>
              <a:path w="1508759" h="813435">
                <a:moveTo>
                  <a:pt x="1158780" y="683767"/>
                </a:moveTo>
                <a:lnTo>
                  <a:pt x="1111250" y="683767"/>
                </a:lnTo>
                <a:lnTo>
                  <a:pt x="1080515" y="701293"/>
                </a:lnTo>
                <a:lnTo>
                  <a:pt x="1081024" y="701039"/>
                </a:lnTo>
                <a:lnTo>
                  <a:pt x="1132213" y="701039"/>
                </a:lnTo>
                <a:lnTo>
                  <a:pt x="1154683" y="686688"/>
                </a:lnTo>
                <a:lnTo>
                  <a:pt x="1158780" y="683767"/>
                </a:lnTo>
                <a:close/>
              </a:path>
              <a:path w="1508759" h="813435">
                <a:moveTo>
                  <a:pt x="398848" y="699515"/>
                </a:moveTo>
                <a:lnTo>
                  <a:pt x="399287" y="699769"/>
                </a:lnTo>
                <a:lnTo>
                  <a:pt x="398848" y="699515"/>
                </a:lnTo>
                <a:close/>
              </a:path>
              <a:path w="1508759" h="813435">
                <a:moveTo>
                  <a:pt x="1210347" y="645032"/>
                </a:moveTo>
                <a:lnTo>
                  <a:pt x="1168527" y="645032"/>
                </a:lnTo>
                <a:lnTo>
                  <a:pt x="1168018" y="645413"/>
                </a:lnTo>
                <a:lnTo>
                  <a:pt x="1139952" y="665352"/>
                </a:lnTo>
                <a:lnTo>
                  <a:pt x="1110741" y="684021"/>
                </a:lnTo>
                <a:lnTo>
                  <a:pt x="1111250" y="683767"/>
                </a:lnTo>
                <a:lnTo>
                  <a:pt x="1158780" y="683767"/>
                </a:lnTo>
                <a:lnTo>
                  <a:pt x="1183893" y="665860"/>
                </a:lnTo>
                <a:lnTo>
                  <a:pt x="1210347" y="645032"/>
                </a:lnTo>
                <a:close/>
              </a:path>
              <a:path w="1508759" h="813435">
                <a:moveTo>
                  <a:pt x="369047" y="682243"/>
                </a:moveTo>
                <a:lnTo>
                  <a:pt x="369442" y="682497"/>
                </a:lnTo>
                <a:lnTo>
                  <a:pt x="369047" y="682243"/>
                </a:lnTo>
                <a:close/>
              </a:path>
              <a:path w="1508759" h="813435">
                <a:moveTo>
                  <a:pt x="1140459" y="664971"/>
                </a:moveTo>
                <a:lnTo>
                  <a:pt x="1139865" y="665352"/>
                </a:lnTo>
                <a:lnTo>
                  <a:pt x="1140459" y="664971"/>
                </a:lnTo>
                <a:close/>
              </a:path>
              <a:path w="1508759" h="813435">
                <a:moveTo>
                  <a:pt x="340078" y="663574"/>
                </a:moveTo>
                <a:lnTo>
                  <a:pt x="340613" y="663955"/>
                </a:lnTo>
                <a:lnTo>
                  <a:pt x="340078" y="663574"/>
                </a:lnTo>
                <a:close/>
              </a:path>
              <a:path w="1508759" h="813435">
                <a:moveTo>
                  <a:pt x="1168272" y="645213"/>
                </a:moveTo>
                <a:lnTo>
                  <a:pt x="1167991" y="645413"/>
                </a:lnTo>
                <a:lnTo>
                  <a:pt x="1168272" y="645213"/>
                </a:lnTo>
                <a:close/>
              </a:path>
              <a:path w="1508759" h="813435">
                <a:moveTo>
                  <a:pt x="1235336" y="623569"/>
                </a:moveTo>
                <a:lnTo>
                  <a:pt x="1195704" y="623569"/>
                </a:lnTo>
                <a:lnTo>
                  <a:pt x="1168272" y="645213"/>
                </a:lnTo>
                <a:lnTo>
                  <a:pt x="1168527" y="645032"/>
                </a:lnTo>
                <a:lnTo>
                  <a:pt x="1210347" y="645032"/>
                </a:lnTo>
                <a:lnTo>
                  <a:pt x="1211960" y="643762"/>
                </a:lnTo>
                <a:lnTo>
                  <a:pt x="1235336" y="623569"/>
                </a:lnTo>
                <a:close/>
              </a:path>
              <a:path w="1508759" h="813435">
                <a:moveTo>
                  <a:pt x="312301" y="643822"/>
                </a:moveTo>
                <a:lnTo>
                  <a:pt x="312547" y="644016"/>
                </a:lnTo>
                <a:lnTo>
                  <a:pt x="312301" y="643822"/>
                </a:lnTo>
                <a:close/>
              </a:path>
              <a:path w="1508759" h="813435">
                <a:moveTo>
                  <a:pt x="312065" y="643635"/>
                </a:moveTo>
                <a:lnTo>
                  <a:pt x="312301" y="643822"/>
                </a:lnTo>
                <a:lnTo>
                  <a:pt x="312065" y="643635"/>
                </a:lnTo>
                <a:close/>
              </a:path>
              <a:path w="1508759" h="813435">
                <a:moveTo>
                  <a:pt x="1259344" y="600963"/>
                </a:moveTo>
                <a:lnTo>
                  <a:pt x="1221866" y="600963"/>
                </a:lnTo>
                <a:lnTo>
                  <a:pt x="1195197" y="623950"/>
                </a:lnTo>
                <a:lnTo>
                  <a:pt x="1195704" y="623569"/>
                </a:lnTo>
                <a:lnTo>
                  <a:pt x="1235336" y="623569"/>
                </a:lnTo>
                <a:lnTo>
                  <a:pt x="1239011" y="620394"/>
                </a:lnTo>
                <a:lnTo>
                  <a:pt x="1259344" y="600963"/>
                </a:lnTo>
                <a:close/>
              </a:path>
              <a:path w="1508759" h="813435">
                <a:moveTo>
                  <a:pt x="285185" y="622299"/>
                </a:moveTo>
                <a:lnTo>
                  <a:pt x="285623" y="622680"/>
                </a:lnTo>
                <a:lnTo>
                  <a:pt x="285185" y="622299"/>
                </a:lnTo>
                <a:close/>
              </a:path>
              <a:path w="1508759" h="813435">
                <a:moveTo>
                  <a:pt x="1282512" y="577214"/>
                </a:moveTo>
                <a:lnTo>
                  <a:pt x="1246631" y="577214"/>
                </a:lnTo>
                <a:lnTo>
                  <a:pt x="1221358" y="601344"/>
                </a:lnTo>
                <a:lnTo>
                  <a:pt x="1221866" y="600963"/>
                </a:lnTo>
                <a:lnTo>
                  <a:pt x="1259344" y="600963"/>
                </a:lnTo>
                <a:lnTo>
                  <a:pt x="1264792" y="595756"/>
                </a:lnTo>
                <a:lnTo>
                  <a:pt x="1282512" y="577214"/>
                </a:lnTo>
                <a:close/>
              </a:path>
              <a:path w="1508759" h="813435">
                <a:moveTo>
                  <a:pt x="259316" y="599693"/>
                </a:moveTo>
                <a:lnTo>
                  <a:pt x="259714" y="600074"/>
                </a:lnTo>
                <a:lnTo>
                  <a:pt x="259316" y="599693"/>
                </a:lnTo>
                <a:close/>
              </a:path>
              <a:path w="1508759" h="813435">
                <a:moveTo>
                  <a:pt x="1345852" y="499109"/>
                </a:moveTo>
                <a:lnTo>
                  <a:pt x="1314068" y="499109"/>
                </a:lnTo>
                <a:lnTo>
                  <a:pt x="1292478" y="526795"/>
                </a:lnTo>
                <a:lnTo>
                  <a:pt x="1270000" y="552830"/>
                </a:lnTo>
                <a:lnTo>
                  <a:pt x="1246437" y="577401"/>
                </a:lnTo>
                <a:lnTo>
                  <a:pt x="1246631" y="577214"/>
                </a:lnTo>
                <a:lnTo>
                  <a:pt x="1282512" y="577214"/>
                </a:lnTo>
                <a:lnTo>
                  <a:pt x="1289430" y="569975"/>
                </a:lnTo>
                <a:lnTo>
                  <a:pt x="1312672" y="543051"/>
                </a:lnTo>
                <a:lnTo>
                  <a:pt x="1334642" y="514857"/>
                </a:lnTo>
                <a:lnTo>
                  <a:pt x="1345852" y="499109"/>
                </a:lnTo>
                <a:close/>
              </a:path>
              <a:path w="1508759" h="813435">
                <a:moveTo>
                  <a:pt x="234461" y="575817"/>
                </a:moveTo>
                <a:lnTo>
                  <a:pt x="234314" y="575817"/>
                </a:lnTo>
                <a:lnTo>
                  <a:pt x="234823" y="576198"/>
                </a:lnTo>
                <a:lnTo>
                  <a:pt x="234461" y="575817"/>
                </a:lnTo>
                <a:close/>
              </a:path>
              <a:path w="1508759" h="813435">
                <a:moveTo>
                  <a:pt x="1270380" y="552322"/>
                </a:moveTo>
                <a:lnTo>
                  <a:pt x="1269895" y="552830"/>
                </a:lnTo>
                <a:lnTo>
                  <a:pt x="1270380" y="552322"/>
                </a:lnTo>
                <a:close/>
              </a:path>
              <a:path w="1508759" h="813435">
                <a:moveTo>
                  <a:pt x="210692" y="550798"/>
                </a:moveTo>
                <a:lnTo>
                  <a:pt x="211074" y="551306"/>
                </a:lnTo>
                <a:lnTo>
                  <a:pt x="210692" y="550798"/>
                </a:lnTo>
                <a:close/>
              </a:path>
              <a:path w="1508759" h="813435">
                <a:moveTo>
                  <a:pt x="1292859" y="526287"/>
                </a:moveTo>
                <a:lnTo>
                  <a:pt x="1292422" y="526795"/>
                </a:lnTo>
                <a:lnTo>
                  <a:pt x="1292859" y="526287"/>
                </a:lnTo>
                <a:close/>
              </a:path>
              <a:path w="1508759" h="813435">
                <a:moveTo>
                  <a:pt x="188196" y="524636"/>
                </a:moveTo>
                <a:lnTo>
                  <a:pt x="188595" y="525144"/>
                </a:lnTo>
                <a:lnTo>
                  <a:pt x="188196" y="524636"/>
                </a:lnTo>
                <a:close/>
              </a:path>
              <a:path w="1508759" h="813435">
                <a:moveTo>
                  <a:pt x="1364832" y="471042"/>
                </a:moveTo>
                <a:lnTo>
                  <a:pt x="1334007" y="471042"/>
                </a:lnTo>
                <a:lnTo>
                  <a:pt x="1313844" y="499397"/>
                </a:lnTo>
                <a:lnTo>
                  <a:pt x="1314068" y="499109"/>
                </a:lnTo>
                <a:lnTo>
                  <a:pt x="1345852" y="499109"/>
                </a:lnTo>
                <a:lnTo>
                  <a:pt x="1355343" y="485774"/>
                </a:lnTo>
                <a:lnTo>
                  <a:pt x="1364832" y="471042"/>
                </a:lnTo>
                <a:close/>
              </a:path>
              <a:path w="1508759" h="813435">
                <a:moveTo>
                  <a:pt x="167104" y="497747"/>
                </a:moveTo>
                <a:lnTo>
                  <a:pt x="167258" y="497966"/>
                </a:lnTo>
                <a:lnTo>
                  <a:pt x="167104" y="497747"/>
                </a:lnTo>
                <a:close/>
              </a:path>
              <a:path w="1508759" h="813435">
                <a:moveTo>
                  <a:pt x="166900" y="497458"/>
                </a:moveTo>
                <a:lnTo>
                  <a:pt x="167104" y="497747"/>
                </a:lnTo>
                <a:lnTo>
                  <a:pt x="166900" y="497458"/>
                </a:lnTo>
                <a:close/>
              </a:path>
              <a:path w="1508759" h="813435">
                <a:moveTo>
                  <a:pt x="1382517" y="442086"/>
                </a:moveTo>
                <a:lnTo>
                  <a:pt x="1352677" y="442086"/>
                </a:lnTo>
                <a:lnTo>
                  <a:pt x="1333627" y="471550"/>
                </a:lnTo>
                <a:lnTo>
                  <a:pt x="1334007" y="471042"/>
                </a:lnTo>
                <a:lnTo>
                  <a:pt x="1364832" y="471042"/>
                </a:lnTo>
                <a:lnTo>
                  <a:pt x="1374648" y="455802"/>
                </a:lnTo>
                <a:lnTo>
                  <a:pt x="1382517" y="442086"/>
                </a:lnTo>
                <a:close/>
              </a:path>
              <a:path w="1508759" h="813435">
                <a:moveTo>
                  <a:pt x="146938" y="469137"/>
                </a:moveTo>
                <a:lnTo>
                  <a:pt x="147320" y="469772"/>
                </a:lnTo>
                <a:lnTo>
                  <a:pt x="146938" y="469137"/>
                </a:lnTo>
                <a:close/>
              </a:path>
              <a:path w="1508759" h="813435">
                <a:moveTo>
                  <a:pt x="1413990" y="381380"/>
                </a:moveTo>
                <a:lnTo>
                  <a:pt x="1385570" y="381380"/>
                </a:lnTo>
                <a:lnTo>
                  <a:pt x="1369567" y="412749"/>
                </a:lnTo>
                <a:lnTo>
                  <a:pt x="1352296" y="442594"/>
                </a:lnTo>
                <a:lnTo>
                  <a:pt x="1352677" y="442086"/>
                </a:lnTo>
                <a:lnTo>
                  <a:pt x="1382517" y="442086"/>
                </a:lnTo>
                <a:lnTo>
                  <a:pt x="1392427" y="424814"/>
                </a:lnTo>
                <a:lnTo>
                  <a:pt x="1408683" y="392937"/>
                </a:lnTo>
                <a:lnTo>
                  <a:pt x="1413990" y="381380"/>
                </a:lnTo>
                <a:close/>
              </a:path>
              <a:path w="1508759" h="813435">
                <a:moveTo>
                  <a:pt x="128360" y="439927"/>
                </a:moveTo>
                <a:lnTo>
                  <a:pt x="128650" y="440435"/>
                </a:lnTo>
                <a:lnTo>
                  <a:pt x="128360" y="439927"/>
                </a:lnTo>
                <a:close/>
              </a:path>
              <a:path w="1508759" h="813435">
                <a:moveTo>
                  <a:pt x="1369822" y="412241"/>
                </a:moveTo>
                <a:lnTo>
                  <a:pt x="1369528" y="412749"/>
                </a:lnTo>
                <a:lnTo>
                  <a:pt x="1369822" y="412241"/>
                </a:lnTo>
                <a:close/>
              </a:path>
              <a:path w="1508759" h="813435">
                <a:moveTo>
                  <a:pt x="111120" y="409574"/>
                </a:moveTo>
                <a:lnTo>
                  <a:pt x="111378" y="410082"/>
                </a:lnTo>
                <a:lnTo>
                  <a:pt x="111120" y="409574"/>
                </a:lnTo>
                <a:close/>
              </a:path>
              <a:path w="1508759" h="813435">
                <a:moveTo>
                  <a:pt x="1427772" y="349884"/>
                </a:moveTo>
                <a:lnTo>
                  <a:pt x="1399921" y="349884"/>
                </a:lnTo>
                <a:lnTo>
                  <a:pt x="1399666" y="350519"/>
                </a:lnTo>
                <a:lnTo>
                  <a:pt x="1385359" y="381793"/>
                </a:lnTo>
                <a:lnTo>
                  <a:pt x="1385570" y="381380"/>
                </a:lnTo>
                <a:lnTo>
                  <a:pt x="1413990" y="381380"/>
                </a:lnTo>
                <a:lnTo>
                  <a:pt x="1423670" y="360298"/>
                </a:lnTo>
                <a:lnTo>
                  <a:pt x="1427772" y="349884"/>
                </a:lnTo>
                <a:close/>
              </a:path>
              <a:path w="1508759" h="813435">
                <a:moveTo>
                  <a:pt x="95250" y="378332"/>
                </a:moveTo>
                <a:lnTo>
                  <a:pt x="95503" y="378967"/>
                </a:lnTo>
                <a:lnTo>
                  <a:pt x="95250" y="378332"/>
                </a:lnTo>
                <a:close/>
              </a:path>
              <a:path w="1508759" h="813435">
                <a:moveTo>
                  <a:pt x="1399886" y="349961"/>
                </a:moveTo>
                <a:lnTo>
                  <a:pt x="1399631" y="350519"/>
                </a:lnTo>
                <a:lnTo>
                  <a:pt x="1399886" y="349961"/>
                </a:lnTo>
                <a:close/>
              </a:path>
              <a:path w="1508759" h="813435">
                <a:moveTo>
                  <a:pt x="1460211" y="250824"/>
                </a:moveTo>
                <a:lnTo>
                  <a:pt x="1433576" y="250824"/>
                </a:lnTo>
                <a:lnTo>
                  <a:pt x="1433449" y="251332"/>
                </a:lnTo>
                <a:lnTo>
                  <a:pt x="1423797" y="285114"/>
                </a:lnTo>
                <a:lnTo>
                  <a:pt x="1412493" y="318007"/>
                </a:lnTo>
                <a:lnTo>
                  <a:pt x="1399886" y="349961"/>
                </a:lnTo>
                <a:lnTo>
                  <a:pt x="1427772" y="349884"/>
                </a:lnTo>
                <a:lnTo>
                  <a:pt x="1436877" y="326770"/>
                </a:lnTo>
                <a:lnTo>
                  <a:pt x="1448561" y="292480"/>
                </a:lnTo>
                <a:lnTo>
                  <a:pt x="1458595" y="257682"/>
                </a:lnTo>
                <a:lnTo>
                  <a:pt x="1460211" y="250824"/>
                </a:lnTo>
                <a:close/>
              </a:path>
              <a:path w="1508759" h="813435">
                <a:moveTo>
                  <a:pt x="80954" y="346201"/>
                </a:moveTo>
                <a:lnTo>
                  <a:pt x="81152" y="346709"/>
                </a:lnTo>
                <a:lnTo>
                  <a:pt x="80954" y="346201"/>
                </a:lnTo>
                <a:close/>
              </a:path>
              <a:path w="1508759" h="813435">
                <a:moveTo>
                  <a:pt x="1412621" y="317499"/>
                </a:moveTo>
                <a:lnTo>
                  <a:pt x="1412421" y="318007"/>
                </a:lnTo>
                <a:lnTo>
                  <a:pt x="1412621" y="317499"/>
                </a:lnTo>
                <a:close/>
              </a:path>
              <a:path w="1508759" h="813435">
                <a:moveTo>
                  <a:pt x="68115" y="313181"/>
                </a:moveTo>
                <a:lnTo>
                  <a:pt x="68325" y="313816"/>
                </a:lnTo>
                <a:lnTo>
                  <a:pt x="68115" y="313181"/>
                </a:lnTo>
                <a:close/>
              </a:path>
              <a:path w="1508759" h="813435">
                <a:moveTo>
                  <a:pt x="1423924" y="284479"/>
                </a:moveTo>
                <a:lnTo>
                  <a:pt x="1423707" y="285114"/>
                </a:lnTo>
                <a:lnTo>
                  <a:pt x="1423924" y="284479"/>
                </a:lnTo>
                <a:close/>
              </a:path>
              <a:path w="1508759" h="813435">
                <a:moveTo>
                  <a:pt x="56973" y="279272"/>
                </a:moveTo>
                <a:lnTo>
                  <a:pt x="57150" y="279907"/>
                </a:lnTo>
                <a:lnTo>
                  <a:pt x="56973" y="279272"/>
                </a:lnTo>
                <a:close/>
              </a:path>
              <a:path w="1508759" h="813435">
                <a:moveTo>
                  <a:pt x="1433537" y="250960"/>
                </a:moveTo>
                <a:lnTo>
                  <a:pt x="1433431" y="251332"/>
                </a:lnTo>
                <a:lnTo>
                  <a:pt x="1433537" y="250960"/>
                </a:lnTo>
                <a:close/>
              </a:path>
              <a:path w="1508759" h="813435">
                <a:moveTo>
                  <a:pt x="1468000" y="216534"/>
                </a:moveTo>
                <a:lnTo>
                  <a:pt x="1441703" y="216534"/>
                </a:lnTo>
                <a:lnTo>
                  <a:pt x="1441577" y="217169"/>
                </a:lnTo>
                <a:lnTo>
                  <a:pt x="1433537" y="250960"/>
                </a:lnTo>
                <a:lnTo>
                  <a:pt x="1433576" y="250824"/>
                </a:lnTo>
                <a:lnTo>
                  <a:pt x="1460211" y="250824"/>
                </a:lnTo>
                <a:lnTo>
                  <a:pt x="1466977" y="222122"/>
                </a:lnTo>
                <a:lnTo>
                  <a:pt x="1468000" y="216534"/>
                </a:lnTo>
                <a:close/>
              </a:path>
              <a:path w="1508759" h="813435">
                <a:moveTo>
                  <a:pt x="47371" y="244728"/>
                </a:moveTo>
                <a:lnTo>
                  <a:pt x="47498" y="245363"/>
                </a:lnTo>
                <a:lnTo>
                  <a:pt x="47371" y="244728"/>
                </a:lnTo>
                <a:close/>
              </a:path>
              <a:path w="1508759" h="813435">
                <a:moveTo>
                  <a:pt x="1441656" y="216735"/>
                </a:moveTo>
                <a:lnTo>
                  <a:pt x="1441553" y="217169"/>
                </a:lnTo>
                <a:lnTo>
                  <a:pt x="1441656" y="216735"/>
                </a:lnTo>
                <a:close/>
              </a:path>
              <a:path w="1508759" h="813435">
                <a:moveTo>
                  <a:pt x="1474150" y="181736"/>
                </a:moveTo>
                <a:lnTo>
                  <a:pt x="1448053" y="181736"/>
                </a:lnTo>
                <a:lnTo>
                  <a:pt x="1441656" y="216735"/>
                </a:lnTo>
                <a:lnTo>
                  <a:pt x="1441703" y="216534"/>
                </a:lnTo>
                <a:lnTo>
                  <a:pt x="1468000" y="216534"/>
                </a:lnTo>
                <a:lnTo>
                  <a:pt x="1473580" y="186054"/>
                </a:lnTo>
                <a:lnTo>
                  <a:pt x="1474150" y="181736"/>
                </a:lnTo>
                <a:close/>
              </a:path>
              <a:path w="1508759" h="813435">
                <a:moveTo>
                  <a:pt x="39514" y="209422"/>
                </a:moveTo>
                <a:lnTo>
                  <a:pt x="39370" y="209422"/>
                </a:lnTo>
                <a:lnTo>
                  <a:pt x="39624" y="210057"/>
                </a:lnTo>
                <a:lnTo>
                  <a:pt x="39514" y="209422"/>
                </a:lnTo>
                <a:close/>
              </a:path>
              <a:path w="1508759" h="813435">
                <a:moveTo>
                  <a:pt x="1478667" y="146303"/>
                </a:moveTo>
                <a:lnTo>
                  <a:pt x="1452752" y="146303"/>
                </a:lnTo>
                <a:lnTo>
                  <a:pt x="1447927" y="182371"/>
                </a:lnTo>
                <a:lnTo>
                  <a:pt x="1448053" y="181736"/>
                </a:lnTo>
                <a:lnTo>
                  <a:pt x="1474150" y="181736"/>
                </a:lnTo>
                <a:lnTo>
                  <a:pt x="1478406" y="149478"/>
                </a:lnTo>
                <a:lnTo>
                  <a:pt x="1478667" y="146303"/>
                </a:lnTo>
                <a:close/>
              </a:path>
              <a:path w="1508759" h="813435">
                <a:moveTo>
                  <a:pt x="33325" y="173354"/>
                </a:moveTo>
                <a:lnTo>
                  <a:pt x="33400" y="173989"/>
                </a:lnTo>
                <a:lnTo>
                  <a:pt x="33325" y="173354"/>
                </a:lnTo>
                <a:close/>
              </a:path>
              <a:path w="1508759" h="813435">
                <a:moveTo>
                  <a:pt x="1481925" y="77158"/>
                </a:moveTo>
                <a:lnTo>
                  <a:pt x="1455996" y="78217"/>
                </a:lnTo>
                <a:lnTo>
                  <a:pt x="1455547" y="111505"/>
                </a:lnTo>
                <a:lnTo>
                  <a:pt x="1452626" y="146938"/>
                </a:lnTo>
                <a:lnTo>
                  <a:pt x="1452752" y="146303"/>
                </a:lnTo>
                <a:lnTo>
                  <a:pt x="1478667" y="146303"/>
                </a:lnTo>
                <a:lnTo>
                  <a:pt x="1481454" y="112267"/>
                </a:lnTo>
                <a:lnTo>
                  <a:pt x="1481925" y="77158"/>
                </a:lnTo>
                <a:close/>
              </a:path>
              <a:path w="1508759" h="813435">
                <a:moveTo>
                  <a:pt x="28955" y="136651"/>
                </a:moveTo>
                <a:lnTo>
                  <a:pt x="28955" y="137286"/>
                </a:lnTo>
                <a:lnTo>
                  <a:pt x="28955" y="136651"/>
                </a:lnTo>
                <a:close/>
              </a:path>
              <a:path w="1508759" h="813435">
                <a:moveTo>
                  <a:pt x="1455547" y="110616"/>
                </a:moveTo>
                <a:lnTo>
                  <a:pt x="1455475" y="111505"/>
                </a:lnTo>
                <a:lnTo>
                  <a:pt x="1455547" y="110616"/>
                </a:lnTo>
                <a:close/>
              </a:path>
              <a:path w="1508759" h="813435">
                <a:moveTo>
                  <a:pt x="26903" y="108838"/>
                </a:moveTo>
                <a:lnTo>
                  <a:pt x="26924" y="109346"/>
                </a:lnTo>
                <a:lnTo>
                  <a:pt x="26903" y="108838"/>
                </a:lnTo>
                <a:close/>
              </a:path>
              <a:path w="1508759" h="813435">
                <a:moveTo>
                  <a:pt x="1466341" y="0"/>
                </a:moveTo>
                <a:lnTo>
                  <a:pt x="1430781" y="79247"/>
                </a:lnTo>
                <a:lnTo>
                  <a:pt x="1455996" y="78217"/>
                </a:lnTo>
                <a:lnTo>
                  <a:pt x="1456181" y="64515"/>
                </a:lnTo>
                <a:lnTo>
                  <a:pt x="1502100" y="64515"/>
                </a:lnTo>
                <a:lnTo>
                  <a:pt x="1466341" y="0"/>
                </a:lnTo>
                <a:close/>
              </a:path>
              <a:path w="1508759" h="813435">
                <a:moveTo>
                  <a:pt x="1456181" y="64515"/>
                </a:moveTo>
                <a:lnTo>
                  <a:pt x="1455996" y="78217"/>
                </a:lnTo>
                <a:lnTo>
                  <a:pt x="1481925" y="77158"/>
                </a:lnTo>
                <a:lnTo>
                  <a:pt x="1482089" y="64896"/>
                </a:lnTo>
                <a:lnTo>
                  <a:pt x="1456181" y="64515"/>
                </a:lnTo>
                <a:close/>
              </a:path>
              <a:path w="1508759" h="813435">
                <a:moveTo>
                  <a:pt x="1502100" y="64515"/>
                </a:moveTo>
                <a:lnTo>
                  <a:pt x="1456181" y="64515"/>
                </a:lnTo>
                <a:lnTo>
                  <a:pt x="1482089" y="64896"/>
                </a:lnTo>
                <a:lnTo>
                  <a:pt x="1481925" y="77158"/>
                </a:lnTo>
                <a:lnTo>
                  <a:pt x="1508505" y="76072"/>
                </a:lnTo>
                <a:lnTo>
                  <a:pt x="1502100" y="64515"/>
                </a:lnTo>
                <a:close/>
              </a:path>
            </a:pathLst>
          </a:custGeom>
          <a:solidFill>
            <a:srgbClr val="12ABDB"/>
          </a:solidFill>
        </p:spPr>
        <p:txBody>
          <a:bodyPr wrap="square" lIns="0" tIns="0" rIns="0" bIns="0" rtlCol="0"/>
          <a:lstStyle/>
          <a:p>
            <a:endParaRPr/>
          </a:p>
        </p:txBody>
      </p:sp>
      <p:sp>
        <p:nvSpPr>
          <p:cNvPr id="41" name="object 4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42" name="object 4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7</a:t>
            </a:fld>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275329" cy="422275"/>
          </a:xfrm>
          <a:prstGeom prst="rect">
            <a:avLst/>
          </a:prstGeom>
        </p:spPr>
        <p:txBody>
          <a:bodyPr vert="horz" wrap="square" lIns="0" tIns="12700" rIns="0" bIns="0" rtlCol="0">
            <a:spAutoFit/>
          </a:bodyPr>
          <a:lstStyle/>
          <a:p>
            <a:pPr marL="12700">
              <a:lnSpc>
                <a:spcPct val="100000"/>
              </a:lnSpc>
              <a:spcBef>
                <a:spcPts val="100"/>
              </a:spcBef>
            </a:pPr>
            <a:r>
              <a:rPr sz="2600" spc="-5"/>
              <a:t>Acceptance</a:t>
            </a:r>
            <a:r>
              <a:rPr sz="2600" spc="-70"/>
              <a:t> </a:t>
            </a:r>
            <a:r>
              <a:rPr sz="2600"/>
              <a:t>Process</a:t>
            </a:r>
          </a:p>
        </p:txBody>
      </p:sp>
      <p:sp>
        <p:nvSpPr>
          <p:cNvPr id="49" name="object 4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50" name="object 50"/>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8</a:t>
            </a:fld>
            <a:endParaRPr/>
          </a:p>
        </p:txBody>
      </p:sp>
      <p:grpSp>
        <p:nvGrpSpPr>
          <p:cNvPr id="51" name="Group 50">
            <a:extLst>
              <a:ext uri="{FF2B5EF4-FFF2-40B4-BE49-F238E27FC236}">
                <a16:creationId xmlns:a16="http://schemas.microsoft.com/office/drawing/2014/main" id="{7A79C0EF-4876-4316-8EA0-8E942F1B2277}"/>
              </a:ext>
            </a:extLst>
          </p:cNvPr>
          <p:cNvGrpSpPr/>
          <p:nvPr/>
        </p:nvGrpSpPr>
        <p:grpSpPr>
          <a:xfrm>
            <a:off x="224027" y="1109472"/>
            <a:ext cx="11724259" cy="5404866"/>
            <a:chOff x="224027" y="1109472"/>
            <a:chExt cx="11724259" cy="5404866"/>
          </a:xfrm>
        </p:grpSpPr>
        <p:sp>
          <p:nvSpPr>
            <p:cNvPr id="3" name="object 3"/>
            <p:cNvSpPr/>
            <p:nvPr/>
          </p:nvSpPr>
          <p:spPr>
            <a:xfrm>
              <a:off x="255270" y="4397502"/>
              <a:ext cx="7976234" cy="0"/>
            </a:xfrm>
            <a:custGeom>
              <a:avLst/>
              <a:gdLst/>
              <a:ahLst/>
              <a:cxnLst/>
              <a:rect l="l" t="t" r="r" b="b"/>
              <a:pathLst>
                <a:path w="7976234">
                  <a:moveTo>
                    <a:pt x="0" y="0"/>
                  </a:moveTo>
                  <a:lnTo>
                    <a:pt x="7975727" y="0"/>
                  </a:lnTo>
                </a:path>
              </a:pathLst>
            </a:custGeom>
            <a:ln w="19812">
              <a:solidFill>
                <a:srgbClr val="7E7E7E"/>
              </a:solidFill>
            </a:ln>
          </p:spPr>
          <p:txBody>
            <a:bodyPr wrap="square" lIns="0" tIns="0" rIns="0" bIns="0" rtlCol="0"/>
            <a:lstStyle/>
            <a:p>
              <a:endParaRPr/>
            </a:p>
          </p:txBody>
        </p:sp>
        <p:sp>
          <p:nvSpPr>
            <p:cNvPr id="4" name="object 4"/>
            <p:cNvSpPr/>
            <p:nvPr/>
          </p:nvSpPr>
          <p:spPr>
            <a:xfrm>
              <a:off x="737616" y="2490216"/>
              <a:ext cx="701040" cy="509270"/>
            </a:xfrm>
            <a:custGeom>
              <a:avLst/>
              <a:gdLst/>
              <a:ahLst/>
              <a:cxnLst/>
              <a:rect l="l" t="t" r="r" b="b"/>
              <a:pathLst>
                <a:path w="701040" h="509269">
                  <a:moveTo>
                    <a:pt x="350520" y="0"/>
                  </a:moveTo>
                  <a:lnTo>
                    <a:pt x="293664" y="3330"/>
                  </a:lnTo>
                  <a:lnTo>
                    <a:pt x="239728" y="12972"/>
                  </a:lnTo>
                  <a:lnTo>
                    <a:pt x="189436" y="28402"/>
                  </a:lnTo>
                  <a:lnTo>
                    <a:pt x="143507" y="49097"/>
                  </a:lnTo>
                  <a:lnTo>
                    <a:pt x="102665" y="74533"/>
                  </a:lnTo>
                  <a:lnTo>
                    <a:pt x="67630" y="104186"/>
                  </a:lnTo>
                  <a:lnTo>
                    <a:pt x="39124" y="137534"/>
                  </a:lnTo>
                  <a:lnTo>
                    <a:pt x="17869" y="174052"/>
                  </a:lnTo>
                  <a:lnTo>
                    <a:pt x="4587" y="213218"/>
                  </a:lnTo>
                  <a:lnTo>
                    <a:pt x="0" y="254508"/>
                  </a:lnTo>
                  <a:lnTo>
                    <a:pt x="4587" y="295797"/>
                  </a:lnTo>
                  <a:lnTo>
                    <a:pt x="17869" y="334963"/>
                  </a:lnTo>
                  <a:lnTo>
                    <a:pt x="39124" y="371481"/>
                  </a:lnTo>
                  <a:lnTo>
                    <a:pt x="67630" y="404829"/>
                  </a:lnTo>
                  <a:lnTo>
                    <a:pt x="102665" y="434482"/>
                  </a:lnTo>
                  <a:lnTo>
                    <a:pt x="143507" y="459918"/>
                  </a:lnTo>
                  <a:lnTo>
                    <a:pt x="189436" y="480613"/>
                  </a:lnTo>
                  <a:lnTo>
                    <a:pt x="239728" y="496043"/>
                  </a:lnTo>
                  <a:lnTo>
                    <a:pt x="293664" y="505685"/>
                  </a:lnTo>
                  <a:lnTo>
                    <a:pt x="350520" y="509016"/>
                  </a:lnTo>
                  <a:lnTo>
                    <a:pt x="407366" y="505685"/>
                  </a:lnTo>
                  <a:lnTo>
                    <a:pt x="461296" y="496043"/>
                  </a:lnTo>
                  <a:lnTo>
                    <a:pt x="511586" y="480613"/>
                  </a:lnTo>
                  <a:lnTo>
                    <a:pt x="557515" y="459918"/>
                  </a:lnTo>
                  <a:lnTo>
                    <a:pt x="598360" y="434482"/>
                  </a:lnTo>
                  <a:lnTo>
                    <a:pt x="633398" y="404829"/>
                  </a:lnTo>
                  <a:lnTo>
                    <a:pt x="661908" y="371481"/>
                  </a:lnTo>
                  <a:lnTo>
                    <a:pt x="683166" y="334963"/>
                  </a:lnTo>
                  <a:lnTo>
                    <a:pt x="696451" y="295797"/>
                  </a:lnTo>
                  <a:lnTo>
                    <a:pt x="701040" y="254508"/>
                  </a:lnTo>
                  <a:lnTo>
                    <a:pt x="696451" y="213218"/>
                  </a:lnTo>
                  <a:lnTo>
                    <a:pt x="683166" y="174052"/>
                  </a:lnTo>
                  <a:lnTo>
                    <a:pt x="661908" y="137534"/>
                  </a:lnTo>
                  <a:lnTo>
                    <a:pt x="633398" y="104186"/>
                  </a:lnTo>
                  <a:lnTo>
                    <a:pt x="598360" y="74533"/>
                  </a:lnTo>
                  <a:lnTo>
                    <a:pt x="557515" y="49097"/>
                  </a:lnTo>
                  <a:lnTo>
                    <a:pt x="511586" y="28402"/>
                  </a:lnTo>
                  <a:lnTo>
                    <a:pt x="461296" y="12972"/>
                  </a:lnTo>
                  <a:lnTo>
                    <a:pt x="407366" y="3330"/>
                  </a:lnTo>
                  <a:lnTo>
                    <a:pt x="350520" y="0"/>
                  </a:lnTo>
                  <a:close/>
                </a:path>
              </a:pathLst>
            </a:custGeom>
            <a:solidFill>
              <a:srgbClr val="006FAC"/>
            </a:solidFill>
          </p:spPr>
          <p:txBody>
            <a:bodyPr wrap="square" lIns="0" tIns="0" rIns="0" bIns="0" rtlCol="0"/>
            <a:lstStyle/>
            <a:p>
              <a:endParaRPr/>
            </a:p>
          </p:txBody>
        </p:sp>
        <p:sp>
          <p:nvSpPr>
            <p:cNvPr id="5" name="object 5"/>
            <p:cNvSpPr txBox="1"/>
            <p:nvPr/>
          </p:nvSpPr>
          <p:spPr>
            <a:xfrm>
              <a:off x="930655" y="2662173"/>
              <a:ext cx="311785" cy="162560"/>
            </a:xfrm>
            <a:prstGeom prst="rect">
              <a:avLst/>
            </a:prstGeom>
          </p:spPr>
          <p:txBody>
            <a:bodyPr vert="horz" wrap="square" lIns="0" tIns="12700" rIns="0" bIns="0" rtlCol="0">
              <a:spAutoFit/>
            </a:bodyPr>
            <a:lstStyle/>
            <a:p>
              <a:pPr marL="12700">
                <a:lnSpc>
                  <a:spcPct val="100000"/>
                </a:lnSpc>
                <a:spcBef>
                  <a:spcPts val="100"/>
                </a:spcBef>
              </a:pPr>
              <a:r>
                <a:rPr sz="900" spc="-5">
                  <a:solidFill>
                    <a:srgbClr val="FFFFFF"/>
                  </a:solidFill>
                  <a:latin typeface="Verdana"/>
                  <a:cs typeface="Verdana"/>
                </a:rPr>
                <a:t>S</a:t>
              </a:r>
              <a:r>
                <a:rPr sz="900">
                  <a:solidFill>
                    <a:srgbClr val="FFFFFF"/>
                  </a:solidFill>
                  <a:latin typeface="Verdana"/>
                  <a:cs typeface="Verdana"/>
                </a:rPr>
                <a:t>tart</a:t>
              </a:r>
              <a:endParaRPr sz="900">
                <a:latin typeface="Verdana"/>
                <a:cs typeface="Verdana"/>
              </a:endParaRPr>
            </a:p>
          </p:txBody>
        </p:sp>
        <p:sp>
          <p:nvSpPr>
            <p:cNvPr id="6" name="object 6"/>
            <p:cNvSpPr txBox="1"/>
            <p:nvPr/>
          </p:nvSpPr>
          <p:spPr>
            <a:xfrm>
              <a:off x="1793748" y="2444495"/>
              <a:ext cx="1248410" cy="600710"/>
            </a:xfrm>
            <a:prstGeom prst="rect">
              <a:avLst/>
            </a:prstGeom>
            <a:solidFill>
              <a:srgbClr val="006FAC"/>
            </a:solidFill>
          </p:spPr>
          <p:txBody>
            <a:bodyPr vert="horz" wrap="square" lIns="0" tIns="24765" rIns="0" bIns="0" rtlCol="0">
              <a:spAutoFit/>
            </a:bodyPr>
            <a:lstStyle/>
            <a:p>
              <a:pPr marL="300990" marR="294640" indent="-1270" algn="ctr">
                <a:lnSpc>
                  <a:spcPct val="100000"/>
                </a:lnSpc>
                <a:spcBef>
                  <a:spcPts val="195"/>
                </a:spcBef>
              </a:pPr>
              <a:r>
                <a:rPr sz="900" spc="-5">
                  <a:solidFill>
                    <a:srgbClr val="FFFFFF"/>
                  </a:solidFill>
                  <a:latin typeface="Verdana"/>
                  <a:cs typeface="Verdana"/>
                </a:rPr>
                <a:t>Prepare  </a:t>
              </a:r>
              <a:r>
                <a:rPr sz="900">
                  <a:solidFill>
                    <a:srgbClr val="FFFFFF"/>
                  </a:solidFill>
                  <a:latin typeface="Verdana"/>
                  <a:cs typeface="Verdana"/>
                </a:rPr>
                <a:t>Deli</a:t>
              </a:r>
              <a:r>
                <a:rPr sz="900" spc="-5">
                  <a:solidFill>
                    <a:srgbClr val="FFFFFF"/>
                  </a:solidFill>
                  <a:latin typeface="Verdana"/>
                  <a:cs typeface="Verdana"/>
                </a:rPr>
                <a:t>v</a:t>
              </a:r>
              <a:r>
                <a:rPr sz="900">
                  <a:solidFill>
                    <a:srgbClr val="FFFFFF"/>
                  </a:solidFill>
                  <a:latin typeface="Verdana"/>
                  <a:cs typeface="Verdana"/>
                </a:rPr>
                <a:t>erab</a:t>
              </a:r>
              <a:r>
                <a:rPr sz="900" spc="5">
                  <a:solidFill>
                    <a:srgbClr val="FFFFFF"/>
                  </a:solidFill>
                  <a:latin typeface="Verdana"/>
                  <a:cs typeface="Verdana"/>
                </a:rPr>
                <a:t>l</a:t>
              </a:r>
              <a:r>
                <a:rPr sz="900">
                  <a:solidFill>
                    <a:srgbClr val="FFFFFF"/>
                  </a:solidFill>
                  <a:latin typeface="Verdana"/>
                  <a:cs typeface="Verdana"/>
                </a:rPr>
                <a:t>e</a:t>
              </a:r>
              <a:endParaRPr sz="900">
                <a:latin typeface="Verdana"/>
                <a:cs typeface="Verdana"/>
              </a:endParaRPr>
            </a:p>
            <a:p>
              <a:pPr algn="ctr">
                <a:lnSpc>
                  <a:spcPct val="100000"/>
                </a:lnSpc>
              </a:pPr>
              <a:r>
                <a:rPr sz="900" spc="-5">
                  <a:solidFill>
                    <a:srgbClr val="FFFFFF"/>
                  </a:solidFill>
                  <a:latin typeface="Verdana"/>
                  <a:cs typeface="Verdana"/>
                </a:rPr>
                <a:t>+Delivery</a:t>
              </a:r>
              <a:r>
                <a:rPr sz="900" spc="-15">
                  <a:solidFill>
                    <a:srgbClr val="FFFFFF"/>
                  </a:solidFill>
                  <a:latin typeface="Verdana"/>
                  <a:cs typeface="Verdana"/>
                </a:rPr>
                <a:t> </a:t>
              </a:r>
              <a:r>
                <a:rPr sz="900">
                  <a:solidFill>
                    <a:srgbClr val="FFFFFF"/>
                  </a:solidFill>
                  <a:latin typeface="Verdana"/>
                  <a:cs typeface="Verdana"/>
                </a:rPr>
                <a:t>Note</a:t>
              </a:r>
              <a:endParaRPr sz="900">
                <a:latin typeface="Verdana"/>
                <a:cs typeface="Verdana"/>
              </a:endParaRPr>
            </a:p>
            <a:p>
              <a:pPr algn="ctr">
                <a:lnSpc>
                  <a:spcPct val="100000"/>
                </a:lnSpc>
              </a:pPr>
              <a:r>
                <a:rPr sz="900" spc="-5">
                  <a:solidFill>
                    <a:srgbClr val="FFFFFF"/>
                  </a:solidFill>
                  <a:latin typeface="Verdana"/>
                  <a:cs typeface="Verdana"/>
                </a:rPr>
                <a:t>+RID</a:t>
              </a:r>
              <a:r>
                <a:rPr sz="900" spc="-15">
                  <a:solidFill>
                    <a:srgbClr val="FFFFFF"/>
                  </a:solidFill>
                  <a:latin typeface="Verdana"/>
                  <a:cs typeface="Verdana"/>
                </a:rPr>
                <a:t> </a:t>
              </a:r>
              <a:r>
                <a:rPr sz="900" spc="-5">
                  <a:solidFill>
                    <a:srgbClr val="FFFFFF"/>
                  </a:solidFill>
                  <a:latin typeface="Verdana"/>
                  <a:cs typeface="Verdana"/>
                </a:rPr>
                <a:t>sheet</a:t>
              </a:r>
              <a:endParaRPr sz="900">
                <a:latin typeface="Verdana"/>
                <a:cs typeface="Verdana"/>
              </a:endParaRPr>
            </a:p>
          </p:txBody>
        </p:sp>
        <p:sp>
          <p:nvSpPr>
            <p:cNvPr id="7" name="object 7"/>
            <p:cNvSpPr txBox="1"/>
            <p:nvPr/>
          </p:nvSpPr>
          <p:spPr>
            <a:xfrm>
              <a:off x="3396996" y="5475732"/>
              <a:ext cx="1248410" cy="600710"/>
            </a:xfrm>
            <a:prstGeom prst="rect">
              <a:avLst/>
            </a:prstGeom>
            <a:solidFill>
              <a:srgbClr val="D22138"/>
            </a:solidFill>
          </p:spPr>
          <p:txBody>
            <a:bodyPr vert="horz" wrap="square" lIns="0" tIns="4445" rIns="0" bIns="0" rtlCol="0">
              <a:spAutoFit/>
            </a:bodyPr>
            <a:lstStyle/>
            <a:p>
              <a:pPr>
                <a:lnSpc>
                  <a:spcPct val="100000"/>
                </a:lnSpc>
                <a:spcBef>
                  <a:spcPts val="35"/>
                </a:spcBef>
              </a:pPr>
              <a:endParaRPr sz="1550">
                <a:latin typeface="Times New Roman"/>
                <a:cs typeface="Times New Roman"/>
              </a:endParaRPr>
            </a:p>
            <a:p>
              <a:pPr marL="270510">
                <a:lnSpc>
                  <a:spcPct val="100000"/>
                </a:lnSpc>
                <a:spcBef>
                  <a:spcPts val="5"/>
                </a:spcBef>
              </a:pPr>
              <a:r>
                <a:rPr sz="900" spc="-5">
                  <a:solidFill>
                    <a:srgbClr val="FFFFFF"/>
                  </a:solidFill>
                  <a:latin typeface="Verdana"/>
                  <a:cs typeface="Verdana"/>
                </a:rPr>
                <a:t>Collate</a:t>
              </a:r>
              <a:r>
                <a:rPr sz="900" spc="-40">
                  <a:solidFill>
                    <a:srgbClr val="FFFFFF"/>
                  </a:solidFill>
                  <a:latin typeface="Verdana"/>
                  <a:cs typeface="Verdana"/>
                </a:rPr>
                <a:t> </a:t>
              </a:r>
              <a:r>
                <a:rPr sz="900" spc="-5">
                  <a:solidFill>
                    <a:srgbClr val="FFFFFF"/>
                  </a:solidFill>
                  <a:latin typeface="Verdana"/>
                  <a:cs typeface="Verdana"/>
                </a:rPr>
                <a:t>RIDs</a:t>
              </a:r>
              <a:endParaRPr sz="900">
                <a:latin typeface="Verdana"/>
                <a:cs typeface="Verdana"/>
              </a:endParaRPr>
            </a:p>
          </p:txBody>
        </p:sp>
        <p:sp>
          <p:nvSpPr>
            <p:cNvPr id="8" name="object 8"/>
            <p:cNvSpPr txBox="1"/>
            <p:nvPr/>
          </p:nvSpPr>
          <p:spPr>
            <a:xfrm>
              <a:off x="1793748" y="5475732"/>
              <a:ext cx="1248410" cy="600710"/>
            </a:xfrm>
            <a:prstGeom prst="rect">
              <a:avLst/>
            </a:prstGeom>
            <a:solidFill>
              <a:srgbClr val="D22138"/>
            </a:solidFill>
          </p:spPr>
          <p:txBody>
            <a:bodyPr vert="horz" wrap="square" lIns="0" tIns="25400" rIns="0" bIns="0" rtlCol="0">
              <a:spAutoFit/>
            </a:bodyPr>
            <a:lstStyle/>
            <a:p>
              <a:pPr marL="108585" marR="102235" indent="1270" algn="ctr">
                <a:lnSpc>
                  <a:spcPct val="100000"/>
                </a:lnSpc>
                <a:spcBef>
                  <a:spcPts val="200"/>
                </a:spcBef>
              </a:pPr>
              <a:r>
                <a:rPr sz="900" spc="-5">
                  <a:solidFill>
                    <a:srgbClr val="FFFFFF"/>
                  </a:solidFill>
                  <a:latin typeface="Verdana"/>
                  <a:cs typeface="Verdana"/>
                </a:rPr>
                <a:t>Review  </a:t>
              </a:r>
              <a:r>
                <a:rPr sz="900">
                  <a:solidFill>
                    <a:srgbClr val="FFFFFF"/>
                  </a:solidFill>
                  <a:latin typeface="Verdana"/>
                  <a:cs typeface="Verdana"/>
                </a:rPr>
                <a:t>deliverable</a:t>
              </a:r>
              <a:r>
                <a:rPr sz="900" spc="-85">
                  <a:solidFill>
                    <a:srgbClr val="FFFFFF"/>
                  </a:solidFill>
                  <a:latin typeface="Verdana"/>
                  <a:cs typeface="Verdana"/>
                </a:rPr>
                <a:t> </a:t>
              </a:r>
              <a:r>
                <a:rPr sz="900" spc="-5">
                  <a:solidFill>
                    <a:srgbClr val="FFFFFF"/>
                  </a:solidFill>
                  <a:latin typeface="Verdana"/>
                  <a:cs typeface="Verdana"/>
                </a:rPr>
                <a:t>(client</a:t>
              </a:r>
              <a:endParaRPr sz="900">
                <a:latin typeface="Verdana"/>
                <a:cs typeface="Verdana"/>
              </a:endParaRPr>
            </a:p>
            <a:p>
              <a:pPr algn="ctr">
                <a:lnSpc>
                  <a:spcPct val="100000"/>
                </a:lnSpc>
              </a:pPr>
              <a:r>
                <a:rPr sz="900">
                  <a:solidFill>
                    <a:srgbClr val="FFFFFF"/>
                  </a:solidFill>
                  <a:latin typeface="Verdana"/>
                  <a:cs typeface="Verdana"/>
                </a:rPr>
                <a:t>+</a:t>
              </a:r>
              <a:r>
                <a:rPr sz="900" spc="-20">
                  <a:solidFill>
                    <a:srgbClr val="FFFFFF"/>
                  </a:solidFill>
                  <a:latin typeface="Verdana"/>
                  <a:cs typeface="Verdana"/>
                </a:rPr>
                <a:t> </a:t>
              </a:r>
              <a:r>
                <a:rPr sz="900" spc="-5">
                  <a:solidFill>
                    <a:srgbClr val="FFFFFF"/>
                  </a:solidFill>
                  <a:latin typeface="Verdana"/>
                  <a:cs typeface="Verdana"/>
                </a:rPr>
                <a:t>relevant</a:t>
              </a:r>
              <a:endParaRPr sz="900">
                <a:latin typeface="Verdana"/>
                <a:cs typeface="Verdana"/>
              </a:endParaRPr>
            </a:p>
            <a:p>
              <a:pPr algn="ctr">
                <a:lnSpc>
                  <a:spcPct val="100000"/>
                </a:lnSpc>
              </a:pPr>
              <a:r>
                <a:rPr sz="900">
                  <a:solidFill>
                    <a:srgbClr val="FFFFFF"/>
                  </a:solidFill>
                  <a:latin typeface="Verdana"/>
                  <a:cs typeface="Verdana"/>
                </a:rPr>
                <a:t>parties)</a:t>
              </a:r>
              <a:endParaRPr sz="900">
                <a:latin typeface="Verdana"/>
                <a:cs typeface="Verdana"/>
              </a:endParaRPr>
            </a:p>
          </p:txBody>
        </p:sp>
        <p:sp>
          <p:nvSpPr>
            <p:cNvPr id="9" name="object 9"/>
            <p:cNvSpPr txBox="1"/>
            <p:nvPr/>
          </p:nvSpPr>
          <p:spPr>
            <a:xfrm>
              <a:off x="3396996" y="2444495"/>
              <a:ext cx="1248410" cy="600710"/>
            </a:xfrm>
            <a:prstGeom prst="rect">
              <a:avLst/>
            </a:prstGeom>
            <a:solidFill>
              <a:srgbClr val="006FAC"/>
            </a:solidFill>
          </p:spPr>
          <p:txBody>
            <a:bodyPr vert="horz" wrap="square" lIns="0" tIns="635" rIns="0" bIns="0" rtlCol="0">
              <a:spAutoFit/>
            </a:bodyPr>
            <a:lstStyle/>
            <a:p>
              <a:pPr>
                <a:lnSpc>
                  <a:spcPct val="100000"/>
                </a:lnSpc>
                <a:spcBef>
                  <a:spcPts val="5"/>
                </a:spcBef>
              </a:pPr>
              <a:endParaRPr sz="1100">
                <a:latin typeface="Times New Roman"/>
                <a:cs typeface="Times New Roman"/>
              </a:endParaRPr>
            </a:p>
            <a:p>
              <a:pPr marL="292100" marR="285750" indent="1270">
                <a:lnSpc>
                  <a:spcPct val="100000"/>
                </a:lnSpc>
                <a:spcBef>
                  <a:spcPts val="5"/>
                </a:spcBef>
              </a:pPr>
              <a:r>
                <a:rPr sz="900" spc="-5">
                  <a:solidFill>
                    <a:srgbClr val="FFFFFF"/>
                  </a:solidFill>
                  <a:latin typeface="Verdana"/>
                  <a:cs typeface="Verdana"/>
                </a:rPr>
                <a:t>Review</a:t>
              </a:r>
              <a:r>
                <a:rPr sz="900" spc="-75">
                  <a:solidFill>
                    <a:srgbClr val="FFFFFF"/>
                  </a:solidFill>
                  <a:latin typeface="Verdana"/>
                  <a:cs typeface="Verdana"/>
                </a:rPr>
                <a:t> </a:t>
              </a:r>
              <a:r>
                <a:rPr sz="900" spc="-5">
                  <a:solidFill>
                    <a:srgbClr val="FFFFFF"/>
                  </a:solidFill>
                  <a:latin typeface="Verdana"/>
                  <a:cs typeface="Verdana"/>
                </a:rPr>
                <a:t>and  </a:t>
              </a:r>
              <a:r>
                <a:rPr sz="900">
                  <a:solidFill>
                    <a:srgbClr val="FFFFFF"/>
                  </a:solidFill>
                  <a:latin typeface="Verdana"/>
                  <a:cs typeface="Verdana"/>
                </a:rPr>
                <a:t>Update</a:t>
              </a:r>
              <a:r>
                <a:rPr sz="900" spc="-105">
                  <a:solidFill>
                    <a:srgbClr val="FFFFFF"/>
                  </a:solidFill>
                  <a:latin typeface="Verdana"/>
                  <a:cs typeface="Verdana"/>
                </a:rPr>
                <a:t> </a:t>
              </a:r>
              <a:r>
                <a:rPr sz="900" spc="-5">
                  <a:solidFill>
                    <a:srgbClr val="FFFFFF"/>
                  </a:solidFill>
                  <a:latin typeface="Verdana"/>
                  <a:cs typeface="Verdana"/>
                </a:rPr>
                <a:t>RID</a:t>
              </a:r>
              <a:endParaRPr sz="900">
                <a:latin typeface="Verdana"/>
                <a:cs typeface="Verdana"/>
              </a:endParaRPr>
            </a:p>
          </p:txBody>
        </p:sp>
        <p:sp>
          <p:nvSpPr>
            <p:cNvPr id="10" name="object 10"/>
            <p:cNvSpPr txBox="1"/>
            <p:nvPr/>
          </p:nvSpPr>
          <p:spPr>
            <a:xfrm>
              <a:off x="6912864" y="2444495"/>
              <a:ext cx="1248410" cy="600710"/>
            </a:xfrm>
            <a:prstGeom prst="rect">
              <a:avLst/>
            </a:prstGeom>
            <a:solidFill>
              <a:srgbClr val="006FAC"/>
            </a:solidFill>
          </p:spPr>
          <p:txBody>
            <a:bodyPr vert="horz" wrap="square" lIns="0" tIns="93345" rIns="0" bIns="0" rtlCol="0">
              <a:spAutoFit/>
            </a:bodyPr>
            <a:lstStyle/>
            <a:p>
              <a:pPr marL="635" algn="ctr">
                <a:lnSpc>
                  <a:spcPct val="100000"/>
                </a:lnSpc>
                <a:spcBef>
                  <a:spcPts val="735"/>
                </a:spcBef>
              </a:pPr>
              <a:r>
                <a:rPr sz="900" spc="-5">
                  <a:solidFill>
                    <a:srgbClr val="FFFFFF"/>
                  </a:solidFill>
                  <a:latin typeface="Verdana"/>
                  <a:cs typeface="Verdana"/>
                </a:rPr>
                <a:t>Implement</a:t>
              </a:r>
              <a:r>
                <a:rPr sz="900" spc="-45">
                  <a:solidFill>
                    <a:srgbClr val="FFFFFF"/>
                  </a:solidFill>
                  <a:latin typeface="Verdana"/>
                  <a:cs typeface="Verdana"/>
                </a:rPr>
                <a:t> </a:t>
              </a:r>
              <a:r>
                <a:rPr sz="900" spc="-5">
                  <a:solidFill>
                    <a:srgbClr val="FFFFFF"/>
                  </a:solidFill>
                  <a:latin typeface="Verdana"/>
                  <a:cs typeface="Verdana"/>
                </a:rPr>
                <a:t>Changes</a:t>
              </a:r>
              <a:endParaRPr sz="900">
                <a:latin typeface="Verdana"/>
                <a:cs typeface="Verdana"/>
              </a:endParaRPr>
            </a:p>
            <a:p>
              <a:pPr marL="1270" algn="ctr">
                <a:lnSpc>
                  <a:spcPct val="100000"/>
                </a:lnSpc>
              </a:pPr>
              <a:r>
                <a:rPr sz="900" spc="-5">
                  <a:solidFill>
                    <a:srgbClr val="FFFFFF"/>
                  </a:solidFill>
                  <a:latin typeface="Verdana"/>
                  <a:cs typeface="Verdana"/>
                </a:rPr>
                <a:t>+Update RID</a:t>
              </a:r>
              <a:r>
                <a:rPr sz="900" spc="-40">
                  <a:solidFill>
                    <a:srgbClr val="FFFFFF"/>
                  </a:solidFill>
                  <a:latin typeface="Verdana"/>
                  <a:cs typeface="Verdana"/>
                </a:rPr>
                <a:t> </a:t>
              </a:r>
              <a:r>
                <a:rPr sz="900" spc="-5">
                  <a:solidFill>
                    <a:srgbClr val="FFFFFF"/>
                  </a:solidFill>
                  <a:latin typeface="Verdana"/>
                  <a:cs typeface="Verdana"/>
                </a:rPr>
                <a:t>with</a:t>
              </a:r>
              <a:endParaRPr sz="900">
                <a:latin typeface="Verdana"/>
                <a:cs typeface="Verdana"/>
              </a:endParaRPr>
            </a:p>
            <a:p>
              <a:pPr marL="1905" algn="ctr">
                <a:lnSpc>
                  <a:spcPct val="100000"/>
                </a:lnSpc>
              </a:pPr>
              <a:r>
                <a:rPr sz="900" spc="-5">
                  <a:solidFill>
                    <a:srgbClr val="FFFFFF"/>
                  </a:solidFill>
                  <a:latin typeface="Verdana"/>
                  <a:cs typeface="Verdana"/>
                </a:rPr>
                <a:t>actions</a:t>
              </a:r>
              <a:r>
                <a:rPr sz="900" spc="-10">
                  <a:solidFill>
                    <a:srgbClr val="FFFFFF"/>
                  </a:solidFill>
                  <a:latin typeface="Verdana"/>
                  <a:cs typeface="Verdana"/>
                </a:rPr>
                <a:t> </a:t>
              </a:r>
              <a:r>
                <a:rPr sz="900" spc="-5">
                  <a:solidFill>
                    <a:srgbClr val="FFFFFF"/>
                  </a:solidFill>
                  <a:latin typeface="Verdana"/>
                  <a:cs typeface="Verdana"/>
                </a:rPr>
                <a:t>taken</a:t>
              </a:r>
              <a:endParaRPr sz="900">
                <a:latin typeface="Verdana"/>
                <a:cs typeface="Verdana"/>
              </a:endParaRPr>
            </a:p>
          </p:txBody>
        </p:sp>
        <p:sp>
          <p:nvSpPr>
            <p:cNvPr id="11" name="object 11"/>
            <p:cNvSpPr txBox="1"/>
            <p:nvPr/>
          </p:nvSpPr>
          <p:spPr>
            <a:xfrm>
              <a:off x="6912864" y="3451859"/>
              <a:ext cx="1248410" cy="600710"/>
            </a:xfrm>
            <a:prstGeom prst="rect">
              <a:avLst/>
            </a:prstGeom>
            <a:solidFill>
              <a:srgbClr val="006FAC"/>
            </a:solidFill>
          </p:spPr>
          <p:txBody>
            <a:bodyPr vert="horz" wrap="square" lIns="0" tIns="92710" rIns="0" bIns="0" rtlCol="0">
              <a:spAutoFit/>
            </a:bodyPr>
            <a:lstStyle/>
            <a:p>
              <a:pPr marL="248285" marR="239395" algn="ctr">
                <a:lnSpc>
                  <a:spcPct val="100000"/>
                </a:lnSpc>
                <a:spcBef>
                  <a:spcPts val="730"/>
                </a:spcBef>
              </a:pPr>
              <a:r>
                <a:rPr sz="900">
                  <a:solidFill>
                    <a:srgbClr val="FFFFFF"/>
                  </a:solidFill>
                  <a:latin typeface="Verdana"/>
                  <a:cs typeface="Verdana"/>
                </a:rPr>
                <a:t>Prepare</a:t>
              </a:r>
              <a:r>
                <a:rPr sz="900" spc="-85">
                  <a:solidFill>
                    <a:srgbClr val="FFFFFF"/>
                  </a:solidFill>
                  <a:latin typeface="Verdana"/>
                  <a:cs typeface="Verdana"/>
                </a:rPr>
                <a:t> </a:t>
              </a:r>
              <a:r>
                <a:rPr sz="900" spc="-5">
                  <a:solidFill>
                    <a:srgbClr val="FFFFFF"/>
                  </a:solidFill>
                  <a:latin typeface="Verdana"/>
                  <a:cs typeface="Verdana"/>
                </a:rPr>
                <a:t>Final  </a:t>
              </a:r>
              <a:r>
                <a:rPr sz="900">
                  <a:solidFill>
                    <a:srgbClr val="FFFFFF"/>
                  </a:solidFill>
                  <a:latin typeface="Verdana"/>
                  <a:cs typeface="Verdana"/>
                </a:rPr>
                <a:t>Version of  Deliverable</a:t>
              </a:r>
              <a:endParaRPr sz="900">
                <a:latin typeface="Verdana"/>
                <a:cs typeface="Verdana"/>
              </a:endParaRPr>
            </a:p>
          </p:txBody>
        </p:sp>
        <p:sp>
          <p:nvSpPr>
            <p:cNvPr id="12" name="object 12"/>
            <p:cNvSpPr txBox="1"/>
            <p:nvPr/>
          </p:nvSpPr>
          <p:spPr>
            <a:xfrm>
              <a:off x="6912864" y="4786884"/>
              <a:ext cx="1248410" cy="600710"/>
            </a:xfrm>
            <a:prstGeom prst="rect">
              <a:avLst/>
            </a:prstGeom>
            <a:solidFill>
              <a:srgbClr val="D22138"/>
            </a:solidFill>
          </p:spPr>
          <p:txBody>
            <a:bodyPr vert="horz" wrap="square" lIns="0" tIns="94615" rIns="0" bIns="0" rtlCol="0">
              <a:spAutoFit/>
            </a:bodyPr>
            <a:lstStyle/>
            <a:p>
              <a:pPr marL="104775" marR="97155" indent="1270" algn="ctr">
                <a:lnSpc>
                  <a:spcPct val="100000"/>
                </a:lnSpc>
                <a:spcBef>
                  <a:spcPts val="745"/>
                </a:spcBef>
              </a:pPr>
              <a:r>
                <a:rPr sz="900" spc="-5">
                  <a:solidFill>
                    <a:srgbClr val="FFFFFF"/>
                  </a:solidFill>
                  <a:latin typeface="Verdana"/>
                  <a:cs typeface="Verdana"/>
                </a:rPr>
                <a:t>Sign Off  </a:t>
              </a:r>
              <a:r>
                <a:rPr sz="900">
                  <a:solidFill>
                    <a:srgbClr val="FFFFFF"/>
                  </a:solidFill>
                  <a:latin typeface="Verdana"/>
                  <a:cs typeface="Verdana"/>
                </a:rPr>
                <a:t>Deliverable  </a:t>
              </a:r>
              <a:r>
                <a:rPr sz="900" spc="-5">
                  <a:solidFill>
                    <a:srgbClr val="FFFFFF"/>
                  </a:solidFill>
                  <a:latin typeface="Verdana"/>
                  <a:cs typeface="Verdana"/>
                </a:rPr>
                <a:t>(Project</a:t>
              </a:r>
              <a:r>
                <a:rPr sz="900" spc="-45">
                  <a:solidFill>
                    <a:srgbClr val="FFFFFF"/>
                  </a:solidFill>
                  <a:latin typeface="Verdana"/>
                  <a:cs typeface="Verdana"/>
                </a:rPr>
                <a:t> </a:t>
              </a:r>
              <a:r>
                <a:rPr sz="900" spc="-5">
                  <a:solidFill>
                    <a:srgbClr val="FFFFFF"/>
                  </a:solidFill>
                  <a:latin typeface="Verdana"/>
                  <a:cs typeface="Verdana"/>
                </a:rPr>
                <a:t>Manager)</a:t>
              </a:r>
              <a:endParaRPr sz="900">
                <a:latin typeface="Verdana"/>
                <a:cs typeface="Verdana"/>
              </a:endParaRPr>
            </a:p>
          </p:txBody>
        </p:sp>
        <p:sp>
          <p:nvSpPr>
            <p:cNvPr id="13" name="object 13"/>
            <p:cNvSpPr/>
            <p:nvPr/>
          </p:nvSpPr>
          <p:spPr>
            <a:xfrm>
              <a:off x="5000244" y="3124200"/>
              <a:ext cx="1557655" cy="756285"/>
            </a:xfrm>
            <a:custGeom>
              <a:avLst/>
              <a:gdLst/>
              <a:ahLst/>
              <a:cxnLst/>
              <a:rect l="l" t="t" r="r" b="b"/>
              <a:pathLst>
                <a:path w="1557654" h="756285">
                  <a:moveTo>
                    <a:pt x="778763" y="0"/>
                  </a:moveTo>
                  <a:lnTo>
                    <a:pt x="0" y="377951"/>
                  </a:lnTo>
                  <a:lnTo>
                    <a:pt x="778763" y="755904"/>
                  </a:lnTo>
                  <a:lnTo>
                    <a:pt x="1557527" y="377951"/>
                  </a:lnTo>
                  <a:lnTo>
                    <a:pt x="778763" y="0"/>
                  </a:lnTo>
                  <a:close/>
                </a:path>
              </a:pathLst>
            </a:custGeom>
            <a:solidFill>
              <a:srgbClr val="006FAC"/>
            </a:solidFill>
          </p:spPr>
          <p:txBody>
            <a:bodyPr wrap="square" lIns="0" tIns="0" rIns="0" bIns="0" rtlCol="0"/>
            <a:lstStyle/>
            <a:p>
              <a:endParaRPr/>
            </a:p>
          </p:txBody>
        </p:sp>
        <p:sp>
          <p:nvSpPr>
            <p:cNvPr id="14" name="object 14"/>
            <p:cNvSpPr txBox="1"/>
            <p:nvPr/>
          </p:nvSpPr>
          <p:spPr>
            <a:xfrm>
              <a:off x="5394705" y="3351403"/>
              <a:ext cx="767715" cy="299720"/>
            </a:xfrm>
            <a:prstGeom prst="rect">
              <a:avLst/>
            </a:prstGeom>
          </p:spPr>
          <p:txBody>
            <a:bodyPr vert="horz" wrap="square" lIns="0" tIns="12700" rIns="0" bIns="0" rtlCol="0">
              <a:spAutoFit/>
            </a:bodyPr>
            <a:lstStyle/>
            <a:p>
              <a:pPr marL="12700" marR="5080" indent="223520">
                <a:lnSpc>
                  <a:spcPct val="100000"/>
                </a:lnSpc>
                <a:spcBef>
                  <a:spcPts val="100"/>
                </a:spcBef>
              </a:pPr>
              <a:r>
                <a:rPr sz="900">
                  <a:solidFill>
                    <a:srgbClr val="FFFFFF"/>
                  </a:solidFill>
                  <a:latin typeface="Verdana"/>
                  <a:cs typeface="Verdana"/>
                </a:rPr>
                <a:t>Need  </a:t>
              </a:r>
              <a:r>
                <a:rPr sz="900" spc="-5">
                  <a:solidFill>
                    <a:srgbClr val="FFFFFF"/>
                  </a:solidFill>
                  <a:latin typeface="Verdana"/>
                  <a:cs typeface="Verdana"/>
                </a:rPr>
                <a:t>C</a:t>
              </a:r>
              <a:r>
                <a:rPr sz="900">
                  <a:solidFill>
                    <a:srgbClr val="FFFFFF"/>
                  </a:solidFill>
                  <a:latin typeface="Verdana"/>
                  <a:cs typeface="Verdana"/>
                </a:rPr>
                <a:t>lar</a:t>
              </a:r>
              <a:r>
                <a:rPr sz="900" spc="5">
                  <a:solidFill>
                    <a:srgbClr val="FFFFFF"/>
                  </a:solidFill>
                  <a:latin typeface="Verdana"/>
                  <a:cs typeface="Verdana"/>
                </a:rPr>
                <a:t>i</a:t>
              </a:r>
              <a:r>
                <a:rPr sz="900" spc="-5">
                  <a:solidFill>
                    <a:srgbClr val="FFFFFF"/>
                  </a:solidFill>
                  <a:latin typeface="Verdana"/>
                  <a:cs typeface="Verdana"/>
                </a:rPr>
                <a:t>f</a:t>
              </a:r>
              <a:r>
                <a:rPr sz="900">
                  <a:solidFill>
                    <a:srgbClr val="FFFFFF"/>
                  </a:solidFill>
                  <a:latin typeface="Verdana"/>
                  <a:cs typeface="Verdana"/>
                </a:rPr>
                <a:t>icatio</a:t>
              </a:r>
              <a:r>
                <a:rPr sz="900" spc="-10">
                  <a:solidFill>
                    <a:srgbClr val="FFFFFF"/>
                  </a:solidFill>
                  <a:latin typeface="Verdana"/>
                  <a:cs typeface="Verdana"/>
                </a:rPr>
                <a:t>n</a:t>
              </a:r>
              <a:r>
                <a:rPr sz="900">
                  <a:solidFill>
                    <a:srgbClr val="FFFFFF"/>
                  </a:solidFill>
                  <a:latin typeface="Verdana"/>
                  <a:cs typeface="Verdana"/>
                </a:rPr>
                <a:t>?</a:t>
              </a:r>
              <a:endParaRPr sz="900">
                <a:latin typeface="Verdana"/>
                <a:cs typeface="Verdana"/>
              </a:endParaRPr>
            </a:p>
          </p:txBody>
        </p:sp>
        <p:sp>
          <p:nvSpPr>
            <p:cNvPr id="15" name="object 15"/>
            <p:cNvSpPr/>
            <p:nvPr/>
          </p:nvSpPr>
          <p:spPr>
            <a:xfrm>
              <a:off x="7185659" y="5570220"/>
              <a:ext cx="701040" cy="508000"/>
            </a:xfrm>
            <a:custGeom>
              <a:avLst/>
              <a:gdLst/>
              <a:ahLst/>
              <a:cxnLst/>
              <a:rect l="l" t="t" r="r" b="b"/>
              <a:pathLst>
                <a:path w="701040" h="508000">
                  <a:moveTo>
                    <a:pt x="350520" y="0"/>
                  </a:moveTo>
                  <a:lnTo>
                    <a:pt x="293673" y="3320"/>
                  </a:lnTo>
                  <a:lnTo>
                    <a:pt x="239743" y="12935"/>
                  </a:lnTo>
                  <a:lnTo>
                    <a:pt x="189453" y="28321"/>
                  </a:lnTo>
                  <a:lnTo>
                    <a:pt x="143524" y="48956"/>
                  </a:lnTo>
                  <a:lnTo>
                    <a:pt x="102679" y="74318"/>
                  </a:lnTo>
                  <a:lnTo>
                    <a:pt x="67641" y="103884"/>
                  </a:lnTo>
                  <a:lnTo>
                    <a:pt x="39131" y="137133"/>
                  </a:lnTo>
                  <a:lnTo>
                    <a:pt x="17873" y="173540"/>
                  </a:lnTo>
                  <a:lnTo>
                    <a:pt x="4588" y="212585"/>
                  </a:lnTo>
                  <a:lnTo>
                    <a:pt x="0" y="253745"/>
                  </a:lnTo>
                  <a:lnTo>
                    <a:pt x="4588" y="294906"/>
                  </a:lnTo>
                  <a:lnTo>
                    <a:pt x="17873" y="333951"/>
                  </a:lnTo>
                  <a:lnTo>
                    <a:pt x="39131" y="370358"/>
                  </a:lnTo>
                  <a:lnTo>
                    <a:pt x="67641" y="403607"/>
                  </a:lnTo>
                  <a:lnTo>
                    <a:pt x="102679" y="433173"/>
                  </a:lnTo>
                  <a:lnTo>
                    <a:pt x="143524" y="458535"/>
                  </a:lnTo>
                  <a:lnTo>
                    <a:pt x="189453" y="479170"/>
                  </a:lnTo>
                  <a:lnTo>
                    <a:pt x="239743" y="494556"/>
                  </a:lnTo>
                  <a:lnTo>
                    <a:pt x="293673" y="504171"/>
                  </a:lnTo>
                  <a:lnTo>
                    <a:pt x="350520" y="507491"/>
                  </a:lnTo>
                  <a:lnTo>
                    <a:pt x="407366" y="504171"/>
                  </a:lnTo>
                  <a:lnTo>
                    <a:pt x="461296" y="494556"/>
                  </a:lnTo>
                  <a:lnTo>
                    <a:pt x="511586" y="479170"/>
                  </a:lnTo>
                  <a:lnTo>
                    <a:pt x="557515" y="458535"/>
                  </a:lnTo>
                  <a:lnTo>
                    <a:pt x="598360" y="433173"/>
                  </a:lnTo>
                  <a:lnTo>
                    <a:pt x="633398" y="403607"/>
                  </a:lnTo>
                  <a:lnTo>
                    <a:pt x="661908" y="370358"/>
                  </a:lnTo>
                  <a:lnTo>
                    <a:pt x="683166" y="333951"/>
                  </a:lnTo>
                  <a:lnTo>
                    <a:pt x="696451" y="294906"/>
                  </a:lnTo>
                  <a:lnTo>
                    <a:pt x="701040" y="253745"/>
                  </a:lnTo>
                  <a:lnTo>
                    <a:pt x="696451" y="212585"/>
                  </a:lnTo>
                  <a:lnTo>
                    <a:pt x="683166" y="173540"/>
                  </a:lnTo>
                  <a:lnTo>
                    <a:pt x="661908" y="137133"/>
                  </a:lnTo>
                  <a:lnTo>
                    <a:pt x="633398" y="103884"/>
                  </a:lnTo>
                  <a:lnTo>
                    <a:pt x="598360" y="74318"/>
                  </a:lnTo>
                  <a:lnTo>
                    <a:pt x="557515" y="48956"/>
                  </a:lnTo>
                  <a:lnTo>
                    <a:pt x="511586" y="28321"/>
                  </a:lnTo>
                  <a:lnTo>
                    <a:pt x="461296" y="12935"/>
                  </a:lnTo>
                  <a:lnTo>
                    <a:pt x="407366" y="3320"/>
                  </a:lnTo>
                  <a:lnTo>
                    <a:pt x="350520" y="0"/>
                  </a:lnTo>
                  <a:close/>
                </a:path>
              </a:pathLst>
            </a:custGeom>
            <a:solidFill>
              <a:srgbClr val="D22138"/>
            </a:solidFill>
          </p:spPr>
          <p:txBody>
            <a:bodyPr wrap="square" lIns="0" tIns="0" rIns="0" bIns="0" rtlCol="0"/>
            <a:lstStyle/>
            <a:p>
              <a:endParaRPr/>
            </a:p>
          </p:txBody>
        </p:sp>
        <p:sp>
          <p:nvSpPr>
            <p:cNvPr id="16" name="object 16"/>
            <p:cNvSpPr txBox="1"/>
            <p:nvPr/>
          </p:nvSpPr>
          <p:spPr>
            <a:xfrm>
              <a:off x="7417434" y="5742533"/>
              <a:ext cx="239395" cy="162560"/>
            </a:xfrm>
            <a:prstGeom prst="rect">
              <a:avLst/>
            </a:prstGeom>
          </p:spPr>
          <p:txBody>
            <a:bodyPr vert="horz" wrap="square" lIns="0" tIns="12700" rIns="0" bIns="0" rtlCol="0">
              <a:spAutoFit/>
            </a:bodyPr>
            <a:lstStyle/>
            <a:p>
              <a:pPr marL="12700">
                <a:lnSpc>
                  <a:spcPct val="100000"/>
                </a:lnSpc>
                <a:spcBef>
                  <a:spcPts val="100"/>
                </a:spcBef>
              </a:pPr>
              <a:r>
                <a:rPr sz="900" spc="-10">
                  <a:solidFill>
                    <a:srgbClr val="FFFFFF"/>
                  </a:solidFill>
                  <a:latin typeface="Verdana"/>
                  <a:cs typeface="Verdana"/>
                </a:rPr>
                <a:t>End</a:t>
              </a:r>
              <a:endParaRPr sz="900">
                <a:latin typeface="Verdana"/>
                <a:cs typeface="Verdana"/>
              </a:endParaRPr>
            </a:p>
          </p:txBody>
        </p:sp>
        <p:sp>
          <p:nvSpPr>
            <p:cNvPr id="17" name="object 17"/>
            <p:cNvSpPr/>
            <p:nvPr/>
          </p:nvSpPr>
          <p:spPr>
            <a:xfrm>
              <a:off x="1438655" y="2706623"/>
              <a:ext cx="355600" cy="76200"/>
            </a:xfrm>
            <a:custGeom>
              <a:avLst/>
              <a:gdLst/>
              <a:ahLst/>
              <a:cxnLst/>
              <a:rect l="l" t="t" r="r" b="b"/>
              <a:pathLst>
                <a:path w="355600" h="76200">
                  <a:moveTo>
                    <a:pt x="279400" y="0"/>
                  </a:moveTo>
                  <a:lnTo>
                    <a:pt x="279400" y="76200"/>
                  </a:lnTo>
                  <a:lnTo>
                    <a:pt x="342900" y="44450"/>
                  </a:lnTo>
                  <a:lnTo>
                    <a:pt x="292100" y="44450"/>
                  </a:lnTo>
                  <a:lnTo>
                    <a:pt x="292100" y="31750"/>
                  </a:lnTo>
                  <a:lnTo>
                    <a:pt x="342900" y="31750"/>
                  </a:lnTo>
                  <a:lnTo>
                    <a:pt x="279400" y="0"/>
                  </a:lnTo>
                  <a:close/>
                </a:path>
                <a:path w="355600" h="76200">
                  <a:moveTo>
                    <a:pt x="279400" y="31750"/>
                  </a:moveTo>
                  <a:lnTo>
                    <a:pt x="0" y="31750"/>
                  </a:lnTo>
                  <a:lnTo>
                    <a:pt x="0" y="44450"/>
                  </a:lnTo>
                  <a:lnTo>
                    <a:pt x="279400" y="44450"/>
                  </a:lnTo>
                  <a:lnTo>
                    <a:pt x="279400" y="31750"/>
                  </a:lnTo>
                  <a:close/>
                </a:path>
                <a:path w="355600" h="76200">
                  <a:moveTo>
                    <a:pt x="342900" y="31750"/>
                  </a:moveTo>
                  <a:lnTo>
                    <a:pt x="292100" y="31750"/>
                  </a:lnTo>
                  <a:lnTo>
                    <a:pt x="292100" y="44450"/>
                  </a:lnTo>
                  <a:lnTo>
                    <a:pt x="342900" y="44450"/>
                  </a:lnTo>
                  <a:lnTo>
                    <a:pt x="355600" y="38100"/>
                  </a:lnTo>
                  <a:lnTo>
                    <a:pt x="342900" y="31750"/>
                  </a:lnTo>
                  <a:close/>
                </a:path>
              </a:pathLst>
            </a:custGeom>
            <a:solidFill>
              <a:srgbClr val="7E7E7E"/>
            </a:solidFill>
          </p:spPr>
          <p:txBody>
            <a:bodyPr wrap="square" lIns="0" tIns="0" rIns="0" bIns="0" rtlCol="0"/>
            <a:lstStyle/>
            <a:p>
              <a:endParaRPr/>
            </a:p>
          </p:txBody>
        </p:sp>
        <p:sp>
          <p:nvSpPr>
            <p:cNvPr id="18" name="object 18"/>
            <p:cNvSpPr/>
            <p:nvPr/>
          </p:nvSpPr>
          <p:spPr>
            <a:xfrm>
              <a:off x="2378964" y="3044951"/>
              <a:ext cx="76200" cy="2431415"/>
            </a:xfrm>
            <a:custGeom>
              <a:avLst/>
              <a:gdLst/>
              <a:ahLst/>
              <a:cxnLst/>
              <a:rect l="l" t="t" r="r" b="b"/>
              <a:pathLst>
                <a:path w="76200" h="2431415">
                  <a:moveTo>
                    <a:pt x="31750" y="2354834"/>
                  </a:moveTo>
                  <a:lnTo>
                    <a:pt x="0" y="2354834"/>
                  </a:lnTo>
                  <a:lnTo>
                    <a:pt x="38100" y="2431034"/>
                  </a:lnTo>
                  <a:lnTo>
                    <a:pt x="69850" y="2367534"/>
                  </a:lnTo>
                  <a:lnTo>
                    <a:pt x="31750" y="2367534"/>
                  </a:lnTo>
                  <a:lnTo>
                    <a:pt x="31750" y="2354834"/>
                  </a:lnTo>
                  <a:close/>
                </a:path>
                <a:path w="76200" h="2431415">
                  <a:moveTo>
                    <a:pt x="44450" y="0"/>
                  </a:moveTo>
                  <a:lnTo>
                    <a:pt x="31750" y="0"/>
                  </a:lnTo>
                  <a:lnTo>
                    <a:pt x="31750" y="2367534"/>
                  </a:lnTo>
                  <a:lnTo>
                    <a:pt x="44450" y="2367534"/>
                  </a:lnTo>
                  <a:lnTo>
                    <a:pt x="44450" y="0"/>
                  </a:lnTo>
                  <a:close/>
                </a:path>
                <a:path w="76200" h="2431415">
                  <a:moveTo>
                    <a:pt x="76200" y="2354834"/>
                  </a:moveTo>
                  <a:lnTo>
                    <a:pt x="44450" y="2354834"/>
                  </a:lnTo>
                  <a:lnTo>
                    <a:pt x="44450" y="2367534"/>
                  </a:lnTo>
                  <a:lnTo>
                    <a:pt x="69850" y="2367534"/>
                  </a:lnTo>
                  <a:lnTo>
                    <a:pt x="76200" y="2354834"/>
                  </a:lnTo>
                  <a:close/>
                </a:path>
              </a:pathLst>
            </a:custGeom>
            <a:solidFill>
              <a:srgbClr val="7E7E7E"/>
            </a:solidFill>
          </p:spPr>
          <p:txBody>
            <a:bodyPr wrap="square" lIns="0" tIns="0" rIns="0" bIns="0" rtlCol="0"/>
            <a:lstStyle/>
            <a:p>
              <a:endParaRPr/>
            </a:p>
          </p:txBody>
        </p:sp>
        <p:sp>
          <p:nvSpPr>
            <p:cNvPr id="19" name="object 19"/>
            <p:cNvSpPr/>
            <p:nvPr/>
          </p:nvSpPr>
          <p:spPr>
            <a:xfrm>
              <a:off x="3041904" y="5737859"/>
              <a:ext cx="355600" cy="76200"/>
            </a:xfrm>
            <a:custGeom>
              <a:avLst/>
              <a:gdLst/>
              <a:ahLst/>
              <a:cxnLst/>
              <a:rect l="l" t="t" r="r" b="b"/>
              <a:pathLst>
                <a:path w="355600" h="76200">
                  <a:moveTo>
                    <a:pt x="279399" y="0"/>
                  </a:moveTo>
                  <a:lnTo>
                    <a:pt x="279399" y="76199"/>
                  </a:lnTo>
                  <a:lnTo>
                    <a:pt x="342899" y="44449"/>
                  </a:lnTo>
                  <a:lnTo>
                    <a:pt x="292099" y="44449"/>
                  </a:lnTo>
                  <a:lnTo>
                    <a:pt x="292099" y="31749"/>
                  </a:lnTo>
                  <a:lnTo>
                    <a:pt x="342899" y="31749"/>
                  </a:lnTo>
                  <a:lnTo>
                    <a:pt x="279399" y="0"/>
                  </a:lnTo>
                  <a:close/>
                </a:path>
                <a:path w="355600" h="76200">
                  <a:moveTo>
                    <a:pt x="279399" y="31749"/>
                  </a:moveTo>
                  <a:lnTo>
                    <a:pt x="0" y="31749"/>
                  </a:lnTo>
                  <a:lnTo>
                    <a:pt x="0" y="44449"/>
                  </a:lnTo>
                  <a:lnTo>
                    <a:pt x="279399" y="44449"/>
                  </a:lnTo>
                  <a:lnTo>
                    <a:pt x="279399" y="31749"/>
                  </a:lnTo>
                  <a:close/>
                </a:path>
                <a:path w="355600" h="76200">
                  <a:moveTo>
                    <a:pt x="342899" y="31749"/>
                  </a:moveTo>
                  <a:lnTo>
                    <a:pt x="292099" y="31749"/>
                  </a:lnTo>
                  <a:lnTo>
                    <a:pt x="292099" y="44449"/>
                  </a:lnTo>
                  <a:lnTo>
                    <a:pt x="342899" y="44449"/>
                  </a:lnTo>
                  <a:lnTo>
                    <a:pt x="355599" y="38099"/>
                  </a:lnTo>
                  <a:lnTo>
                    <a:pt x="342899" y="31749"/>
                  </a:lnTo>
                  <a:close/>
                </a:path>
              </a:pathLst>
            </a:custGeom>
            <a:solidFill>
              <a:srgbClr val="6FAC46"/>
            </a:solidFill>
          </p:spPr>
          <p:txBody>
            <a:bodyPr wrap="square" lIns="0" tIns="0" rIns="0" bIns="0" rtlCol="0"/>
            <a:lstStyle/>
            <a:p>
              <a:endParaRPr/>
            </a:p>
          </p:txBody>
        </p:sp>
        <p:sp>
          <p:nvSpPr>
            <p:cNvPr id="20" name="object 20"/>
            <p:cNvSpPr/>
            <p:nvPr/>
          </p:nvSpPr>
          <p:spPr>
            <a:xfrm>
              <a:off x="3982211" y="3044951"/>
              <a:ext cx="76200" cy="2431415"/>
            </a:xfrm>
            <a:custGeom>
              <a:avLst/>
              <a:gdLst/>
              <a:ahLst/>
              <a:cxnLst/>
              <a:rect l="l" t="t" r="r" b="b"/>
              <a:pathLst>
                <a:path w="76200" h="2431415">
                  <a:moveTo>
                    <a:pt x="44450" y="63500"/>
                  </a:moveTo>
                  <a:lnTo>
                    <a:pt x="31750" y="63500"/>
                  </a:lnTo>
                  <a:lnTo>
                    <a:pt x="31750" y="2431034"/>
                  </a:lnTo>
                  <a:lnTo>
                    <a:pt x="44450" y="2431034"/>
                  </a:lnTo>
                  <a:lnTo>
                    <a:pt x="44450" y="63500"/>
                  </a:lnTo>
                  <a:close/>
                </a:path>
                <a:path w="76200" h="2431415">
                  <a:moveTo>
                    <a:pt x="38100" y="0"/>
                  </a:moveTo>
                  <a:lnTo>
                    <a:pt x="0" y="76200"/>
                  </a:lnTo>
                  <a:lnTo>
                    <a:pt x="31750" y="76200"/>
                  </a:lnTo>
                  <a:lnTo>
                    <a:pt x="31750" y="63500"/>
                  </a:lnTo>
                  <a:lnTo>
                    <a:pt x="69850" y="63500"/>
                  </a:lnTo>
                  <a:lnTo>
                    <a:pt x="38100" y="0"/>
                  </a:lnTo>
                  <a:close/>
                </a:path>
                <a:path w="76200" h="2431415">
                  <a:moveTo>
                    <a:pt x="69850" y="63500"/>
                  </a:moveTo>
                  <a:lnTo>
                    <a:pt x="44450" y="63500"/>
                  </a:lnTo>
                  <a:lnTo>
                    <a:pt x="44450" y="76200"/>
                  </a:lnTo>
                  <a:lnTo>
                    <a:pt x="76200" y="76200"/>
                  </a:lnTo>
                  <a:lnTo>
                    <a:pt x="69850" y="63500"/>
                  </a:lnTo>
                  <a:close/>
                </a:path>
              </a:pathLst>
            </a:custGeom>
            <a:solidFill>
              <a:srgbClr val="7E7E7E"/>
            </a:solidFill>
          </p:spPr>
          <p:txBody>
            <a:bodyPr wrap="square" lIns="0" tIns="0" rIns="0" bIns="0" rtlCol="0"/>
            <a:lstStyle/>
            <a:p>
              <a:endParaRPr/>
            </a:p>
          </p:txBody>
        </p:sp>
        <p:sp>
          <p:nvSpPr>
            <p:cNvPr id="21" name="object 21"/>
            <p:cNvSpPr/>
            <p:nvPr/>
          </p:nvSpPr>
          <p:spPr>
            <a:xfrm>
              <a:off x="4645152" y="2738373"/>
              <a:ext cx="355600" cy="802005"/>
            </a:xfrm>
            <a:custGeom>
              <a:avLst/>
              <a:gdLst/>
              <a:ahLst/>
              <a:cxnLst/>
              <a:rect l="l" t="t" r="r" b="b"/>
              <a:pathLst>
                <a:path w="355600" h="802004">
                  <a:moveTo>
                    <a:pt x="279400" y="725804"/>
                  </a:moveTo>
                  <a:lnTo>
                    <a:pt x="279400" y="802004"/>
                  </a:lnTo>
                  <a:lnTo>
                    <a:pt x="342900" y="770254"/>
                  </a:lnTo>
                  <a:lnTo>
                    <a:pt x="292100" y="770254"/>
                  </a:lnTo>
                  <a:lnTo>
                    <a:pt x="292100" y="757554"/>
                  </a:lnTo>
                  <a:lnTo>
                    <a:pt x="342900" y="757554"/>
                  </a:lnTo>
                  <a:lnTo>
                    <a:pt x="279400" y="725804"/>
                  </a:lnTo>
                  <a:close/>
                </a:path>
                <a:path w="355600" h="802004">
                  <a:moveTo>
                    <a:pt x="171450" y="6350"/>
                  </a:moveTo>
                  <a:lnTo>
                    <a:pt x="171450" y="770254"/>
                  </a:lnTo>
                  <a:lnTo>
                    <a:pt x="279400" y="770254"/>
                  </a:lnTo>
                  <a:lnTo>
                    <a:pt x="279400" y="763904"/>
                  </a:lnTo>
                  <a:lnTo>
                    <a:pt x="184150" y="763904"/>
                  </a:lnTo>
                  <a:lnTo>
                    <a:pt x="177800" y="757554"/>
                  </a:lnTo>
                  <a:lnTo>
                    <a:pt x="184150" y="757554"/>
                  </a:lnTo>
                  <a:lnTo>
                    <a:pt x="184150" y="12700"/>
                  </a:lnTo>
                  <a:lnTo>
                    <a:pt x="177800" y="12700"/>
                  </a:lnTo>
                  <a:lnTo>
                    <a:pt x="171450" y="6350"/>
                  </a:lnTo>
                  <a:close/>
                </a:path>
                <a:path w="355600" h="802004">
                  <a:moveTo>
                    <a:pt x="342900" y="757554"/>
                  </a:moveTo>
                  <a:lnTo>
                    <a:pt x="292100" y="757554"/>
                  </a:lnTo>
                  <a:lnTo>
                    <a:pt x="292100" y="770254"/>
                  </a:lnTo>
                  <a:lnTo>
                    <a:pt x="342900" y="770254"/>
                  </a:lnTo>
                  <a:lnTo>
                    <a:pt x="355600" y="763904"/>
                  </a:lnTo>
                  <a:lnTo>
                    <a:pt x="342900" y="757554"/>
                  </a:lnTo>
                  <a:close/>
                </a:path>
                <a:path w="355600" h="802004">
                  <a:moveTo>
                    <a:pt x="184150" y="757554"/>
                  </a:moveTo>
                  <a:lnTo>
                    <a:pt x="177800" y="757554"/>
                  </a:lnTo>
                  <a:lnTo>
                    <a:pt x="184150" y="763904"/>
                  </a:lnTo>
                  <a:lnTo>
                    <a:pt x="184150" y="757554"/>
                  </a:lnTo>
                  <a:close/>
                </a:path>
                <a:path w="355600" h="802004">
                  <a:moveTo>
                    <a:pt x="279400" y="757554"/>
                  </a:moveTo>
                  <a:lnTo>
                    <a:pt x="184150" y="757554"/>
                  </a:lnTo>
                  <a:lnTo>
                    <a:pt x="184150" y="763904"/>
                  </a:lnTo>
                  <a:lnTo>
                    <a:pt x="279400" y="763904"/>
                  </a:lnTo>
                  <a:lnTo>
                    <a:pt x="279400" y="757554"/>
                  </a:lnTo>
                  <a:close/>
                </a:path>
                <a:path w="355600" h="802004">
                  <a:moveTo>
                    <a:pt x="184150" y="0"/>
                  </a:moveTo>
                  <a:lnTo>
                    <a:pt x="0" y="0"/>
                  </a:lnTo>
                  <a:lnTo>
                    <a:pt x="0" y="12700"/>
                  </a:lnTo>
                  <a:lnTo>
                    <a:pt x="171450" y="12700"/>
                  </a:lnTo>
                  <a:lnTo>
                    <a:pt x="171450" y="6350"/>
                  </a:lnTo>
                  <a:lnTo>
                    <a:pt x="184150" y="6350"/>
                  </a:lnTo>
                  <a:lnTo>
                    <a:pt x="184150" y="0"/>
                  </a:lnTo>
                  <a:close/>
                </a:path>
                <a:path w="355600" h="802004">
                  <a:moveTo>
                    <a:pt x="184150" y="6350"/>
                  </a:moveTo>
                  <a:lnTo>
                    <a:pt x="171450" y="6350"/>
                  </a:lnTo>
                  <a:lnTo>
                    <a:pt x="177800" y="12700"/>
                  </a:lnTo>
                  <a:lnTo>
                    <a:pt x="184150" y="12700"/>
                  </a:lnTo>
                  <a:lnTo>
                    <a:pt x="184150" y="6350"/>
                  </a:lnTo>
                  <a:close/>
                </a:path>
              </a:pathLst>
            </a:custGeom>
            <a:solidFill>
              <a:srgbClr val="7E7E7E"/>
            </a:solidFill>
          </p:spPr>
          <p:txBody>
            <a:bodyPr wrap="square" lIns="0" tIns="0" rIns="0" bIns="0" rtlCol="0"/>
            <a:lstStyle/>
            <a:p>
              <a:endParaRPr/>
            </a:p>
          </p:txBody>
        </p:sp>
        <p:sp>
          <p:nvSpPr>
            <p:cNvPr id="22" name="object 22"/>
            <p:cNvSpPr/>
            <p:nvPr/>
          </p:nvSpPr>
          <p:spPr>
            <a:xfrm>
              <a:off x="5772658" y="2706623"/>
              <a:ext cx="1140460" cy="417830"/>
            </a:xfrm>
            <a:custGeom>
              <a:avLst/>
              <a:gdLst/>
              <a:ahLst/>
              <a:cxnLst/>
              <a:rect l="l" t="t" r="r" b="b"/>
              <a:pathLst>
                <a:path w="1140459" h="417830">
                  <a:moveTo>
                    <a:pt x="1064133" y="31750"/>
                  </a:moveTo>
                  <a:lnTo>
                    <a:pt x="0" y="31750"/>
                  </a:lnTo>
                  <a:lnTo>
                    <a:pt x="0" y="417449"/>
                  </a:lnTo>
                  <a:lnTo>
                    <a:pt x="12700" y="417449"/>
                  </a:lnTo>
                  <a:lnTo>
                    <a:pt x="12700" y="44450"/>
                  </a:lnTo>
                  <a:lnTo>
                    <a:pt x="6350" y="44450"/>
                  </a:lnTo>
                  <a:lnTo>
                    <a:pt x="12700" y="38100"/>
                  </a:lnTo>
                  <a:lnTo>
                    <a:pt x="1064133" y="38100"/>
                  </a:lnTo>
                  <a:lnTo>
                    <a:pt x="1064133" y="31750"/>
                  </a:lnTo>
                  <a:close/>
                </a:path>
                <a:path w="1140459" h="417830">
                  <a:moveTo>
                    <a:pt x="1064133" y="0"/>
                  </a:moveTo>
                  <a:lnTo>
                    <a:pt x="1064133" y="76200"/>
                  </a:lnTo>
                  <a:lnTo>
                    <a:pt x="1127633" y="44450"/>
                  </a:lnTo>
                  <a:lnTo>
                    <a:pt x="1076833" y="44450"/>
                  </a:lnTo>
                  <a:lnTo>
                    <a:pt x="1076833" y="31750"/>
                  </a:lnTo>
                  <a:lnTo>
                    <a:pt x="1127633" y="31750"/>
                  </a:lnTo>
                  <a:lnTo>
                    <a:pt x="1064133" y="0"/>
                  </a:lnTo>
                  <a:close/>
                </a:path>
                <a:path w="1140459" h="417830">
                  <a:moveTo>
                    <a:pt x="12700" y="38100"/>
                  </a:moveTo>
                  <a:lnTo>
                    <a:pt x="6350" y="44450"/>
                  </a:lnTo>
                  <a:lnTo>
                    <a:pt x="12700" y="44450"/>
                  </a:lnTo>
                  <a:lnTo>
                    <a:pt x="12700" y="38100"/>
                  </a:lnTo>
                  <a:close/>
                </a:path>
                <a:path w="1140459" h="417830">
                  <a:moveTo>
                    <a:pt x="1064133" y="38100"/>
                  </a:moveTo>
                  <a:lnTo>
                    <a:pt x="12700" y="38100"/>
                  </a:lnTo>
                  <a:lnTo>
                    <a:pt x="12700" y="44450"/>
                  </a:lnTo>
                  <a:lnTo>
                    <a:pt x="1064133" y="44450"/>
                  </a:lnTo>
                  <a:lnTo>
                    <a:pt x="1064133" y="38100"/>
                  </a:lnTo>
                  <a:close/>
                </a:path>
                <a:path w="1140459" h="417830">
                  <a:moveTo>
                    <a:pt x="1127633" y="31750"/>
                  </a:moveTo>
                  <a:lnTo>
                    <a:pt x="1076833" y="31750"/>
                  </a:lnTo>
                  <a:lnTo>
                    <a:pt x="1076833" y="44450"/>
                  </a:lnTo>
                  <a:lnTo>
                    <a:pt x="1127633" y="44450"/>
                  </a:lnTo>
                  <a:lnTo>
                    <a:pt x="1140333" y="38100"/>
                  </a:lnTo>
                  <a:lnTo>
                    <a:pt x="1127633" y="31750"/>
                  </a:lnTo>
                  <a:close/>
                </a:path>
              </a:pathLst>
            </a:custGeom>
            <a:solidFill>
              <a:srgbClr val="7E7E7E"/>
            </a:solidFill>
          </p:spPr>
          <p:txBody>
            <a:bodyPr wrap="square" lIns="0" tIns="0" rIns="0" bIns="0" rtlCol="0"/>
            <a:lstStyle/>
            <a:p>
              <a:endParaRPr/>
            </a:p>
          </p:txBody>
        </p:sp>
        <p:sp>
          <p:nvSpPr>
            <p:cNvPr id="23" name="object 23"/>
            <p:cNvSpPr/>
            <p:nvPr/>
          </p:nvSpPr>
          <p:spPr>
            <a:xfrm>
              <a:off x="5740908" y="3880103"/>
              <a:ext cx="76200" cy="228472"/>
            </a:xfrm>
            <a:prstGeom prst="rect">
              <a:avLst/>
            </a:prstGeom>
            <a:blipFill>
              <a:blip r:embed="rId2" cstate="print"/>
              <a:stretch>
                <a:fillRect/>
              </a:stretch>
            </a:blipFill>
          </p:spPr>
          <p:txBody>
            <a:bodyPr wrap="square" lIns="0" tIns="0" rIns="0" bIns="0" rtlCol="0"/>
            <a:lstStyle/>
            <a:p>
              <a:endParaRPr/>
            </a:p>
          </p:txBody>
        </p:sp>
        <p:sp>
          <p:nvSpPr>
            <p:cNvPr id="24" name="object 24"/>
            <p:cNvSpPr/>
            <p:nvPr/>
          </p:nvSpPr>
          <p:spPr>
            <a:xfrm>
              <a:off x="7498080" y="3044951"/>
              <a:ext cx="76200" cy="407034"/>
            </a:xfrm>
            <a:custGeom>
              <a:avLst/>
              <a:gdLst/>
              <a:ahLst/>
              <a:cxnLst/>
              <a:rect l="l" t="t" r="r" b="b"/>
              <a:pathLst>
                <a:path w="76200" h="407035">
                  <a:moveTo>
                    <a:pt x="31750" y="330581"/>
                  </a:moveTo>
                  <a:lnTo>
                    <a:pt x="0" y="330581"/>
                  </a:lnTo>
                  <a:lnTo>
                    <a:pt x="38100" y="406781"/>
                  </a:lnTo>
                  <a:lnTo>
                    <a:pt x="69850" y="343281"/>
                  </a:lnTo>
                  <a:lnTo>
                    <a:pt x="31750" y="343281"/>
                  </a:lnTo>
                  <a:lnTo>
                    <a:pt x="31750" y="330581"/>
                  </a:lnTo>
                  <a:close/>
                </a:path>
                <a:path w="76200" h="407035">
                  <a:moveTo>
                    <a:pt x="44450" y="0"/>
                  </a:moveTo>
                  <a:lnTo>
                    <a:pt x="31750" y="0"/>
                  </a:lnTo>
                  <a:lnTo>
                    <a:pt x="31750" y="343281"/>
                  </a:lnTo>
                  <a:lnTo>
                    <a:pt x="44450" y="343281"/>
                  </a:lnTo>
                  <a:lnTo>
                    <a:pt x="44450" y="0"/>
                  </a:lnTo>
                  <a:close/>
                </a:path>
                <a:path w="76200" h="407035">
                  <a:moveTo>
                    <a:pt x="76200" y="330581"/>
                  </a:moveTo>
                  <a:lnTo>
                    <a:pt x="44450" y="330581"/>
                  </a:lnTo>
                  <a:lnTo>
                    <a:pt x="44450" y="343281"/>
                  </a:lnTo>
                  <a:lnTo>
                    <a:pt x="69850" y="343281"/>
                  </a:lnTo>
                  <a:lnTo>
                    <a:pt x="76200" y="330581"/>
                  </a:lnTo>
                  <a:close/>
                </a:path>
              </a:pathLst>
            </a:custGeom>
            <a:solidFill>
              <a:srgbClr val="006FAC"/>
            </a:solidFill>
          </p:spPr>
          <p:txBody>
            <a:bodyPr wrap="square" lIns="0" tIns="0" rIns="0" bIns="0" rtlCol="0"/>
            <a:lstStyle/>
            <a:p>
              <a:endParaRPr/>
            </a:p>
          </p:txBody>
        </p:sp>
        <p:sp>
          <p:nvSpPr>
            <p:cNvPr id="25" name="object 25"/>
            <p:cNvSpPr/>
            <p:nvPr/>
          </p:nvSpPr>
          <p:spPr>
            <a:xfrm>
              <a:off x="7498080" y="4052315"/>
              <a:ext cx="76200" cy="735965"/>
            </a:xfrm>
            <a:custGeom>
              <a:avLst/>
              <a:gdLst/>
              <a:ahLst/>
              <a:cxnLst/>
              <a:rect l="l" t="t" r="r" b="b"/>
              <a:pathLst>
                <a:path w="76200" h="735964">
                  <a:moveTo>
                    <a:pt x="31750" y="659510"/>
                  </a:moveTo>
                  <a:lnTo>
                    <a:pt x="0" y="659510"/>
                  </a:lnTo>
                  <a:lnTo>
                    <a:pt x="38100" y="735710"/>
                  </a:lnTo>
                  <a:lnTo>
                    <a:pt x="69850" y="672210"/>
                  </a:lnTo>
                  <a:lnTo>
                    <a:pt x="31750" y="672210"/>
                  </a:lnTo>
                  <a:lnTo>
                    <a:pt x="31750" y="659510"/>
                  </a:lnTo>
                  <a:close/>
                </a:path>
                <a:path w="76200" h="735964">
                  <a:moveTo>
                    <a:pt x="44450" y="0"/>
                  </a:moveTo>
                  <a:lnTo>
                    <a:pt x="31750" y="0"/>
                  </a:lnTo>
                  <a:lnTo>
                    <a:pt x="31750" y="672210"/>
                  </a:lnTo>
                  <a:lnTo>
                    <a:pt x="44450" y="672210"/>
                  </a:lnTo>
                  <a:lnTo>
                    <a:pt x="44450" y="0"/>
                  </a:lnTo>
                  <a:close/>
                </a:path>
                <a:path w="76200" h="735964">
                  <a:moveTo>
                    <a:pt x="76200" y="659510"/>
                  </a:moveTo>
                  <a:lnTo>
                    <a:pt x="44450" y="659510"/>
                  </a:lnTo>
                  <a:lnTo>
                    <a:pt x="44450" y="672210"/>
                  </a:lnTo>
                  <a:lnTo>
                    <a:pt x="69850" y="672210"/>
                  </a:lnTo>
                  <a:lnTo>
                    <a:pt x="76200" y="659510"/>
                  </a:lnTo>
                  <a:close/>
                </a:path>
              </a:pathLst>
            </a:custGeom>
            <a:solidFill>
              <a:srgbClr val="7E7E7E"/>
            </a:solidFill>
          </p:spPr>
          <p:txBody>
            <a:bodyPr wrap="square" lIns="0" tIns="0" rIns="0" bIns="0" rtlCol="0"/>
            <a:lstStyle/>
            <a:p>
              <a:endParaRPr/>
            </a:p>
          </p:txBody>
        </p:sp>
        <p:sp>
          <p:nvSpPr>
            <p:cNvPr id="26" name="object 26"/>
            <p:cNvSpPr/>
            <p:nvPr/>
          </p:nvSpPr>
          <p:spPr>
            <a:xfrm>
              <a:off x="7498080" y="5387340"/>
              <a:ext cx="76200" cy="181863"/>
            </a:xfrm>
            <a:prstGeom prst="rect">
              <a:avLst/>
            </a:prstGeom>
            <a:blipFill>
              <a:blip r:embed="rId3" cstate="print"/>
              <a:stretch>
                <a:fillRect/>
              </a:stretch>
            </a:blipFill>
          </p:spPr>
          <p:txBody>
            <a:bodyPr wrap="square" lIns="0" tIns="0" rIns="0" bIns="0" rtlCol="0"/>
            <a:lstStyle/>
            <a:p>
              <a:endParaRPr/>
            </a:p>
          </p:txBody>
        </p:sp>
        <p:sp>
          <p:nvSpPr>
            <p:cNvPr id="27" name="object 27"/>
            <p:cNvSpPr txBox="1"/>
            <p:nvPr/>
          </p:nvSpPr>
          <p:spPr>
            <a:xfrm>
              <a:off x="5437123" y="3907028"/>
              <a:ext cx="223520" cy="162560"/>
            </a:xfrm>
            <a:prstGeom prst="rect">
              <a:avLst/>
            </a:prstGeom>
          </p:spPr>
          <p:txBody>
            <a:bodyPr vert="horz" wrap="square" lIns="0" tIns="12700" rIns="0" bIns="0" rtlCol="0">
              <a:spAutoFit/>
            </a:bodyPr>
            <a:lstStyle/>
            <a:p>
              <a:pPr marL="12700">
                <a:lnSpc>
                  <a:spcPct val="100000"/>
                </a:lnSpc>
                <a:spcBef>
                  <a:spcPts val="100"/>
                </a:spcBef>
              </a:pPr>
              <a:r>
                <a:rPr sz="900" spc="-5">
                  <a:latin typeface="Verdana"/>
                  <a:cs typeface="Verdana"/>
                </a:rPr>
                <a:t>Yes</a:t>
              </a:r>
              <a:endParaRPr sz="900">
                <a:latin typeface="Verdana"/>
                <a:cs typeface="Verdana"/>
              </a:endParaRPr>
            </a:p>
          </p:txBody>
        </p:sp>
        <p:sp>
          <p:nvSpPr>
            <p:cNvPr id="28" name="object 28"/>
            <p:cNvSpPr txBox="1"/>
            <p:nvPr/>
          </p:nvSpPr>
          <p:spPr>
            <a:xfrm>
              <a:off x="6273165" y="2567432"/>
              <a:ext cx="180340" cy="162560"/>
            </a:xfrm>
            <a:prstGeom prst="rect">
              <a:avLst/>
            </a:prstGeom>
          </p:spPr>
          <p:txBody>
            <a:bodyPr vert="horz" wrap="square" lIns="0" tIns="12700" rIns="0" bIns="0" rtlCol="0">
              <a:spAutoFit/>
            </a:bodyPr>
            <a:lstStyle/>
            <a:p>
              <a:pPr marL="12700">
                <a:lnSpc>
                  <a:spcPct val="100000"/>
                </a:lnSpc>
                <a:spcBef>
                  <a:spcPts val="100"/>
                </a:spcBef>
              </a:pPr>
              <a:r>
                <a:rPr sz="900" spc="-5">
                  <a:latin typeface="Verdana"/>
                  <a:cs typeface="Verdana"/>
                </a:rPr>
                <a:t>No</a:t>
              </a:r>
              <a:endParaRPr sz="900">
                <a:latin typeface="Verdana"/>
                <a:cs typeface="Verdana"/>
              </a:endParaRPr>
            </a:p>
          </p:txBody>
        </p:sp>
        <p:sp>
          <p:nvSpPr>
            <p:cNvPr id="29" name="object 29"/>
            <p:cNvSpPr txBox="1"/>
            <p:nvPr/>
          </p:nvSpPr>
          <p:spPr>
            <a:xfrm>
              <a:off x="278079" y="3949953"/>
              <a:ext cx="1080135" cy="239395"/>
            </a:xfrm>
            <a:prstGeom prst="rect">
              <a:avLst/>
            </a:prstGeom>
          </p:spPr>
          <p:txBody>
            <a:bodyPr vert="horz" wrap="square" lIns="0" tIns="12700" rIns="0" bIns="0" rtlCol="0">
              <a:spAutoFit/>
            </a:bodyPr>
            <a:lstStyle/>
            <a:p>
              <a:pPr marL="12700">
                <a:lnSpc>
                  <a:spcPct val="100000"/>
                </a:lnSpc>
                <a:spcBef>
                  <a:spcPts val="100"/>
                </a:spcBef>
              </a:pPr>
              <a:r>
                <a:rPr sz="1400" b="1">
                  <a:solidFill>
                    <a:srgbClr val="006FAC"/>
                  </a:solidFill>
                  <a:latin typeface="Verdana"/>
                  <a:cs typeface="Verdana"/>
                </a:rPr>
                <a:t>Cap</a:t>
              </a:r>
              <a:r>
                <a:rPr sz="1400" b="1" spc="-5">
                  <a:solidFill>
                    <a:srgbClr val="006FAC"/>
                  </a:solidFill>
                  <a:latin typeface="Verdana"/>
                  <a:cs typeface="Verdana"/>
                </a:rPr>
                <a:t>g</a:t>
              </a:r>
              <a:r>
                <a:rPr sz="1400" b="1" spc="5">
                  <a:solidFill>
                    <a:srgbClr val="006FAC"/>
                  </a:solidFill>
                  <a:latin typeface="Verdana"/>
                  <a:cs typeface="Verdana"/>
                </a:rPr>
                <a:t>e</a:t>
              </a:r>
              <a:r>
                <a:rPr sz="1400" b="1" spc="-5">
                  <a:solidFill>
                    <a:srgbClr val="006FAC"/>
                  </a:solidFill>
                  <a:latin typeface="Verdana"/>
                  <a:cs typeface="Verdana"/>
                </a:rPr>
                <a:t>mini</a:t>
              </a:r>
              <a:endParaRPr sz="1400">
                <a:latin typeface="Verdana"/>
                <a:cs typeface="Verdana"/>
              </a:endParaRPr>
            </a:p>
          </p:txBody>
        </p:sp>
        <p:sp>
          <p:nvSpPr>
            <p:cNvPr id="30" name="object 30"/>
            <p:cNvSpPr/>
            <p:nvPr/>
          </p:nvSpPr>
          <p:spPr>
            <a:xfrm>
              <a:off x="6402323" y="4393691"/>
              <a:ext cx="0" cy="318135"/>
            </a:xfrm>
            <a:custGeom>
              <a:avLst/>
              <a:gdLst/>
              <a:ahLst/>
              <a:cxnLst/>
              <a:rect l="l" t="t" r="r" b="b"/>
              <a:pathLst>
                <a:path h="318135">
                  <a:moveTo>
                    <a:pt x="0" y="0"/>
                  </a:moveTo>
                  <a:lnTo>
                    <a:pt x="0" y="317880"/>
                  </a:lnTo>
                </a:path>
              </a:pathLst>
            </a:custGeom>
            <a:ln w="12192">
              <a:solidFill>
                <a:srgbClr val="6FAC46"/>
              </a:solidFill>
            </a:ln>
          </p:spPr>
          <p:txBody>
            <a:bodyPr wrap="square" lIns="0" tIns="0" rIns="0" bIns="0" rtlCol="0"/>
            <a:lstStyle/>
            <a:p>
              <a:endParaRPr/>
            </a:p>
          </p:txBody>
        </p:sp>
        <p:sp>
          <p:nvSpPr>
            <p:cNvPr id="31" name="object 31"/>
            <p:cNvSpPr/>
            <p:nvPr/>
          </p:nvSpPr>
          <p:spPr>
            <a:xfrm>
              <a:off x="6655307" y="4386071"/>
              <a:ext cx="635" cy="530225"/>
            </a:xfrm>
            <a:custGeom>
              <a:avLst/>
              <a:gdLst/>
              <a:ahLst/>
              <a:cxnLst/>
              <a:rect l="l" t="t" r="r" b="b"/>
              <a:pathLst>
                <a:path w="634" h="530225">
                  <a:moveTo>
                    <a:pt x="0" y="0"/>
                  </a:moveTo>
                  <a:lnTo>
                    <a:pt x="126" y="529716"/>
                  </a:lnTo>
                </a:path>
              </a:pathLst>
            </a:custGeom>
            <a:ln w="12192">
              <a:solidFill>
                <a:srgbClr val="7E7E7E"/>
              </a:solidFill>
            </a:ln>
          </p:spPr>
          <p:txBody>
            <a:bodyPr wrap="square" lIns="0" tIns="0" rIns="0" bIns="0" rtlCol="0"/>
            <a:lstStyle/>
            <a:p>
              <a:endParaRPr/>
            </a:p>
          </p:txBody>
        </p:sp>
        <p:sp>
          <p:nvSpPr>
            <p:cNvPr id="32" name="object 32"/>
            <p:cNvSpPr/>
            <p:nvPr/>
          </p:nvSpPr>
          <p:spPr>
            <a:xfrm>
              <a:off x="5775959" y="4703064"/>
              <a:ext cx="0" cy="212090"/>
            </a:xfrm>
            <a:custGeom>
              <a:avLst/>
              <a:gdLst/>
              <a:ahLst/>
              <a:cxnLst/>
              <a:rect l="l" t="t" r="r" b="b"/>
              <a:pathLst>
                <a:path h="212089">
                  <a:moveTo>
                    <a:pt x="0" y="0"/>
                  </a:moveTo>
                  <a:lnTo>
                    <a:pt x="0" y="211836"/>
                  </a:lnTo>
                </a:path>
              </a:pathLst>
            </a:custGeom>
            <a:ln w="12192">
              <a:solidFill>
                <a:srgbClr val="6FAC46"/>
              </a:solidFill>
            </a:ln>
          </p:spPr>
          <p:txBody>
            <a:bodyPr wrap="square" lIns="0" tIns="0" rIns="0" bIns="0" rtlCol="0"/>
            <a:lstStyle/>
            <a:p>
              <a:endParaRPr/>
            </a:p>
          </p:txBody>
        </p:sp>
        <p:sp>
          <p:nvSpPr>
            <p:cNvPr id="33" name="object 33"/>
            <p:cNvSpPr/>
            <p:nvPr/>
          </p:nvSpPr>
          <p:spPr>
            <a:xfrm>
              <a:off x="5775959" y="4908803"/>
              <a:ext cx="880110" cy="0"/>
            </a:xfrm>
            <a:custGeom>
              <a:avLst/>
              <a:gdLst/>
              <a:ahLst/>
              <a:cxnLst/>
              <a:rect l="l" t="t" r="r" b="b"/>
              <a:pathLst>
                <a:path w="880109">
                  <a:moveTo>
                    <a:pt x="0" y="0"/>
                  </a:moveTo>
                  <a:lnTo>
                    <a:pt x="879856" y="0"/>
                  </a:lnTo>
                </a:path>
              </a:pathLst>
            </a:custGeom>
            <a:ln w="12192">
              <a:solidFill>
                <a:srgbClr val="7E7E7E"/>
              </a:solidFill>
            </a:ln>
          </p:spPr>
          <p:txBody>
            <a:bodyPr wrap="square" lIns="0" tIns="0" rIns="0" bIns="0" rtlCol="0"/>
            <a:lstStyle/>
            <a:p>
              <a:endParaRPr/>
            </a:p>
          </p:txBody>
        </p:sp>
        <p:sp>
          <p:nvSpPr>
            <p:cNvPr id="34" name="object 34"/>
            <p:cNvSpPr/>
            <p:nvPr/>
          </p:nvSpPr>
          <p:spPr>
            <a:xfrm>
              <a:off x="6648957" y="2844545"/>
              <a:ext cx="260985" cy="1548130"/>
            </a:xfrm>
            <a:custGeom>
              <a:avLst/>
              <a:gdLst/>
              <a:ahLst/>
              <a:cxnLst/>
              <a:rect l="l" t="t" r="r" b="b"/>
              <a:pathLst>
                <a:path w="260984" h="1548129">
                  <a:moveTo>
                    <a:pt x="0" y="31750"/>
                  </a:moveTo>
                  <a:lnTo>
                    <a:pt x="0" y="1547876"/>
                  </a:lnTo>
                  <a:lnTo>
                    <a:pt x="12700" y="1547876"/>
                  </a:lnTo>
                  <a:lnTo>
                    <a:pt x="12700" y="44454"/>
                  </a:lnTo>
                  <a:lnTo>
                    <a:pt x="6350" y="44450"/>
                  </a:lnTo>
                  <a:lnTo>
                    <a:pt x="12700" y="38100"/>
                  </a:lnTo>
                  <a:lnTo>
                    <a:pt x="184403" y="38100"/>
                  </a:lnTo>
                  <a:lnTo>
                    <a:pt x="184466" y="31868"/>
                  </a:lnTo>
                  <a:lnTo>
                    <a:pt x="0" y="31750"/>
                  </a:lnTo>
                  <a:close/>
                </a:path>
                <a:path w="260984" h="1548129">
                  <a:moveTo>
                    <a:pt x="184785" y="0"/>
                  </a:moveTo>
                  <a:lnTo>
                    <a:pt x="184466" y="31868"/>
                  </a:lnTo>
                  <a:lnTo>
                    <a:pt x="197103" y="31876"/>
                  </a:lnTo>
                  <a:lnTo>
                    <a:pt x="197103" y="44576"/>
                  </a:lnTo>
                  <a:lnTo>
                    <a:pt x="184339" y="44576"/>
                  </a:lnTo>
                  <a:lnTo>
                    <a:pt x="184023" y="76200"/>
                  </a:lnTo>
                  <a:lnTo>
                    <a:pt x="248882" y="44576"/>
                  </a:lnTo>
                  <a:lnTo>
                    <a:pt x="197103" y="44576"/>
                  </a:lnTo>
                  <a:lnTo>
                    <a:pt x="248899" y="44568"/>
                  </a:lnTo>
                  <a:lnTo>
                    <a:pt x="260603" y="38862"/>
                  </a:lnTo>
                  <a:lnTo>
                    <a:pt x="184785" y="0"/>
                  </a:lnTo>
                  <a:close/>
                </a:path>
                <a:path w="260984" h="1548129">
                  <a:moveTo>
                    <a:pt x="184466" y="31868"/>
                  </a:moveTo>
                  <a:lnTo>
                    <a:pt x="184339" y="44568"/>
                  </a:lnTo>
                  <a:lnTo>
                    <a:pt x="197103" y="44576"/>
                  </a:lnTo>
                  <a:lnTo>
                    <a:pt x="197103" y="31876"/>
                  </a:lnTo>
                  <a:lnTo>
                    <a:pt x="184466" y="31868"/>
                  </a:lnTo>
                  <a:close/>
                </a:path>
                <a:path w="260984" h="1548129">
                  <a:moveTo>
                    <a:pt x="184403" y="38100"/>
                  </a:moveTo>
                  <a:lnTo>
                    <a:pt x="12700" y="38100"/>
                  </a:lnTo>
                  <a:lnTo>
                    <a:pt x="12700" y="44454"/>
                  </a:lnTo>
                  <a:lnTo>
                    <a:pt x="184339" y="44568"/>
                  </a:lnTo>
                  <a:lnTo>
                    <a:pt x="184403" y="38100"/>
                  </a:lnTo>
                  <a:close/>
                </a:path>
                <a:path w="260984" h="1548129">
                  <a:moveTo>
                    <a:pt x="12700" y="38100"/>
                  </a:moveTo>
                  <a:lnTo>
                    <a:pt x="6350" y="44450"/>
                  </a:lnTo>
                  <a:lnTo>
                    <a:pt x="12700" y="44454"/>
                  </a:lnTo>
                  <a:lnTo>
                    <a:pt x="12700" y="38100"/>
                  </a:lnTo>
                  <a:close/>
                </a:path>
              </a:pathLst>
            </a:custGeom>
            <a:solidFill>
              <a:srgbClr val="7E7E7E"/>
            </a:solidFill>
          </p:spPr>
          <p:txBody>
            <a:bodyPr wrap="square" lIns="0" tIns="0" rIns="0" bIns="0" rtlCol="0"/>
            <a:lstStyle/>
            <a:p>
              <a:endParaRPr/>
            </a:p>
          </p:txBody>
        </p:sp>
        <p:sp>
          <p:nvSpPr>
            <p:cNvPr id="35" name="object 35"/>
            <p:cNvSpPr/>
            <p:nvPr/>
          </p:nvSpPr>
          <p:spPr>
            <a:xfrm>
              <a:off x="3371850" y="6438138"/>
              <a:ext cx="3160395" cy="76200"/>
            </a:xfrm>
            <a:custGeom>
              <a:avLst/>
              <a:gdLst/>
              <a:ahLst/>
              <a:cxnLst/>
              <a:rect l="l" t="t" r="r" b="b"/>
              <a:pathLst>
                <a:path w="3160395" h="76200">
                  <a:moveTo>
                    <a:pt x="76200" y="0"/>
                  </a:moveTo>
                  <a:lnTo>
                    <a:pt x="0" y="38100"/>
                  </a:lnTo>
                  <a:lnTo>
                    <a:pt x="76200" y="76200"/>
                  </a:lnTo>
                  <a:lnTo>
                    <a:pt x="76200" y="48006"/>
                  </a:lnTo>
                  <a:lnTo>
                    <a:pt x="63500" y="48006"/>
                  </a:lnTo>
                  <a:lnTo>
                    <a:pt x="63500" y="28194"/>
                  </a:lnTo>
                  <a:lnTo>
                    <a:pt x="76200" y="28194"/>
                  </a:lnTo>
                  <a:lnTo>
                    <a:pt x="76200" y="0"/>
                  </a:lnTo>
                  <a:close/>
                </a:path>
                <a:path w="3160395" h="76200">
                  <a:moveTo>
                    <a:pt x="3083814" y="0"/>
                  </a:moveTo>
                  <a:lnTo>
                    <a:pt x="3083814" y="76200"/>
                  </a:lnTo>
                  <a:lnTo>
                    <a:pt x="3140202" y="48006"/>
                  </a:lnTo>
                  <a:lnTo>
                    <a:pt x="3096514" y="48006"/>
                  </a:lnTo>
                  <a:lnTo>
                    <a:pt x="3096514" y="28194"/>
                  </a:lnTo>
                  <a:lnTo>
                    <a:pt x="3140202" y="28194"/>
                  </a:lnTo>
                  <a:lnTo>
                    <a:pt x="3083814" y="0"/>
                  </a:lnTo>
                  <a:close/>
                </a:path>
                <a:path w="3160395" h="76200">
                  <a:moveTo>
                    <a:pt x="76200" y="28194"/>
                  </a:moveTo>
                  <a:lnTo>
                    <a:pt x="63500" y="28194"/>
                  </a:lnTo>
                  <a:lnTo>
                    <a:pt x="63500" y="48006"/>
                  </a:lnTo>
                  <a:lnTo>
                    <a:pt x="76200" y="48006"/>
                  </a:lnTo>
                  <a:lnTo>
                    <a:pt x="76200" y="28194"/>
                  </a:lnTo>
                  <a:close/>
                </a:path>
                <a:path w="3160395" h="76200">
                  <a:moveTo>
                    <a:pt x="3083814" y="28194"/>
                  </a:moveTo>
                  <a:lnTo>
                    <a:pt x="76200" y="28194"/>
                  </a:lnTo>
                  <a:lnTo>
                    <a:pt x="76200" y="48006"/>
                  </a:lnTo>
                  <a:lnTo>
                    <a:pt x="3083814" y="48006"/>
                  </a:lnTo>
                  <a:lnTo>
                    <a:pt x="3083814" y="28194"/>
                  </a:lnTo>
                  <a:close/>
                </a:path>
                <a:path w="3160395" h="76200">
                  <a:moveTo>
                    <a:pt x="3140202" y="28194"/>
                  </a:moveTo>
                  <a:lnTo>
                    <a:pt x="3096514" y="28194"/>
                  </a:lnTo>
                  <a:lnTo>
                    <a:pt x="3096514" y="48006"/>
                  </a:lnTo>
                  <a:lnTo>
                    <a:pt x="3140202" y="48006"/>
                  </a:lnTo>
                  <a:lnTo>
                    <a:pt x="3160014" y="38100"/>
                  </a:lnTo>
                  <a:lnTo>
                    <a:pt x="3140202" y="28194"/>
                  </a:lnTo>
                  <a:close/>
                </a:path>
              </a:pathLst>
            </a:custGeom>
            <a:solidFill>
              <a:srgbClr val="7E7E7E"/>
            </a:solidFill>
          </p:spPr>
          <p:txBody>
            <a:bodyPr wrap="square" lIns="0" tIns="0" rIns="0" bIns="0" rtlCol="0"/>
            <a:lstStyle/>
            <a:p>
              <a:endParaRPr/>
            </a:p>
          </p:txBody>
        </p:sp>
        <p:sp>
          <p:nvSpPr>
            <p:cNvPr id="36" name="object 36"/>
            <p:cNvSpPr txBox="1"/>
            <p:nvPr/>
          </p:nvSpPr>
          <p:spPr>
            <a:xfrm>
              <a:off x="4269485" y="6194552"/>
              <a:ext cx="1363345"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RID</a:t>
              </a:r>
              <a:r>
                <a:rPr sz="1200" b="1" spc="-65">
                  <a:latin typeface="Verdana"/>
                  <a:cs typeface="Verdana"/>
                </a:rPr>
                <a:t> </a:t>
              </a:r>
              <a:r>
                <a:rPr sz="1200" b="1" spc="-5">
                  <a:latin typeface="Verdana"/>
                  <a:cs typeface="Verdana"/>
                </a:rPr>
                <a:t>Disposition</a:t>
              </a:r>
              <a:endParaRPr sz="1200">
                <a:latin typeface="Verdana"/>
                <a:cs typeface="Verdana"/>
              </a:endParaRPr>
            </a:p>
          </p:txBody>
        </p:sp>
        <p:sp>
          <p:nvSpPr>
            <p:cNvPr id="37" name="object 37"/>
            <p:cNvSpPr/>
            <p:nvPr/>
          </p:nvSpPr>
          <p:spPr>
            <a:xfrm>
              <a:off x="6884669" y="6438138"/>
              <a:ext cx="1247775" cy="76200"/>
            </a:xfrm>
            <a:custGeom>
              <a:avLst/>
              <a:gdLst/>
              <a:ahLst/>
              <a:cxnLst/>
              <a:rect l="l" t="t" r="r" b="b"/>
              <a:pathLst>
                <a:path w="1247775" h="76200">
                  <a:moveTo>
                    <a:pt x="76200" y="0"/>
                  </a:moveTo>
                  <a:lnTo>
                    <a:pt x="0" y="38100"/>
                  </a:lnTo>
                  <a:lnTo>
                    <a:pt x="76200" y="76200"/>
                  </a:lnTo>
                  <a:lnTo>
                    <a:pt x="76200" y="48006"/>
                  </a:lnTo>
                  <a:lnTo>
                    <a:pt x="63500" y="48006"/>
                  </a:lnTo>
                  <a:lnTo>
                    <a:pt x="63500" y="28194"/>
                  </a:lnTo>
                  <a:lnTo>
                    <a:pt x="76200" y="28194"/>
                  </a:lnTo>
                  <a:lnTo>
                    <a:pt x="76200" y="0"/>
                  </a:lnTo>
                  <a:close/>
                </a:path>
                <a:path w="1247775" h="76200">
                  <a:moveTo>
                    <a:pt x="1171575" y="0"/>
                  </a:moveTo>
                  <a:lnTo>
                    <a:pt x="1171575" y="76200"/>
                  </a:lnTo>
                  <a:lnTo>
                    <a:pt x="1227963" y="48006"/>
                  </a:lnTo>
                  <a:lnTo>
                    <a:pt x="1184275" y="48006"/>
                  </a:lnTo>
                  <a:lnTo>
                    <a:pt x="1184275" y="28194"/>
                  </a:lnTo>
                  <a:lnTo>
                    <a:pt x="1227963" y="28194"/>
                  </a:lnTo>
                  <a:lnTo>
                    <a:pt x="1171575" y="0"/>
                  </a:lnTo>
                  <a:close/>
                </a:path>
                <a:path w="1247775" h="76200">
                  <a:moveTo>
                    <a:pt x="76200" y="28194"/>
                  </a:moveTo>
                  <a:lnTo>
                    <a:pt x="63500" y="28194"/>
                  </a:lnTo>
                  <a:lnTo>
                    <a:pt x="63500" y="48006"/>
                  </a:lnTo>
                  <a:lnTo>
                    <a:pt x="76200" y="48006"/>
                  </a:lnTo>
                  <a:lnTo>
                    <a:pt x="76200" y="28194"/>
                  </a:lnTo>
                  <a:close/>
                </a:path>
                <a:path w="1247775" h="76200">
                  <a:moveTo>
                    <a:pt x="1171575" y="28194"/>
                  </a:moveTo>
                  <a:lnTo>
                    <a:pt x="76200" y="28194"/>
                  </a:lnTo>
                  <a:lnTo>
                    <a:pt x="76200" y="48006"/>
                  </a:lnTo>
                  <a:lnTo>
                    <a:pt x="1171575" y="48006"/>
                  </a:lnTo>
                  <a:lnTo>
                    <a:pt x="1171575" y="28194"/>
                  </a:lnTo>
                  <a:close/>
                </a:path>
                <a:path w="1247775" h="76200">
                  <a:moveTo>
                    <a:pt x="1227963" y="28194"/>
                  </a:moveTo>
                  <a:lnTo>
                    <a:pt x="1184275" y="28194"/>
                  </a:lnTo>
                  <a:lnTo>
                    <a:pt x="1184275" y="48006"/>
                  </a:lnTo>
                  <a:lnTo>
                    <a:pt x="1227963" y="48006"/>
                  </a:lnTo>
                  <a:lnTo>
                    <a:pt x="1247775" y="38100"/>
                  </a:lnTo>
                  <a:lnTo>
                    <a:pt x="1227963" y="28194"/>
                  </a:lnTo>
                  <a:close/>
                </a:path>
              </a:pathLst>
            </a:custGeom>
            <a:solidFill>
              <a:srgbClr val="7E7E7E"/>
            </a:solidFill>
          </p:spPr>
          <p:txBody>
            <a:bodyPr wrap="square" lIns="0" tIns="0" rIns="0" bIns="0" rtlCol="0"/>
            <a:lstStyle/>
            <a:p>
              <a:endParaRPr/>
            </a:p>
          </p:txBody>
        </p:sp>
        <p:sp>
          <p:nvSpPr>
            <p:cNvPr id="38" name="object 38"/>
            <p:cNvSpPr txBox="1"/>
            <p:nvPr/>
          </p:nvSpPr>
          <p:spPr>
            <a:xfrm>
              <a:off x="7190613" y="6194552"/>
              <a:ext cx="635635"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Upda</a:t>
              </a:r>
              <a:r>
                <a:rPr sz="1200" b="1" spc="5">
                  <a:latin typeface="Verdana"/>
                  <a:cs typeface="Verdana"/>
                </a:rPr>
                <a:t>t</a:t>
              </a:r>
              <a:r>
                <a:rPr sz="1200" b="1">
                  <a:latin typeface="Verdana"/>
                  <a:cs typeface="Verdana"/>
                </a:rPr>
                <a:t>e</a:t>
              </a:r>
              <a:endParaRPr sz="1200">
                <a:latin typeface="Verdana"/>
                <a:cs typeface="Verdana"/>
              </a:endParaRPr>
            </a:p>
          </p:txBody>
        </p:sp>
        <p:sp>
          <p:nvSpPr>
            <p:cNvPr id="39" name="object 39"/>
            <p:cNvSpPr/>
            <p:nvPr/>
          </p:nvSpPr>
          <p:spPr>
            <a:xfrm>
              <a:off x="1768601" y="6438138"/>
              <a:ext cx="1247775" cy="76200"/>
            </a:xfrm>
            <a:custGeom>
              <a:avLst/>
              <a:gdLst/>
              <a:ahLst/>
              <a:cxnLst/>
              <a:rect l="l" t="t" r="r" b="b"/>
              <a:pathLst>
                <a:path w="1247775" h="76200">
                  <a:moveTo>
                    <a:pt x="76200" y="0"/>
                  </a:moveTo>
                  <a:lnTo>
                    <a:pt x="0" y="38100"/>
                  </a:lnTo>
                  <a:lnTo>
                    <a:pt x="76200" y="76200"/>
                  </a:lnTo>
                  <a:lnTo>
                    <a:pt x="76200" y="48006"/>
                  </a:lnTo>
                  <a:lnTo>
                    <a:pt x="63500" y="48006"/>
                  </a:lnTo>
                  <a:lnTo>
                    <a:pt x="63500" y="28194"/>
                  </a:lnTo>
                  <a:lnTo>
                    <a:pt x="76200" y="28194"/>
                  </a:lnTo>
                  <a:lnTo>
                    <a:pt x="76200" y="0"/>
                  </a:lnTo>
                  <a:close/>
                </a:path>
                <a:path w="1247775" h="76200">
                  <a:moveTo>
                    <a:pt x="1171575" y="0"/>
                  </a:moveTo>
                  <a:lnTo>
                    <a:pt x="1171575" y="76200"/>
                  </a:lnTo>
                  <a:lnTo>
                    <a:pt x="1227963" y="48006"/>
                  </a:lnTo>
                  <a:lnTo>
                    <a:pt x="1184275" y="48006"/>
                  </a:lnTo>
                  <a:lnTo>
                    <a:pt x="1184275" y="28194"/>
                  </a:lnTo>
                  <a:lnTo>
                    <a:pt x="1227963" y="28194"/>
                  </a:lnTo>
                  <a:lnTo>
                    <a:pt x="1171575" y="0"/>
                  </a:lnTo>
                  <a:close/>
                </a:path>
                <a:path w="1247775" h="76200">
                  <a:moveTo>
                    <a:pt x="76200" y="28194"/>
                  </a:moveTo>
                  <a:lnTo>
                    <a:pt x="63500" y="28194"/>
                  </a:lnTo>
                  <a:lnTo>
                    <a:pt x="63500" y="48006"/>
                  </a:lnTo>
                  <a:lnTo>
                    <a:pt x="76200" y="48006"/>
                  </a:lnTo>
                  <a:lnTo>
                    <a:pt x="76200" y="28194"/>
                  </a:lnTo>
                  <a:close/>
                </a:path>
                <a:path w="1247775" h="76200">
                  <a:moveTo>
                    <a:pt x="1171575" y="28194"/>
                  </a:moveTo>
                  <a:lnTo>
                    <a:pt x="76200" y="28194"/>
                  </a:lnTo>
                  <a:lnTo>
                    <a:pt x="76200" y="48006"/>
                  </a:lnTo>
                  <a:lnTo>
                    <a:pt x="1171575" y="48006"/>
                  </a:lnTo>
                  <a:lnTo>
                    <a:pt x="1171575" y="28194"/>
                  </a:lnTo>
                  <a:close/>
                </a:path>
                <a:path w="1247775" h="76200">
                  <a:moveTo>
                    <a:pt x="1227963" y="28194"/>
                  </a:moveTo>
                  <a:lnTo>
                    <a:pt x="1184275" y="28194"/>
                  </a:lnTo>
                  <a:lnTo>
                    <a:pt x="1184275" y="48006"/>
                  </a:lnTo>
                  <a:lnTo>
                    <a:pt x="1227963" y="48006"/>
                  </a:lnTo>
                  <a:lnTo>
                    <a:pt x="1247775" y="38100"/>
                  </a:lnTo>
                  <a:lnTo>
                    <a:pt x="1227963" y="28194"/>
                  </a:lnTo>
                  <a:close/>
                </a:path>
              </a:pathLst>
            </a:custGeom>
            <a:solidFill>
              <a:srgbClr val="7E7E7E"/>
            </a:solidFill>
          </p:spPr>
          <p:txBody>
            <a:bodyPr wrap="square" lIns="0" tIns="0" rIns="0" bIns="0" rtlCol="0"/>
            <a:lstStyle/>
            <a:p>
              <a:endParaRPr/>
            </a:p>
          </p:txBody>
        </p:sp>
        <p:sp>
          <p:nvSpPr>
            <p:cNvPr id="40" name="object 40"/>
            <p:cNvSpPr txBox="1"/>
            <p:nvPr/>
          </p:nvSpPr>
          <p:spPr>
            <a:xfrm>
              <a:off x="2069973" y="6194552"/>
              <a:ext cx="645795"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R</a:t>
              </a:r>
              <a:r>
                <a:rPr sz="1200" b="1" spc="-10">
                  <a:latin typeface="Verdana"/>
                  <a:cs typeface="Verdana"/>
                </a:rPr>
                <a:t>e</a:t>
              </a:r>
              <a:r>
                <a:rPr sz="1200" b="1">
                  <a:latin typeface="Verdana"/>
                  <a:cs typeface="Verdana"/>
                </a:rPr>
                <a:t>vi</a:t>
              </a:r>
              <a:r>
                <a:rPr sz="1200" b="1" spc="-10">
                  <a:latin typeface="Verdana"/>
                  <a:cs typeface="Verdana"/>
                </a:rPr>
                <a:t>e</a:t>
              </a:r>
              <a:r>
                <a:rPr sz="1200" b="1">
                  <a:latin typeface="Verdana"/>
                  <a:cs typeface="Verdana"/>
                </a:rPr>
                <a:t>w</a:t>
              </a:r>
              <a:endParaRPr sz="1200">
                <a:latin typeface="Verdana"/>
                <a:cs typeface="Verdana"/>
              </a:endParaRPr>
            </a:p>
          </p:txBody>
        </p:sp>
        <p:sp>
          <p:nvSpPr>
            <p:cNvPr id="41" name="object 41"/>
            <p:cNvSpPr txBox="1"/>
            <p:nvPr/>
          </p:nvSpPr>
          <p:spPr>
            <a:xfrm>
              <a:off x="5160264" y="4091940"/>
              <a:ext cx="1242060" cy="295910"/>
            </a:xfrm>
            <a:prstGeom prst="rect">
              <a:avLst/>
            </a:prstGeom>
            <a:solidFill>
              <a:srgbClr val="006FAC"/>
            </a:solidFill>
          </p:spPr>
          <p:txBody>
            <a:bodyPr vert="horz" wrap="square" lIns="0" tIns="1905" rIns="0" bIns="0" rtlCol="0">
              <a:spAutoFit/>
            </a:bodyPr>
            <a:lstStyle/>
            <a:p>
              <a:pPr>
                <a:lnSpc>
                  <a:spcPct val="100000"/>
                </a:lnSpc>
                <a:spcBef>
                  <a:spcPts val="15"/>
                </a:spcBef>
              </a:pPr>
              <a:endParaRPr sz="900">
                <a:latin typeface="Times New Roman"/>
                <a:cs typeface="Times New Roman"/>
              </a:endParaRPr>
            </a:p>
            <a:p>
              <a:pPr marL="180340">
                <a:lnSpc>
                  <a:spcPct val="100000"/>
                </a:lnSpc>
              </a:pPr>
              <a:r>
                <a:rPr sz="900">
                  <a:solidFill>
                    <a:srgbClr val="FFFFFF"/>
                  </a:solidFill>
                  <a:latin typeface="Verdana"/>
                  <a:cs typeface="Verdana"/>
                </a:rPr>
                <a:t>Do</a:t>
              </a:r>
              <a:r>
                <a:rPr sz="900" spc="-20">
                  <a:solidFill>
                    <a:srgbClr val="FFFFFF"/>
                  </a:solidFill>
                  <a:latin typeface="Verdana"/>
                  <a:cs typeface="Verdana"/>
                </a:rPr>
                <a:t> </a:t>
              </a:r>
              <a:r>
                <a:rPr sz="900" spc="-5">
                  <a:solidFill>
                    <a:srgbClr val="FFFFFF"/>
                  </a:solidFill>
                  <a:latin typeface="Verdana"/>
                  <a:cs typeface="Verdana"/>
                </a:rPr>
                <a:t>Clarification</a:t>
              </a:r>
              <a:endParaRPr sz="900">
                <a:latin typeface="Verdana"/>
                <a:cs typeface="Verdana"/>
              </a:endParaRPr>
            </a:p>
          </p:txBody>
        </p:sp>
        <p:sp>
          <p:nvSpPr>
            <p:cNvPr id="42" name="object 42"/>
            <p:cNvSpPr txBox="1"/>
            <p:nvPr/>
          </p:nvSpPr>
          <p:spPr>
            <a:xfrm>
              <a:off x="5160264" y="4407408"/>
              <a:ext cx="1236345" cy="306705"/>
            </a:xfrm>
            <a:prstGeom prst="rect">
              <a:avLst/>
            </a:prstGeom>
            <a:solidFill>
              <a:srgbClr val="D22138"/>
            </a:solidFill>
          </p:spPr>
          <p:txBody>
            <a:bodyPr vert="horz" wrap="square" lIns="0" tIns="31115" rIns="0" bIns="0" rtlCol="0">
              <a:spAutoFit/>
            </a:bodyPr>
            <a:lstStyle/>
            <a:p>
              <a:pPr marL="111760">
                <a:lnSpc>
                  <a:spcPct val="100000"/>
                </a:lnSpc>
                <a:spcBef>
                  <a:spcPts val="245"/>
                </a:spcBef>
              </a:pPr>
              <a:r>
                <a:rPr sz="900" spc="-5">
                  <a:solidFill>
                    <a:srgbClr val="FFFFFF"/>
                  </a:solidFill>
                  <a:latin typeface="Verdana"/>
                  <a:cs typeface="Verdana"/>
                </a:rPr>
                <a:t>(meeting,mail,et)</a:t>
              </a:r>
              <a:endParaRPr sz="900">
                <a:latin typeface="Verdana"/>
                <a:cs typeface="Verdana"/>
              </a:endParaRPr>
            </a:p>
          </p:txBody>
        </p:sp>
        <p:sp>
          <p:nvSpPr>
            <p:cNvPr id="43" name="object 43"/>
            <p:cNvSpPr txBox="1"/>
            <p:nvPr/>
          </p:nvSpPr>
          <p:spPr>
            <a:xfrm>
              <a:off x="243840" y="1109472"/>
              <a:ext cx="11704320" cy="1108075"/>
            </a:xfrm>
            <a:prstGeom prst="rect">
              <a:avLst/>
            </a:prstGeom>
            <a:solidFill>
              <a:srgbClr val="421F5D"/>
            </a:solidFill>
          </p:spPr>
          <p:txBody>
            <a:bodyPr vert="horz" wrap="square" lIns="0" tIns="45719" rIns="0" bIns="0" rtlCol="0">
              <a:spAutoFit/>
            </a:bodyPr>
            <a:lstStyle/>
            <a:p>
              <a:pPr marL="90805" marR="238125">
                <a:lnSpc>
                  <a:spcPct val="100000"/>
                </a:lnSpc>
                <a:spcBef>
                  <a:spcPts val="359"/>
                </a:spcBef>
              </a:pPr>
              <a:r>
                <a:rPr sz="1100" spc="-5">
                  <a:solidFill>
                    <a:srgbClr val="FFFFFF"/>
                  </a:solidFill>
                  <a:latin typeface="Verdana"/>
                  <a:cs typeface="Verdana"/>
                </a:rPr>
                <a:t>All formal deliverables delivered to Marelli </a:t>
              </a:r>
              <a:r>
                <a:rPr sz="1100" spc="-10">
                  <a:solidFill>
                    <a:srgbClr val="FFFFFF"/>
                  </a:solidFill>
                  <a:latin typeface="Verdana"/>
                  <a:cs typeface="Verdana"/>
                </a:rPr>
                <a:t>will </a:t>
              </a:r>
              <a:r>
                <a:rPr sz="1100" spc="-5">
                  <a:solidFill>
                    <a:srgbClr val="FFFFFF"/>
                  </a:solidFill>
                  <a:latin typeface="Verdana"/>
                  <a:cs typeface="Verdana"/>
                </a:rPr>
                <a:t>be accompanied with the R.I.D. (Reviewed </a:t>
              </a:r>
              <a:r>
                <a:rPr sz="1100">
                  <a:solidFill>
                    <a:srgbClr val="FFFFFF"/>
                  </a:solidFill>
                  <a:latin typeface="Verdana"/>
                  <a:cs typeface="Verdana"/>
                </a:rPr>
                <a:t>Item </a:t>
              </a:r>
              <a:r>
                <a:rPr sz="1100" spc="-5">
                  <a:solidFill>
                    <a:srgbClr val="FFFFFF"/>
                  </a:solidFill>
                  <a:latin typeface="Verdana"/>
                  <a:cs typeface="Verdana"/>
                </a:rPr>
                <a:t>Disposition), </a:t>
              </a:r>
              <a:r>
                <a:rPr sz="1100">
                  <a:solidFill>
                    <a:srgbClr val="FFFFFF"/>
                  </a:solidFill>
                  <a:latin typeface="Verdana"/>
                  <a:cs typeface="Verdana"/>
                </a:rPr>
                <a:t>a tool </a:t>
              </a:r>
              <a:r>
                <a:rPr sz="1100" spc="-10">
                  <a:solidFill>
                    <a:srgbClr val="FFFFFF"/>
                  </a:solidFill>
                  <a:latin typeface="Verdana"/>
                  <a:cs typeface="Verdana"/>
                </a:rPr>
                <a:t>in </a:t>
              </a:r>
              <a:r>
                <a:rPr sz="1100" spc="-5">
                  <a:solidFill>
                    <a:srgbClr val="FFFFFF"/>
                  </a:solidFill>
                  <a:latin typeface="Verdana"/>
                  <a:cs typeface="Verdana"/>
                </a:rPr>
                <a:t>which Marelli </a:t>
              </a:r>
              <a:r>
                <a:rPr sz="1100">
                  <a:solidFill>
                    <a:srgbClr val="FFFFFF"/>
                  </a:solidFill>
                  <a:latin typeface="Verdana"/>
                  <a:cs typeface="Verdana"/>
                </a:rPr>
                <a:t>and </a:t>
              </a:r>
              <a:r>
                <a:rPr sz="1100" spc="-5">
                  <a:solidFill>
                    <a:srgbClr val="FFFFFF"/>
                  </a:solidFill>
                  <a:latin typeface="Verdana"/>
                  <a:cs typeface="Verdana"/>
                </a:rPr>
                <a:t>Capgemini </a:t>
              </a:r>
              <a:r>
                <a:rPr sz="1100" spc="-10">
                  <a:solidFill>
                    <a:srgbClr val="FFFFFF"/>
                  </a:solidFill>
                  <a:latin typeface="Verdana"/>
                  <a:cs typeface="Verdana"/>
                </a:rPr>
                <a:t>will </a:t>
              </a:r>
              <a:r>
                <a:rPr sz="1100" spc="-5">
                  <a:solidFill>
                    <a:srgbClr val="FFFFFF"/>
                  </a:solidFill>
                  <a:latin typeface="Verdana"/>
                  <a:cs typeface="Verdana"/>
                </a:rPr>
                <a:t>track their  </a:t>
              </a:r>
              <a:r>
                <a:rPr sz="1100">
                  <a:solidFill>
                    <a:srgbClr val="FFFFFF"/>
                  </a:solidFill>
                  <a:latin typeface="Verdana"/>
                  <a:cs typeface="Verdana"/>
                </a:rPr>
                <a:t>comments. </a:t>
              </a:r>
              <a:r>
                <a:rPr sz="1100" spc="-5">
                  <a:solidFill>
                    <a:srgbClr val="FFFFFF"/>
                  </a:solidFill>
                  <a:latin typeface="Verdana"/>
                  <a:cs typeface="Verdana"/>
                </a:rPr>
                <a:t>Additionally </a:t>
              </a:r>
              <a:r>
                <a:rPr sz="1100">
                  <a:solidFill>
                    <a:srgbClr val="FFFFFF"/>
                  </a:solidFill>
                  <a:latin typeface="Verdana"/>
                  <a:cs typeface="Verdana"/>
                </a:rPr>
                <a:t>a </a:t>
              </a:r>
              <a:r>
                <a:rPr sz="1100" spc="-5">
                  <a:solidFill>
                    <a:srgbClr val="FFFFFF"/>
                  </a:solidFill>
                  <a:latin typeface="Verdana"/>
                  <a:cs typeface="Verdana"/>
                </a:rPr>
                <a:t>Delivery Note </a:t>
              </a:r>
              <a:r>
                <a:rPr sz="1100" spc="-10">
                  <a:solidFill>
                    <a:srgbClr val="FFFFFF"/>
                  </a:solidFill>
                  <a:latin typeface="Verdana"/>
                  <a:cs typeface="Verdana"/>
                </a:rPr>
                <a:t>will </a:t>
              </a:r>
              <a:r>
                <a:rPr sz="1100" spc="-5">
                  <a:solidFill>
                    <a:srgbClr val="FFFFFF"/>
                  </a:solidFill>
                  <a:latin typeface="Verdana"/>
                  <a:cs typeface="Verdana"/>
                </a:rPr>
                <a:t>also accompany the deliverables (and outputs) describing </a:t>
              </a:r>
              <a:r>
                <a:rPr sz="1100" spc="-10">
                  <a:solidFill>
                    <a:srgbClr val="FFFFFF"/>
                  </a:solidFill>
                  <a:latin typeface="Verdana"/>
                  <a:cs typeface="Verdana"/>
                </a:rPr>
                <a:t>in </a:t>
              </a:r>
              <a:r>
                <a:rPr sz="1100" spc="-5">
                  <a:solidFill>
                    <a:srgbClr val="FFFFFF"/>
                  </a:solidFill>
                  <a:latin typeface="Verdana"/>
                  <a:cs typeface="Verdana"/>
                </a:rPr>
                <a:t>detail the </a:t>
              </a:r>
              <a:r>
                <a:rPr sz="1100">
                  <a:solidFill>
                    <a:srgbClr val="FFFFFF"/>
                  </a:solidFill>
                  <a:latin typeface="Verdana"/>
                  <a:cs typeface="Verdana"/>
                </a:rPr>
                <a:t>contents of the </a:t>
              </a:r>
              <a:r>
                <a:rPr sz="1100" spc="-5">
                  <a:solidFill>
                    <a:srgbClr val="FFFFFF"/>
                  </a:solidFill>
                  <a:latin typeface="Verdana"/>
                  <a:cs typeface="Verdana"/>
                </a:rPr>
                <a:t>package being delivered. </a:t>
              </a:r>
              <a:r>
                <a:rPr sz="1100">
                  <a:solidFill>
                    <a:srgbClr val="FFFFFF"/>
                  </a:solidFill>
                  <a:latin typeface="Verdana"/>
                  <a:cs typeface="Verdana"/>
                </a:rPr>
                <a:t>The  contents of </a:t>
              </a:r>
              <a:r>
                <a:rPr sz="1100" spc="-5">
                  <a:solidFill>
                    <a:srgbClr val="FFFFFF"/>
                  </a:solidFill>
                  <a:latin typeface="Verdana"/>
                  <a:cs typeface="Verdana"/>
                </a:rPr>
                <a:t>the delivery package </a:t>
              </a:r>
              <a:r>
                <a:rPr sz="1100" spc="-10">
                  <a:solidFill>
                    <a:srgbClr val="FFFFFF"/>
                  </a:solidFill>
                  <a:latin typeface="Verdana"/>
                  <a:cs typeface="Verdana"/>
                </a:rPr>
                <a:t>will </a:t>
              </a:r>
              <a:r>
                <a:rPr sz="1100" spc="-5">
                  <a:solidFill>
                    <a:srgbClr val="FFFFFF"/>
                  </a:solidFill>
                  <a:latin typeface="Verdana"/>
                  <a:cs typeface="Verdana"/>
                </a:rPr>
                <a:t>be copied to </a:t>
              </a:r>
              <a:r>
                <a:rPr sz="1100">
                  <a:solidFill>
                    <a:srgbClr val="FFFFFF"/>
                  </a:solidFill>
                  <a:latin typeface="Verdana"/>
                  <a:cs typeface="Verdana"/>
                </a:rPr>
                <a:t>an </a:t>
              </a:r>
              <a:r>
                <a:rPr sz="1100" spc="-5">
                  <a:solidFill>
                    <a:srgbClr val="FFFFFF"/>
                  </a:solidFill>
                  <a:latin typeface="Verdana"/>
                  <a:cs typeface="Verdana"/>
                </a:rPr>
                <a:t>agreed folder </a:t>
              </a:r>
              <a:r>
                <a:rPr sz="1100" spc="-10">
                  <a:solidFill>
                    <a:srgbClr val="FFFFFF"/>
                  </a:solidFill>
                  <a:latin typeface="Verdana"/>
                  <a:cs typeface="Verdana"/>
                </a:rPr>
                <a:t>in </a:t>
              </a:r>
              <a:r>
                <a:rPr sz="1100" spc="-5">
                  <a:solidFill>
                    <a:srgbClr val="FFFFFF"/>
                  </a:solidFill>
                  <a:latin typeface="Verdana"/>
                  <a:cs typeface="Verdana"/>
                </a:rPr>
                <a:t>the Marelli </a:t>
              </a:r>
              <a:r>
                <a:rPr sz="1100">
                  <a:solidFill>
                    <a:srgbClr val="FFFFFF"/>
                  </a:solidFill>
                  <a:latin typeface="Verdana"/>
                  <a:cs typeface="Verdana"/>
                </a:rPr>
                <a:t>document </a:t>
              </a:r>
              <a:r>
                <a:rPr sz="1100" spc="-5">
                  <a:solidFill>
                    <a:srgbClr val="FFFFFF"/>
                  </a:solidFill>
                  <a:latin typeface="Verdana"/>
                  <a:cs typeface="Verdana"/>
                </a:rPr>
                <a:t>repository. </a:t>
              </a:r>
              <a:r>
                <a:rPr sz="1100">
                  <a:solidFill>
                    <a:srgbClr val="FFFFFF"/>
                  </a:solidFill>
                  <a:latin typeface="Verdana"/>
                  <a:cs typeface="Verdana"/>
                </a:rPr>
                <a:t>The </a:t>
              </a:r>
              <a:r>
                <a:rPr sz="1100" spc="-5">
                  <a:solidFill>
                    <a:srgbClr val="FFFFFF"/>
                  </a:solidFill>
                  <a:latin typeface="Verdana"/>
                  <a:cs typeface="Verdana"/>
                </a:rPr>
                <a:t>delivery </a:t>
              </a:r>
              <a:r>
                <a:rPr sz="1100">
                  <a:solidFill>
                    <a:srgbClr val="FFFFFF"/>
                  </a:solidFill>
                  <a:latin typeface="Verdana"/>
                  <a:cs typeface="Verdana"/>
                </a:rPr>
                <a:t>note </a:t>
              </a:r>
              <a:r>
                <a:rPr sz="1100" spc="-15">
                  <a:solidFill>
                    <a:srgbClr val="FFFFFF"/>
                  </a:solidFill>
                  <a:latin typeface="Verdana"/>
                  <a:cs typeface="Verdana"/>
                </a:rPr>
                <a:t>will </a:t>
              </a:r>
              <a:r>
                <a:rPr sz="1100" spc="-5">
                  <a:solidFill>
                    <a:srgbClr val="FFFFFF"/>
                  </a:solidFill>
                  <a:latin typeface="Verdana"/>
                  <a:cs typeface="Verdana"/>
                </a:rPr>
                <a:t>also be </a:t>
              </a:r>
              <a:r>
                <a:rPr sz="1100">
                  <a:solidFill>
                    <a:srgbClr val="FFFFFF"/>
                  </a:solidFill>
                  <a:latin typeface="Verdana"/>
                  <a:cs typeface="Verdana"/>
                </a:rPr>
                <a:t>sent </a:t>
              </a:r>
              <a:r>
                <a:rPr sz="1100" spc="-10">
                  <a:solidFill>
                    <a:srgbClr val="FFFFFF"/>
                  </a:solidFill>
                  <a:latin typeface="Verdana"/>
                  <a:cs typeface="Verdana"/>
                </a:rPr>
                <a:t>via </a:t>
              </a:r>
              <a:r>
                <a:rPr sz="1100" spc="-5">
                  <a:solidFill>
                    <a:srgbClr val="FFFFFF"/>
                  </a:solidFill>
                  <a:latin typeface="Verdana"/>
                  <a:cs typeface="Verdana"/>
                </a:rPr>
                <a:t>e-mail to the Marelli  PMO stating clearly </a:t>
              </a:r>
              <a:r>
                <a:rPr sz="1100" spc="-10">
                  <a:solidFill>
                    <a:srgbClr val="FFFFFF"/>
                  </a:solidFill>
                  <a:latin typeface="Verdana"/>
                  <a:cs typeface="Verdana"/>
                </a:rPr>
                <a:t>in </a:t>
              </a:r>
              <a:r>
                <a:rPr sz="1100" spc="-5">
                  <a:solidFill>
                    <a:srgbClr val="FFFFFF"/>
                  </a:solidFill>
                  <a:latin typeface="Verdana"/>
                  <a:cs typeface="Verdana"/>
                </a:rPr>
                <a:t>the </a:t>
              </a:r>
              <a:r>
                <a:rPr sz="1100">
                  <a:solidFill>
                    <a:srgbClr val="FFFFFF"/>
                  </a:solidFill>
                  <a:latin typeface="Verdana"/>
                  <a:cs typeface="Verdana"/>
                </a:rPr>
                <a:t>subject </a:t>
              </a:r>
              <a:r>
                <a:rPr sz="1100" spc="-5">
                  <a:solidFill>
                    <a:srgbClr val="FFFFFF"/>
                  </a:solidFill>
                  <a:latin typeface="Verdana"/>
                  <a:cs typeface="Verdana"/>
                </a:rPr>
                <a:t>that the </a:t>
              </a:r>
              <a:r>
                <a:rPr sz="1100" spc="-10">
                  <a:solidFill>
                    <a:srgbClr val="FFFFFF"/>
                  </a:solidFill>
                  <a:latin typeface="Verdana"/>
                  <a:cs typeface="Verdana"/>
                </a:rPr>
                <a:t>mail </a:t>
              </a:r>
              <a:r>
                <a:rPr sz="1100" spc="-5">
                  <a:solidFill>
                    <a:srgbClr val="FFFFFF"/>
                  </a:solidFill>
                  <a:latin typeface="Verdana"/>
                  <a:cs typeface="Verdana"/>
                </a:rPr>
                <a:t>contains </a:t>
              </a:r>
              <a:r>
                <a:rPr sz="1100">
                  <a:solidFill>
                    <a:srgbClr val="FFFFFF"/>
                  </a:solidFill>
                  <a:latin typeface="Verdana"/>
                  <a:cs typeface="Verdana"/>
                </a:rPr>
                <a:t>a </a:t>
              </a:r>
              <a:r>
                <a:rPr sz="1100" spc="-5">
                  <a:solidFill>
                    <a:srgbClr val="FFFFFF"/>
                  </a:solidFill>
                  <a:latin typeface="Verdana"/>
                  <a:cs typeface="Verdana"/>
                </a:rPr>
                <a:t>delivery </a:t>
              </a:r>
              <a:r>
                <a:rPr sz="1100">
                  <a:solidFill>
                    <a:srgbClr val="FFFFFF"/>
                  </a:solidFill>
                  <a:latin typeface="Verdana"/>
                  <a:cs typeface="Verdana"/>
                </a:rPr>
                <a:t>note </a:t>
              </a:r>
              <a:r>
                <a:rPr sz="1100" spc="-5">
                  <a:solidFill>
                    <a:srgbClr val="FFFFFF"/>
                  </a:solidFill>
                  <a:latin typeface="Verdana"/>
                  <a:cs typeface="Verdana"/>
                </a:rPr>
                <a:t>and the </a:t>
              </a:r>
              <a:r>
                <a:rPr sz="1100">
                  <a:solidFill>
                    <a:srgbClr val="FFFFFF"/>
                  </a:solidFill>
                  <a:latin typeface="Verdana"/>
                  <a:cs typeface="Verdana"/>
                </a:rPr>
                <a:t>code of </a:t>
              </a:r>
              <a:r>
                <a:rPr sz="1100" spc="-5">
                  <a:solidFill>
                    <a:srgbClr val="FFFFFF"/>
                  </a:solidFill>
                  <a:latin typeface="Verdana"/>
                  <a:cs typeface="Verdana"/>
                </a:rPr>
                <a:t>the deliverable. </a:t>
              </a:r>
              <a:r>
                <a:rPr sz="1100">
                  <a:solidFill>
                    <a:srgbClr val="FFFFFF"/>
                  </a:solidFill>
                  <a:latin typeface="Verdana"/>
                  <a:cs typeface="Verdana"/>
                </a:rPr>
                <a:t>In </a:t>
              </a:r>
              <a:r>
                <a:rPr sz="1100" spc="-5">
                  <a:solidFill>
                    <a:srgbClr val="FFFFFF"/>
                  </a:solidFill>
                  <a:latin typeface="Verdana"/>
                  <a:cs typeface="Verdana"/>
                </a:rPr>
                <a:t>the case </a:t>
              </a:r>
              <a:r>
                <a:rPr sz="1100">
                  <a:solidFill>
                    <a:srgbClr val="FFFFFF"/>
                  </a:solidFill>
                  <a:latin typeface="Verdana"/>
                  <a:cs typeface="Verdana"/>
                </a:rPr>
                <a:t>of </a:t>
              </a:r>
              <a:r>
                <a:rPr sz="1100" spc="-5">
                  <a:solidFill>
                    <a:srgbClr val="FFFFFF"/>
                  </a:solidFill>
                  <a:latin typeface="Verdana"/>
                  <a:cs typeface="Verdana"/>
                </a:rPr>
                <a:t>complex deliverables </a:t>
              </a:r>
              <a:r>
                <a:rPr sz="1100">
                  <a:solidFill>
                    <a:srgbClr val="FFFFFF"/>
                  </a:solidFill>
                  <a:latin typeface="Verdana"/>
                  <a:cs typeface="Verdana"/>
                </a:rPr>
                <a:t>a </a:t>
              </a:r>
              <a:r>
                <a:rPr sz="1100" spc="-5">
                  <a:solidFill>
                    <a:srgbClr val="FFFFFF"/>
                  </a:solidFill>
                  <a:latin typeface="Verdana"/>
                  <a:cs typeface="Verdana"/>
                </a:rPr>
                <a:t>brief presentation  may be required. Joint </a:t>
              </a:r>
              <a:r>
                <a:rPr sz="1100">
                  <a:solidFill>
                    <a:srgbClr val="FFFFFF"/>
                  </a:solidFill>
                  <a:latin typeface="Verdana"/>
                  <a:cs typeface="Verdana"/>
                </a:rPr>
                <a:t>PMO team </a:t>
              </a:r>
              <a:r>
                <a:rPr sz="1100" spc="-10">
                  <a:solidFill>
                    <a:srgbClr val="FFFFFF"/>
                  </a:solidFill>
                  <a:latin typeface="Verdana"/>
                  <a:cs typeface="Verdana"/>
                </a:rPr>
                <a:t>will </a:t>
              </a:r>
              <a:r>
                <a:rPr sz="1100" spc="-5">
                  <a:solidFill>
                    <a:srgbClr val="FFFFFF"/>
                  </a:solidFill>
                  <a:latin typeface="Verdana"/>
                  <a:cs typeface="Verdana"/>
                </a:rPr>
                <a:t>inform Capgemini </a:t>
              </a:r>
              <a:r>
                <a:rPr sz="1100">
                  <a:solidFill>
                    <a:srgbClr val="FFFFFF"/>
                  </a:solidFill>
                  <a:latin typeface="Verdana"/>
                  <a:cs typeface="Verdana"/>
                </a:rPr>
                <a:t>and </a:t>
              </a:r>
              <a:r>
                <a:rPr sz="1100" spc="-5">
                  <a:solidFill>
                    <a:srgbClr val="FFFFFF"/>
                  </a:solidFill>
                  <a:latin typeface="Verdana"/>
                  <a:cs typeface="Verdana"/>
                </a:rPr>
                <a:t>Marelli </a:t>
              </a:r>
              <a:r>
                <a:rPr sz="1100">
                  <a:solidFill>
                    <a:srgbClr val="FFFFFF"/>
                  </a:solidFill>
                  <a:latin typeface="Verdana"/>
                  <a:cs typeface="Verdana"/>
                </a:rPr>
                <a:t>on when </a:t>
              </a:r>
              <a:r>
                <a:rPr sz="1100" spc="-5">
                  <a:solidFill>
                    <a:srgbClr val="FFFFFF"/>
                  </a:solidFill>
                  <a:latin typeface="Verdana"/>
                  <a:cs typeface="Verdana"/>
                </a:rPr>
                <a:t>this </a:t>
              </a:r>
              <a:r>
                <a:rPr sz="1100" spc="-10">
                  <a:solidFill>
                    <a:srgbClr val="FFFFFF"/>
                  </a:solidFill>
                  <a:latin typeface="Verdana"/>
                  <a:cs typeface="Verdana"/>
                </a:rPr>
                <a:t>is </a:t>
              </a:r>
              <a:r>
                <a:rPr sz="1100" spc="-5">
                  <a:solidFill>
                    <a:srgbClr val="FFFFFF"/>
                  </a:solidFill>
                  <a:latin typeface="Verdana"/>
                  <a:cs typeface="Verdana"/>
                </a:rPr>
                <a:t>required. </a:t>
              </a:r>
              <a:r>
                <a:rPr sz="1100">
                  <a:solidFill>
                    <a:srgbClr val="FFFFFF"/>
                  </a:solidFill>
                  <a:latin typeface="Verdana"/>
                  <a:cs typeface="Verdana"/>
                </a:rPr>
                <a:t>Acceptance </a:t>
              </a:r>
              <a:r>
                <a:rPr sz="1100" spc="-10">
                  <a:solidFill>
                    <a:srgbClr val="FFFFFF"/>
                  </a:solidFill>
                  <a:latin typeface="Verdana"/>
                  <a:cs typeface="Verdana"/>
                </a:rPr>
                <a:t>time </a:t>
              </a:r>
              <a:r>
                <a:rPr sz="1100">
                  <a:solidFill>
                    <a:srgbClr val="FFFFFF"/>
                  </a:solidFill>
                  <a:latin typeface="Verdana"/>
                  <a:cs typeface="Verdana"/>
                </a:rPr>
                <a:t>from </a:t>
              </a:r>
              <a:r>
                <a:rPr sz="1100" spc="-5">
                  <a:solidFill>
                    <a:srgbClr val="FFFFFF"/>
                  </a:solidFill>
                  <a:latin typeface="Verdana"/>
                  <a:cs typeface="Verdana"/>
                </a:rPr>
                <a:t>Marelli </a:t>
              </a:r>
              <a:r>
                <a:rPr sz="1100">
                  <a:solidFill>
                    <a:srgbClr val="FFFFFF"/>
                  </a:solidFill>
                  <a:latin typeface="Verdana"/>
                  <a:cs typeface="Verdana"/>
                </a:rPr>
                <a:t>should </a:t>
              </a:r>
              <a:r>
                <a:rPr sz="1100" spc="-5">
                  <a:solidFill>
                    <a:srgbClr val="FFFFFF"/>
                  </a:solidFill>
                  <a:latin typeface="Verdana"/>
                  <a:cs typeface="Verdana"/>
                </a:rPr>
                <a:t>be reasonable, </a:t>
              </a:r>
              <a:r>
                <a:rPr sz="1100">
                  <a:solidFill>
                    <a:srgbClr val="FFFFFF"/>
                  </a:solidFill>
                  <a:latin typeface="Verdana"/>
                  <a:cs typeface="Verdana"/>
                </a:rPr>
                <a:t>and each </a:t>
              </a:r>
              <a:r>
                <a:rPr sz="1100" spc="-10">
                  <a:solidFill>
                    <a:srgbClr val="FFFFFF"/>
                  </a:solidFill>
                  <a:latin typeface="Verdana"/>
                  <a:cs typeface="Verdana"/>
                </a:rPr>
                <a:t>time  </a:t>
              </a:r>
              <a:r>
                <a:rPr sz="1100" spc="-5">
                  <a:solidFill>
                    <a:srgbClr val="FFFFFF"/>
                  </a:solidFill>
                  <a:latin typeface="Verdana"/>
                  <a:cs typeface="Verdana"/>
                </a:rPr>
                <a:t>PMs </a:t>
              </a:r>
              <a:r>
                <a:rPr sz="1100" spc="-10">
                  <a:solidFill>
                    <a:srgbClr val="FFFFFF"/>
                  </a:solidFill>
                  <a:latin typeface="Verdana"/>
                  <a:cs typeface="Verdana"/>
                </a:rPr>
                <a:t>will </a:t>
              </a:r>
              <a:r>
                <a:rPr sz="1100" spc="-5">
                  <a:solidFill>
                    <a:srgbClr val="FFFFFF"/>
                  </a:solidFill>
                  <a:latin typeface="Verdana"/>
                  <a:cs typeface="Verdana"/>
                </a:rPr>
                <a:t>agree </a:t>
              </a:r>
              <a:r>
                <a:rPr sz="1100">
                  <a:solidFill>
                    <a:srgbClr val="FFFFFF"/>
                  </a:solidFill>
                  <a:latin typeface="Verdana"/>
                  <a:cs typeface="Verdana"/>
                </a:rPr>
                <a:t>on a </a:t>
              </a:r>
              <a:r>
                <a:rPr sz="1100" spc="-5">
                  <a:solidFill>
                    <a:srgbClr val="FFFFFF"/>
                  </a:solidFill>
                  <a:latin typeface="Verdana"/>
                  <a:cs typeface="Verdana"/>
                </a:rPr>
                <a:t>deadline to receive approval, </a:t>
              </a:r>
              <a:r>
                <a:rPr sz="1100">
                  <a:solidFill>
                    <a:srgbClr val="FFFFFF"/>
                  </a:solidFill>
                  <a:latin typeface="Verdana"/>
                  <a:cs typeface="Verdana"/>
                </a:rPr>
                <a:t>based on </a:t>
              </a:r>
              <a:r>
                <a:rPr sz="1100" spc="-5">
                  <a:solidFill>
                    <a:srgbClr val="FFFFFF"/>
                  </a:solidFill>
                  <a:latin typeface="Verdana"/>
                  <a:cs typeface="Verdana"/>
                </a:rPr>
                <a:t>the approval milestone impact </a:t>
              </a:r>
              <a:r>
                <a:rPr sz="1100">
                  <a:solidFill>
                    <a:srgbClr val="FFFFFF"/>
                  </a:solidFill>
                  <a:latin typeface="Verdana"/>
                  <a:cs typeface="Verdana"/>
                </a:rPr>
                <a:t>on </a:t>
              </a:r>
              <a:r>
                <a:rPr sz="1100" spc="-5">
                  <a:solidFill>
                    <a:srgbClr val="FFFFFF"/>
                  </a:solidFill>
                  <a:latin typeface="Verdana"/>
                  <a:cs typeface="Verdana"/>
                </a:rPr>
                <a:t>the overall</a:t>
              </a:r>
              <a:r>
                <a:rPr sz="1100" spc="135">
                  <a:solidFill>
                    <a:srgbClr val="FFFFFF"/>
                  </a:solidFill>
                  <a:latin typeface="Verdana"/>
                  <a:cs typeface="Verdana"/>
                </a:rPr>
                <a:t> </a:t>
              </a:r>
              <a:r>
                <a:rPr sz="1100">
                  <a:solidFill>
                    <a:srgbClr val="FFFFFF"/>
                  </a:solidFill>
                  <a:latin typeface="Verdana"/>
                  <a:cs typeface="Verdana"/>
                </a:rPr>
                <a:t>Project</a:t>
              </a:r>
              <a:endParaRPr sz="1100">
                <a:latin typeface="Verdana"/>
                <a:cs typeface="Verdana"/>
              </a:endParaRPr>
            </a:p>
          </p:txBody>
        </p:sp>
        <p:sp>
          <p:nvSpPr>
            <p:cNvPr id="44" name="object 44"/>
            <p:cNvSpPr/>
            <p:nvPr/>
          </p:nvSpPr>
          <p:spPr>
            <a:xfrm>
              <a:off x="8790431" y="2374392"/>
              <a:ext cx="3157855" cy="2312035"/>
            </a:xfrm>
            <a:custGeom>
              <a:avLst/>
              <a:gdLst/>
              <a:ahLst/>
              <a:cxnLst/>
              <a:rect l="l" t="t" r="r" b="b"/>
              <a:pathLst>
                <a:path w="3157854" h="2312035">
                  <a:moveTo>
                    <a:pt x="3089275" y="0"/>
                  </a:moveTo>
                  <a:lnTo>
                    <a:pt x="68452" y="0"/>
                  </a:lnTo>
                  <a:lnTo>
                    <a:pt x="41790" y="5373"/>
                  </a:lnTo>
                  <a:lnTo>
                    <a:pt x="20034" y="20034"/>
                  </a:lnTo>
                  <a:lnTo>
                    <a:pt x="5373" y="41790"/>
                  </a:lnTo>
                  <a:lnTo>
                    <a:pt x="0" y="68453"/>
                  </a:lnTo>
                  <a:lnTo>
                    <a:pt x="0" y="2243455"/>
                  </a:lnTo>
                  <a:lnTo>
                    <a:pt x="5373" y="2270117"/>
                  </a:lnTo>
                  <a:lnTo>
                    <a:pt x="20034" y="2291873"/>
                  </a:lnTo>
                  <a:lnTo>
                    <a:pt x="41790" y="2306534"/>
                  </a:lnTo>
                  <a:lnTo>
                    <a:pt x="68452" y="2311908"/>
                  </a:lnTo>
                  <a:lnTo>
                    <a:pt x="3089275" y="2311908"/>
                  </a:lnTo>
                  <a:lnTo>
                    <a:pt x="3115937" y="2306534"/>
                  </a:lnTo>
                  <a:lnTo>
                    <a:pt x="3137693" y="2291873"/>
                  </a:lnTo>
                  <a:lnTo>
                    <a:pt x="3152354" y="2270117"/>
                  </a:lnTo>
                  <a:lnTo>
                    <a:pt x="3157728" y="2243455"/>
                  </a:lnTo>
                  <a:lnTo>
                    <a:pt x="3157728" y="68453"/>
                  </a:lnTo>
                  <a:lnTo>
                    <a:pt x="3152354" y="41790"/>
                  </a:lnTo>
                  <a:lnTo>
                    <a:pt x="3137693" y="20034"/>
                  </a:lnTo>
                  <a:lnTo>
                    <a:pt x="3115937" y="5373"/>
                  </a:lnTo>
                  <a:lnTo>
                    <a:pt x="3089275" y="0"/>
                  </a:lnTo>
                  <a:close/>
                </a:path>
              </a:pathLst>
            </a:custGeom>
            <a:solidFill>
              <a:srgbClr val="EBEBEB"/>
            </a:solidFill>
          </p:spPr>
          <p:txBody>
            <a:bodyPr wrap="square" lIns="0" tIns="0" rIns="0" bIns="0" rtlCol="0"/>
            <a:lstStyle/>
            <a:p>
              <a:endParaRPr/>
            </a:p>
          </p:txBody>
        </p:sp>
        <p:sp>
          <p:nvSpPr>
            <p:cNvPr id="45" name="object 45"/>
            <p:cNvSpPr txBox="1"/>
            <p:nvPr/>
          </p:nvSpPr>
          <p:spPr>
            <a:xfrm>
              <a:off x="8891143" y="2594863"/>
              <a:ext cx="2941320" cy="1870710"/>
            </a:xfrm>
            <a:prstGeom prst="rect">
              <a:avLst/>
            </a:prstGeom>
          </p:spPr>
          <p:txBody>
            <a:bodyPr vert="horz" wrap="square" lIns="0" tIns="13335" rIns="0" bIns="0" rtlCol="0">
              <a:spAutoFit/>
            </a:bodyPr>
            <a:lstStyle/>
            <a:p>
              <a:pPr marL="12700" marR="144145">
                <a:lnSpc>
                  <a:spcPct val="100000"/>
                </a:lnSpc>
                <a:spcBef>
                  <a:spcPts val="105"/>
                </a:spcBef>
              </a:pPr>
              <a:r>
                <a:rPr sz="1100">
                  <a:latin typeface="Verdana"/>
                  <a:cs typeface="Verdana"/>
                </a:rPr>
                <a:t>The RID tool </a:t>
              </a:r>
              <a:r>
                <a:rPr sz="1100" spc="-10">
                  <a:latin typeface="Verdana"/>
                  <a:cs typeface="Verdana"/>
                </a:rPr>
                <a:t>is </a:t>
              </a:r>
              <a:r>
                <a:rPr sz="1100">
                  <a:latin typeface="Verdana"/>
                  <a:cs typeface="Verdana"/>
                </a:rPr>
                <a:t>used </a:t>
              </a:r>
              <a:r>
                <a:rPr sz="1100" spc="-5">
                  <a:latin typeface="Verdana"/>
                  <a:cs typeface="Verdana"/>
                </a:rPr>
                <a:t>by the appropriate  member </a:t>
              </a:r>
              <a:r>
                <a:rPr sz="1100">
                  <a:latin typeface="Verdana"/>
                  <a:cs typeface="Verdana"/>
                </a:rPr>
                <a:t>of </a:t>
              </a:r>
              <a:r>
                <a:rPr sz="1100" spc="-5">
                  <a:latin typeface="Verdana"/>
                  <a:cs typeface="Verdana"/>
                </a:rPr>
                <a:t>the Marelli </a:t>
              </a:r>
              <a:r>
                <a:rPr sz="1100">
                  <a:latin typeface="Verdana"/>
                  <a:cs typeface="Verdana"/>
                </a:rPr>
                <a:t>team </a:t>
              </a:r>
              <a:r>
                <a:rPr sz="1100" spc="-5">
                  <a:latin typeface="Verdana"/>
                  <a:cs typeface="Verdana"/>
                </a:rPr>
                <a:t>who  interfaces </a:t>
              </a:r>
              <a:r>
                <a:rPr sz="1100" spc="-10">
                  <a:latin typeface="Verdana"/>
                  <a:cs typeface="Verdana"/>
                </a:rPr>
                <a:t>all </a:t>
              </a:r>
              <a:r>
                <a:rPr sz="1100" spc="-5">
                  <a:latin typeface="Verdana"/>
                  <a:cs typeface="Verdana"/>
                </a:rPr>
                <a:t>internal stakeholders  gathering </a:t>
              </a:r>
              <a:r>
                <a:rPr sz="1100">
                  <a:latin typeface="Verdana"/>
                  <a:cs typeface="Verdana"/>
                </a:rPr>
                <a:t>and </a:t>
              </a:r>
              <a:r>
                <a:rPr sz="1100" spc="-5">
                  <a:latin typeface="Verdana"/>
                  <a:cs typeface="Verdana"/>
                </a:rPr>
                <a:t>collating their feedback  into </a:t>
              </a:r>
              <a:r>
                <a:rPr sz="1100">
                  <a:latin typeface="Verdana"/>
                  <a:cs typeface="Verdana"/>
                </a:rPr>
                <a:t>one coherent set of</a:t>
              </a:r>
              <a:r>
                <a:rPr sz="1100" spc="-70">
                  <a:latin typeface="Verdana"/>
                  <a:cs typeface="Verdana"/>
                </a:rPr>
                <a:t> </a:t>
              </a:r>
              <a:r>
                <a:rPr sz="1100">
                  <a:latin typeface="Verdana"/>
                  <a:cs typeface="Verdana"/>
                </a:rPr>
                <a:t>comments.</a:t>
              </a:r>
            </a:p>
            <a:p>
              <a:pPr marL="12700" marR="5080">
                <a:lnSpc>
                  <a:spcPct val="100000"/>
                </a:lnSpc>
              </a:pPr>
              <a:r>
                <a:rPr sz="1100" spc="-5">
                  <a:latin typeface="Verdana"/>
                  <a:cs typeface="Verdana"/>
                </a:rPr>
                <a:t>Furthermore the </a:t>
              </a:r>
              <a:r>
                <a:rPr sz="1100">
                  <a:latin typeface="Verdana"/>
                  <a:cs typeface="Verdana"/>
                </a:rPr>
                <a:t>tool </a:t>
              </a:r>
              <a:r>
                <a:rPr sz="1100" spc="-5">
                  <a:latin typeface="Verdana"/>
                  <a:cs typeface="Verdana"/>
                </a:rPr>
                <a:t>shall also be used  by Capgemini to track their feedback </a:t>
              </a:r>
              <a:r>
                <a:rPr sz="1100">
                  <a:latin typeface="Verdana"/>
                  <a:cs typeface="Verdana"/>
                </a:rPr>
                <a:t>and  </a:t>
              </a:r>
              <a:r>
                <a:rPr sz="1100" spc="-5">
                  <a:latin typeface="Verdana"/>
                  <a:cs typeface="Verdana"/>
                </a:rPr>
                <a:t>associated actions </a:t>
              </a:r>
              <a:r>
                <a:rPr sz="1100">
                  <a:latin typeface="Verdana"/>
                  <a:cs typeface="Verdana"/>
                </a:rPr>
                <a:t>based on </a:t>
              </a:r>
              <a:r>
                <a:rPr sz="1100" spc="-5">
                  <a:latin typeface="Verdana"/>
                  <a:cs typeface="Verdana"/>
                </a:rPr>
                <a:t>the  </a:t>
              </a:r>
              <a:r>
                <a:rPr sz="1100">
                  <a:latin typeface="Verdana"/>
                  <a:cs typeface="Verdana"/>
                </a:rPr>
                <a:t>comments </a:t>
              </a:r>
              <a:r>
                <a:rPr sz="1100" spc="-5">
                  <a:latin typeface="Verdana"/>
                  <a:cs typeface="Verdana"/>
                </a:rPr>
                <a:t>provided, thus allowing final  sign </a:t>
              </a:r>
              <a:r>
                <a:rPr sz="1100">
                  <a:latin typeface="Verdana"/>
                  <a:cs typeface="Verdana"/>
                </a:rPr>
                <a:t>off </a:t>
              </a:r>
              <a:r>
                <a:rPr sz="1100" spc="-5">
                  <a:latin typeface="Verdana"/>
                  <a:cs typeface="Verdana"/>
                </a:rPr>
                <a:t>by the Marelli </a:t>
              </a:r>
              <a:r>
                <a:rPr sz="1100">
                  <a:latin typeface="Verdana"/>
                  <a:cs typeface="Verdana"/>
                </a:rPr>
                <a:t>Project </a:t>
              </a:r>
              <a:r>
                <a:rPr sz="1100" spc="-5">
                  <a:latin typeface="Verdana"/>
                  <a:cs typeface="Verdana"/>
                </a:rPr>
                <a:t>Manager </a:t>
              </a:r>
              <a:r>
                <a:rPr sz="1100">
                  <a:latin typeface="Verdana"/>
                  <a:cs typeface="Verdana"/>
                </a:rPr>
                <a:t>or  </a:t>
              </a:r>
              <a:r>
                <a:rPr sz="1100" spc="-5">
                  <a:latin typeface="Verdana"/>
                  <a:cs typeface="Verdana"/>
                </a:rPr>
                <a:t>whoever may be delegated by</a:t>
              </a:r>
              <a:r>
                <a:rPr sz="1100" spc="-15">
                  <a:latin typeface="Verdana"/>
                  <a:cs typeface="Verdana"/>
                </a:rPr>
                <a:t> </a:t>
              </a:r>
              <a:r>
                <a:rPr sz="1100" spc="-5">
                  <a:latin typeface="Verdana"/>
                  <a:cs typeface="Verdana"/>
                </a:rPr>
                <a:t>him/her</a:t>
              </a:r>
              <a:endParaRPr sz="1100">
                <a:latin typeface="Verdana"/>
                <a:cs typeface="Verdana"/>
              </a:endParaRPr>
            </a:p>
          </p:txBody>
        </p:sp>
        <p:sp>
          <p:nvSpPr>
            <p:cNvPr id="46" name="object 46"/>
            <p:cNvSpPr/>
            <p:nvPr/>
          </p:nvSpPr>
          <p:spPr>
            <a:xfrm>
              <a:off x="8790431" y="4850891"/>
              <a:ext cx="3157855" cy="1638300"/>
            </a:xfrm>
            <a:custGeom>
              <a:avLst/>
              <a:gdLst/>
              <a:ahLst/>
              <a:cxnLst/>
              <a:rect l="l" t="t" r="r" b="b"/>
              <a:pathLst>
                <a:path w="3157854" h="1638300">
                  <a:moveTo>
                    <a:pt x="3109214" y="0"/>
                  </a:moveTo>
                  <a:lnTo>
                    <a:pt x="48514" y="0"/>
                  </a:lnTo>
                  <a:lnTo>
                    <a:pt x="29628" y="3811"/>
                  </a:lnTo>
                  <a:lnTo>
                    <a:pt x="14208" y="14208"/>
                  </a:lnTo>
                  <a:lnTo>
                    <a:pt x="3811" y="29628"/>
                  </a:lnTo>
                  <a:lnTo>
                    <a:pt x="0" y="48513"/>
                  </a:lnTo>
                  <a:lnTo>
                    <a:pt x="0" y="1589798"/>
                  </a:lnTo>
                  <a:lnTo>
                    <a:pt x="3811" y="1608676"/>
                  </a:lnTo>
                  <a:lnTo>
                    <a:pt x="14208" y="1624093"/>
                  </a:lnTo>
                  <a:lnTo>
                    <a:pt x="29628" y="1634488"/>
                  </a:lnTo>
                  <a:lnTo>
                    <a:pt x="48514" y="1638299"/>
                  </a:lnTo>
                  <a:lnTo>
                    <a:pt x="3109214" y="1638299"/>
                  </a:lnTo>
                  <a:lnTo>
                    <a:pt x="3128099" y="1634488"/>
                  </a:lnTo>
                  <a:lnTo>
                    <a:pt x="3143519" y="1624093"/>
                  </a:lnTo>
                  <a:lnTo>
                    <a:pt x="3153916" y="1608676"/>
                  </a:lnTo>
                  <a:lnTo>
                    <a:pt x="3157728" y="1589798"/>
                  </a:lnTo>
                  <a:lnTo>
                    <a:pt x="3157728" y="48513"/>
                  </a:lnTo>
                  <a:lnTo>
                    <a:pt x="3153916" y="29628"/>
                  </a:lnTo>
                  <a:lnTo>
                    <a:pt x="3143519" y="14208"/>
                  </a:lnTo>
                  <a:lnTo>
                    <a:pt x="3128099" y="3811"/>
                  </a:lnTo>
                  <a:lnTo>
                    <a:pt x="3109214" y="0"/>
                  </a:lnTo>
                  <a:close/>
                </a:path>
              </a:pathLst>
            </a:custGeom>
            <a:solidFill>
              <a:srgbClr val="EBEBEB"/>
            </a:solidFill>
          </p:spPr>
          <p:txBody>
            <a:bodyPr wrap="square" lIns="0" tIns="0" rIns="0" bIns="0" rtlCol="0"/>
            <a:lstStyle/>
            <a:p>
              <a:endParaRPr/>
            </a:p>
          </p:txBody>
        </p:sp>
        <p:sp>
          <p:nvSpPr>
            <p:cNvPr id="47" name="object 47"/>
            <p:cNvSpPr txBox="1"/>
            <p:nvPr/>
          </p:nvSpPr>
          <p:spPr>
            <a:xfrm>
              <a:off x="8885046" y="5116448"/>
              <a:ext cx="3008630" cy="1108710"/>
            </a:xfrm>
            <a:prstGeom prst="rect">
              <a:avLst/>
            </a:prstGeom>
          </p:spPr>
          <p:txBody>
            <a:bodyPr vert="horz" wrap="square" lIns="0" tIns="12700" rIns="0" bIns="0" rtlCol="0">
              <a:spAutoFit/>
            </a:bodyPr>
            <a:lstStyle/>
            <a:p>
              <a:pPr marL="12700" marR="5080">
                <a:lnSpc>
                  <a:spcPct val="100000"/>
                </a:lnSpc>
                <a:spcBef>
                  <a:spcPts val="100"/>
                </a:spcBef>
              </a:pPr>
              <a:r>
                <a:rPr sz="1100" spc="-5">
                  <a:latin typeface="Verdana"/>
                  <a:cs typeface="Verdana"/>
                </a:rPr>
                <a:t>Accordingly to Toolchain </a:t>
              </a:r>
              <a:r>
                <a:rPr sz="1100" spc="-10">
                  <a:latin typeface="Verdana"/>
                  <a:cs typeface="Verdana"/>
                </a:rPr>
                <a:t>available, </a:t>
              </a:r>
              <a:r>
                <a:rPr sz="1100" spc="-5">
                  <a:latin typeface="Verdana"/>
                  <a:cs typeface="Verdana"/>
                </a:rPr>
                <a:t>(e.g.  Jira, Jenkins) should be </a:t>
              </a:r>
              <a:r>
                <a:rPr sz="1100" spc="-10">
                  <a:latin typeface="Verdana"/>
                  <a:cs typeface="Verdana"/>
                </a:rPr>
                <a:t>utilized </a:t>
              </a:r>
              <a:r>
                <a:rPr sz="1100" spc="-5">
                  <a:latin typeface="Verdana"/>
                  <a:cs typeface="Verdana"/>
                </a:rPr>
                <a:t>to </a:t>
              </a:r>
              <a:r>
                <a:rPr sz="1100" spc="-10">
                  <a:latin typeface="Verdana"/>
                  <a:cs typeface="Verdana"/>
                </a:rPr>
                <a:t>simplify  </a:t>
              </a:r>
              <a:r>
                <a:rPr sz="1100" spc="-5">
                  <a:latin typeface="Verdana"/>
                  <a:cs typeface="Verdana"/>
                </a:rPr>
                <a:t>deliverables</a:t>
              </a:r>
              <a:r>
                <a:rPr sz="1100" spc="15">
                  <a:latin typeface="Verdana"/>
                  <a:cs typeface="Verdana"/>
                </a:rPr>
                <a:t> </a:t>
              </a:r>
              <a:r>
                <a:rPr sz="1100" spc="-5">
                  <a:latin typeface="Verdana"/>
                  <a:cs typeface="Verdana"/>
                </a:rPr>
                <a:t>management</a:t>
              </a:r>
              <a:endParaRPr sz="1100">
                <a:latin typeface="Verdana"/>
                <a:cs typeface="Verdana"/>
              </a:endParaRPr>
            </a:p>
            <a:p>
              <a:pPr marL="12700" marR="429259">
                <a:lnSpc>
                  <a:spcPct val="100000"/>
                </a:lnSpc>
                <a:spcBef>
                  <a:spcPts val="605"/>
                </a:spcBef>
              </a:pPr>
              <a:r>
                <a:rPr sz="1100">
                  <a:latin typeface="Verdana"/>
                  <a:cs typeface="Verdana"/>
                </a:rPr>
                <a:t>Based on </a:t>
              </a:r>
              <a:r>
                <a:rPr sz="1100" spc="-5">
                  <a:latin typeface="Verdana"/>
                  <a:cs typeface="Verdana"/>
                </a:rPr>
                <a:t>the importance </a:t>
              </a:r>
              <a:r>
                <a:rPr sz="1100">
                  <a:latin typeface="Verdana"/>
                  <a:cs typeface="Verdana"/>
                </a:rPr>
                <a:t>of </a:t>
              </a:r>
              <a:r>
                <a:rPr sz="1100" spc="-5">
                  <a:latin typeface="Verdana"/>
                  <a:cs typeface="Verdana"/>
                </a:rPr>
                <a:t>the  deliverables, </a:t>
              </a:r>
              <a:r>
                <a:rPr sz="1100">
                  <a:latin typeface="Verdana"/>
                  <a:cs typeface="Verdana"/>
                </a:rPr>
                <a:t>a </a:t>
              </a:r>
              <a:r>
                <a:rPr sz="1100" spc="-5">
                  <a:latin typeface="Verdana"/>
                  <a:cs typeface="Verdana"/>
                </a:rPr>
                <a:t>deadline </a:t>
              </a:r>
              <a:r>
                <a:rPr sz="1100">
                  <a:latin typeface="Verdana"/>
                  <a:cs typeface="Verdana"/>
                </a:rPr>
                <a:t>for </a:t>
              </a:r>
              <a:r>
                <a:rPr sz="1100" spc="-5">
                  <a:latin typeface="Verdana"/>
                  <a:cs typeface="Verdana"/>
                </a:rPr>
                <a:t>approval  should be agreed by</a:t>
              </a:r>
              <a:r>
                <a:rPr sz="1100" spc="5">
                  <a:latin typeface="Verdana"/>
                  <a:cs typeface="Verdana"/>
                </a:rPr>
                <a:t> </a:t>
              </a:r>
              <a:r>
                <a:rPr sz="1100" spc="-5">
                  <a:latin typeface="Verdana"/>
                  <a:cs typeface="Verdana"/>
                </a:rPr>
                <a:t>parties</a:t>
              </a:r>
              <a:endParaRPr sz="1100">
                <a:latin typeface="Verdana"/>
                <a:cs typeface="Verdana"/>
              </a:endParaRPr>
            </a:p>
          </p:txBody>
        </p:sp>
        <p:sp>
          <p:nvSpPr>
            <p:cNvPr id="48" name="object 48"/>
            <p:cNvSpPr txBox="1"/>
            <p:nvPr/>
          </p:nvSpPr>
          <p:spPr>
            <a:xfrm>
              <a:off x="224027" y="4521708"/>
              <a:ext cx="1687195" cy="437515"/>
            </a:xfrm>
            <a:prstGeom prst="rect">
              <a:avLst/>
            </a:prstGeom>
            <a:solidFill>
              <a:srgbClr val="006FAC"/>
            </a:solidFill>
            <a:ln w="12191">
              <a:solidFill>
                <a:srgbClr val="00507D"/>
              </a:solidFill>
            </a:ln>
          </p:spPr>
          <p:txBody>
            <a:bodyPr vert="horz" wrap="square" lIns="0" tIns="80645" rIns="0" bIns="0" rtlCol="0">
              <a:spAutoFit/>
            </a:bodyPr>
            <a:lstStyle/>
            <a:p>
              <a:pPr marL="464820">
                <a:lnSpc>
                  <a:spcPct val="100000"/>
                </a:lnSpc>
                <a:spcBef>
                  <a:spcPts val="635"/>
                </a:spcBef>
              </a:pPr>
              <a:r>
                <a:rPr sz="1800" spc="-5">
                  <a:solidFill>
                    <a:srgbClr val="FFFFFF"/>
                  </a:solidFill>
                  <a:latin typeface="Verdana"/>
                  <a:cs typeface="Verdana"/>
                </a:rPr>
                <a:t>Marelli</a:t>
              </a:r>
              <a:endParaRPr sz="1800">
                <a:latin typeface="Verdana"/>
                <a:cs typeface="Verdana"/>
              </a:endParaRPr>
            </a:p>
          </p:txBody>
        </p:sp>
      </p:gr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872480" cy="422275"/>
          </a:xfrm>
          <a:prstGeom prst="rect">
            <a:avLst/>
          </a:prstGeom>
        </p:spPr>
        <p:txBody>
          <a:bodyPr vert="horz" wrap="square" lIns="0" tIns="12700" rIns="0" bIns="0" rtlCol="0">
            <a:spAutoFit/>
          </a:bodyPr>
          <a:lstStyle/>
          <a:p>
            <a:pPr marL="12700">
              <a:lnSpc>
                <a:spcPct val="100000"/>
              </a:lnSpc>
              <a:spcBef>
                <a:spcPts val="100"/>
              </a:spcBef>
            </a:pPr>
            <a:r>
              <a:rPr sz="2600" spc="-5"/>
              <a:t>Change </a:t>
            </a:r>
            <a:r>
              <a:rPr sz="2600"/>
              <a:t>Control Complexity</a:t>
            </a:r>
            <a:r>
              <a:rPr sz="2600" spc="-95"/>
              <a:t> </a:t>
            </a:r>
            <a:r>
              <a:rPr sz="2600" spc="-5"/>
              <a:t>Drivers</a:t>
            </a:r>
            <a:endParaRPr sz="2600"/>
          </a:p>
        </p:txBody>
      </p:sp>
      <p:sp>
        <p:nvSpPr>
          <p:cNvPr id="6" name="object 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7" name="object 7"/>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59</a:t>
            </a:fld>
            <a:endParaRPr/>
          </a:p>
        </p:txBody>
      </p:sp>
      <p:sp>
        <p:nvSpPr>
          <p:cNvPr id="3" name="object 3"/>
          <p:cNvSpPr txBox="1"/>
          <p:nvPr/>
        </p:nvSpPr>
        <p:spPr>
          <a:xfrm>
            <a:off x="227075" y="1109472"/>
            <a:ext cx="11689080" cy="462280"/>
          </a:xfrm>
          <a:prstGeom prst="rect">
            <a:avLst/>
          </a:prstGeom>
          <a:solidFill>
            <a:srgbClr val="421F5D"/>
          </a:solidFill>
        </p:spPr>
        <p:txBody>
          <a:bodyPr vert="horz" wrap="square" lIns="0" tIns="45085" rIns="0" bIns="0" rtlCol="0">
            <a:spAutoFit/>
          </a:bodyPr>
          <a:lstStyle/>
          <a:p>
            <a:pPr marL="91440" marR="429895">
              <a:lnSpc>
                <a:spcPct val="100000"/>
              </a:lnSpc>
              <a:spcBef>
                <a:spcPts val="355"/>
              </a:spcBef>
            </a:pPr>
            <a:r>
              <a:rPr sz="1200" i="1">
                <a:solidFill>
                  <a:srgbClr val="FFFFFF"/>
                </a:solidFill>
                <a:latin typeface="Verdana"/>
                <a:cs typeface="Verdana"/>
              </a:rPr>
              <a:t>In order </a:t>
            </a:r>
            <a:r>
              <a:rPr sz="1200" i="1" spc="-5">
                <a:solidFill>
                  <a:srgbClr val="FFFFFF"/>
                </a:solidFill>
                <a:latin typeface="Verdana"/>
                <a:cs typeface="Verdana"/>
              </a:rPr>
              <a:t>to successfully and in timely way </a:t>
            </a:r>
            <a:r>
              <a:rPr sz="1200" i="1">
                <a:solidFill>
                  <a:srgbClr val="FFFFFF"/>
                </a:solidFill>
                <a:latin typeface="Verdana"/>
                <a:cs typeface="Verdana"/>
              </a:rPr>
              <a:t>agree on </a:t>
            </a:r>
            <a:r>
              <a:rPr sz="1200" i="1" spc="-5">
                <a:solidFill>
                  <a:srgbClr val="FFFFFF"/>
                </a:solidFill>
                <a:latin typeface="Verdana"/>
                <a:cs typeface="Verdana"/>
              </a:rPr>
              <a:t>managing the possible delta </a:t>
            </a:r>
            <a:r>
              <a:rPr sz="1200" i="1">
                <a:solidFill>
                  <a:srgbClr val="FFFFFF"/>
                </a:solidFill>
                <a:latin typeface="Verdana"/>
                <a:cs typeface="Verdana"/>
              </a:rPr>
              <a:t>scope. </a:t>
            </a:r>
            <a:r>
              <a:rPr sz="1200" i="1" spc="-5">
                <a:solidFill>
                  <a:srgbClr val="FFFFFF"/>
                </a:solidFill>
                <a:latin typeface="Verdana"/>
                <a:cs typeface="Verdana"/>
              </a:rPr>
              <a:t>We propose to use </a:t>
            </a:r>
            <a:r>
              <a:rPr sz="1200" i="1">
                <a:solidFill>
                  <a:srgbClr val="FFFFFF"/>
                </a:solidFill>
                <a:latin typeface="Verdana"/>
                <a:cs typeface="Verdana"/>
              </a:rPr>
              <a:t>a </a:t>
            </a:r>
            <a:r>
              <a:rPr sz="1200" i="1" spc="-5">
                <a:solidFill>
                  <a:srgbClr val="FFFFFF"/>
                </a:solidFill>
                <a:latin typeface="Verdana"/>
                <a:cs typeface="Verdana"/>
              </a:rPr>
              <a:t>supporting tool to better and more  objectively assess efforts. We can provide </a:t>
            </a:r>
            <a:r>
              <a:rPr sz="1200" i="1">
                <a:solidFill>
                  <a:srgbClr val="FFFFFF"/>
                </a:solidFill>
                <a:latin typeface="Verdana"/>
                <a:cs typeface="Verdana"/>
              </a:rPr>
              <a:t>a </a:t>
            </a:r>
            <a:r>
              <a:rPr sz="1200" i="1" spc="-5">
                <a:solidFill>
                  <a:srgbClr val="FFFFFF"/>
                </a:solidFill>
                <a:latin typeface="Verdana"/>
                <a:cs typeface="Verdana"/>
              </a:rPr>
              <a:t>complexity matrix </a:t>
            </a:r>
            <a:r>
              <a:rPr sz="1200" i="1">
                <a:solidFill>
                  <a:srgbClr val="FFFFFF"/>
                </a:solidFill>
                <a:latin typeface="Verdana"/>
                <a:cs typeface="Verdana"/>
              </a:rPr>
              <a:t>for </a:t>
            </a:r>
            <a:r>
              <a:rPr sz="1200" i="1" spc="-5">
                <a:solidFill>
                  <a:srgbClr val="FFFFFF"/>
                </a:solidFill>
                <a:latin typeface="Verdana"/>
                <a:cs typeface="Verdana"/>
              </a:rPr>
              <a:t>custom objects and shall </a:t>
            </a:r>
            <a:r>
              <a:rPr sz="1200" i="1" spc="-10">
                <a:solidFill>
                  <a:srgbClr val="FFFFFF"/>
                </a:solidFill>
                <a:latin typeface="Verdana"/>
                <a:cs typeface="Verdana"/>
              </a:rPr>
              <a:t>jointly </a:t>
            </a:r>
            <a:r>
              <a:rPr sz="1200" i="1">
                <a:solidFill>
                  <a:srgbClr val="FFFFFF"/>
                </a:solidFill>
                <a:latin typeface="Verdana"/>
                <a:cs typeface="Verdana"/>
              </a:rPr>
              <a:t>agree </a:t>
            </a:r>
            <a:r>
              <a:rPr sz="1200" i="1" spc="-5">
                <a:solidFill>
                  <a:srgbClr val="FFFFFF"/>
                </a:solidFill>
                <a:latin typeface="Verdana"/>
                <a:cs typeface="Verdana"/>
              </a:rPr>
              <a:t>efforts </a:t>
            </a:r>
            <a:r>
              <a:rPr sz="1200" i="1">
                <a:solidFill>
                  <a:srgbClr val="FFFFFF"/>
                </a:solidFill>
                <a:latin typeface="Verdana"/>
                <a:cs typeface="Verdana"/>
              </a:rPr>
              <a:t>for </a:t>
            </a:r>
            <a:r>
              <a:rPr sz="1200" i="1" spc="-5">
                <a:solidFill>
                  <a:srgbClr val="FFFFFF"/>
                </a:solidFill>
                <a:latin typeface="Verdana"/>
                <a:cs typeface="Verdana"/>
              </a:rPr>
              <a:t>the </a:t>
            </a:r>
            <a:r>
              <a:rPr sz="1200" i="1">
                <a:solidFill>
                  <a:srgbClr val="FFFFFF"/>
                </a:solidFill>
                <a:latin typeface="Verdana"/>
                <a:cs typeface="Verdana"/>
              </a:rPr>
              <a:t>various </a:t>
            </a:r>
            <a:r>
              <a:rPr sz="1200" i="1" spc="-5">
                <a:solidFill>
                  <a:srgbClr val="FFFFFF"/>
                </a:solidFill>
                <a:latin typeface="Verdana"/>
                <a:cs typeface="Verdana"/>
              </a:rPr>
              <a:t>levels </a:t>
            </a:r>
            <a:r>
              <a:rPr sz="1200" i="1">
                <a:solidFill>
                  <a:srgbClr val="FFFFFF"/>
                </a:solidFill>
                <a:latin typeface="Verdana"/>
                <a:cs typeface="Verdana"/>
              </a:rPr>
              <a:t>of</a:t>
            </a:r>
            <a:r>
              <a:rPr sz="1200" i="1" spc="360">
                <a:solidFill>
                  <a:srgbClr val="FFFFFF"/>
                </a:solidFill>
                <a:latin typeface="Verdana"/>
                <a:cs typeface="Verdana"/>
              </a:rPr>
              <a:t> </a:t>
            </a:r>
            <a:r>
              <a:rPr sz="1200" i="1" spc="-5">
                <a:solidFill>
                  <a:srgbClr val="FFFFFF"/>
                </a:solidFill>
                <a:latin typeface="Verdana"/>
                <a:cs typeface="Verdana"/>
              </a:rPr>
              <a:t>difficulty</a:t>
            </a:r>
            <a:endParaRPr sz="1200">
              <a:latin typeface="Verdana"/>
              <a:cs typeface="Verdana"/>
            </a:endParaRPr>
          </a:p>
        </p:txBody>
      </p:sp>
      <p:graphicFrame>
        <p:nvGraphicFramePr>
          <p:cNvPr id="4" name="object 4"/>
          <p:cNvGraphicFramePr>
            <a:graphicFrameLocks noGrp="1"/>
          </p:cNvGraphicFramePr>
          <p:nvPr/>
        </p:nvGraphicFramePr>
        <p:xfrm>
          <a:off x="222580" y="1615503"/>
          <a:ext cx="11687173" cy="4693867"/>
        </p:xfrm>
        <a:graphic>
          <a:graphicData uri="http://schemas.openxmlformats.org/drawingml/2006/table">
            <a:tbl>
              <a:tblPr firstRow="1" bandRow="1">
                <a:tableStyleId>{2D5ABB26-0587-4C30-8999-92F81FD0307C}</a:tableStyleId>
              </a:tblPr>
              <a:tblGrid>
                <a:gridCol w="2337435">
                  <a:extLst>
                    <a:ext uri="{9D8B030D-6E8A-4147-A177-3AD203B41FA5}">
                      <a16:colId xmlns:a16="http://schemas.microsoft.com/office/drawing/2014/main" val="20000"/>
                    </a:ext>
                  </a:extLst>
                </a:gridCol>
                <a:gridCol w="2337435">
                  <a:extLst>
                    <a:ext uri="{9D8B030D-6E8A-4147-A177-3AD203B41FA5}">
                      <a16:colId xmlns:a16="http://schemas.microsoft.com/office/drawing/2014/main" val="20001"/>
                    </a:ext>
                  </a:extLst>
                </a:gridCol>
                <a:gridCol w="2337435">
                  <a:extLst>
                    <a:ext uri="{9D8B030D-6E8A-4147-A177-3AD203B41FA5}">
                      <a16:colId xmlns:a16="http://schemas.microsoft.com/office/drawing/2014/main" val="20002"/>
                    </a:ext>
                  </a:extLst>
                </a:gridCol>
                <a:gridCol w="2337434">
                  <a:extLst>
                    <a:ext uri="{9D8B030D-6E8A-4147-A177-3AD203B41FA5}">
                      <a16:colId xmlns:a16="http://schemas.microsoft.com/office/drawing/2014/main" val="20003"/>
                    </a:ext>
                  </a:extLst>
                </a:gridCol>
                <a:gridCol w="2337434">
                  <a:extLst>
                    <a:ext uri="{9D8B030D-6E8A-4147-A177-3AD203B41FA5}">
                      <a16:colId xmlns:a16="http://schemas.microsoft.com/office/drawing/2014/main" val="20004"/>
                    </a:ext>
                  </a:extLst>
                </a:gridCol>
              </a:tblGrid>
              <a:tr h="262128">
                <a:tc>
                  <a:txBody>
                    <a:bodyPr/>
                    <a:lstStyle/>
                    <a:p>
                      <a:pPr marL="725805">
                        <a:lnSpc>
                          <a:spcPct val="100000"/>
                        </a:lnSpc>
                        <a:spcBef>
                          <a:spcPts val="430"/>
                        </a:spcBef>
                      </a:pPr>
                      <a:r>
                        <a:rPr sz="1000" b="1" spc="-5">
                          <a:solidFill>
                            <a:srgbClr val="FFFFFF"/>
                          </a:solidFill>
                          <a:latin typeface="Verdana"/>
                          <a:cs typeface="Verdana"/>
                        </a:rPr>
                        <a:t>Components</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006FAC"/>
                    </a:solidFill>
                  </a:tcPr>
                </a:tc>
                <a:tc>
                  <a:txBody>
                    <a:bodyPr/>
                    <a:lstStyle/>
                    <a:p>
                      <a:pPr algn="ctr">
                        <a:lnSpc>
                          <a:spcPct val="100000"/>
                        </a:lnSpc>
                        <a:spcBef>
                          <a:spcPts val="430"/>
                        </a:spcBef>
                      </a:pPr>
                      <a:r>
                        <a:rPr sz="1000" b="1" spc="-10">
                          <a:solidFill>
                            <a:srgbClr val="FFFFFF"/>
                          </a:solidFill>
                          <a:latin typeface="Verdana"/>
                          <a:cs typeface="Verdana"/>
                        </a:rPr>
                        <a:t>Simple</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006FAC"/>
                    </a:solidFill>
                  </a:tcPr>
                </a:tc>
                <a:tc>
                  <a:txBody>
                    <a:bodyPr/>
                    <a:lstStyle/>
                    <a:p>
                      <a:pPr marL="1270" algn="ctr">
                        <a:lnSpc>
                          <a:spcPct val="100000"/>
                        </a:lnSpc>
                        <a:spcBef>
                          <a:spcPts val="430"/>
                        </a:spcBef>
                      </a:pPr>
                      <a:r>
                        <a:rPr sz="1000" b="1" spc="-10">
                          <a:solidFill>
                            <a:srgbClr val="FFFFFF"/>
                          </a:solidFill>
                          <a:latin typeface="Verdana"/>
                          <a:cs typeface="Verdana"/>
                        </a:rPr>
                        <a:t>Medium</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006FAC"/>
                    </a:solidFill>
                  </a:tcPr>
                </a:tc>
                <a:tc>
                  <a:txBody>
                    <a:bodyPr/>
                    <a:lstStyle/>
                    <a:p>
                      <a:pPr algn="ctr">
                        <a:lnSpc>
                          <a:spcPct val="100000"/>
                        </a:lnSpc>
                        <a:spcBef>
                          <a:spcPts val="430"/>
                        </a:spcBef>
                      </a:pPr>
                      <a:r>
                        <a:rPr sz="1000" b="1" spc="-5">
                          <a:solidFill>
                            <a:srgbClr val="FFFFFF"/>
                          </a:solidFill>
                          <a:latin typeface="Verdana"/>
                          <a:cs typeface="Verdana"/>
                        </a:rPr>
                        <a:t>Complex</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006FAC"/>
                    </a:solidFill>
                  </a:tcPr>
                </a:tc>
                <a:tc>
                  <a:txBody>
                    <a:bodyPr/>
                    <a:lstStyle/>
                    <a:p>
                      <a:pPr marL="678180">
                        <a:lnSpc>
                          <a:spcPct val="100000"/>
                        </a:lnSpc>
                        <a:spcBef>
                          <a:spcPts val="430"/>
                        </a:spcBef>
                      </a:pPr>
                      <a:r>
                        <a:rPr sz="1000" b="1" spc="-10">
                          <a:solidFill>
                            <a:srgbClr val="FFFFFF"/>
                          </a:solidFill>
                          <a:latin typeface="Verdana"/>
                          <a:cs typeface="Verdana"/>
                        </a:rPr>
                        <a:t>Very</a:t>
                      </a:r>
                      <a:r>
                        <a:rPr sz="1000" b="1" spc="5">
                          <a:solidFill>
                            <a:srgbClr val="FFFFFF"/>
                          </a:solidFill>
                          <a:latin typeface="Verdana"/>
                          <a:cs typeface="Verdana"/>
                        </a:rPr>
                        <a:t> </a:t>
                      </a:r>
                      <a:r>
                        <a:rPr sz="1000" b="1" spc="-5">
                          <a:solidFill>
                            <a:srgbClr val="FFFFFF"/>
                          </a:solidFill>
                          <a:latin typeface="Verdana"/>
                          <a:cs typeface="Verdana"/>
                        </a:rPr>
                        <a:t>Complex</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006FAC"/>
                    </a:solidFill>
                  </a:tcPr>
                </a:tc>
                <a:extLst>
                  <a:ext uri="{0D108BD9-81ED-4DB2-BD59-A6C34878D82A}">
                    <a16:rowId xmlns:a16="http://schemas.microsoft.com/office/drawing/2014/main" val="10000"/>
                  </a:ext>
                </a:extLst>
              </a:tr>
              <a:tr h="262127">
                <a:tc>
                  <a:txBody>
                    <a:bodyPr/>
                    <a:lstStyle/>
                    <a:p>
                      <a:pPr marL="428625">
                        <a:lnSpc>
                          <a:spcPct val="100000"/>
                        </a:lnSpc>
                        <a:spcBef>
                          <a:spcPts val="430"/>
                        </a:spcBef>
                      </a:pPr>
                      <a:r>
                        <a:rPr sz="1000" b="1" spc="-10">
                          <a:solidFill>
                            <a:srgbClr val="FFFFFF"/>
                          </a:solidFill>
                          <a:latin typeface="Verdana"/>
                          <a:cs typeface="Verdana"/>
                        </a:rPr>
                        <a:t>Reports/Dashboards</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12ABDB"/>
                    </a:solidFill>
                  </a:tcPr>
                </a:tc>
                <a:tc>
                  <a:txBody>
                    <a:bodyPr/>
                    <a:lstStyle/>
                    <a:p>
                      <a:pPr marL="76835">
                        <a:lnSpc>
                          <a:spcPct val="100000"/>
                        </a:lnSpc>
                        <a:spcBef>
                          <a:spcPts val="430"/>
                        </a:spcBef>
                      </a:pPr>
                      <a:r>
                        <a:rPr sz="1000" b="1" spc="-5">
                          <a:solidFill>
                            <a:srgbClr val="FFFFFF"/>
                          </a:solidFill>
                          <a:latin typeface="Verdana"/>
                          <a:cs typeface="Verdana"/>
                        </a:rPr>
                        <a:t>One </a:t>
                      </a:r>
                      <a:r>
                        <a:rPr sz="1000" b="1" spc="-10">
                          <a:solidFill>
                            <a:srgbClr val="FFFFFF"/>
                          </a:solidFill>
                          <a:latin typeface="Verdana"/>
                          <a:cs typeface="Verdana"/>
                        </a:rPr>
                        <a:t>object And/Or Fields </a:t>
                      </a:r>
                      <a:r>
                        <a:rPr sz="1000" b="1" spc="-5">
                          <a:solidFill>
                            <a:srgbClr val="FFFFFF"/>
                          </a:solidFill>
                          <a:latin typeface="Verdana"/>
                          <a:cs typeface="Verdana"/>
                        </a:rPr>
                        <a:t>&lt;</a:t>
                      </a:r>
                      <a:r>
                        <a:rPr sz="1000" b="1" spc="15">
                          <a:solidFill>
                            <a:srgbClr val="FFFFFF"/>
                          </a:solidFill>
                          <a:latin typeface="Verdana"/>
                          <a:cs typeface="Verdana"/>
                        </a:rPr>
                        <a:t> </a:t>
                      </a:r>
                      <a:r>
                        <a:rPr sz="1000" b="1" spc="-5">
                          <a:solidFill>
                            <a:srgbClr val="FFFFFF"/>
                          </a:solidFill>
                          <a:latin typeface="Verdana"/>
                          <a:cs typeface="Verdana"/>
                        </a:rPr>
                        <a:t>20</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12ABDB"/>
                    </a:solidFill>
                  </a:tcPr>
                </a:tc>
                <a:tc>
                  <a:txBody>
                    <a:bodyPr/>
                    <a:lstStyle/>
                    <a:p>
                      <a:pPr algn="ctr">
                        <a:lnSpc>
                          <a:spcPct val="100000"/>
                        </a:lnSpc>
                        <a:spcBef>
                          <a:spcPts val="430"/>
                        </a:spcBef>
                      </a:pPr>
                      <a:r>
                        <a:rPr sz="1000" b="1" spc="-5">
                          <a:solidFill>
                            <a:srgbClr val="FFFFFF"/>
                          </a:solidFill>
                          <a:latin typeface="Verdana"/>
                          <a:cs typeface="Verdana"/>
                        </a:rPr>
                        <a:t>2 </a:t>
                      </a:r>
                      <a:r>
                        <a:rPr sz="1000" b="1" spc="-10">
                          <a:solidFill>
                            <a:srgbClr val="FFFFFF"/>
                          </a:solidFill>
                          <a:latin typeface="Verdana"/>
                          <a:cs typeface="Verdana"/>
                        </a:rPr>
                        <a:t>objects And/Or Fields </a:t>
                      </a:r>
                      <a:r>
                        <a:rPr sz="1000" b="1" spc="-5">
                          <a:solidFill>
                            <a:srgbClr val="FFFFFF"/>
                          </a:solidFill>
                          <a:latin typeface="Verdana"/>
                          <a:cs typeface="Verdana"/>
                        </a:rPr>
                        <a:t>&lt;</a:t>
                      </a:r>
                      <a:r>
                        <a:rPr sz="1000" b="1" spc="10">
                          <a:solidFill>
                            <a:srgbClr val="FFFFFF"/>
                          </a:solidFill>
                          <a:latin typeface="Verdana"/>
                          <a:cs typeface="Verdana"/>
                        </a:rPr>
                        <a:t> </a:t>
                      </a:r>
                      <a:r>
                        <a:rPr sz="1000" b="1" spc="-5">
                          <a:solidFill>
                            <a:srgbClr val="FFFFFF"/>
                          </a:solidFill>
                          <a:latin typeface="Verdana"/>
                          <a:cs typeface="Verdana"/>
                        </a:rPr>
                        <a:t>20</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12ABDB"/>
                    </a:solidFill>
                  </a:tcPr>
                </a:tc>
                <a:tc>
                  <a:txBody>
                    <a:bodyPr/>
                    <a:lstStyle/>
                    <a:p>
                      <a:pPr algn="ctr">
                        <a:lnSpc>
                          <a:spcPct val="100000"/>
                        </a:lnSpc>
                        <a:spcBef>
                          <a:spcPts val="430"/>
                        </a:spcBef>
                      </a:pPr>
                      <a:r>
                        <a:rPr sz="1000" b="1" spc="-5">
                          <a:solidFill>
                            <a:srgbClr val="FFFFFF"/>
                          </a:solidFill>
                          <a:latin typeface="Verdana"/>
                          <a:cs typeface="Verdana"/>
                        </a:rPr>
                        <a:t>3 </a:t>
                      </a:r>
                      <a:r>
                        <a:rPr sz="1000" b="1" spc="-10">
                          <a:solidFill>
                            <a:srgbClr val="FFFFFF"/>
                          </a:solidFill>
                          <a:latin typeface="Verdana"/>
                          <a:cs typeface="Verdana"/>
                        </a:rPr>
                        <a:t>objects And/Or Fields </a:t>
                      </a:r>
                      <a:r>
                        <a:rPr sz="1000" b="1" spc="-5">
                          <a:solidFill>
                            <a:srgbClr val="FFFFFF"/>
                          </a:solidFill>
                          <a:latin typeface="Verdana"/>
                          <a:cs typeface="Verdana"/>
                        </a:rPr>
                        <a:t>&gt;</a:t>
                      </a:r>
                      <a:r>
                        <a:rPr sz="1000" b="1" spc="10">
                          <a:solidFill>
                            <a:srgbClr val="FFFFFF"/>
                          </a:solidFill>
                          <a:latin typeface="Verdana"/>
                          <a:cs typeface="Verdana"/>
                        </a:rPr>
                        <a:t> </a:t>
                      </a:r>
                      <a:r>
                        <a:rPr sz="1000" b="1" spc="-5">
                          <a:solidFill>
                            <a:srgbClr val="FFFFFF"/>
                          </a:solidFill>
                          <a:latin typeface="Verdana"/>
                          <a:cs typeface="Verdana"/>
                        </a:rPr>
                        <a:t>30</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12ABDB"/>
                    </a:solidFill>
                  </a:tcPr>
                </a:tc>
                <a:tc>
                  <a:txBody>
                    <a:bodyPr/>
                    <a:lstStyle/>
                    <a:p>
                      <a:pPr marL="158750">
                        <a:lnSpc>
                          <a:spcPct val="100000"/>
                        </a:lnSpc>
                        <a:spcBef>
                          <a:spcPts val="430"/>
                        </a:spcBef>
                      </a:pPr>
                      <a:r>
                        <a:rPr sz="1000" b="1" spc="-5">
                          <a:solidFill>
                            <a:srgbClr val="FFFFFF"/>
                          </a:solidFill>
                          <a:latin typeface="Verdana"/>
                          <a:cs typeface="Verdana"/>
                        </a:rPr>
                        <a:t>4 </a:t>
                      </a:r>
                      <a:r>
                        <a:rPr sz="1000" b="1" spc="-10">
                          <a:solidFill>
                            <a:srgbClr val="FFFFFF"/>
                          </a:solidFill>
                          <a:latin typeface="Verdana"/>
                          <a:cs typeface="Verdana"/>
                        </a:rPr>
                        <a:t>objects And/Or Fields</a:t>
                      </a:r>
                      <a:r>
                        <a:rPr sz="1000" b="1" spc="15">
                          <a:solidFill>
                            <a:srgbClr val="FFFFFF"/>
                          </a:solidFill>
                          <a:latin typeface="Verdana"/>
                          <a:cs typeface="Verdana"/>
                        </a:rPr>
                        <a:t> </a:t>
                      </a:r>
                      <a:r>
                        <a:rPr sz="1000" b="1" spc="-10">
                          <a:solidFill>
                            <a:srgbClr val="FFFFFF"/>
                          </a:solidFill>
                          <a:latin typeface="Verdana"/>
                          <a:cs typeface="Verdana"/>
                        </a:rPr>
                        <a:t>&gt;30</a:t>
                      </a:r>
                      <a:endParaRPr sz="10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12ABDB"/>
                    </a:solidFill>
                  </a:tcPr>
                </a:tc>
                <a:extLst>
                  <a:ext uri="{0D108BD9-81ED-4DB2-BD59-A6C34878D82A}">
                    <a16:rowId xmlns:a16="http://schemas.microsoft.com/office/drawing/2014/main" val="10001"/>
                  </a:ext>
                </a:extLst>
              </a:tr>
              <a:tr h="475488">
                <a:tc>
                  <a:txBody>
                    <a:bodyPr/>
                    <a:lstStyle/>
                    <a:p>
                      <a:pPr>
                        <a:lnSpc>
                          <a:spcPct val="100000"/>
                        </a:lnSpc>
                        <a:spcBef>
                          <a:spcPts val="40"/>
                        </a:spcBef>
                      </a:pPr>
                      <a:endParaRPr sz="750">
                        <a:latin typeface="Times New Roman"/>
                        <a:cs typeface="Times New Roman"/>
                      </a:endParaRPr>
                    </a:p>
                    <a:p>
                      <a:pPr marL="45720">
                        <a:lnSpc>
                          <a:spcPct val="100000"/>
                        </a:lnSpc>
                        <a:spcBef>
                          <a:spcPts val="5"/>
                        </a:spcBef>
                      </a:pPr>
                      <a:r>
                        <a:rPr sz="800">
                          <a:latin typeface="Verdana"/>
                          <a:cs typeface="Verdana"/>
                        </a:rPr>
                        <a:t>Interfaces</a:t>
                      </a:r>
                    </a:p>
                    <a:p>
                      <a:pPr marL="45720">
                        <a:lnSpc>
                          <a:spcPct val="100000"/>
                        </a:lnSpc>
                      </a:pPr>
                      <a:r>
                        <a:rPr sz="800" spc="-5">
                          <a:latin typeface="Verdana"/>
                          <a:cs typeface="Verdana"/>
                        </a:rPr>
                        <a:t>(Integration with </a:t>
                      </a:r>
                      <a:r>
                        <a:rPr sz="800">
                          <a:latin typeface="Verdana"/>
                          <a:cs typeface="Verdana"/>
                        </a:rPr>
                        <a:t>external</a:t>
                      </a:r>
                      <a:r>
                        <a:rPr sz="800" spc="-10">
                          <a:latin typeface="Verdana"/>
                          <a:cs typeface="Verdana"/>
                        </a:rPr>
                        <a:t> </a:t>
                      </a:r>
                      <a:r>
                        <a:rPr sz="800">
                          <a:latin typeface="Verdana"/>
                          <a:cs typeface="Verdana"/>
                        </a:rPr>
                        <a:t>systems)</a:t>
                      </a:r>
                    </a:p>
                  </a:txBody>
                  <a:tcPr marL="0" marR="0" marT="508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a:lnSpc>
                          <a:spcPct val="100000"/>
                        </a:lnSpc>
                        <a:spcBef>
                          <a:spcPts val="40"/>
                        </a:spcBef>
                      </a:pPr>
                      <a:endParaRPr sz="750">
                        <a:latin typeface="Times New Roman"/>
                        <a:cs typeface="Times New Roman"/>
                      </a:endParaRPr>
                    </a:p>
                    <a:p>
                      <a:pPr marL="45720">
                        <a:lnSpc>
                          <a:spcPct val="100000"/>
                        </a:lnSpc>
                        <a:spcBef>
                          <a:spcPts val="5"/>
                        </a:spcBef>
                      </a:pPr>
                      <a:r>
                        <a:rPr sz="800">
                          <a:latin typeface="Verdana"/>
                          <a:cs typeface="Verdana"/>
                        </a:rPr>
                        <a:t>One Inbound or </a:t>
                      </a:r>
                      <a:r>
                        <a:rPr sz="800" spc="-5">
                          <a:latin typeface="Verdana"/>
                          <a:cs typeface="Verdana"/>
                        </a:rPr>
                        <a:t>Outbound interface</a:t>
                      </a:r>
                      <a:r>
                        <a:rPr sz="800" spc="-15">
                          <a:latin typeface="Verdana"/>
                          <a:cs typeface="Verdana"/>
                        </a:rPr>
                        <a:t> </a:t>
                      </a:r>
                      <a:r>
                        <a:rPr sz="800" spc="-5">
                          <a:latin typeface="Verdana"/>
                          <a:cs typeface="Verdana"/>
                        </a:rPr>
                        <a:t>using</a:t>
                      </a:r>
                      <a:endParaRPr sz="800">
                        <a:latin typeface="Verdana"/>
                        <a:cs typeface="Verdana"/>
                      </a:endParaRPr>
                    </a:p>
                    <a:p>
                      <a:pPr marL="45720">
                        <a:lnSpc>
                          <a:spcPct val="100000"/>
                        </a:lnSpc>
                      </a:pPr>
                      <a:r>
                        <a:rPr sz="800" spc="-5">
                          <a:latin typeface="Verdana"/>
                          <a:cs typeface="Verdana"/>
                        </a:rPr>
                        <a:t>Data </a:t>
                      </a:r>
                      <a:r>
                        <a:rPr sz="800">
                          <a:latin typeface="Verdana"/>
                          <a:cs typeface="Verdana"/>
                        </a:rPr>
                        <a:t>Loader or</a:t>
                      </a:r>
                      <a:r>
                        <a:rPr sz="800" spc="-50">
                          <a:latin typeface="Verdana"/>
                          <a:cs typeface="Verdana"/>
                        </a:rPr>
                        <a:t> </a:t>
                      </a:r>
                      <a:r>
                        <a:rPr sz="800">
                          <a:latin typeface="Verdana"/>
                          <a:cs typeface="Verdana"/>
                        </a:rPr>
                        <a:t>Connector</a:t>
                      </a:r>
                    </a:p>
                  </a:txBody>
                  <a:tcPr marL="0" marR="0" marT="508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5720" marR="143510">
                        <a:lnSpc>
                          <a:spcPct val="100000"/>
                        </a:lnSpc>
                        <a:spcBef>
                          <a:spcPts val="425"/>
                        </a:spcBef>
                      </a:pPr>
                      <a:r>
                        <a:rPr sz="800">
                          <a:latin typeface="Verdana"/>
                          <a:cs typeface="Verdana"/>
                        </a:rPr>
                        <a:t>One Inbound or Outbound interface</a:t>
                      </a:r>
                      <a:r>
                        <a:rPr sz="800" spc="-70">
                          <a:latin typeface="Verdana"/>
                          <a:cs typeface="Verdana"/>
                        </a:rPr>
                        <a:t> </a:t>
                      </a:r>
                      <a:r>
                        <a:rPr sz="800" spc="-5">
                          <a:latin typeface="Verdana"/>
                          <a:cs typeface="Verdana"/>
                        </a:rPr>
                        <a:t>using  Cloud </a:t>
                      </a:r>
                      <a:r>
                        <a:rPr sz="800">
                          <a:latin typeface="Verdana"/>
                          <a:cs typeface="Verdana"/>
                        </a:rPr>
                        <a:t>based Middleware </a:t>
                      </a:r>
                      <a:r>
                        <a:rPr sz="800" spc="-5">
                          <a:latin typeface="Verdana"/>
                          <a:cs typeface="Verdana"/>
                        </a:rPr>
                        <a:t>(Informatica  </a:t>
                      </a:r>
                      <a:r>
                        <a:rPr sz="800">
                          <a:latin typeface="Verdana"/>
                          <a:cs typeface="Verdana"/>
                        </a:rPr>
                        <a:t>Cloud)</a:t>
                      </a: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6355" marR="143510">
                        <a:lnSpc>
                          <a:spcPct val="100000"/>
                        </a:lnSpc>
                        <a:spcBef>
                          <a:spcPts val="425"/>
                        </a:spcBef>
                      </a:pPr>
                      <a:r>
                        <a:rPr sz="800">
                          <a:latin typeface="Verdana"/>
                          <a:cs typeface="Verdana"/>
                        </a:rPr>
                        <a:t>One Inbound or Outbound interface</a:t>
                      </a:r>
                      <a:r>
                        <a:rPr sz="800" spc="-70">
                          <a:latin typeface="Verdana"/>
                          <a:cs typeface="Verdana"/>
                        </a:rPr>
                        <a:t> </a:t>
                      </a:r>
                      <a:r>
                        <a:rPr sz="800" spc="-5">
                          <a:latin typeface="Verdana"/>
                          <a:cs typeface="Verdana"/>
                        </a:rPr>
                        <a:t>using  Enterprise </a:t>
                      </a:r>
                      <a:r>
                        <a:rPr sz="800">
                          <a:latin typeface="Verdana"/>
                          <a:cs typeface="Verdana"/>
                        </a:rPr>
                        <a:t>based Middleware (TIBCO;  CastIron; WebMethods</a:t>
                      </a:r>
                      <a:r>
                        <a:rPr sz="800" spc="-55">
                          <a:latin typeface="Verdana"/>
                          <a:cs typeface="Verdana"/>
                        </a:rPr>
                        <a:t> </a:t>
                      </a:r>
                      <a:r>
                        <a:rPr sz="800" spc="-5">
                          <a:latin typeface="Verdana"/>
                          <a:cs typeface="Verdana"/>
                        </a:rPr>
                        <a:t>etc.)</a:t>
                      </a:r>
                      <a:endParaRPr sz="800">
                        <a:latin typeface="Verdana"/>
                        <a:cs typeface="Verdana"/>
                      </a:endParaRP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a:lnSpc>
                          <a:spcPct val="100000"/>
                        </a:lnSpc>
                        <a:spcBef>
                          <a:spcPts val="40"/>
                        </a:spcBef>
                      </a:pPr>
                      <a:endParaRPr sz="750">
                        <a:latin typeface="Times New Roman"/>
                        <a:cs typeface="Times New Roman"/>
                      </a:endParaRPr>
                    </a:p>
                    <a:p>
                      <a:pPr marL="46990">
                        <a:lnSpc>
                          <a:spcPct val="100000"/>
                        </a:lnSpc>
                        <a:spcBef>
                          <a:spcPts val="5"/>
                        </a:spcBef>
                      </a:pPr>
                      <a:r>
                        <a:rPr sz="800">
                          <a:latin typeface="Verdana"/>
                          <a:cs typeface="Verdana"/>
                        </a:rPr>
                        <a:t>One Inbound or </a:t>
                      </a:r>
                      <a:r>
                        <a:rPr sz="800" spc="-5">
                          <a:latin typeface="Verdana"/>
                          <a:cs typeface="Verdana"/>
                        </a:rPr>
                        <a:t>Outbound interface</a:t>
                      </a:r>
                      <a:r>
                        <a:rPr sz="800" spc="-15">
                          <a:latin typeface="Verdana"/>
                          <a:cs typeface="Verdana"/>
                        </a:rPr>
                        <a:t> </a:t>
                      </a:r>
                      <a:r>
                        <a:rPr sz="800" spc="-5">
                          <a:latin typeface="Verdana"/>
                          <a:cs typeface="Verdana"/>
                        </a:rPr>
                        <a:t>using</a:t>
                      </a:r>
                      <a:endParaRPr sz="800">
                        <a:latin typeface="Verdana"/>
                        <a:cs typeface="Verdana"/>
                      </a:endParaRPr>
                    </a:p>
                    <a:p>
                      <a:pPr marL="46990">
                        <a:lnSpc>
                          <a:spcPct val="100000"/>
                        </a:lnSpc>
                      </a:pPr>
                      <a:r>
                        <a:rPr sz="800">
                          <a:latin typeface="Verdana"/>
                          <a:cs typeface="Verdana"/>
                        </a:rPr>
                        <a:t>Custom WebService</a:t>
                      </a:r>
                      <a:r>
                        <a:rPr sz="800" spc="-45">
                          <a:latin typeface="Verdana"/>
                          <a:cs typeface="Verdana"/>
                        </a:rPr>
                        <a:t> </a:t>
                      </a:r>
                      <a:r>
                        <a:rPr sz="800" spc="-5">
                          <a:latin typeface="Verdana"/>
                          <a:cs typeface="Verdana"/>
                        </a:rPr>
                        <a:t>Wrappers</a:t>
                      </a:r>
                      <a:endParaRPr sz="800">
                        <a:latin typeface="Verdana"/>
                        <a:cs typeface="Verdana"/>
                      </a:endParaRPr>
                    </a:p>
                  </a:txBody>
                  <a:tcPr marL="0" marR="0" marT="508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extLst>
                  <a:ext uri="{0D108BD9-81ED-4DB2-BD59-A6C34878D82A}">
                    <a16:rowId xmlns:a16="http://schemas.microsoft.com/office/drawing/2014/main" val="10002"/>
                  </a:ext>
                </a:extLst>
              </a:tr>
              <a:tr h="475488">
                <a:tc>
                  <a:txBody>
                    <a:bodyPr/>
                    <a:lstStyle/>
                    <a:p>
                      <a:pPr>
                        <a:lnSpc>
                          <a:spcPct val="100000"/>
                        </a:lnSpc>
                        <a:spcBef>
                          <a:spcPts val="45"/>
                        </a:spcBef>
                      </a:pPr>
                      <a:endParaRPr sz="750">
                        <a:latin typeface="Times New Roman"/>
                        <a:cs typeface="Times New Roman"/>
                      </a:endParaRPr>
                    </a:p>
                    <a:p>
                      <a:pPr marL="45720" marR="1443355">
                        <a:lnSpc>
                          <a:spcPct val="100000"/>
                        </a:lnSpc>
                      </a:pPr>
                      <a:r>
                        <a:rPr sz="800">
                          <a:latin typeface="Verdana"/>
                          <a:cs typeface="Verdana"/>
                        </a:rPr>
                        <a:t>Conversions  </a:t>
                      </a:r>
                      <a:r>
                        <a:rPr sz="800" spc="-5">
                          <a:latin typeface="Verdana"/>
                          <a:cs typeface="Verdana"/>
                        </a:rPr>
                        <a:t>(Data</a:t>
                      </a:r>
                      <a:r>
                        <a:rPr sz="800" spc="-65">
                          <a:latin typeface="Verdana"/>
                          <a:cs typeface="Verdana"/>
                        </a:rPr>
                        <a:t> </a:t>
                      </a:r>
                      <a:r>
                        <a:rPr sz="800" spc="-5">
                          <a:latin typeface="Verdana"/>
                          <a:cs typeface="Verdana"/>
                        </a:rPr>
                        <a:t>Migration)</a:t>
                      </a:r>
                      <a:endParaRPr sz="800">
                        <a:latin typeface="Verdana"/>
                        <a:cs typeface="Verdana"/>
                      </a:endParaRP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45"/>
                        </a:spcBef>
                      </a:pPr>
                      <a:endParaRPr sz="750">
                        <a:latin typeface="Times New Roman"/>
                        <a:cs typeface="Times New Roman"/>
                      </a:endParaRPr>
                    </a:p>
                    <a:p>
                      <a:pPr marL="184150" indent="-139065">
                        <a:lnSpc>
                          <a:spcPct val="100000"/>
                        </a:lnSpc>
                        <a:buAutoNum type="arabicPeriod"/>
                        <a:tabLst>
                          <a:tab pos="184785" algn="l"/>
                        </a:tabLst>
                      </a:pPr>
                      <a:r>
                        <a:rPr sz="800">
                          <a:latin typeface="Verdana"/>
                          <a:cs typeface="Verdana"/>
                        </a:rPr>
                        <a:t>One </a:t>
                      </a:r>
                      <a:r>
                        <a:rPr sz="800" spc="-5">
                          <a:latin typeface="Verdana"/>
                          <a:cs typeface="Verdana"/>
                        </a:rPr>
                        <a:t>Object with </a:t>
                      </a:r>
                      <a:r>
                        <a:rPr sz="800">
                          <a:latin typeface="Verdana"/>
                          <a:cs typeface="Verdana"/>
                        </a:rPr>
                        <a:t>no</a:t>
                      </a:r>
                      <a:r>
                        <a:rPr sz="800" spc="-30">
                          <a:latin typeface="Verdana"/>
                          <a:cs typeface="Verdana"/>
                        </a:rPr>
                        <a:t> </a:t>
                      </a:r>
                      <a:r>
                        <a:rPr sz="800">
                          <a:latin typeface="Verdana"/>
                          <a:cs typeface="Verdana"/>
                        </a:rPr>
                        <a:t>dependencies</a:t>
                      </a:r>
                    </a:p>
                    <a:p>
                      <a:pPr marL="184150" indent="-139065">
                        <a:lnSpc>
                          <a:spcPct val="100000"/>
                        </a:lnSpc>
                        <a:buAutoNum type="arabicPeriod"/>
                        <a:tabLst>
                          <a:tab pos="184785" algn="l"/>
                        </a:tabLst>
                      </a:pPr>
                      <a:r>
                        <a:rPr sz="800">
                          <a:latin typeface="Verdana"/>
                          <a:cs typeface="Verdana"/>
                        </a:rPr>
                        <a:t>Records &lt;</a:t>
                      </a:r>
                      <a:r>
                        <a:rPr sz="800" spc="-55">
                          <a:latin typeface="Verdana"/>
                          <a:cs typeface="Verdana"/>
                        </a:rPr>
                        <a:t> </a:t>
                      </a:r>
                      <a:r>
                        <a:rPr sz="800">
                          <a:latin typeface="Verdana"/>
                          <a:cs typeface="Verdana"/>
                        </a:rPr>
                        <a:t>50000</a:t>
                      </a: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5720" marR="287020">
                        <a:lnSpc>
                          <a:spcPct val="100000"/>
                        </a:lnSpc>
                        <a:spcBef>
                          <a:spcPts val="425"/>
                        </a:spcBef>
                        <a:buAutoNum type="arabicPeriod"/>
                        <a:tabLst>
                          <a:tab pos="185420" algn="l"/>
                        </a:tabLst>
                      </a:pPr>
                      <a:r>
                        <a:rPr sz="800">
                          <a:latin typeface="Verdana"/>
                          <a:cs typeface="Verdana"/>
                        </a:rPr>
                        <a:t>One </a:t>
                      </a:r>
                      <a:r>
                        <a:rPr sz="800" spc="-5">
                          <a:latin typeface="Verdana"/>
                          <a:cs typeface="Verdana"/>
                        </a:rPr>
                        <a:t>Object with </a:t>
                      </a:r>
                      <a:r>
                        <a:rPr sz="800">
                          <a:latin typeface="Verdana"/>
                          <a:cs typeface="Verdana"/>
                        </a:rPr>
                        <a:t>dependency on &lt;</a:t>
                      </a:r>
                      <a:r>
                        <a:rPr sz="800" spc="-65">
                          <a:latin typeface="Verdana"/>
                          <a:cs typeface="Verdana"/>
                        </a:rPr>
                        <a:t> </a:t>
                      </a:r>
                      <a:r>
                        <a:rPr sz="800">
                          <a:latin typeface="Verdana"/>
                          <a:cs typeface="Verdana"/>
                        </a:rPr>
                        <a:t>3  </a:t>
                      </a:r>
                      <a:r>
                        <a:rPr sz="800" spc="-5">
                          <a:latin typeface="Verdana"/>
                          <a:cs typeface="Verdana"/>
                        </a:rPr>
                        <a:t>Objects</a:t>
                      </a:r>
                      <a:endParaRPr sz="800">
                        <a:latin typeface="Verdana"/>
                        <a:cs typeface="Verdana"/>
                      </a:endParaRPr>
                    </a:p>
                    <a:p>
                      <a:pPr marL="184785" indent="-139700">
                        <a:lnSpc>
                          <a:spcPct val="100000"/>
                        </a:lnSpc>
                        <a:spcBef>
                          <a:spcPts val="5"/>
                        </a:spcBef>
                        <a:buAutoNum type="arabicPeriod"/>
                        <a:tabLst>
                          <a:tab pos="185420" algn="l"/>
                        </a:tabLst>
                      </a:pPr>
                      <a:r>
                        <a:rPr sz="800">
                          <a:latin typeface="Verdana"/>
                          <a:cs typeface="Verdana"/>
                        </a:rPr>
                        <a:t>Records &lt;</a:t>
                      </a:r>
                      <a:r>
                        <a:rPr sz="800" spc="-55">
                          <a:latin typeface="Verdana"/>
                          <a:cs typeface="Verdana"/>
                        </a:rPr>
                        <a:t> </a:t>
                      </a:r>
                      <a:r>
                        <a:rPr sz="800">
                          <a:latin typeface="Verdana"/>
                          <a:cs typeface="Verdana"/>
                        </a:rPr>
                        <a:t>50000</a:t>
                      </a: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6355" marR="287020">
                        <a:lnSpc>
                          <a:spcPct val="100000"/>
                        </a:lnSpc>
                        <a:spcBef>
                          <a:spcPts val="425"/>
                        </a:spcBef>
                        <a:buAutoNum type="arabicPeriod"/>
                        <a:tabLst>
                          <a:tab pos="185420" algn="l"/>
                        </a:tabLst>
                      </a:pPr>
                      <a:r>
                        <a:rPr sz="800">
                          <a:latin typeface="Verdana"/>
                          <a:cs typeface="Verdana"/>
                        </a:rPr>
                        <a:t>One </a:t>
                      </a:r>
                      <a:r>
                        <a:rPr sz="800" spc="-5">
                          <a:latin typeface="Verdana"/>
                          <a:cs typeface="Verdana"/>
                        </a:rPr>
                        <a:t>Object with </a:t>
                      </a:r>
                      <a:r>
                        <a:rPr sz="800">
                          <a:latin typeface="Verdana"/>
                          <a:cs typeface="Verdana"/>
                        </a:rPr>
                        <a:t>dependency on &lt;</a:t>
                      </a:r>
                      <a:r>
                        <a:rPr sz="800" spc="-65">
                          <a:latin typeface="Verdana"/>
                          <a:cs typeface="Verdana"/>
                        </a:rPr>
                        <a:t> </a:t>
                      </a:r>
                      <a:r>
                        <a:rPr sz="800">
                          <a:latin typeface="Verdana"/>
                          <a:cs typeface="Verdana"/>
                        </a:rPr>
                        <a:t>3  </a:t>
                      </a:r>
                      <a:r>
                        <a:rPr sz="800" spc="-5">
                          <a:latin typeface="Verdana"/>
                          <a:cs typeface="Verdana"/>
                        </a:rPr>
                        <a:t>Objects</a:t>
                      </a:r>
                      <a:endParaRPr sz="800">
                        <a:latin typeface="Verdana"/>
                        <a:cs typeface="Verdana"/>
                      </a:endParaRPr>
                    </a:p>
                    <a:p>
                      <a:pPr marL="184785" indent="-139065">
                        <a:lnSpc>
                          <a:spcPct val="100000"/>
                        </a:lnSpc>
                        <a:spcBef>
                          <a:spcPts val="5"/>
                        </a:spcBef>
                        <a:buAutoNum type="arabicPeriod"/>
                        <a:tabLst>
                          <a:tab pos="185420" algn="l"/>
                        </a:tabLst>
                      </a:pPr>
                      <a:r>
                        <a:rPr sz="800">
                          <a:latin typeface="Verdana"/>
                          <a:cs typeface="Verdana"/>
                        </a:rPr>
                        <a:t>Records &gt;</a:t>
                      </a:r>
                      <a:r>
                        <a:rPr sz="800" spc="-55">
                          <a:latin typeface="Verdana"/>
                          <a:cs typeface="Verdana"/>
                        </a:rPr>
                        <a:t> </a:t>
                      </a:r>
                      <a:r>
                        <a:rPr sz="800">
                          <a:latin typeface="Verdana"/>
                          <a:cs typeface="Verdana"/>
                        </a:rPr>
                        <a:t>50000</a:t>
                      </a: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6990" marR="286385">
                        <a:lnSpc>
                          <a:spcPct val="100000"/>
                        </a:lnSpc>
                        <a:spcBef>
                          <a:spcPts val="425"/>
                        </a:spcBef>
                        <a:buAutoNum type="arabicPeriod"/>
                        <a:tabLst>
                          <a:tab pos="186055" algn="l"/>
                        </a:tabLst>
                      </a:pPr>
                      <a:r>
                        <a:rPr sz="800">
                          <a:latin typeface="Verdana"/>
                          <a:cs typeface="Verdana"/>
                        </a:rPr>
                        <a:t>One </a:t>
                      </a:r>
                      <a:r>
                        <a:rPr sz="800" spc="-5">
                          <a:latin typeface="Verdana"/>
                          <a:cs typeface="Verdana"/>
                        </a:rPr>
                        <a:t>Object with </a:t>
                      </a:r>
                      <a:r>
                        <a:rPr sz="800">
                          <a:latin typeface="Verdana"/>
                          <a:cs typeface="Verdana"/>
                        </a:rPr>
                        <a:t>dependency on &gt;</a:t>
                      </a:r>
                      <a:r>
                        <a:rPr sz="800" spc="-65">
                          <a:latin typeface="Verdana"/>
                          <a:cs typeface="Verdana"/>
                        </a:rPr>
                        <a:t> </a:t>
                      </a:r>
                      <a:r>
                        <a:rPr sz="800">
                          <a:latin typeface="Verdana"/>
                          <a:cs typeface="Verdana"/>
                        </a:rPr>
                        <a:t>3  </a:t>
                      </a:r>
                      <a:r>
                        <a:rPr sz="800" spc="-5">
                          <a:latin typeface="Verdana"/>
                          <a:cs typeface="Verdana"/>
                        </a:rPr>
                        <a:t>Objects</a:t>
                      </a:r>
                      <a:endParaRPr sz="800">
                        <a:latin typeface="Verdana"/>
                        <a:cs typeface="Verdana"/>
                      </a:endParaRPr>
                    </a:p>
                    <a:p>
                      <a:pPr marL="185420" indent="-139065">
                        <a:lnSpc>
                          <a:spcPct val="100000"/>
                        </a:lnSpc>
                        <a:spcBef>
                          <a:spcPts val="5"/>
                        </a:spcBef>
                        <a:buAutoNum type="arabicPeriod"/>
                        <a:tabLst>
                          <a:tab pos="186055" algn="l"/>
                        </a:tabLst>
                      </a:pPr>
                      <a:r>
                        <a:rPr sz="800">
                          <a:latin typeface="Verdana"/>
                          <a:cs typeface="Verdana"/>
                        </a:rPr>
                        <a:t>Records &gt;</a:t>
                      </a:r>
                      <a:r>
                        <a:rPr sz="800" spc="-55">
                          <a:latin typeface="Verdana"/>
                          <a:cs typeface="Verdana"/>
                        </a:rPr>
                        <a:t> </a:t>
                      </a:r>
                      <a:r>
                        <a:rPr sz="800">
                          <a:latin typeface="Verdana"/>
                          <a:cs typeface="Verdana"/>
                        </a:rPr>
                        <a:t>50000</a:t>
                      </a: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extLst>
                  <a:ext uri="{0D108BD9-81ED-4DB2-BD59-A6C34878D82A}">
                    <a16:rowId xmlns:a16="http://schemas.microsoft.com/office/drawing/2014/main" val="10003"/>
                  </a:ext>
                </a:extLst>
              </a:tr>
              <a:tr h="475488">
                <a:tc>
                  <a:txBody>
                    <a:bodyPr/>
                    <a:lstStyle/>
                    <a:p>
                      <a:pPr marL="45720">
                        <a:lnSpc>
                          <a:spcPct val="100000"/>
                        </a:lnSpc>
                        <a:spcBef>
                          <a:spcPts val="425"/>
                        </a:spcBef>
                      </a:pPr>
                      <a:r>
                        <a:rPr sz="800" spc="-5">
                          <a:latin typeface="Verdana"/>
                          <a:cs typeface="Verdana"/>
                        </a:rPr>
                        <a:t>Customization</a:t>
                      </a:r>
                      <a:endParaRPr sz="800">
                        <a:latin typeface="Verdana"/>
                        <a:cs typeface="Verdana"/>
                      </a:endParaRPr>
                    </a:p>
                    <a:p>
                      <a:pPr marL="45720" marR="179070">
                        <a:lnSpc>
                          <a:spcPct val="100000"/>
                        </a:lnSpc>
                        <a:spcBef>
                          <a:spcPts val="5"/>
                        </a:spcBef>
                      </a:pPr>
                      <a:r>
                        <a:rPr sz="800" spc="-5">
                          <a:latin typeface="Verdana"/>
                          <a:cs typeface="Verdana"/>
                        </a:rPr>
                        <a:t>(APEX </a:t>
                      </a:r>
                      <a:r>
                        <a:rPr sz="800">
                          <a:latin typeface="Verdana"/>
                          <a:cs typeface="Verdana"/>
                        </a:rPr>
                        <a:t>Classes/Controllers; APEX</a:t>
                      </a:r>
                      <a:r>
                        <a:rPr sz="800" spc="-55">
                          <a:latin typeface="Verdana"/>
                          <a:cs typeface="Verdana"/>
                        </a:rPr>
                        <a:t> </a:t>
                      </a:r>
                      <a:r>
                        <a:rPr sz="800" spc="-5">
                          <a:latin typeface="Verdana"/>
                          <a:cs typeface="Verdana"/>
                        </a:rPr>
                        <a:t>Sharing  </a:t>
                      </a:r>
                      <a:r>
                        <a:rPr sz="800">
                          <a:latin typeface="Verdana"/>
                          <a:cs typeface="Verdana"/>
                        </a:rPr>
                        <a:t>rules, Triggers, </a:t>
                      </a:r>
                      <a:r>
                        <a:rPr sz="800" spc="-5">
                          <a:latin typeface="Verdana"/>
                          <a:cs typeface="Verdana"/>
                        </a:rPr>
                        <a:t>Email</a:t>
                      </a:r>
                      <a:r>
                        <a:rPr sz="800" spc="-50">
                          <a:latin typeface="Verdana"/>
                          <a:cs typeface="Verdana"/>
                        </a:rPr>
                        <a:t> </a:t>
                      </a:r>
                      <a:r>
                        <a:rPr sz="800">
                          <a:latin typeface="Verdana"/>
                          <a:cs typeface="Verdana"/>
                        </a:rPr>
                        <a:t>Templates)</a:t>
                      </a: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5720" marR="62230">
                        <a:lnSpc>
                          <a:spcPct val="100000"/>
                        </a:lnSpc>
                        <a:spcBef>
                          <a:spcPts val="425"/>
                        </a:spcBef>
                      </a:pPr>
                      <a:r>
                        <a:rPr sz="800" spc="-5">
                          <a:latin typeface="Verdana"/>
                          <a:cs typeface="Verdana"/>
                        </a:rPr>
                        <a:t>Each </a:t>
                      </a:r>
                      <a:r>
                        <a:rPr sz="800">
                          <a:latin typeface="Verdana"/>
                          <a:cs typeface="Verdana"/>
                        </a:rPr>
                        <a:t>APEX </a:t>
                      </a:r>
                      <a:r>
                        <a:rPr sz="800" spc="-5">
                          <a:latin typeface="Verdana"/>
                          <a:cs typeface="Verdana"/>
                        </a:rPr>
                        <a:t>Sharing </a:t>
                      </a:r>
                      <a:r>
                        <a:rPr sz="800">
                          <a:latin typeface="Verdana"/>
                          <a:cs typeface="Verdana"/>
                        </a:rPr>
                        <a:t>Rules; </a:t>
                      </a:r>
                      <a:r>
                        <a:rPr sz="800" spc="-5">
                          <a:latin typeface="Verdana"/>
                          <a:cs typeface="Verdana"/>
                        </a:rPr>
                        <a:t>Each </a:t>
                      </a:r>
                      <a:r>
                        <a:rPr sz="800">
                          <a:latin typeface="Verdana"/>
                          <a:cs typeface="Verdana"/>
                        </a:rPr>
                        <a:t>simple  APEX Controller </a:t>
                      </a:r>
                      <a:r>
                        <a:rPr sz="800" spc="-5">
                          <a:latin typeface="Verdana"/>
                          <a:cs typeface="Verdana"/>
                        </a:rPr>
                        <a:t>and </a:t>
                      </a:r>
                      <a:r>
                        <a:rPr sz="800">
                          <a:latin typeface="Verdana"/>
                          <a:cs typeface="Verdana"/>
                        </a:rPr>
                        <a:t>Classes, Custom</a:t>
                      </a:r>
                      <a:r>
                        <a:rPr sz="800" spc="-85">
                          <a:latin typeface="Verdana"/>
                          <a:cs typeface="Verdana"/>
                        </a:rPr>
                        <a:t> </a:t>
                      </a:r>
                      <a:r>
                        <a:rPr sz="800" spc="-5">
                          <a:latin typeface="Verdana"/>
                          <a:cs typeface="Verdana"/>
                        </a:rPr>
                        <a:t>Email  </a:t>
                      </a:r>
                      <a:r>
                        <a:rPr sz="800">
                          <a:latin typeface="Verdana"/>
                          <a:cs typeface="Verdana"/>
                        </a:rPr>
                        <a:t>Template </a:t>
                      </a:r>
                      <a:r>
                        <a:rPr sz="800" spc="-5">
                          <a:latin typeface="Verdana"/>
                          <a:cs typeface="Verdana"/>
                        </a:rPr>
                        <a:t>and </a:t>
                      </a:r>
                      <a:r>
                        <a:rPr sz="800">
                          <a:latin typeface="Verdana"/>
                          <a:cs typeface="Verdana"/>
                        </a:rPr>
                        <a:t>Custom</a:t>
                      </a:r>
                      <a:r>
                        <a:rPr sz="800" spc="-30">
                          <a:latin typeface="Verdana"/>
                          <a:cs typeface="Verdana"/>
                        </a:rPr>
                        <a:t> </a:t>
                      </a:r>
                      <a:r>
                        <a:rPr sz="800" spc="-5">
                          <a:latin typeface="Verdana"/>
                          <a:cs typeface="Verdana"/>
                        </a:rPr>
                        <a:t>Button</a:t>
                      </a:r>
                      <a:endParaRPr sz="800">
                        <a:latin typeface="Verdana"/>
                        <a:cs typeface="Verdana"/>
                      </a:endParaRP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5720" marR="158115" algn="just">
                        <a:lnSpc>
                          <a:spcPct val="100000"/>
                        </a:lnSpc>
                        <a:spcBef>
                          <a:spcPts val="425"/>
                        </a:spcBef>
                      </a:pPr>
                      <a:r>
                        <a:rPr sz="800" spc="-5">
                          <a:latin typeface="Verdana"/>
                          <a:cs typeface="Verdana"/>
                        </a:rPr>
                        <a:t>Each </a:t>
                      </a:r>
                      <a:r>
                        <a:rPr sz="800">
                          <a:latin typeface="Verdana"/>
                          <a:cs typeface="Verdana"/>
                        </a:rPr>
                        <a:t>medium complexity APEX</a:t>
                      </a:r>
                      <a:r>
                        <a:rPr sz="800" spc="-65">
                          <a:latin typeface="Verdana"/>
                          <a:cs typeface="Verdana"/>
                        </a:rPr>
                        <a:t> </a:t>
                      </a:r>
                      <a:r>
                        <a:rPr sz="800">
                          <a:latin typeface="Verdana"/>
                          <a:cs typeface="Verdana"/>
                        </a:rPr>
                        <a:t>Controller  </a:t>
                      </a:r>
                      <a:r>
                        <a:rPr sz="800" spc="-5">
                          <a:latin typeface="Verdana"/>
                          <a:cs typeface="Verdana"/>
                        </a:rPr>
                        <a:t>and </a:t>
                      </a:r>
                      <a:r>
                        <a:rPr sz="800">
                          <a:latin typeface="Verdana"/>
                          <a:cs typeface="Verdana"/>
                        </a:rPr>
                        <a:t>Classes, Custom </a:t>
                      </a:r>
                      <a:r>
                        <a:rPr sz="800" spc="-5">
                          <a:latin typeface="Verdana"/>
                          <a:cs typeface="Verdana"/>
                        </a:rPr>
                        <a:t>Email </a:t>
                      </a:r>
                      <a:r>
                        <a:rPr sz="800">
                          <a:latin typeface="Verdana"/>
                          <a:cs typeface="Verdana"/>
                        </a:rPr>
                        <a:t>Template </a:t>
                      </a:r>
                      <a:r>
                        <a:rPr sz="800" spc="-5">
                          <a:latin typeface="Verdana"/>
                          <a:cs typeface="Verdana"/>
                        </a:rPr>
                        <a:t>and  </a:t>
                      </a:r>
                      <a:r>
                        <a:rPr sz="800">
                          <a:latin typeface="Verdana"/>
                          <a:cs typeface="Verdana"/>
                        </a:rPr>
                        <a:t>Custom</a:t>
                      </a:r>
                      <a:r>
                        <a:rPr sz="800" spc="-15">
                          <a:latin typeface="Verdana"/>
                          <a:cs typeface="Verdana"/>
                        </a:rPr>
                        <a:t> </a:t>
                      </a:r>
                      <a:r>
                        <a:rPr sz="800" spc="-5">
                          <a:latin typeface="Verdana"/>
                          <a:cs typeface="Verdana"/>
                        </a:rPr>
                        <a:t>Button</a:t>
                      </a:r>
                      <a:endParaRPr sz="800">
                        <a:latin typeface="Verdana"/>
                        <a:cs typeface="Verdana"/>
                      </a:endParaRP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a:lnSpc>
                          <a:spcPct val="100000"/>
                        </a:lnSpc>
                        <a:spcBef>
                          <a:spcPts val="45"/>
                        </a:spcBef>
                      </a:pPr>
                      <a:endParaRPr sz="750">
                        <a:latin typeface="Times New Roman"/>
                        <a:cs typeface="Times New Roman"/>
                      </a:endParaRPr>
                    </a:p>
                    <a:p>
                      <a:pPr marL="46355" marR="40005">
                        <a:lnSpc>
                          <a:spcPct val="100000"/>
                        </a:lnSpc>
                      </a:pPr>
                      <a:r>
                        <a:rPr sz="800" spc="-5">
                          <a:latin typeface="Verdana"/>
                          <a:cs typeface="Verdana"/>
                        </a:rPr>
                        <a:t>Each </a:t>
                      </a:r>
                      <a:r>
                        <a:rPr sz="800">
                          <a:latin typeface="Verdana"/>
                          <a:cs typeface="Verdana"/>
                        </a:rPr>
                        <a:t>Complex APEX Controller </a:t>
                      </a:r>
                      <a:r>
                        <a:rPr sz="800" spc="-5">
                          <a:latin typeface="Verdana"/>
                          <a:cs typeface="Verdana"/>
                        </a:rPr>
                        <a:t>and </a:t>
                      </a:r>
                      <a:r>
                        <a:rPr sz="800">
                          <a:latin typeface="Verdana"/>
                          <a:cs typeface="Verdana"/>
                        </a:rPr>
                        <a:t>Classes,  Custom </a:t>
                      </a:r>
                      <a:r>
                        <a:rPr sz="800" spc="-5">
                          <a:latin typeface="Verdana"/>
                          <a:cs typeface="Verdana"/>
                        </a:rPr>
                        <a:t>Email </a:t>
                      </a:r>
                      <a:r>
                        <a:rPr sz="800">
                          <a:latin typeface="Verdana"/>
                          <a:cs typeface="Verdana"/>
                        </a:rPr>
                        <a:t>Template </a:t>
                      </a:r>
                      <a:r>
                        <a:rPr sz="800" spc="-5">
                          <a:latin typeface="Verdana"/>
                          <a:cs typeface="Verdana"/>
                        </a:rPr>
                        <a:t>and </a:t>
                      </a:r>
                      <a:r>
                        <a:rPr sz="800">
                          <a:latin typeface="Verdana"/>
                          <a:cs typeface="Verdana"/>
                        </a:rPr>
                        <a:t>Custom</a:t>
                      </a:r>
                      <a:r>
                        <a:rPr sz="800" spc="-40">
                          <a:latin typeface="Verdana"/>
                          <a:cs typeface="Verdana"/>
                        </a:rPr>
                        <a:t> </a:t>
                      </a:r>
                      <a:r>
                        <a:rPr sz="800" spc="-5">
                          <a:latin typeface="Verdana"/>
                          <a:cs typeface="Verdana"/>
                        </a:rPr>
                        <a:t>Button</a:t>
                      </a:r>
                      <a:endParaRPr sz="800">
                        <a:latin typeface="Verdana"/>
                        <a:cs typeface="Verdana"/>
                      </a:endParaRP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6990" marR="224790">
                        <a:lnSpc>
                          <a:spcPct val="100000"/>
                        </a:lnSpc>
                        <a:spcBef>
                          <a:spcPts val="425"/>
                        </a:spcBef>
                      </a:pPr>
                      <a:r>
                        <a:rPr sz="800" spc="-5">
                          <a:latin typeface="Verdana"/>
                          <a:cs typeface="Verdana"/>
                        </a:rPr>
                        <a:t>Each </a:t>
                      </a:r>
                      <a:r>
                        <a:rPr sz="800">
                          <a:latin typeface="Verdana"/>
                          <a:cs typeface="Verdana"/>
                        </a:rPr>
                        <a:t>Very Complex APEX Controller</a:t>
                      </a:r>
                      <a:r>
                        <a:rPr sz="800" spc="-65">
                          <a:latin typeface="Verdana"/>
                          <a:cs typeface="Verdana"/>
                        </a:rPr>
                        <a:t> </a:t>
                      </a:r>
                      <a:r>
                        <a:rPr sz="800" spc="-5">
                          <a:latin typeface="Verdana"/>
                          <a:cs typeface="Verdana"/>
                        </a:rPr>
                        <a:t>and  </a:t>
                      </a:r>
                      <a:r>
                        <a:rPr sz="800">
                          <a:latin typeface="Verdana"/>
                          <a:cs typeface="Verdana"/>
                        </a:rPr>
                        <a:t>Classes, Custom </a:t>
                      </a:r>
                      <a:r>
                        <a:rPr sz="800" spc="-5">
                          <a:latin typeface="Verdana"/>
                          <a:cs typeface="Verdana"/>
                        </a:rPr>
                        <a:t>Email </a:t>
                      </a:r>
                      <a:r>
                        <a:rPr sz="800">
                          <a:latin typeface="Verdana"/>
                          <a:cs typeface="Verdana"/>
                        </a:rPr>
                        <a:t>Template </a:t>
                      </a:r>
                      <a:r>
                        <a:rPr sz="800" spc="-5">
                          <a:latin typeface="Verdana"/>
                          <a:cs typeface="Verdana"/>
                        </a:rPr>
                        <a:t>and  </a:t>
                      </a:r>
                      <a:r>
                        <a:rPr sz="800">
                          <a:latin typeface="Verdana"/>
                          <a:cs typeface="Verdana"/>
                        </a:rPr>
                        <a:t>Custom</a:t>
                      </a:r>
                      <a:r>
                        <a:rPr sz="800" spc="-15">
                          <a:latin typeface="Verdana"/>
                          <a:cs typeface="Verdana"/>
                        </a:rPr>
                        <a:t> </a:t>
                      </a:r>
                      <a:r>
                        <a:rPr sz="800" spc="-5">
                          <a:latin typeface="Verdana"/>
                          <a:cs typeface="Verdana"/>
                        </a:rPr>
                        <a:t>Button</a:t>
                      </a:r>
                      <a:endParaRPr sz="800">
                        <a:latin typeface="Verdana"/>
                        <a:cs typeface="Verdana"/>
                      </a:endParaRPr>
                    </a:p>
                  </a:txBody>
                  <a:tcPr marL="0" marR="0" marT="5397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extLst>
                  <a:ext uri="{0D108BD9-81ED-4DB2-BD59-A6C34878D82A}">
                    <a16:rowId xmlns:a16="http://schemas.microsoft.com/office/drawing/2014/main" val="10004"/>
                  </a:ext>
                </a:extLst>
              </a:tr>
              <a:tr h="597407">
                <a:tc>
                  <a:txBody>
                    <a:bodyPr/>
                    <a:lstStyle/>
                    <a:p>
                      <a:pPr>
                        <a:lnSpc>
                          <a:spcPct val="100000"/>
                        </a:lnSpc>
                        <a:spcBef>
                          <a:spcPts val="45"/>
                        </a:spcBef>
                      </a:pPr>
                      <a:endParaRPr sz="750">
                        <a:latin typeface="Times New Roman"/>
                        <a:cs typeface="Times New Roman"/>
                      </a:endParaRPr>
                    </a:p>
                    <a:p>
                      <a:pPr marL="45720">
                        <a:lnSpc>
                          <a:spcPct val="100000"/>
                        </a:lnSpc>
                        <a:spcBef>
                          <a:spcPts val="5"/>
                        </a:spcBef>
                      </a:pPr>
                      <a:r>
                        <a:rPr sz="800" spc="-5">
                          <a:latin typeface="Verdana"/>
                          <a:cs typeface="Verdana"/>
                        </a:rPr>
                        <a:t>Configurations </a:t>
                      </a:r>
                      <a:r>
                        <a:rPr sz="800">
                          <a:latin typeface="Verdana"/>
                          <a:cs typeface="Verdana"/>
                        </a:rPr>
                        <a:t>–</a:t>
                      </a:r>
                      <a:r>
                        <a:rPr sz="800" spc="20">
                          <a:latin typeface="Verdana"/>
                          <a:cs typeface="Verdana"/>
                        </a:rPr>
                        <a:t> </a:t>
                      </a:r>
                      <a:r>
                        <a:rPr sz="800">
                          <a:latin typeface="Verdana"/>
                          <a:cs typeface="Verdana"/>
                        </a:rPr>
                        <a:t>Classic</a:t>
                      </a:r>
                    </a:p>
                    <a:p>
                      <a:pPr marL="45720" marR="351790">
                        <a:lnSpc>
                          <a:spcPct val="100000"/>
                        </a:lnSpc>
                      </a:pPr>
                      <a:r>
                        <a:rPr sz="800" spc="-5">
                          <a:latin typeface="Verdana"/>
                          <a:cs typeface="Verdana"/>
                        </a:rPr>
                        <a:t>(Objects, </a:t>
                      </a:r>
                      <a:r>
                        <a:rPr sz="800">
                          <a:latin typeface="Verdana"/>
                          <a:cs typeface="Verdana"/>
                        </a:rPr>
                        <a:t>Fields, </a:t>
                      </a:r>
                      <a:r>
                        <a:rPr sz="800" spc="-5">
                          <a:latin typeface="Verdana"/>
                          <a:cs typeface="Verdana"/>
                        </a:rPr>
                        <a:t>Picklist, </a:t>
                      </a:r>
                      <a:r>
                        <a:rPr sz="800">
                          <a:latin typeface="Verdana"/>
                          <a:cs typeface="Verdana"/>
                        </a:rPr>
                        <a:t>RecordType,  </a:t>
                      </a:r>
                      <a:r>
                        <a:rPr sz="800" spc="-5">
                          <a:latin typeface="Verdana"/>
                          <a:cs typeface="Verdana"/>
                        </a:rPr>
                        <a:t>PageLayout, </a:t>
                      </a:r>
                      <a:r>
                        <a:rPr sz="800">
                          <a:latin typeface="Verdana"/>
                          <a:cs typeface="Verdana"/>
                        </a:rPr>
                        <a:t>VisualFlow</a:t>
                      </a:r>
                      <a:r>
                        <a:rPr sz="800" spc="-10">
                          <a:latin typeface="Verdana"/>
                          <a:cs typeface="Verdana"/>
                        </a:rPr>
                        <a:t> </a:t>
                      </a:r>
                      <a:r>
                        <a:rPr sz="800" spc="-5">
                          <a:latin typeface="Verdana"/>
                          <a:cs typeface="Verdana"/>
                        </a:rPr>
                        <a:t>etc.)</a:t>
                      </a:r>
                      <a:endParaRPr sz="800">
                        <a:latin typeface="Verdana"/>
                        <a:cs typeface="Verdana"/>
                      </a:endParaRP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10"/>
                        </a:spcBef>
                      </a:pPr>
                      <a:endParaRPr sz="1200">
                        <a:latin typeface="Times New Roman"/>
                        <a:cs typeface="Times New Roman"/>
                      </a:endParaRPr>
                    </a:p>
                    <a:p>
                      <a:pPr marL="45720" marR="87630">
                        <a:lnSpc>
                          <a:spcPct val="100000"/>
                        </a:lnSpc>
                      </a:pPr>
                      <a:r>
                        <a:rPr sz="800" spc="-5">
                          <a:latin typeface="Verdana"/>
                          <a:cs typeface="Verdana"/>
                        </a:rPr>
                        <a:t>Each </a:t>
                      </a:r>
                      <a:r>
                        <a:rPr sz="800">
                          <a:latin typeface="Verdana"/>
                          <a:cs typeface="Verdana"/>
                        </a:rPr>
                        <a:t>Simple Custom Text/Number;</a:t>
                      </a:r>
                      <a:r>
                        <a:rPr sz="800" spc="-65">
                          <a:latin typeface="Verdana"/>
                          <a:cs typeface="Verdana"/>
                        </a:rPr>
                        <a:t> </a:t>
                      </a:r>
                      <a:r>
                        <a:rPr sz="800" spc="-5">
                          <a:latin typeface="Verdana"/>
                          <a:cs typeface="Verdana"/>
                        </a:rPr>
                        <a:t>Picklist  </a:t>
                      </a:r>
                      <a:r>
                        <a:rPr sz="800">
                          <a:latin typeface="Verdana"/>
                          <a:cs typeface="Verdana"/>
                        </a:rPr>
                        <a:t>Field </a:t>
                      </a:r>
                      <a:r>
                        <a:rPr sz="800" spc="-5">
                          <a:latin typeface="Verdana"/>
                          <a:cs typeface="Verdana"/>
                        </a:rPr>
                        <a:t>and </a:t>
                      </a:r>
                      <a:r>
                        <a:rPr sz="800">
                          <a:latin typeface="Verdana"/>
                          <a:cs typeface="Verdana"/>
                        </a:rPr>
                        <a:t>Custom </a:t>
                      </a:r>
                      <a:r>
                        <a:rPr sz="800" spc="-5">
                          <a:latin typeface="Verdana"/>
                          <a:cs typeface="Verdana"/>
                        </a:rPr>
                        <a:t>Object; </a:t>
                      </a:r>
                      <a:r>
                        <a:rPr sz="800">
                          <a:latin typeface="Verdana"/>
                          <a:cs typeface="Verdana"/>
                        </a:rPr>
                        <a:t>App;</a:t>
                      </a:r>
                      <a:r>
                        <a:rPr sz="800" spc="-25">
                          <a:latin typeface="Verdana"/>
                          <a:cs typeface="Verdana"/>
                        </a:rPr>
                        <a:t> </a:t>
                      </a:r>
                      <a:r>
                        <a:rPr sz="800" spc="-5">
                          <a:latin typeface="Verdana"/>
                          <a:cs typeface="Verdana"/>
                        </a:rPr>
                        <a:t>Tab</a:t>
                      </a:r>
                      <a:endParaRPr sz="800">
                        <a:latin typeface="Verdana"/>
                        <a:cs typeface="Verdana"/>
                      </a:endParaRPr>
                    </a:p>
                  </a:txBody>
                  <a:tcPr marL="0" marR="0" marT="127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5720" marR="44450">
                        <a:lnSpc>
                          <a:spcPct val="100000"/>
                        </a:lnSpc>
                        <a:spcBef>
                          <a:spcPts val="430"/>
                        </a:spcBef>
                      </a:pPr>
                      <a:r>
                        <a:rPr sz="800">
                          <a:latin typeface="Verdana"/>
                          <a:cs typeface="Verdana"/>
                        </a:rPr>
                        <a:t>Each Dependent </a:t>
                      </a:r>
                      <a:r>
                        <a:rPr sz="800" spc="-5">
                          <a:latin typeface="Verdana"/>
                          <a:cs typeface="Verdana"/>
                        </a:rPr>
                        <a:t>Picklist; Relationship  </a:t>
                      </a:r>
                      <a:r>
                        <a:rPr sz="800">
                          <a:latin typeface="Verdana"/>
                          <a:cs typeface="Verdana"/>
                        </a:rPr>
                        <a:t>Fields; Simple Formulas; Search </a:t>
                      </a:r>
                      <a:r>
                        <a:rPr sz="800" spc="-5">
                          <a:latin typeface="Verdana"/>
                          <a:cs typeface="Verdana"/>
                        </a:rPr>
                        <a:t>Layouts;  List </a:t>
                      </a:r>
                      <a:r>
                        <a:rPr sz="800">
                          <a:latin typeface="Verdana"/>
                          <a:cs typeface="Verdana"/>
                        </a:rPr>
                        <a:t>Views; Simple </a:t>
                      </a:r>
                      <a:r>
                        <a:rPr sz="800" spc="-5">
                          <a:latin typeface="Verdana"/>
                          <a:cs typeface="Verdana"/>
                        </a:rPr>
                        <a:t>Email </a:t>
                      </a:r>
                      <a:r>
                        <a:rPr sz="800">
                          <a:latin typeface="Verdana"/>
                          <a:cs typeface="Verdana"/>
                        </a:rPr>
                        <a:t>Template; Custom  </a:t>
                      </a:r>
                      <a:r>
                        <a:rPr sz="800" spc="-5">
                          <a:latin typeface="Verdana"/>
                          <a:cs typeface="Verdana"/>
                        </a:rPr>
                        <a:t>Settings</a:t>
                      </a:r>
                      <a:endParaRPr sz="8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45"/>
                        </a:spcBef>
                      </a:pPr>
                      <a:endParaRPr sz="750">
                        <a:latin typeface="Times New Roman"/>
                        <a:cs typeface="Times New Roman"/>
                      </a:endParaRPr>
                    </a:p>
                    <a:p>
                      <a:pPr marL="46355" marR="144145">
                        <a:lnSpc>
                          <a:spcPct val="100000"/>
                        </a:lnSpc>
                        <a:spcBef>
                          <a:spcPts val="5"/>
                        </a:spcBef>
                      </a:pPr>
                      <a:r>
                        <a:rPr sz="800" spc="-5">
                          <a:latin typeface="Verdana"/>
                          <a:cs typeface="Verdana"/>
                        </a:rPr>
                        <a:t>Each </a:t>
                      </a:r>
                      <a:r>
                        <a:rPr sz="800">
                          <a:latin typeface="Verdana"/>
                          <a:cs typeface="Verdana"/>
                        </a:rPr>
                        <a:t>Complex Formula; </a:t>
                      </a:r>
                      <a:r>
                        <a:rPr sz="800" spc="-5">
                          <a:latin typeface="Verdana"/>
                          <a:cs typeface="Verdana"/>
                        </a:rPr>
                        <a:t>Page Layout;  </a:t>
                      </a:r>
                      <a:r>
                        <a:rPr sz="800">
                          <a:latin typeface="Verdana"/>
                          <a:cs typeface="Verdana"/>
                        </a:rPr>
                        <a:t>Record Type; Cross </a:t>
                      </a:r>
                      <a:r>
                        <a:rPr sz="800" spc="-5">
                          <a:latin typeface="Verdana"/>
                          <a:cs typeface="Verdana"/>
                        </a:rPr>
                        <a:t>Object </a:t>
                      </a:r>
                      <a:r>
                        <a:rPr sz="800">
                          <a:latin typeface="Verdana"/>
                          <a:cs typeface="Verdana"/>
                        </a:rPr>
                        <a:t>Formula</a:t>
                      </a:r>
                      <a:r>
                        <a:rPr sz="800" spc="-120">
                          <a:latin typeface="Verdana"/>
                          <a:cs typeface="Verdana"/>
                        </a:rPr>
                        <a:t> </a:t>
                      </a:r>
                      <a:r>
                        <a:rPr sz="800">
                          <a:latin typeface="Verdana"/>
                          <a:cs typeface="Verdana"/>
                        </a:rPr>
                        <a:t>Field;  Simple Flows; Complex </a:t>
                      </a:r>
                      <a:r>
                        <a:rPr sz="800" spc="-5">
                          <a:latin typeface="Verdana"/>
                          <a:cs typeface="Verdana"/>
                        </a:rPr>
                        <a:t>Email</a:t>
                      </a:r>
                      <a:r>
                        <a:rPr sz="800" spc="-50">
                          <a:latin typeface="Verdana"/>
                          <a:cs typeface="Verdana"/>
                        </a:rPr>
                        <a:t> </a:t>
                      </a:r>
                      <a:r>
                        <a:rPr sz="800">
                          <a:latin typeface="Verdana"/>
                          <a:cs typeface="Verdana"/>
                        </a:rPr>
                        <a:t>Template;</a:t>
                      </a: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pPr>
                      <a:endParaRPr sz="1000">
                        <a:latin typeface="Times New Roman"/>
                        <a:cs typeface="Times New Roman"/>
                      </a:endParaRPr>
                    </a:p>
                    <a:p>
                      <a:pPr marL="46990">
                        <a:lnSpc>
                          <a:spcPct val="100000"/>
                        </a:lnSpc>
                        <a:spcBef>
                          <a:spcPts val="720"/>
                        </a:spcBef>
                      </a:pPr>
                      <a:r>
                        <a:rPr sz="800" spc="-5">
                          <a:latin typeface="Verdana"/>
                          <a:cs typeface="Verdana"/>
                        </a:rPr>
                        <a:t>Each </a:t>
                      </a:r>
                      <a:r>
                        <a:rPr sz="800">
                          <a:latin typeface="Verdana"/>
                          <a:cs typeface="Verdana"/>
                        </a:rPr>
                        <a:t>Flows,</a:t>
                      </a:r>
                      <a:r>
                        <a:rPr sz="800" spc="-25">
                          <a:latin typeface="Verdana"/>
                          <a:cs typeface="Verdana"/>
                        </a:rPr>
                        <a:t> </a:t>
                      </a:r>
                      <a:r>
                        <a:rPr sz="800">
                          <a:latin typeface="Verdana"/>
                          <a:cs typeface="Verdana"/>
                        </a:rPr>
                        <a:t>FlowTrigger</a:t>
                      </a:r>
                    </a:p>
                  </a:txBody>
                  <a:tcPr marL="0" marR="0" marT="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extLst>
                  <a:ext uri="{0D108BD9-81ED-4DB2-BD59-A6C34878D82A}">
                    <a16:rowId xmlns:a16="http://schemas.microsoft.com/office/drawing/2014/main" val="10005"/>
                  </a:ext>
                </a:extLst>
              </a:tr>
              <a:tr h="475488">
                <a:tc>
                  <a:txBody>
                    <a:bodyPr/>
                    <a:lstStyle/>
                    <a:p>
                      <a:pPr>
                        <a:lnSpc>
                          <a:spcPct val="100000"/>
                        </a:lnSpc>
                        <a:spcBef>
                          <a:spcPts val="45"/>
                        </a:spcBef>
                      </a:pPr>
                      <a:endParaRPr sz="750">
                        <a:latin typeface="Times New Roman"/>
                        <a:cs typeface="Times New Roman"/>
                      </a:endParaRPr>
                    </a:p>
                    <a:p>
                      <a:pPr marL="45720">
                        <a:lnSpc>
                          <a:spcPct val="100000"/>
                        </a:lnSpc>
                        <a:spcBef>
                          <a:spcPts val="5"/>
                        </a:spcBef>
                      </a:pPr>
                      <a:r>
                        <a:rPr sz="800">
                          <a:latin typeface="Verdana"/>
                          <a:cs typeface="Verdana"/>
                        </a:rPr>
                        <a:t>Business Rules</a:t>
                      </a:r>
                    </a:p>
                    <a:p>
                      <a:pPr marL="45720">
                        <a:lnSpc>
                          <a:spcPct val="100000"/>
                        </a:lnSpc>
                      </a:pPr>
                      <a:r>
                        <a:rPr sz="800">
                          <a:latin typeface="Verdana"/>
                          <a:cs typeface="Verdana"/>
                        </a:rPr>
                        <a:t>(WorkFlows; Approvals; </a:t>
                      </a:r>
                      <a:r>
                        <a:rPr sz="800" spc="-5">
                          <a:latin typeface="Verdana"/>
                          <a:cs typeface="Verdana"/>
                        </a:rPr>
                        <a:t>Validation</a:t>
                      </a:r>
                      <a:r>
                        <a:rPr sz="800" spc="-75">
                          <a:latin typeface="Verdana"/>
                          <a:cs typeface="Verdana"/>
                        </a:rPr>
                        <a:t> </a:t>
                      </a:r>
                      <a:r>
                        <a:rPr sz="800">
                          <a:latin typeface="Verdana"/>
                          <a:cs typeface="Verdana"/>
                        </a:rPr>
                        <a:t>Rules)</a:t>
                      </a: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a:lnSpc>
                          <a:spcPct val="100000"/>
                        </a:lnSpc>
                        <a:spcBef>
                          <a:spcPts val="45"/>
                        </a:spcBef>
                      </a:pPr>
                      <a:endParaRPr sz="750">
                        <a:latin typeface="Times New Roman"/>
                        <a:cs typeface="Times New Roman"/>
                      </a:endParaRPr>
                    </a:p>
                    <a:p>
                      <a:pPr marL="45720" marR="83820">
                        <a:lnSpc>
                          <a:spcPct val="100000"/>
                        </a:lnSpc>
                        <a:spcBef>
                          <a:spcPts val="5"/>
                        </a:spcBef>
                      </a:pPr>
                      <a:r>
                        <a:rPr sz="800" spc="-5">
                          <a:latin typeface="Verdana"/>
                          <a:cs typeface="Verdana"/>
                        </a:rPr>
                        <a:t>Each </a:t>
                      </a:r>
                      <a:r>
                        <a:rPr sz="800">
                          <a:latin typeface="Verdana"/>
                          <a:cs typeface="Verdana"/>
                        </a:rPr>
                        <a:t>Simple </a:t>
                      </a:r>
                      <a:r>
                        <a:rPr sz="800" spc="-5">
                          <a:latin typeface="Verdana"/>
                          <a:cs typeface="Verdana"/>
                        </a:rPr>
                        <a:t>Validation; </a:t>
                      </a:r>
                      <a:r>
                        <a:rPr sz="800">
                          <a:latin typeface="Verdana"/>
                          <a:cs typeface="Verdana"/>
                        </a:rPr>
                        <a:t>Workflow </a:t>
                      </a:r>
                      <a:r>
                        <a:rPr sz="800" spc="-5">
                          <a:latin typeface="Verdana"/>
                          <a:cs typeface="Verdana"/>
                        </a:rPr>
                        <a:t>with </a:t>
                      </a:r>
                      <a:r>
                        <a:rPr sz="800">
                          <a:latin typeface="Verdana"/>
                          <a:cs typeface="Verdana"/>
                        </a:rPr>
                        <a:t>&lt; 5  </a:t>
                      </a:r>
                      <a:r>
                        <a:rPr sz="800" spc="-5">
                          <a:latin typeface="Verdana"/>
                          <a:cs typeface="Verdana"/>
                        </a:rPr>
                        <a:t>action; </a:t>
                      </a:r>
                      <a:r>
                        <a:rPr sz="800">
                          <a:latin typeface="Verdana"/>
                          <a:cs typeface="Verdana"/>
                        </a:rPr>
                        <a:t>Approval Process </a:t>
                      </a:r>
                      <a:r>
                        <a:rPr sz="800" spc="-5">
                          <a:latin typeface="Verdana"/>
                          <a:cs typeface="Verdana"/>
                        </a:rPr>
                        <a:t>(1</a:t>
                      </a:r>
                      <a:r>
                        <a:rPr sz="800" spc="-50">
                          <a:latin typeface="Verdana"/>
                          <a:cs typeface="Verdana"/>
                        </a:rPr>
                        <a:t> </a:t>
                      </a:r>
                      <a:r>
                        <a:rPr sz="800">
                          <a:latin typeface="Verdana"/>
                          <a:cs typeface="Verdana"/>
                        </a:rPr>
                        <a:t>Level)</a:t>
                      </a: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5720" marR="49530">
                        <a:lnSpc>
                          <a:spcPct val="100000"/>
                        </a:lnSpc>
                        <a:spcBef>
                          <a:spcPts val="430"/>
                        </a:spcBef>
                      </a:pPr>
                      <a:r>
                        <a:rPr sz="800" spc="-5">
                          <a:latin typeface="Verdana"/>
                          <a:cs typeface="Verdana"/>
                        </a:rPr>
                        <a:t>Each Medium </a:t>
                      </a:r>
                      <a:r>
                        <a:rPr sz="800">
                          <a:latin typeface="Verdana"/>
                          <a:cs typeface="Verdana"/>
                        </a:rPr>
                        <a:t>complexity </a:t>
                      </a:r>
                      <a:r>
                        <a:rPr sz="800" spc="-5">
                          <a:latin typeface="Verdana"/>
                          <a:cs typeface="Verdana"/>
                        </a:rPr>
                        <a:t>Validation </a:t>
                      </a:r>
                      <a:r>
                        <a:rPr sz="800">
                          <a:latin typeface="Verdana"/>
                          <a:cs typeface="Verdana"/>
                        </a:rPr>
                        <a:t>Rule;  Workflow </a:t>
                      </a:r>
                      <a:r>
                        <a:rPr sz="800" spc="-5">
                          <a:latin typeface="Verdana"/>
                          <a:cs typeface="Verdana"/>
                        </a:rPr>
                        <a:t>Rule with </a:t>
                      </a:r>
                      <a:r>
                        <a:rPr sz="800">
                          <a:latin typeface="Verdana"/>
                          <a:cs typeface="Verdana"/>
                        </a:rPr>
                        <a:t>5 – 10 </a:t>
                      </a:r>
                      <a:r>
                        <a:rPr sz="800" spc="-5">
                          <a:latin typeface="Verdana"/>
                          <a:cs typeface="Verdana"/>
                        </a:rPr>
                        <a:t>actions; Multiple  </a:t>
                      </a:r>
                      <a:r>
                        <a:rPr sz="800">
                          <a:latin typeface="Verdana"/>
                          <a:cs typeface="Verdana"/>
                        </a:rPr>
                        <a:t>Approval </a:t>
                      </a:r>
                      <a:r>
                        <a:rPr sz="800" spc="-5">
                          <a:latin typeface="Verdana"/>
                          <a:cs typeface="Verdana"/>
                        </a:rPr>
                        <a:t>in </a:t>
                      </a:r>
                      <a:r>
                        <a:rPr sz="800">
                          <a:latin typeface="Verdana"/>
                          <a:cs typeface="Verdana"/>
                        </a:rPr>
                        <a:t>a </a:t>
                      </a:r>
                      <a:r>
                        <a:rPr sz="800" spc="-5">
                          <a:latin typeface="Verdana"/>
                          <a:cs typeface="Verdana"/>
                        </a:rPr>
                        <a:t>Parallel</a:t>
                      </a:r>
                      <a:r>
                        <a:rPr sz="800" spc="-15">
                          <a:latin typeface="Verdana"/>
                          <a:cs typeface="Verdana"/>
                        </a:rPr>
                        <a:t> </a:t>
                      </a:r>
                      <a:r>
                        <a:rPr sz="800" spc="-5">
                          <a:latin typeface="Verdana"/>
                          <a:cs typeface="Verdana"/>
                        </a:rPr>
                        <a:t>fashion</a:t>
                      </a:r>
                      <a:endParaRPr sz="800">
                        <a:latin typeface="Verdana"/>
                        <a:cs typeface="Verdana"/>
                      </a:endParaRP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6355" marR="196215">
                        <a:lnSpc>
                          <a:spcPct val="100000"/>
                        </a:lnSpc>
                        <a:spcBef>
                          <a:spcPts val="430"/>
                        </a:spcBef>
                      </a:pPr>
                      <a:r>
                        <a:rPr sz="800" spc="-5">
                          <a:latin typeface="Verdana"/>
                          <a:cs typeface="Verdana"/>
                        </a:rPr>
                        <a:t>Each </a:t>
                      </a:r>
                      <a:r>
                        <a:rPr sz="800">
                          <a:latin typeface="Verdana"/>
                          <a:cs typeface="Verdana"/>
                        </a:rPr>
                        <a:t>Complex </a:t>
                      </a:r>
                      <a:r>
                        <a:rPr sz="800" spc="-5">
                          <a:latin typeface="Verdana"/>
                          <a:cs typeface="Verdana"/>
                        </a:rPr>
                        <a:t>Validation </a:t>
                      </a:r>
                      <a:r>
                        <a:rPr sz="800">
                          <a:latin typeface="Verdana"/>
                          <a:cs typeface="Verdana"/>
                        </a:rPr>
                        <a:t>Rule; Workflow  </a:t>
                      </a:r>
                      <a:r>
                        <a:rPr sz="800" spc="-5">
                          <a:latin typeface="Verdana"/>
                          <a:cs typeface="Verdana"/>
                        </a:rPr>
                        <a:t>Rule with </a:t>
                      </a:r>
                      <a:r>
                        <a:rPr sz="800">
                          <a:latin typeface="Verdana"/>
                          <a:cs typeface="Verdana"/>
                        </a:rPr>
                        <a:t>10 – 30 </a:t>
                      </a:r>
                      <a:r>
                        <a:rPr sz="800" spc="-5">
                          <a:latin typeface="Verdana"/>
                          <a:cs typeface="Verdana"/>
                        </a:rPr>
                        <a:t>actions; </a:t>
                      </a:r>
                      <a:r>
                        <a:rPr sz="800">
                          <a:latin typeface="Verdana"/>
                          <a:cs typeface="Verdana"/>
                        </a:rPr>
                        <a:t>Approval  Process </a:t>
                      </a:r>
                      <a:r>
                        <a:rPr sz="800" spc="-5">
                          <a:latin typeface="Verdana"/>
                          <a:cs typeface="Verdana"/>
                        </a:rPr>
                        <a:t>with multiple</a:t>
                      </a:r>
                      <a:r>
                        <a:rPr sz="800" spc="-10">
                          <a:latin typeface="Verdana"/>
                          <a:cs typeface="Verdana"/>
                        </a:rPr>
                        <a:t> </a:t>
                      </a:r>
                      <a:r>
                        <a:rPr sz="800">
                          <a:latin typeface="Verdana"/>
                          <a:cs typeface="Verdana"/>
                        </a:rPr>
                        <a:t>approvals</a:t>
                      </a: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6990" marR="195580" algn="just">
                        <a:lnSpc>
                          <a:spcPct val="100000"/>
                        </a:lnSpc>
                        <a:spcBef>
                          <a:spcPts val="430"/>
                        </a:spcBef>
                      </a:pPr>
                      <a:r>
                        <a:rPr sz="800" spc="-5">
                          <a:latin typeface="Verdana"/>
                          <a:cs typeface="Verdana"/>
                        </a:rPr>
                        <a:t>Each </a:t>
                      </a:r>
                      <a:r>
                        <a:rPr sz="800">
                          <a:latin typeface="Verdana"/>
                          <a:cs typeface="Verdana"/>
                        </a:rPr>
                        <a:t>Complex </a:t>
                      </a:r>
                      <a:r>
                        <a:rPr sz="800" spc="-5">
                          <a:latin typeface="Verdana"/>
                          <a:cs typeface="Verdana"/>
                        </a:rPr>
                        <a:t>Validation </a:t>
                      </a:r>
                      <a:r>
                        <a:rPr sz="800">
                          <a:latin typeface="Verdana"/>
                          <a:cs typeface="Verdana"/>
                        </a:rPr>
                        <a:t>Rule; Workflow  </a:t>
                      </a:r>
                      <a:r>
                        <a:rPr sz="800" spc="-5">
                          <a:latin typeface="Verdana"/>
                          <a:cs typeface="Verdana"/>
                        </a:rPr>
                        <a:t>Rule with </a:t>
                      </a:r>
                      <a:r>
                        <a:rPr sz="800">
                          <a:latin typeface="Verdana"/>
                          <a:cs typeface="Verdana"/>
                        </a:rPr>
                        <a:t>&gt;30 </a:t>
                      </a:r>
                      <a:r>
                        <a:rPr sz="800" spc="-5">
                          <a:latin typeface="Verdana"/>
                          <a:cs typeface="Verdana"/>
                        </a:rPr>
                        <a:t>actions; </a:t>
                      </a:r>
                      <a:r>
                        <a:rPr sz="800">
                          <a:latin typeface="Verdana"/>
                          <a:cs typeface="Verdana"/>
                        </a:rPr>
                        <a:t>Approval Process  </a:t>
                      </a:r>
                      <a:r>
                        <a:rPr sz="800" spc="-5">
                          <a:latin typeface="Verdana"/>
                          <a:cs typeface="Verdana"/>
                        </a:rPr>
                        <a:t>with multiple</a:t>
                      </a:r>
                      <a:r>
                        <a:rPr sz="800" spc="25">
                          <a:latin typeface="Verdana"/>
                          <a:cs typeface="Verdana"/>
                        </a:rPr>
                        <a:t> </a:t>
                      </a:r>
                      <a:r>
                        <a:rPr sz="800">
                          <a:latin typeface="Verdana"/>
                          <a:cs typeface="Verdana"/>
                        </a:rPr>
                        <a:t>approvals</a:t>
                      </a: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extLst>
                  <a:ext uri="{0D108BD9-81ED-4DB2-BD59-A6C34878D82A}">
                    <a16:rowId xmlns:a16="http://schemas.microsoft.com/office/drawing/2014/main" val="10006"/>
                  </a:ext>
                </a:extLst>
              </a:tr>
              <a:tr h="475488">
                <a:tc>
                  <a:txBody>
                    <a:bodyPr/>
                    <a:lstStyle/>
                    <a:p>
                      <a:pPr marL="45720">
                        <a:lnSpc>
                          <a:spcPct val="100000"/>
                        </a:lnSpc>
                        <a:spcBef>
                          <a:spcPts val="430"/>
                        </a:spcBef>
                      </a:pPr>
                      <a:r>
                        <a:rPr sz="800">
                          <a:latin typeface="Verdana"/>
                          <a:cs typeface="Verdana"/>
                        </a:rPr>
                        <a:t>VisualForce</a:t>
                      </a:r>
                    </a:p>
                    <a:p>
                      <a:pPr marL="45720" marR="333375">
                        <a:lnSpc>
                          <a:spcPct val="100000"/>
                        </a:lnSpc>
                      </a:pPr>
                      <a:r>
                        <a:rPr sz="800">
                          <a:latin typeface="Verdana"/>
                          <a:cs typeface="Verdana"/>
                        </a:rPr>
                        <a:t>(VisualForce pages on Salesforce</a:t>
                      </a:r>
                      <a:r>
                        <a:rPr sz="800" spc="-114">
                          <a:latin typeface="Verdana"/>
                          <a:cs typeface="Verdana"/>
                        </a:rPr>
                        <a:t> </a:t>
                      </a:r>
                      <a:r>
                        <a:rPr sz="800">
                          <a:latin typeface="Verdana"/>
                          <a:cs typeface="Verdana"/>
                        </a:rPr>
                        <a:t>Org,  </a:t>
                      </a:r>
                      <a:r>
                        <a:rPr sz="800" spc="-5">
                          <a:latin typeface="Verdana"/>
                          <a:cs typeface="Verdana"/>
                        </a:rPr>
                        <a:t>Community and</a:t>
                      </a:r>
                      <a:r>
                        <a:rPr sz="800" spc="10">
                          <a:latin typeface="Verdana"/>
                          <a:cs typeface="Verdana"/>
                        </a:rPr>
                        <a:t> </a:t>
                      </a:r>
                      <a:r>
                        <a:rPr sz="800">
                          <a:latin typeface="Verdana"/>
                          <a:cs typeface="Verdana"/>
                        </a:rPr>
                        <a:t>Salesforce1)</a:t>
                      </a:r>
                    </a:p>
                  </a:txBody>
                  <a:tcPr marL="0" marR="0" marT="5461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10"/>
                        </a:spcBef>
                      </a:pPr>
                      <a:endParaRPr sz="1200">
                        <a:latin typeface="Times New Roman"/>
                        <a:cs typeface="Times New Roman"/>
                      </a:endParaRPr>
                    </a:p>
                    <a:p>
                      <a:pPr marL="45720">
                        <a:lnSpc>
                          <a:spcPct val="100000"/>
                        </a:lnSpc>
                      </a:pPr>
                      <a:r>
                        <a:rPr sz="800" spc="-5">
                          <a:latin typeface="Verdana"/>
                          <a:cs typeface="Verdana"/>
                        </a:rPr>
                        <a:t>Each </a:t>
                      </a:r>
                      <a:r>
                        <a:rPr sz="800">
                          <a:latin typeface="Verdana"/>
                          <a:cs typeface="Verdana"/>
                        </a:rPr>
                        <a:t>Visualforce page </a:t>
                      </a:r>
                      <a:r>
                        <a:rPr sz="800" spc="-5">
                          <a:latin typeface="Verdana"/>
                          <a:cs typeface="Verdana"/>
                        </a:rPr>
                        <a:t>with </a:t>
                      </a:r>
                      <a:r>
                        <a:rPr sz="800">
                          <a:latin typeface="Verdana"/>
                          <a:cs typeface="Verdana"/>
                        </a:rPr>
                        <a:t>1-2</a:t>
                      </a:r>
                      <a:r>
                        <a:rPr sz="800" spc="-15">
                          <a:latin typeface="Verdana"/>
                          <a:cs typeface="Verdana"/>
                        </a:rPr>
                        <a:t> </a:t>
                      </a:r>
                      <a:r>
                        <a:rPr sz="800" spc="-5">
                          <a:latin typeface="Verdana"/>
                          <a:cs typeface="Verdana"/>
                        </a:rPr>
                        <a:t>Object(s)</a:t>
                      </a:r>
                      <a:endParaRPr sz="800">
                        <a:latin typeface="Verdana"/>
                        <a:cs typeface="Verdana"/>
                      </a:endParaRPr>
                    </a:p>
                  </a:txBody>
                  <a:tcPr marL="0" marR="0" marT="127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45"/>
                        </a:spcBef>
                      </a:pPr>
                      <a:endParaRPr sz="750">
                        <a:latin typeface="Times New Roman"/>
                        <a:cs typeface="Times New Roman"/>
                      </a:endParaRPr>
                    </a:p>
                    <a:p>
                      <a:pPr marL="45720" marR="52705">
                        <a:lnSpc>
                          <a:spcPct val="100000"/>
                        </a:lnSpc>
                        <a:spcBef>
                          <a:spcPts val="5"/>
                        </a:spcBef>
                      </a:pPr>
                      <a:r>
                        <a:rPr sz="800" spc="-5">
                          <a:latin typeface="Verdana"/>
                          <a:cs typeface="Verdana"/>
                        </a:rPr>
                        <a:t>Each </a:t>
                      </a:r>
                      <a:r>
                        <a:rPr sz="800">
                          <a:latin typeface="Verdana"/>
                          <a:cs typeface="Verdana"/>
                        </a:rPr>
                        <a:t>Visualforce page </a:t>
                      </a:r>
                      <a:r>
                        <a:rPr sz="800" spc="-5">
                          <a:latin typeface="Verdana"/>
                          <a:cs typeface="Verdana"/>
                        </a:rPr>
                        <a:t>with </a:t>
                      </a:r>
                      <a:r>
                        <a:rPr sz="800">
                          <a:latin typeface="Verdana"/>
                          <a:cs typeface="Verdana"/>
                        </a:rPr>
                        <a:t>1-2 </a:t>
                      </a:r>
                      <a:r>
                        <a:rPr sz="800" spc="-5">
                          <a:latin typeface="Verdana"/>
                          <a:cs typeface="Verdana"/>
                        </a:rPr>
                        <a:t>Objects and  </a:t>
                      </a:r>
                      <a:r>
                        <a:rPr sz="800">
                          <a:latin typeface="Verdana"/>
                          <a:cs typeface="Verdana"/>
                        </a:rPr>
                        <a:t>complex UI</a:t>
                      </a:r>
                      <a:r>
                        <a:rPr sz="800" spc="-20">
                          <a:latin typeface="Verdana"/>
                          <a:cs typeface="Verdana"/>
                        </a:rPr>
                        <a:t> </a:t>
                      </a:r>
                      <a:r>
                        <a:rPr sz="800">
                          <a:latin typeface="Verdana"/>
                          <a:cs typeface="Verdana"/>
                        </a:rPr>
                        <a:t>elements</a:t>
                      </a: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45"/>
                        </a:spcBef>
                      </a:pPr>
                      <a:endParaRPr sz="750">
                        <a:latin typeface="Times New Roman"/>
                        <a:cs typeface="Times New Roman"/>
                      </a:endParaRPr>
                    </a:p>
                    <a:p>
                      <a:pPr marL="46355" marR="365125">
                        <a:lnSpc>
                          <a:spcPct val="100000"/>
                        </a:lnSpc>
                        <a:spcBef>
                          <a:spcPts val="5"/>
                        </a:spcBef>
                      </a:pPr>
                      <a:r>
                        <a:rPr sz="800" spc="-5">
                          <a:latin typeface="Verdana"/>
                          <a:cs typeface="Verdana"/>
                        </a:rPr>
                        <a:t>Each </a:t>
                      </a:r>
                      <a:r>
                        <a:rPr sz="800">
                          <a:latin typeface="Verdana"/>
                          <a:cs typeface="Verdana"/>
                        </a:rPr>
                        <a:t>Visualforce page </a:t>
                      </a:r>
                      <a:r>
                        <a:rPr sz="800" spc="-5">
                          <a:latin typeface="Verdana"/>
                          <a:cs typeface="Verdana"/>
                        </a:rPr>
                        <a:t>with </a:t>
                      </a:r>
                      <a:r>
                        <a:rPr sz="800">
                          <a:latin typeface="Verdana"/>
                          <a:cs typeface="Verdana"/>
                        </a:rPr>
                        <a:t>3 or more  </a:t>
                      </a:r>
                      <a:r>
                        <a:rPr sz="800" spc="-5">
                          <a:latin typeface="Verdana"/>
                          <a:cs typeface="Verdana"/>
                        </a:rPr>
                        <a:t>Object(s)</a:t>
                      </a:r>
                      <a:endParaRPr sz="800">
                        <a:latin typeface="Verdana"/>
                        <a:cs typeface="Verdana"/>
                      </a:endParaRP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45"/>
                        </a:spcBef>
                      </a:pPr>
                      <a:endParaRPr sz="750">
                        <a:latin typeface="Times New Roman"/>
                        <a:cs typeface="Times New Roman"/>
                      </a:endParaRPr>
                    </a:p>
                    <a:p>
                      <a:pPr marL="46990" marR="364490">
                        <a:lnSpc>
                          <a:spcPct val="100000"/>
                        </a:lnSpc>
                        <a:spcBef>
                          <a:spcPts val="5"/>
                        </a:spcBef>
                      </a:pPr>
                      <a:r>
                        <a:rPr sz="800" spc="-5">
                          <a:latin typeface="Verdana"/>
                          <a:cs typeface="Verdana"/>
                        </a:rPr>
                        <a:t>Each </a:t>
                      </a:r>
                      <a:r>
                        <a:rPr sz="800">
                          <a:latin typeface="Verdana"/>
                          <a:cs typeface="Verdana"/>
                        </a:rPr>
                        <a:t>Visualforce page </a:t>
                      </a:r>
                      <a:r>
                        <a:rPr sz="800" spc="-5">
                          <a:latin typeface="Verdana"/>
                          <a:cs typeface="Verdana"/>
                        </a:rPr>
                        <a:t>with </a:t>
                      </a:r>
                      <a:r>
                        <a:rPr sz="800">
                          <a:latin typeface="Verdana"/>
                          <a:cs typeface="Verdana"/>
                        </a:rPr>
                        <a:t>3 or more  </a:t>
                      </a:r>
                      <a:r>
                        <a:rPr sz="800" spc="-5">
                          <a:latin typeface="Verdana"/>
                          <a:cs typeface="Verdana"/>
                        </a:rPr>
                        <a:t>Object(s) and </a:t>
                      </a:r>
                      <a:r>
                        <a:rPr sz="800">
                          <a:latin typeface="Verdana"/>
                          <a:cs typeface="Verdana"/>
                        </a:rPr>
                        <a:t>complex UI</a:t>
                      </a:r>
                      <a:r>
                        <a:rPr sz="800" spc="-50">
                          <a:latin typeface="Verdana"/>
                          <a:cs typeface="Verdana"/>
                        </a:rPr>
                        <a:t> </a:t>
                      </a:r>
                      <a:r>
                        <a:rPr sz="800">
                          <a:latin typeface="Verdana"/>
                          <a:cs typeface="Verdana"/>
                        </a:rPr>
                        <a:t>elements</a:t>
                      </a:r>
                    </a:p>
                  </a:txBody>
                  <a:tcPr marL="0" marR="0" marT="57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extLst>
                  <a:ext uri="{0D108BD9-81ED-4DB2-BD59-A6C34878D82A}">
                    <a16:rowId xmlns:a16="http://schemas.microsoft.com/office/drawing/2014/main" val="10007"/>
                  </a:ext>
                </a:extLst>
              </a:tr>
              <a:tr h="597357">
                <a:tc>
                  <a:txBody>
                    <a:bodyPr/>
                    <a:lstStyle/>
                    <a:p>
                      <a:pPr>
                        <a:lnSpc>
                          <a:spcPct val="100000"/>
                        </a:lnSpc>
                      </a:pPr>
                      <a:endParaRPr sz="1000">
                        <a:latin typeface="Times New Roman"/>
                        <a:cs typeface="Times New Roman"/>
                      </a:endParaRPr>
                    </a:p>
                    <a:p>
                      <a:pPr marL="45720">
                        <a:lnSpc>
                          <a:spcPct val="100000"/>
                        </a:lnSpc>
                        <a:spcBef>
                          <a:spcPts val="725"/>
                        </a:spcBef>
                      </a:pPr>
                      <a:r>
                        <a:rPr sz="800" spc="-5">
                          <a:latin typeface="Verdana"/>
                          <a:cs typeface="Verdana"/>
                        </a:rPr>
                        <a:t>Lightning </a:t>
                      </a:r>
                      <a:r>
                        <a:rPr sz="800">
                          <a:latin typeface="Verdana"/>
                          <a:cs typeface="Verdana"/>
                        </a:rPr>
                        <a:t>Component</a:t>
                      </a:r>
                      <a:r>
                        <a:rPr sz="800" spc="35">
                          <a:latin typeface="Verdana"/>
                          <a:cs typeface="Verdana"/>
                        </a:rPr>
                        <a:t> </a:t>
                      </a:r>
                      <a:r>
                        <a:rPr sz="800">
                          <a:latin typeface="Verdana"/>
                          <a:cs typeface="Verdana"/>
                        </a:rPr>
                        <a:t>development</a:t>
                      </a:r>
                    </a:p>
                  </a:txBody>
                  <a:tcPr marL="0" marR="0" marT="0"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a:lnSpc>
                          <a:spcPct val="100000"/>
                        </a:lnSpc>
                        <a:spcBef>
                          <a:spcPts val="5"/>
                        </a:spcBef>
                      </a:pPr>
                      <a:endParaRPr sz="800">
                        <a:latin typeface="Times New Roman"/>
                        <a:cs typeface="Times New Roman"/>
                      </a:endParaRPr>
                    </a:p>
                    <a:p>
                      <a:pPr marL="45720" marR="192405">
                        <a:lnSpc>
                          <a:spcPct val="100000"/>
                        </a:lnSpc>
                      </a:pPr>
                      <a:r>
                        <a:rPr sz="800">
                          <a:latin typeface="Verdana"/>
                          <a:cs typeface="Verdana"/>
                        </a:rPr>
                        <a:t>One Component development </a:t>
                      </a:r>
                      <a:r>
                        <a:rPr sz="800" spc="-5">
                          <a:latin typeface="Verdana"/>
                          <a:cs typeface="Verdana"/>
                        </a:rPr>
                        <a:t>(1 JS  </a:t>
                      </a:r>
                      <a:r>
                        <a:rPr sz="800">
                          <a:latin typeface="Verdana"/>
                          <a:cs typeface="Verdana"/>
                        </a:rPr>
                        <a:t>Controller, 1 Apex Controller(1 </a:t>
                      </a:r>
                      <a:r>
                        <a:rPr sz="800" spc="-5">
                          <a:latin typeface="Verdana"/>
                          <a:cs typeface="Verdana"/>
                        </a:rPr>
                        <a:t>method),  </a:t>
                      </a:r>
                      <a:r>
                        <a:rPr sz="800">
                          <a:latin typeface="Verdana"/>
                          <a:cs typeface="Verdana"/>
                        </a:rPr>
                        <a:t>1 UX design page, 1 Event</a:t>
                      </a:r>
                      <a:r>
                        <a:rPr sz="800" spc="-45">
                          <a:latin typeface="Verdana"/>
                          <a:cs typeface="Verdana"/>
                        </a:rPr>
                        <a:t> </a:t>
                      </a:r>
                      <a:r>
                        <a:rPr sz="800">
                          <a:latin typeface="Verdana"/>
                          <a:cs typeface="Verdana"/>
                        </a:rPr>
                        <a:t>Handler)</a:t>
                      </a:r>
                    </a:p>
                  </a:txBody>
                  <a:tcPr marL="0" marR="0" marT="63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5720" marR="182245">
                        <a:lnSpc>
                          <a:spcPct val="100000"/>
                        </a:lnSpc>
                        <a:spcBef>
                          <a:spcPts val="445"/>
                        </a:spcBef>
                      </a:pPr>
                      <a:r>
                        <a:rPr sz="800">
                          <a:latin typeface="Verdana"/>
                          <a:cs typeface="Verdana"/>
                        </a:rPr>
                        <a:t>One Component development </a:t>
                      </a:r>
                      <a:r>
                        <a:rPr sz="800" spc="-5">
                          <a:latin typeface="Verdana"/>
                          <a:cs typeface="Verdana"/>
                        </a:rPr>
                        <a:t>(1 JS  </a:t>
                      </a:r>
                      <a:r>
                        <a:rPr sz="800">
                          <a:latin typeface="Verdana"/>
                          <a:cs typeface="Verdana"/>
                        </a:rPr>
                        <a:t>Controller, 1 Apex Controller (5-10  methods), 1 UX design page, 5-10</a:t>
                      </a:r>
                      <a:r>
                        <a:rPr sz="800" spc="-90">
                          <a:latin typeface="Verdana"/>
                          <a:cs typeface="Verdana"/>
                        </a:rPr>
                        <a:t> </a:t>
                      </a:r>
                      <a:r>
                        <a:rPr sz="800">
                          <a:latin typeface="Verdana"/>
                          <a:cs typeface="Verdana"/>
                        </a:rPr>
                        <a:t>Event  Handler, 20-30 CSS</a:t>
                      </a:r>
                      <a:r>
                        <a:rPr sz="800" spc="-25">
                          <a:latin typeface="Verdana"/>
                          <a:cs typeface="Verdana"/>
                        </a:rPr>
                        <a:t> </a:t>
                      </a:r>
                      <a:r>
                        <a:rPr sz="800">
                          <a:latin typeface="Verdana"/>
                          <a:cs typeface="Verdana"/>
                        </a:rPr>
                        <a:t>style)</a:t>
                      </a:r>
                    </a:p>
                  </a:txBody>
                  <a:tcPr marL="0" marR="0" marT="565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6355" marR="116839">
                        <a:lnSpc>
                          <a:spcPct val="100000"/>
                        </a:lnSpc>
                        <a:spcBef>
                          <a:spcPts val="445"/>
                        </a:spcBef>
                      </a:pPr>
                      <a:r>
                        <a:rPr sz="800">
                          <a:latin typeface="Verdana"/>
                          <a:cs typeface="Verdana"/>
                        </a:rPr>
                        <a:t>One Component development </a:t>
                      </a:r>
                      <a:r>
                        <a:rPr sz="800" spc="-5">
                          <a:latin typeface="Verdana"/>
                          <a:cs typeface="Verdana"/>
                        </a:rPr>
                        <a:t>(1 JS  </a:t>
                      </a:r>
                      <a:r>
                        <a:rPr sz="800">
                          <a:latin typeface="Verdana"/>
                          <a:cs typeface="Verdana"/>
                        </a:rPr>
                        <a:t>Controller, 1 Apex Controller (10-15  methods), 1 UX design page, 10-15</a:t>
                      </a:r>
                      <a:r>
                        <a:rPr sz="800" spc="-105">
                          <a:latin typeface="Verdana"/>
                          <a:cs typeface="Verdana"/>
                        </a:rPr>
                        <a:t> </a:t>
                      </a:r>
                      <a:r>
                        <a:rPr sz="800">
                          <a:latin typeface="Verdana"/>
                          <a:cs typeface="Verdana"/>
                        </a:rPr>
                        <a:t>Event  Handler, 20-30 CSS</a:t>
                      </a:r>
                      <a:r>
                        <a:rPr sz="800" spc="-25">
                          <a:latin typeface="Verdana"/>
                          <a:cs typeface="Verdana"/>
                        </a:rPr>
                        <a:t> </a:t>
                      </a:r>
                      <a:r>
                        <a:rPr sz="800">
                          <a:latin typeface="Verdana"/>
                          <a:cs typeface="Verdana"/>
                        </a:rPr>
                        <a:t>style)</a:t>
                      </a:r>
                    </a:p>
                  </a:txBody>
                  <a:tcPr marL="0" marR="0" marT="565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tc>
                  <a:txBody>
                    <a:bodyPr/>
                    <a:lstStyle/>
                    <a:p>
                      <a:pPr marL="46990" marR="210185">
                        <a:lnSpc>
                          <a:spcPct val="100000"/>
                        </a:lnSpc>
                        <a:spcBef>
                          <a:spcPts val="445"/>
                        </a:spcBef>
                      </a:pPr>
                      <a:r>
                        <a:rPr sz="800">
                          <a:latin typeface="Verdana"/>
                          <a:cs typeface="Verdana"/>
                        </a:rPr>
                        <a:t>One Component development </a:t>
                      </a:r>
                      <a:r>
                        <a:rPr sz="800" spc="-5">
                          <a:latin typeface="Verdana"/>
                          <a:cs typeface="Verdana"/>
                        </a:rPr>
                        <a:t>(1 JS  </a:t>
                      </a:r>
                      <a:r>
                        <a:rPr sz="800">
                          <a:latin typeface="Verdana"/>
                          <a:cs typeface="Verdana"/>
                        </a:rPr>
                        <a:t>Controller, 1 Apex Controller (15+  methods), 1 UX design page, 15+</a:t>
                      </a:r>
                      <a:r>
                        <a:rPr sz="800" spc="-105">
                          <a:latin typeface="Verdana"/>
                          <a:cs typeface="Verdana"/>
                        </a:rPr>
                        <a:t> </a:t>
                      </a:r>
                      <a:r>
                        <a:rPr sz="800">
                          <a:latin typeface="Verdana"/>
                          <a:cs typeface="Verdana"/>
                        </a:rPr>
                        <a:t>Event  Handler, 20-30 CSS</a:t>
                      </a:r>
                      <a:r>
                        <a:rPr sz="800" spc="-30">
                          <a:latin typeface="Verdana"/>
                          <a:cs typeface="Verdana"/>
                        </a:rPr>
                        <a:t> </a:t>
                      </a:r>
                      <a:r>
                        <a:rPr sz="800">
                          <a:latin typeface="Verdana"/>
                          <a:cs typeface="Verdana"/>
                        </a:rPr>
                        <a:t>style)</a:t>
                      </a:r>
                    </a:p>
                  </a:txBody>
                  <a:tcPr marL="0" marR="0" marT="565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F1F1F1"/>
                    </a:solidFill>
                  </a:tcPr>
                </a:tc>
                <a:extLst>
                  <a:ext uri="{0D108BD9-81ED-4DB2-BD59-A6C34878D82A}">
                    <a16:rowId xmlns:a16="http://schemas.microsoft.com/office/drawing/2014/main" val="10008"/>
                  </a:ext>
                </a:extLst>
              </a:tr>
              <a:tr h="597408">
                <a:tc>
                  <a:txBody>
                    <a:bodyPr/>
                    <a:lstStyle/>
                    <a:p>
                      <a:pPr marL="45720" marR="466090">
                        <a:lnSpc>
                          <a:spcPct val="100000"/>
                        </a:lnSpc>
                        <a:spcBef>
                          <a:spcPts val="434"/>
                        </a:spcBef>
                      </a:pPr>
                      <a:r>
                        <a:rPr sz="800" spc="-5">
                          <a:latin typeface="Verdana"/>
                          <a:cs typeface="Verdana"/>
                        </a:rPr>
                        <a:t>Lightning </a:t>
                      </a:r>
                      <a:r>
                        <a:rPr sz="800">
                          <a:latin typeface="Verdana"/>
                          <a:cs typeface="Verdana"/>
                        </a:rPr>
                        <a:t>Experience Config  (Process Builder, </a:t>
                      </a:r>
                      <a:r>
                        <a:rPr sz="800" spc="-5">
                          <a:latin typeface="Verdana"/>
                          <a:cs typeface="Verdana"/>
                        </a:rPr>
                        <a:t>Lightning</a:t>
                      </a:r>
                      <a:r>
                        <a:rPr sz="800" spc="-35">
                          <a:latin typeface="Verdana"/>
                          <a:cs typeface="Verdana"/>
                        </a:rPr>
                        <a:t> </a:t>
                      </a:r>
                      <a:r>
                        <a:rPr sz="800">
                          <a:latin typeface="Verdana"/>
                          <a:cs typeface="Verdana"/>
                        </a:rPr>
                        <a:t>Actions,</a:t>
                      </a:r>
                    </a:p>
                    <a:p>
                      <a:pPr marL="45720" marR="266065">
                        <a:lnSpc>
                          <a:spcPct val="100000"/>
                        </a:lnSpc>
                      </a:pPr>
                      <a:r>
                        <a:rPr sz="800" spc="-5">
                          <a:latin typeface="Verdana"/>
                          <a:cs typeface="Verdana"/>
                        </a:rPr>
                        <a:t>Lightning </a:t>
                      </a:r>
                      <a:r>
                        <a:rPr sz="800">
                          <a:latin typeface="Verdana"/>
                          <a:cs typeface="Verdana"/>
                        </a:rPr>
                        <a:t>App Builder, </a:t>
                      </a:r>
                      <a:r>
                        <a:rPr sz="800" spc="-5">
                          <a:latin typeface="Verdana"/>
                          <a:cs typeface="Verdana"/>
                        </a:rPr>
                        <a:t>Lightning </a:t>
                      </a:r>
                      <a:r>
                        <a:rPr sz="800">
                          <a:latin typeface="Verdana"/>
                          <a:cs typeface="Verdana"/>
                        </a:rPr>
                        <a:t>record  pages)</a:t>
                      </a:r>
                    </a:p>
                  </a:txBody>
                  <a:tcPr marL="0" marR="0" marT="55244"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a:lnSpc>
                          <a:spcPct val="100000"/>
                        </a:lnSpc>
                        <a:spcBef>
                          <a:spcPts val="5"/>
                        </a:spcBef>
                      </a:pPr>
                      <a:endParaRPr sz="800">
                        <a:latin typeface="Times New Roman"/>
                        <a:cs typeface="Times New Roman"/>
                      </a:endParaRPr>
                    </a:p>
                    <a:p>
                      <a:pPr marL="45720" marR="192405">
                        <a:lnSpc>
                          <a:spcPct val="100000"/>
                        </a:lnSpc>
                      </a:pPr>
                      <a:r>
                        <a:rPr sz="800">
                          <a:latin typeface="Verdana"/>
                          <a:cs typeface="Verdana"/>
                        </a:rPr>
                        <a:t>One Component development </a:t>
                      </a:r>
                      <a:r>
                        <a:rPr sz="800" spc="-5">
                          <a:latin typeface="Verdana"/>
                          <a:cs typeface="Verdana"/>
                        </a:rPr>
                        <a:t>(1 JS  </a:t>
                      </a:r>
                      <a:r>
                        <a:rPr sz="800">
                          <a:latin typeface="Verdana"/>
                          <a:cs typeface="Verdana"/>
                        </a:rPr>
                        <a:t>Controller, 1 Apex Controller(1 </a:t>
                      </a:r>
                      <a:r>
                        <a:rPr sz="800" spc="-5">
                          <a:latin typeface="Verdana"/>
                          <a:cs typeface="Verdana"/>
                        </a:rPr>
                        <a:t>method),  </a:t>
                      </a:r>
                      <a:r>
                        <a:rPr sz="800">
                          <a:latin typeface="Verdana"/>
                          <a:cs typeface="Verdana"/>
                        </a:rPr>
                        <a:t>1 UX design page, 1 Event</a:t>
                      </a:r>
                      <a:r>
                        <a:rPr sz="800" spc="-45">
                          <a:latin typeface="Verdana"/>
                          <a:cs typeface="Verdana"/>
                        </a:rPr>
                        <a:t> </a:t>
                      </a:r>
                      <a:r>
                        <a:rPr sz="800">
                          <a:latin typeface="Verdana"/>
                          <a:cs typeface="Verdana"/>
                        </a:rPr>
                        <a:t>Handler)</a:t>
                      </a:r>
                    </a:p>
                  </a:txBody>
                  <a:tcPr marL="0" marR="0" marT="63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5720" marR="182245">
                        <a:lnSpc>
                          <a:spcPct val="100000"/>
                        </a:lnSpc>
                        <a:spcBef>
                          <a:spcPts val="445"/>
                        </a:spcBef>
                      </a:pPr>
                      <a:r>
                        <a:rPr sz="800">
                          <a:latin typeface="Verdana"/>
                          <a:cs typeface="Verdana"/>
                        </a:rPr>
                        <a:t>One Component development </a:t>
                      </a:r>
                      <a:r>
                        <a:rPr sz="800" spc="-5">
                          <a:latin typeface="Verdana"/>
                          <a:cs typeface="Verdana"/>
                        </a:rPr>
                        <a:t>(1 JS  </a:t>
                      </a:r>
                      <a:r>
                        <a:rPr sz="800">
                          <a:latin typeface="Verdana"/>
                          <a:cs typeface="Verdana"/>
                        </a:rPr>
                        <a:t>Controller, 1 Apex Controller (5-10  methods), 1 UX design page, 5-10</a:t>
                      </a:r>
                      <a:r>
                        <a:rPr sz="800" spc="-90">
                          <a:latin typeface="Verdana"/>
                          <a:cs typeface="Verdana"/>
                        </a:rPr>
                        <a:t> </a:t>
                      </a:r>
                      <a:r>
                        <a:rPr sz="800">
                          <a:latin typeface="Verdana"/>
                          <a:cs typeface="Verdana"/>
                        </a:rPr>
                        <a:t>Event  Handler, 20-30 CSS</a:t>
                      </a:r>
                      <a:r>
                        <a:rPr sz="800" spc="-25">
                          <a:latin typeface="Verdana"/>
                          <a:cs typeface="Verdana"/>
                        </a:rPr>
                        <a:t> </a:t>
                      </a:r>
                      <a:r>
                        <a:rPr sz="800">
                          <a:latin typeface="Verdana"/>
                          <a:cs typeface="Verdana"/>
                        </a:rPr>
                        <a:t>style)</a:t>
                      </a:r>
                    </a:p>
                  </a:txBody>
                  <a:tcPr marL="0" marR="0" marT="565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6355" marR="116839">
                        <a:lnSpc>
                          <a:spcPct val="100000"/>
                        </a:lnSpc>
                        <a:spcBef>
                          <a:spcPts val="445"/>
                        </a:spcBef>
                      </a:pPr>
                      <a:r>
                        <a:rPr sz="800">
                          <a:latin typeface="Verdana"/>
                          <a:cs typeface="Verdana"/>
                        </a:rPr>
                        <a:t>One Component development </a:t>
                      </a:r>
                      <a:r>
                        <a:rPr sz="800" spc="-5">
                          <a:latin typeface="Verdana"/>
                          <a:cs typeface="Verdana"/>
                        </a:rPr>
                        <a:t>(1 JS  </a:t>
                      </a:r>
                      <a:r>
                        <a:rPr sz="800">
                          <a:latin typeface="Verdana"/>
                          <a:cs typeface="Verdana"/>
                        </a:rPr>
                        <a:t>Controller, 1 Apex Controller (10-15  methods), 1 UX design page, 10-15</a:t>
                      </a:r>
                      <a:r>
                        <a:rPr sz="800" spc="-105">
                          <a:latin typeface="Verdana"/>
                          <a:cs typeface="Verdana"/>
                        </a:rPr>
                        <a:t> </a:t>
                      </a:r>
                      <a:r>
                        <a:rPr sz="800">
                          <a:latin typeface="Verdana"/>
                          <a:cs typeface="Verdana"/>
                        </a:rPr>
                        <a:t>Event  Handler, 20-30 CSS</a:t>
                      </a:r>
                      <a:r>
                        <a:rPr sz="800" spc="-25">
                          <a:latin typeface="Verdana"/>
                          <a:cs typeface="Verdana"/>
                        </a:rPr>
                        <a:t> </a:t>
                      </a:r>
                      <a:r>
                        <a:rPr sz="800">
                          <a:latin typeface="Verdana"/>
                          <a:cs typeface="Verdana"/>
                        </a:rPr>
                        <a:t>style)</a:t>
                      </a:r>
                    </a:p>
                  </a:txBody>
                  <a:tcPr marL="0" marR="0" marT="565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tc>
                  <a:txBody>
                    <a:bodyPr/>
                    <a:lstStyle/>
                    <a:p>
                      <a:pPr marL="46990" marR="210185">
                        <a:lnSpc>
                          <a:spcPct val="100000"/>
                        </a:lnSpc>
                        <a:spcBef>
                          <a:spcPts val="445"/>
                        </a:spcBef>
                      </a:pPr>
                      <a:r>
                        <a:rPr sz="800">
                          <a:latin typeface="Verdana"/>
                          <a:cs typeface="Verdana"/>
                        </a:rPr>
                        <a:t>One Component development </a:t>
                      </a:r>
                      <a:r>
                        <a:rPr sz="800" spc="-5">
                          <a:latin typeface="Verdana"/>
                          <a:cs typeface="Verdana"/>
                        </a:rPr>
                        <a:t>(1 JS  </a:t>
                      </a:r>
                      <a:r>
                        <a:rPr sz="800">
                          <a:latin typeface="Verdana"/>
                          <a:cs typeface="Verdana"/>
                        </a:rPr>
                        <a:t>Controller, 1 Apex Controller (15+  methods), 1 UX design page, 15+</a:t>
                      </a:r>
                      <a:r>
                        <a:rPr sz="800" spc="-105">
                          <a:latin typeface="Verdana"/>
                          <a:cs typeface="Verdana"/>
                        </a:rPr>
                        <a:t> </a:t>
                      </a:r>
                      <a:r>
                        <a:rPr sz="800">
                          <a:latin typeface="Verdana"/>
                          <a:cs typeface="Verdana"/>
                        </a:rPr>
                        <a:t>Event  Handler, 20-30 CSS</a:t>
                      </a:r>
                      <a:r>
                        <a:rPr sz="800" spc="-30">
                          <a:latin typeface="Verdana"/>
                          <a:cs typeface="Verdana"/>
                        </a:rPr>
                        <a:t> </a:t>
                      </a:r>
                      <a:r>
                        <a:rPr sz="800">
                          <a:latin typeface="Verdana"/>
                          <a:cs typeface="Verdana"/>
                        </a:rPr>
                        <a:t>style)</a:t>
                      </a:r>
                    </a:p>
                  </a:txBody>
                  <a:tcPr marL="0" marR="0" marT="56515" marB="0">
                    <a:lnL w="9525">
                      <a:solidFill>
                        <a:srgbClr val="FFFFFF"/>
                      </a:solidFill>
                      <a:prstDash val="solid"/>
                    </a:lnL>
                    <a:lnR w="9525">
                      <a:solidFill>
                        <a:srgbClr val="FFFFFF"/>
                      </a:solidFill>
                      <a:prstDash val="solid"/>
                    </a:lnR>
                    <a:lnT w="9525">
                      <a:solidFill>
                        <a:srgbClr val="FFFFFF"/>
                      </a:solidFill>
                      <a:prstDash val="solid"/>
                    </a:lnT>
                    <a:lnB w="9525">
                      <a:solidFill>
                        <a:srgbClr val="FFFFFF"/>
                      </a:solidFill>
                      <a:prstDash val="solid"/>
                    </a:lnB>
                    <a:solidFill>
                      <a:srgbClr val="D3D3D3"/>
                    </a:solidFill>
                  </a:tcPr>
                </a:tc>
                <a:extLst>
                  <a:ext uri="{0D108BD9-81ED-4DB2-BD59-A6C34878D82A}">
                    <a16:rowId xmlns:a16="http://schemas.microsoft.com/office/drawing/2014/main" val="10009"/>
                  </a:ext>
                </a:extLst>
              </a:tr>
            </a:tbl>
          </a:graphicData>
        </a:graphic>
      </p:graphicFrame>
      <p:sp>
        <p:nvSpPr>
          <p:cNvPr id="5" name="object 5"/>
          <p:cNvSpPr txBox="1"/>
          <p:nvPr/>
        </p:nvSpPr>
        <p:spPr>
          <a:xfrm>
            <a:off x="211023" y="6369811"/>
            <a:ext cx="10927715" cy="147955"/>
          </a:xfrm>
          <a:prstGeom prst="rect">
            <a:avLst/>
          </a:prstGeom>
        </p:spPr>
        <p:txBody>
          <a:bodyPr vert="horz" wrap="square" lIns="0" tIns="12700" rIns="0" bIns="0" rtlCol="0">
            <a:spAutoFit/>
          </a:bodyPr>
          <a:lstStyle/>
          <a:p>
            <a:pPr marL="12700">
              <a:lnSpc>
                <a:spcPct val="100000"/>
              </a:lnSpc>
              <a:spcBef>
                <a:spcPts val="100"/>
              </a:spcBef>
            </a:pPr>
            <a:r>
              <a:rPr sz="800">
                <a:latin typeface="Verdana"/>
                <a:cs typeface="Verdana"/>
              </a:rPr>
              <a:t>Note: </a:t>
            </a:r>
            <a:r>
              <a:rPr sz="800" spc="-5">
                <a:latin typeface="Verdana"/>
                <a:cs typeface="Verdana"/>
              </a:rPr>
              <a:t>Quantities </a:t>
            </a:r>
            <a:r>
              <a:rPr sz="800">
                <a:latin typeface="Verdana"/>
                <a:cs typeface="Verdana"/>
              </a:rPr>
              <a:t>specified are </a:t>
            </a:r>
            <a:r>
              <a:rPr sz="800" spc="-5">
                <a:latin typeface="Verdana"/>
                <a:cs typeface="Verdana"/>
              </a:rPr>
              <a:t>counts and </a:t>
            </a:r>
            <a:r>
              <a:rPr sz="800">
                <a:latin typeface="Verdana"/>
                <a:cs typeface="Verdana"/>
              </a:rPr>
              <a:t>not components. Interface: Batch Interface involves one </a:t>
            </a:r>
            <a:r>
              <a:rPr sz="800" spc="-5">
                <a:latin typeface="Verdana"/>
                <a:cs typeface="Verdana"/>
              </a:rPr>
              <a:t>integration and/or </a:t>
            </a:r>
            <a:r>
              <a:rPr sz="800">
                <a:latin typeface="Verdana"/>
                <a:cs typeface="Verdana"/>
              </a:rPr>
              <a:t>APEX Classes. </a:t>
            </a:r>
            <a:r>
              <a:rPr sz="800" spc="-5">
                <a:latin typeface="Verdana"/>
                <a:cs typeface="Verdana"/>
              </a:rPr>
              <a:t>Estimation </a:t>
            </a:r>
            <a:r>
              <a:rPr sz="800">
                <a:latin typeface="Verdana"/>
                <a:cs typeface="Verdana"/>
              </a:rPr>
              <a:t>for APEX Classes needs </a:t>
            </a:r>
            <a:r>
              <a:rPr sz="800" spc="-5">
                <a:latin typeface="Verdana"/>
                <a:cs typeface="Verdana"/>
              </a:rPr>
              <a:t>to </a:t>
            </a:r>
            <a:r>
              <a:rPr sz="800">
                <a:latin typeface="Verdana"/>
                <a:cs typeface="Verdana"/>
              </a:rPr>
              <a:t>be </a:t>
            </a:r>
            <a:r>
              <a:rPr sz="800" spc="-5">
                <a:latin typeface="Verdana"/>
                <a:cs typeface="Verdana"/>
              </a:rPr>
              <a:t>included separately in</a:t>
            </a:r>
            <a:r>
              <a:rPr sz="800" spc="40">
                <a:latin typeface="Verdana"/>
                <a:cs typeface="Verdana"/>
              </a:rPr>
              <a:t> </a:t>
            </a:r>
            <a:r>
              <a:rPr sz="800" spc="-5">
                <a:latin typeface="Verdana"/>
                <a:cs typeface="Verdana"/>
              </a:rPr>
              <a:t>'Customization'</a:t>
            </a:r>
            <a:endParaRPr sz="800">
              <a:latin typeface="Verdana"/>
              <a:cs typeface="Verdan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rPr>
              <a:t>01</a:t>
            </a:r>
            <a:endParaRPr sz="4400"/>
          </a:p>
        </p:txBody>
      </p:sp>
      <p:sp>
        <p:nvSpPr>
          <p:cNvPr id="9" name="object 9"/>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2" name="object 12"/>
          <p:cNvSpPr/>
          <p:nvPr/>
        </p:nvSpPr>
        <p:spPr>
          <a:xfrm>
            <a:off x="461772" y="3704844"/>
            <a:ext cx="288290" cy="288290"/>
          </a:xfrm>
          <a:custGeom>
            <a:avLst/>
            <a:gdLst/>
            <a:ahLst/>
            <a:cxnLst/>
            <a:rect l="l" t="t" r="r" b="b"/>
            <a:pathLst>
              <a:path w="288290" h="288289">
                <a:moveTo>
                  <a:pt x="144018"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8"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8" y="0"/>
                </a:lnTo>
                <a:close/>
              </a:path>
            </a:pathLst>
          </a:custGeom>
          <a:solidFill>
            <a:srgbClr val="FFFFFF"/>
          </a:solidFill>
        </p:spPr>
        <p:txBody>
          <a:bodyPr wrap="square" lIns="0" tIns="0" rIns="0" bIns="0" rtlCol="0"/>
          <a:lstStyle/>
          <a:p>
            <a:endParaRPr/>
          </a:p>
        </p:txBody>
      </p:sp>
      <p:sp>
        <p:nvSpPr>
          <p:cNvPr id="13" name="object 13"/>
          <p:cNvSpPr/>
          <p:nvPr/>
        </p:nvSpPr>
        <p:spPr>
          <a:xfrm>
            <a:off x="521208" y="3773423"/>
            <a:ext cx="169164" cy="152400"/>
          </a:xfrm>
          <a:prstGeom prst="rect">
            <a:avLst/>
          </a:prstGeom>
          <a:blipFill>
            <a:blip r:embed="rId3" cstate="print"/>
            <a:stretch>
              <a:fillRect/>
            </a:stretch>
          </a:blipFill>
        </p:spPr>
        <p:txBody>
          <a:bodyPr wrap="square" lIns="0" tIns="0" rIns="0" bIns="0" rtlCol="0"/>
          <a:lstStyle/>
          <a:p>
            <a:endParaRPr/>
          </a:p>
        </p:txBody>
      </p:sp>
      <p:sp>
        <p:nvSpPr>
          <p:cNvPr id="14" name="object 14"/>
          <p:cNvSpPr txBox="1"/>
          <p:nvPr/>
        </p:nvSpPr>
        <p:spPr>
          <a:xfrm>
            <a:off x="540207" y="2902153"/>
            <a:ext cx="3817620" cy="1167627"/>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Executive</a:t>
            </a:r>
            <a:r>
              <a:rPr sz="2000" b="1" spc="-45">
                <a:solidFill>
                  <a:srgbClr val="FFFFFF"/>
                </a:solidFill>
                <a:latin typeface="Verdana"/>
                <a:cs typeface="Verdana"/>
              </a:rPr>
              <a:t> </a:t>
            </a:r>
            <a:r>
              <a:rPr sz="2000" b="1">
                <a:solidFill>
                  <a:srgbClr val="FFFFFF"/>
                </a:solidFill>
                <a:latin typeface="Verdana"/>
                <a:cs typeface="Verdana"/>
              </a:rPr>
              <a:t>Summary</a:t>
            </a:r>
            <a:endParaRPr sz="2000">
              <a:latin typeface="Verdana"/>
              <a:cs typeface="Verdana"/>
            </a:endParaRPr>
          </a:p>
          <a:p>
            <a:pPr>
              <a:lnSpc>
                <a:spcPct val="100000"/>
              </a:lnSpc>
              <a:spcBef>
                <a:spcPts val="15"/>
              </a:spcBef>
            </a:pPr>
            <a:endParaRPr sz="3000">
              <a:latin typeface="Times New Roman"/>
              <a:cs typeface="Times New Roman"/>
            </a:endParaRPr>
          </a:p>
          <a:p>
            <a:pPr marL="321945" marR="5080">
              <a:lnSpc>
                <a:spcPts val="1510"/>
              </a:lnSpc>
            </a:pPr>
            <a:r>
              <a:rPr sz="1400" b="1" spc="-5">
                <a:solidFill>
                  <a:srgbClr val="FFFFFF"/>
                </a:solidFill>
                <a:latin typeface="Verdana"/>
                <a:cs typeface="Verdana"/>
              </a:rPr>
              <a:t>Capgemini’s </a:t>
            </a:r>
            <a:r>
              <a:rPr sz="1400" b="1">
                <a:solidFill>
                  <a:srgbClr val="FFFFFF"/>
                </a:solidFill>
                <a:latin typeface="Verdana"/>
                <a:cs typeface="Verdana"/>
              </a:rPr>
              <a:t>view </a:t>
            </a:r>
            <a:r>
              <a:rPr sz="1400" b="1" spc="-5">
                <a:solidFill>
                  <a:srgbClr val="FFFFFF"/>
                </a:solidFill>
                <a:latin typeface="Verdana"/>
                <a:cs typeface="Verdana"/>
              </a:rPr>
              <a:t>of the Salesforce </a:t>
            </a:r>
            <a:r>
              <a:rPr sz="1400" b="1" spc="-25">
                <a:solidFill>
                  <a:srgbClr val="FFFFFF"/>
                </a:solidFill>
                <a:latin typeface="Verdana"/>
                <a:cs typeface="Verdana"/>
              </a:rPr>
              <a:t> </a:t>
            </a:r>
            <a:r>
              <a:rPr sz="1400" b="1">
                <a:solidFill>
                  <a:srgbClr val="FFFFFF"/>
                </a:solidFill>
                <a:latin typeface="Verdana"/>
                <a:cs typeface="Verdana"/>
              </a:rPr>
              <a:t>Project</a:t>
            </a:r>
            <a:endParaRPr sz="1400">
              <a:latin typeface="Verdana"/>
              <a:cs typeface="Verdana"/>
            </a:endParaRPr>
          </a:p>
        </p:txBody>
      </p:sp>
      <p:sp>
        <p:nvSpPr>
          <p:cNvPr id="15" name="object 1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6" name="object 16"/>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6</a:t>
            </a:fld>
            <a:endParaRPr sz="800">
              <a:latin typeface="Verdana"/>
              <a:cs typeface="Verdana"/>
            </a:endParaRPr>
          </a:p>
        </p:txBody>
      </p:sp>
      <p:pic>
        <p:nvPicPr>
          <p:cNvPr id="17" name="Picture 16">
            <a:extLst>
              <a:ext uri="{FF2B5EF4-FFF2-40B4-BE49-F238E27FC236}">
                <a16:creationId xmlns:a16="http://schemas.microsoft.com/office/drawing/2014/main" id="{871F1FD5-A69C-43D5-BEA4-0C509C490D8C}"/>
              </a:ext>
            </a:extLst>
          </p:cNvPr>
          <p:cNvPicPr>
            <a:picLocks noChangeAspect="1"/>
          </p:cNvPicPr>
          <p:nvPr/>
        </p:nvPicPr>
        <p:blipFill>
          <a:blip r:embed="rId4"/>
          <a:stretch>
            <a:fillRect/>
          </a:stretch>
        </p:blipFill>
        <p:spPr>
          <a:xfrm>
            <a:off x="6182098" y="1638300"/>
            <a:ext cx="5085977" cy="2809876"/>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10783570" cy="422275"/>
          </a:xfrm>
          <a:prstGeom prst="rect">
            <a:avLst/>
          </a:prstGeom>
        </p:spPr>
        <p:txBody>
          <a:bodyPr vert="horz" wrap="square" lIns="0" tIns="12700" rIns="0" bIns="0" rtlCol="0">
            <a:spAutoFit/>
          </a:bodyPr>
          <a:lstStyle/>
          <a:p>
            <a:pPr marL="12700">
              <a:lnSpc>
                <a:spcPct val="100000"/>
              </a:lnSpc>
              <a:spcBef>
                <a:spcPts val="100"/>
              </a:spcBef>
            </a:pPr>
            <a:r>
              <a:rPr sz="2600"/>
              <a:t>Global Solution Adoption </a:t>
            </a:r>
            <a:r>
              <a:rPr sz="2600" spc="-5"/>
              <a:t>and </a:t>
            </a:r>
            <a:r>
              <a:rPr sz="2600"/>
              <a:t>Localization Minimization</a:t>
            </a:r>
            <a:r>
              <a:rPr sz="2600" spc="-135"/>
              <a:t> </a:t>
            </a:r>
            <a:r>
              <a:rPr sz="2600"/>
              <a:t>Approach</a:t>
            </a:r>
          </a:p>
        </p:txBody>
      </p:sp>
      <p:sp>
        <p:nvSpPr>
          <p:cNvPr id="3" name="object 3"/>
          <p:cNvSpPr/>
          <p:nvPr/>
        </p:nvSpPr>
        <p:spPr>
          <a:xfrm>
            <a:off x="2403348" y="2552700"/>
            <a:ext cx="192405" cy="327660"/>
          </a:xfrm>
          <a:custGeom>
            <a:avLst/>
            <a:gdLst/>
            <a:ahLst/>
            <a:cxnLst/>
            <a:rect l="l" t="t" r="r" b="b"/>
            <a:pathLst>
              <a:path w="192405" h="327660">
                <a:moveTo>
                  <a:pt x="96012" y="0"/>
                </a:moveTo>
                <a:lnTo>
                  <a:pt x="96012" y="81914"/>
                </a:lnTo>
                <a:lnTo>
                  <a:pt x="0" y="81914"/>
                </a:lnTo>
                <a:lnTo>
                  <a:pt x="0" y="245745"/>
                </a:lnTo>
                <a:lnTo>
                  <a:pt x="96012" y="245745"/>
                </a:lnTo>
                <a:lnTo>
                  <a:pt x="96012" y="327660"/>
                </a:lnTo>
                <a:lnTo>
                  <a:pt x="192024" y="163829"/>
                </a:lnTo>
                <a:lnTo>
                  <a:pt x="96012" y="0"/>
                </a:lnTo>
                <a:close/>
              </a:path>
            </a:pathLst>
          </a:custGeom>
          <a:solidFill>
            <a:srgbClr val="006FAC"/>
          </a:solidFill>
        </p:spPr>
        <p:txBody>
          <a:bodyPr wrap="square" lIns="0" tIns="0" rIns="0" bIns="0" rtlCol="0"/>
          <a:lstStyle/>
          <a:p>
            <a:endParaRPr/>
          </a:p>
        </p:txBody>
      </p:sp>
      <p:sp>
        <p:nvSpPr>
          <p:cNvPr id="4" name="object 4"/>
          <p:cNvSpPr/>
          <p:nvPr/>
        </p:nvSpPr>
        <p:spPr>
          <a:xfrm>
            <a:off x="4783835" y="2552700"/>
            <a:ext cx="193675" cy="327660"/>
          </a:xfrm>
          <a:custGeom>
            <a:avLst/>
            <a:gdLst/>
            <a:ahLst/>
            <a:cxnLst/>
            <a:rect l="l" t="t" r="r" b="b"/>
            <a:pathLst>
              <a:path w="193675" h="327660">
                <a:moveTo>
                  <a:pt x="96774" y="0"/>
                </a:moveTo>
                <a:lnTo>
                  <a:pt x="96774" y="81914"/>
                </a:lnTo>
                <a:lnTo>
                  <a:pt x="0" y="81914"/>
                </a:lnTo>
                <a:lnTo>
                  <a:pt x="0" y="245745"/>
                </a:lnTo>
                <a:lnTo>
                  <a:pt x="96774" y="245745"/>
                </a:lnTo>
                <a:lnTo>
                  <a:pt x="96774" y="327660"/>
                </a:lnTo>
                <a:lnTo>
                  <a:pt x="193548" y="163829"/>
                </a:lnTo>
                <a:lnTo>
                  <a:pt x="96774" y="0"/>
                </a:lnTo>
                <a:close/>
              </a:path>
            </a:pathLst>
          </a:custGeom>
          <a:solidFill>
            <a:srgbClr val="006FAC"/>
          </a:solidFill>
        </p:spPr>
        <p:txBody>
          <a:bodyPr wrap="square" lIns="0" tIns="0" rIns="0" bIns="0" rtlCol="0"/>
          <a:lstStyle/>
          <a:p>
            <a:endParaRPr/>
          </a:p>
        </p:txBody>
      </p:sp>
      <p:sp>
        <p:nvSpPr>
          <p:cNvPr id="5" name="object 5"/>
          <p:cNvSpPr/>
          <p:nvPr/>
        </p:nvSpPr>
        <p:spPr>
          <a:xfrm>
            <a:off x="7165847" y="2552700"/>
            <a:ext cx="193675" cy="327660"/>
          </a:xfrm>
          <a:custGeom>
            <a:avLst/>
            <a:gdLst/>
            <a:ahLst/>
            <a:cxnLst/>
            <a:rect l="l" t="t" r="r" b="b"/>
            <a:pathLst>
              <a:path w="193675" h="327660">
                <a:moveTo>
                  <a:pt x="96774" y="0"/>
                </a:moveTo>
                <a:lnTo>
                  <a:pt x="96774" y="81914"/>
                </a:lnTo>
                <a:lnTo>
                  <a:pt x="0" y="81914"/>
                </a:lnTo>
                <a:lnTo>
                  <a:pt x="0" y="245745"/>
                </a:lnTo>
                <a:lnTo>
                  <a:pt x="96774" y="245745"/>
                </a:lnTo>
                <a:lnTo>
                  <a:pt x="96774" y="327660"/>
                </a:lnTo>
                <a:lnTo>
                  <a:pt x="193548" y="163829"/>
                </a:lnTo>
                <a:lnTo>
                  <a:pt x="96774" y="0"/>
                </a:lnTo>
                <a:close/>
              </a:path>
            </a:pathLst>
          </a:custGeom>
          <a:solidFill>
            <a:srgbClr val="006FAC"/>
          </a:solidFill>
        </p:spPr>
        <p:txBody>
          <a:bodyPr wrap="square" lIns="0" tIns="0" rIns="0" bIns="0" rtlCol="0"/>
          <a:lstStyle/>
          <a:p>
            <a:endParaRPr/>
          </a:p>
        </p:txBody>
      </p:sp>
      <p:sp>
        <p:nvSpPr>
          <p:cNvPr id="6" name="object 6"/>
          <p:cNvSpPr/>
          <p:nvPr/>
        </p:nvSpPr>
        <p:spPr>
          <a:xfrm>
            <a:off x="9546335" y="2552700"/>
            <a:ext cx="193675" cy="327660"/>
          </a:xfrm>
          <a:custGeom>
            <a:avLst/>
            <a:gdLst/>
            <a:ahLst/>
            <a:cxnLst/>
            <a:rect l="l" t="t" r="r" b="b"/>
            <a:pathLst>
              <a:path w="193675" h="327660">
                <a:moveTo>
                  <a:pt x="96774" y="0"/>
                </a:moveTo>
                <a:lnTo>
                  <a:pt x="96774" y="81914"/>
                </a:lnTo>
                <a:lnTo>
                  <a:pt x="0" y="81914"/>
                </a:lnTo>
                <a:lnTo>
                  <a:pt x="0" y="245745"/>
                </a:lnTo>
                <a:lnTo>
                  <a:pt x="96774" y="245745"/>
                </a:lnTo>
                <a:lnTo>
                  <a:pt x="96774" y="327660"/>
                </a:lnTo>
                <a:lnTo>
                  <a:pt x="193548" y="163829"/>
                </a:lnTo>
                <a:lnTo>
                  <a:pt x="96774" y="0"/>
                </a:lnTo>
                <a:close/>
              </a:path>
            </a:pathLst>
          </a:custGeom>
          <a:solidFill>
            <a:srgbClr val="006FAC"/>
          </a:solidFill>
        </p:spPr>
        <p:txBody>
          <a:bodyPr wrap="square" lIns="0" tIns="0" rIns="0" bIns="0" rtlCol="0"/>
          <a:lstStyle/>
          <a:p>
            <a:endParaRPr/>
          </a:p>
        </p:txBody>
      </p:sp>
      <p:sp>
        <p:nvSpPr>
          <p:cNvPr id="7" name="object 7"/>
          <p:cNvSpPr txBox="1"/>
          <p:nvPr/>
        </p:nvSpPr>
        <p:spPr>
          <a:xfrm>
            <a:off x="227075" y="1056132"/>
            <a:ext cx="11689080" cy="462280"/>
          </a:xfrm>
          <a:prstGeom prst="rect">
            <a:avLst/>
          </a:prstGeom>
          <a:solidFill>
            <a:srgbClr val="421F5D"/>
          </a:solidFill>
        </p:spPr>
        <p:txBody>
          <a:bodyPr vert="horz" wrap="square" lIns="0" tIns="45085" rIns="0" bIns="0" rtlCol="0">
            <a:spAutoFit/>
          </a:bodyPr>
          <a:lstStyle/>
          <a:p>
            <a:pPr marL="91440" marR="495300">
              <a:lnSpc>
                <a:spcPct val="100000"/>
              </a:lnSpc>
              <a:spcBef>
                <a:spcPts val="355"/>
              </a:spcBef>
            </a:pPr>
            <a:r>
              <a:rPr sz="1200" i="1">
                <a:solidFill>
                  <a:srgbClr val="FFFFFF"/>
                </a:solidFill>
                <a:latin typeface="Verdana"/>
                <a:cs typeface="Verdana"/>
              </a:rPr>
              <a:t>In order </a:t>
            </a:r>
            <a:r>
              <a:rPr sz="1200" i="1" spc="-5">
                <a:solidFill>
                  <a:srgbClr val="FFFFFF"/>
                </a:solidFill>
                <a:latin typeface="Verdana"/>
                <a:cs typeface="Verdana"/>
              </a:rPr>
              <a:t>to successfully and in timely </a:t>
            </a:r>
            <a:r>
              <a:rPr sz="1200" i="1">
                <a:solidFill>
                  <a:srgbClr val="FFFFFF"/>
                </a:solidFill>
                <a:latin typeface="Verdana"/>
                <a:cs typeface="Verdana"/>
              </a:rPr>
              <a:t>come </a:t>
            </a:r>
            <a:r>
              <a:rPr sz="1200" i="1" spc="-5">
                <a:solidFill>
                  <a:srgbClr val="FFFFFF"/>
                </a:solidFill>
                <a:latin typeface="Verdana"/>
                <a:cs typeface="Verdana"/>
              </a:rPr>
              <a:t>to </a:t>
            </a:r>
            <a:r>
              <a:rPr sz="1200" i="1">
                <a:solidFill>
                  <a:srgbClr val="FFFFFF"/>
                </a:solidFill>
                <a:latin typeface="Verdana"/>
                <a:cs typeface="Verdana"/>
              </a:rPr>
              <a:t>an </a:t>
            </a:r>
            <a:r>
              <a:rPr sz="1200" i="1" spc="-5">
                <a:solidFill>
                  <a:srgbClr val="FFFFFF"/>
                </a:solidFill>
                <a:latin typeface="Verdana"/>
                <a:cs typeface="Verdana"/>
              </a:rPr>
              <a:t>agreement in case </a:t>
            </a:r>
            <a:r>
              <a:rPr sz="1200" i="1">
                <a:solidFill>
                  <a:srgbClr val="FFFFFF"/>
                </a:solidFill>
                <a:latin typeface="Verdana"/>
                <a:cs typeface="Verdana"/>
              </a:rPr>
              <a:t>of </a:t>
            </a:r>
            <a:r>
              <a:rPr sz="1200" i="1" spc="-5">
                <a:solidFill>
                  <a:srgbClr val="FFFFFF"/>
                </a:solidFill>
                <a:latin typeface="Verdana"/>
                <a:cs typeface="Verdana"/>
              </a:rPr>
              <a:t>non-standard solutions, excessive localizations </a:t>
            </a:r>
            <a:r>
              <a:rPr sz="1200" i="1">
                <a:solidFill>
                  <a:srgbClr val="FFFFFF"/>
                </a:solidFill>
                <a:latin typeface="Verdana"/>
                <a:cs typeface="Verdana"/>
              </a:rPr>
              <a:t>or scope </a:t>
            </a:r>
            <a:r>
              <a:rPr sz="1200" i="1" spc="-5">
                <a:solidFill>
                  <a:srgbClr val="FFFFFF"/>
                </a:solidFill>
                <a:latin typeface="Verdana"/>
                <a:cs typeface="Verdana"/>
              </a:rPr>
              <a:t>changes (Items)  during rollouts, Capgemini suggests </a:t>
            </a:r>
            <a:r>
              <a:rPr sz="1200" i="1">
                <a:solidFill>
                  <a:srgbClr val="FFFFFF"/>
                </a:solidFill>
                <a:latin typeface="Verdana"/>
                <a:cs typeface="Verdana"/>
              </a:rPr>
              <a:t>a </a:t>
            </a:r>
            <a:r>
              <a:rPr sz="1200" i="1" spc="-5">
                <a:solidFill>
                  <a:srgbClr val="FFFFFF"/>
                </a:solidFill>
                <a:latin typeface="Verdana"/>
                <a:cs typeface="Verdana"/>
              </a:rPr>
              <a:t>strong and tight approach to analyse and address</a:t>
            </a:r>
            <a:r>
              <a:rPr sz="1200" i="1" spc="215">
                <a:solidFill>
                  <a:srgbClr val="FFFFFF"/>
                </a:solidFill>
                <a:latin typeface="Verdana"/>
                <a:cs typeface="Verdana"/>
              </a:rPr>
              <a:t> </a:t>
            </a:r>
            <a:r>
              <a:rPr sz="1200" i="1" spc="-5">
                <a:solidFill>
                  <a:srgbClr val="FFFFFF"/>
                </a:solidFill>
                <a:latin typeface="Verdana"/>
                <a:cs typeface="Verdana"/>
              </a:rPr>
              <a:t>them</a:t>
            </a:r>
            <a:endParaRPr sz="1200">
              <a:latin typeface="Verdana"/>
              <a:cs typeface="Verdana"/>
            </a:endParaRPr>
          </a:p>
        </p:txBody>
      </p:sp>
      <p:sp>
        <p:nvSpPr>
          <p:cNvPr id="8" name="object 8"/>
          <p:cNvSpPr/>
          <p:nvPr/>
        </p:nvSpPr>
        <p:spPr>
          <a:xfrm>
            <a:off x="245363" y="1615439"/>
            <a:ext cx="2174748" cy="2295144"/>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304800" y="1670304"/>
            <a:ext cx="2068068" cy="2141220"/>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227075" y="1592580"/>
            <a:ext cx="2162810" cy="2283460"/>
          </a:xfrm>
          <a:custGeom>
            <a:avLst/>
            <a:gdLst/>
            <a:ahLst/>
            <a:cxnLst/>
            <a:rect l="l" t="t" r="r" b="b"/>
            <a:pathLst>
              <a:path w="2162810" h="2283460">
                <a:moveTo>
                  <a:pt x="2162556" y="0"/>
                </a:moveTo>
                <a:lnTo>
                  <a:pt x="159575" y="0"/>
                </a:lnTo>
                <a:lnTo>
                  <a:pt x="109139" y="8140"/>
                </a:lnTo>
                <a:lnTo>
                  <a:pt x="65334" y="30801"/>
                </a:lnTo>
                <a:lnTo>
                  <a:pt x="30790" y="65343"/>
                </a:lnTo>
                <a:lnTo>
                  <a:pt x="8135" y="109126"/>
                </a:lnTo>
                <a:lnTo>
                  <a:pt x="0" y="159512"/>
                </a:lnTo>
                <a:lnTo>
                  <a:pt x="0" y="2282952"/>
                </a:lnTo>
                <a:lnTo>
                  <a:pt x="2003044" y="2282952"/>
                </a:lnTo>
                <a:lnTo>
                  <a:pt x="2053429" y="2274811"/>
                </a:lnTo>
                <a:lnTo>
                  <a:pt x="2097212" y="2252150"/>
                </a:lnTo>
                <a:lnTo>
                  <a:pt x="2131754" y="2217608"/>
                </a:lnTo>
                <a:lnTo>
                  <a:pt x="2154415" y="2173825"/>
                </a:lnTo>
                <a:lnTo>
                  <a:pt x="2162556" y="2123440"/>
                </a:lnTo>
                <a:lnTo>
                  <a:pt x="2162556" y="0"/>
                </a:lnTo>
                <a:close/>
              </a:path>
            </a:pathLst>
          </a:custGeom>
          <a:solidFill>
            <a:srgbClr val="FFFFFF"/>
          </a:solidFill>
        </p:spPr>
        <p:txBody>
          <a:bodyPr wrap="square" lIns="0" tIns="0" rIns="0" bIns="0" rtlCol="0"/>
          <a:lstStyle/>
          <a:p>
            <a:endParaRPr/>
          </a:p>
        </p:txBody>
      </p:sp>
      <p:sp>
        <p:nvSpPr>
          <p:cNvPr id="11" name="object 11"/>
          <p:cNvSpPr/>
          <p:nvPr/>
        </p:nvSpPr>
        <p:spPr>
          <a:xfrm>
            <a:off x="227075" y="1592580"/>
            <a:ext cx="2162810" cy="2283460"/>
          </a:xfrm>
          <a:custGeom>
            <a:avLst/>
            <a:gdLst/>
            <a:ahLst/>
            <a:cxnLst/>
            <a:rect l="l" t="t" r="r" b="b"/>
            <a:pathLst>
              <a:path w="2162810" h="2283460">
                <a:moveTo>
                  <a:pt x="159575" y="0"/>
                </a:moveTo>
                <a:lnTo>
                  <a:pt x="2162556" y="0"/>
                </a:lnTo>
                <a:lnTo>
                  <a:pt x="2162556" y="2123440"/>
                </a:lnTo>
                <a:lnTo>
                  <a:pt x="2154415" y="2173825"/>
                </a:lnTo>
                <a:lnTo>
                  <a:pt x="2131754" y="2217608"/>
                </a:lnTo>
                <a:lnTo>
                  <a:pt x="2097212" y="2252150"/>
                </a:lnTo>
                <a:lnTo>
                  <a:pt x="2053429" y="2274811"/>
                </a:lnTo>
                <a:lnTo>
                  <a:pt x="2003044" y="2282952"/>
                </a:lnTo>
                <a:lnTo>
                  <a:pt x="0" y="2282952"/>
                </a:lnTo>
                <a:lnTo>
                  <a:pt x="0" y="159512"/>
                </a:lnTo>
                <a:lnTo>
                  <a:pt x="8135" y="109126"/>
                </a:lnTo>
                <a:lnTo>
                  <a:pt x="30790" y="65343"/>
                </a:lnTo>
                <a:lnTo>
                  <a:pt x="65334" y="30801"/>
                </a:lnTo>
                <a:lnTo>
                  <a:pt x="109139" y="8140"/>
                </a:lnTo>
                <a:lnTo>
                  <a:pt x="159575" y="0"/>
                </a:lnTo>
                <a:close/>
              </a:path>
            </a:pathLst>
          </a:custGeom>
          <a:ln w="9144">
            <a:solidFill>
              <a:srgbClr val="006FAC"/>
            </a:solidFill>
          </a:ln>
        </p:spPr>
        <p:txBody>
          <a:bodyPr wrap="square" lIns="0" tIns="0" rIns="0" bIns="0" rtlCol="0"/>
          <a:lstStyle/>
          <a:p>
            <a:endParaRPr/>
          </a:p>
        </p:txBody>
      </p:sp>
      <p:sp>
        <p:nvSpPr>
          <p:cNvPr id="12" name="object 12"/>
          <p:cNvSpPr txBox="1"/>
          <p:nvPr/>
        </p:nvSpPr>
        <p:spPr>
          <a:xfrm>
            <a:off x="352755" y="1671320"/>
            <a:ext cx="1874520" cy="2038350"/>
          </a:xfrm>
          <a:prstGeom prst="rect">
            <a:avLst/>
          </a:prstGeom>
        </p:spPr>
        <p:txBody>
          <a:bodyPr vert="horz" wrap="square" lIns="0" tIns="13335" rIns="0" bIns="0" rtlCol="0">
            <a:spAutoFit/>
          </a:bodyPr>
          <a:lstStyle/>
          <a:p>
            <a:pPr marL="12700" marR="64135">
              <a:lnSpc>
                <a:spcPct val="100000"/>
              </a:lnSpc>
              <a:spcBef>
                <a:spcPts val="105"/>
              </a:spcBef>
            </a:pPr>
            <a:r>
              <a:rPr sz="1100" spc="-5">
                <a:latin typeface="Verdana"/>
                <a:cs typeface="Verdana"/>
              </a:rPr>
              <a:t>Each </a:t>
            </a:r>
            <a:r>
              <a:rPr sz="1100">
                <a:latin typeface="Verdana"/>
                <a:cs typeface="Verdana"/>
              </a:rPr>
              <a:t>Item </a:t>
            </a:r>
            <a:r>
              <a:rPr sz="1100" spc="-5">
                <a:latin typeface="Verdana"/>
                <a:cs typeface="Verdana"/>
              </a:rPr>
              <a:t>deviating from  Global Solution </a:t>
            </a:r>
            <a:r>
              <a:rPr sz="1100" spc="-10">
                <a:latin typeface="Verdana"/>
                <a:cs typeface="Verdana"/>
              </a:rPr>
              <a:t>will </a:t>
            </a:r>
            <a:r>
              <a:rPr sz="1100" spc="-5">
                <a:latin typeface="Verdana"/>
                <a:cs typeface="Verdana"/>
              </a:rPr>
              <a:t>be  evaluated with the  following </a:t>
            </a:r>
            <a:r>
              <a:rPr sz="1100">
                <a:latin typeface="Verdana"/>
                <a:cs typeface="Verdana"/>
              </a:rPr>
              <a:t>process </a:t>
            </a:r>
            <a:r>
              <a:rPr sz="1100" spc="-5">
                <a:latin typeface="Verdana"/>
                <a:cs typeface="Verdana"/>
              </a:rPr>
              <a:t>to  address</a:t>
            </a:r>
            <a:r>
              <a:rPr sz="1100" spc="5">
                <a:latin typeface="Verdana"/>
                <a:cs typeface="Verdana"/>
              </a:rPr>
              <a:t> </a:t>
            </a:r>
            <a:r>
              <a:rPr sz="1100">
                <a:latin typeface="Verdana"/>
                <a:cs typeface="Verdana"/>
              </a:rPr>
              <a:t>:</a:t>
            </a:r>
          </a:p>
          <a:p>
            <a:pPr marL="184785" indent="-172720">
              <a:lnSpc>
                <a:spcPct val="100000"/>
              </a:lnSpc>
              <a:buClr>
                <a:srgbClr val="006FAC"/>
              </a:buClr>
              <a:buFont typeface="Wingdings"/>
              <a:buChar char=""/>
              <a:tabLst>
                <a:tab pos="185420" algn="l"/>
              </a:tabLst>
            </a:pPr>
            <a:r>
              <a:rPr sz="1100" spc="-5">
                <a:latin typeface="Verdana"/>
                <a:cs typeface="Verdana"/>
              </a:rPr>
              <a:t>Technical</a:t>
            </a:r>
            <a:r>
              <a:rPr sz="1100" spc="-20">
                <a:latin typeface="Verdana"/>
                <a:cs typeface="Verdana"/>
              </a:rPr>
              <a:t> </a:t>
            </a:r>
            <a:r>
              <a:rPr sz="1100" spc="-5">
                <a:latin typeface="Verdana"/>
                <a:cs typeface="Verdana"/>
              </a:rPr>
              <a:t>feasibility</a:t>
            </a:r>
            <a:endParaRPr sz="1100">
              <a:latin typeface="Verdana"/>
              <a:cs typeface="Verdana"/>
            </a:endParaRPr>
          </a:p>
          <a:p>
            <a:pPr marL="184785" indent="-172720">
              <a:lnSpc>
                <a:spcPct val="100000"/>
              </a:lnSpc>
              <a:buClr>
                <a:srgbClr val="006FAC"/>
              </a:buClr>
              <a:buFont typeface="Wingdings"/>
              <a:buChar char=""/>
              <a:tabLst>
                <a:tab pos="185420" algn="l"/>
              </a:tabLst>
            </a:pPr>
            <a:r>
              <a:rPr sz="1100" spc="-5">
                <a:latin typeface="Verdana"/>
                <a:cs typeface="Verdana"/>
              </a:rPr>
              <a:t>Complexity </a:t>
            </a:r>
            <a:r>
              <a:rPr sz="1100">
                <a:latin typeface="Verdana"/>
                <a:cs typeface="Verdana"/>
              </a:rPr>
              <a:t>of</a:t>
            </a:r>
            <a:r>
              <a:rPr sz="1100" spc="-10">
                <a:latin typeface="Verdana"/>
                <a:cs typeface="Verdana"/>
              </a:rPr>
              <a:t> </a:t>
            </a:r>
            <a:r>
              <a:rPr sz="1100" spc="-5">
                <a:latin typeface="Verdana"/>
                <a:cs typeface="Verdana"/>
              </a:rPr>
              <a:t>the</a:t>
            </a:r>
            <a:endParaRPr sz="1100">
              <a:latin typeface="Verdana"/>
              <a:cs typeface="Verdana"/>
            </a:endParaRPr>
          </a:p>
          <a:p>
            <a:pPr marL="184785">
              <a:lnSpc>
                <a:spcPct val="100000"/>
              </a:lnSpc>
            </a:pPr>
            <a:r>
              <a:rPr sz="1100" spc="-5">
                <a:latin typeface="Verdana"/>
                <a:cs typeface="Verdana"/>
              </a:rPr>
              <a:t>intervention</a:t>
            </a:r>
            <a:endParaRPr sz="1100">
              <a:latin typeface="Verdana"/>
              <a:cs typeface="Verdana"/>
            </a:endParaRPr>
          </a:p>
          <a:p>
            <a:pPr marL="184785" marR="5080" indent="-172720">
              <a:lnSpc>
                <a:spcPct val="100000"/>
              </a:lnSpc>
              <a:buClr>
                <a:srgbClr val="006FAC"/>
              </a:buClr>
              <a:buFont typeface="Wingdings"/>
              <a:buChar char=""/>
              <a:tabLst>
                <a:tab pos="185420" algn="l"/>
              </a:tabLst>
            </a:pPr>
            <a:r>
              <a:rPr sz="1100">
                <a:latin typeface="Verdana"/>
                <a:cs typeface="Verdana"/>
              </a:rPr>
              <a:t>The cost of </a:t>
            </a:r>
            <a:r>
              <a:rPr sz="1100" spc="-5">
                <a:latin typeface="Verdana"/>
                <a:cs typeface="Verdana"/>
              </a:rPr>
              <a:t>carrying</a:t>
            </a:r>
            <a:r>
              <a:rPr sz="1100" spc="-75">
                <a:latin typeface="Verdana"/>
                <a:cs typeface="Verdana"/>
              </a:rPr>
              <a:t> </a:t>
            </a:r>
            <a:r>
              <a:rPr sz="1100">
                <a:latin typeface="Verdana"/>
                <a:cs typeface="Verdana"/>
              </a:rPr>
              <a:t>out  </a:t>
            </a:r>
            <a:r>
              <a:rPr sz="1100" spc="-5">
                <a:latin typeface="Verdana"/>
                <a:cs typeface="Verdana"/>
              </a:rPr>
              <a:t>the</a:t>
            </a:r>
            <a:r>
              <a:rPr sz="1100" spc="-10">
                <a:latin typeface="Verdana"/>
                <a:cs typeface="Verdana"/>
              </a:rPr>
              <a:t> </a:t>
            </a:r>
            <a:r>
              <a:rPr sz="1100" spc="-5">
                <a:latin typeface="Verdana"/>
                <a:cs typeface="Verdana"/>
              </a:rPr>
              <a:t>intervention</a:t>
            </a:r>
            <a:endParaRPr sz="1100">
              <a:latin typeface="Verdana"/>
              <a:cs typeface="Verdana"/>
            </a:endParaRPr>
          </a:p>
          <a:p>
            <a:pPr marL="184785" marR="182245" indent="-172720">
              <a:lnSpc>
                <a:spcPct val="100000"/>
              </a:lnSpc>
              <a:buClr>
                <a:srgbClr val="006FAC"/>
              </a:buClr>
              <a:buFont typeface="Wingdings"/>
              <a:buChar char=""/>
              <a:tabLst>
                <a:tab pos="185420" algn="l"/>
              </a:tabLst>
            </a:pPr>
            <a:r>
              <a:rPr sz="1100" spc="-5">
                <a:latin typeface="Verdana"/>
                <a:cs typeface="Verdana"/>
              </a:rPr>
              <a:t>Impact </a:t>
            </a:r>
            <a:r>
              <a:rPr sz="1100">
                <a:latin typeface="Verdana"/>
                <a:cs typeface="Verdana"/>
              </a:rPr>
              <a:t>on </a:t>
            </a:r>
            <a:r>
              <a:rPr sz="1100" spc="-5">
                <a:latin typeface="Verdana"/>
                <a:cs typeface="Verdana"/>
              </a:rPr>
              <a:t>the design  baseline</a:t>
            </a:r>
            <a:endParaRPr sz="1100">
              <a:latin typeface="Verdana"/>
              <a:cs typeface="Verdana"/>
            </a:endParaRPr>
          </a:p>
        </p:txBody>
      </p:sp>
      <p:sp>
        <p:nvSpPr>
          <p:cNvPr id="13" name="object 13"/>
          <p:cNvSpPr/>
          <p:nvPr/>
        </p:nvSpPr>
        <p:spPr>
          <a:xfrm>
            <a:off x="9771888" y="1632204"/>
            <a:ext cx="2174748" cy="2278380"/>
          </a:xfrm>
          <a:prstGeom prst="rect">
            <a:avLst/>
          </a:prstGeom>
          <a:blipFill>
            <a:blip r:embed="rId4" cstate="print"/>
            <a:stretch>
              <a:fillRect/>
            </a:stretch>
          </a:blipFill>
        </p:spPr>
        <p:txBody>
          <a:bodyPr wrap="square" lIns="0" tIns="0" rIns="0" bIns="0" rtlCol="0"/>
          <a:lstStyle/>
          <a:p>
            <a:endParaRPr/>
          </a:p>
        </p:txBody>
      </p:sp>
      <p:sp>
        <p:nvSpPr>
          <p:cNvPr id="14" name="object 14"/>
          <p:cNvSpPr/>
          <p:nvPr/>
        </p:nvSpPr>
        <p:spPr>
          <a:xfrm>
            <a:off x="9753600" y="1609344"/>
            <a:ext cx="2162810" cy="2266315"/>
          </a:xfrm>
          <a:custGeom>
            <a:avLst/>
            <a:gdLst/>
            <a:ahLst/>
            <a:cxnLst/>
            <a:rect l="l" t="t" r="r" b="b"/>
            <a:pathLst>
              <a:path w="2162809" h="2266315">
                <a:moveTo>
                  <a:pt x="2162555" y="0"/>
                </a:moveTo>
                <a:lnTo>
                  <a:pt x="106045" y="0"/>
                </a:lnTo>
                <a:lnTo>
                  <a:pt x="64775" y="8336"/>
                </a:lnTo>
                <a:lnTo>
                  <a:pt x="31067" y="31067"/>
                </a:lnTo>
                <a:lnTo>
                  <a:pt x="8336" y="64775"/>
                </a:lnTo>
                <a:lnTo>
                  <a:pt x="0" y="106044"/>
                </a:lnTo>
                <a:lnTo>
                  <a:pt x="0" y="2266187"/>
                </a:lnTo>
                <a:lnTo>
                  <a:pt x="2056510" y="2266187"/>
                </a:lnTo>
                <a:lnTo>
                  <a:pt x="2097780" y="2257851"/>
                </a:lnTo>
                <a:lnTo>
                  <a:pt x="2131488" y="2235120"/>
                </a:lnTo>
                <a:lnTo>
                  <a:pt x="2154219" y="2201412"/>
                </a:lnTo>
                <a:lnTo>
                  <a:pt x="2162555" y="2160142"/>
                </a:lnTo>
                <a:lnTo>
                  <a:pt x="2162555" y="0"/>
                </a:lnTo>
                <a:close/>
              </a:path>
            </a:pathLst>
          </a:custGeom>
          <a:solidFill>
            <a:srgbClr val="FFFFFF"/>
          </a:solidFill>
        </p:spPr>
        <p:txBody>
          <a:bodyPr wrap="square" lIns="0" tIns="0" rIns="0" bIns="0" rtlCol="0"/>
          <a:lstStyle/>
          <a:p>
            <a:endParaRPr/>
          </a:p>
        </p:txBody>
      </p:sp>
      <p:sp>
        <p:nvSpPr>
          <p:cNvPr id="15" name="object 15"/>
          <p:cNvSpPr/>
          <p:nvPr/>
        </p:nvSpPr>
        <p:spPr>
          <a:xfrm>
            <a:off x="9753600" y="1609344"/>
            <a:ext cx="2162810" cy="2266315"/>
          </a:xfrm>
          <a:custGeom>
            <a:avLst/>
            <a:gdLst/>
            <a:ahLst/>
            <a:cxnLst/>
            <a:rect l="l" t="t" r="r" b="b"/>
            <a:pathLst>
              <a:path w="2162809" h="2266315">
                <a:moveTo>
                  <a:pt x="106045" y="0"/>
                </a:moveTo>
                <a:lnTo>
                  <a:pt x="2162555" y="0"/>
                </a:lnTo>
                <a:lnTo>
                  <a:pt x="2162555" y="2160142"/>
                </a:lnTo>
                <a:lnTo>
                  <a:pt x="2154219" y="2201412"/>
                </a:lnTo>
                <a:lnTo>
                  <a:pt x="2131488" y="2235120"/>
                </a:lnTo>
                <a:lnTo>
                  <a:pt x="2097780" y="2257851"/>
                </a:lnTo>
                <a:lnTo>
                  <a:pt x="2056510" y="2266187"/>
                </a:lnTo>
                <a:lnTo>
                  <a:pt x="0" y="2266187"/>
                </a:lnTo>
                <a:lnTo>
                  <a:pt x="0" y="106044"/>
                </a:lnTo>
                <a:lnTo>
                  <a:pt x="8336" y="64775"/>
                </a:lnTo>
                <a:lnTo>
                  <a:pt x="31067" y="31067"/>
                </a:lnTo>
                <a:lnTo>
                  <a:pt x="64775" y="8336"/>
                </a:lnTo>
                <a:lnTo>
                  <a:pt x="106045" y="0"/>
                </a:lnTo>
                <a:close/>
              </a:path>
            </a:pathLst>
          </a:custGeom>
          <a:ln w="9144">
            <a:solidFill>
              <a:srgbClr val="006FAC"/>
            </a:solidFill>
          </a:ln>
        </p:spPr>
        <p:txBody>
          <a:bodyPr wrap="square" lIns="0" tIns="0" rIns="0" bIns="0" rtlCol="0"/>
          <a:lstStyle/>
          <a:p>
            <a:endParaRPr/>
          </a:p>
        </p:txBody>
      </p:sp>
      <p:sp>
        <p:nvSpPr>
          <p:cNvPr id="16" name="object 16"/>
          <p:cNvSpPr txBox="1"/>
          <p:nvPr/>
        </p:nvSpPr>
        <p:spPr>
          <a:xfrm>
            <a:off x="9864343" y="1672539"/>
            <a:ext cx="1905635" cy="1367790"/>
          </a:xfrm>
          <a:prstGeom prst="rect">
            <a:avLst/>
          </a:prstGeom>
        </p:spPr>
        <p:txBody>
          <a:bodyPr vert="horz" wrap="square" lIns="0" tIns="13335" rIns="0" bIns="0" rtlCol="0">
            <a:spAutoFit/>
          </a:bodyPr>
          <a:lstStyle/>
          <a:p>
            <a:pPr marL="184785" marR="5080" indent="-172720">
              <a:lnSpc>
                <a:spcPct val="100000"/>
              </a:lnSpc>
              <a:spcBef>
                <a:spcPts val="105"/>
              </a:spcBef>
              <a:buClr>
                <a:srgbClr val="006FAC"/>
              </a:buClr>
              <a:buFont typeface="Wingdings"/>
              <a:buChar char=""/>
              <a:tabLst>
                <a:tab pos="185420" algn="l"/>
              </a:tabLst>
            </a:pPr>
            <a:r>
              <a:rPr sz="1100" spc="-5">
                <a:latin typeface="Verdana"/>
                <a:cs typeface="Verdana"/>
              </a:rPr>
              <a:t>Gate </a:t>
            </a:r>
            <a:r>
              <a:rPr sz="1100">
                <a:latin typeface="Verdana"/>
                <a:cs typeface="Verdana"/>
              </a:rPr>
              <a:t>3 – The </a:t>
            </a:r>
            <a:r>
              <a:rPr sz="1100" spc="-5">
                <a:latin typeface="Verdana"/>
                <a:cs typeface="Verdana"/>
              </a:rPr>
              <a:t>Steering  Committee </a:t>
            </a:r>
            <a:r>
              <a:rPr sz="1100">
                <a:latin typeface="Verdana"/>
                <a:cs typeface="Verdana"/>
              </a:rPr>
              <a:t>assesses</a:t>
            </a:r>
            <a:r>
              <a:rPr sz="1100" spc="-70">
                <a:latin typeface="Verdana"/>
                <a:cs typeface="Verdana"/>
              </a:rPr>
              <a:t> </a:t>
            </a:r>
            <a:r>
              <a:rPr sz="1100" spc="-5">
                <a:latin typeface="Verdana"/>
                <a:cs typeface="Verdana"/>
              </a:rPr>
              <a:t>the  impacts </a:t>
            </a:r>
            <a:r>
              <a:rPr sz="1100">
                <a:latin typeface="Verdana"/>
                <a:cs typeface="Verdana"/>
              </a:rPr>
              <a:t>of </a:t>
            </a:r>
            <a:r>
              <a:rPr sz="1100" spc="-5">
                <a:latin typeface="Verdana"/>
                <a:cs typeface="Verdana"/>
              </a:rPr>
              <a:t>the </a:t>
            </a:r>
            <a:r>
              <a:rPr sz="1100">
                <a:latin typeface="Verdana"/>
                <a:cs typeface="Verdana"/>
              </a:rPr>
              <a:t>request  based on costs,  </a:t>
            </a:r>
            <a:r>
              <a:rPr sz="1100" spc="-5">
                <a:latin typeface="Verdana"/>
                <a:cs typeface="Verdana"/>
              </a:rPr>
              <a:t>benefits, </a:t>
            </a:r>
            <a:r>
              <a:rPr sz="1100">
                <a:latin typeface="Verdana"/>
                <a:cs typeface="Verdana"/>
              </a:rPr>
              <a:t>project  </a:t>
            </a:r>
            <a:r>
              <a:rPr sz="1100" spc="-5">
                <a:latin typeface="Verdana"/>
                <a:cs typeface="Verdana"/>
              </a:rPr>
              <a:t>schedules, </a:t>
            </a:r>
            <a:r>
              <a:rPr sz="1100">
                <a:latin typeface="Verdana"/>
                <a:cs typeface="Verdana"/>
              </a:rPr>
              <a:t>resources,  etc. and </a:t>
            </a:r>
            <a:r>
              <a:rPr sz="1100" spc="-5">
                <a:latin typeface="Verdana"/>
                <a:cs typeface="Verdana"/>
              </a:rPr>
              <a:t>approves </a:t>
            </a:r>
            <a:r>
              <a:rPr sz="1100">
                <a:latin typeface="Verdana"/>
                <a:cs typeface="Verdana"/>
              </a:rPr>
              <a:t>or  rejects</a:t>
            </a:r>
          </a:p>
        </p:txBody>
      </p:sp>
      <p:sp>
        <p:nvSpPr>
          <p:cNvPr id="17" name="object 17"/>
          <p:cNvSpPr/>
          <p:nvPr/>
        </p:nvSpPr>
        <p:spPr>
          <a:xfrm>
            <a:off x="3489959" y="3985259"/>
            <a:ext cx="1513840" cy="563880"/>
          </a:xfrm>
          <a:custGeom>
            <a:avLst/>
            <a:gdLst/>
            <a:ahLst/>
            <a:cxnLst/>
            <a:rect l="l" t="t" r="r" b="b"/>
            <a:pathLst>
              <a:path w="1513839" h="563879">
                <a:moveTo>
                  <a:pt x="1351534" y="0"/>
                </a:moveTo>
                <a:lnTo>
                  <a:pt x="0" y="0"/>
                </a:lnTo>
                <a:lnTo>
                  <a:pt x="0" y="563879"/>
                </a:lnTo>
                <a:lnTo>
                  <a:pt x="1351534" y="563879"/>
                </a:lnTo>
                <a:lnTo>
                  <a:pt x="1513331" y="281939"/>
                </a:lnTo>
                <a:lnTo>
                  <a:pt x="1351534" y="0"/>
                </a:lnTo>
                <a:close/>
              </a:path>
            </a:pathLst>
          </a:custGeom>
          <a:solidFill>
            <a:srgbClr val="12ABDB"/>
          </a:solidFill>
        </p:spPr>
        <p:txBody>
          <a:bodyPr wrap="square" lIns="0" tIns="0" rIns="0" bIns="0" rtlCol="0"/>
          <a:lstStyle/>
          <a:p>
            <a:endParaRPr/>
          </a:p>
        </p:txBody>
      </p:sp>
      <p:sp>
        <p:nvSpPr>
          <p:cNvPr id="18" name="object 18"/>
          <p:cNvSpPr txBox="1"/>
          <p:nvPr/>
        </p:nvSpPr>
        <p:spPr>
          <a:xfrm>
            <a:off x="3724147" y="4103370"/>
            <a:ext cx="964565" cy="330200"/>
          </a:xfrm>
          <a:prstGeom prst="rect">
            <a:avLst/>
          </a:prstGeom>
        </p:spPr>
        <p:txBody>
          <a:bodyPr vert="horz" wrap="square" lIns="0" tIns="12065" rIns="0" bIns="0" rtlCol="0">
            <a:spAutoFit/>
          </a:bodyPr>
          <a:lstStyle/>
          <a:p>
            <a:pPr marL="12700" marR="5080" indent="176530">
              <a:lnSpc>
                <a:spcPct val="100000"/>
              </a:lnSpc>
              <a:spcBef>
                <a:spcPts val="95"/>
              </a:spcBef>
            </a:pPr>
            <a:r>
              <a:rPr sz="1000" b="1" spc="-10">
                <a:solidFill>
                  <a:srgbClr val="FFFFFF"/>
                </a:solidFill>
                <a:latin typeface="Verdana"/>
                <a:cs typeface="Verdana"/>
              </a:rPr>
              <a:t>Solution  Deve</a:t>
            </a:r>
            <a:r>
              <a:rPr sz="1000" b="1" spc="-15">
                <a:solidFill>
                  <a:srgbClr val="FFFFFF"/>
                </a:solidFill>
                <a:latin typeface="Verdana"/>
                <a:cs typeface="Verdana"/>
              </a:rPr>
              <a:t>l</a:t>
            </a:r>
            <a:r>
              <a:rPr sz="1000" b="1" spc="-5">
                <a:solidFill>
                  <a:srgbClr val="FFFFFF"/>
                </a:solidFill>
                <a:latin typeface="Verdana"/>
                <a:cs typeface="Verdana"/>
              </a:rPr>
              <a:t>opment</a:t>
            </a:r>
            <a:endParaRPr sz="1000">
              <a:latin typeface="Verdana"/>
              <a:cs typeface="Verdana"/>
            </a:endParaRPr>
          </a:p>
        </p:txBody>
      </p:sp>
      <p:sp>
        <p:nvSpPr>
          <p:cNvPr id="19" name="object 19"/>
          <p:cNvSpPr/>
          <p:nvPr/>
        </p:nvSpPr>
        <p:spPr>
          <a:xfrm>
            <a:off x="3489959" y="4701540"/>
            <a:ext cx="1513840" cy="563880"/>
          </a:xfrm>
          <a:custGeom>
            <a:avLst/>
            <a:gdLst/>
            <a:ahLst/>
            <a:cxnLst/>
            <a:rect l="l" t="t" r="r" b="b"/>
            <a:pathLst>
              <a:path w="1513839" h="563879">
                <a:moveTo>
                  <a:pt x="1351534" y="0"/>
                </a:moveTo>
                <a:lnTo>
                  <a:pt x="0" y="0"/>
                </a:lnTo>
                <a:lnTo>
                  <a:pt x="0" y="563880"/>
                </a:lnTo>
                <a:lnTo>
                  <a:pt x="1351534" y="563880"/>
                </a:lnTo>
                <a:lnTo>
                  <a:pt x="1513331" y="281940"/>
                </a:lnTo>
                <a:lnTo>
                  <a:pt x="1351534" y="0"/>
                </a:lnTo>
                <a:close/>
              </a:path>
            </a:pathLst>
          </a:custGeom>
          <a:solidFill>
            <a:srgbClr val="12ABDB"/>
          </a:solidFill>
        </p:spPr>
        <p:txBody>
          <a:bodyPr wrap="square" lIns="0" tIns="0" rIns="0" bIns="0" rtlCol="0"/>
          <a:lstStyle/>
          <a:p>
            <a:endParaRPr/>
          </a:p>
        </p:txBody>
      </p:sp>
      <p:sp>
        <p:nvSpPr>
          <p:cNvPr id="20" name="object 20"/>
          <p:cNvSpPr txBox="1"/>
          <p:nvPr/>
        </p:nvSpPr>
        <p:spPr>
          <a:xfrm>
            <a:off x="3775964" y="4819903"/>
            <a:ext cx="861060" cy="330200"/>
          </a:xfrm>
          <a:prstGeom prst="rect">
            <a:avLst/>
          </a:prstGeom>
        </p:spPr>
        <p:txBody>
          <a:bodyPr vert="horz" wrap="square" lIns="0" tIns="12065" rIns="0" bIns="0" rtlCol="0">
            <a:spAutoFit/>
          </a:bodyPr>
          <a:lstStyle/>
          <a:p>
            <a:pPr marL="12700" marR="5080" indent="123189">
              <a:lnSpc>
                <a:spcPct val="100000"/>
              </a:lnSpc>
              <a:spcBef>
                <a:spcPts val="95"/>
              </a:spcBef>
            </a:pPr>
            <a:r>
              <a:rPr sz="1000" b="1" spc="-10">
                <a:solidFill>
                  <a:srgbClr val="FFFFFF"/>
                </a:solidFill>
                <a:latin typeface="Verdana"/>
                <a:cs typeface="Verdana"/>
              </a:rPr>
              <a:t>Roll-Out  </a:t>
            </a:r>
            <a:r>
              <a:rPr sz="1000" b="1" spc="-5">
                <a:solidFill>
                  <a:srgbClr val="FFFFFF"/>
                </a:solidFill>
                <a:latin typeface="Verdana"/>
                <a:cs typeface="Verdana"/>
              </a:rPr>
              <a:t>Prep</a:t>
            </a:r>
            <a:r>
              <a:rPr sz="1000" b="1" spc="-15">
                <a:solidFill>
                  <a:srgbClr val="FFFFFF"/>
                </a:solidFill>
                <a:latin typeface="Verdana"/>
                <a:cs typeface="Verdana"/>
              </a:rPr>
              <a:t>a</a:t>
            </a:r>
            <a:r>
              <a:rPr sz="1000" b="1" spc="-10">
                <a:solidFill>
                  <a:srgbClr val="FFFFFF"/>
                </a:solidFill>
                <a:latin typeface="Verdana"/>
                <a:cs typeface="Verdana"/>
              </a:rPr>
              <a:t>ra</a:t>
            </a:r>
            <a:r>
              <a:rPr sz="1000" b="1" spc="-5">
                <a:solidFill>
                  <a:srgbClr val="FFFFFF"/>
                </a:solidFill>
                <a:latin typeface="Verdana"/>
                <a:cs typeface="Verdana"/>
              </a:rPr>
              <a:t>ti</a:t>
            </a:r>
            <a:r>
              <a:rPr sz="1000" b="1" spc="-10">
                <a:solidFill>
                  <a:srgbClr val="FFFFFF"/>
                </a:solidFill>
                <a:latin typeface="Verdana"/>
                <a:cs typeface="Verdana"/>
              </a:rPr>
              <a:t>o</a:t>
            </a:r>
            <a:r>
              <a:rPr sz="1000" b="1" spc="-5">
                <a:solidFill>
                  <a:srgbClr val="FFFFFF"/>
                </a:solidFill>
                <a:latin typeface="Verdana"/>
                <a:cs typeface="Verdana"/>
              </a:rPr>
              <a:t>n</a:t>
            </a:r>
            <a:endParaRPr sz="1000">
              <a:latin typeface="Verdana"/>
              <a:cs typeface="Verdana"/>
            </a:endParaRPr>
          </a:p>
        </p:txBody>
      </p:sp>
      <p:sp>
        <p:nvSpPr>
          <p:cNvPr id="21" name="object 21"/>
          <p:cNvSpPr/>
          <p:nvPr/>
        </p:nvSpPr>
        <p:spPr>
          <a:xfrm>
            <a:off x="3489959" y="5419344"/>
            <a:ext cx="1513840" cy="562610"/>
          </a:xfrm>
          <a:custGeom>
            <a:avLst/>
            <a:gdLst/>
            <a:ahLst/>
            <a:cxnLst/>
            <a:rect l="l" t="t" r="r" b="b"/>
            <a:pathLst>
              <a:path w="1513839" h="562610">
                <a:moveTo>
                  <a:pt x="1351914" y="0"/>
                </a:moveTo>
                <a:lnTo>
                  <a:pt x="0" y="0"/>
                </a:lnTo>
                <a:lnTo>
                  <a:pt x="0" y="562355"/>
                </a:lnTo>
                <a:lnTo>
                  <a:pt x="1351914" y="562355"/>
                </a:lnTo>
                <a:lnTo>
                  <a:pt x="1513331" y="281177"/>
                </a:lnTo>
                <a:lnTo>
                  <a:pt x="1351914" y="0"/>
                </a:lnTo>
                <a:close/>
              </a:path>
            </a:pathLst>
          </a:custGeom>
          <a:solidFill>
            <a:srgbClr val="12ABDB"/>
          </a:solidFill>
        </p:spPr>
        <p:txBody>
          <a:bodyPr wrap="square" lIns="0" tIns="0" rIns="0" bIns="0" rtlCol="0"/>
          <a:lstStyle/>
          <a:p>
            <a:endParaRPr/>
          </a:p>
        </p:txBody>
      </p:sp>
      <p:sp>
        <p:nvSpPr>
          <p:cNvPr id="22" name="object 22"/>
          <p:cNvSpPr txBox="1"/>
          <p:nvPr/>
        </p:nvSpPr>
        <p:spPr>
          <a:xfrm>
            <a:off x="3687571" y="5612688"/>
            <a:ext cx="103759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Infrastructure</a:t>
            </a:r>
            <a:endParaRPr sz="1000">
              <a:latin typeface="Verdana"/>
              <a:cs typeface="Verdana"/>
            </a:endParaRPr>
          </a:p>
        </p:txBody>
      </p:sp>
      <p:sp>
        <p:nvSpPr>
          <p:cNvPr id="23" name="object 23"/>
          <p:cNvSpPr/>
          <p:nvPr/>
        </p:nvSpPr>
        <p:spPr>
          <a:xfrm>
            <a:off x="5021579" y="4549140"/>
            <a:ext cx="913130" cy="870585"/>
          </a:xfrm>
          <a:custGeom>
            <a:avLst/>
            <a:gdLst/>
            <a:ahLst/>
            <a:cxnLst/>
            <a:rect l="l" t="t" r="r" b="b"/>
            <a:pathLst>
              <a:path w="913129" h="870585">
                <a:moveTo>
                  <a:pt x="477774" y="0"/>
                </a:moveTo>
                <a:lnTo>
                  <a:pt x="477774" y="217551"/>
                </a:lnTo>
                <a:lnTo>
                  <a:pt x="0" y="217551"/>
                </a:lnTo>
                <a:lnTo>
                  <a:pt x="0" y="652653"/>
                </a:lnTo>
                <a:lnTo>
                  <a:pt x="477774" y="652653"/>
                </a:lnTo>
                <a:lnTo>
                  <a:pt x="477774" y="870204"/>
                </a:lnTo>
                <a:lnTo>
                  <a:pt x="912876" y="435102"/>
                </a:lnTo>
                <a:lnTo>
                  <a:pt x="477774" y="0"/>
                </a:lnTo>
                <a:close/>
              </a:path>
            </a:pathLst>
          </a:custGeom>
          <a:solidFill>
            <a:srgbClr val="0D80A3"/>
          </a:solidFill>
        </p:spPr>
        <p:txBody>
          <a:bodyPr wrap="square" lIns="0" tIns="0" rIns="0" bIns="0" rtlCol="0"/>
          <a:lstStyle/>
          <a:p>
            <a:endParaRPr/>
          </a:p>
        </p:txBody>
      </p:sp>
      <p:sp>
        <p:nvSpPr>
          <p:cNvPr id="24" name="object 24"/>
          <p:cNvSpPr/>
          <p:nvPr/>
        </p:nvSpPr>
        <p:spPr>
          <a:xfrm>
            <a:off x="9651492" y="4306823"/>
            <a:ext cx="1382395" cy="1216660"/>
          </a:xfrm>
          <a:custGeom>
            <a:avLst/>
            <a:gdLst/>
            <a:ahLst/>
            <a:cxnLst/>
            <a:rect l="l" t="t" r="r" b="b"/>
            <a:pathLst>
              <a:path w="1382395" h="1216660">
                <a:moveTo>
                  <a:pt x="691133" y="0"/>
                </a:moveTo>
                <a:lnTo>
                  <a:pt x="486155" y="411352"/>
                </a:lnTo>
                <a:lnTo>
                  <a:pt x="0" y="464565"/>
                </a:lnTo>
                <a:lnTo>
                  <a:pt x="359536" y="771906"/>
                </a:lnTo>
                <a:lnTo>
                  <a:pt x="264032" y="1216152"/>
                </a:lnTo>
                <a:lnTo>
                  <a:pt x="691133" y="994791"/>
                </a:lnTo>
                <a:lnTo>
                  <a:pt x="1070646" y="994791"/>
                </a:lnTo>
                <a:lnTo>
                  <a:pt x="1022730" y="771906"/>
                </a:lnTo>
                <a:lnTo>
                  <a:pt x="1382267" y="464565"/>
                </a:lnTo>
                <a:lnTo>
                  <a:pt x="896111" y="411352"/>
                </a:lnTo>
                <a:lnTo>
                  <a:pt x="691133" y="0"/>
                </a:lnTo>
                <a:close/>
              </a:path>
              <a:path w="1382395" h="1216660">
                <a:moveTo>
                  <a:pt x="1070646" y="994791"/>
                </a:moveTo>
                <a:lnTo>
                  <a:pt x="691133" y="994791"/>
                </a:lnTo>
                <a:lnTo>
                  <a:pt x="1118234" y="1216152"/>
                </a:lnTo>
                <a:lnTo>
                  <a:pt x="1070646" y="994791"/>
                </a:lnTo>
                <a:close/>
              </a:path>
            </a:pathLst>
          </a:custGeom>
          <a:solidFill>
            <a:srgbClr val="7E7E7E"/>
          </a:solidFill>
        </p:spPr>
        <p:txBody>
          <a:bodyPr wrap="square" lIns="0" tIns="0" rIns="0" bIns="0" rtlCol="0"/>
          <a:lstStyle/>
          <a:p>
            <a:endParaRPr/>
          </a:p>
        </p:txBody>
      </p:sp>
      <p:sp>
        <p:nvSpPr>
          <p:cNvPr id="25" name="object 25"/>
          <p:cNvSpPr/>
          <p:nvPr/>
        </p:nvSpPr>
        <p:spPr>
          <a:xfrm>
            <a:off x="5934455" y="4945379"/>
            <a:ext cx="113665" cy="76200"/>
          </a:xfrm>
          <a:prstGeom prst="rect">
            <a:avLst/>
          </a:prstGeom>
          <a:blipFill>
            <a:blip r:embed="rId5" cstate="print"/>
            <a:stretch>
              <a:fillRect/>
            </a:stretch>
          </a:blipFill>
        </p:spPr>
        <p:txBody>
          <a:bodyPr wrap="square" lIns="0" tIns="0" rIns="0" bIns="0" rtlCol="0"/>
          <a:lstStyle/>
          <a:p>
            <a:endParaRPr/>
          </a:p>
        </p:txBody>
      </p:sp>
      <p:sp>
        <p:nvSpPr>
          <p:cNvPr id="26" name="object 26"/>
          <p:cNvSpPr/>
          <p:nvPr/>
        </p:nvSpPr>
        <p:spPr>
          <a:xfrm>
            <a:off x="7082028" y="4945379"/>
            <a:ext cx="227329" cy="76200"/>
          </a:xfrm>
          <a:prstGeom prst="rect">
            <a:avLst/>
          </a:prstGeom>
          <a:blipFill>
            <a:blip r:embed="rId6" cstate="print"/>
            <a:stretch>
              <a:fillRect/>
            </a:stretch>
          </a:blipFill>
        </p:spPr>
        <p:txBody>
          <a:bodyPr wrap="square" lIns="0" tIns="0" rIns="0" bIns="0" rtlCol="0"/>
          <a:lstStyle/>
          <a:p>
            <a:endParaRPr/>
          </a:p>
        </p:txBody>
      </p:sp>
      <p:sp>
        <p:nvSpPr>
          <p:cNvPr id="27" name="object 27"/>
          <p:cNvSpPr/>
          <p:nvPr/>
        </p:nvSpPr>
        <p:spPr>
          <a:xfrm>
            <a:off x="8343900" y="4945379"/>
            <a:ext cx="227329" cy="76200"/>
          </a:xfrm>
          <a:prstGeom prst="rect">
            <a:avLst/>
          </a:prstGeom>
          <a:blipFill>
            <a:blip r:embed="rId6" cstate="print"/>
            <a:stretch>
              <a:fillRect/>
            </a:stretch>
          </a:blipFill>
        </p:spPr>
        <p:txBody>
          <a:bodyPr wrap="square" lIns="0" tIns="0" rIns="0" bIns="0" rtlCol="0"/>
          <a:lstStyle/>
          <a:p>
            <a:endParaRPr/>
          </a:p>
        </p:txBody>
      </p:sp>
      <p:sp>
        <p:nvSpPr>
          <p:cNvPr id="28" name="object 28"/>
          <p:cNvSpPr/>
          <p:nvPr/>
        </p:nvSpPr>
        <p:spPr>
          <a:xfrm>
            <a:off x="9605771" y="4945379"/>
            <a:ext cx="244094" cy="76200"/>
          </a:xfrm>
          <a:prstGeom prst="rect">
            <a:avLst/>
          </a:prstGeom>
          <a:blipFill>
            <a:blip r:embed="rId7" cstate="print"/>
            <a:stretch>
              <a:fillRect/>
            </a:stretch>
          </a:blipFill>
        </p:spPr>
        <p:txBody>
          <a:bodyPr wrap="square" lIns="0" tIns="0" rIns="0" bIns="0" rtlCol="0"/>
          <a:lstStyle/>
          <a:p>
            <a:endParaRPr/>
          </a:p>
        </p:txBody>
      </p:sp>
      <p:sp>
        <p:nvSpPr>
          <p:cNvPr id="29" name="object 29"/>
          <p:cNvSpPr/>
          <p:nvPr/>
        </p:nvSpPr>
        <p:spPr>
          <a:xfrm>
            <a:off x="7784210" y="5452745"/>
            <a:ext cx="76200" cy="379730"/>
          </a:xfrm>
          <a:custGeom>
            <a:avLst/>
            <a:gdLst/>
            <a:ahLst/>
            <a:cxnLst/>
            <a:rect l="l" t="t" r="r" b="b"/>
            <a:pathLst>
              <a:path w="76200" h="379729">
                <a:moveTo>
                  <a:pt x="0" y="302780"/>
                </a:moveTo>
                <a:lnTo>
                  <a:pt x="36957" y="379539"/>
                </a:lnTo>
                <a:lnTo>
                  <a:pt x="69853" y="316141"/>
                </a:lnTo>
                <a:lnTo>
                  <a:pt x="44196" y="316141"/>
                </a:lnTo>
                <a:lnTo>
                  <a:pt x="31496" y="315950"/>
                </a:lnTo>
                <a:lnTo>
                  <a:pt x="31684" y="303250"/>
                </a:lnTo>
                <a:lnTo>
                  <a:pt x="0" y="302780"/>
                </a:lnTo>
                <a:close/>
              </a:path>
              <a:path w="76200" h="379729">
                <a:moveTo>
                  <a:pt x="31684" y="303250"/>
                </a:moveTo>
                <a:lnTo>
                  <a:pt x="31496" y="315950"/>
                </a:lnTo>
                <a:lnTo>
                  <a:pt x="44196" y="316141"/>
                </a:lnTo>
                <a:lnTo>
                  <a:pt x="44384" y="303439"/>
                </a:lnTo>
                <a:lnTo>
                  <a:pt x="31684" y="303250"/>
                </a:lnTo>
                <a:close/>
              </a:path>
              <a:path w="76200" h="379729">
                <a:moveTo>
                  <a:pt x="44384" y="303439"/>
                </a:moveTo>
                <a:lnTo>
                  <a:pt x="44196" y="316141"/>
                </a:lnTo>
                <a:lnTo>
                  <a:pt x="69853" y="316141"/>
                </a:lnTo>
                <a:lnTo>
                  <a:pt x="76200" y="303910"/>
                </a:lnTo>
                <a:lnTo>
                  <a:pt x="44384" y="303439"/>
                </a:lnTo>
                <a:close/>
              </a:path>
              <a:path w="76200" h="379729">
                <a:moveTo>
                  <a:pt x="36195" y="0"/>
                </a:moveTo>
                <a:lnTo>
                  <a:pt x="31684" y="303250"/>
                </a:lnTo>
                <a:lnTo>
                  <a:pt x="44384" y="303439"/>
                </a:lnTo>
                <a:lnTo>
                  <a:pt x="48895" y="253"/>
                </a:lnTo>
                <a:lnTo>
                  <a:pt x="36195" y="0"/>
                </a:lnTo>
                <a:close/>
              </a:path>
            </a:pathLst>
          </a:custGeom>
          <a:solidFill>
            <a:srgbClr val="7E7E7E"/>
          </a:solidFill>
        </p:spPr>
        <p:txBody>
          <a:bodyPr wrap="square" lIns="0" tIns="0" rIns="0" bIns="0" rtlCol="0"/>
          <a:lstStyle/>
          <a:p>
            <a:endParaRPr/>
          </a:p>
        </p:txBody>
      </p:sp>
      <p:sp>
        <p:nvSpPr>
          <p:cNvPr id="30" name="object 30"/>
          <p:cNvSpPr/>
          <p:nvPr/>
        </p:nvSpPr>
        <p:spPr>
          <a:xfrm>
            <a:off x="6527292" y="5407152"/>
            <a:ext cx="76200" cy="424180"/>
          </a:xfrm>
          <a:custGeom>
            <a:avLst/>
            <a:gdLst/>
            <a:ahLst/>
            <a:cxnLst/>
            <a:rect l="l" t="t" r="r" b="b"/>
            <a:pathLst>
              <a:path w="76200" h="424179">
                <a:moveTo>
                  <a:pt x="31750" y="347637"/>
                </a:moveTo>
                <a:lnTo>
                  <a:pt x="0" y="347637"/>
                </a:lnTo>
                <a:lnTo>
                  <a:pt x="38100" y="423837"/>
                </a:lnTo>
                <a:lnTo>
                  <a:pt x="69850" y="360337"/>
                </a:lnTo>
                <a:lnTo>
                  <a:pt x="31750" y="360337"/>
                </a:lnTo>
                <a:lnTo>
                  <a:pt x="31750" y="347637"/>
                </a:lnTo>
                <a:close/>
              </a:path>
              <a:path w="76200" h="424179">
                <a:moveTo>
                  <a:pt x="44450" y="0"/>
                </a:moveTo>
                <a:lnTo>
                  <a:pt x="31750" y="0"/>
                </a:lnTo>
                <a:lnTo>
                  <a:pt x="31750" y="360337"/>
                </a:lnTo>
                <a:lnTo>
                  <a:pt x="44450" y="360337"/>
                </a:lnTo>
                <a:lnTo>
                  <a:pt x="44450" y="0"/>
                </a:lnTo>
                <a:close/>
              </a:path>
              <a:path w="76200" h="424179">
                <a:moveTo>
                  <a:pt x="76200" y="347637"/>
                </a:moveTo>
                <a:lnTo>
                  <a:pt x="44450" y="347637"/>
                </a:lnTo>
                <a:lnTo>
                  <a:pt x="44450" y="360337"/>
                </a:lnTo>
                <a:lnTo>
                  <a:pt x="69850" y="360337"/>
                </a:lnTo>
                <a:lnTo>
                  <a:pt x="76200" y="347637"/>
                </a:lnTo>
                <a:close/>
              </a:path>
            </a:pathLst>
          </a:custGeom>
          <a:solidFill>
            <a:srgbClr val="7E7E7E"/>
          </a:solidFill>
        </p:spPr>
        <p:txBody>
          <a:bodyPr wrap="square" lIns="0" tIns="0" rIns="0" bIns="0" rtlCol="0"/>
          <a:lstStyle/>
          <a:p>
            <a:endParaRPr/>
          </a:p>
        </p:txBody>
      </p:sp>
      <p:sp>
        <p:nvSpPr>
          <p:cNvPr id="31" name="object 31"/>
          <p:cNvSpPr/>
          <p:nvPr/>
        </p:nvSpPr>
        <p:spPr>
          <a:xfrm>
            <a:off x="6048755" y="4515611"/>
            <a:ext cx="1033780" cy="937260"/>
          </a:xfrm>
          <a:custGeom>
            <a:avLst/>
            <a:gdLst/>
            <a:ahLst/>
            <a:cxnLst/>
            <a:rect l="l" t="t" r="r" b="b"/>
            <a:pathLst>
              <a:path w="1033779" h="937260">
                <a:moveTo>
                  <a:pt x="516636" y="0"/>
                </a:moveTo>
                <a:lnTo>
                  <a:pt x="0" y="468630"/>
                </a:lnTo>
                <a:lnTo>
                  <a:pt x="516636" y="937260"/>
                </a:lnTo>
                <a:lnTo>
                  <a:pt x="1033272" y="468630"/>
                </a:lnTo>
                <a:lnTo>
                  <a:pt x="516636" y="0"/>
                </a:lnTo>
                <a:close/>
              </a:path>
            </a:pathLst>
          </a:custGeom>
          <a:solidFill>
            <a:srgbClr val="9AE0F7"/>
          </a:solidFill>
        </p:spPr>
        <p:txBody>
          <a:bodyPr wrap="square" lIns="0" tIns="0" rIns="0" bIns="0" rtlCol="0"/>
          <a:lstStyle/>
          <a:p>
            <a:endParaRPr/>
          </a:p>
        </p:txBody>
      </p:sp>
      <p:sp>
        <p:nvSpPr>
          <p:cNvPr id="32" name="object 32"/>
          <p:cNvSpPr/>
          <p:nvPr/>
        </p:nvSpPr>
        <p:spPr>
          <a:xfrm>
            <a:off x="6097523" y="5811011"/>
            <a:ext cx="935990" cy="678180"/>
          </a:xfrm>
          <a:custGeom>
            <a:avLst/>
            <a:gdLst/>
            <a:ahLst/>
            <a:cxnLst/>
            <a:rect l="l" t="t" r="r" b="b"/>
            <a:pathLst>
              <a:path w="935990" h="678179">
                <a:moveTo>
                  <a:pt x="766191" y="0"/>
                </a:moveTo>
                <a:lnTo>
                  <a:pt x="169545" y="0"/>
                </a:lnTo>
                <a:lnTo>
                  <a:pt x="0" y="339089"/>
                </a:lnTo>
                <a:lnTo>
                  <a:pt x="169545" y="678180"/>
                </a:lnTo>
                <a:lnTo>
                  <a:pt x="766191" y="678180"/>
                </a:lnTo>
                <a:lnTo>
                  <a:pt x="935735" y="339089"/>
                </a:lnTo>
                <a:lnTo>
                  <a:pt x="766191" y="0"/>
                </a:lnTo>
                <a:close/>
              </a:path>
            </a:pathLst>
          </a:custGeom>
          <a:solidFill>
            <a:srgbClr val="421F5D"/>
          </a:solidFill>
        </p:spPr>
        <p:txBody>
          <a:bodyPr wrap="square" lIns="0" tIns="0" rIns="0" bIns="0" rtlCol="0"/>
          <a:lstStyle/>
          <a:p>
            <a:endParaRPr/>
          </a:p>
        </p:txBody>
      </p:sp>
      <p:sp>
        <p:nvSpPr>
          <p:cNvPr id="33" name="object 33"/>
          <p:cNvSpPr txBox="1"/>
          <p:nvPr/>
        </p:nvSpPr>
        <p:spPr>
          <a:xfrm>
            <a:off x="6322314" y="4220336"/>
            <a:ext cx="487680"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Gate</a:t>
            </a:r>
            <a:r>
              <a:rPr sz="1000" b="1" spc="-55">
                <a:latin typeface="Verdana"/>
                <a:cs typeface="Verdana"/>
              </a:rPr>
              <a:t> </a:t>
            </a:r>
            <a:r>
              <a:rPr sz="1000" b="1" spc="-5">
                <a:latin typeface="Verdana"/>
                <a:cs typeface="Verdana"/>
              </a:rPr>
              <a:t>1</a:t>
            </a:r>
            <a:endParaRPr sz="1000">
              <a:latin typeface="Verdana"/>
              <a:cs typeface="Verdana"/>
            </a:endParaRPr>
          </a:p>
        </p:txBody>
      </p:sp>
      <p:sp>
        <p:nvSpPr>
          <p:cNvPr id="34" name="object 34"/>
          <p:cNvSpPr txBox="1"/>
          <p:nvPr/>
        </p:nvSpPr>
        <p:spPr>
          <a:xfrm>
            <a:off x="6995921" y="4716272"/>
            <a:ext cx="277495"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Yes</a:t>
            </a:r>
            <a:endParaRPr sz="1000">
              <a:latin typeface="Verdana"/>
              <a:cs typeface="Verdana"/>
            </a:endParaRPr>
          </a:p>
        </p:txBody>
      </p:sp>
      <p:sp>
        <p:nvSpPr>
          <p:cNvPr id="35" name="object 35"/>
          <p:cNvSpPr txBox="1"/>
          <p:nvPr/>
        </p:nvSpPr>
        <p:spPr>
          <a:xfrm>
            <a:off x="6612381" y="5540146"/>
            <a:ext cx="219075"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No</a:t>
            </a:r>
            <a:endParaRPr sz="1000">
              <a:latin typeface="Verdana"/>
              <a:cs typeface="Verdana"/>
            </a:endParaRPr>
          </a:p>
        </p:txBody>
      </p:sp>
      <p:sp>
        <p:nvSpPr>
          <p:cNvPr id="36" name="object 36"/>
          <p:cNvSpPr/>
          <p:nvPr/>
        </p:nvSpPr>
        <p:spPr>
          <a:xfrm>
            <a:off x="7310628" y="4515611"/>
            <a:ext cx="1033780" cy="937260"/>
          </a:xfrm>
          <a:custGeom>
            <a:avLst/>
            <a:gdLst/>
            <a:ahLst/>
            <a:cxnLst/>
            <a:rect l="l" t="t" r="r" b="b"/>
            <a:pathLst>
              <a:path w="1033779" h="937260">
                <a:moveTo>
                  <a:pt x="516636" y="0"/>
                </a:moveTo>
                <a:lnTo>
                  <a:pt x="0" y="468630"/>
                </a:lnTo>
                <a:lnTo>
                  <a:pt x="516636" y="937260"/>
                </a:lnTo>
                <a:lnTo>
                  <a:pt x="1033272" y="468630"/>
                </a:lnTo>
                <a:lnTo>
                  <a:pt x="516636" y="0"/>
                </a:lnTo>
                <a:close/>
              </a:path>
            </a:pathLst>
          </a:custGeom>
          <a:solidFill>
            <a:srgbClr val="9AE0F7"/>
          </a:solidFill>
        </p:spPr>
        <p:txBody>
          <a:bodyPr wrap="square" lIns="0" tIns="0" rIns="0" bIns="0" rtlCol="0"/>
          <a:lstStyle/>
          <a:p>
            <a:endParaRPr/>
          </a:p>
        </p:txBody>
      </p:sp>
      <p:sp>
        <p:nvSpPr>
          <p:cNvPr id="37" name="object 37"/>
          <p:cNvSpPr/>
          <p:nvPr/>
        </p:nvSpPr>
        <p:spPr>
          <a:xfrm>
            <a:off x="7359395" y="5811011"/>
            <a:ext cx="935990" cy="678180"/>
          </a:xfrm>
          <a:custGeom>
            <a:avLst/>
            <a:gdLst/>
            <a:ahLst/>
            <a:cxnLst/>
            <a:rect l="l" t="t" r="r" b="b"/>
            <a:pathLst>
              <a:path w="935990" h="678179">
                <a:moveTo>
                  <a:pt x="766190" y="0"/>
                </a:moveTo>
                <a:lnTo>
                  <a:pt x="169545" y="0"/>
                </a:lnTo>
                <a:lnTo>
                  <a:pt x="0" y="339089"/>
                </a:lnTo>
                <a:lnTo>
                  <a:pt x="169545" y="678180"/>
                </a:lnTo>
                <a:lnTo>
                  <a:pt x="766190" y="678180"/>
                </a:lnTo>
                <a:lnTo>
                  <a:pt x="935735" y="339089"/>
                </a:lnTo>
                <a:lnTo>
                  <a:pt x="766190" y="0"/>
                </a:lnTo>
                <a:close/>
              </a:path>
            </a:pathLst>
          </a:custGeom>
          <a:solidFill>
            <a:srgbClr val="421F5D"/>
          </a:solidFill>
        </p:spPr>
        <p:txBody>
          <a:bodyPr wrap="square" lIns="0" tIns="0" rIns="0" bIns="0" rtlCol="0"/>
          <a:lstStyle/>
          <a:p>
            <a:endParaRPr/>
          </a:p>
        </p:txBody>
      </p:sp>
      <p:sp>
        <p:nvSpPr>
          <p:cNvPr id="38" name="object 38"/>
          <p:cNvSpPr txBox="1"/>
          <p:nvPr/>
        </p:nvSpPr>
        <p:spPr>
          <a:xfrm>
            <a:off x="7584185" y="4220336"/>
            <a:ext cx="487680"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Gate</a:t>
            </a:r>
            <a:r>
              <a:rPr sz="1000" b="1" spc="-55">
                <a:latin typeface="Verdana"/>
                <a:cs typeface="Verdana"/>
              </a:rPr>
              <a:t> </a:t>
            </a:r>
            <a:r>
              <a:rPr sz="1000" b="1" spc="-5">
                <a:latin typeface="Verdana"/>
                <a:cs typeface="Verdana"/>
              </a:rPr>
              <a:t>2</a:t>
            </a:r>
            <a:endParaRPr sz="1000">
              <a:latin typeface="Verdana"/>
              <a:cs typeface="Verdana"/>
            </a:endParaRPr>
          </a:p>
        </p:txBody>
      </p:sp>
      <p:sp>
        <p:nvSpPr>
          <p:cNvPr id="39" name="object 39"/>
          <p:cNvSpPr txBox="1"/>
          <p:nvPr/>
        </p:nvSpPr>
        <p:spPr>
          <a:xfrm>
            <a:off x="8257793" y="4716272"/>
            <a:ext cx="277495"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Yes</a:t>
            </a:r>
            <a:endParaRPr sz="1000">
              <a:latin typeface="Verdana"/>
              <a:cs typeface="Verdana"/>
            </a:endParaRPr>
          </a:p>
        </p:txBody>
      </p:sp>
      <p:sp>
        <p:nvSpPr>
          <p:cNvPr id="40" name="object 40"/>
          <p:cNvSpPr txBox="1"/>
          <p:nvPr/>
        </p:nvSpPr>
        <p:spPr>
          <a:xfrm>
            <a:off x="7879842" y="5540146"/>
            <a:ext cx="219075"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No</a:t>
            </a:r>
            <a:endParaRPr sz="1000">
              <a:latin typeface="Verdana"/>
              <a:cs typeface="Verdana"/>
            </a:endParaRPr>
          </a:p>
        </p:txBody>
      </p:sp>
      <p:sp>
        <p:nvSpPr>
          <p:cNvPr id="41" name="object 41"/>
          <p:cNvSpPr/>
          <p:nvPr/>
        </p:nvSpPr>
        <p:spPr>
          <a:xfrm>
            <a:off x="8572500" y="4515611"/>
            <a:ext cx="1033780" cy="937260"/>
          </a:xfrm>
          <a:custGeom>
            <a:avLst/>
            <a:gdLst/>
            <a:ahLst/>
            <a:cxnLst/>
            <a:rect l="l" t="t" r="r" b="b"/>
            <a:pathLst>
              <a:path w="1033779" h="937260">
                <a:moveTo>
                  <a:pt x="516635" y="0"/>
                </a:moveTo>
                <a:lnTo>
                  <a:pt x="0" y="468630"/>
                </a:lnTo>
                <a:lnTo>
                  <a:pt x="516635" y="937260"/>
                </a:lnTo>
                <a:lnTo>
                  <a:pt x="1033272" y="468630"/>
                </a:lnTo>
                <a:lnTo>
                  <a:pt x="516635" y="0"/>
                </a:lnTo>
                <a:close/>
              </a:path>
            </a:pathLst>
          </a:custGeom>
          <a:solidFill>
            <a:srgbClr val="9AE0F7"/>
          </a:solidFill>
        </p:spPr>
        <p:txBody>
          <a:bodyPr wrap="square" lIns="0" tIns="0" rIns="0" bIns="0" rtlCol="0"/>
          <a:lstStyle/>
          <a:p>
            <a:endParaRPr/>
          </a:p>
        </p:txBody>
      </p:sp>
      <p:sp>
        <p:nvSpPr>
          <p:cNvPr id="42" name="object 42"/>
          <p:cNvSpPr/>
          <p:nvPr/>
        </p:nvSpPr>
        <p:spPr>
          <a:xfrm>
            <a:off x="8621268" y="5811011"/>
            <a:ext cx="935990" cy="678180"/>
          </a:xfrm>
          <a:custGeom>
            <a:avLst/>
            <a:gdLst/>
            <a:ahLst/>
            <a:cxnLst/>
            <a:rect l="l" t="t" r="r" b="b"/>
            <a:pathLst>
              <a:path w="935990" h="678179">
                <a:moveTo>
                  <a:pt x="766190" y="0"/>
                </a:moveTo>
                <a:lnTo>
                  <a:pt x="169545" y="0"/>
                </a:lnTo>
                <a:lnTo>
                  <a:pt x="0" y="339089"/>
                </a:lnTo>
                <a:lnTo>
                  <a:pt x="169545" y="678180"/>
                </a:lnTo>
                <a:lnTo>
                  <a:pt x="766190" y="678180"/>
                </a:lnTo>
                <a:lnTo>
                  <a:pt x="935735" y="339089"/>
                </a:lnTo>
                <a:lnTo>
                  <a:pt x="766190" y="0"/>
                </a:lnTo>
                <a:close/>
              </a:path>
            </a:pathLst>
          </a:custGeom>
          <a:solidFill>
            <a:srgbClr val="421F5D"/>
          </a:solidFill>
        </p:spPr>
        <p:txBody>
          <a:bodyPr wrap="square" lIns="0" tIns="0" rIns="0" bIns="0" rtlCol="0"/>
          <a:lstStyle/>
          <a:p>
            <a:endParaRPr/>
          </a:p>
        </p:txBody>
      </p:sp>
      <p:sp>
        <p:nvSpPr>
          <p:cNvPr id="43" name="object 43"/>
          <p:cNvSpPr/>
          <p:nvPr/>
        </p:nvSpPr>
        <p:spPr>
          <a:xfrm>
            <a:off x="9051035" y="5452871"/>
            <a:ext cx="76200" cy="379730"/>
          </a:xfrm>
          <a:custGeom>
            <a:avLst/>
            <a:gdLst/>
            <a:ahLst/>
            <a:cxnLst/>
            <a:rect l="l" t="t" r="r" b="b"/>
            <a:pathLst>
              <a:path w="76200" h="379729">
                <a:moveTo>
                  <a:pt x="31750" y="303212"/>
                </a:moveTo>
                <a:lnTo>
                  <a:pt x="0" y="303212"/>
                </a:lnTo>
                <a:lnTo>
                  <a:pt x="38100" y="379412"/>
                </a:lnTo>
                <a:lnTo>
                  <a:pt x="69850" y="315912"/>
                </a:lnTo>
                <a:lnTo>
                  <a:pt x="31750" y="315912"/>
                </a:lnTo>
                <a:lnTo>
                  <a:pt x="31750" y="303212"/>
                </a:lnTo>
                <a:close/>
              </a:path>
              <a:path w="76200" h="379729">
                <a:moveTo>
                  <a:pt x="44450" y="0"/>
                </a:moveTo>
                <a:lnTo>
                  <a:pt x="31750" y="0"/>
                </a:lnTo>
                <a:lnTo>
                  <a:pt x="31750" y="315912"/>
                </a:lnTo>
                <a:lnTo>
                  <a:pt x="44450" y="315912"/>
                </a:lnTo>
                <a:lnTo>
                  <a:pt x="44450" y="0"/>
                </a:lnTo>
                <a:close/>
              </a:path>
              <a:path w="76200" h="379729">
                <a:moveTo>
                  <a:pt x="76200" y="303212"/>
                </a:moveTo>
                <a:lnTo>
                  <a:pt x="44450" y="303212"/>
                </a:lnTo>
                <a:lnTo>
                  <a:pt x="44450" y="315912"/>
                </a:lnTo>
                <a:lnTo>
                  <a:pt x="69850" y="315912"/>
                </a:lnTo>
                <a:lnTo>
                  <a:pt x="76200" y="303212"/>
                </a:lnTo>
                <a:close/>
              </a:path>
            </a:pathLst>
          </a:custGeom>
          <a:solidFill>
            <a:srgbClr val="7E7E7E"/>
          </a:solidFill>
        </p:spPr>
        <p:txBody>
          <a:bodyPr wrap="square" lIns="0" tIns="0" rIns="0" bIns="0" rtlCol="0"/>
          <a:lstStyle/>
          <a:p>
            <a:endParaRPr/>
          </a:p>
        </p:txBody>
      </p:sp>
      <p:sp>
        <p:nvSpPr>
          <p:cNvPr id="44" name="object 44"/>
          <p:cNvSpPr txBox="1"/>
          <p:nvPr/>
        </p:nvSpPr>
        <p:spPr>
          <a:xfrm>
            <a:off x="8846057" y="4220336"/>
            <a:ext cx="487680"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Gate</a:t>
            </a:r>
            <a:r>
              <a:rPr sz="1000" b="1" spc="-55">
                <a:latin typeface="Verdana"/>
                <a:cs typeface="Verdana"/>
              </a:rPr>
              <a:t> </a:t>
            </a:r>
            <a:r>
              <a:rPr sz="1000" b="1" spc="-5">
                <a:latin typeface="Verdana"/>
                <a:cs typeface="Verdana"/>
              </a:rPr>
              <a:t>3</a:t>
            </a:r>
            <a:endParaRPr sz="1000">
              <a:latin typeface="Verdana"/>
              <a:cs typeface="Verdana"/>
            </a:endParaRPr>
          </a:p>
        </p:txBody>
      </p:sp>
      <p:sp>
        <p:nvSpPr>
          <p:cNvPr id="45" name="object 45"/>
          <p:cNvSpPr txBox="1"/>
          <p:nvPr/>
        </p:nvSpPr>
        <p:spPr>
          <a:xfrm>
            <a:off x="9136126" y="5540146"/>
            <a:ext cx="219075" cy="177800"/>
          </a:xfrm>
          <a:prstGeom prst="rect">
            <a:avLst/>
          </a:prstGeom>
        </p:spPr>
        <p:txBody>
          <a:bodyPr vert="horz" wrap="square" lIns="0" tIns="12065" rIns="0" bIns="0" rtlCol="0">
            <a:spAutoFit/>
          </a:bodyPr>
          <a:lstStyle/>
          <a:p>
            <a:pPr marL="12700">
              <a:lnSpc>
                <a:spcPct val="100000"/>
              </a:lnSpc>
              <a:spcBef>
                <a:spcPts val="95"/>
              </a:spcBef>
            </a:pPr>
            <a:r>
              <a:rPr sz="1000" b="1" spc="-10">
                <a:latin typeface="Verdana"/>
                <a:cs typeface="Verdana"/>
              </a:rPr>
              <a:t>No</a:t>
            </a:r>
            <a:endParaRPr sz="1000">
              <a:latin typeface="Verdana"/>
              <a:cs typeface="Verdana"/>
            </a:endParaRPr>
          </a:p>
        </p:txBody>
      </p:sp>
      <p:sp>
        <p:nvSpPr>
          <p:cNvPr id="46" name="object 46"/>
          <p:cNvSpPr txBox="1"/>
          <p:nvPr/>
        </p:nvSpPr>
        <p:spPr>
          <a:xfrm>
            <a:off x="5016753" y="4831841"/>
            <a:ext cx="772795" cy="330200"/>
          </a:xfrm>
          <a:prstGeom prst="rect">
            <a:avLst/>
          </a:prstGeom>
        </p:spPr>
        <p:txBody>
          <a:bodyPr vert="horz" wrap="square" lIns="0" tIns="12065" rIns="0" bIns="0" rtlCol="0">
            <a:spAutoFit/>
          </a:bodyPr>
          <a:lstStyle/>
          <a:p>
            <a:pPr marL="129539" marR="5080" indent="-117475">
              <a:lnSpc>
                <a:spcPct val="100000"/>
              </a:lnSpc>
              <a:spcBef>
                <a:spcPts val="95"/>
              </a:spcBef>
            </a:pPr>
            <a:r>
              <a:rPr sz="1000" spc="-5">
                <a:solidFill>
                  <a:srgbClr val="FFFFFF"/>
                </a:solidFill>
                <a:latin typeface="Verdana"/>
                <a:cs typeface="Verdana"/>
              </a:rPr>
              <a:t>L</a:t>
            </a:r>
            <a:r>
              <a:rPr sz="1000" spc="-15">
                <a:solidFill>
                  <a:srgbClr val="FFFFFF"/>
                </a:solidFill>
                <a:latin typeface="Verdana"/>
                <a:cs typeface="Verdana"/>
              </a:rPr>
              <a:t>o</a:t>
            </a:r>
            <a:r>
              <a:rPr sz="1000" spc="-5">
                <a:solidFill>
                  <a:srgbClr val="FFFFFF"/>
                </a:solidFill>
                <a:latin typeface="Verdana"/>
                <a:cs typeface="Verdana"/>
              </a:rPr>
              <a:t>ca</a:t>
            </a:r>
            <a:r>
              <a:rPr sz="1000" spc="5">
                <a:solidFill>
                  <a:srgbClr val="FFFFFF"/>
                </a:solidFill>
                <a:latin typeface="Verdana"/>
                <a:cs typeface="Verdana"/>
              </a:rPr>
              <a:t>li</a:t>
            </a:r>
            <a:r>
              <a:rPr sz="1000" spc="-5">
                <a:solidFill>
                  <a:srgbClr val="FFFFFF"/>
                </a:solidFill>
                <a:latin typeface="Verdana"/>
                <a:cs typeface="Verdana"/>
              </a:rPr>
              <a:t>zat</a:t>
            </a:r>
            <a:r>
              <a:rPr sz="1000" spc="5">
                <a:solidFill>
                  <a:srgbClr val="FFFFFF"/>
                </a:solidFill>
                <a:latin typeface="Verdana"/>
                <a:cs typeface="Verdana"/>
              </a:rPr>
              <a:t>i</a:t>
            </a:r>
            <a:r>
              <a:rPr sz="1000" spc="-10">
                <a:solidFill>
                  <a:srgbClr val="FFFFFF"/>
                </a:solidFill>
                <a:latin typeface="Verdana"/>
                <a:cs typeface="Verdana"/>
              </a:rPr>
              <a:t>o</a:t>
            </a:r>
            <a:r>
              <a:rPr sz="1000" spc="-5">
                <a:solidFill>
                  <a:srgbClr val="FFFFFF"/>
                </a:solidFill>
                <a:latin typeface="Verdana"/>
                <a:cs typeface="Verdana"/>
              </a:rPr>
              <a:t>n  Request</a:t>
            </a:r>
            <a:endParaRPr sz="1000">
              <a:latin typeface="Verdana"/>
              <a:cs typeface="Verdana"/>
            </a:endParaRPr>
          </a:p>
        </p:txBody>
      </p:sp>
      <p:sp>
        <p:nvSpPr>
          <p:cNvPr id="47" name="object 47"/>
          <p:cNvSpPr txBox="1"/>
          <p:nvPr/>
        </p:nvSpPr>
        <p:spPr>
          <a:xfrm>
            <a:off x="6179946" y="5986373"/>
            <a:ext cx="772795" cy="330200"/>
          </a:xfrm>
          <a:prstGeom prst="rect">
            <a:avLst/>
          </a:prstGeom>
        </p:spPr>
        <p:txBody>
          <a:bodyPr vert="horz" wrap="square" lIns="0" tIns="12065" rIns="0" bIns="0" rtlCol="0">
            <a:spAutoFit/>
          </a:bodyPr>
          <a:lstStyle/>
          <a:p>
            <a:pPr marL="165100" marR="5080" indent="-152400">
              <a:lnSpc>
                <a:spcPct val="100000"/>
              </a:lnSpc>
              <a:spcBef>
                <a:spcPts val="95"/>
              </a:spcBef>
            </a:pPr>
            <a:r>
              <a:rPr sz="1000" spc="-5">
                <a:solidFill>
                  <a:srgbClr val="FFFFFF"/>
                </a:solidFill>
                <a:latin typeface="Verdana"/>
                <a:cs typeface="Verdana"/>
              </a:rPr>
              <a:t>L</a:t>
            </a:r>
            <a:r>
              <a:rPr sz="1000" spc="-15">
                <a:solidFill>
                  <a:srgbClr val="FFFFFF"/>
                </a:solidFill>
                <a:latin typeface="Verdana"/>
                <a:cs typeface="Verdana"/>
              </a:rPr>
              <a:t>o</a:t>
            </a:r>
            <a:r>
              <a:rPr sz="1000" spc="-5">
                <a:solidFill>
                  <a:srgbClr val="FFFFFF"/>
                </a:solidFill>
                <a:latin typeface="Verdana"/>
                <a:cs typeface="Verdana"/>
              </a:rPr>
              <a:t>ca</a:t>
            </a:r>
            <a:r>
              <a:rPr sz="1000" spc="5">
                <a:solidFill>
                  <a:srgbClr val="FFFFFF"/>
                </a:solidFill>
                <a:latin typeface="Verdana"/>
                <a:cs typeface="Verdana"/>
              </a:rPr>
              <a:t>li</a:t>
            </a:r>
            <a:r>
              <a:rPr sz="1000" spc="-5">
                <a:solidFill>
                  <a:srgbClr val="FFFFFF"/>
                </a:solidFill>
                <a:latin typeface="Verdana"/>
                <a:cs typeface="Verdana"/>
              </a:rPr>
              <a:t>zat</a:t>
            </a:r>
            <a:r>
              <a:rPr sz="1000" spc="5">
                <a:solidFill>
                  <a:srgbClr val="FFFFFF"/>
                </a:solidFill>
                <a:latin typeface="Verdana"/>
                <a:cs typeface="Verdana"/>
              </a:rPr>
              <a:t>i</a:t>
            </a:r>
            <a:r>
              <a:rPr sz="1000" spc="-10">
                <a:solidFill>
                  <a:srgbClr val="FFFFFF"/>
                </a:solidFill>
                <a:latin typeface="Verdana"/>
                <a:cs typeface="Verdana"/>
              </a:rPr>
              <a:t>o</a:t>
            </a:r>
            <a:r>
              <a:rPr sz="1000" spc="-5">
                <a:solidFill>
                  <a:srgbClr val="FFFFFF"/>
                </a:solidFill>
                <a:latin typeface="Verdana"/>
                <a:cs typeface="Verdana"/>
              </a:rPr>
              <a:t>n  Denied</a:t>
            </a:r>
            <a:endParaRPr sz="1000">
              <a:latin typeface="Verdana"/>
              <a:cs typeface="Verdana"/>
            </a:endParaRPr>
          </a:p>
        </p:txBody>
      </p:sp>
      <p:sp>
        <p:nvSpPr>
          <p:cNvPr id="48" name="object 48"/>
          <p:cNvSpPr txBox="1"/>
          <p:nvPr/>
        </p:nvSpPr>
        <p:spPr>
          <a:xfrm>
            <a:off x="7425690" y="5986373"/>
            <a:ext cx="772795" cy="330200"/>
          </a:xfrm>
          <a:prstGeom prst="rect">
            <a:avLst/>
          </a:prstGeom>
        </p:spPr>
        <p:txBody>
          <a:bodyPr vert="horz" wrap="square" lIns="0" tIns="12065" rIns="0" bIns="0" rtlCol="0">
            <a:spAutoFit/>
          </a:bodyPr>
          <a:lstStyle/>
          <a:p>
            <a:pPr marL="165100" marR="5080" indent="-152400">
              <a:lnSpc>
                <a:spcPct val="100000"/>
              </a:lnSpc>
              <a:spcBef>
                <a:spcPts val="95"/>
              </a:spcBef>
            </a:pPr>
            <a:r>
              <a:rPr sz="1000" spc="-5">
                <a:solidFill>
                  <a:srgbClr val="FFFFFF"/>
                </a:solidFill>
                <a:latin typeface="Verdana"/>
                <a:cs typeface="Verdana"/>
              </a:rPr>
              <a:t>L</a:t>
            </a:r>
            <a:r>
              <a:rPr sz="1000" spc="-15">
                <a:solidFill>
                  <a:srgbClr val="FFFFFF"/>
                </a:solidFill>
                <a:latin typeface="Verdana"/>
                <a:cs typeface="Verdana"/>
              </a:rPr>
              <a:t>o</a:t>
            </a:r>
            <a:r>
              <a:rPr sz="1000" spc="-5">
                <a:solidFill>
                  <a:srgbClr val="FFFFFF"/>
                </a:solidFill>
                <a:latin typeface="Verdana"/>
                <a:cs typeface="Verdana"/>
              </a:rPr>
              <a:t>ca</a:t>
            </a:r>
            <a:r>
              <a:rPr sz="1000" spc="5">
                <a:solidFill>
                  <a:srgbClr val="FFFFFF"/>
                </a:solidFill>
                <a:latin typeface="Verdana"/>
                <a:cs typeface="Verdana"/>
              </a:rPr>
              <a:t>li</a:t>
            </a:r>
            <a:r>
              <a:rPr sz="1000" spc="-5">
                <a:solidFill>
                  <a:srgbClr val="FFFFFF"/>
                </a:solidFill>
                <a:latin typeface="Verdana"/>
                <a:cs typeface="Verdana"/>
              </a:rPr>
              <a:t>zat</a:t>
            </a:r>
            <a:r>
              <a:rPr sz="1000" spc="5">
                <a:solidFill>
                  <a:srgbClr val="FFFFFF"/>
                </a:solidFill>
                <a:latin typeface="Verdana"/>
                <a:cs typeface="Verdana"/>
              </a:rPr>
              <a:t>i</a:t>
            </a:r>
            <a:r>
              <a:rPr sz="1000" spc="-10">
                <a:solidFill>
                  <a:srgbClr val="FFFFFF"/>
                </a:solidFill>
                <a:latin typeface="Verdana"/>
                <a:cs typeface="Verdana"/>
              </a:rPr>
              <a:t>o</a:t>
            </a:r>
            <a:r>
              <a:rPr sz="1000" spc="-5">
                <a:solidFill>
                  <a:srgbClr val="FFFFFF"/>
                </a:solidFill>
                <a:latin typeface="Verdana"/>
                <a:cs typeface="Verdana"/>
              </a:rPr>
              <a:t>n  Denied</a:t>
            </a:r>
            <a:endParaRPr sz="1000">
              <a:latin typeface="Verdana"/>
              <a:cs typeface="Verdana"/>
            </a:endParaRPr>
          </a:p>
        </p:txBody>
      </p:sp>
      <p:sp>
        <p:nvSpPr>
          <p:cNvPr id="49" name="object 49"/>
          <p:cNvSpPr txBox="1"/>
          <p:nvPr/>
        </p:nvSpPr>
        <p:spPr>
          <a:xfrm>
            <a:off x="8703691" y="5986373"/>
            <a:ext cx="772795" cy="330200"/>
          </a:xfrm>
          <a:prstGeom prst="rect">
            <a:avLst/>
          </a:prstGeom>
        </p:spPr>
        <p:txBody>
          <a:bodyPr vert="horz" wrap="square" lIns="0" tIns="12065" rIns="0" bIns="0" rtlCol="0">
            <a:spAutoFit/>
          </a:bodyPr>
          <a:lstStyle/>
          <a:p>
            <a:pPr marL="165100" marR="5080" indent="-152400">
              <a:lnSpc>
                <a:spcPct val="100000"/>
              </a:lnSpc>
              <a:spcBef>
                <a:spcPts val="95"/>
              </a:spcBef>
            </a:pPr>
            <a:r>
              <a:rPr sz="1000" spc="-5">
                <a:solidFill>
                  <a:srgbClr val="FFFFFF"/>
                </a:solidFill>
                <a:latin typeface="Verdana"/>
                <a:cs typeface="Verdana"/>
              </a:rPr>
              <a:t>L</a:t>
            </a:r>
            <a:r>
              <a:rPr sz="1000" spc="-15">
                <a:solidFill>
                  <a:srgbClr val="FFFFFF"/>
                </a:solidFill>
                <a:latin typeface="Verdana"/>
                <a:cs typeface="Verdana"/>
              </a:rPr>
              <a:t>o</a:t>
            </a:r>
            <a:r>
              <a:rPr sz="1000" spc="-5">
                <a:solidFill>
                  <a:srgbClr val="FFFFFF"/>
                </a:solidFill>
                <a:latin typeface="Verdana"/>
                <a:cs typeface="Verdana"/>
              </a:rPr>
              <a:t>ca</a:t>
            </a:r>
            <a:r>
              <a:rPr sz="1000" spc="5">
                <a:solidFill>
                  <a:srgbClr val="FFFFFF"/>
                </a:solidFill>
                <a:latin typeface="Verdana"/>
                <a:cs typeface="Verdana"/>
              </a:rPr>
              <a:t>li</a:t>
            </a:r>
            <a:r>
              <a:rPr sz="1000" spc="-5">
                <a:solidFill>
                  <a:srgbClr val="FFFFFF"/>
                </a:solidFill>
                <a:latin typeface="Verdana"/>
                <a:cs typeface="Verdana"/>
              </a:rPr>
              <a:t>zat</a:t>
            </a:r>
            <a:r>
              <a:rPr sz="1000" spc="5">
                <a:solidFill>
                  <a:srgbClr val="FFFFFF"/>
                </a:solidFill>
                <a:latin typeface="Verdana"/>
                <a:cs typeface="Verdana"/>
              </a:rPr>
              <a:t>i</a:t>
            </a:r>
            <a:r>
              <a:rPr sz="1000" spc="-10">
                <a:solidFill>
                  <a:srgbClr val="FFFFFF"/>
                </a:solidFill>
                <a:latin typeface="Verdana"/>
                <a:cs typeface="Verdana"/>
              </a:rPr>
              <a:t>o</a:t>
            </a:r>
            <a:r>
              <a:rPr sz="1000" spc="-5">
                <a:solidFill>
                  <a:srgbClr val="FFFFFF"/>
                </a:solidFill>
                <a:latin typeface="Verdana"/>
                <a:cs typeface="Verdana"/>
              </a:rPr>
              <a:t>n  Denied</a:t>
            </a:r>
            <a:endParaRPr sz="1000">
              <a:latin typeface="Verdana"/>
              <a:cs typeface="Verdana"/>
            </a:endParaRPr>
          </a:p>
        </p:txBody>
      </p:sp>
      <p:sp>
        <p:nvSpPr>
          <p:cNvPr id="50" name="object 50"/>
          <p:cNvSpPr txBox="1"/>
          <p:nvPr/>
        </p:nvSpPr>
        <p:spPr>
          <a:xfrm>
            <a:off x="9946640" y="4750434"/>
            <a:ext cx="772795" cy="330200"/>
          </a:xfrm>
          <a:prstGeom prst="rect">
            <a:avLst/>
          </a:prstGeom>
        </p:spPr>
        <p:txBody>
          <a:bodyPr vert="horz" wrap="square" lIns="0" tIns="12065" rIns="0" bIns="0" rtlCol="0">
            <a:spAutoFit/>
          </a:bodyPr>
          <a:lstStyle/>
          <a:p>
            <a:pPr marL="12700">
              <a:lnSpc>
                <a:spcPct val="100000"/>
              </a:lnSpc>
              <a:spcBef>
                <a:spcPts val="95"/>
              </a:spcBef>
            </a:pPr>
            <a:r>
              <a:rPr sz="1000" spc="-5">
                <a:solidFill>
                  <a:srgbClr val="FFFFFF"/>
                </a:solidFill>
                <a:latin typeface="Verdana"/>
                <a:cs typeface="Verdana"/>
              </a:rPr>
              <a:t>Localization</a:t>
            </a:r>
            <a:endParaRPr sz="1000">
              <a:latin typeface="Verdana"/>
              <a:cs typeface="Verdana"/>
            </a:endParaRPr>
          </a:p>
          <a:p>
            <a:pPr marL="83820">
              <a:lnSpc>
                <a:spcPct val="100000"/>
              </a:lnSpc>
            </a:pPr>
            <a:r>
              <a:rPr sz="1000" spc="-5">
                <a:solidFill>
                  <a:srgbClr val="FFFFFF"/>
                </a:solidFill>
                <a:latin typeface="Verdana"/>
                <a:cs typeface="Verdana"/>
              </a:rPr>
              <a:t>Approved</a:t>
            </a:r>
            <a:endParaRPr sz="1000">
              <a:latin typeface="Verdana"/>
              <a:cs typeface="Verdana"/>
            </a:endParaRPr>
          </a:p>
        </p:txBody>
      </p:sp>
      <p:sp>
        <p:nvSpPr>
          <p:cNvPr id="51" name="object 51"/>
          <p:cNvSpPr txBox="1"/>
          <p:nvPr/>
        </p:nvSpPr>
        <p:spPr>
          <a:xfrm>
            <a:off x="6224142" y="4848859"/>
            <a:ext cx="683260" cy="269875"/>
          </a:xfrm>
          <a:prstGeom prst="rect">
            <a:avLst/>
          </a:prstGeom>
        </p:spPr>
        <p:txBody>
          <a:bodyPr vert="horz" wrap="square" lIns="0" tIns="12700" rIns="0" bIns="0" rtlCol="0">
            <a:spAutoFit/>
          </a:bodyPr>
          <a:lstStyle/>
          <a:p>
            <a:pPr marL="12700" marR="5080" indent="106680">
              <a:lnSpc>
                <a:spcPct val="100000"/>
              </a:lnSpc>
              <a:spcBef>
                <a:spcPts val="100"/>
              </a:spcBef>
            </a:pPr>
            <a:r>
              <a:rPr sz="800">
                <a:latin typeface="Verdana"/>
                <a:cs typeface="Verdana"/>
              </a:rPr>
              <a:t>Business  </a:t>
            </a:r>
            <a:r>
              <a:rPr sz="800" spc="-10">
                <a:latin typeface="Verdana"/>
                <a:cs typeface="Verdana"/>
              </a:rPr>
              <a:t>J</a:t>
            </a:r>
            <a:r>
              <a:rPr sz="800" spc="-5">
                <a:latin typeface="Verdana"/>
                <a:cs typeface="Verdana"/>
              </a:rPr>
              <a:t>u</a:t>
            </a:r>
            <a:r>
              <a:rPr sz="800">
                <a:latin typeface="Verdana"/>
                <a:cs typeface="Verdana"/>
              </a:rPr>
              <a:t>s</a:t>
            </a:r>
            <a:r>
              <a:rPr sz="800" spc="-5">
                <a:latin typeface="Verdana"/>
                <a:cs typeface="Verdana"/>
              </a:rPr>
              <a:t>ti</a:t>
            </a:r>
            <a:r>
              <a:rPr sz="800">
                <a:latin typeface="Verdana"/>
                <a:cs typeface="Verdana"/>
              </a:rPr>
              <a:t>f</a:t>
            </a:r>
            <a:r>
              <a:rPr sz="800" spc="-5">
                <a:latin typeface="Verdana"/>
                <a:cs typeface="Verdana"/>
              </a:rPr>
              <a:t>i</a:t>
            </a:r>
            <a:r>
              <a:rPr sz="800">
                <a:latin typeface="Verdana"/>
                <a:cs typeface="Verdana"/>
              </a:rPr>
              <a:t>ca</a:t>
            </a:r>
            <a:r>
              <a:rPr sz="800" spc="-10">
                <a:latin typeface="Verdana"/>
                <a:cs typeface="Verdana"/>
              </a:rPr>
              <a:t>t</a:t>
            </a:r>
            <a:r>
              <a:rPr sz="800" spc="-5">
                <a:latin typeface="Verdana"/>
                <a:cs typeface="Verdana"/>
              </a:rPr>
              <a:t>i</a:t>
            </a:r>
            <a:r>
              <a:rPr sz="800">
                <a:latin typeface="Verdana"/>
                <a:cs typeface="Verdana"/>
              </a:rPr>
              <a:t>o</a:t>
            </a:r>
            <a:r>
              <a:rPr sz="800" spc="-5">
                <a:latin typeface="Verdana"/>
                <a:cs typeface="Verdana"/>
              </a:rPr>
              <a:t>n</a:t>
            </a:r>
            <a:r>
              <a:rPr sz="800">
                <a:latin typeface="Verdana"/>
                <a:cs typeface="Verdana"/>
              </a:rPr>
              <a:t>?</a:t>
            </a:r>
          </a:p>
        </p:txBody>
      </p:sp>
      <p:sp>
        <p:nvSpPr>
          <p:cNvPr id="52" name="object 52"/>
          <p:cNvSpPr txBox="1"/>
          <p:nvPr/>
        </p:nvSpPr>
        <p:spPr>
          <a:xfrm>
            <a:off x="7531734" y="4787900"/>
            <a:ext cx="594360" cy="391795"/>
          </a:xfrm>
          <a:prstGeom prst="rect">
            <a:avLst/>
          </a:prstGeom>
        </p:spPr>
        <p:txBody>
          <a:bodyPr vert="horz" wrap="square" lIns="0" tIns="12700" rIns="0" bIns="0" rtlCol="0">
            <a:spAutoFit/>
          </a:bodyPr>
          <a:lstStyle/>
          <a:p>
            <a:pPr marL="12700" marR="5080" algn="ctr">
              <a:lnSpc>
                <a:spcPct val="100000"/>
              </a:lnSpc>
              <a:spcBef>
                <a:spcPts val="100"/>
              </a:spcBef>
            </a:pPr>
            <a:r>
              <a:rPr sz="800" spc="5">
                <a:latin typeface="Verdana"/>
                <a:cs typeface="Verdana"/>
              </a:rPr>
              <a:t>F</a:t>
            </a:r>
            <a:r>
              <a:rPr sz="800" spc="-5">
                <a:latin typeface="Verdana"/>
                <a:cs typeface="Verdana"/>
              </a:rPr>
              <a:t>un</a:t>
            </a:r>
            <a:r>
              <a:rPr sz="800">
                <a:latin typeface="Verdana"/>
                <a:cs typeface="Verdana"/>
              </a:rPr>
              <a:t>c</a:t>
            </a:r>
            <a:r>
              <a:rPr sz="800" spc="-5">
                <a:latin typeface="Verdana"/>
                <a:cs typeface="Verdana"/>
              </a:rPr>
              <a:t>ti</a:t>
            </a:r>
            <a:r>
              <a:rPr sz="800">
                <a:latin typeface="Verdana"/>
                <a:cs typeface="Verdana"/>
              </a:rPr>
              <a:t>o</a:t>
            </a:r>
            <a:r>
              <a:rPr sz="800" spc="-5">
                <a:latin typeface="Verdana"/>
                <a:cs typeface="Verdana"/>
              </a:rPr>
              <a:t>nal</a:t>
            </a:r>
            <a:r>
              <a:rPr sz="800">
                <a:latin typeface="Verdana"/>
                <a:cs typeface="Verdana"/>
              </a:rPr>
              <a:t>/  </a:t>
            </a:r>
            <a:r>
              <a:rPr sz="800" spc="-5">
                <a:latin typeface="Verdana"/>
                <a:cs typeface="Verdana"/>
              </a:rPr>
              <a:t>Technical  Validation</a:t>
            </a:r>
            <a:endParaRPr sz="800">
              <a:latin typeface="Verdana"/>
              <a:cs typeface="Verdana"/>
            </a:endParaRPr>
          </a:p>
        </p:txBody>
      </p:sp>
      <p:sp>
        <p:nvSpPr>
          <p:cNvPr id="53" name="object 53"/>
          <p:cNvSpPr txBox="1"/>
          <p:nvPr/>
        </p:nvSpPr>
        <p:spPr>
          <a:xfrm>
            <a:off x="8773794" y="4848859"/>
            <a:ext cx="632460" cy="269875"/>
          </a:xfrm>
          <a:prstGeom prst="rect">
            <a:avLst/>
          </a:prstGeom>
        </p:spPr>
        <p:txBody>
          <a:bodyPr vert="horz" wrap="square" lIns="0" tIns="12700" rIns="0" bIns="0" rtlCol="0">
            <a:spAutoFit/>
          </a:bodyPr>
          <a:lstStyle/>
          <a:p>
            <a:pPr marL="12700" marR="5080" indent="123189">
              <a:lnSpc>
                <a:spcPct val="100000"/>
              </a:lnSpc>
              <a:spcBef>
                <a:spcPts val="100"/>
              </a:spcBef>
            </a:pPr>
            <a:r>
              <a:rPr sz="800">
                <a:latin typeface="Verdana"/>
                <a:cs typeface="Verdana"/>
              </a:rPr>
              <a:t>Impact  Assess</a:t>
            </a:r>
            <a:r>
              <a:rPr sz="800" spc="-15">
                <a:latin typeface="Verdana"/>
                <a:cs typeface="Verdana"/>
              </a:rPr>
              <a:t>m</a:t>
            </a:r>
            <a:r>
              <a:rPr sz="800">
                <a:latin typeface="Verdana"/>
                <a:cs typeface="Verdana"/>
              </a:rPr>
              <a:t>e</a:t>
            </a:r>
            <a:r>
              <a:rPr sz="800" spc="-5">
                <a:latin typeface="Verdana"/>
                <a:cs typeface="Verdana"/>
              </a:rPr>
              <a:t>n</a:t>
            </a:r>
            <a:r>
              <a:rPr sz="800">
                <a:latin typeface="Verdana"/>
                <a:cs typeface="Verdana"/>
              </a:rPr>
              <a:t>t</a:t>
            </a:r>
          </a:p>
        </p:txBody>
      </p:sp>
      <p:sp>
        <p:nvSpPr>
          <p:cNvPr id="54" name="object 54"/>
          <p:cNvSpPr/>
          <p:nvPr/>
        </p:nvSpPr>
        <p:spPr>
          <a:xfrm>
            <a:off x="5003291" y="4267200"/>
            <a:ext cx="313055" cy="281940"/>
          </a:xfrm>
          <a:custGeom>
            <a:avLst/>
            <a:gdLst/>
            <a:ahLst/>
            <a:cxnLst/>
            <a:rect l="l" t="t" r="r" b="b"/>
            <a:pathLst>
              <a:path w="313054" h="281939">
                <a:moveTo>
                  <a:pt x="0" y="0"/>
                </a:moveTo>
                <a:lnTo>
                  <a:pt x="312928" y="281558"/>
                </a:lnTo>
              </a:path>
            </a:pathLst>
          </a:custGeom>
          <a:ln w="6096">
            <a:solidFill>
              <a:srgbClr val="A6A6A6"/>
            </a:solidFill>
          </a:ln>
        </p:spPr>
        <p:txBody>
          <a:bodyPr wrap="square" lIns="0" tIns="0" rIns="0" bIns="0" rtlCol="0"/>
          <a:lstStyle/>
          <a:p>
            <a:endParaRPr/>
          </a:p>
        </p:txBody>
      </p:sp>
      <p:sp>
        <p:nvSpPr>
          <p:cNvPr id="55" name="object 55"/>
          <p:cNvSpPr/>
          <p:nvPr/>
        </p:nvSpPr>
        <p:spPr>
          <a:xfrm>
            <a:off x="5003291" y="5419344"/>
            <a:ext cx="313055" cy="281305"/>
          </a:xfrm>
          <a:custGeom>
            <a:avLst/>
            <a:gdLst/>
            <a:ahLst/>
            <a:cxnLst/>
            <a:rect l="l" t="t" r="r" b="b"/>
            <a:pathLst>
              <a:path w="313054" h="281304">
                <a:moveTo>
                  <a:pt x="0" y="281177"/>
                </a:moveTo>
                <a:lnTo>
                  <a:pt x="312928" y="0"/>
                </a:lnTo>
              </a:path>
            </a:pathLst>
          </a:custGeom>
          <a:ln w="6096">
            <a:solidFill>
              <a:srgbClr val="A6A6A6"/>
            </a:solidFill>
          </a:ln>
        </p:spPr>
        <p:txBody>
          <a:bodyPr wrap="square" lIns="0" tIns="0" rIns="0" bIns="0" rtlCol="0"/>
          <a:lstStyle/>
          <a:p>
            <a:endParaRPr/>
          </a:p>
        </p:txBody>
      </p:sp>
      <p:sp>
        <p:nvSpPr>
          <p:cNvPr id="56" name="object 56"/>
          <p:cNvSpPr/>
          <p:nvPr/>
        </p:nvSpPr>
        <p:spPr>
          <a:xfrm>
            <a:off x="2627376" y="1615439"/>
            <a:ext cx="2174748" cy="2295144"/>
          </a:xfrm>
          <a:prstGeom prst="rect">
            <a:avLst/>
          </a:prstGeom>
          <a:blipFill>
            <a:blip r:embed="rId2" cstate="print"/>
            <a:stretch>
              <a:fillRect/>
            </a:stretch>
          </a:blipFill>
        </p:spPr>
        <p:txBody>
          <a:bodyPr wrap="square" lIns="0" tIns="0" rIns="0" bIns="0" rtlCol="0"/>
          <a:lstStyle/>
          <a:p>
            <a:endParaRPr/>
          </a:p>
        </p:txBody>
      </p:sp>
      <p:sp>
        <p:nvSpPr>
          <p:cNvPr id="57" name="object 57"/>
          <p:cNvSpPr/>
          <p:nvPr/>
        </p:nvSpPr>
        <p:spPr>
          <a:xfrm>
            <a:off x="2686811" y="1670304"/>
            <a:ext cx="2103119" cy="1973580"/>
          </a:xfrm>
          <a:prstGeom prst="rect">
            <a:avLst/>
          </a:prstGeom>
          <a:blipFill>
            <a:blip r:embed="rId8" cstate="print"/>
            <a:stretch>
              <a:fillRect/>
            </a:stretch>
          </a:blipFill>
        </p:spPr>
        <p:txBody>
          <a:bodyPr wrap="square" lIns="0" tIns="0" rIns="0" bIns="0" rtlCol="0"/>
          <a:lstStyle/>
          <a:p>
            <a:endParaRPr/>
          </a:p>
        </p:txBody>
      </p:sp>
      <p:sp>
        <p:nvSpPr>
          <p:cNvPr id="58" name="object 58"/>
          <p:cNvSpPr/>
          <p:nvPr/>
        </p:nvSpPr>
        <p:spPr>
          <a:xfrm>
            <a:off x="2609088" y="1592580"/>
            <a:ext cx="2162810" cy="2283460"/>
          </a:xfrm>
          <a:custGeom>
            <a:avLst/>
            <a:gdLst/>
            <a:ahLst/>
            <a:cxnLst/>
            <a:rect l="l" t="t" r="r" b="b"/>
            <a:pathLst>
              <a:path w="2162810" h="2283460">
                <a:moveTo>
                  <a:pt x="2162556" y="0"/>
                </a:moveTo>
                <a:lnTo>
                  <a:pt x="159512" y="0"/>
                </a:lnTo>
                <a:lnTo>
                  <a:pt x="109126" y="8140"/>
                </a:lnTo>
                <a:lnTo>
                  <a:pt x="65343" y="30801"/>
                </a:lnTo>
                <a:lnTo>
                  <a:pt x="30801" y="65343"/>
                </a:lnTo>
                <a:lnTo>
                  <a:pt x="8140" y="109126"/>
                </a:lnTo>
                <a:lnTo>
                  <a:pt x="0" y="159512"/>
                </a:lnTo>
                <a:lnTo>
                  <a:pt x="0" y="2282952"/>
                </a:lnTo>
                <a:lnTo>
                  <a:pt x="2003044" y="2282952"/>
                </a:lnTo>
                <a:lnTo>
                  <a:pt x="2053429" y="2274811"/>
                </a:lnTo>
                <a:lnTo>
                  <a:pt x="2097212" y="2252150"/>
                </a:lnTo>
                <a:lnTo>
                  <a:pt x="2131754" y="2217608"/>
                </a:lnTo>
                <a:lnTo>
                  <a:pt x="2154415" y="2173825"/>
                </a:lnTo>
                <a:lnTo>
                  <a:pt x="2162556" y="2123440"/>
                </a:lnTo>
                <a:lnTo>
                  <a:pt x="2162556" y="0"/>
                </a:lnTo>
                <a:close/>
              </a:path>
            </a:pathLst>
          </a:custGeom>
          <a:solidFill>
            <a:srgbClr val="FFFFFF"/>
          </a:solidFill>
        </p:spPr>
        <p:txBody>
          <a:bodyPr wrap="square" lIns="0" tIns="0" rIns="0" bIns="0" rtlCol="0"/>
          <a:lstStyle/>
          <a:p>
            <a:endParaRPr/>
          </a:p>
        </p:txBody>
      </p:sp>
      <p:sp>
        <p:nvSpPr>
          <p:cNvPr id="59" name="object 59"/>
          <p:cNvSpPr/>
          <p:nvPr/>
        </p:nvSpPr>
        <p:spPr>
          <a:xfrm>
            <a:off x="2609088" y="1592580"/>
            <a:ext cx="2162810" cy="2283460"/>
          </a:xfrm>
          <a:custGeom>
            <a:avLst/>
            <a:gdLst/>
            <a:ahLst/>
            <a:cxnLst/>
            <a:rect l="l" t="t" r="r" b="b"/>
            <a:pathLst>
              <a:path w="2162810" h="2283460">
                <a:moveTo>
                  <a:pt x="159512" y="0"/>
                </a:moveTo>
                <a:lnTo>
                  <a:pt x="2162556" y="0"/>
                </a:lnTo>
                <a:lnTo>
                  <a:pt x="2162556" y="2123440"/>
                </a:lnTo>
                <a:lnTo>
                  <a:pt x="2154415" y="2173825"/>
                </a:lnTo>
                <a:lnTo>
                  <a:pt x="2131754" y="2217608"/>
                </a:lnTo>
                <a:lnTo>
                  <a:pt x="2097212" y="2252150"/>
                </a:lnTo>
                <a:lnTo>
                  <a:pt x="2053429" y="2274811"/>
                </a:lnTo>
                <a:lnTo>
                  <a:pt x="2003044" y="2282952"/>
                </a:lnTo>
                <a:lnTo>
                  <a:pt x="0" y="2282952"/>
                </a:lnTo>
                <a:lnTo>
                  <a:pt x="0" y="159512"/>
                </a:lnTo>
                <a:lnTo>
                  <a:pt x="8140" y="109126"/>
                </a:lnTo>
                <a:lnTo>
                  <a:pt x="30801" y="65343"/>
                </a:lnTo>
                <a:lnTo>
                  <a:pt x="65343" y="30801"/>
                </a:lnTo>
                <a:lnTo>
                  <a:pt x="109126" y="8140"/>
                </a:lnTo>
                <a:lnTo>
                  <a:pt x="159512" y="0"/>
                </a:lnTo>
                <a:close/>
              </a:path>
            </a:pathLst>
          </a:custGeom>
          <a:ln w="9144">
            <a:solidFill>
              <a:srgbClr val="006FAC"/>
            </a:solidFill>
          </a:ln>
        </p:spPr>
        <p:txBody>
          <a:bodyPr wrap="square" lIns="0" tIns="0" rIns="0" bIns="0" rtlCol="0"/>
          <a:lstStyle/>
          <a:p>
            <a:endParaRPr/>
          </a:p>
        </p:txBody>
      </p:sp>
      <p:sp>
        <p:nvSpPr>
          <p:cNvPr id="60" name="object 60"/>
          <p:cNvSpPr txBox="1"/>
          <p:nvPr/>
        </p:nvSpPr>
        <p:spPr>
          <a:xfrm>
            <a:off x="2734817" y="1671320"/>
            <a:ext cx="1909445" cy="1870710"/>
          </a:xfrm>
          <a:prstGeom prst="rect">
            <a:avLst/>
          </a:prstGeom>
        </p:spPr>
        <p:txBody>
          <a:bodyPr vert="horz" wrap="square" lIns="0" tIns="13335" rIns="0" bIns="0" rtlCol="0">
            <a:spAutoFit/>
          </a:bodyPr>
          <a:lstStyle/>
          <a:p>
            <a:pPr marL="12700" marR="88265">
              <a:lnSpc>
                <a:spcPct val="100000"/>
              </a:lnSpc>
              <a:spcBef>
                <a:spcPts val="105"/>
              </a:spcBef>
            </a:pPr>
            <a:r>
              <a:rPr sz="1100">
                <a:latin typeface="Verdana"/>
                <a:cs typeface="Verdana"/>
              </a:rPr>
              <a:t>Items </a:t>
            </a:r>
            <a:r>
              <a:rPr sz="1100" spc="-10">
                <a:latin typeface="Verdana"/>
                <a:cs typeface="Verdana"/>
              </a:rPr>
              <a:t>will </a:t>
            </a:r>
            <a:r>
              <a:rPr sz="1100" spc="-5">
                <a:latin typeface="Verdana"/>
                <a:cs typeface="Verdana"/>
              </a:rPr>
              <a:t>be managed  through </a:t>
            </a:r>
            <a:r>
              <a:rPr sz="1100">
                <a:latin typeface="Verdana"/>
                <a:cs typeface="Verdana"/>
              </a:rPr>
              <a:t>a </a:t>
            </a:r>
            <a:r>
              <a:rPr sz="1100" spc="-5">
                <a:latin typeface="Verdana"/>
                <a:cs typeface="Verdana"/>
              </a:rPr>
              <a:t>structured  approach that </a:t>
            </a:r>
            <a:r>
              <a:rPr sz="1100">
                <a:latin typeface="Verdana"/>
                <a:cs typeface="Verdana"/>
              </a:rPr>
              <a:t>ensures  </a:t>
            </a:r>
            <a:r>
              <a:rPr sz="1100" spc="-5">
                <a:latin typeface="Verdana"/>
                <a:cs typeface="Verdana"/>
              </a:rPr>
              <a:t>traceability, analysis, </a:t>
            </a:r>
            <a:r>
              <a:rPr sz="1100">
                <a:latin typeface="Verdana"/>
                <a:cs typeface="Verdana"/>
              </a:rPr>
              <a:t>and  </a:t>
            </a:r>
            <a:r>
              <a:rPr sz="1100" spc="-10">
                <a:latin typeface="Verdana"/>
                <a:cs typeface="Verdana"/>
              </a:rPr>
              <a:t>finally </a:t>
            </a:r>
            <a:r>
              <a:rPr sz="1100">
                <a:latin typeface="Verdana"/>
                <a:cs typeface="Verdana"/>
              </a:rPr>
              <a:t>acceptance or  rejection </a:t>
            </a:r>
            <a:r>
              <a:rPr sz="1100" spc="-5">
                <a:latin typeface="Verdana"/>
                <a:cs typeface="Verdana"/>
              </a:rPr>
              <a:t>by the</a:t>
            </a:r>
            <a:r>
              <a:rPr sz="1100" spc="-40">
                <a:latin typeface="Verdana"/>
                <a:cs typeface="Verdana"/>
              </a:rPr>
              <a:t> </a:t>
            </a:r>
            <a:r>
              <a:rPr sz="1100" spc="-5">
                <a:latin typeface="Verdana"/>
                <a:cs typeface="Verdana"/>
              </a:rPr>
              <a:t>client</a:t>
            </a:r>
            <a:endParaRPr sz="1100">
              <a:latin typeface="Verdana"/>
              <a:cs typeface="Verdana"/>
            </a:endParaRPr>
          </a:p>
          <a:p>
            <a:pPr marL="12700" marR="5080">
              <a:lnSpc>
                <a:spcPct val="100000"/>
              </a:lnSpc>
            </a:pPr>
            <a:r>
              <a:rPr sz="1100">
                <a:latin typeface="Verdana"/>
                <a:cs typeface="Verdana"/>
              </a:rPr>
              <a:t>The Item </a:t>
            </a:r>
            <a:r>
              <a:rPr sz="1100" spc="-10">
                <a:latin typeface="Verdana"/>
                <a:cs typeface="Verdana"/>
              </a:rPr>
              <a:t>will </a:t>
            </a:r>
            <a:r>
              <a:rPr sz="1100" spc="-5">
                <a:latin typeface="Verdana"/>
                <a:cs typeface="Verdana"/>
              </a:rPr>
              <a:t>be </a:t>
            </a:r>
            <a:r>
              <a:rPr sz="1100">
                <a:latin typeface="Verdana"/>
                <a:cs typeface="Verdana"/>
              </a:rPr>
              <a:t>subject</a:t>
            </a:r>
            <a:r>
              <a:rPr sz="1100" spc="-65">
                <a:latin typeface="Verdana"/>
                <a:cs typeface="Verdana"/>
              </a:rPr>
              <a:t> </a:t>
            </a:r>
            <a:r>
              <a:rPr sz="1100" spc="-5">
                <a:latin typeface="Verdana"/>
                <a:cs typeface="Verdana"/>
              </a:rPr>
              <a:t>to  </a:t>
            </a:r>
            <a:r>
              <a:rPr sz="1100">
                <a:latin typeface="Verdana"/>
                <a:cs typeface="Verdana"/>
              </a:rPr>
              <a:t>a </a:t>
            </a:r>
            <a:r>
              <a:rPr sz="1100" spc="-5">
                <a:latin typeface="Verdana"/>
                <a:cs typeface="Verdana"/>
              </a:rPr>
              <a:t>series </a:t>
            </a:r>
            <a:r>
              <a:rPr sz="1100">
                <a:latin typeface="Verdana"/>
                <a:cs typeface="Verdana"/>
              </a:rPr>
              <a:t>of </a:t>
            </a:r>
            <a:r>
              <a:rPr sz="1100" spc="-5">
                <a:latin typeface="Verdana"/>
                <a:cs typeface="Verdana"/>
              </a:rPr>
              <a:t>gate reviews  that </a:t>
            </a:r>
            <a:r>
              <a:rPr sz="1100" spc="-10">
                <a:latin typeface="Verdana"/>
                <a:cs typeface="Verdana"/>
              </a:rPr>
              <a:t>will </a:t>
            </a:r>
            <a:r>
              <a:rPr sz="1100" spc="-5">
                <a:latin typeface="Verdana"/>
                <a:cs typeface="Verdana"/>
              </a:rPr>
              <a:t>involve </a:t>
            </a:r>
            <a:r>
              <a:rPr sz="1100">
                <a:latin typeface="Verdana"/>
                <a:cs typeface="Verdana"/>
              </a:rPr>
              <a:t>project  </a:t>
            </a:r>
            <a:r>
              <a:rPr sz="1100" spc="-5">
                <a:latin typeface="Verdana"/>
                <a:cs typeface="Verdana"/>
              </a:rPr>
              <a:t>management </a:t>
            </a:r>
            <a:r>
              <a:rPr sz="1100">
                <a:latin typeface="Verdana"/>
                <a:cs typeface="Verdana"/>
              </a:rPr>
              <a:t>and </a:t>
            </a:r>
            <a:r>
              <a:rPr sz="1100" spc="-5">
                <a:latin typeface="Verdana"/>
                <a:cs typeface="Verdana"/>
              </a:rPr>
              <a:t>the  </a:t>
            </a:r>
            <a:r>
              <a:rPr sz="1100">
                <a:latin typeface="Verdana"/>
                <a:cs typeface="Verdana"/>
              </a:rPr>
              <a:t>Steering</a:t>
            </a:r>
            <a:r>
              <a:rPr sz="1100" spc="-10">
                <a:latin typeface="Verdana"/>
                <a:cs typeface="Verdana"/>
              </a:rPr>
              <a:t> </a:t>
            </a:r>
            <a:r>
              <a:rPr sz="1100" spc="-5">
                <a:latin typeface="Verdana"/>
                <a:cs typeface="Verdana"/>
              </a:rPr>
              <a:t>Committee</a:t>
            </a:r>
            <a:endParaRPr sz="1100">
              <a:latin typeface="Verdana"/>
              <a:cs typeface="Verdana"/>
            </a:endParaRPr>
          </a:p>
        </p:txBody>
      </p:sp>
      <p:sp>
        <p:nvSpPr>
          <p:cNvPr id="61" name="object 61"/>
          <p:cNvSpPr/>
          <p:nvPr/>
        </p:nvSpPr>
        <p:spPr>
          <a:xfrm>
            <a:off x="5007864" y="1615439"/>
            <a:ext cx="2174747" cy="2295144"/>
          </a:xfrm>
          <a:prstGeom prst="rect">
            <a:avLst/>
          </a:prstGeom>
          <a:blipFill>
            <a:blip r:embed="rId2" cstate="print"/>
            <a:stretch>
              <a:fillRect/>
            </a:stretch>
          </a:blipFill>
        </p:spPr>
        <p:txBody>
          <a:bodyPr wrap="square" lIns="0" tIns="0" rIns="0" bIns="0" rtlCol="0"/>
          <a:lstStyle/>
          <a:p>
            <a:endParaRPr/>
          </a:p>
        </p:txBody>
      </p:sp>
      <p:sp>
        <p:nvSpPr>
          <p:cNvPr id="62" name="object 62"/>
          <p:cNvSpPr/>
          <p:nvPr/>
        </p:nvSpPr>
        <p:spPr>
          <a:xfrm>
            <a:off x="5073396" y="1670304"/>
            <a:ext cx="2074163" cy="2141220"/>
          </a:xfrm>
          <a:prstGeom prst="rect">
            <a:avLst/>
          </a:prstGeom>
          <a:blipFill>
            <a:blip r:embed="rId9" cstate="print"/>
            <a:stretch>
              <a:fillRect/>
            </a:stretch>
          </a:blipFill>
        </p:spPr>
        <p:txBody>
          <a:bodyPr wrap="square" lIns="0" tIns="0" rIns="0" bIns="0" rtlCol="0"/>
          <a:lstStyle/>
          <a:p>
            <a:endParaRPr/>
          </a:p>
        </p:txBody>
      </p:sp>
      <p:sp>
        <p:nvSpPr>
          <p:cNvPr id="63" name="object 63"/>
          <p:cNvSpPr/>
          <p:nvPr/>
        </p:nvSpPr>
        <p:spPr>
          <a:xfrm>
            <a:off x="4989576" y="1592580"/>
            <a:ext cx="2162810" cy="2283460"/>
          </a:xfrm>
          <a:custGeom>
            <a:avLst/>
            <a:gdLst/>
            <a:ahLst/>
            <a:cxnLst/>
            <a:rect l="l" t="t" r="r" b="b"/>
            <a:pathLst>
              <a:path w="2162809" h="2283460">
                <a:moveTo>
                  <a:pt x="2162555" y="0"/>
                </a:moveTo>
                <a:lnTo>
                  <a:pt x="159512" y="0"/>
                </a:lnTo>
                <a:lnTo>
                  <a:pt x="109126" y="8140"/>
                </a:lnTo>
                <a:lnTo>
                  <a:pt x="65343" y="30801"/>
                </a:lnTo>
                <a:lnTo>
                  <a:pt x="30801" y="65343"/>
                </a:lnTo>
                <a:lnTo>
                  <a:pt x="8140" y="109126"/>
                </a:lnTo>
                <a:lnTo>
                  <a:pt x="0" y="159512"/>
                </a:lnTo>
                <a:lnTo>
                  <a:pt x="0" y="2282952"/>
                </a:lnTo>
                <a:lnTo>
                  <a:pt x="2003044" y="2282952"/>
                </a:lnTo>
                <a:lnTo>
                  <a:pt x="2053429" y="2274811"/>
                </a:lnTo>
                <a:lnTo>
                  <a:pt x="2097212" y="2252150"/>
                </a:lnTo>
                <a:lnTo>
                  <a:pt x="2131754" y="2217608"/>
                </a:lnTo>
                <a:lnTo>
                  <a:pt x="2154415" y="2173825"/>
                </a:lnTo>
                <a:lnTo>
                  <a:pt x="2162555" y="2123440"/>
                </a:lnTo>
                <a:lnTo>
                  <a:pt x="2162555" y="0"/>
                </a:lnTo>
                <a:close/>
              </a:path>
            </a:pathLst>
          </a:custGeom>
          <a:solidFill>
            <a:srgbClr val="FFFFFF"/>
          </a:solidFill>
        </p:spPr>
        <p:txBody>
          <a:bodyPr wrap="square" lIns="0" tIns="0" rIns="0" bIns="0" rtlCol="0"/>
          <a:lstStyle/>
          <a:p>
            <a:endParaRPr/>
          </a:p>
        </p:txBody>
      </p:sp>
      <p:sp>
        <p:nvSpPr>
          <p:cNvPr id="64" name="object 64"/>
          <p:cNvSpPr/>
          <p:nvPr/>
        </p:nvSpPr>
        <p:spPr>
          <a:xfrm>
            <a:off x="4989576" y="1592580"/>
            <a:ext cx="2162810" cy="2283460"/>
          </a:xfrm>
          <a:custGeom>
            <a:avLst/>
            <a:gdLst/>
            <a:ahLst/>
            <a:cxnLst/>
            <a:rect l="l" t="t" r="r" b="b"/>
            <a:pathLst>
              <a:path w="2162809" h="2283460">
                <a:moveTo>
                  <a:pt x="159512" y="0"/>
                </a:moveTo>
                <a:lnTo>
                  <a:pt x="2162555" y="0"/>
                </a:lnTo>
                <a:lnTo>
                  <a:pt x="2162555" y="2123440"/>
                </a:lnTo>
                <a:lnTo>
                  <a:pt x="2154415" y="2173825"/>
                </a:lnTo>
                <a:lnTo>
                  <a:pt x="2131754" y="2217608"/>
                </a:lnTo>
                <a:lnTo>
                  <a:pt x="2097212" y="2252150"/>
                </a:lnTo>
                <a:lnTo>
                  <a:pt x="2053429" y="2274811"/>
                </a:lnTo>
                <a:lnTo>
                  <a:pt x="2003044" y="2282952"/>
                </a:lnTo>
                <a:lnTo>
                  <a:pt x="0" y="2282952"/>
                </a:lnTo>
                <a:lnTo>
                  <a:pt x="0" y="159512"/>
                </a:lnTo>
                <a:lnTo>
                  <a:pt x="8140" y="109126"/>
                </a:lnTo>
                <a:lnTo>
                  <a:pt x="30801" y="65343"/>
                </a:lnTo>
                <a:lnTo>
                  <a:pt x="65343" y="30801"/>
                </a:lnTo>
                <a:lnTo>
                  <a:pt x="109126" y="8140"/>
                </a:lnTo>
                <a:lnTo>
                  <a:pt x="159512" y="0"/>
                </a:lnTo>
                <a:close/>
              </a:path>
            </a:pathLst>
          </a:custGeom>
          <a:ln w="9144">
            <a:solidFill>
              <a:srgbClr val="006FAC"/>
            </a:solidFill>
          </a:ln>
        </p:spPr>
        <p:txBody>
          <a:bodyPr wrap="square" lIns="0" tIns="0" rIns="0" bIns="0" rtlCol="0"/>
          <a:lstStyle/>
          <a:p>
            <a:endParaRPr/>
          </a:p>
        </p:txBody>
      </p:sp>
      <p:sp>
        <p:nvSpPr>
          <p:cNvPr id="65" name="object 65"/>
          <p:cNvSpPr txBox="1"/>
          <p:nvPr/>
        </p:nvSpPr>
        <p:spPr>
          <a:xfrm>
            <a:off x="5116448" y="1671320"/>
            <a:ext cx="1883410" cy="2038350"/>
          </a:xfrm>
          <a:prstGeom prst="rect">
            <a:avLst/>
          </a:prstGeom>
        </p:spPr>
        <p:txBody>
          <a:bodyPr vert="horz" wrap="square" lIns="0" tIns="13335" rIns="0" bIns="0" rtlCol="0">
            <a:spAutoFit/>
          </a:bodyPr>
          <a:lstStyle/>
          <a:p>
            <a:pPr marL="184785" marR="5080" indent="-172720">
              <a:lnSpc>
                <a:spcPct val="100000"/>
              </a:lnSpc>
              <a:spcBef>
                <a:spcPts val="105"/>
              </a:spcBef>
              <a:buClr>
                <a:srgbClr val="006FAC"/>
              </a:buClr>
              <a:buFont typeface="Wingdings"/>
              <a:buChar char=""/>
              <a:tabLst>
                <a:tab pos="185420" algn="l"/>
              </a:tabLst>
            </a:pPr>
            <a:r>
              <a:rPr sz="1100" spc="-5">
                <a:latin typeface="Verdana"/>
                <a:cs typeface="Verdana"/>
              </a:rPr>
              <a:t>Gate </a:t>
            </a:r>
            <a:r>
              <a:rPr sz="1100">
                <a:latin typeface="Verdana"/>
                <a:cs typeface="Verdana"/>
              </a:rPr>
              <a:t>1 – </a:t>
            </a:r>
            <a:r>
              <a:rPr sz="1100" spc="-5">
                <a:latin typeface="Verdana"/>
                <a:cs typeface="Verdana"/>
              </a:rPr>
              <a:t>Capgemini  </a:t>
            </a:r>
            <a:r>
              <a:rPr sz="1100">
                <a:latin typeface="Verdana"/>
                <a:cs typeface="Verdana"/>
              </a:rPr>
              <a:t>Team </a:t>
            </a:r>
            <a:r>
              <a:rPr sz="1100" spc="-10">
                <a:latin typeface="Verdana"/>
                <a:cs typeface="Verdana"/>
              </a:rPr>
              <a:t>will </a:t>
            </a:r>
            <a:r>
              <a:rPr sz="1100" spc="-5">
                <a:latin typeface="Verdana"/>
                <a:cs typeface="Verdana"/>
              </a:rPr>
              <a:t>collect </a:t>
            </a:r>
            <a:r>
              <a:rPr sz="1100">
                <a:latin typeface="Verdana"/>
                <a:cs typeface="Verdana"/>
              </a:rPr>
              <a:t>Items  and </a:t>
            </a:r>
            <a:r>
              <a:rPr sz="1100" spc="-5">
                <a:latin typeface="Verdana"/>
                <a:cs typeface="Verdana"/>
              </a:rPr>
              <a:t>provide  recommendations to  Marelli Solution  Architect </a:t>
            </a:r>
            <a:r>
              <a:rPr sz="1100">
                <a:latin typeface="Verdana"/>
                <a:cs typeface="Verdana"/>
              </a:rPr>
              <a:t>and </a:t>
            </a:r>
            <a:r>
              <a:rPr sz="1100" spc="-5">
                <a:latin typeface="Verdana"/>
                <a:cs typeface="Verdana"/>
              </a:rPr>
              <a:t>Product  Owner, who </a:t>
            </a:r>
            <a:r>
              <a:rPr sz="1100" spc="-10">
                <a:latin typeface="Verdana"/>
                <a:cs typeface="Verdana"/>
              </a:rPr>
              <a:t>will  </a:t>
            </a:r>
            <a:r>
              <a:rPr sz="1100" spc="-5">
                <a:latin typeface="Verdana"/>
                <a:cs typeface="Verdana"/>
              </a:rPr>
              <a:t>evaluate </a:t>
            </a:r>
            <a:r>
              <a:rPr sz="1100">
                <a:latin typeface="Verdana"/>
                <a:cs typeface="Verdana"/>
              </a:rPr>
              <a:t>Items </a:t>
            </a:r>
            <a:r>
              <a:rPr sz="1100" spc="-10">
                <a:latin typeface="Verdana"/>
                <a:cs typeface="Verdana"/>
              </a:rPr>
              <a:t>in </a:t>
            </a:r>
            <a:r>
              <a:rPr sz="1100">
                <a:latin typeface="Verdana"/>
                <a:cs typeface="Verdana"/>
              </a:rPr>
              <a:t>order  </a:t>
            </a:r>
            <a:r>
              <a:rPr sz="1100" spc="-5">
                <a:latin typeface="Verdana"/>
                <a:cs typeface="Verdana"/>
              </a:rPr>
              <a:t>to define whether </a:t>
            </a:r>
            <a:r>
              <a:rPr sz="1100">
                <a:latin typeface="Verdana"/>
                <a:cs typeface="Verdana"/>
              </a:rPr>
              <a:t>there  </a:t>
            </a:r>
            <a:r>
              <a:rPr sz="1100" spc="-5">
                <a:latin typeface="Verdana"/>
                <a:cs typeface="Verdana"/>
              </a:rPr>
              <a:t>are sufficient business  </a:t>
            </a:r>
            <a:r>
              <a:rPr sz="1100">
                <a:latin typeface="Verdana"/>
                <a:cs typeface="Verdana"/>
              </a:rPr>
              <a:t>reasons </a:t>
            </a:r>
            <a:r>
              <a:rPr sz="1100" spc="-5">
                <a:latin typeface="Verdana"/>
                <a:cs typeface="Verdana"/>
              </a:rPr>
              <a:t>to </a:t>
            </a:r>
            <a:r>
              <a:rPr sz="1100">
                <a:latin typeface="Verdana"/>
                <a:cs typeface="Verdana"/>
              </a:rPr>
              <a:t>proceed</a:t>
            </a:r>
            <a:r>
              <a:rPr sz="1100" spc="-105">
                <a:latin typeface="Verdana"/>
                <a:cs typeface="Verdana"/>
              </a:rPr>
              <a:t> </a:t>
            </a:r>
            <a:r>
              <a:rPr sz="1100" spc="-5">
                <a:latin typeface="Verdana"/>
                <a:cs typeface="Verdana"/>
              </a:rPr>
              <a:t>with  detail analysis</a:t>
            </a:r>
            <a:endParaRPr sz="1100">
              <a:latin typeface="Verdana"/>
              <a:cs typeface="Verdana"/>
            </a:endParaRPr>
          </a:p>
        </p:txBody>
      </p:sp>
      <p:sp>
        <p:nvSpPr>
          <p:cNvPr id="66" name="object 66"/>
          <p:cNvSpPr/>
          <p:nvPr/>
        </p:nvSpPr>
        <p:spPr>
          <a:xfrm>
            <a:off x="7389876" y="1615439"/>
            <a:ext cx="2174748" cy="2295144"/>
          </a:xfrm>
          <a:prstGeom prst="rect">
            <a:avLst/>
          </a:prstGeom>
          <a:blipFill>
            <a:blip r:embed="rId2" cstate="print"/>
            <a:stretch>
              <a:fillRect/>
            </a:stretch>
          </a:blipFill>
        </p:spPr>
        <p:txBody>
          <a:bodyPr wrap="square" lIns="0" tIns="0" rIns="0" bIns="0" rtlCol="0"/>
          <a:lstStyle/>
          <a:p>
            <a:endParaRPr/>
          </a:p>
        </p:txBody>
      </p:sp>
      <p:sp>
        <p:nvSpPr>
          <p:cNvPr id="67" name="object 67"/>
          <p:cNvSpPr/>
          <p:nvPr/>
        </p:nvSpPr>
        <p:spPr>
          <a:xfrm>
            <a:off x="7371588" y="1592580"/>
            <a:ext cx="2162810" cy="2283460"/>
          </a:xfrm>
          <a:custGeom>
            <a:avLst/>
            <a:gdLst/>
            <a:ahLst/>
            <a:cxnLst/>
            <a:rect l="l" t="t" r="r" b="b"/>
            <a:pathLst>
              <a:path w="2162809" h="2283460">
                <a:moveTo>
                  <a:pt x="2162555" y="0"/>
                </a:moveTo>
                <a:lnTo>
                  <a:pt x="159511" y="0"/>
                </a:lnTo>
                <a:lnTo>
                  <a:pt x="109126" y="8140"/>
                </a:lnTo>
                <a:lnTo>
                  <a:pt x="65343" y="30801"/>
                </a:lnTo>
                <a:lnTo>
                  <a:pt x="30801" y="65343"/>
                </a:lnTo>
                <a:lnTo>
                  <a:pt x="8140" y="109126"/>
                </a:lnTo>
                <a:lnTo>
                  <a:pt x="0" y="159512"/>
                </a:lnTo>
                <a:lnTo>
                  <a:pt x="0" y="2282952"/>
                </a:lnTo>
                <a:lnTo>
                  <a:pt x="2003043" y="2282952"/>
                </a:lnTo>
                <a:lnTo>
                  <a:pt x="2053429" y="2274811"/>
                </a:lnTo>
                <a:lnTo>
                  <a:pt x="2097212" y="2252150"/>
                </a:lnTo>
                <a:lnTo>
                  <a:pt x="2131754" y="2217608"/>
                </a:lnTo>
                <a:lnTo>
                  <a:pt x="2154415" y="2173825"/>
                </a:lnTo>
                <a:lnTo>
                  <a:pt x="2162555" y="2123440"/>
                </a:lnTo>
                <a:lnTo>
                  <a:pt x="2162555" y="0"/>
                </a:lnTo>
                <a:close/>
              </a:path>
            </a:pathLst>
          </a:custGeom>
          <a:solidFill>
            <a:srgbClr val="FFFFFF"/>
          </a:solidFill>
        </p:spPr>
        <p:txBody>
          <a:bodyPr wrap="square" lIns="0" tIns="0" rIns="0" bIns="0" rtlCol="0"/>
          <a:lstStyle/>
          <a:p>
            <a:endParaRPr/>
          </a:p>
        </p:txBody>
      </p:sp>
      <p:sp>
        <p:nvSpPr>
          <p:cNvPr id="68" name="object 68"/>
          <p:cNvSpPr/>
          <p:nvPr/>
        </p:nvSpPr>
        <p:spPr>
          <a:xfrm>
            <a:off x="7371588" y="1592580"/>
            <a:ext cx="2162810" cy="2283460"/>
          </a:xfrm>
          <a:custGeom>
            <a:avLst/>
            <a:gdLst/>
            <a:ahLst/>
            <a:cxnLst/>
            <a:rect l="l" t="t" r="r" b="b"/>
            <a:pathLst>
              <a:path w="2162809" h="2283460">
                <a:moveTo>
                  <a:pt x="159511" y="0"/>
                </a:moveTo>
                <a:lnTo>
                  <a:pt x="2162555" y="0"/>
                </a:lnTo>
                <a:lnTo>
                  <a:pt x="2162555" y="2123440"/>
                </a:lnTo>
                <a:lnTo>
                  <a:pt x="2154415" y="2173825"/>
                </a:lnTo>
                <a:lnTo>
                  <a:pt x="2131754" y="2217608"/>
                </a:lnTo>
                <a:lnTo>
                  <a:pt x="2097212" y="2252150"/>
                </a:lnTo>
                <a:lnTo>
                  <a:pt x="2053429" y="2274811"/>
                </a:lnTo>
                <a:lnTo>
                  <a:pt x="2003043" y="2282952"/>
                </a:lnTo>
                <a:lnTo>
                  <a:pt x="0" y="2282952"/>
                </a:lnTo>
                <a:lnTo>
                  <a:pt x="0" y="159512"/>
                </a:lnTo>
                <a:lnTo>
                  <a:pt x="8140" y="109126"/>
                </a:lnTo>
                <a:lnTo>
                  <a:pt x="30801" y="65343"/>
                </a:lnTo>
                <a:lnTo>
                  <a:pt x="65343" y="30801"/>
                </a:lnTo>
                <a:lnTo>
                  <a:pt x="109126" y="8140"/>
                </a:lnTo>
                <a:lnTo>
                  <a:pt x="159511" y="0"/>
                </a:lnTo>
                <a:close/>
              </a:path>
            </a:pathLst>
          </a:custGeom>
          <a:ln w="9144">
            <a:solidFill>
              <a:srgbClr val="006FAC"/>
            </a:solidFill>
          </a:ln>
        </p:spPr>
        <p:txBody>
          <a:bodyPr wrap="square" lIns="0" tIns="0" rIns="0" bIns="0" rtlCol="0"/>
          <a:lstStyle/>
          <a:p>
            <a:endParaRPr/>
          </a:p>
        </p:txBody>
      </p:sp>
      <p:sp>
        <p:nvSpPr>
          <p:cNvPr id="69" name="object 69"/>
          <p:cNvSpPr txBox="1"/>
          <p:nvPr/>
        </p:nvSpPr>
        <p:spPr>
          <a:xfrm>
            <a:off x="7498206" y="1671320"/>
            <a:ext cx="1855470" cy="2038350"/>
          </a:xfrm>
          <a:prstGeom prst="rect">
            <a:avLst/>
          </a:prstGeom>
        </p:spPr>
        <p:txBody>
          <a:bodyPr vert="horz" wrap="square" lIns="0" tIns="13335" rIns="0" bIns="0" rtlCol="0">
            <a:spAutoFit/>
          </a:bodyPr>
          <a:lstStyle/>
          <a:p>
            <a:pPr marL="184785" marR="163830" indent="-172720">
              <a:lnSpc>
                <a:spcPct val="100000"/>
              </a:lnSpc>
              <a:spcBef>
                <a:spcPts val="105"/>
              </a:spcBef>
              <a:buClr>
                <a:srgbClr val="006FAC"/>
              </a:buClr>
              <a:buFont typeface="Wingdings"/>
              <a:buChar char=""/>
              <a:tabLst>
                <a:tab pos="185420" algn="l"/>
              </a:tabLst>
            </a:pPr>
            <a:r>
              <a:rPr sz="1100" spc="-5">
                <a:latin typeface="Verdana"/>
                <a:cs typeface="Verdana"/>
              </a:rPr>
              <a:t>Gate </a:t>
            </a:r>
            <a:r>
              <a:rPr sz="1100">
                <a:latin typeface="Verdana"/>
                <a:cs typeface="Verdana"/>
              </a:rPr>
              <a:t>2 – </a:t>
            </a:r>
            <a:r>
              <a:rPr sz="1100" spc="-5">
                <a:latin typeface="Verdana"/>
                <a:cs typeface="Verdana"/>
              </a:rPr>
              <a:t>PMs make</a:t>
            </a:r>
            <a:r>
              <a:rPr sz="1100" spc="-70">
                <a:latin typeface="Verdana"/>
                <a:cs typeface="Verdana"/>
              </a:rPr>
              <a:t> </a:t>
            </a:r>
            <a:r>
              <a:rPr sz="1100">
                <a:latin typeface="Verdana"/>
                <a:cs typeface="Verdana"/>
              </a:rPr>
              <a:t>a  </a:t>
            </a:r>
            <a:r>
              <a:rPr sz="1100" spc="-5">
                <a:latin typeface="Verdana"/>
                <a:cs typeface="Verdana"/>
              </a:rPr>
              <a:t>first </a:t>
            </a:r>
            <a:r>
              <a:rPr sz="1100">
                <a:latin typeface="Verdana"/>
                <a:cs typeface="Verdana"/>
              </a:rPr>
              <a:t>assessment for  </a:t>
            </a:r>
            <a:r>
              <a:rPr sz="1100" spc="-5">
                <a:latin typeface="Verdana"/>
                <a:cs typeface="Verdana"/>
              </a:rPr>
              <a:t>feasibility, </a:t>
            </a:r>
            <a:r>
              <a:rPr sz="1100">
                <a:latin typeface="Verdana"/>
                <a:cs typeface="Verdana"/>
              </a:rPr>
              <a:t>costs and  </a:t>
            </a:r>
            <a:r>
              <a:rPr sz="1100" spc="-5">
                <a:latin typeface="Verdana"/>
                <a:cs typeface="Verdana"/>
              </a:rPr>
              <a:t>impacts</a:t>
            </a:r>
            <a:endParaRPr sz="1100">
              <a:latin typeface="Verdana"/>
              <a:cs typeface="Verdana"/>
            </a:endParaRPr>
          </a:p>
          <a:p>
            <a:pPr marL="184785" marR="43815" indent="-172720">
              <a:lnSpc>
                <a:spcPct val="100000"/>
              </a:lnSpc>
              <a:buClr>
                <a:srgbClr val="006FAC"/>
              </a:buClr>
              <a:buFont typeface="Wingdings"/>
              <a:buChar char=""/>
              <a:tabLst>
                <a:tab pos="185420" algn="l"/>
              </a:tabLst>
            </a:pPr>
            <a:r>
              <a:rPr sz="1100">
                <a:latin typeface="Verdana"/>
                <a:cs typeface="Verdana"/>
              </a:rPr>
              <a:t>A </a:t>
            </a:r>
            <a:r>
              <a:rPr sz="1100" spc="-5">
                <a:latin typeface="Verdana"/>
                <a:cs typeface="Verdana"/>
              </a:rPr>
              <a:t>“back to standard”  </a:t>
            </a:r>
            <a:r>
              <a:rPr sz="1100">
                <a:latin typeface="Verdana"/>
                <a:cs typeface="Verdana"/>
              </a:rPr>
              <a:t>session </a:t>
            </a:r>
            <a:r>
              <a:rPr sz="1100" spc="-10">
                <a:latin typeface="Verdana"/>
                <a:cs typeface="Verdana"/>
              </a:rPr>
              <a:t>will </a:t>
            </a:r>
            <a:r>
              <a:rPr sz="1100" spc="-5">
                <a:latin typeface="Verdana"/>
                <a:cs typeface="Verdana"/>
              </a:rPr>
              <a:t>be defined  to </a:t>
            </a:r>
            <a:r>
              <a:rPr sz="1100">
                <a:latin typeface="Verdana"/>
                <a:cs typeface="Verdana"/>
              </a:rPr>
              <a:t>approve/eject</a:t>
            </a:r>
            <a:r>
              <a:rPr sz="1100" spc="-105">
                <a:latin typeface="Verdana"/>
                <a:cs typeface="Verdana"/>
              </a:rPr>
              <a:t> </a:t>
            </a:r>
            <a:r>
              <a:rPr sz="1100">
                <a:latin typeface="Verdana"/>
                <a:cs typeface="Verdana"/>
              </a:rPr>
              <a:t>Items  at </a:t>
            </a:r>
            <a:r>
              <a:rPr sz="1100" spc="-5">
                <a:latin typeface="Verdana"/>
                <a:cs typeface="Verdana"/>
              </a:rPr>
              <a:t>PM</a:t>
            </a:r>
            <a:r>
              <a:rPr sz="1100" spc="-10">
                <a:latin typeface="Verdana"/>
                <a:cs typeface="Verdana"/>
              </a:rPr>
              <a:t> </a:t>
            </a:r>
            <a:r>
              <a:rPr sz="1100" spc="-5">
                <a:latin typeface="Verdana"/>
                <a:cs typeface="Verdana"/>
              </a:rPr>
              <a:t>level</a:t>
            </a:r>
            <a:endParaRPr sz="1100">
              <a:latin typeface="Verdana"/>
              <a:cs typeface="Verdana"/>
            </a:endParaRPr>
          </a:p>
          <a:p>
            <a:pPr marL="184785" marR="5080" indent="-172720">
              <a:lnSpc>
                <a:spcPct val="100000"/>
              </a:lnSpc>
              <a:buClr>
                <a:srgbClr val="006FAC"/>
              </a:buClr>
              <a:buFont typeface="Wingdings"/>
              <a:buChar char=""/>
              <a:tabLst>
                <a:tab pos="185420" algn="l"/>
              </a:tabLst>
            </a:pPr>
            <a:r>
              <a:rPr sz="1100">
                <a:latin typeface="Verdana"/>
                <a:cs typeface="Verdana"/>
              </a:rPr>
              <a:t>If </a:t>
            </a:r>
            <a:r>
              <a:rPr sz="1100" spc="-5">
                <a:latin typeface="Verdana"/>
                <a:cs typeface="Verdana"/>
              </a:rPr>
              <a:t>approved, </a:t>
            </a:r>
            <a:r>
              <a:rPr sz="1100">
                <a:latin typeface="Verdana"/>
                <a:cs typeface="Verdana"/>
              </a:rPr>
              <a:t>a request  </a:t>
            </a:r>
            <a:r>
              <a:rPr sz="1100" spc="-10">
                <a:latin typeface="Verdana"/>
                <a:cs typeface="Verdana"/>
              </a:rPr>
              <a:t>will </a:t>
            </a:r>
            <a:r>
              <a:rPr sz="1100" spc="-5">
                <a:latin typeface="Verdana"/>
                <a:cs typeface="Verdana"/>
              </a:rPr>
              <a:t>be submitted </a:t>
            </a:r>
            <a:r>
              <a:rPr sz="1100">
                <a:latin typeface="Verdana"/>
                <a:cs typeface="Verdana"/>
              </a:rPr>
              <a:t>and  brought </a:t>
            </a:r>
            <a:r>
              <a:rPr sz="1100" spc="-5">
                <a:latin typeface="Verdana"/>
                <a:cs typeface="Verdana"/>
              </a:rPr>
              <a:t>to the Steering  committee </a:t>
            </a:r>
            <a:r>
              <a:rPr sz="1100" spc="-10">
                <a:latin typeface="Verdana"/>
                <a:cs typeface="Verdana"/>
              </a:rPr>
              <a:t>if</a:t>
            </a:r>
            <a:r>
              <a:rPr sz="1100" spc="-5">
                <a:latin typeface="Verdana"/>
                <a:cs typeface="Verdana"/>
              </a:rPr>
              <a:t> </a:t>
            </a:r>
            <a:r>
              <a:rPr sz="1100">
                <a:latin typeface="Verdana"/>
                <a:cs typeface="Verdana"/>
              </a:rPr>
              <a:t>needed</a:t>
            </a:r>
          </a:p>
        </p:txBody>
      </p:sp>
      <p:sp>
        <p:nvSpPr>
          <p:cNvPr id="70" name="object 70"/>
          <p:cNvSpPr/>
          <p:nvPr/>
        </p:nvSpPr>
        <p:spPr>
          <a:xfrm>
            <a:off x="245363" y="4108703"/>
            <a:ext cx="2482596" cy="2316480"/>
          </a:xfrm>
          <a:prstGeom prst="rect">
            <a:avLst/>
          </a:prstGeom>
          <a:blipFill>
            <a:blip r:embed="rId10" cstate="print"/>
            <a:stretch>
              <a:fillRect/>
            </a:stretch>
          </a:blipFill>
        </p:spPr>
        <p:txBody>
          <a:bodyPr wrap="square" lIns="0" tIns="0" rIns="0" bIns="0" rtlCol="0"/>
          <a:lstStyle/>
          <a:p>
            <a:endParaRPr/>
          </a:p>
        </p:txBody>
      </p:sp>
      <p:sp>
        <p:nvSpPr>
          <p:cNvPr id="71" name="object 71"/>
          <p:cNvSpPr/>
          <p:nvPr/>
        </p:nvSpPr>
        <p:spPr>
          <a:xfrm>
            <a:off x="278891" y="4305300"/>
            <a:ext cx="2426208" cy="1969008"/>
          </a:xfrm>
          <a:prstGeom prst="rect">
            <a:avLst/>
          </a:prstGeom>
          <a:blipFill>
            <a:blip r:embed="rId11" cstate="print"/>
            <a:stretch>
              <a:fillRect/>
            </a:stretch>
          </a:blipFill>
        </p:spPr>
        <p:txBody>
          <a:bodyPr wrap="square" lIns="0" tIns="0" rIns="0" bIns="0" rtlCol="0"/>
          <a:lstStyle/>
          <a:p>
            <a:endParaRPr/>
          </a:p>
        </p:txBody>
      </p:sp>
      <p:sp>
        <p:nvSpPr>
          <p:cNvPr id="72" name="object 72"/>
          <p:cNvSpPr/>
          <p:nvPr/>
        </p:nvSpPr>
        <p:spPr>
          <a:xfrm>
            <a:off x="227075" y="4085844"/>
            <a:ext cx="2470785" cy="2304415"/>
          </a:xfrm>
          <a:custGeom>
            <a:avLst/>
            <a:gdLst/>
            <a:ahLst/>
            <a:cxnLst/>
            <a:rect l="l" t="t" r="r" b="b"/>
            <a:pathLst>
              <a:path w="2470785" h="2304415">
                <a:moveTo>
                  <a:pt x="2375027" y="0"/>
                </a:moveTo>
                <a:lnTo>
                  <a:pt x="95377" y="0"/>
                </a:lnTo>
                <a:lnTo>
                  <a:pt x="58250" y="7491"/>
                </a:lnTo>
                <a:lnTo>
                  <a:pt x="27933" y="27924"/>
                </a:lnTo>
                <a:lnTo>
                  <a:pt x="7494" y="58239"/>
                </a:lnTo>
                <a:lnTo>
                  <a:pt x="0" y="95376"/>
                </a:lnTo>
                <a:lnTo>
                  <a:pt x="0" y="2208910"/>
                </a:lnTo>
                <a:lnTo>
                  <a:pt x="7494" y="2246037"/>
                </a:lnTo>
                <a:lnTo>
                  <a:pt x="27933" y="2276354"/>
                </a:lnTo>
                <a:lnTo>
                  <a:pt x="58250" y="2296793"/>
                </a:lnTo>
                <a:lnTo>
                  <a:pt x="95377" y="2304287"/>
                </a:lnTo>
                <a:lnTo>
                  <a:pt x="2375027" y="2304287"/>
                </a:lnTo>
                <a:lnTo>
                  <a:pt x="2412164" y="2296793"/>
                </a:lnTo>
                <a:lnTo>
                  <a:pt x="2442479" y="2276354"/>
                </a:lnTo>
                <a:lnTo>
                  <a:pt x="2462912" y="2246037"/>
                </a:lnTo>
                <a:lnTo>
                  <a:pt x="2470404" y="2208910"/>
                </a:lnTo>
                <a:lnTo>
                  <a:pt x="2470404" y="95376"/>
                </a:lnTo>
                <a:lnTo>
                  <a:pt x="2462912" y="58239"/>
                </a:lnTo>
                <a:lnTo>
                  <a:pt x="2442479" y="27924"/>
                </a:lnTo>
                <a:lnTo>
                  <a:pt x="2412164" y="7491"/>
                </a:lnTo>
                <a:lnTo>
                  <a:pt x="2375027" y="0"/>
                </a:lnTo>
                <a:close/>
              </a:path>
            </a:pathLst>
          </a:custGeom>
          <a:solidFill>
            <a:srgbClr val="CDEFFA"/>
          </a:solidFill>
        </p:spPr>
        <p:txBody>
          <a:bodyPr wrap="square" lIns="0" tIns="0" rIns="0" bIns="0" rtlCol="0"/>
          <a:lstStyle/>
          <a:p>
            <a:endParaRPr/>
          </a:p>
        </p:txBody>
      </p:sp>
      <p:sp>
        <p:nvSpPr>
          <p:cNvPr id="73" name="object 73"/>
          <p:cNvSpPr/>
          <p:nvPr/>
        </p:nvSpPr>
        <p:spPr>
          <a:xfrm>
            <a:off x="227075" y="4085844"/>
            <a:ext cx="2470785" cy="2304415"/>
          </a:xfrm>
          <a:custGeom>
            <a:avLst/>
            <a:gdLst/>
            <a:ahLst/>
            <a:cxnLst/>
            <a:rect l="l" t="t" r="r" b="b"/>
            <a:pathLst>
              <a:path w="2470785" h="2304415">
                <a:moveTo>
                  <a:pt x="0" y="95376"/>
                </a:moveTo>
                <a:lnTo>
                  <a:pt x="7494" y="58239"/>
                </a:lnTo>
                <a:lnTo>
                  <a:pt x="27933" y="27924"/>
                </a:lnTo>
                <a:lnTo>
                  <a:pt x="58250" y="7491"/>
                </a:lnTo>
                <a:lnTo>
                  <a:pt x="95377" y="0"/>
                </a:lnTo>
                <a:lnTo>
                  <a:pt x="2375027" y="0"/>
                </a:lnTo>
                <a:lnTo>
                  <a:pt x="2412164" y="7491"/>
                </a:lnTo>
                <a:lnTo>
                  <a:pt x="2442479" y="27924"/>
                </a:lnTo>
                <a:lnTo>
                  <a:pt x="2462912" y="58239"/>
                </a:lnTo>
                <a:lnTo>
                  <a:pt x="2470404" y="95376"/>
                </a:lnTo>
                <a:lnTo>
                  <a:pt x="2470404" y="2208910"/>
                </a:lnTo>
                <a:lnTo>
                  <a:pt x="2462912" y="2246037"/>
                </a:lnTo>
                <a:lnTo>
                  <a:pt x="2442479" y="2276354"/>
                </a:lnTo>
                <a:lnTo>
                  <a:pt x="2412164" y="2296793"/>
                </a:lnTo>
                <a:lnTo>
                  <a:pt x="2375027" y="2304287"/>
                </a:lnTo>
                <a:lnTo>
                  <a:pt x="95377" y="2304287"/>
                </a:lnTo>
                <a:lnTo>
                  <a:pt x="58250" y="2296793"/>
                </a:lnTo>
                <a:lnTo>
                  <a:pt x="27933" y="2276354"/>
                </a:lnTo>
                <a:lnTo>
                  <a:pt x="7494" y="2246037"/>
                </a:lnTo>
                <a:lnTo>
                  <a:pt x="0" y="2208910"/>
                </a:lnTo>
                <a:lnTo>
                  <a:pt x="0" y="95376"/>
                </a:lnTo>
                <a:close/>
              </a:path>
            </a:pathLst>
          </a:custGeom>
          <a:ln w="9144">
            <a:solidFill>
              <a:srgbClr val="7E7E7E"/>
            </a:solidFill>
          </a:ln>
        </p:spPr>
        <p:txBody>
          <a:bodyPr wrap="square" lIns="0" tIns="0" rIns="0" bIns="0" rtlCol="0"/>
          <a:lstStyle/>
          <a:p>
            <a:endParaRPr/>
          </a:p>
        </p:txBody>
      </p:sp>
      <p:sp>
        <p:nvSpPr>
          <p:cNvPr id="74" name="object 74"/>
          <p:cNvSpPr txBox="1"/>
          <p:nvPr/>
        </p:nvSpPr>
        <p:spPr>
          <a:xfrm>
            <a:off x="334162" y="4309998"/>
            <a:ext cx="2232660" cy="1854835"/>
          </a:xfrm>
          <a:prstGeom prst="rect">
            <a:avLst/>
          </a:prstGeom>
        </p:spPr>
        <p:txBody>
          <a:bodyPr vert="horz" wrap="square" lIns="0" tIns="12700" rIns="0" bIns="0" rtlCol="0">
            <a:spAutoFit/>
          </a:bodyPr>
          <a:lstStyle/>
          <a:p>
            <a:pPr marL="12700" marR="26034">
              <a:lnSpc>
                <a:spcPct val="100000"/>
              </a:lnSpc>
              <a:spcBef>
                <a:spcPts val="100"/>
              </a:spcBef>
            </a:pPr>
            <a:r>
              <a:rPr sz="1200">
                <a:latin typeface="Verdana"/>
                <a:cs typeface="Verdana"/>
              </a:rPr>
              <a:t>In order </a:t>
            </a:r>
            <a:r>
              <a:rPr sz="1200" spc="-5">
                <a:latin typeface="Verdana"/>
                <a:cs typeface="Verdana"/>
              </a:rPr>
              <a:t>to facilitate the  evaluation/decision, </a:t>
            </a:r>
            <a:r>
              <a:rPr sz="1200">
                <a:latin typeface="Verdana"/>
                <a:cs typeface="Verdana"/>
              </a:rPr>
              <a:t>a </a:t>
            </a:r>
            <a:r>
              <a:rPr sz="1200" spc="-5">
                <a:latin typeface="Verdana"/>
                <a:cs typeface="Verdana"/>
              </a:rPr>
              <a:t>"four  blocks" will be prepared by  the requestor </a:t>
            </a:r>
            <a:r>
              <a:rPr sz="1200">
                <a:latin typeface="Verdana"/>
                <a:cs typeface="Verdana"/>
              </a:rPr>
              <a:t>for each </a:t>
            </a:r>
            <a:r>
              <a:rPr sz="1200" spc="-5">
                <a:latin typeface="Verdana"/>
                <a:cs typeface="Verdana"/>
              </a:rPr>
              <a:t>Item,  to </a:t>
            </a:r>
            <a:r>
              <a:rPr sz="1200" spc="-10">
                <a:latin typeface="Verdana"/>
                <a:cs typeface="Verdana"/>
              </a:rPr>
              <a:t>highlight:</a:t>
            </a:r>
            <a:endParaRPr sz="1200">
              <a:latin typeface="Verdana"/>
              <a:cs typeface="Verdana"/>
            </a:endParaRPr>
          </a:p>
          <a:p>
            <a:pPr marL="300355" marR="259079" indent="-170815">
              <a:lnSpc>
                <a:spcPct val="100000"/>
              </a:lnSpc>
              <a:buClr>
                <a:srgbClr val="006FAC"/>
              </a:buClr>
              <a:buFont typeface="Wingdings"/>
              <a:buChar char=""/>
              <a:tabLst>
                <a:tab pos="300990" algn="l"/>
              </a:tabLst>
            </a:pPr>
            <a:r>
              <a:rPr sz="1200" spc="-5">
                <a:latin typeface="Verdana"/>
                <a:cs typeface="Verdana"/>
              </a:rPr>
              <a:t>Request and</a:t>
            </a:r>
            <a:r>
              <a:rPr sz="1200" spc="-60">
                <a:latin typeface="Verdana"/>
                <a:cs typeface="Verdana"/>
              </a:rPr>
              <a:t> </a:t>
            </a:r>
            <a:r>
              <a:rPr sz="1200" spc="-5">
                <a:latin typeface="Verdana"/>
                <a:cs typeface="Verdana"/>
              </a:rPr>
              <a:t>business  need</a:t>
            </a:r>
            <a:endParaRPr sz="1200">
              <a:latin typeface="Verdana"/>
              <a:cs typeface="Verdana"/>
            </a:endParaRPr>
          </a:p>
          <a:p>
            <a:pPr marL="300355" indent="-171450">
              <a:lnSpc>
                <a:spcPct val="100000"/>
              </a:lnSpc>
              <a:buClr>
                <a:srgbClr val="006FAC"/>
              </a:buClr>
              <a:buFont typeface="Wingdings"/>
              <a:buChar char=""/>
              <a:tabLst>
                <a:tab pos="300990" algn="l"/>
              </a:tabLst>
            </a:pPr>
            <a:r>
              <a:rPr sz="1200" spc="-10">
                <a:latin typeface="Verdana"/>
                <a:cs typeface="Verdana"/>
              </a:rPr>
              <a:t>Workaround, </a:t>
            </a:r>
            <a:r>
              <a:rPr sz="1200" spc="-5">
                <a:latin typeface="Verdana"/>
                <a:cs typeface="Verdana"/>
              </a:rPr>
              <a:t>if</a:t>
            </a:r>
            <a:r>
              <a:rPr sz="1200" spc="-15">
                <a:latin typeface="Verdana"/>
                <a:cs typeface="Verdana"/>
              </a:rPr>
              <a:t> </a:t>
            </a:r>
            <a:r>
              <a:rPr sz="1200" spc="-10">
                <a:latin typeface="Verdana"/>
                <a:cs typeface="Verdana"/>
              </a:rPr>
              <a:t>available</a:t>
            </a:r>
            <a:endParaRPr sz="1200">
              <a:latin typeface="Verdana"/>
              <a:cs typeface="Verdana"/>
            </a:endParaRPr>
          </a:p>
          <a:p>
            <a:pPr marL="300355" indent="-171450">
              <a:lnSpc>
                <a:spcPct val="100000"/>
              </a:lnSpc>
              <a:buClr>
                <a:srgbClr val="006FAC"/>
              </a:buClr>
              <a:buFont typeface="Wingdings"/>
              <a:buChar char=""/>
              <a:tabLst>
                <a:tab pos="300990" algn="l"/>
              </a:tabLst>
            </a:pPr>
            <a:r>
              <a:rPr sz="1200" spc="-5">
                <a:latin typeface="Verdana"/>
                <a:cs typeface="Verdana"/>
              </a:rPr>
              <a:t>Costs if not</a:t>
            </a:r>
            <a:r>
              <a:rPr sz="1200" spc="-50">
                <a:latin typeface="Verdana"/>
                <a:cs typeface="Verdana"/>
              </a:rPr>
              <a:t> </a:t>
            </a:r>
            <a:r>
              <a:rPr sz="1200" spc="-5">
                <a:latin typeface="Verdana"/>
                <a:cs typeface="Verdana"/>
              </a:rPr>
              <a:t>implemented</a:t>
            </a:r>
            <a:endParaRPr sz="1200">
              <a:latin typeface="Verdana"/>
              <a:cs typeface="Verdana"/>
            </a:endParaRPr>
          </a:p>
          <a:p>
            <a:pPr marL="300355" indent="-171450">
              <a:lnSpc>
                <a:spcPct val="100000"/>
              </a:lnSpc>
              <a:spcBef>
                <a:spcPts val="5"/>
              </a:spcBef>
              <a:buClr>
                <a:srgbClr val="006FAC"/>
              </a:buClr>
              <a:buFont typeface="Wingdings"/>
              <a:buChar char=""/>
              <a:tabLst>
                <a:tab pos="300990" algn="l"/>
              </a:tabLst>
            </a:pPr>
            <a:r>
              <a:rPr sz="1200" spc="-5">
                <a:latin typeface="Verdana"/>
                <a:cs typeface="Verdana"/>
              </a:rPr>
              <a:t>Benefits</a:t>
            </a:r>
            <a:endParaRPr sz="1200">
              <a:latin typeface="Verdana"/>
              <a:cs typeface="Verdana"/>
            </a:endParaRPr>
          </a:p>
        </p:txBody>
      </p:sp>
      <p:sp>
        <p:nvSpPr>
          <p:cNvPr id="75" name="object 7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rPr>
                <a:solidFill>
                  <a:srgbClr val="FFFFFF"/>
                </a:solidFill>
              </a:rPr>
              <a:t>Capgemini’s Response Salesforce </a:t>
            </a:r>
            <a:r>
              <a:rPr spc="-5">
                <a:solidFill>
                  <a:srgbClr val="FFFFFF"/>
                </a:solidFill>
              </a:rPr>
              <a:t>Rollout Project </a:t>
            </a:r>
            <a:r>
              <a:rPr>
                <a:solidFill>
                  <a:srgbClr val="FFFFFF"/>
                </a:solidFill>
              </a:rPr>
              <a:t>| Sep</a:t>
            </a:r>
            <a:r>
              <a:rPr spc="-40">
                <a:solidFill>
                  <a:srgbClr val="FFFFFF"/>
                </a:solidFill>
              </a:rPr>
              <a:t> </a:t>
            </a:r>
            <a:r>
              <a:rPr>
                <a:solidFill>
                  <a:srgbClr val="FFFFFF"/>
                </a:solidFill>
              </a:rPr>
              <a:t>2020</a:t>
            </a:r>
          </a:p>
        </p:txBody>
      </p:sp>
      <p:sp>
        <p:nvSpPr>
          <p:cNvPr id="76" name="object 7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0</a:t>
            </a:fld>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7" name="object 7"/>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59</a:t>
            </a:r>
            <a:endParaRPr sz="800">
              <a:latin typeface="Verdana"/>
              <a:cs typeface="Verdana"/>
            </a:endParaRPr>
          </a:p>
        </p:txBody>
      </p:sp>
      <p:sp>
        <p:nvSpPr>
          <p:cNvPr id="9" name="object 9"/>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0" name="object 10"/>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1" name="object 11"/>
          <p:cNvSpPr/>
          <p:nvPr/>
        </p:nvSpPr>
        <p:spPr>
          <a:xfrm>
            <a:off x="443483" y="3692652"/>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7" y="288036"/>
                </a:lnTo>
                <a:lnTo>
                  <a:pt x="189539" y="280690"/>
                </a:lnTo>
                <a:lnTo>
                  <a:pt x="229073" y="260238"/>
                </a:lnTo>
                <a:lnTo>
                  <a:pt x="260249" y="229057"/>
                </a:lnTo>
                <a:lnTo>
                  <a:pt x="280693" y="189524"/>
                </a:lnTo>
                <a:lnTo>
                  <a:pt x="288036" y="144018"/>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2" name="object 12"/>
          <p:cNvSpPr/>
          <p:nvPr/>
        </p:nvSpPr>
        <p:spPr>
          <a:xfrm>
            <a:off x="502919" y="3761232"/>
            <a:ext cx="169164" cy="150875"/>
          </a:xfrm>
          <a:prstGeom prst="rect">
            <a:avLst/>
          </a:prstGeom>
          <a:blipFill>
            <a:blip r:embed="rId3" cstate="print"/>
            <a:stretch>
              <a:fillRect/>
            </a:stretch>
          </a:blipFill>
        </p:spPr>
        <p:txBody>
          <a:bodyPr wrap="square" lIns="0" tIns="0" rIns="0" bIns="0" rtlCol="0"/>
          <a:lstStyle/>
          <a:p>
            <a:endParaRPr/>
          </a:p>
        </p:txBody>
      </p:sp>
      <p:sp>
        <p:nvSpPr>
          <p:cNvPr id="13" name="object 13"/>
          <p:cNvSpPr/>
          <p:nvPr/>
        </p:nvSpPr>
        <p:spPr>
          <a:xfrm>
            <a:off x="443483" y="4120896"/>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4" name="object 14"/>
          <p:cNvSpPr/>
          <p:nvPr/>
        </p:nvSpPr>
        <p:spPr>
          <a:xfrm>
            <a:off x="502919" y="4189476"/>
            <a:ext cx="169164" cy="150875"/>
          </a:xfrm>
          <a:prstGeom prst="rect">
            <a:avLst/>
          </a:prstGeom>
          <a:blipFill>
            <a:blip r:embed="rId4" cstate="print"/>
            <a:stretch>
              <a:fillRect/>
            </a:stretch>
          </a:blipFill>
        </p:spPr>
        <p:txBody>
          <a:bodyPr wrap="square" lIns="0" tIns="0" rIns="0" bIns="0" rtlCol="0"/>
          <a:lstStyle/>
          <a:p>
            <a:endParaRPr/>
          </a:p>
        </p:txBody>
      </p:sp>
      <p:sp>
        <p:nvSpPr>
          <p:cNvPr id="15" name="object 15"/>
          <p:cNvSpPr txBox="1"/>
          <p:nvPr/>
        </p:nvSpPr>
        <p:spPr>
          <a:xfrm>
            <a:off x="540207" y="2902153"/>
            <a:ext cx="3218180" cy="147193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Project</a:t>
            </a:r>
            <a:r>
              <a:rPr sz="2000" b="1" spc="-40">
                <a:solidFill>
                  <a:srgbClr val="FFFFFF"/>
                </a:solidFill>
                <a:latin typeface="Verdana"/>
                <a:cs typeface="Verdana"/>
              </a:rPr>
              <a:t> </a:t>
            </a:r>
            <a:r>
              <a:rPr sz="2000" b="1" spc="-5">
                <a:solidFill>
                  <a:srgbClr val="FFFFFF"/>
                </a:solidFill>
                <a:latin typeface="Verdana"/>
                <a:cs typeface="Verdana"/>
              </a:rPr>
              <a:t>Methodologies</a:t>
            </a:r>
            <a:endParaRPr sz="2000">
              <a:latin typeface="Verdana"/>
              <a:cs typeface="Verdana"/>
            </a:endParaRPr>
          </a:p>
          <a:p>
            <a:pPr marL="12700">
              <a:lnSpc>
                <a:spcPct val="100000"/>
              </a:lnSpc>
            </a:pPr>
            <a:r>
              <a:rPr sz="2000" b="1">
                <a:solidFill>
                  <a:srgbClr val="FFFFFF"/>
                </a:solidFill>
                <a:latin typeface="Verdana"/>
                <a:cs typeface="Verdana"/>
              </a:rPr>
              <a:t>and</a:t>
            </a:r>
            <a:r>
              <a:rPr sz="2000" b="1" spc="-15">
                <a:solidFill>
                  <a:srgbClr val="FFFFFF"/>
                </a:solidFill>
                <a:latin typeface="Verdana"/>
                <a:cs typeface="Verdana"/>
              </a:rPr>
              <a:t> </a:t>
            </a:r>
            <a:r>
              <a:rPr sz="2000" b="1">
                <a:solidFill>
                  <a:srgbClr val="FFFFFF"/>
                </a:solidFill>
                <a:latin typeface="Verdana"/>
                <a:cs typeface="Verdana"/>
              </a:rPr>
              <a:t>Tools</a:t>
            </a:r>
            <a:endParaRPr sz="2000">
              <a:latin typeface="Verdana"/>
              <a:cs typeface="Verdana"/>
            </a:endParaRPr>
          </a:p>
          <a:p>
            <a:pPr marL="302895" marR="1598295">
              <a:lnSpc>
                <a:spcPts val="3379"/>
              </a:lnSpc>
              <a:spcBef>
                <a:spcPts val="220"/>
              </a:spcBef>
            </a:pPr>
            <a:r>
              <a:rPr sz="1400" b="1">
                <a:solidFill>
                  <a:srgbClr val="FFFFFF"/>
                </a:solidFill>
                <a:latin typeface="Verdana"/>
                <a:cs typeface="Verdana"/>
              </a:rPr>
              <a:t>Project</a:t>
            </a:r>
            <a:r>
              <a:rPr sz="1400" b="1" spc="-120">
                <a:solidFill>
                  <a:srgbClr val="FFFFFF"/>
                </a:solidFill>
                <a:latin typeface="Verdana"/>
                <a:cs typeface="Verdana"/>
              </a:rPr>
              <a:t> </a:t>
            </a:r>
            <a:r>
              <a:rPr sz="1400" b="1">
                <a:solidFill>
                  <a:srgbClr val="FFFFFF"/>
                </a:solidFill>
                <a:latin typeface="Verdana"/>
                <a:cs typeface="Verdana"/>
              </a:rPr>
              <a:t>Tools  Test</a:t>
            </a:r>
            <a:r>
              <a:rPr sz="1400" b="1" spc="-75">
                <a:solidFill>
                  <a:srgbClr val="FFFFFF"/>
                </a:solidFill>
                <a:latin typeface="Verdana"/>
                <a:cs typeface="Verdana"/>
              </a:rPr>
              <a:t> </a:t>
            </a:r>
            <a:r>
              <a:rPr sz="1400" b="1">
                <a:solidFill>
                  <a:srgbClr val="FFFFFF"/>
                </a:solidFill>
                <a:latin typeface="Verdana"/>
                <a:cs typeface="Verdana"/>
              </a:rPr>
              <a:t>Process</a:t>
            </a:r>
            <a:endParaRPr sz="1400">
              <a:latin typeface="Verdana"/>
              <a:cs typeface="Verdana"/>
            </a:endParaRPr>
          </a:p>
        </p:txBody>
      </p:sp>
      <p:sp>
        <p:nvSpPr>
          <p:cNvPr id="16" name="object 16"/>
          <p:cNvSpPr txBox="1">
            <a:spLocks noGrp="1"/>
          </p:cNvSpPr>
          <p:nvPr>
            <p:ph type="title"/>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rPr>
              <a:t>06</a:t>
            </a:r>
            <a:endParaRPr sz="4400"/>
          </a:p>
        </p:txBody>
      </p:sp>
      <p:sp>
        <p:nvSpPr>
          <p:cNvPr id="17" name="object 17"/>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pic>
        <p:nvPicPr>
          <p:cNvPr id="18" name="Picture 17">
            <a:extLst>
              <a:ext uri="{FF2B5EF4-FFF2-40B4-BE49-F238E27FC236}">
                <a16:creationId xmlns:a16="http://schemas.microsoft.com/office/drawing/2014/main" id="{74F813F4-57B9-4232-91CC-E117C0283EA4}"/>
              </a:ext>
            </a:extLst>
          </p:cNvPr>
          <p:cNvPicPr>
            <a:picLocks noChangeAspect="1"/>
          </p:cNvPicPr>
          <p:nvPr/>
        </p:nvPicPr>
        <p:blipFill>
          <a:blip r:embed="rId5"/>
          <a:stretch>
            <a:fillRect/>
          </a:stretch>
        </p:blipFill>
        <p:spPr>
          <a:xfrm>
            <a:off x="6182098" y="1638300"/>
            <a:ext cx="5085977" cy="2809876"/>
          </a:xfrm>
          <a:prstGeom prst="rect">
            <a:avLst/>
          </a:prstGeom>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37716" y="4427220"/>
            <a:ext cx="5710555" cy="2066925"/>
          </a:xfrm>
          <a:custGeom>
            <a:avLst/>
            <a:gdLst/>
            <a:ahLst/>
            <a:cxnLst/>
            <a:rect l="l" t="t" r="r" b="b"/>
            <a:pathLst>
              <a:path w="5710555" h="2066925">
                <a:moveTo>
                  <a:pt x="5568061" y="0"/>
                </a:moveTo>
                <a:lnTo>
                  <a:pt x="142366" y="0"/>
                </a:lnTo>
                <a:lnTo>
                  <a:pt x="97373" y="7259"/>
                </a:lnTo>
                <a:lnTo>
                  <a:pt x="58293" y="27472"/>
                </a:lnTo>
                <a:lnTo>
                  <a:pt x="27472" y="58292"/>
                </a:lnTo>
                <a:lnTo>
                  <a:pt x="7259" y="97373"/>
                </a:lnTo>
                <a:lnTo>
                  <a:pt x="0" y="142366"/>
                </a:lnTo>
                <a:lnTo>
                  <a:pt x="0" y="1924240"/>
                </a:lnTo>
                <a:lnTo>
                  <a:pt x="7259" y="1969217"/>
                </a:lnTo>
                <a:lnTo>
                  <a:pt x="27472" y="2008281"/>
                </a:lnTo>
                <a:lnTo>
                  <a:pt x="58292" y="2039086"/>
                </a:lnTo>
                <a:lnTo>
                  <a:pt x="97373" y="2059288"/>
                </a:lnTo>
                <a:lnTo>
                  <a:pt x="142366" y="2066543"/>
                </a:lnTo>
                <a:lnTo>
                  <a:pt x="5568061" y="2066543"/>
                </a:lnTo>
                <a:lnTo>
                  <a:pt x="5613054" y="2059288"/>
                </a:lnTo>
                <a:lnTo>
                  <a:pt x="5652135" y="2039086"/>
                </a:lnTo>
                <a:lnTo>
                  <a:pt x="5682955" y="2008281"/>
                </a:lnTo>
                <a:lnTo>
                  <a:pt x="5703168" y="1969217"/>
                </a:lnTo>
                <a:lnTo>
                  <a:pt x="5710428" y="1924240"/>
                </a:lnTo>
                <a:lnTo>
                  <a:pt x="5710428" y="142366"/>
                </a:lnTo>
                <a:lnTo>
                  <a:pt x="5703168" y="97373"/>
                </a:lnTo>
                <a:lnTo>
                  <a:pt x="5682955" y="58292"/>
                </a:lnTo>
                <a:lnTo>
                  <a:pt x="5652135" y="27472"/>
                </a:lnTo>
                <a:lnTo>
                  <a:pt x="5613054" y="7259"/>
                </a:lnTo>
                <a:lnTo>
                  <a:pt x="5568061" y="0"/>
                </a:lnTo>
                <a:close/>
              </a:path>
            </a:pathLst>
          </a:custGeom>
          <a:solidFill>
            <a:srgbClr val="EBEBEB"/>
          </a:solidFill>
        </p:spPr>
        <p:txBody>
          <a:bodyPr wrap="square" lIns="0" tIns="0" rIns="0" bIns="0" rtlCol="0"/>
          <a:lstStyle/>
          <a:p>
            <a:endParaRPr/>
          </a:p>
        </p:txBody>
      </p:sp>
      <p:sp>
        <p:nvSpPr>
          <p:cNvPr id="3" name="object 3"/>
          <p:cNvSpPr txBox="1">
            <a:spLocks noGrp="1"/>
          </p:cNvSpPr>
          <p:nvPr>
            <p:ph type="title"/>
          </p:nvPr>
        </p:nvSpPr>
        <p:spPr>
          <a:xfrm>
            <a:off x="214680" y="318896"/>
            <a:ext cx="5844540" cy="422275"/>
          </a:xfrm>
          <a:prstGeom prst="rect">
            <a:avLst/>
          </a:prstGeom>
        </p:spPr>
        <p:txBody>
          <a:bodyPr vert="horz" wrap="square" lIns="0" tIns="12700" rIns="0" bIns="0" rtlCol="0">
            <a:spAutoFit/>
          </a:bodyPr>
          <a:lstStyle/>
          <a:p>
            <a:pPr marL="12700">
              <a:lnSpc>
                <a:spcPct val="100000"/>
              </a:lnSpc>
              <a:spcBef>
                <a:spcPts val="100"/>
              </a:spcBef>
            </a:pPr>
            <a:r>
              <a:rPr sz="2600"/>
              <a:t>Unified </a:t>
            </a:r>
            <a:r>
              <a:rPr sz="2600" spc="-5"/>
              <a:t>Project Management</a:t>
            </a:r>
            <a:r>
              <a:rPr sz="2600" spc="-25"/>
              <a:t> </a:t>
            </a:r>
            <a:r>
              <a:rPr sz="2600" spc="-5"/>
              <a:t>(UPM)</a:t>
            </a:r>
            <a:endParaRPr sz="2600"/>
          </a:p>
        </p:txBody>
      </p:sp>
      <p:sp>
        <p:nvSpPr>
          <p:cNvPr id="4" name="object 4"/>
          <p:cNvSpPr/>
          <p:nvPr/>
        </p:nvSpPr>
        <p:spPr>
          <a:xfrm>
            <a:off x="1537716" y="1086611"/>
            <a:ext cx="3345179" cy="324002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427976" y="4446354"/>
            <a:ext cx="4488180" cy="2047409"/>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5053584" y="1126236"/>
            <a:ext cx="6863080" cy="3108960"/>
          </a:xfrm>
          <a:custGeom>
            <a:avLst/>
            <a:gdLst/>
            <a:ahLst/>
            <a:cxnLst/>
            <a:rect l="l" t="t" r="r" b="b"/>
            <a:pathLst>
              <a:path w="6863080" h="3108960">
                <a:moveTo>
                  <a:pt x="6710044" y="0"/>
                </a:moveTo>
                <a:lnTo>
                  <a:pt x="152526" y="0"/>
                </a:lnTo>
                <a:lnTo>
                  <a:pt x="104331" y="7779"/>
                </a:lnTo>
                <a:lnTo>
                  <a:pt x="62462" y="29439"/>
                </a:lnTo>
                <a:lnTo>
                  <a:pt x="29439" y="62462"/>
                </a:lnTo>
                <a:lnTo>
                  <a:pt x="7779" y="104331"/>
                </a:lnTo>
                <a:lnTo>
                  <a:pt x="0" y="152526"/>
                </a:lnTo>
                <a:lnTo>
                  <a:pt x="0" y="2956433"/>
                </a:lnTo>
                <a:lnTo>
                  <a:pt x="7779" y="3004628"/>
                </a:lnTo>
                <a:lnTo>
                  <a:pt x="29439" y="3046497"/>
                </a:lnTo>
                <a:lnTo>
                  <a:pt x="62462" y="3079520"/>
                </a:lnTo>
                <a:lnTo>
                  <a:pt x="104331" y="3101180"/>
                </a:lnTo>
                <a:lnTo>
                  <a:pt x="152526" y="3108960"/>
                </a:lnTo>
                <a:lnTo>
                  <a:pt x="6710044" y="3108960"/>
                </a:lnTo>
                <a:lnTo>
                  <a:pt x="6758240" y="3101180"/>
                </a:lnTo>
                <a:lnTo>
                  <a:pt x="6800109" y="3079520"/>
                </a:lnTo>
                <a:lnTo>
                  <a:pt x="6833132" y="3046497"/>
                </a:lnTo>
                <a:lnTo>
                  <a:pt x="6854792" y="3004628"/>
                </a:lnTo>
                <a:lnTo>
                  <a:pt x="6862571" y="2956433"/>
                </a:lnTo>
                <a:lnTo>
                  <a:pt x="6862571" y="152526"/>
                </a:lnTo>
                <a:lnTo>
                  <a:pt x="6854792" y="104331"/>
                </a:lnTo>
                <a:lnTo>
                  <a:pt x="6833132" y="62462"/>
                </a:lnTo>
                <a:lnTo>
                  <a:pt x="6800109" y="29439"/>
                </a:lnTo>
                <a:lnTo>
                  <a:pt x="6758240" y="7779"/>
                </a:lnTo>
                <a:lnTo>
                  <a:pt x="6710044" y="0"/>
                </a:lnTo>
                <a:close/>
              </a:path>
            </a:pathLst>
          </a:custGeom>
          <a:solidFill>
            <a:srgbClr val="EBEBEB"/>
          </a:solidFill>
        </p:spPr>
        <p:txBody>
          <a:bodyPr wrap="square" lIns="0" tIns="0" rIns="0" bIns="0" rtlCol="0"/>
          <a:lstStyle/>
          <a:p>
            <a:endParaRPr/>
          </a:p>
        </p:txBody>
      </p:sp>
      <p:sp>
        <p:nvSpPr>
          <p:cNvPr id="7" name="object 7"/>
          <p:cNvSpPr txBox="1"/>
          <p:nvPr/>
        </p:nvSpPr>
        <p:spPr>
          <a:xfrm>
            <a:off x="1658239" y="1223213"/>
            <a:ext cx="10033000" cy="5175885"/>
          </a:xfrm>
          <a:prstGeom prst="rect">
            <a:avLst/>
          </a:prstGeom>
        </p:spPr>
        <p:txBody>
          <a:bodyPr vert="horz" wrap="square" lIns="0" tIns="12700" rIns="0" bIns="0" rtlCol="0">
            <a:spAutoFit/>
          </a:bodyPr>
          <a:lstStyle/>
          <a:p>
            <a:pPr marL="3531870">
              <a:lnSpc>
                <a:spcPct val="100000"/>
              </a:lnSpc>
              <a:spcBef>
                <a:spcPts val="100"/>
              </a:spcBef>
            </a:pPr>
            <a:r>
              <a:rPr sz="1200" b="1" spc="-5">
                <a:latin typeface="Verdana"/>
                <a:cs typeface="Verdana"/>
              </a:rPr>
              <a:t>UPM </a:t>
            </a:r>
            <a:r>
              <a:rPr sz="1200" spc="-5">
                <a:latin typeface="Verdana"/>
                <a:cs typeface="Verdana"/>
              </a:rPr>
              <a:t>is </a:t>
            </a:r>
            <a:r>
              <a:rPr sz="1200">
                <a:latin typeface="Verdana"/>
                <a:cs typeface="Verdana"/>
              </a:rPr>
              <a:t>a </a:t>
            </a:r>
            <a:r>
              <a:rPr sz="1200" spc="-5">
                <a:latin typeface="Verdana"/>
                <a:cs typeface="Verdana"/>
              </a:rPr>
              <a:t>flexible, </a:t>
            </a:r>
            <a:r>
              <a:rPr sz="1200" spc="-10">
                <a:latin typeface="Verdana"/>
                <a:cs typeface="Verdana"/>
              </a:rPr>
              <a:t>highly-adaptable </a:t>
            </a:r>
            <a:r>
              <a:rPr sz="1200" spc="-5">
                <a:latin typeface="Verdana"/>
                <a:cs typeface="Verdana"/>
              </a:rPr>
              <a:t>method that provides </a:t>
            </a:r>
            <a:r>
              <a:rPr sz="1200">
                <a:latin typeface="Verdana"/>
                <a:cs typeface="Verdana"/>
              </a:rPr>
              <a:t>a </a:t>
            </a:r>
            <a:r>
              <a:rPr sz="1200" spc="-5">
                <a:latin typeface="Verdana"/>
                <a:cs typeface="Verdana"/>
              </a:rPr>
              <a:t>detailed description</a:t>
            </a:r>
            <a:r>
              <a:rPr sz="1200" spc="225">
                <a:latin typeface="Verdana"/>
                <a:cs typeface="Verdana"/>
              </a:rPr>
              <a:t> </a:t>
            </a:r>
            <a:r>
              <a:rPr sz="1200">
                <a:latin typeface="Verdana"/>
                <a:cs typeface="Verdana"/>
              </a:rPr>
              <a:t>of</a:t>
            </a:r>
          </a:p>
          <a:p>
            <a:pPr marL="3531870">
              <a:lnSpc>
                <a:spcPct val="100000"/>
              </a:lnSpc>
              <a:spcBef>
                <a:spcPts val="5"/>
              </a:spcBef>
            </a:pPr>
            <a:r>
              <a:rPr sz="1200" spc="-5">
                <a:latin typeface="Verdana"/>
                <a:cs typeface="Verdana"/>
              </a:rPr>
              <a:t>management </a:t>
            </a:r>
            <a:r>
              <a:rPr sz="1200" spc="-10">
                <a:latin typeface="Verdana"/>
                <a:cs typeface="Verdana"/>
              </a:rPr>
              <a:t>activities </a:t>
            </a:r>
            <a:r>
              <a:rPr sz="1200" spc="-5">
                <a:latin typeface="Verdana"/>
                <a:cs typeface="Verdana"/>
              </a:rPr>
              <a:t>needing completion to ensure successful delivery </a:t>
            </a:r>
            <a:r>
              <a:rPr sz="1200">
                <a:latin typeface="Verdana"/>
                <a:cs typeface="Verdana"/>
              </a:rPr>
              <a:t>of a</a:t>
            </a:r>
            <a:r>
              <a:rPr sz="1200" spc="180">
                <a:latin typeface="Verdana"/>
                <a:cs typeface="Verdana"/>
              </a:rPr>
              <a:t> </a:t>
            </a:r>
            <a:r>
              <a:rPr sz="1200" spc="-5">
                <a:latin typeface="Verdana"/>
                <a:cs typeface="Verdana"/>
              </a:rPr>
              <a:t>project</a:t>
            </a:r>
            <a:endParaRPr sz="1200">
              <a:latin typeface="Verdana"/>
              <a:cs typeface="Verdana"/>
            </a:endParaRPr>
          </a:p>
          <a:p>
            <a:pPr marL="3703954" indent="-172720">
              <a:lnSpc>
                <a:spcPct val="100000"/>
              </a:lnSpc>
              <a:spcBef>
                <a:spcPts val="405"/>
              </a:spcBef>
              <a:buClr>
                <a:srgbClr val="006FAC"/>
              </a:buClr>
              <a:buFont typeface="Wingdings"/>
              <a:buChar char=""/>
              <a:tabLst>
                <a:tab pos="3704590" algn="l"/>
              </a:tabLst>
            </a:pPr>
            <a:r>
              <a:rPr sz="1200">
                <a:latin typeface="Verdana"/>
                <a:cs typeface="Verdana"/>
              </a:rPr>
              <a:t>Based on </a:t>
            </a:r>
            <a:r>
              <a:rPr sz="1200" spc="-5">
                <a:latin typeface="Verdana"/>
                <a:cs typeface="Verdana"/>
              </a:rPr>
              <a:t>concepts that </a:t>
            </a:r>
            <a:r>
              <a:rPr sz="1200" spc="-10">
                <a:latin typeface="Verdana"/>
                <a:cs typeface="Verdana"/>
              </a:rPr>
              <a:t>make </a:t>
            </a:r>
            <a:r>
              <a:rPr sz="1200" spc="-5">
                <a:latin typeface="Verdana"/>
                <a:cs typeface="Verdana"/>
              </a:rPr>
              <a:t>use </a:t>
            </a:r>
            <a:r>
              <a:rPr sz="1200">
                <a:latin typeface="Verdana"/>
                <a:cs typeface="Verdana"/>
              </a:rPr>
              <a:t>of </a:t>
            </a:r>
            <a:r>
              <a:rPr sz="1200" spc="-5">
                <a:latin typeface="Verdana"/>
                <a:cs typeface="Verdana"/>
              </a:rPr>
              <a:t>it</a:t>
            </a:r>
            <a:r>
              <a:rPr sz="1200" spc="50">
                <a:latin typeface="Verdana"/>
                <a:cs typeface="Verdana"/>
              </a:rPr>
              <a:t> </a:t>
            </a:r>
            <a:r>
              <a:rPr sz="1200" spc="-10">
                <a:latin typeface="Verdana"/>
                <a:cs typeface="Verdana"/>
              </a:rPr>
              <a:t>practical</a:t>
            </a:r>
            <a:endParaRPr sz="1200">
              <a:latin typeface="Verdana"/>
              <a:cs typeface="Verdana"/>
            </a:endParaRPr>
          </a:p>
          <a:p>
            <a:pPr marL="3703954" indent="-172720">
              <a:lnSpc>
                <a:spcPct val="100000"/>
              </a:lnSpc>
              <a:spcBef>
                <a:spcPts val="400"/>
              </a:spcBef>
              <a:buClr>
                <a:srgbClr val="006FAC"/>
              </a:buClr>
              <a:buFont typeface="Wingdings"/>
              <a:buChar char=""/>
              <a:tabLst>
                <a:tab pos="3704590" algn="l"/>
              </a:tabLst>
            </a:pPr>
            <a:r>
              <a:rPr sz="1200" spc="-5">
                <a:latin typeface="Verdana"/>
                <a:cs typeface="Verdana"/>
              </a:rPr>
              <a:t>Used to estimate, plan, and monitor</a:t>
            </a:r>
            <a:r>
              <a:rPr sz="1200" spc="55">
                <a:latin typeface="Verdana"/>
                <a:cs typeface="Verdana"/>
              </a:rPr>
              <a:t> </a:t>
            </a:r>
            <a:r>
              <a:rPr sz="1200" spc="-10">
                <a:latin typeface="Verdana"/>
                <a:cs typeface="Verdana"/>
              </a:rPr>
              <a:t>activities</a:t>
            </a:r>
            <a:endParaRPr sz="1200">
              <a:latin typeface="Verdana"/>
              <a:cs typeface="Verdana"/>
            </a:endParaRPr>
          </a:p>
          <a:p>
            <a:pPr marL="3703954" indent="-172720">
              <a:lnSpc>
                <a:spcPct val="100000"/>
              </a:lnSpc>
              <a:spcBef>
                <a:spcPts val="395"/>
              </a:spcBef>
              <a:buClr>
                <a:srgbClr val="006FAC"/>
              </a:buClr>
              <a:buFont typeface="Wingdings"/>
              <a:buChar char=""/>
              <a:tabLst>
                <a:tab pos="3704590" algn="l"/>
              </a:tabLst>
            </a:pPr>
            <a:r>
              <a:rPr sz="1200" spc="-5">
                <a:latin typeface="Verdana"/>
                <a:cs typeface="Verdana"/>
              </a:rPr>
              <a:t>Comprised </a:t>
            </a:r>
            <a:r>
              <a:rPr sz="1200">
                <a:latin typeface="Verdana"/>
                <a:cs typeface="Verdana"/>
              </a:rPr>
              <a:t>of </a:t>
            </a:r>
            <a:r>
              <a:rPr sz="1200" spc="-5">
                <a:latin typeface="Verdana"/>
                <a:cs typeface="Verdana"/>
              </a:rPr>
              <a:t>three </a:t>
            </a:r>
            <a:r>
              <a:rPr sz="1200" spc="-10">
                <a:latin typeface="Verdana"/>
                <a:cs typeface="Verdana"/>
              </a:rPr>
              <a:t>distinct </a:t>
            </a:r>
            <a:r>
              <a:rPr sz="1200" spc="-5">
                <a:latin typeface="Verdana"/>
                <a:cs typeface="Verdana"/>
              </a:rPr>
              <a:t>phases: </a:t>
            </a:r>
            <a:r>
              <a:rPr sz="1200" spc="-10">
                <a:latin typeface="Verdana"/>
                <a:cs typeface="Verdana"/>
              </a:rPr>
              <a:t>Start-up, Execution </a:t>
            </a:r>
            <a:r>
              <a:rPr sz="1200" spc="-5">
                <a:latin typeface="Verdana"/>
                <a:cs typeface="Verdana"/>
              </a:rPr>
              <a:t>and</a:t>
            </a:r>
            <a:r>
              <a:rPr sz="1200" spc="175">
                <a:latin typeface="Verdana"/>
                <a:cs typeface="Verdana"/>
              </a:rPr>
              <a:t> </a:t>
            </a:r>
            <a:r>
              <a:rPr sz="1200">
                <a:latin typeface="Verdana"/>
                <a:cs typeface="Verdana"/>
              </a:rPr>
              <a:t>Close-Down</a:t>
            </a:r>
          </a:p>
          <a:p>
            <a:pPr marL="3703954" indent="-172720">
              <a:lnSpc>
                <a:spcPct val="100000"/>
              </a:lnSpc>
              <a:spcBef>
                <a:spcPts val="405"/>
              </a:spcBef>
              <a:buClr>
                <a:srgbClr val="006FAC"/>
              </a:buClr>
              <a:buFont typeface="Wingdings"/>
              <a:buChar char=""/>
              <a:tabLst>
                <a:tab pos="3704590" algn="l"/>
              </a:tabLst>
            </a:pPr>
            <a:r>
              <a:rPr sz="1200" spc="-5">
                <a:latin typeface="Verdana"/>
                <a:cs typeface="Verdana"/>
              </a:rPr>
              <a:t>Management </a:t>
            </a:r>
            <a:r>
              <a:rPr sz="1200">
                <a:latin typeface="Verdana"/>
                <a:cs typeface="Verdana"/>
              </a:rPr>
              <a:t>focus – </a:t>
            </a:r>
            <a:r>
              <a:rPr sz="1200" spc="-5">
                <a:latin typeface="Verdana"/>
                <a:cs typeface="Verdana"/>
              </a:rPr>
              <a:t>not</a:t>
            </a:r>
            <a:r>
              <a:rPr sz="1200" spc="20">
                <a:latin typeface="Verdana"/>
                <a:cs typeface="Verdana"/>
              </a:rPr>
              <a:t> </a:t>
            </a:r>
            <a:r>
              <a:rPr sz="1200" spc="-5">
                <a:latin typeface="Verdana"/>
                <a:cs typeface="Verdana"/>
              </a:rPr>
              <a:t>technical</a:t>
            </a:r>
            <a:endParaRPr sz="1200">
              <a:latin typeface="Verdana"/>
              <a:cs typeface="Verdana"/>
            </a:endParaRPr>
          </a:p>
          <a:p>
            <a:pPr marL="3703954" indent="-172720">
              <a:lnSpc>
                <a:spcPct val="100000"/>
              </a:lnSpc>
              <a:spcBef>
                <a:spcPts val="400"/>
              </a:spcBef>
              <a:buClr>
                <a:srgbClr val="006FAC"/>
              </a:buClr>
              <a:buFont typeface="Wingdings"/>
              <a:buChar char=""/>
              <a:tabLst>
                <a:tab pos="3704590" algn="l"/>
              </a:tabLst>
            </a:pPr>
            <a:r>
              <a:rPr sz="1200" spc="-5">
                <a:latin typeface="Verdana"/>
                <a:cs typeface="Verdana"/>
              </a:rPr>
              <a:t>Incorporates industry</a:t>
            </a:r>
            <a:r>
              <a:rPr sz="1200" spc="30">
                <a:latin typeface="Verdana"/>
                <a:cs typeface="Verdana"/>
              </a:rPr>
              <a:t> </a:t>
            </a:r>
            <a:r>
              <a:rPr sz="1200" spc="-10">
                <a:latin typeface="Verdana"/>
                <a:cs typeface="Verdana"/>
              </a:rPr>
              <a:t>best-practices</a:t>
            </a:r>
            <a:endParaRPr sz="1200">
              <a:latin typeface="Verdana"/>
              <a:cs typeface="Verdana"/>
            </a:endParaRPr>
          </a:p>
          <a:p>
            <a:pPr marL="3703954" indent="-172720">
              <a:lnSpc>
                <a:spcPct val="100000"/>
              </a:lnSpc>
              <a:spcBef>
                <a:spcPts val="395"/>
              </a:spcBef>
              <a:buClr>
                <a:srgbClr val="006FAC"/>
              </a:buClr>
              <a:buFont typeface="Wingdings"/>
              <a:buChar char=""/>
              <a:tabLst>
                <a:tab pos="3704590" algn="l"/>
              </a:tabLst>
            </a:pPr>
            <a:r>
              <a:rPr sz="1200" spc="-5">
                <a:latin typeface="Verdana"/>
                <a:cs typeface="Verdana"/>
              </a:rPr>
              <a:t>Scalable (can be used to manage projects </a:t>
            </a:r>
            <a:r>
              <a:rPr sz="1200">
                <a:latin typeface="Verdana"/>
                <a:cs typeface="Verdana"/>
              </a:rPr>
              <a:t>of </a:t>
            </a:r>
            <a:r>
              <a:rPr sz="1200" spc="-5">
                <a:latin typeface="Verdana"/>
                <a:cs typeface="Verdana"/>
              </a:rPr>
              <a:t>all</a:t>
            </a:r>
            <a:r>
              <a:rPr sz="1200" spc="85">
                <a:latin typeface="Verdana"/>
                <a:cs typeface="Verdana"/>
              </a:rPr>
              <a:t> </a:t>
            </a:r>
            <a:r>
              <a:rPr sz="1200" spc="-5">
                <a:latin typeface="Verdana"/>
                <a:cs typeface="Verdana"/>
              </a:rPr>
              <a:t>sizes)</a:t>
            </a:r>
            <a:endParaRPr sz="1200">
              <a:latin typeface="Verdana"/>
              <a:cs typeface="Verdana"/>
            </a:endParaRPr>
          </a:p>
          <a:p>
            <a:pPr marL="3703954" indent="-172720">
              <a:lnSpc>
                <a:spcPct val="100000"/>
              </a:lnSpc>
              <a:spcBef>
                <a:spcPts val="409"/>
              </a:spcBef>
              <a:buClr>
                <a:srgbClr val="006FAC"/>
              </a:buClr>
              <a:buFont typeface="Wingdings"/>
              <a:buChar char=""/>
              <a:tabLst>
                <a:tab pos="3704590" algn="l"/>
              </a:tabLst>
            </a:pPr>
            <a:r>
              <a:rPr sz="1200" spc="-5">
                <a:latin typeface="Verdana"/>
                <a:cs typeface="Verdana"/>
              </a:rPr>
              <a:t>Assumptions:</a:t>
            </a:r>
            <a:endParaRPr sz="1200">
              <a:latin typeface="Verdana"/>
              <a:cs typeface="Verdana"/>
            </a:endParaRPr>
          </a:p>
          <a:p>
            <a:pPr marL="3877310" lvl="1" indent="-173990">
              <a:lnSpc>
                <a:spcPct val="100000"/>
              </a:lnSpc>
              <a:spcBef>
                <a:spcPts val="395"/>
              </a:spcBef>
              <a:buClr>
                <a:srgbClr val="12ABDB"/>
              </a:buClr>
              <a:buFont typeface="Arial"/>
              <a:buChar char="•"/>
              <a:tabLst>
                <a:tab pos="3877945" algn="l"/>
              </a:tabLst>
            </a:pPr>
            <a:r>
              <a:rPr sz="1200" spc="-5">
                <a:latin typeface="Verdana"/>
                <a:cs typeface="Verdana"/>
              </a:rPr>
              <a:t>Rightshore </a:t>
            </a:r>
            <a:r>
              <a:rPr sz="1200" spc="-10">
                <a:latin typeface="Verdana"/>
                <a:cs typeface="Verdana"/>
              </a:rPr>
              <a:t>Operating</a:t>
            </a:r>
            <a:r>
              <a:rPr sz="1200" spc="40">
                <a:latin typeface="Verdana"/>
                <a:cs typeface="Verdana"/>
              </a:rPr>
              <a:t> </a:t>
            </a:r>
            <a:r>
              <a:rPr sz="1200" spc="-5">
                <a:latin typeface="Verdana"/>
                <a:cs typeface="Verdana"/>
              </a:rPr>
              <a:t>Model</a:t>
            </a:r>
            <a:endParaRPr sz="1200">
              <a:latin typeface="Verdana"/>
              <a:cs typeface="Verdana"/>
            </a:endParaRPr>
          </a:p>
          <a:p>
            <a:pPr marL="3877310" lvl="1" indent="-173990">
              <a:lnSpc>
                <a:spcPct val="100000"/>
              </a:lnSpc>
              <a:spcBef>
                <a:spcPts val="395"/>
              </a:spcBef>
              <a:buClr>
                <a:srgbClr val="12ABDB"/>
              </a:buClr>
              <a:buFont typeface="Arial"/>
              <a:buChar char="•"/>
              <a:tabLst>
                <a:tab pos="3877945" algn="l"/>
              </a:tabLst>
            </a:pPr>
            <a:r>
              <a:rPr sz="1200" spc="-5">
                <a:latin typeface="Verdana"/>
                <a:cs typeface="Verdana"/>
              </a:rPr>
              <a:t>Client </a:t>
            </a:r>
            <a:r>
              <a:rPr sz="1200" spc="-10">
                <a:latin typeface="Verdana"/>
                <a:cs typeface="Verdana"/>
              </a:rPr>
              <a:t>Involvement</a:t>
            </a:r>
            <a:endParaRPr sz="1200">
              <a:latin typeface="Verdana"/>
              <a:cs typeface="Verdana"/>
            </a:endParaRPr>
          </a:p>
          <a:p>
            <a:pPr marL="3877310" lvl="1" indent="-173990">
              <a:lnSpc>
                <a:spcPct val="100000"/>
              </a:lnSpc>
              <a:spcBef>
                <a:spcPts val="409"/>
              </a:spcBef>
              <a:buClr>
                <a:srgbClr val="12ABDB"/>
              </a:buClr>
              <a:buFont typeface="Arial"/>
              <a:buChar char="•"/>
              <a:tabLst>
                <a:tab pos="3877945" algn="l"/>
              </a:tabLst>
            </a:pPr>
            <a:r>
              <a:rPr sz="1200" spc="-5">
                <a:latin typeface="Verdana"/>
                <a:cs typeface="Verdana"/>
              </a:rPr>
              <a:t>Should be tailored to fit </a:t>
            </a:r>
            <a:r>
              <a:rPr sz="1200">
                <a:latin typeface="Verdana"/>
                <a:cs typeface="Verdana"/>
              </a:rPr>
              <a:t>each </a:t>
            </a:r>
            <a:r>
              <a:rPr sz="1200" spc="-5">
                <a:latin typeface="Verdana"/>
                <a:cs typeface="Verdana"/>
              </a:rPr>
              <a:t>project, but remains consistent with</a:t>
            </a:r>
            <a:r>
              <a:rPr sz="1200" spc="145">
                <a:latin typeface="Verdana"/>
                <a:cs typeface="Verdana"/>
              </a:rPr>
              <a:t> </a:t>
            </a:r>
            <a:r>
              <a:rPr sz="1200" spc="-5">
                <a:latin typeface="Verdana"/>
                <a:cs typeface="Verdana"/>
              </a:rPr>
              <a:t>artefacts</a:t>
            </a:r>
            <a:endParaRPr sz="1200">
              <a:latin typeface="Verdana"/>
              <a:cs typeface="Verdana"/>
            </a:endParaRPr>
          </a:p>
          <a:p>
            <a:pPr marL="3877310">
              <a:lnSpc>
                <a:spcPct val="100000"/>
              </a:lnSpc>
            </a:pPr>
            <a:r>
              <a:rPr sz="1200" spc="-5">
                <a:latin typeface="Verdana"/>
                <a:cs typeface="Verdana"/>
              </a:rPr>
              <a:t>identified </a:t>
            </a:r>
            <a:r>
              <a:rPr sz="1200">
                <a:latin typeface="Verdana"/>
                <a:cs typeface="Verdana"/>
              </a:rPr>
              <a:t>as </a:t>
            </a:r>
            <a:r>
              <a:rPr sz="1200" spc="-5">
                <a:latin typeface="Verdana"/>
                <a:cs typeface="Verdana"/>
              </a:rPr>
              <a:t>mandatory </a:t>
            </a:r>
            <a:r>
              <a:rPr sz="1200">
                <a:latin typeface="Verdana"/>
                <a:cs typeface="Verdana"/>
              </a:rPr>
              <a:t>or </a:t>
            </a:r>
            <a:r>
              <a:rPr sz="1200" spc="-10">
                <a:latin typeface="Verdana"/>
                <a:cs typeface="Verdana"/>
              </a:rPr>
              <a:t>highly</a:t>
            </a:r>
            <a:r>
              <a:rPr sz="1200" spc="50">
                <a:latin typeface="Verdana"/>
                <a:cs typeface="Verdana"/>
              </a:rPr>
              <a:t> </a:t>
            </a:r>
            <a:r>
              <a:rPr sz="1200" spc="-5">
                <a:latin typeface="Verdana"/>
                <a:cs typeface="Verdana"/>
              </a:rPr>
              <a:t>recommended</a:t>
            </a:r>
            <a:endParaRPr sz="1200">
              <a:latin typeface="Verdana"/>
              <a:cs typeface="Verdana"/>
            </a:endParaRPr>
          </a:p>
          <a:p>
            <a:pPr>
              <a:lnSpc>
                <a:spcPct val="100000"/>
              </a:lnSpc>
            </a:pPr>
            <a:endParaRPr sz="1400">
              <a:latin typeface="Times New Roman"/>
              <a:cs typeface="Times New Roman"/>
            </a:endParaRPr>
          </a:p>
          <a:p>
            <a:pPr>
              <a:lnSpc>
                <a:spcPct val="100000"/>
              </a:lnSpc>
              <a:spcBef>
                <a:spcPts val="25"/>
              </a:spcBef>
            </a:pPr>
            <a:endParaRPr sz="1400">
              <a:latin typeface="Times New Roman"/>
              <a:cs typeface="Times New Roman"/>
            </a:endParaRPr>
          </a:p>
          <a:p>
            <a:pPr marL="12700">
              <a:lnSpc>
                <a:spcPct val="100000"/>
              </a:lnSpc>
            </a:pPr>
            <a:r>
              <a:rPr sz="1200" spc="-5">
                <a:latin typeface="Verdana"/>
                <a:cs typeface="Verdana"/>
              </a:rPr>
              <a:t>The </a:t>
            </a:r>
            <a:r>
              <a:rPr sz="1200" b="1" spc="-5">
                <a:latin typeface="Verdana"/>
                <a:cs typeface="Verdana"/>
              </a:rPr>
              <a:t>UPM structure </a:t>
            </a:r>
            <a:r>
              <a:rPr sz="1200" spc="-5">
                <a:latin typeface="Verdana"/>
                <a:cs typeface="Verdana"/>
              </a:rPr>
              <a:t>(and </a:t>
            </a:r>
            <a:r>
              <a:rPr sz="1200" spc="-10">
                <a:latin typeface="Verdana"/>
                <a:cs typeface="Verdana"/>
              </a:rPr>
              <a:t>it’s </a:t>
            </a:r>
            <a:r>
              <a:rPr sz="1200" spc="-5">
                <a:latin typeface="Verdana"/>
                <a:cs typeface="Verdana"/>
              </a:rPr>
              <a:t>related</a:t>
            </a:r>
            <a:r>
              <a:rPr sz="1200" spc="50">
                <a:latin typeface="Verdana"/>
                <a:cs typeface="Verdana"/>
              </a:rPr>
              <a:t> </a:t>
            </a:r>
            <a:r>
              <a:rPr sz="1200" spc="-5">
                <a:latin typeface="Verdana"/>
                <a:cs typeface="Verdana"/>
              </a:rPr>
              <a:t>components):</a:t>
            </a:r>
            <a:endParaRPr sz="1200">
              <a:latin typeface="Verdana"/>
              <a:cs typeface="Verdana"/>
            </a:endParaRPr>
          </a:p>
          <a:p>
            <a:pPr marL="12700" marR="4671695">
              <a:lnSpc>
                <a:spcPct val="100000"/>
              </a:lnSpc>
              <a:spcBef>
                <a:spcPts val="409"/>
              </a:spcBef>
            </a:pPr>
            <a:r>
              <a:rPr sz="1200" b="1" spc="-5">
                <a:latin typeface="Verdana"/>
                <a:cs typeface="Verdana"/>
              </a:rPr>
              <a:t>Phases </a:t>
            </a:r>
            <a:r>
              <a:rPr sz="1200">
                <a:latin typeface="Verdana"/>
                <a:cs typeface="Verdana"/>
              </a:rPr>
              <a:t>– </a:t>
            </a:r>
            <a:r>
              <a:rPr sz="1200" spc="-5">
                <a:latin typeface="Verdana"/>
                <a:cs typeface="Verdana"/>
              </a:rPr>
              <a:t>help </a:t>
            </a:r>
            <a:r>
              <a:rPr sz="1200" spc="-20">
                <a:latin typeface="Verdana"/>
                <a:cs typeface="Verdana"/>
              </a:rPr>
              <a:t>identify, </a:t>
            </a:r>
            <a:r>
              <a:rPr sz="1200" spc="-5">
                <a:latin typeface="Verdana"/>
                <a:cs typeface="Verdana"/>
              </a:rPr>
              <a:t>understand and manage </a:t>
            </a:r>
            <a:r>
              <a:rPr sz="1200" spc="-10">
                <a:latin typeface="Verdana"/>
                <a:cs typeface="Verdana"/>
              </a:rPr>
              <a:t>point-in-time </a:t>
            </a:r>
            <a:r>
              <a:rPr sz="1200" spc="-5">
                <a:latin typeface="Verdana"/>
                <a:cs typeface="Verdana"/>
              </a:rPr>
              <a:t>events  and</a:t>
            </a:r>
            <a:r>
              <a:rPr sz="1200" spc="10">
                <a:latin typeface="Verdana"/>
                <a:cs typeface="Verdana"/>
              </a:rPr>
              <a:t> </a:t>
            </a:r>
            <a:r>
              <a:rPr sz="1200" spc="-10">
                <a:latin typeface="Verdana"/>
                <a:cs typeface="Verdana"/>
              </a:rPr>
              <a:t>activities</a:t>
            </a:r>
            <a:endParaRPr sz="1200">
              <a:latin typeface="Verdana"/>
              <a:cs typeface="Verdana"/>
            </a:endParaRPr>
          </a:p>
          <a:p>
            <a:pPr marL="12700" marR="4696460">
              <a:lnSpc>
                <a:spcPct val="100000"/>
              </a:lnSpc>
              <a:spcBef>
                <a:spcPts val="395"/>
              </a:spcBef>
            </a:pPr>
            <a:r>
              <a:rPr sz="1200" b="1" spc="-5">
                <a:latin typeface="Verdana"/>
                <a:cs typeface="Verdana"/>
              </a:rPr>
              <a:t>Streams </a:t>
            </a:r>
            <a:r>
              <a:rPr sz="1200">
                <a:latin typeface="Verdana"/>
                <a:cs typeface="Verdana"/>
              </a:rPr>
              <a:t>– </a:t>
            </a:r>
            <a:r>
              <a:rPr sz="1200" spc="-5">
                <a:latin typeface="Verdana"/>
                <a:cs typeface="Verdana"/>
              </a:rPr>
              <a:t>allow </a:t>
            </a:r>
            <a:r>
              <a:rPr sz="1200">
                <a:latin typeface="Verdana"/>
                <a:cs typeface="Verdana"/>
              </a:rPr>
              <a:t>focus on </a:t>
            </a:r>
            <a:r>
              <a:rPr sz="1200" spc="-5">
                <a:latin typeface="Verdana"/>
                <a:cs typeface="Verdana"/>
              </a:rPr>
              <a:t>set </a:t>
            </a:r>
            <a:r>
              <a:rPr sz="1200">
                <a:latin typeface="Verdana"/>
                <a:cs typeface="Verdana"/>
              </a:rPr>
              <a:t>of </a:t>
            </a:r>
            <a:r>
              <a:rPr sz="1200" spc="-10">
                <a:latin typeface="Verdana"/>
                <a:cs typeface="Verdana"/>
              </a:rPr>
              <a:t>activities </a:t>
            </a:r>
            <a:r>
              <a:rPr sz="1200" spc="-5">
                <a:latin typeface="Verdana"/>
                <a:cs typeface="Verdana"/>
              </a:rPr>
              <a:t>dealing with specific topics  </a:t>
            </a:r>
            <a:r>
              <a:rPr sz="1200">
                <a:latin typeface="Verdana"/>
                <a:cs typeface="Verdana"/>
              </a:rPr>
              <a:t>or </a:t>
            </a:r>
            <a:r>
              <a:rPr sz="1200" spc="-5">
                <a:latin typeface="Verdana"/>
                <a:cs typeface="Verdana"/>
              </a:rPr>
              <a:t>functional</a:t>
            </a:r>
            <a:r>
              <a:rPr sz="1200" spc="15">
                <a:latin typeface="Verdana"/>
                <a:cs typeface="Verdana"/>
              </a:rPr>
              <a:t> </a:t>
            </a:r>
            <a:r>
              <a:rPr sz="1200">
                <a:latin typeface="Verdana"/>
                <a:cs typeface="Verdana"/>
              </a:rPr>
              <a:t>areas</a:t>
            </a:r>
          </a:p>
          <a:p>
            <a:pPr marL="12700">
              <a:lnSpc>
                <a:spcPct val="100000"/>
              </a:lnSpc>
              <a:spcBef>
                <a:spcPts val="395"/>
              </a:spcBef>
            </a:pPr>
            <a:r>
              <a:rPr sz="1200" b="1" spc="-5">
                <a:latin typeface="Verdana"/>
                <a:cs typeface="Verdana"/>
              </a:rPr>
              <a:t>Events </a:t>
            </a:r>
            <a:r>
              <a:rPr sz="1200">
                <a:latin typeface="Verdana"/>
                <a:cs typeface="Verdana"/>
              </a:rPr>
              <a:t>– </a:t>
            </a:r>
            <a:r>
              <a:rPr sz="1200" spc="-10">
                <a:latin typeface="Verdana"/>
                <a:cs typeface="Verdana"/>
              </a:rPr>
              <a:t>naturally evolving </a:t>
            </a:r>
            <a:r>
              <a:rPr sz="1200">
                <a:latin typeface="Verdana"/>
                <a:cs typeface="Verdana"/>
              </a:rPr>
              <a:t>or </a:t>
            </a:r>
            <a:r>
              <a:rPr sz="1200" spc="-5">
                <a:latin typeface="Verdana"/>
                <a:cs typeface="Verdana"/>
              </a:rPr>
              <a:t>planned occurrences that</a:t>
            </a:r>
            <a:r>
              <a:rPr sz="1200" spc="125">
                <a:latin typeface="Verdana"/>
                <a:cs typeface="Verdana"/>
              </a:rPr>
              <a:t> </a:t>
            </a:r>
            <a:r>
              <a:rPr sz="1200" spc="-5">
                <a:latin typeface="Verdana"/>
                <a:cs typeface="Verdana"/>
              </a:rPr>
              <a:t>require</a:t>
            </a:r>
            <a:endParaRPr sz="1200">
              <a:latin typeface="Verdana"/>
              <a:cs typeface="Verdana"/>
            </a:endParaRPr>
          </a:p>
          <a:p>
            <a:pPr marL="12700">
              <a:lnSpc>
                <a:spcPct val="100000"/>
              </a:lnSpc>
            </a:pPr>
            <a:r>
              <a:rPr sz="1200" spc="-5">
                <a:latin typeface="Verdana"/>
                <a:cs typeface="Verdana"/>
              </a:rPr>
              <a:t>action to be taken </a:t>
            </a:r>
            <a:r>
              <a:rPr sz="1200">
                <a:latin typeface="Verdana"/>
                <a:cs typeface="Verdana"/>
              </a:rPr>
              <a:t>– </a:t>
            </a:r>
            <a:r>
              <a:rPr sz="1200" spc="-10">
                <a:latin typeface="Verdana"/>
                <a:cs typeface="Verdana"/>
              </a:rPr>
              <a:t>linking </a:t>
            </a:r>
            <a:r>
              <a:rPr sz="1200">
                <a:latin typeface="Verdana"/>
                <a:cs typeface="Verdana"/>
              </a:rPr>
              <a:t>users </a:t>
            </a:r>
            <a:r>
              <a:rPr sz="1200" spc="-5">
                <a:latin typeface="Verdana"/>
                <a:cs typeface="Verdana"/>
              </a:rPr>
              <a:t>to</a:t>
            </a:r>
            <a:r>
              <a:rPr sz="1200" spc="85">
                <a:latin typeface="Verdana"/>
                <a:cs typeface="Verdana"/>
              </a:rPr>
              <a:t> </a:t>
            </a:r>
            <a:r>
              <a:rPr sz="1200" spc="-10">
                <a:latin typeface="Verdana"/>
                <a:cs typeface="Verdana"/>
              </a:rPr>
              <a:t>activities</a:t>
            </a:r>
            <a:endParaRPr sz="1200">
              <a:latin typeface="Verdana"/>
              <a:cs typeface="Verdana"/>
            </a:endParaRPr>
          </a:p>
          <a:p>
            <a:pPr marL="12700" marR="5196205">
              <a:lnSpc>
                <a:spcPct val="100000"/>
              </a:lnSpc>
              <a:spcBef>
                <a:spcPts val="409"/>
              </a:spcBef>
            </a:pPr>
            <a:r>
              <a:rPr sz="1200" b="1" spc="-5">
                <a:latin typeface="Verdana"/>
                <a:cs typeface="Verdana"/>
              </a:rPr>
              <a:t>Activities </a:t>
            </a:r>
            <a:r>
              <a:rPr sz="1200">
                <a:latin typeface="Verdana"/>
                <a:cs typeface="Verdana"/>
              </a:rPr>
              <a:t>– </a:t>
            </a:r>
            <a:r>
              <a:rPr sz="1200" spc="-5">
                <a:latin typeface="Verdana"/>
                <a:cs typeface="Verdana"/>
              </a:rPr>
              <a:t>groups </a:t>
            </a:r>
            <a:r>
              <a:rPr sz="1200">
                <a:latin typeface="Verdana"/>
                <a:cs typeface="Verdana"/>
              </a:rPr>
              <a:t>a </a:t>
            </a:r>
            <a:r>
              <a:rPr sz="1200" spc="-5">
                <a:latin typeface="Verdana"/>
                <a:cs typeface="Verdana"/>
              </a:rPr>
              <a:t>number </a:t>
            </a:r>
            <a:r>
              <a:rPr sz="1200">
                <a:latin typeface="Verdana"/>
                <a:cs typeface="Verdana"/>
              </a:rPr>
              <a:t>of </a:t>
            </a:r>
            <a:r>
              <a:rPr sz="1200" spc="-5">
                <a:latin typeface="Verdana"/>
                <a:cs typeface="Verdana"/>
              </a:rPr>
              <a:t>related tasks and serves </a:t>
            </a:r>
            <a:r>
              <a:rPr sz="1200">
                <a:latin typeface="Verdana"/>
                <a:cs typeface="Verdana"/>
              </a:rPr>
              <a:t>as a  </a:t>
            </a:r>
            <a:r>
              <a:rPr sz="1200" spc="-5">
                <a:latin typeface="Verdana"/>
                <a:cs typeface="Verdana"/>
              </a:rPr>
              <a:t>mechanism </a:t>
            </a:r>
            <a:r>
              <a:rPr sz="1200">
                <a:latin typeface="Verdana"/>
                <a:cs typeface="Verdana"/>
              </a:rPr>
              <a:t>for </a:t>
            </a:r>
            <a:r>
              <a:rPr sz="1200" spc="-5">
                <a:latin typeface="Verdana"/>
                <a:cs typeface="Verdana"/>
              </a:rPr>
              <a:t>project </a:t>
            </a:r>
            <a:r>
              <a:rPr sz="1200" spc="-10">
                <a:latin typeface="Verdana"/>
                <a:cs typeface="Verdana"/>
              </a:rPr>
              <a:t>planning, </a:t>
            </a:r>
            <a:r>
              <a:rPr sz="1200" spc="-5">
                <a:latin typeface="Verdana"/>
                <a:cs typeface="Verdana"/>
              </a:rPr>
              <a:t>management and</a:t>
            </a:r>
            <a:r>
              <a:rPr sz="1200" spc="120">
                <a:latin typeface="Verdana"/>
                <a:cs typeface="Verdana"/>
              </a:rPr>
              <a:t> </a:t>
            </a:r>
            <a:r>
              <a:rPr sz="1200" spc="-10">
                <a:latin typeface="Verdana"/>
                <a:cs typeface="Verdana"/>
              </a:rPr>
              <a:t>tracking</a:t>
            </a:r>
            <a:endParaRPr sz="1200">
              <a:latin typeface="Verdana"/>
              <a:cs typeface="Verdana"/>
            </a:endParaRPr>
          </a:p>
        </p:txBody>
      </p:sp>
      <p:sp>
        <p:nvSpPr>
          <p:cNvPr id="8" name="object 8"/>
          <p:cNvSpPr/>
          <p:nvPr/>
        </p:nvSpPr>
        <p:spPr>
          <a:xfrm>
            <a:off x="327659" y="1328927"/>
            <a:ext cx="897890" cy="894715"/>
          </a:xfrm>
          <a:custGeom>
            <a:avLst/>
            <a:gdLst/>
            <a:ahLst/>
            <a:cxnLst/>
            <a:rect l="l" t="t" r="r" b="b"/>
            <a:pathLst>
              <a:path w="897890" h="894714">
                <a:moveTo>
                  <a:pt x="448818" y="0"/>
                </a:moveTo>
                <a:lnTo>
                  <a:pt x="400243" y="2648"/>
                </a:lnTo>
                <a:lnTo>
                  <a:pt x="353103" y="10405"/>
                </a:lnTo>
                <a:lnTo>
                  <a:pt x="307682" y="22988"/>
                </a:lnTo>
                <a:lnTo>
                  <a:pt x="264263" y="40112"/>
                </a:lnTo>
                <a:lnTo>
                  <a:pt x="223130" y="61496"/>
                </a:lnTo>
                <a:lnTo>
                  <a:pt x="184567" y="86855"/>
                </a:lnTo>
                <a:lnTo>
                  <a:pt x="148859" y="115908"/>
                </a:lnTo>
                <a:lnTo>
                  <a:pt x="116288" y="148370"/>
                </a:lnTo>
                <a:lnTo>
                  <a:pt x="87139" y="183958"/>
                </a:lnTo>
                <a:lnTo>
                  <a:pt x="61696" y="222391"/>
                </a:lnTo>
                <a:lnTo>
                  <a:pt x="40242" y="263383"/>
                </a:lnTo>
                <a:lnTo>
                  <a:pt x="23062" y="306653"/>
                </a:lnTo>
                <a:lnTo>
                  <a:pt x="10439" y="351916"/>
                </a:lnTo>
                <a:lnTo>
                  <a:pt x="2657" y="398891"/>
                </a:lnTo>
                <a:lnTo>
                  <a:pt x="0" y="447294"/>
                </a:lnTo>
                <a:lnTo>
                  <a:pt x="2657" y="496072"/>
                </a:lnTo>
                <a:lnTo>
                  <a:pt x="10439" y="543319"/>
                </a:lnTo>
                <a:lnTo>
                  <a:pt x="23062" y="588763"/>
                </a:lnTo>
                <a:lnTo>
                  <a:pt x="40242" y="632133"/>
                </a:lnTo>
                <a:lnTo>
                  <a:pt x="61696" y="673156"/>
                </a:lnTo>
                <a:lnTo>
                  <a:pt x="87139" y="711561"/>
                </a:lnTo>
                <a:lnTo>
                  <a:pt x="116288" y="747077"/>
                </a:lnTo>
                <a:lnTo>
                  <a:pt x="148859" y="779432"/>
                </a:lnTo>
                <a:lnTo>
                  <a:pt x="184567" y="808353"/>
                </a:lnTo>
                <a:lnTo>
                  <a:pt x="223130" y="833571"/>
                </a:lnTo>
                <a:lnTo>
                  <a:pt x="264263" y="854813"/>
                </a:lnTo>
                <a:lnTo>
                  <a:pt x="307682" y="871807"/>
                </a:lnTo>
                <a:lnTo>
                  <a:pt x="353103" y="884282"/>
                </a:lnTo>
                <a:lnTo>
                  <a:pt x="400243" y="891966"/>
                </a:lnTo>
                <a:lnTo>
                  <a:pt x="448818" y="894588"/>
                </a:lnTo>
                <a:lnTo>
                  <a:pt x="497768" y="891966"/>
                </a:lnTo>
                <a:lnTo>
                  <a:pt x="545181" y="884282"/>
                </a:lnTo>
                <a:lnTo>
                  <a:pt x="570181" y="877443"/>
                </a:lnTo>
                <a:lnTo>
                  <a:pt x="448818" y="877443"/>
                </a:lnTo>
                <a:lnTo>
                  <a:pt x="401967" y="874933"/>
                </a:lnTo>
                <a:lnTo>
                  <a:pt x="356536" y="867576"/>
                </a:lnTo>
                <a:lnTo>
                  <a:pt x="312793" y="855628"/>
                </a:lnTo>
                <a:lnTo>
                  <a:pt x="271006" y="839344"/>
                </a:lnTo>
                <a:lnTo>
                  <a:pt x="231443" y="818980"/>
                </a:lnTo>
                <a:lnTo>
                  <a:pt x="194374" y="794793"/>
                </a:lnTo>
                <a:lnTo>
                  <a:pt x="160066" y="767038"/>
                </a:lnTo>
                <a:lnTo>
                  <a:pt x="128789" y="735972"/>
                </a:lnTo>
                <a:lnTo>
                  <a:pt x="100811" y="701850"/>
                </a:lnTo>
                <a:lnTo>
                  <a:pt x="76400" y="664929"/>
                </a:lnTo>
                <a:lnTo>
                  <a:pt x="55825" y="625465"/>
                </a:lnTo>
                <a:lnTo>
                  <a:pt x="39355" y="583713"/>
                </a:lnTo>
                <a:lnTo>
                  <a:pt x="27258" y="539930"/>
                </a:lnTo>
                <a:lnTo>
                  <a:pt x="19803" y="494371"/>
                </a:lnTo>
                <a:lnTo>
                  <a:pt x="17259" y="447294"/>
                </a:lnTo>
                <a:lnTo>
                  <a:pt x="19803" y="400592"/>
                </a:lnTo>
                <a:lnTo>
                  <a:pt x="27258" y="355306"/>
                </a:lnTo>
                <a:lnTo>
                  <a:pt x="39355" y="311703"/>
                </a:lnTo>
                <a:lnTo>
                  <a:pt x="55825" y="270051"/>
                </a:lnTo>
                <a:lnTo>
                  <a:pt x="76400" y="230617"/>
                </a:lnTo>
                <a:lnTo>
                  <a:pt x="100811" y="193669"/>
                </a:lnTo>
                <a:lnTo>
                  <a:pt x="128789" y="159475"/>
                </a:lnTo>
                <a:lnTo>
                  <a:pt x="160066" y="128301"/>
                </a:lnTo>
                <a:lnTo>
                  <a:pt x="194374" y="100416"/>
                </a:lnTo>
                <a:lnTo>
                  <a:pt x="231443" y="76087"/>
                </a:lnTo>
                <a:lnTo>
                  <a:pt x="271006" y="55581"/>
                </a:lnTo>
                <a:lnTo>
                  <a:pt x="312793" y="39166"/>
                </a:lnTo>
                <a:lnTo>
                  <a:pt x="356536" y="27110"/>
                </a:lnTo>
                <a:lnTo>
                  <a:pt x="401967" y="19681"/>
                </a:lnTo>
                <a:lnTo>
                  <a:pt x="448818" y="17145"/>
                </a:lnTo>
                <a:lnTo>
                  <a:pt x="569606" y="17145"/>
                </a:lnTo>
                <a:lnTo>
                  <a:pt x="545181" y="10405"/>
                </a:lnTo>
                <a:lnTo>
                  <a:pt x="497768" y="2648"/>
                </a:lnTo>
                <a:lnTo>
                  <a:pt x="448818" y="0"/>
                </a:lnTo>
                <a:close/>
              </a:path>
              <a:path w="897890" h="894714">
                <a:moveTo>
                  <a:pt x="569606" y="17145"/>
                </a:moveTo>
                <a:lnTo>
                  <a:pt x="448818" y="17145"/>
                </a:lnTo>
                <a:lnTo>
                  <a:pt x="496044" y="19681"/>
                </a:lnTo>
                <a:lnTo>
                  <a:pt x="541747" y="27110"/>
                </a:lnTo>
                <a:lnTo>
                  <a:pt x="585671" y="39166"/>
                </a:lnTo>
                <a:lnTo>
                  <a:pt x="627558" y="55581"/>
                </a:lnTo>
                <a:lnTo>
                  <a:pt x="667152" y="76087"/>
                </a:lnTo>
                <a:lnTo>
                  <a:pt x="704194" y="100416"/>
                </a:lnTo>
                <a:lnTo>
                  <a:pt x="738429" y="128301"/>
                </a:lnTo>
                <a:lnTo>
                  <a:pt x="769599" y="159475"/>
                </a:lnTo>
                <a:lnTo>
                  <a:pt x="797446" y="193669"/>
                </a:lnTo>
                <a:lnTo>
                  <a:pt x="821715" y="230617"/>
                </a:lnTo>
                <a:lnTo>
                  <a:pt x="842148" y="270051"/>
                </a:lnTo>
                <a:lnTo>
                  <a:pt x="858487" y="311703"/>
                </a:lnTo>
                <a:lnTo>
                  <a:pt x="870476" y="355306"/>
                </a:lnTo>
                <a:lnTo>
                  <a:pt x="877858" y="400592"/>
                </a:lnTo>
                <a:lnTo>
                  <a:pt x="880376" y="447294"/>
                </a:lnTo>
                <a:lnTo>
                  <a:pt x="877858" y="494371"/>
                </a:lnTo>
                <a:lnTo>
                  <a:pt x="870476" y="539930"/>
                </a:lnTo>
                <a:lnTo>
                  <a:pt x="858487" y="583713"/>
                </a:lnTo>
                <a:lnTo>
                  <a:pt x="842148" y="625465"/>
                </a:lnTo>
                <a:lnTo>
                  <a:pt x="821715" y="664929"/>
                </a:lnTo>
                <a:lnTo>
                  <a:pt x="797446" y="701850"/>
                </a:lnTo>
                <a:lnTo>
                  <a:pt x="769599" y="735972"/>
                </a:lnTo>
                <a:lnTo>
                  <a:pt x="738429" y="767038"/>
                </a:lnTo>
                <a:lnTo>
                  <a:pt x="704194" y="794793"/>
                </a:lnTo>
                <a:lnTo>
                  <a:pt x="667152" y="818980"/>
                </a:lnTo>
                <a:lnTo>
                  <a:pt x="627558" y="839344"/>
                </a:lnTo>
                <a:lnTo>
                  <a:pt x="585671" y="855628"/>
                </a:lnTo>
                <a:lnTo>
                  <a:pt x="541747" y="867576"/>
                </a:lnTo>
                <a:lnTo>
                  <a:pt x="496044" y="874933"/>
                </a:lnTo>
                <a:lnTo>
                  <a:pt x="448818" y="877443"/>
                </a:lnTo>
                <a:lnTo>
                  <a:pt x="570181" y="877443"/>
                </a:lnTo>
                <a:lnTo>
                  <a:pt x="634301" y="854813"/>
                </a:lnTo>
                <a:lnTo>
                  <a:pt x="675465" y="833571"/>
                </a:lnTo>
                <a:lnTo>
                  <a:pt x="714000" y="808353"/>
                </a:lnTo>
                <a:lnTo>
                  <a:pt x="749636" y="779432"/>
                </a:lnTo>
                <a:lnTo>
                  <a:pt x="782099" y="747077"/>
                </a:lnTo>
                <a:lnTo>
                  <a:pt x="811117" y="711561"/>
                </a:lnTo>
                <a:lnTo>
                  <a:pt x="836419" y="673156"/>
                </a:lnTo>
                <a:lnTo>
                  <a:pt x="857730" y="632133"/>
                </a:lnTo>
                <a:lnTo>
                  <a:pt x="874780" y="588763"/>
                </a:lnTo>
                <a:lnTo>
                  <a:pt x="887296" y="543319"/>
                </a:lnTo>
                <a:lnTo>
                  <a:pt x="895005" y="496072"/>
                </a:lnTo>
                <a:lnTo>
                  <a:pt x="897636" y="447294"/>
                </a:lnTo>
                <a:lnTo>
                  <a:pt x="895005" y="398891"/>
                </a:lnTo>
                <a:lnTo>
                  <a:pt x="887296" y="351916"/>
                </a:lnTo>
                <a:lnTo>
                  <a:pt x="874780" y="306653"/>
                </a:lnTo>
                <a:lnTo>
                  <a:pt x="857730" y="263383"/>
                </a:lnTo>
                <a:lnTo>
                  <a:pt x="836419" y="222391"/>
                </a:lnTo>
                <a:lnTo>
                  <a:pt x="811117" y="183958"/>
                </a:lnTo>
                <a:lnTo>
                  <a:pt x="782099" y="148370"/>
                </a:lnTo>
                <a:lnTo>
                  <a:pt x="749636" y="115908"/>
                </a:lnTo>
                <a:lnTo>
                  <a:pt x="714000" y="86855"/>
                </a:lnTo>
                <a:lnTo>
                  <a:pt x="675465" y="61496"/>
                </a:lnTo>
                <a:lnTo>
                  <a:pt x="634301" y="40112"/>
                </a:lnTo>
                <a:lnTo>
                  <a:pt x="590782" y="22988"/>
                </a:lnTo>
                <a:lnTo>
                  <a:pt x="569606" y="17145"/>
                </a:lnTo>
                <a:close/>
              </a:path>
            </a:pathLst>
          </a:custGeom>
          <a:solidFill>
            <a:srgbClr val="12ABDB"/>
          </a:solidFill>
        </p:spPr>
        <p:txBody>
          <a:bodyPr wrap="square" lIns="0" tIns="0" rIns="0" bIns="0" rtlCol="0"/>
          <a:lstStyle/>
          <a:p>
            <a:endParaRPr/>
          </a:p>
        </p:txBody>
      </p:sp>
      <p:sp>
        <p:nvSpPr>
          <p:cNvPr id="9" name="object 9"/>
          <p:cNvSpPr/>
          <p:nvPr/>
        </p:nvSpPr>
        <p:spPr>
          <a:xfrm>
            <a:off x="372618" y="1372361"/>
            <a:ext cx="810895" cy="807720"/>
          </a:xfrm>
          <a:custGeom>
            <a:avLst/>
            <a:gdLst/>
            <a:ahLst/>
            <a:cxnLst/>
            <a:rect l="l" t="t" r="r" b="b"/>
            <a:pathLst>
              <a:path w="810894" h="807719">
                <a:moveTo>
                  <a:pt x="405384" y="0"/>
                </a:moveTo>
                <a:lnTo>
                  <a:pt x="358107" y="2717"/>
                </a:lnTo>
                <a:lnTo>
                  <a:pt x="312432" y="10668"/>
                </a:lnTo>
                <a:lnTo>
                  <a:pt x="268664" y="23548"/>
                </a:lnTo>
                <a:lnTo>
                  <a:pt x="227105" y="41054"/>
                </a:lnTo>
                <a:lnTo>
                  <a:pt x="188062" y="62884"/>
                </a:lnTo>
                <a:lnTo>
                  <a:pt x="151836" y="88734"/>
                </a:lnTo>
                <a:lnTo>
                  <a:pt x="118733" y="118300"/>
                </a:lnTo>
                <a:lnTo>
                  <a:pt x="89058" y="151280"/>
                </a:lnTo>
                <a:lnTo>
                  <a:pt x="63113" y="187370"/>
                </a:lnTo>
                <a:lnTo>
                  <a:pt x="41203" y="226267"/>
                </a:lnTo>
                <a:lnTo>
                  <a:pt x="23633" y="267668"/>
                </a:lnTo>
                <a:lnTo>
                  <a:pt x="10706" y="311269"/>
                </a:lnTo>
                <a:lnTo>
                  <a:pt x="2727" y="356767"/>
                </a:lnTo>
                <a:lnTo>
                  <a:pt x="0" y="403860"/>
                </a:lnTo>
                <a:lnTo>
                  <a:pt x="2727" y="450952"/>
                </a:lnTo>
                <a:lnTo>
                  <a:pt x="10706" y="496450"/>
                </a:lnTo>
                <a:lnTo>
                  <a:pt x="23633" y="540051"/>
                </a:lnTo>
                <a:lnTo>
                  <a:pt x="41203" y="581452"/>
                </a:lnTo>
                <a:lnTo>
                  <a:pt x="63113" y="620349"/>
                </a:lnTo>
                <a:lnTo>
                  <a:pt x="89058" y="656439"/>
                </a:lnTo>
                <a:lnTo>
                  <a:pt x="118733" y="689419"/>
                </a:lnTo>
                <a:lnTo>
                  <a:pt x="151836" y="718985"/>
                </a:lnTo>
                <a:lnTo>
                  <a:pt x="188062" y="744835"/>
                </a:lnTo>
                <a:lnTo>
                  <a:pt x="227105" y="766665"/>
                </a:lnTo>
                <a:lnTo>
                  <a:pt x="268664" y="784171"/>
                </a:lnTo>
                <a:lnTo>
                  <a:pt x="312432" y="797052"/>
                </a:lnTo>
                <a:lnTo>
                  <a:pt x="358107" y="805002"/>
                </a:lnTo>
                <a:lnTo>
                  <a:pt x="405384" y="807720"/>
                </a:lnTo>
                <a:lnTo>
                  <a:pt x="452660" y="805002"/>
                </a:lnTo>
                <a:lnTo>
                  <a:pt x="498335" y="797052"/>
                </a:lnTo>
                <a:lnTo>
                  <a:pt x="542103" y="784171"/>
                </a:lnTo>
                <a:lnTo>
                  <a:pt x="583662" y="766665"/>
                </a:lnTo>
                <a:lnTo>
                  <a:pt x="622705" y="744835"/>
                </a:lnTo>
                <a:lnTo>
                  <a:pt x="658931" y="718985"/>
                </a:lnTo>
                <a:lnTo>
                  <a:pt x="692034" y="689419"/>
                </a:lnTo>
                <a:lnTo>
                  <a:pt x="721709" y="656439"/>
                </a:lnTo>
                <a:lnTo>
                  <a:pt x="747654" y="620349"/>
                </a:lnTo>
                <a:lnTo>
                  <a:pt x="769564" y="581452"/>
                </a:lnTo>
                <a:lnTo>
                  <a:pt x="787134" y="540051"/>
                </a:lnTo>
                <a:lnTo>
                  <a:pt x="800061" y="496450"/>
                </a:lnTo>
                <a:lnTo>
                  <a:pt x="808040" y="450952"/>
                </a:lnTo>
                <a:lnTo>
                  <a:pt x="810768" y="403860"/>
                </a:lnTo>
                <a:lnTo>
                  <a:pt x="808040" y="356767"/>
                </a:lnTo>
                <a:lnTo>
                  <a:pt x="800061" y="311269"/>
                </a:lnTo>
                <a:lnTo>
                  <a:pt x="787134" y="267668"/>
                </a:lnTo>
                <a:lnTo>
                  <a:pt x="769564" y="226267"/>
                </a:lnTo>
                <a:lnTo>
                  <a:pt x="747654" y="187370"/>
                </a:lnTo>
                <a:lnTo>
                  <a:pt x="721709" y="151280"/>
                </a:lnTo>
                <a:lnTo>
                  <a:pt x="692034" y="118300"/>
                </a:lnTo>
                <a:lnTo>
                  <a:pt x="658931" y="88734"/>
                </a:lnTo>
                <a:lnTo>
                  <a:pt x="622705" y="62884"/>
                </a:lnTo>
                <a:lnTo>
                  <a:pt x="583662" y="41054"/>
                </a:lnTo>
                <a:lnTo>
                  <a:pt x="542103" y="23548"/>
                </a:lnTo>
                <a:lnTo>
                  <a:pt x="498335" y="10668"/>
                </a:lnTo>
                <a:lnTo>
                  <a:pt x="452660" y="2717"/>
                </a:lnTo>
                <a:lnTo>
                  <a:pt x="405384" y="0"/>
                </a:lnTo>
                <a:close/>
              </a:path>
            </a:pathLst>
          </a:custGeom>
          <a:solidFill>
            <a:srgbClr val="2B133C"/>
          </a:solidFill>
        </p:spPr>
        <p:txBody>
          <a:bodyPr wrap="square" lIns="0" tIns="0" rIns="0" bIns="0" rtlCol="0"/>
          <a:lstStyle/>
          <a:p>
            <a:endParaRPr/>
          </a:p>
        </p:txBody>
      </p:sp>
      <p:sp>
        <p:nvSpPr>
          <p:cNvPr id="10" name="object 10"/>
          <p:cNvSpPr/>
          <p:nvPr/>
        </p:nvSpPr>
        <p:spPr>
          <a:xfrm>
            <a:off x="372618" y="1372361"/>
            <a:ext cx="810895" cy="807720"/>
          </a:xfrm>
          <a:custGeom>
            <a:avLst/>
            <a:gdLst/>
            <a:ahLst/>
            <a:cxnLst/>
            <a:rect l="l" t="t" r="r" b="b"/>
            <a:pathLst>
              <a:path w="810894" h="807719">
                <a:moveTo>
                  <a:pt x="405384" y="0"/>
                </a:moveTo>
                <a:lnTo>
                  <a:pt x="452660" y="2717"/>
                </a:lnTo>
                <a:lnTo>
                  <a:pt x="498335" y="10667"/>
                </a:lnTo>
                <a:lnTo>
                  <a:pt x="542103" y="23548"/>
                </a:lnTo>
                <a:lnTo>
                  <a:pt x="583662" y="41054"/>
                </a:lnTo>
                <a:lnTo>
                  <a:pt x="622705" y="62884"/>
                </a:lnTo>
                <a:lnTo>
                  <a:pt x="658931" y="88734"/>
                </a:lnTo>
                <a:lnTo>
                  <a:pt x="692034" y="118300"/>
                </a:lnTo>
                <a:lnTo>
                  <a:pt x="721709" y="151280"/>
                </a:lnTo>
                <a:lnTo>
                  <a:pt x="747654" y="187370"/>
                </a:lnTo>
                <a:lnTo>
                  <a:pt x="769564" y="226267"/>
                </a:lnTo>
                <a:lnTo>
                  <a:pt x="787134" y="267668"/>
                </a:lnTo>
                <a:lnTo>
                  <a:pt x="800061" y="311269"/>
                </a:lnTo>
                <a:lnTo>
                  <a:pt x="808040" y="356767"/>
                </a:lnTo>
                <a:lnTo>
                  <a:pt x="810768" y="403860"/>
                </a:lnTo>
                <a:lnTo>
                  <a:pt x="808040" y="450952"/>
                </a:lnTo>
                <a:lnTo>
                  <a:pt x="800061" y="496450"/>
                </a:lnTo>
                <a:lnTo>
                  <a:pt x="787134" y="540051"/>
                </a:lnTo>
                <a:lnTo>
                  <a:pt x="769564" y="581452"/>
                </a:lnTo>
                <a:lnTo>
                  <a:pt x="747654" y="620349"/>
                </a:lnTo>
                <a:lnTo>
                  <a:pt x="721709" y="656439"/>
                </a:lnTo>
                <a:lnTo>
                  <a:pt x="692034" y="689419"/>
                </a:lnTo>
                <a:lnTo>
                  <a:pt x="658931" y="718985"/>
                </a:lnTo>
                <a:lnTo>
                  <a:pt x="622705" y="744835"/>
                </a:lnTo>
                <a:lnTo>
                  <a:pt x="583662" y="766665"/>
                </a:lnTo>
                <a:lnTo>
                  <a:pt x="542103" y="784171"/>
                </a:lnTo>
                <a:lnTo>
                  <a:pt x="498335" y="797051"/>
                </a:lnTo>
                <a:lnTo>
                  <a:pt x="452660" y="805002"/>
                </a:lnTo>
                <a:lnTo>
                  <a:pt x="405384" y="807720"/>
                </a:lnTo>
                <a:lnTo>
                  <a:pt x="358107" y="805002"/>
                </a:lnTo>
                <a:lnTo>
                  <a:pt x="312432" y="797052"/>
                </a:lnTo>
                <a:lnTo>
                  <a:pt x="268664" y="784171"/>
                </a:lnTo>
                <a:lnTo>
                  <a:pt x="227105" y="766665"/>
                </a:lnTo>
                <a:lnTo>
                  <a:pt x="188062" y="744835"/>
                </a:lnTo>
                <a:lnTo>
                  <a:pt x="151836" y="718985"/>
                </a:lnTo>
                <a:lnTo>
                  <a:pt x="118733" y="689419"/>
                </a:lnTo>
                <a:lnTo>
                  <a:pt x="89058" y="656439"/>
                </a:lnTo>
                <a:lnTo>
                  <a:pt x="63113" y="620349"/>
                </a:lnTo>
                <a:lnTo>
                  <a:pt x="41203" y="581452"/>
                </a:lnTo>
                <a:lnTo>
                  <a:pt x="23633" y="540051"/>
                </a:lnTo>
                <a:lnTo>
                  <a:pt x="10706" y="496450"/>
                </a:lnTo>
                <a:lnTo>
                  <a:pt x="2727" y="450952"/>
                </a:lnTo>
                <a:lnTo>
                  <a:pt x="0" y="403860"/>
                </a:lnTo>
                <a:lnTo>
                  <a:pt x="2727" y="356767"/>
                </a:lnTo>
                <a:lnTo>
                  <a:pt x="10706" y="311269"/>
                </a:lnTo>
                <a:lnTo>
                  <a:pt x="23633" y="267668"/>
                </a:lnTo>
                <a:lnTo>
                  <a:pt x="41203" y="226267"/>
                </a:lnTo>
                <a:lnTo>
                  <a:pt x="63113" y="187370"/>
                </a:lnTo>
                <a:lnTo>
                  <a:pt x="89058" y="151280"/>
                </a:lnTo>
                <a:lnTo>
                  <a:pt x="118733" y="118300"/>
                </a:lnTo>
                <a:lnTo>
                  <a:pt x="151836" y="88734"/>
                </a:lnTo>
                <a:lnTo>
                  <a:pt x="188062" y="62884"/>
                </a:lnTo>
                <a:lnTo>
                  <a:pt x="227105" y="41054"/>
                </a:lnTo>
                <a:lnTo>
                  <a:pt x="268664" y="23548"/>
                </a:lnTo>
                <a:lnTo>
                  <a:pt x="312432" y="10668"/>
                </a:lnTo>
                <a:lnTo>
                  <a:pt x="358107" y="2717"/>
                </a:lnTo>
                <a:lnTo>
                  <a:pt x="405384" y="0"/>
                </a:lnTo>
                <a:close/>
              </a:path>
            </a:pathLst>
          </a:custGeom>
          <a:ln w="19812">
            <a:solidFill>
              <a:srgbClr val="006FAC"/>
            </a:solidFill>
          </a:ln>
        </p:spPr>
        <p:txBody>
          <a:bodyPr wrap="square" lIns="0" tIns="0" rIns="0" bIns="0" rtlCol="0"/>
          <a:lstStyle/>
          <a:p>
            <a:endParaRPr/>
          </a:p>
        </p:txBody>
      </p:sp>
      <p:sp>
        <p:nvSpPr>
          <p:cNvPr id="11" name="object 11"/>
          <p:cNvSpPr/>
          <p:nvPr/>
        </p:nvSpPr>
        <p:spPr>
          <a:xfrm>
            <a:off x="198120" y="1748027"/>
            <a:ext cx="546100" cy="1450975"/>
          </a:xfrm>
          <a:custGeom>
            <a:avLst/>
            <a:gdLst/>
            <a:ahLst/>
            <a:cxnLst/>
            <a:rect l="l" t="t" r="r" b="b"/>
            <a:pathLst>
              <a:path w="546100" h="1450975">
                <a:moveTo>
                  <a:pt x="30187" y="0"/>
                </a:moveTo>
                <a:lnTo>
                  <a:pt x="18195" y="2258"/>
                </a:lnTo>
                <a:lnTo>
                  <a:pt x="8626" y="8350"/>
                </a:lnTo>
                <a:lnTo>
                  <a:pt x="2291" y="17252"/>
                </a:lnTo>
                <a:lnTo>
                  <a:pt x="0" y="27939"/>
                </a:lnTo>
                <a:lnTo>
                  <a:pt x="1549" y="38324"/>
                </a:lnTo>
                <a:lnTo>
                  <a:pt x="5929" y="46720"/>
                </a:lnTo>
                <a:lnTo>
                  <a:pt x="12735" y="52710"/>
                </a:lnTo>
                <a:lnTo>
                  <a:pt x="21564" y="55880"/>
                </a:lnTo>
                <a:lnTo>
                  <a:pt x="26159" y="105274"/>
                </a:lnTo>
                <a:lnTo>
                  <a:pt x="34971" y="153364"/>
                </a:lnTo>
                <a:lnTo>
                  <a:pt x="47820" y="199953"/>
                </a:lnTo>
                <a:lnTo>
                  <a:pt x="64526" y="244848"/>
                </a:lnTo>
                <a:lnTo>
                  <a:pt x="84908" y="287852"/>
                </a:lnTo>
                <a:lnTo>
                  <a:pt x="108788" y="328771"/>
                </a:lnTo>
                <a:lnTo>
                  <a:pt x="135984" y="367410"/>
                </a:lnTo>
                <a:lnTo>
                  <a:pt x="166317" y="403574"/>
                </a:lnTo>
                <a:lnTo>
                  <a:pt x="199607" y="437068"/>
                </a:lnTo>
                <a:lnTo>
                  <a:pt x="235674" y="467697"/>
                </a:lnTo>
                <a:lnTo>
                  <a:pt x="274337" y="495266"/>
                </a:lnTo>
                <a:lnTo>
                  <a:pt x="315417" y="519580"/>
                </a:lnTo>
                <a:lnTo>
                  <a:pt x="358734" y="540445"/>
                </a:lnTo>
                <a:lnTo>
                  <a:pt x="404107" y="557664"/>
                </a:lnTo>
                <a:lnTo>
                  <a:pt x="451357" y="571044"/>
                </a:lnTo>
                <a:lnTo>
                  <a:pt x="500303" y="580389"/>
                </a:lnTo>
                <a:lnTo>
                  <a:pt x="500303" y="1377823"/>
                </a:lnTo>
                <a:lnTo>
                  <a:pt x="488311" y="1381660"/>
                </a:lnTo>
                <a:lnTo>
                  <a:pt x="478742" y="1389570"/>
                </a:lnTo>
                <a:lnTo>
                  <a:pt x="472407" y="1400718"/>
                </a:lnTo>
                <a:lnTo>
                  <a:pt x="470115" y="1414272"/>
                </a:lnTo>
                <a:lnTo>
                  <a:pt x="473147" y="1428184"/>
                </a:lnTo>
                <a:lnTo>
                  <a:pt x="481434" y="1439846"/>
                </a:lnTo>
                <a:lnTo>
                  <a:pt x="493765" y="1447865"/>
                </a:lnTo>
                <a:lnTo>
                  <a:pt x="508927" y="1450848"/>
                </a:lnTo>
                <a:lnTo>
                  <a:pt x="523753" y="1447865"/>
                </a:lnTo>
                <a:lnTo>
                  <a:pt x="535346" y="1439846"/>
                </a:lnTo>
                <a:lnTo>
                  <a:pt x="539323" y="1433702"/>
                </a:lnTo>
                <a:lnTo>
                  <a:pt x="508927" y="1433702"/>
                </a:lnTo>
                <a:lnTo>
                  <a:pt x="501008" y="1432184"/>
                </a:lnTo>
                <a:lnTo>
                  <a:pt x="494101" y="1428035"/>
                </a:lnTo>
                <a:lnTo>
                  <a:pt x="489215" y="1421862"/>
                </a:lnTo>
                <a:lnTo>
                  <a:pt x="487362" y="1414272"/>
                </a:lnTo>
                <a:lnTo>
                  <a:pt x="489215" y="1405507"/>
                </a:lnTo>
                <a:lnTo>
                  <a:pt x="494101" y="1398730"/>
                </a:lnTo>
                <a:lnTo>
                  <a:pt x="501008" y="1394358"/>
                </a:lnTo>
                <a:lnTo>
                  <a:pt x="508927" y="1392809"/>
                </a:lnTo>
                <a:lnTo>
                  <a:pt x="539669" y="1392809"/>
                </a:lnTo>
                <a:lnTo>
                  <a:pt x="538045" y="1389570"/>
                </a:lnTo>
                <a:lnTo>
                  <a:pt x="529218" y="1381660"/>
                </a:lnTo>
                <a:lnTo>
                  <a:pt x="517563" y="1377823"/>
                </a:lnTo>
                <a:lnTo>
                  <a:pt x="517563" y="565276"/>
                </a:lnTo>
                <a:lnTo>
                  <a:pt x="508927" y="563118"/>
                </a:lnTo>
                <a:lnTo>
                  <a:pt x="461144" y="554963"/>
                </a:lnTo>
                <a:lnTo>
                  <a:pt x="414960" y="542729"/>
                </a:lnTo>
                <a:lnTo>
                  <a:pt x="370558" y="526617"/>
                </a:lnTo>
                <a:lnTo>
                  <a:pt x="328120" y="506829"/>
                </a:lnTo>
                <a:lnTo>
                  <a:pt x="287830" y="483565"/>
                </a:lnTo>
                <a:lnTo>
                  <a:pt x="249872" y="457028"/>
                </a:lnTo>
                <a:lnTo>
                  <a:pt x="214427" y="427419"/>
                </a:lnTo>
                <a:lnTo>
                  <a:pt x="181681" y="394938"/>
                </a:lnTo>
                <a:lnTo>
                  <a:pt x="151815" y="359787"/>
                </a:lnTo>
                <a:lnTo>
                  <a:pt x="125014" y="322167"/>
                </a:lnTo>
                <a:lnTo>
                  <a:pt x="101459" y="282280"/>
                </a:lnTo>
                <a:lnTo>
                  <a:pt x="81336" y="240327"/>
                </a:lnTo>
                <a:lnTo>
                  <a:pt x="64826" y="196509"/>
                </a:lnTo>
                <a:lnTo>
                  <a:pt x="52113" y="151028"/>
                </a:lnTo>
                <a:lnTo>
                  <a:pt x="43380" y="104084"/>
                </a:lnTo>
                <a:lnTo>
                  <a:pt x="38811" y="55880"/>
                </a:lnTo>
                <a:lnTo>
                  <a:pt x="46394" y="51514"/>
                </a:lnTo>
                <a:lnTo>
                  <a:pt x="52563" y="45148"/>
                </a:lnTo>
                <a:lnTo>
                  <a:pt x="56711" y="37163"/>
                </a:lnTo>
                <a:lnTo>
                  <a:pt x="58229" y="27939"/>
                </a:lnTo>
                <a:lnTo>
                  <a:pt x="55971" y="17252"/>
                </a:lnTo>
                <a:lnTo>
                  <a:pt x="49871" y="8350"/>
                </a:lnTo>
                <a:lnTo>
                  <a:pt x="40939" y="2258"/>
                </a:lnTo>
                <a:lnTo>
                  <a:pt x="30187" y="0"/>
                </a:lnTo>
                <a:close/>
              </a:path>
              <a:path w="546100" h="1450975">
                <a:moveTo>
                  <a:pt x="539669" y="1392809"/>
                </a:moveTo>
                <a:lnTo>
                  <a:pt x="508927" y="1392809"/>
                </a:lnTo>
                <a:lnTo>
                  <a:pt x="516509" y="1394358"/>
                </a:lnTo>
                <a:lnTo>
                  <a:pt x="522679" y="1398730"/>
                </a:lnTo>
                <a:lnTo>
                  <a:pt x="526827" y="1405507"/>
                </a:lnTo>
                <a:lnTo>
                  <a:pt x="528345" y="1414272"/>
                </a:lnTo>
                <a:lnTo>
                  <a:pt x="526827" y="1421862"/>
                </a:lnTo>
                <a:lnTo>
                  <a:pt x="522679" y="1428035"/>
                </a:lnTo>
                <a:lnTo>
                  <a:pt x="516509" y="1432184"/>
                </a:lnTo>
                <a:lnTo>
                  <a:pt x="508927" y="1433702"/>
                </a:lnTo>
                <a:lnTo>
                  <a:pt x="539323" y="1433702"/>
                </a:lnTo>
                <a:lnTo>
                  <a:pt x="542895" y="1428184"/>
                </a:lnTo>
                <a:lnTo>
                  <a:pt x="545592" y="1414272"/>
                </a:lnTo>
                <a:lnTo>
                  <a:pt x="543637" y="1400718"/>
                </a:lnTo>
                <a:lnTo>
                  <a:pt x="539669" y="1392809"/>
                </a:lnTo>
                <a:close/>
              </a:path>
            </a:pathLst>
          </a:custGeom>
          <a:solidFill>
            <a:srgbClr val="12ABDB"/>
          </a:solidFill>
        </p:spPr>
        <p:txBody>
          <a:bodyPr wrap="square" lIns="0" tIns="0" rIns="0" bIns="0" rtlCol="0"/>
          <a:lstStyle/>
          <a:p>
            <a:endParaRPr/>
          </a:p>
        </p:txBody>
      </p:sp>
      <p:sp>
        <p:nvSpPr>
          <p:cNvPr id="12" name="object 12"/>
          <p:cNvSpPr/>
          <p:nvPr/>
        </p:nvSpPr>
        <p:spPr>
          <a:xfrm>
            <a:off x="268224" y="1269491"/>
            <a:ext cx="1019810" cy="1015365"/>
          </a:xfrm>
          <a:custGeom>
            <a:avLst/>
            <a:gdLst/>
            <a:ahLst/>
            <a:cxnLst/>
            <a:rect l="l" t="t" r="r" b="b"/>
            <a:pathLst>
              <a:path w="1019810" h="1015364">
                <a:moveTo>
                  <a:pt x="508660" y="0"/>
                </a:moveTo>
                <a:lnTo>
                  <a:pt x="459790" y="2326"/>
                </a:lnTo>
                <a:lnTo>
                  <a:pt x="412209" y="9163"/>
                </a:lnTo>
                <a:lnTo>
                  <a:pt x="366133" y="20294"/>
                </a:lnTo>
                <a:lnTo>
                  <a:pt x="321778" y="35504"/>
                </a:lnTo>
                <a:lnTo>
                  <a:pt x="279359" y="54579"/>
                </a:lnTo>
                <a:lnTo>
                  <a:pt x="239094" y="77304"/>
                </a:lnTo>
                <a:lnTo>
                  <a:pt x="201196" y="103462"/>
                </a:lnTo>
                <a:lnTo>
                  <a:pt x="165884" y="132840"/>
                </a:lnTo>
                <a:lnTo>
                  <a:pt x="133372" y="165222"/>
                </a:lnTo>
                <a:lnTo>
                  <a:pt x="103876" y="200392"/>
                </a:lnTo>
                <a:lnTo>
                  <a:pt x="77612" y="238136"/>
                </a:lnTo>
                <a:lnTo>
                  <a:pt x="54797" y="278239"/>
                </a:lnTo>
                <a:lnTo>
                  <a:pt x="35646" y="320485"/>
                </a:lnTo>
                <a:lnTo>
                  <a:pt x="20374" y="364660"/>
                </a:lnTo>
                <a:lnTo>
                  <a:pt x="9199" y="410548"/>
                </a:lnTo>
                <a:lnTo>
                  <a:pt x="2335" y="457934"/>
                </a:lnTo>
                <a:lnTo>
                  <a:pt x="0" y="506603"/>
                </a:lnTo>
                <a:lnTo>
                  <a:pt x="2204" y="554511"/>
                </a:lnTo>
                <a:lnTo>
                  <a:pt x="8689" y="601153"/>
                </a:lnTo>
                <a:lnTo>
                  <a:pt x="19259" y="646330"/>
                </a:lnTo>
                <a:lnTo>
                  <a:pt x="33720" y="689847"/>
                </a:lnTo>
                <a:lnTo>
                  <a:pt x="51877" y="731507"/>
                </a:lnTo>
                <a:lnTo>
                  <a:pt x="73534" y="771114"/>
                </a:lnTo>
                <a:lnTo>
                  <a:pt x="98498" y="808469"/>
                </a:lnTo>
                <a:lnTo>
                  <a:pt x="126573" y="843378"/>
                </a:lnTo>
                <a:lnTo>
                  <a:pt x="157566" y="875643"/>
                </a:lnTo>
                <a:lnTo>
                  <a:pt x="191280" y="905067"/>
                </a:lnTo>
                <a:lnTo>
                  <a:pt x="227522" y="931454"/>
                </a:lnTo>
                <a:lnTo>
                  <a:pt x="266097" y="954607"/>
                </a:lnTo>
                <a:lnTo>
                  <a:pt x="306810" y="974330"/>
                </a:lnTo>
                <a:lnTo>
                  <a:pt x="349466" y="990426"/>
                </a:lnTo>
                <a:lnTo>
                  <a:pt x="393870" y="1002698"/>
                </a:lnTo>
                <a:lnTo>
                  <a:pt x="439829" y="1010949"/>
                </a:lnTo>
                <a:lnTo>
                  <a:pt x="487146" y="1014984"/>
                </a:lnTo>
                <a:lnTo>
                  <a:pt x="530275" y="1014984"/>
                </a:lnTo>
                <a:lnTo>
                  <a:pt x="530275" y="972185"/>
                </a:lnTo>
                <a:lnTo>
                  <a:pt x="508660" y="972185"/>
                </a:lnTo>
                <a:lnTo>
                  <a:pt x="461174" y="969785"/>
                </a:lnTo>
                <a:lnTo>
                  <a:pt x="415034" y="962743"/>
                </a:lnTo>
                <a:lnTo>
                  <a:pt x="370478" y="951289"/>
                </a:lnTo>
                <a:lnTo>
                  <a:pt x="327741" y="935656"/>
                </a:lnTo>
                <a:lnTo>
                  <a:pt x="287061" y="916076"/>
                </a:lnTo>
                <a:lnTo>
                  <a:pt x="248676" y="892782"/>
                </a:lnTo>
                <a:lnTo>
                  <a:pt x="212821" y="866005"/>
                </a:lnTo>
                <a:lnTo>
                  <a:pt x="179735" y="835977"/>
                </a:lnTo>
                <a:lnTo>
                  <a:pt x="149653" y="802931"/>
                </a:lnTo>
                <a:lnTo>
                  <a:pt x="122813" y="767099"/>
                </a:lnTo>
                <a:lnTo>
                  <a:pt x="99453" y="728714"/>
                </a:lnTo>
                <a:lnTo>
                  <a:pt x="79808" y="688006"/>
                </a:lnTo>
                <a:lnTo>
                  <a:pt x="64116" y="645209"/>
                </a:lnTo>
                <a:lnTo>
                  <a:pt x="52615" y="600555"/>
                </a:lnTo>
                <a:lnTo>
                  <a:pt x="45540" y="554275"/>
                </a:lnTo>
                <a:lnTo>
                  <a:pt x="43129" y="506603"/>
                </a:lnTo>
                <a:lnTo>
                  <a:pt x="45540" y="459288"/>
                </a:lnTo>
                <a:lnTo>
                  <a:pt x="52615" y="413321"/>
                </a:lnTo>
                <a:lnTo>
                  <a:pt x="64116" y="368938"/>
                </a:lnTo>
                <a:lnTo>
                  <a:pt x="79808" y="326374"/>
                </a:lnTo>
                <a:lnTo>
                  <a:pt x="99453" y="285863"/>
                </a:lnTo>
                <a:lnTo>
                  <a:pt x="122813" y="247642"/>
                </a:lnTo>
                <a:lnTo>
                  <a:pt x="149653" y="211944"/>
                </a:lnTo>
                <a:lnTo>
                  <a:pt x="179735" y="179006"/>
                </a:lnTo>
                <a:lnTo>
                  <a:pt x="212821" y="149062"/>
                </a:lnTo>
                <a:lnTo>
                  <a:pt x="248676" y="122348"/>
                </a:lnTo>
                <a:lnTo>
                  <a:pt x="287061" y="99099"/>
                </a:lnTo>
                <a:lnTo>
                  <a:pt x="327741" y="79549"/>
                </a:lnTo>
                <a:lnTo>
                  <a:pt x="370478" y="63935"/>
                </a:lnTo>
                <a:lnTo>
                  <a:pt x="415034" y="52490"/>
                </a:lnTo>
                <a:lnTo>
                  <a:pt x="461174" y="45451"/>
                </a:lnTo>
                <a:lnTo>
                  <a:pt x="508660" y="43053"/>
                </a:lnTo>
                <a:lnTo>
                  <a:pt x="713648" y="43053"/>
                </a:lnTo>
                <a:lnTo>
                  <a:pt x="696778" y="35504"/>
                </a:lnTo>
                <a:lnTo>
                  <a:pt x="652174" y="20294"/>
                </a:lnTo>
                <a:lnTo>
                  <a:pt x="605811" y="9163"/>
                </a:lnTo>
                <a:lnTo>
                  <a:pt x="557902" y="2326"/>
                </a:lnTo>
                <a:lnTo>
                  <a:pt x="508660" y="0"/>
                </a:lnTo>
                <a:close/>
              </a:path>
              <a:path w="1019810" h="1015364">
                <a:moveTo>
                  <a:pt x="713648" y="43053"/>
                </a:moveTo>
                <a:lnTo>
                  <a:pt x="508660" y="43053"/>
                </a:lnTo>
                <a:lnTo>
                  <a:pt x="556539" y="45451"/>
                </a:lnTo>
                <a:lnTo>
                  <a:pt x="603023" y="52490"/>
                </a:lnTo>
                <a:lnTo>
                  <a:pt x="647878" y="63935"/>
                </a:lnTo>
                <a:lnTo>
                  <a:pt x="690871" y="79549"/>
                </a:lnTo>
                <a:lnTo>
                  <a:pt x="731767" y="99099"/>
                </a:lnTo>
                <a:lnTo>
                  <a:pt x="770333" y="122348"/>
                </a:lnTo>
                <a:lnTo>
                  <a:pt x="806336" y="149062"/>
                </a:lnTo>
                <a:lnTo>
                  <a:pt x="839541" y="179006"/>
                </a:lnTo>
                <a:lnTo>
                  <a:pt x="869715" y="211944"/>
                </a:lnTo>
                <a:lnTo>
                  <a:pt x="896624" y="247642"/>
                </a:lnTo>
                <a:lnTo>
                  <a:pt x="920034" y="285863"/>
                </a:lnTo>
                <a:lnTo>
                  <a:pt x="939712" y="326374"/>
                </a:lnTo>
                <a:lnTo>
                  <a:pt x="955424" y="368938"/>
                </a:lnTo>
                <a:lnTo>
                  <a:pt x="966936" y="413321"/>
                </a:lnTo>
                <a:lnTo>
                  <a:pt x="974015" y="459288"/>
                </a:lnTo>
                <a:lnTo>
                  <a:pt x="976426" y="506603"/>
                </a:lnTo>
                <a:lnTo>
                  <a:pt x="973853" y="555632"/>
                </a:lnTo>
                <a:lnTo>
                  <a:pt x="966314" y="603153"/>
                </a:lnTo>
                <a:lnTo>
                  <a:pt x="954081" y="648921"/>
                </a:lnTo>
                <a:lnTo>
                  <a:pt x="937428" y="692693"/>
                </a:lnTo>
                <a:lnTo>
                  <a:pt x="916625" y="734227"/>
                </a:lnTo>
                <a:lnTo>
                  <a:pt x="891945" y="773278"/>
                </a:lnTo>
                <a:lnTo>
                  <a:pt x="863660" y="809603"/>
                </a:lnTo>
                <a:lnTo>
                  <a:pt x="832042" y="842960"/>
                </a:lnTo>
                <a:lnTo>
                  <a:pt x="797363" y="873104"/>
                </a:lnTo>
                <a:lnTo>
                  <a:pt x="759896" y="899792"/>
                </a:lnTo>
                <a:lnTo>
                  <a:pt x="719912" y="922782"/>
                </a:lnTo>
                <a:lnTo>
                  <a:pt x="719912" y="970153"/>
                </a:lnTo>
                <a:lnTo>
                  <a:pt x="762944" y="948265"/>
                </a:lnTo>
                <a:lnTo>
                  <a:pt x="803491" y="922516"/>
                </a:lnTo>
                <a:lnTo>
                  <a:pt x="841312" y="893151"/>
                </a:lnTo>
                <a:lnTo>
                  <a:pt x="876168" y="860415"/>
                </a:lnTo>
                <a:lnTo>
                  <a:pt x="907820" y="824554"/>
                </a:lnTo>
                <a:lnTo>
                  <a:pt x="936028" y="785812"/>
                </a:lnTo>
                <a:lnTo>
                  <a:pt x="960553" y="744435"/>
                </a:lnTo>
                <a:lnTo>
                  <a:pt x="981155" y="700668"/>
                </a:lnTo>
                <a:lnTo>
                  <a:pt x="997596" y="654756"/>
                </a:lnTo>
                <a:lnTo>
                  <a:pt x="1009636" y="606944"/>
                </a:lnTo>
                <a:lnTo>
                  <a:pt x="1017036" y="557478"/>
                </a:lnTo>
                <a:lnTo>
                  <a:pt x="1019556" y="506603"/>
                </a:lnTo>
                <a:lnTo>
                  <a:pt x="1017219" y="457934"/>
                </a:lnTo>
                <a:lnTo>
                  <a:pt x="1010352" y="410548"/>
                </a:lnTo>
                <a:lnTo>
                  <a:pt x="999168" y="364660"/>
                </a:lnTo>
                <a:lnTo>
                  <a:pt x="983880" y="320485"/>
                </a:lnTo>
                <a:lnTo>
                  <a:pt x="964701" y="278239"/>
                </a:lnTo>
                <a:lnTo>
                  <a:pt x="941844" y="238136"/>
                </a:lnTo>
                <a:lnTo>
                  <a:pt x="915523" y="200392"/>
                </a:lnTo>
                <a:lnTo>
                  <a:pt x="885950" y="165222"/>
                </a:lnTo>
                <a:lnTo>
                  <a:pt x="853340" y="132840"/>
                </a:lnTo>
                <a:lnTo>
                  <a:pt x="817904" y="103462"/>
                </a:lnTo>
                <a:lnTo>
                  <a:pt x="779856" y="77304"/>
                </a:lnTo>
                <a:lnTo>
                  <a:pt x="739410" y="54579"/>
                </a:lnTo>
                <a:lnTo>
                  <a:pt x="713648" y="43053"/>
                </a:lnTo>
                <a:close/>
              </a:path>
            </a:pathLst>
          </a:custGeom>
          <a:solidFill>
            <a:srgbClr val="006FAC"/>
          </a:solidFill>
        </p:spPr>
        <p:txBody>
          <a:bodyPr wrap="square" lIns="0" tIns="0" rIns="0" bIns="0" rtlCol="0"/>
          <a:lstStyle/>
          <a:p>
            <a:endParaRPr/>
          </a:p>
        </p:txBody>
      </p:sp>
      <p:sp>
        <p:nvSpPr>
          <p:cNvPr id="13" name="object 13"/>
          <p:cNvSpPr/>
          <p:nvPr/>
        </p:nvSpPr>
        <p:spPr>
          <a:xfrm>
            <a:off x="781812" y="2244851"/>
            <a:ext cx="0" cy="3566160"/>
          </a:xfrm>
          <a:custGeom>
            <a:avLst/>
            <a:gdLst/>
            <a:ahLst/>
            <a:cxnLst/>
            <a:rect l="l" t="t" r="r" b="b"/>
            <a:pathLst>
              <a:path h="3566160">
                <a:moveTo>
                  <a:pt x="0" y="0"/>
                </a:moveTo>
                <a:lnTo>
                  <a:pt x="0" y="3566160"/>
                </a:lnTo>
              </a:path>
            </a:pathLst>
          </a:custGeom>
          <a:ln w="36576">
            <a:solidFill>
              <a:srgbClr val="006FAC"/>
            </a:solidFill>
          </a:ln>
        </p:spPr>
        <p:txBody>
          <a:bodyPr wrap="square" lIns="0" tIns="0" rIns="0" bIns="0" rtlCol="0"/>
          <a:lstStyle/>
          <a:p>
            <a:endParaRPr/>
          </a:p>
        </p:txBody>
      </p:sp>
      <p:sp>
        <p:nvSpPr>
          <p:cNvPr id="14" name="object 14"/>
          <p:cNvSpPr/>
          <p:nvPr/>
        </p:nvSpPr>
        <p:spPr>
          <a:xfrm>
            <a:off x="669036" y="5766815"/>
            <a:ext cx="216408" cy="213359"/>
          </a:xfrm>
          <a:prstGeom prst="rect">
            <a:avLst/>
          </a:prstGeom>
          <a:blipFill>
            <a:blip r:embed="rId4" cstate="print"/>
            <a:stretch>
              <a:fillRect/>
            </a:stretch>
          </a:blipFill>
        </p:spPr>
        <p:txBody>
          <a:bodyPr wrap="square" lIns="0" tIns="0" rIns="0" bIns="0" rtlCol="0"/>
          <a:lstStyle/>
          <a:p>
            <a:endParaRPr/>
          </a:p>
        </p:txBody>
      </p:sp>
      <p:sp>
        <p:nvSpPr>
          <p:cNvPr id="15" name="object 15"/>
          <p:cNvSpPr/>
          <p:nvPr/>
        </p:nvSpPr>
        <p:spPr>
          <a:xfrm>
            <a:off x="492625" y="2004060"/>
            <a:ext cx="478155" cy="0"/>
          </a:xfrm>
          <a:custGeom>
            <a:avLst/>
            <a:gdLst/>
            <a:ahLst/>
            <a:cxnLst/>
            <a:rect l="l" t="t" r="r" b="b"/>
            <a:pathLst>
              <a:path w="478155">
                <a:moveTo>
                  <a:pt x="0" y="0"/>
                </a:moveTo>
                <a:lnTo>
                  <a:pt x="477788" y="0"/>
                </a:lnTo>
              </a:path>
            </a:pathLst>
          </a:custGeom>
          <a:ln w="3175">
            <a:solidFill>
              <a:srgbClr val="CDEFFA"/>
            </a:solidFill>
          </a:ln>
        </p:spPr>
        <p:txBody>
          <a:bodyPr wrap="square" lIns="0" tIns="0" rIns="0" bIns="0" rtlCol="0"/>
          <a:lstStyle/>
          <a:p>
            <a:endParaRPr/>
          </a:p>
        </p:txBody>
      </p:sp>
      <p:sp>
        <p:nvSpPr>
          <p:cNvPr id="16" name="object 16"/>
          <p:cNvSpPr/>
          <p:nvPr/>
        </p:nvSpPr>
        <p:spPr>
          <a:xfrm>
            <a:off x="490727" y="1912620"/>
            <a:ext cx="481965" cy="90170"/>
          </a:xfrm>
          <a:custGeom>
            <a:avLst/>
            <a:gdLst/>
            <a:ahLst/>
            <a:cxnLst/>
            <a:rect l="l" t="t" r="r" b="b"/>
            <a:pathLst>
              <a:path w="481965" h="90169">
                <a:moveTo>
                  <a:pt x="0" y="90170"/>
                </a:moveTo>
                <a:lnTo>
                  <a:pt x="481584" y="90170"/>
                </a:lnTo>
                <a:lnTo>
                  <a:pt x="481584" y="0"/>
                </a:lnTo>
                <a:lnTo>
                  <a:pt x="0" y="0"/>
                </a:lnTo>
                <a:lnTo>
                  <a:pt x="0" y="90170"/>
                </a:lnTo>
                <a:close/>
              </a:path>
            </a:pathLst>
          </a:custGeom>
          <a:solidFill>
            <a:srgbClr val="CDEFFA"/>
          </a:solidFill>
        </p:spPr>
        <p:txBody>
          <a:bodyPr wrap="square" lIns="0" tIns="0" rIns="0" bIns="0" rtlCol="0"/>
          <a:lstStyle/>
          <a:p>
            <a:endParaRPr/>
          </a:p>
        </p:txBody>
      </p:sp>
      <p:sp>
        <p:nvSpPr>
          <p:cNvPr id="17" name="object 17"/>
          <p:cNvSpPr/>
          <p:nvPr/>
        </p:nvSpPr>
        <p:spPr>
          <a:xfrm>
            <a:off x="951801" y="1871979"/>
            <a:ext cx="20955" cy="40640"/>
          </a:xfrm>
          <a:custGeom>
            <a:avLst/>
            <a:gdLst/>
            <a:ahLst/>
            <a:cxnLst/>
            <a:rect l="l" t="t" r="r" b="b"/>
            <a:pathLst>
              <a:path w="20955" h="40639">
                <a:moveTo>
                  <a:pt x="0" y="40639"/>
                </a:moveTo>
                <a:lnTo>
                  <a:pt x="20510" y="40639"/>
                </a:lnTo>
                <a:lnTo>
                  <a:pt x="20510" y="0"/>
                </a:lnTo>
                <a:lnTo>
                  <a:pt x="0" y="0"/>
                </a:lnTo>
                <a:lnTo>
                  <a:pt x="0" y="40639"/>
                </a:lnTo>
                <a:close/>
              </a:path>
            </a:pathLst>
          </a:custGeom>
          <a:solidFill>
            <a:srgbClr val="CDEFFA"/>
          </a:solidFill>
        </p:spPr>
        <p:txBody>
          <a:bodyPr wrap="square" lIns="0" tIns="0" rIns="0" bIns="0" rtlCol="0"/>
          <a:lstStyle/>
          <a:p>
            <a:endParaRPr/>
          </a:p>
        </p:txBody>
      </p:sp>
      <p:sp>
        <p:nvSpPr>
          <p:cNvPr id="18" name="object 18"/>
          <p:cNvSpPr/>
          <p:nvPr/>
        </p:nvSpPr>
        <p:spPr>
          <a:xfrm>
            <a:off x="490727" y="1871472"/>
            <a:ext cx="481965" cy="134620"/>
          </a:xfrm>
          <a:custGeom>
            <a:avLst/>
            <a:gdLst/>
            <a:ahLst/>
            <a:cxnLst/>
            <a:rect l="l" t="t" r="r" b="b"/>
            <a:pathLst>
              <a:path w="481965" h="134619">
                <a:moveTo>
                  <a:pt x="64922" y="41275"/>
                </a:moveTo>
                <a:lnTo>
                  <a:pt x="461073" y="41275"/>
                </a:lnTo>
                <a:lnTo>
                  <a:pt x="461073" y="3428"/>
                </a:lnTo>
                <a:lnTo>
                  <a:pt x="461073" y="0"/>
                </a:lnTo>
                <a:lnTo>
                  <a:pt x="464489" y="0"/>
                </a:lnTo>
                <a:lnTo>
                  <a:pt x="474751" y="0"/>
                </a:lnTo>
                <a:lnTo>
                  <a:pt x="478167" y="0"/>
                </a:lnTo>
                <a:lnTo>
                  <a:pt x="481584" y="0"/>
                </a:lnTo>
                <a:lnTo>
                  <a:pt x="481584" y="3428"/>
                </a:lnTo>
                <a:lnTo>
                  <a:pt x="481584" y="44703"/>
                </a:lnTo>
                <a:lnTo>
                  <a:pt x="481584" y="127253"/>
                </a:lnTo>
                <a:lnTo>
                  <a:pt x="481584" y="130682"/>
                </a:lnTo>
                <a:lnTo>
                  <a:pt x="478167" y="134112"/>
                </a:lnTo>
                <a:lnTo>
                  <a:pt x="474751" y="134112"/>
                </a:lnTo>
                <a:lnTo>
                  <a:pt x="464489" y="134112"/>
                </a:lnTo>
                <a:lnTo>
                  <a:pt x="3416" y="134112"/>
                </a:lnTo>
                <a:lnTo>
                  <a:pt x="0" y="130682"/>
                </a:lnTo>
                <a:lnTo>
                  <a:pt x="0" y="127253"/>
                </a:lnTo>
                <a:lnTo>
                  <a:pt x="0" y="44703"/>
                </a:lnTo>
                <a:lnTo>
                  <a:pt x="0" y="41275"/>
                </a:lnTo>
                <a:lnTo>
                  <a:pt x="3416" y="41275"/>
                </a:lnTo>
                <a:lnTo>
                  <a:pt x="64922" y="41275"/>
                </a:lnTo>
                <a:close/>
              </a:path>
            </a:pathLst>
          </a:custGeom>
          <a:ln w="12192">
            <a:solidFill>
              <a:srgbClr val="2B133C"/>
            </a:solidFill>
          </a:ln>
        </p:spPr>
        <p:txBody>
          <a:bodyPr wrap="square" lIns="0" tIns="0" rIns="0" bIns="0" rtlCol="0"/>
          <a:lstStyle/>
          <a:p>
            <a:endParaRPr/>
          </a:p>
        </p:txBody>
      </p:sp>
      <p:sp>
        <p:nvSpPr>
          <p:cNvPr id="19" name="object 19"/>
          <p:cNvSpPr/>
          <p:nvPr/>
        </p:nvSpPr>
        <p:spPr>
          <a:xfrm>
            <a:off x="844296" y="1947672"/>
            <a:ext cx="3175" cy="52069"/>
          </a:xfrm>
          <a:custGeom>
            <a:avLst/>
            <a:gdLst/>
            <a:ahLst/>
            <a:cxnLst/>
            <a:rect l="l" t="t" r="r" b="b"/>
            <a:pathLst>
              <a:path w="3175" h="52069">
                <a:moveTo>
                  <a:pt x="1523" y="-6096"/>
                </a:moveTo>
                <a:lnTo>
                  <a:pt x="1523" y="57911"/>
                </a:lnTo>
              </a:path>
            </a:pathLst>
          </a:custGeom>
          <a:ln w="15240">
            <a:solidFill>
              <a:srgbClr val="2B133C"/>
            </a:solidFill>
          </a:ln>
        </p:spPr>
        <p:txBody>
          <a:bodyPr wrap="square" lIns="0" tIns="0" rIns="0" bIns="0" rtlCol="0"/>
          <a:lstStyle/>
          <a:p>
            <a:endParaRPr/>
          </a:p>
        </p:txBody>
      </p:sp>
      <p:sp>
        <p:nvSpPr>
          <p:cNvPr id="20" name="object 20"/>
          <p:cNvSpPr/>
          <p:nvPr/>
        </p:nvSpPr>
        <p:spPr>
          <a:xfrm>
            <a:off x="726948" y="1953767"/>
            <a:ext cx="1905" cy="45720"/>
          </a:xfrm>
          <a:custGeom>
            <a:avLst/>
            <a:gdLst/>
            <a:ahLst/>
            <a:cxnLst/>
            <a:rect l="l" t="t" r="r" b="b"/>
            <a:pathLst>
              <a:path w="1904" h="45719">
                <a:moveTo>
                  <a:pt x="761" y="-6096"/>
                </a:moveTo>
                <a:lnTo>
                  <a:pt x="761" y="51816"/>
                </a:lnTo>
              </a:path>
            </a:pathLst>
          </a:custGeom>
          <a:ln w="13715">
            <a:solidFill>
              <a:srgbClr val="2B133C"/>
            </a:solidFill>
          </a:ln>
        </p:spPr>
        <p:txBody>
          <a:bodyPr wrap="square" lIns="0" tIns="0" rIns="0" bIns="0" rtlCol="0"/>
          <a:lstStyle/>
          <a:p>
            <a:endParaRPr/>
          </a:p>
        </p:txBody>
      </p:sp>
      <p:sp>
        <p:nvSpPr>
          <p:cNvPr id="21" name="object 21"/>
          <p:cNvSpPr/>
          <p:nvPr/>
        </p:nvSpPr>
        <p:spPr>
          <a:xfrm>
            <a:off x="591312" y="1947672"/>
            <a:ext cx="3175" cy="52069"/>
          </a:xfrm>
          <a:custGeom>
            <a:avLst/>
            <a:gdLst/>
            <a:ahLst/>
            <a:cxnLst/>
            <a:rect l="l" t="t" r="r" b="b"/>
            <a:pathLst>
              <a:path w="3175" h="52069">
                <a:moveTo>
                  <a:pt x="1523" y="-6096"/>
                </a:moveTo>
                <a:lnTo>
                  <a:pt x="1523" y="57911"/>
                </a:lnTo>
              </a:path>
            </a:pathLst>
          </a:custGeom>
          <a:ln w="15239">
            <a:solidFill>
              <a:srgbClr val="2B133C"/>
            </a:solidFill>
          </a:ln>
        </p:spPr>
        <p:txBody>
          <a:bodyPr wrap="square" lIns="0" tIns="0" rIns="0" bIns="0" rtlCol="0"/>
          <a:lstStyle/>
          <a:p>
            <a:endParaRPr/>
          </a:p>
        </p:txBody>
      </p:sp>
      <p:sp>
        <p:nvSpPr>
          <p:cNvPr id="22" name="object 22"/>
          <p:cNvSpPr/>
          <p:nvPr/>
        </p:nvSpPr>
        <p:spPr>
          <a:xfrm>
            <a:off x="748283" y="1565147"/>
            <a:ext cx="220979" cy="353567"/>
          </a:xfrm>
          <a:prstGeom prst="rect">
            <a:avLst/>
          </a:prstGeom>
          <a:blipFill>
            <a:blip r:embed="rId5" cstate="print"/>
            <a:stretch>
              <a:fillRect/>
            </a:stretch>
          </a:blipFill>
        </p:spPr>
        <p:txBody>
          <a:bodyPr wrap="square" lIns="0" tIns="0" rIns="0" bIns="0" rtlCol="0"/>
          <a:lstStyle/>
          <a:p>
            <a:endParaRPr/>
          </a:p>
        </p:txBody>
      </p:sp>
      <p:sp>
        <p:nvSpPr>
          <p:cNvPr id="23" name="object 23"/>
          <p:cNvSpPr/>
          <p:nvPr/>
        </p:nvSpPr>
        <p:spPr>
          <a:xfrm>
            <a:off x="960119" y="1560575"/>
            <a:ext cx="0" cy="365760"/>
          </a:xfrm>
          <a:custGeom>
            <a:avLst/>
            <a:gdLst/>
            <a:ahLst/>
            <a:cxnLst/>
            <a:rect l="l" t="t" r="r" b="b"/>
            <a:pathLst>
              <a:path h="365760">
                <a:moveTo>
                  <a:pt x="0" y="0"/>
                </a:moveTo>
                <a:lnTo>
                  <a:pt x="0" y="365760"/>
                </a:lnTo>
              </a:path>
            </a:pathLst>
          </a:custGeom>
          <a:ln w="9143">
            <a:solidFill>
              <a:srgbClr val="CDEFFA"/>
            </a:solidFill>
          </a:ln>
        </p:spPr>
        <p:txBody>
          <a:bodyPr wrap="square" lIns="0" tIns="0" rIns="0" bIns="0" rtlCol="0"/>
          <a:lstStyle/>
          <a:p>
            <a:endParaRPr/>
          </a:p>
        </p:txBody>
      </p:sp>
      <p:sp>
        <p:nvSpPr>
          <p:cNvPr id="24" name="object 2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5" name="object 2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2</a:t>
            </a:fld>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3896360" cy="422275"/>
          </a:xfrm>
          <a:prstGeom prst="rect">
            <a:avLst/>
          </a:prstGeom>
        </p:spPr>
        <p:txBody>
          <a:bodyPr vert="horz" wrap="square" lIns="0" tIns="12700" rIns="0" bIns="0" rtlCol="0">
            <a:spAutoFit/>
          </a:bodyPr>
          <a:lstStyle/>
          <a:p>
            <a:pPr marL="12700">
              <a:lnSpc>
                <a:spcPct val="100000"/>
              </a:lnSpc>
              <a:spcBef>
                <a:spcPts val="100"/>
              </a:spcBef>
            </a:pPr>
            <a:r>
              <a:rPr sz="2600" spc="-5"/>
              <a:t>How </a:t>
            </a:r>
            <a:r>
              <a:rPr sz="2600" spc="-65"/>
              <a:t>We </a:t>
            </a:r>
            <a:r>
              <a:rPr sz="2600" spc="-30"/>
              <a:t>Work</a:t>
            </a:r>
            <a:r>
              <a:rPr sz="2600" spc="-25"/>
              <a:t> </a:t>
            </a:r>
            <a:r>
              <a:rPr sz="2600" spc="-35"/>
              <a:t>Together</a:t>
            </a:r>
            <a:endParaRPr sz="2600"/>
          </a:p>
        </p:txBody>
      </p:sp>
      <p:sp>
        <p:nvSpPr>
          <p:cNvPr id="3" name="object 3"/>
          <p:cNvSpPr txBox="1"/>
          <p:nvPr/>
        </p:nvSpPr>
        <p:spPr>
          <a:xfrm>
            <a:off x="252984" y="1129283"/>
            <a:ext cx="11686540" cy="365760"/>
          </a:xfrm>
          <a:prstGeom prst="rect">
            <a:avLst/>
          </a:prstGeom>
          <a:solidFill>
            <a:srgbClr val="421F5D"/>
          </a:solidFill>
        </p:spPr>
        <p:txBody>
          <a:bodyPr vert="horz" wrap="square" lIns="0" tIns="74930" rIns="0" bIns="0" rtlCol="0">
            <a:spAutoFit/>
          </a:bodyPr>
          <a:lstStyle/>
          <a:p>
            <a:pPr marL="90805">
              <a:lnSpc>
                <a:spcPct val="100000"/>
              </a:lnSpc>
              <a:spcBef>
                <a:spcPts val="590"/>
              </a:spcBef>
            </a:pPr>
            <a:r>
              <a:rPr sz="1400" b="1" i="1">
                <a:solidFill>
                  <a:srgbClr val="FFFFFF"/>
                </a:solidFill>
                <a:latin typeface="Verdana"/>
                <a:cs typeface="Verdana"/>
              </a:rPr>
              <a:t>Much of </a:t>
            </a:r>
            <a:r>
              <a:rPr sz="1400" b="1" i="1" spc="-5">
                <a:solidFill>
                  <a:srgbClr val="FFFFFF"/>
                </a:solidFill>
                <a:latin typeface="Verdana"/>
                <a:cs typeface="Verdana"/>
              </a:rPr>
              <a:t>our interaction </a:t>
            </a:r>
            <a:r>
              <a:rPr sz="1400" b="1" i="1">
                <a:solidFill>
                  <a:srgbClr val="FFFFFF"/>
                </a:solidFill>
                <a:latin typeface="Verdana"/>
                <a:cs typeface="Verdana"/>
              </a:rPr>
              <a:t>is </a:t>
            </a:r>
            <a:r>
              <a:rPr sz="1400" b="1" i="1" spc="-5">
                <a:solidFill>
                  <a:srgbClr val="FFFFFF"/>
                </a:solidFill>
                <a:latin typeface="Verdana"/>
                <a:cs typeface="Verdana"/>
              </a:rPr>
              <a:t>done </a:t>
            </a:r>
            <a:r>
              <a:rPr sz="1400" b="1" i="1">
                <a:solidFill>
                  <a:srgbClr val="FFFFFF"/>
                </a:solidFill>
                <a:latin typeface="Verdana"/>
                <a:cs typeface="Verdana"/>
              </a:rPr>
              <a:t>in a </a:t>
            </a:r>
            <a:r>
              <a:rPr sz="1400" b="1" i="1" spc="-5">
                <a:solidFill>
                  <a:srgbClr val="9AE0F7"/>
                </a:solidFill>
                <a:latin typeface="Verdana"/>
                <a:cs typeface="Verdana"/>
              </a:rPr>
              <a:t>WORKSHOP </a:t>
            </a:r>
            <a:r>
              <a:rPr sz="1400" b="1" i="1" spc="-5">
                <a:solidFill>
                  <a:srgbClr val="FFFFFF"/>
                </a:solidFill>
                <a:latin typeface="Verdana"/>
                <a:cs typeface="Verdana"/>
              </a:rPr>
              <a:t>environment </a:t>
            </a:r>
            <a:r>
              <a:rPr sz="1400" b="1" i="1">
                <a:solidFill>
                  <a:srgbClr val="FFFFFF"/>
                </a:solidFill>
                <a:latin typeface="Verdana"/>
                <a:cs typeface="Verdana"/>
              </a:rPr>
              <a:t>involving </a:t>
            </a:r>
            <a:r>
              <a:rPr sz="1400" b="1" i="1" spc="-5">
                <a:solidFill>
                  <a:srgbClr val="FFFFFF"/>
                </a:solidFill>
                <a:latin typeface="Verdana"/>
                <a:cs typeface="Verdana"/>
              </a:rPr>
              <a:t>the primary</a:t>
            </a:r>
            <a:r>
              <a:rPr sz="1400" b="1" i="1" spc="-125">
                <a:solidFill>
                  <a:srgbClr val="FFFFFF"/>
                </a:solidFill>
                <a:latin typeface="Verdana"/>
                <a:cs typeface="Verdana"/>
              </a:rPr>
              <a:t> </a:t>
            </a:r>
            <a:r>
              <a:rPr sz="1400" b="1" i="1">
                <a:solidFill>
                  <a:srgbClr val="FFFFFF"/>
                </a:solidFill>
                <a:latin typeface="Verdana"/>
                <a:cs typeface="Verdana"/>
              </a:rPr>
              <a:t>stakeholders!</a:t>
            </a:r>
            <a:endParaRPr sz="1400">
              <a:latin typeface="Verdana"/>
              <a:cs typeface="Verdana"/>
            </a:endParaRPr>
          </a:p>
        </p:txBody>
      </p:sp>
      <p:sp>
        <p:nvSpPr>
          <p:cNvPr id="4" name="object 4"/>
          <p:cNvSpPr/>
          <p:nvPr/>
        </p:nvSpPr>
        <p:spPr>
          <a:xfrm>
            <a:off x="227075" y="1656588"/>
            <a:ext cx="1828800" cy="612775"/>
          </a:xfrm>
          <a:custGeom>
            <a:avLst/>
            <a:gdLst/>
            <a:ahLst/>
            <a:cxnLst/>
            <a:rect l="l" t="t" r="r" b="b"/>
            <a:pathLst>
              <a:path w="1828800" h="612775">
                <a:moveTo>
                  <a:pt x="1726692" y="0"/>
                </a:moveTo>
                <a:lnTo>
                  <a:pt x="102108" y="0"/>
                </a:lnTo>
                <a:lnTo>
                  <a:pt x="62364" y="8024"/>
                </a:lnTo>
                <a:lnTo>
                  <a:pt x="29908" y="29908"/>
                </a:lnTo>
                <a:lnTo>
                  <a:pt x="8024" y="62364"/>
                </a:lnTo>
                <a:lnTo>
                  <a:pt x="0" y="102108"/>
                </a:lnTo>
                <a:lnTo>
                  <a:pt x="0" y="612648"/>
                </a:lnTo>
                <a:lnTo>
                  <a:pt x="1828800" y="612648"/>
                </a:lnTo>
                <a:lnTo>
                  <a:pt x="1828800" y="102108"/>
                </a:lnTo>
                <a:lnTo>
                  <a:pt x="1820775" y="62364"/>
                </a:lnTo>
                <a:lnTo>
                  <a:pt x="1798891" y="29908"/>
                </a:lnTo>
                <a:lnTo>
                  <a:pt x="1766435" y="8024"/>
                </a:lnTo>
                <a:lnTo>
                  <a:pt x="1726692" y="0"/>
                </a:lnTo>
                <a:close/>
              </a:path>
            </a:pathLst>
          </a:custGeom>
          <a:solidFill>
            <a:srgbClr val="12ABDB"/>
          </a:solidFill>
        </p:spPr>
        <p:txBody>
          <a:bodyPr wrap="square" lIns="0" tIns="0" rIns="0" bIns="0" rtlCol="0"/>
          <a:lstStyle/>
          <a:p>
            <a:endParaRPr/>
          </a:p>
        </p:txBody>
      </p:sp>
      <p:sp>
        <p:nvSpPr>
          <p:cNvPr id="5" name="object 5"/>
          <p:cNvSpPr txBox="1"/>
          <p:nvPr/>
        </p:nvSpPr>
        <p:spPr>
          <a:xfrm>
            <a:off x="610311" y="1781683"/>
            <a:ext cx="850900" cy="391160"/>
          </a:xfrm>
          <a:prstGeom prst="rect">
            <a:avLst/>
          </a:prstGeom>
        </p:spPr>
        <p:txBody>
          <a:bodyPr vert="horz" wrap="square" lIns="0" tIns="12700" rIns="0" bIns="0" rtlCol="0">
            <a:spAutoFit/>
          </a:bodyPr>
          <a:lstStyle/>
          <a:p>
            <a:pPr marL="12700" marR="5080">
              <a:lnSpc>
                <a:spcPct val="100000"/>
              </a:lnSpc>
              <a:spcBef>
                <a:spcPts val="100"/>
              </a:spcBef>
            </a:pPr>
            <a:r>
              <a:rPr sz="1200" b="1" spc="-5">
                <a:solidFill>
                  <a:srgbClr val="FFFFFF"/>
                </a:solidFill>
                <a:latin typeface="Verdana"/>
                <a:cs typeface="Verdana"/>
              </a:rPr>
              <a:t>One</a:t>
            </a:r>
            <a:r>
              <a:rPr sz="1200" b="1" spc="-75">
                <a:solidFill>
                  <a:srgbClr val="FFFFFF"/>
                </a:solidFill>
                <a:latin typeface="Verdana"/>
                <a:cs typeface="Verdana"/>
              </a:rPr>
              <a:t> </a:t>
            </a:r>
            <a:r>
              <a:rPr sz="1200" b="1" spc="-5">
                <a:solidFill>
                  <a:srgbClr val="FFFFFF"/>
                </a:solidFill>
                <a:latin typeface="Verdana"/>
                <a:cs typeface="Verdana"/>
              </a:rPr>
              <a:t>team  Mindset</a:t>
            </a:r>
            <a:endParaRPr sz="1200">
              <a:latin typeface="Verdana"/>
              <a:cs typeface="Verdana"/>
            </a:endParaRPr>
          </a:p>
        </p:txBody>
      </p:sp>
      <p:sp>
        <p:nvSpPr>
          <p:cNvPr id="6" name="object 6"/>
          <p:cNvSpPr/>
          <p:nvPr/>
        </p:nvSpPr>
        <p:spPr>
          <a:xfrm>
            <a:off x="2199132" y="1656588"/>
            <a:ext cx="1828800" cy="612775"/>
          </a:xfrm>
          <a:custGeom>
            <a:avLst/>
            <a:gdLst/>
            <a:ahLst/>
            <a:cxnLst/>
            <a:rect l="l" t="t" r="r" b="b"/>
            <a:pathLst>
              <a:path w="1828800" h="612775">
                <a:moveTo>
                  <a:pt x="1726692" y="0"/>
                </a:moveTo>
                <a:lnTo>
                  <a:pt x="102107" y="0"/>
                </a:lnTo>
                <a:lnTo>
                  <a:pt x="62364" y="8024"/>
                </a:lnTo>
                <a:lnTo>
                  <a:pt x="29908" y="29908"/>
                </a:lnTo>
                <a:lnTo>
                  <a:pt x="8024" y="62364"/>
                </a:lnTo>
                <a:lnTo>
                  <a:pt x="0" y="102108"/>
                </a:lnTo>
                <a:lnTo>
                  <a:pt x="0" y="612648"/>
                </a:lnTo>
                <a:lnTo>
                  <a:pt x="1828800" y="612648"/>
                </a:lnTo>
                <a:lnTo>
                  <a:pt x="1828800" y="102108"/>
                </a:lnTo>
                <a:lnTo>
                  <a:pt x="1820775" y="62364"/>
                </a:lnTo>
                <a:lnTo>
                  <a:pt x="1798891" y="29908"/>
                </a:lnTo>
                <a:lnTo>
                  <a:pt x="1766435" y="8024"/>
                </a:lnTo>
                <a:lnTo>
                  <a:pt x="1726692" y="0"/>
                </a:lnTo>
                <a:close/>
              </a:path>
            </a:pathLst>
          </a:custGeom>
          <a:solidFill>
            <a:srgbClr val="12ABDB"/>
          </a:solidFill>
        </p:spPr>
        <p:txBody>
          <a:bodyPr wrap="square" lIns="0" tIns="0" rIns="0" bIns="0" rtlCol="0"/>
          <a:lstStyle/>
          <a:p>
            <a:endParaRPr/>
          </a:p>
        </p:txBody>
      </p:sp>
      <p:sp>
        <p:nvSpPr>
          <p:cNvPr id="7" name="object 7"/>
          <p:cNvSpPr txBox="1"/>
          <p:nvPr/>
        </p:nvSpPr>
        <p:spPr>
          <a:xfrm>
            <a:off x="2582672" y="1781683"/>
            <a:ext cx="1280160" cy="391160"/>
          </a:xfrm>
          <a:prstGeom prst="rect">
            <a:avLst/>
          </a:prstGeom>
        </p:spPr>
        <p:txBody>
          <a:bodyPr vert="horz" wrap="square" lIns="0" tIns="12700" rIns="0" bIns="0" rtlCol="0">
            <a:spAutoFit/>
          </a:bodyPr>
          <a:lstStyle/>
          <a:p>
            <a:pPr marL="12700" marR="5080">
              <a:lnSpc>
                <a:spcPct val="100000"/>
              </a:lnSpc>
              <a:spcBef>
                <a:spcPts val="100"/>
              </a:spcBef>
            </a:pPr>
            <a:r>
              <a:rPr sz="1200" b="1" spc="-5">
                <a:solidFill>
                  <a:srgbClr val="FFFFFF"/>
                </a:solidFill>
                <a:latin typeface="Verdana"/>
                <a:cs typeface="Verdana"/>
              </a:rPr>
              <a:t>Putting</a:t>
            </a:r>
            <a:r>
              <a:rPr sz="1200" b="1" spc="-75">
                <a:solidFill>
                  <a:srgbClr val="FFFFFF"/>
                </a:solidFill>
                <a:latin typeface="Verdana"/>
                <a:cs typeface="Verdana"/>
              </a:rPr>
              <a:t> </a:t>
            </a:r>
            <a:r>
              <a:rPr sz="1200" b="1" spc="-5">
                <a:solidFill>
                  <a:srgbClr val="FFFFFF"/>
                </a:solidFill>
                <a:latin typeface="Verdana"/>
                <a:cs typeface="Verdana"/>
              </a:rPr>
              <a:t>People  </a:t>
            </a:r>
            <a:r>
              <a:rPr sz="1200" b="1" spc="-10">
                <a:solidFill>
                  <a:srgbClr val="FFFFFF"/>
                </a:solidFill>
                <a:latin typeface="Verdana"/>
                <a:cs typeface="Verdana"/>
              </a:rPr>
              <a:t>first</a:t>
            </a:r>
            <a:endParaRPr sz="1200">
              <a:latin typeface="Verdana"/>
              <a:cs typeface="Verdana"/>
            </a:endParaRPr>
          </a:p>
        </p:txBody>
      </p:sp>
      <p:sp>
        <p:nvSpPr>
          <p:cNvPr id="8" name="object 8"/>
          <p:cNvSpPr/>
          <p:nvPr/>
        </p:nvSpPr>
        <p:spPr>
          <a:xfrm>
            <a:off x="4171188" y="1656588"/>
            <a:ext cx="1828800" cy="612775"/>
          </a:xfrm>
          <a:custGeom>
            <a:avLst/>
            <a:gdLst/>
            <a:ahLst/>
            <a:cxnLst/>
            <a:rect l="l" t="t" r="r" b="b"/>
            <a:pathLst>
              <a:path w="1828800" h="612775">
                <a:moveTo>
                  <a:pt x="1726691" y="0"/>
                </a:moveTo>
                <a:lnTo>
                  <a:pt x="102108" y="0"/>
                </a:lnTo>
                <a:lnTo>
                  <a:pt x="62364" y="8024"/>
                </a:lnTo>
                <a:lnTo>
                  <a:pt x="29908" y="29908"/>
                </a:lnTo>
                <a:lnTo>
                  <a:pt x="8024" y="62364"/>
                </a:lnTo>
                <a:lnTo>
                  <a:pt x="0" y="102108"/>
                </a:lnTo>
                <a:lnTo>
                  <a:pt x="0" y="612648"/>
                </a:lnTo>
                <a:lnTo>
                  <a:pt x="1828800" y="612648"/>
                </a:lnTo>
                <a:lnTo>
                  <a:pt x="1828800" y="102108"/>
                </a:lnTo>
                <a:lnTo>
                  <a:pt x="1820775" y="62364"/>
                </a:lnTo>
                <a:lnTo>
                  <a:pt x="1798891" y="29908"/>
                </a:lnTo>
                <a:lnTo>
                  <a:pt x="1766435" y="8024"/>
                </a:lnTo>
                <a:lnTo>
                  <a:pt x="1726691" y="0"/>
                </a:lnTo>
                <a:close/>
              </a:path>
            </a:pathLst>
          </a:custGeom>
          <a:solidFill>
            <a:srgbClr val="12ABDB"/>
          </a:solidFill>
        </p:spPr>
        <p:txBody>
          <a:bodyPr wrap="square" lIns="0" tIns="0" rIns="0" bIns="0" rtlCol="0"/>
          <a:lstStyle/>
          <a:p>
            <a:endParaRPr/>
          </a:p>
        </p:txBody>
      </p:sp>
      <p:sp>
        <p:nvSpPr>
          <p:cNvPr id="9" name="object 9"/>
          <p:cNvSpPr txBox="1"/>
          <p:nvPr/>
        </p:nvSpPr>
        <p:spPr>
          <a:xfrm>
            <a:off x="4554728" y="1873122"/>
            <a:ext cx="118237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Result</a:t>
            </a:r>
            <a:r>
              <a:rPr sz="1200" b="1" spc="-55">
                <a:solidFill>
                  <a:srgbClr val="FFFFFF"/>
                </a:solidFill>
                <a:latin typeface="Verdana"/>
                <a:cs typeface="Verdana"/>
              </a:rPr>
              <a:t> </a:t>
            </a:r>
            <a:r>
              <a:rPr sz="1200" b="1" spc="-5">
                <a:solidFill>
                  <a:srgbClr val="FFFFFF"/>
                </a:solidFill>
                <a:latin typeface="Verdana"/>
                <a:cs typeface="Verdana"/>
              </a:rPr>
              <a:t>Driven</a:t>
            </a:r>
            <a:endParaRPr sz="1200">
              <a:latin typeface="Verdana"/>
              <a:cs typeface="Verdana"/>
            </a:endParaRPr>
          </a:p>
        </p:txBody>
      </p:sp>
      <p:sp>
        <p:nvSpPr>
          <p:cNvPr id="10" name="object 10"/>
          <p:cNvSpPr/>
          <p:nvPr/>
        </p:nvSpPr>
        <p:spPr>
          <a:xfrm>
            <a:off x="6143244" y="1656588"/>
            <a:ext cx="1828800" cy="612775"/>
          </a:xfrm>
          <a:custGeom>
            <a:avLst/>
            <a:gdLst/>
            <a:ahLst/>
            <a:cxnLst/>
            <a:rect l="l" t="t" r="r" b="b"/>
            <a:pathLst>
              <a:path w="1828800" h="612775">
                <a:moveTo>
                  <a:pt x="1726691" y="0"/>
                </a:moveTo>
                <a:lnTo>
                  <a:pt x="102107" y="0"/>
                </a:lnTo>
                <a:lnTo>
                  <a:pt x="62364" y="8024"/>
                </a:lnTo>
                <a:lnTo>
                  <a:pt x="29908" y="29908"/>
                </a:lnTo>
                <a:lnTo>
                  <a:pt x="8024" y="62364"/>
                </a:lnTo>
                <a:lnTo>
                  <a:pt x="0" y="102108"/>
                </a:lnTo>
                <a:lnTo>
                  <a:pt x="0" y="612648"/>
                </a:lnTo>
                <a:lnTo>
                  <a:pt x="1828800" y="612648"/>
                </a:lnTo>
                <a:lnTo>
                  <a:pt x="1828800" y="102108"/>
                </a:lnTo>
                <a:lnTo>
                  <a:pt x="1820775" y="62364"/>
                </a:lnTo>
                <a:lnTo>
                  <a:pt x="1798891" y="29908"/>
                </a:lnTo>
                <a:lnTo>
                  <a:pt x="1766435" y="8024"/>
                </a:lnTo>
                <a:lnTo>
                  <a:pt x="1726691" y="0"/>
                </a:lnTo>
                <a:close/>
              </a:path>
            </a:pathLst>
          </a:custGeom>
          <a:solidFill>
            <a:srgbClr val="12ABDB"/>
          </a:solidFill>
        </p:spPr>
        <p:txBody>
          <a:bodyPr wrap="square" lIns="0" tIns="0" rIns="0" bIns="0" rtlCol="0"/>
          <a:lstStyle/>
          <a:p>
            <a:endParaRPr/>
          </a:p>
        </p:txBody>
      </p:sp>
      <p:sp>
        <p:nvSpPr>
          <p:cNvPr id="11" name="object 11"/>
          <p:cNvSpPr txBox="1"/>
          <p:nvPr/>
        </p:nvSpPr>
        <p:spPr>
          <a:xfrm>
            <a:off x="6527038" y="1690242"/>
            <a:ext cx="1160780" cy="574040"/>
          </a:xfrm>
          <a:prstGeom prst="rect">
            <a:avLst/>
          </a:prstGeom>
        </p:spPr>
        <p:txBody>
          <a:bodyPr vert="horz" wrap="square" lIns="0" tIns="12700" rIns="0" bIns="0" rtlCol="0">
            <a:spAutoFit/>
          </a:bodyPr>
          <a:lstStyle/>
          <a:p>
            <a:pPr marL="12700" marR="5080">
              <a:lnSpc>
                <a:spcPct val="100000"/>
              </a:lnSpc>
              <a:spcBef>
                <a:spcPts val="100"/>
              </a:spcBef>
            </a:pPr>
            <a:r>
              <a:rPr sz="1200" b="1" spc="-5">
                <a:solidFill>
                  <a:srgbClr val="FFFFFF"/>
                </a:solidFill>
                <a:latin typeface="Verdana"/>
                <a:cs typeface="Verdana"/>
              </a:rPr>
              <a:t>Delight</a:t>
            </a:r>
            <a:r>
              <a:rPr sz="1200" b="1" spc="-45">
                <a:solidFill>
                  <a:srgbClr val="FFFFFF"/>
                </a:solidFill>
                <a:latin typeface="Verdana"/>
                <a:cs typeface="Verdana"/>
              </a:rPr>
              <a:t> </a:t>
            </a:r>
            <a:r>
              <a:rPr sz="1200" b="1" spc="-10">
                <a:solidFill>
                  <a:srgbClr val="FFFFFF"/>
                </a:solidFill>
                <a:latin typeface="Verdana"/>
                <a:cs typeface="Verdana"/>
              </a:rPr>
              <a:t>users  </a:t>
            </a:r>
            <a:r>
              <a:rPr sz="1200" b="1">
                <a:solidFill>
                  <a:srgbClr val="FFFFFF"/>
                </a:solidFill>
                <a:latin typeface="Verdana"/>
                <a:cs typeface="Verdana"/>
              </a:rPr>
              <a:t>with </a:t>
            </a:r>
            <a:r>
              <a:rPr sz="1200" b="1" spc="-5">
                <a:solidFill>
                  <a:srgbClr val="FFFFFF"/>
                </a:solidFill>
                <a:latin typeface="Verdana"/>
                <a:cs typeface="Verdana"/>
              </a:rPr>
              <a:t>small  details</a:t>
            </a:r>
            <a:endParaRPr sz="1200">
              <a:latin typeface="Verdana"/>
              <a:cs typeface="Verdana"/>
            </a:endParaRPr>
          </a:p>
        </p:txBody>
      </p:sp>
      <p:sp>
        <p:nvSpPr>
          <p:cNvPr id="12" name="object 12"/>
          <p:cNvSpPr/>
          <p:nvPr/>
        </p:nvSpPr>
        <p:spPr>
          <a:xfrm>
            <a:off x="8115300" y="1656588"/>
            <a:ext cx="1828800" cy="612775"/>
          </a:xfrm>
          <a:custGeom>
            <a:avLst/>
            <a:gdLst/>
            <a:ahLst/>
            <a:cxnLst/>
            <a:rect l="l" t="t" r="r" b="b"/>
            <a:pathLst>
              <a:path w="1828800" h="612775">
                <a:moveTo>
                  <a:pt x="1726692" y="0"/>
                </a:moveTo>
                <a:lnTo>
                  <a:pt x="102107" y="0"/>
                </a:lnTo>
                <a:lnTo>
                  <a:pt x="62364" y="8024"/>
                </a:lnTo>
                <a:lnTo>
                  <a:pt x="29908" y="29908"/>
                </a:lnTo>
                <a:lnTo>
                  <a:pt x="8024" y="62364"/>
                </a:lnTo>
                <a:lnTo>
                  <a:pt x="0" y="102108"/>
                </a:lnTo>
                <a:lnTo>
                  <a:pt x="0" y="612648"/>
                </a:lnTo>
                <a:lnTo>
                  <a:pt x="1828800" y="612648"/>
                </a:lnTo>
                <a:lnTo>
                  <a:pt x="1828800" y="102108"/>
                </a:lnTo>
                <a:lnTo>
                  <a:pt x="1820775" y="62364"/>
                </a:lnTo>
                <a:lnTo>
                  <a:pt x="1798891" y="29908"/>
                </a:lnTo>
                <a:lnTo>
                  <a:pt x="1766435" y="8024"/>
                </a:lnTo>
                <a:lnTo>
                  <a:pt x="1726692" y="0"/>
                </a:lnTo>
                <a:close/>
              </a:path>
            </a:pathLst>
          </a:custGeom>
          <a:solidFill>
            <a:srgbClr val="12ABDB"/>
          </a:solidFill>
        </p:spPr>
        <p:txBody>
          <a:bodyPr wrap="square" lIns="0" tIns="0" rIns="0" bIns="0" rtlCol="0"/>
          <a:lstStyle/>
          <a:p>
            <a:endParaRPr/>
          </a:p>
        </p:txBody>
      </p:sp>
      <p:sp>
        <p:nvSpPr>
          <p:cNvPr id="13" name="object 13"/>
          <p:cNvSpPr txBox="1"/>
          <p:nvPr/>
        </p:nvSpPr>
        <p:spPr>
          <a:xfrm>
            <a:off x="8499093" y="1781683"/>
            <a:ext cx="966469" cy="391160"/>
          </a:xfrm>
          <a:prstGeom prst="rect">
            <a:avLst/>
          </a:prstGeom>
        </p:spPr>
        <p:txBody>
          <a:bodyPr vert="horz" wrap="square" lIns="0" tIns="12700" rIns="0" bIns="0" rtlCol="0">
            <a:spAutoFit/>
          </a:bodyPr>
          <a:lstStyle/>
          <a:p>
            <a:pPr marL="12700" marR="5080">
              <a:lnSpc>
                <a:spcPct val="100000"/>
              </a:lnSpc>
              <a:spcBef>
                <a:spcPts val="100"/>
              </a:spcBef>
            </a:pPr>
            <a:r>
              <a:rPr sz="1200" b="1" spc="-5">
                <a:solidFill>
                  <a:srgbClr val="FFFFFF"/>
                </a:solidFill>
                <a:latin typeface="Verdana"/>
                <a:cs typeface="Verdana"/>
              </a:rPr>
              <a:t>Effortless  E</a:t>
            </a:r>
            <a:r>
              <a:rPr sz="1200" b="1">
                <a:solidFill>
                  <a:srgbClr val="FFFFFF"/>
                </a:solidFill>
                <a:latin typeface="Verdana"/>
                <a:cs typeface="Verdana"/>
              </a:rPr>
              <a:t>xperi</a:t>
            </a:r>
            <a:r>
              <a:rPr sz="1200" b="1" spc="-10">
                <a:solidFill>
                  <a:srgbClr val="FFFFFF"/>
                </a:solidFill>
                <a:latin typeface="Verdana"/>
                <a:cs typeface="Verdana"/>
              </a:rPr>
              <a:t>e</a:t>
            </a:r>
            <a:r>
              <a:rPr sz="1200" b="1" spc="-5">
                <a:solidFill>
                  <a:srgbClr val="FFFFFF"/>
                </a:solidFill>
                <a:latin typeface="Verdana"/>
                <a:cs typeface="Verdana"/>
              </a:rPr>
              <a:t>nce</a:t>
            </a:r>
            <a:endParaRPr sz="1200">
              <a:latin typeface="Verdana"/>
              <a:cs typeface="Verdana"/>
            </a:endParaRPr>
          </a:p>
        </p:txBody>
      </p:sp>
      <p:sp>
        <p:nvSpPr>
          <p:cNvPr id="14" name="object 14"/>
          <p:cNvSpPr/>
          <p:nvPr/>
        </p:nvSpPr>
        <p:spPr>
          <a:xfrm>
            <a:off x="10087356" y="1656588"/>
            <a:ext cx="1828800" cy="612775"/>
          </a:xfrm>
          <a:custGeom>
            <a:avLst/>
            <a:gdLst/>
            <a:ahLst/>
            <a:cxnLst/>
            <a:rect l="l" t="t" r="r" b="b"/>
            <a:pathLst>
              <a:path w="1828800" h="612775">
                <a:moveTo>
                  <a:pt x="1726692" y="0"/>
                </a:moveTo>
                <a:lnTo>
                  <a:pt x="102108" y="0"/>
                </a:lnTo>
                <a:lnTo>
                  <a:pt x="62364" y="8024"/>
                </a:lnTo>
                <a:lnTo>
                  <a:pt x="29908" y="29908"/>
                </a:lnTo>
                <a:lnTo>
                  <a:pt x="8024" y="62364"/>
                </a:lnTo>
                <a:lnTo>
                  <a:pt x="0" y="102108"/>
                </a:lnTo>
                <a:lnTo>
                  <a:pt x="0" y="612648"/>
                </a:lnTo>
                <a:lnTo>
                  <a:pt x="1828800" y="612648"/>
                </a:lnTo>
                <a:lnTo>
                  <a:pt x="1828800" y="102108"/>
                </a:lnTo>
                <a:lnTo>
                  <a:pt x="1820775" y="62364"/>
                </a:lnTo>
                <a:lnTo>
                  <a:pt x="1798891" y="29908"/>
                </a:lnTo>
                <a:lnTo>
                  <a:pt x="1766435" y="8024"/>
                </a:lnTo>
                <a:lnTo>
                  <a:pt x="1726692" y="0"/>
                </a:lnTo>
                <a:close/>
              </a:path>
            </a:pathLst>
          </a:custGeom>
          <a:solidFill>
            <a:srgbClr val="12ABDB"/>
          </a:solidFill>
        </p:spPr>
        <p:txBody>
          <a:bodyPr wrap="square" lIns="0" tIns="0" rIns="0" bIns="0" rtlCol="0"/>
          <a:lstStyle/>
          <a:p>
            <a:endParaRPr/>
          </a:p>
        </p:txBody>
      </p:sp>
      <p:sp>
        <p:nvSpPr>
          <p:cNvPr id="15" name="object 15"/>
          <p:cNvSpPr txBox="1"/>
          <p:nvPr/>
        </p:nvSpPr>
        <p:spPr>
          <a:xfrm>
            <a:off x="10471531" y="1781683"/>
            <a:ext cx="724535" cy="391160"/>
          </a:xfrm>
          <a:prstGeom prst="rect">
            <a:avLst/>
          </a:prstGeom>
        </p:spPr>
        <p:txBody>
          <a:bodyPr vert="horz" wrap="square" lIns="0" tIns="12700" rIns="0" bIns="0" rtlCol="0">
            <a:spAutoFit/>
          </a:bodyPr>
          <a:lstStyle/>
          <a:p>
            <a:pPr marL="12700" marR="5080">
              <a:lnSpc>
                <a:spcPct val="100000"/>
              </a:lnSpc>
              <a:spcBef>
                <a:spcPts val="100"/>
              </a:spcBef>
            </a:pPr>
            <a:r>
              <a:rPr sz="1200" b="1">
                <a:solidFill>
                  <a:srgbClr val="FFFFFF"/>
                </a:solidFill>
                <a:latin typeface="Verdana"/>
                <a:cs typeface="Verdana"/>
              </a:rPr>
              <a:t>Make </a:t>
            </a:r>
            <a:r>
              <a:rPr sz="1200" b="1" spc="-5">
                <a:solidFill>
                  <a:srgbClr val="FFFFFF"/>
                </a:solidFill>
                <a:latin typeface="Verdana"/>
                <a:cs typeface="Verdana"/>
              </a:rPr>
              <a:t>it  </a:t>
            </a:r>
            <a:r>
              <a:rPr sz="1200" b="1">
                <a:solidFill>
                  <a:srgbClr val="FFFFFF"/>
                </a:solidFill>
                <a:latin typeface="Verdana"/>
                <a:cs typeface="Verdana"/>
              </a:rPr>
              <a:t>tangible</a:t>
            </a:r>
            <a:endParaRPr sz="1200">
              <a:latin typeface="Verdana"/>
              <a:cs typeface="Verdana"/>
            </a:endParaRPr>
          </a:p>
        </p:txBody>
      </p:sp>
      <p:sp>
        <p:nvSpPr>
          <p:cNvPr id="16" name="object 16"/>
          <p:cNvSpPr txBox="1"/>
          <p:nvPr/>
        </p:nvSpPr>
        <p:spPr>
          <a:xfrm>
            <a:off x="260400" y="2277211"/>
            <a:ext cx="1652270" cy="1839595"/>
          </a:xfrm>
          <a:prstGeom prst="rect">
            <a:avLst/>
          </a:prstGeom>
        </p:spPr>
        <p:txBody>
          <a:bodyPr vert="horz" wrap="square" lIns="0" tIns="88900" rIns="0" bIns="0" rtlCol="0">
            <a:spAutoFit/>
          </a:bodyPr>
          <a:lstStyle/>
          <a:p>
            <a:pPr marL="12700">
              <a:lnSpc>
                <a:spcPct val="100000"/>
              </a:lnSpc>
              <a:spcBef>
                <a:spcPts val="700"/>
              </a:spcBef>
            </a:pPr>
            <a:r>
              <a:rPr sz="1100" b="1">
                <a:solidFill>
                  <a:srgbClr val="12ABDB"/>
                </a:solidFill>
                <a:latin typeface="Verdana"/>
                <a:cs typeface="Verdana"/>
              </a:rPr>
              <a:t>Better</a:t>
            </a:r>
            <a:r>
              <a:rPr sz="1100" b="1" spc="-35">
                <a:solidFill>
                  <a:srgbClr val="12ABDB"/>
                </a:solidFill>
                <a:latin typeface="Verdana"/>
                <a:cs typeface="Verdana"/>
              </a:rPr>
              <a:t> </a:t>
            </a:r>
            <a:r>
              <a:rPr sz="1100" b="1" spc="-5">
                <a:solidFill>
                  <a:srgbClr val="12ABDB"/>
                </a:solidFill>
                <a:latin typeface="Verdana"/>
                <a:cs typeface="Verdana"/>
              </a:rPr>
              <a:t>together</a:t>
            </a:r>
            <a:endParaRPr sz="1100">
              <a:latin typeface="Verdana"/>
              <a:cs typeface="Verdana"/>
            </a:endParaRPr>
          </a:p>
          <a:p>
            <a:pPr marL="12700">
              <a:lnSpc>
                <a:spcPct val="100000"/>
              </a:lnSpc>
              <a:spcBef>
                <a:spcPts val="600"/>
              </a:spcBef>
            </a:pPr>
            <a:r>
              <a:rPr sz="1100">
                <a:latin typeface="Verdana"/>
                <a:cs typeface="Verdana"/>
              </a:rPr>
              <a:t>Work </a:t>
            </a:r>
            <a:r>
              <a:rPr sz="1100" spc="-5">
                <a:latin typeface="Verdana"/>
                <a:cs typeface="Verdana"/>
              </a:rPr>
              <a:t>with </a:t>
            </a:r>
            <a:r>
              <a:rPr sz="1100">
                <a:latin typeface="Verdana"/>
                <a:cs typeface="Verdana"/>
              </a:rPr>
              <a:t>a </a:t>
            </a:r>
            <a:r>
              <a:rPr sz="1100" b="1">
                <a:latin typeface="Verdana"/>
                <a:cs typeface="Verdana"/>
              </a:rPr>
              <a:t>one</a:t>
            </a:r>
            <a:r>
              <a:rPr sz="1100" b="1" spc="-85">
                <a:latin typeface="Verdana"/>
                <a:cs typeface="Verdana"/>
              </a:rPr>
              <a:t> </a:t>
            </a:r>
            <a:r>
              <a:rPr sz="1100" b="1">
                <a:latin typeface="Verdana"/>
                <a:cs typeface="Verdana"/>
              </a:rPr>
              <a:t>team</a:t>
            </a:r>
            <a:endParaRPr sz="1100">
              <a:latin typeface="Verdana"/>
              <a:cs typeface="Verdana"/>
            </a:endParaRPr>
          </a:p>
          <a:p>
            <a:pPr marL="12700">
              <a:lnSpc>
                <a:spcPct val="100000"/>
              </a:lnSpc>
            </a:pPr>
            <a:r>
              <a:rPr sz="1100" spc="-5">
                <a:latin typeface="Verdana"/>
                <a:cs typeface="Verdana"/>
              </a:rPr>
              <a:t>mindset</a:t>
            </a:r>
            <a:endParaRPr sz="1100">
              <a:latin typeface="Verdana"/>
              <a:cs typeface="Verdana"/>
            </a:endParaRPr>
          </a:p>
          <a:p>
            <a:pPr marL="12700" marR="99695">
              <a:lnSpc>
                <a:spcPct val="100000"/>
              </a:lnSpc>
              <a:spcBef>
                <a:spcPts val="600"/>
              </a:spcBef>
            </a:pPr>
            <a:r>
              <a:rPr sz="1100" spc="-5">
                <a:latin typeface="Verdana"/>
                <a:cs typeface="Verdana"/>
              </a:rPr>
              <a:t>Create the </a:t>
            </a:r>
            <a:r>
              <a:rPr sz="1100" b="1" spc="-5">
                <a:latin typeface="Verdana"/>
                <a:cs typeface="Verdana"/>
              </a:rPr>
              <a:t>creativity  </a:t>
            </a:r>
            <a:r>
              <a:rPr sz="1100" b="1">
                <a:latin typeface="Verdana"/>
                <a:cs typeface="Verdana"/>
              </a:rPr>
              <a:t>environment</a:t>
            </a:r>
            <a:endParaRPr sz="1100">
              <a:latin typeface="Verdana"/>
              <a:cs typeface="Verdana"/>
            </a:endParaRPr>
          </a:p>
          <a:p>
            <a:pPr marL="12700" marR="304165">
              <a:lnSpc>
                <a:spcPct val="100000"/>
              </a:lnSpc>
              <a:spcBef>
                <a:spcPts val="600"/>
              </a:spcBef>
            </a:pPr>
            <a:r>
              <a:rPr sz="1100" b="1" spc="-5">
                <a:latin typeface="Verdana"/>
                <a:cs typeface="Verdana"/>
              </a:rPr>
              <a:t>Design </a:t>
            </a:r>
            <a:r>
              <a:rPr sz="1100" spc="-10">
                <a:latin typeface="Verdana"/>
                <a:cs typeface="Verdana"/>
              </a:rPr>
              <a:t>in </a:t>
            </a:r>
            <a:r>
              <a:rPr sz="1100" b="1" spc="-5">
                <a:latin typeface="Verdana"/>
                <a:cs typeface="Verdana"/>
              </a:rPr>
              <a:t>co-  construction</a:t>
            </a:r>
            <a:r>
              <a:rPr sz="1100" b="1" spc="-55">
                <a:latin typeface="Verdana"/>
                <a:cs typeface="Verdana"/>
              </a:rPr>
              <a:t> </a:t>
            </a:r>
            <a:r>
              <a:rPr sz="1100" spc="-5">
                <a:latin typeface="Verdana"/>
                <a:cs typeface="Verdana"/>
              </a:rPr>
              <a:t>with  complementary  expertise</a:t>
            </a:r>
            <a:endParaRPr sz="1100">
              <a:latin typeface="Verdana"/>
              <a:cs typeface="Verdana"/>
            </a:endParaRPr>
          </a:p>
        </p:txBody>
      </p:sp>
      <p:sp>
        <p:nvSpPr>
          <p:cNvPr id="17" name="object 17"/>
          <p:cNvSpPr/>
          <p:nvPr/>
        </p:nvSpPr>
        <p:spPr>
          <a:xfrm>
            <a:off x="461772" y="4802123"/>
            <a:ext cx="1360931" cy="1664208"/>
          </a:xfrm>
          <a:prstGeom prst="rect">
            <a:avLst/>
          </a:prstGeom>
          <a:blipFill>
            <a:blip r:embed="rId2" cstate="print"/>
            <a:stretch>
              <a:fillRect/>
            </a:stretch>
          </a:blipFill>
        </p:spPr>
        <p:txBody>
          <a:bodyPr wrap="square" lIns="0" tIns="0" rIns="0" bIns="0" rtlCol="0"/>
          <a:lstStyle/>
          <a:p>
            <a:endParaRPr/>
          </a:p>
        </p:txBody>
      </p:sp>
      <p:sp>
        <p:nvSpPr>
          <p:cNvPr id="18" name="object 18"/>
          <p:cNvSpPr/>
          <p:nvPr/>
        </p:nvSpPr>
        <p:spPr>
          <a:xfrm>
            <a:off x="2414016" y="4802123"/>
            <a:ext cx="1399032" cy="1664208"/>
          </a:xfrm>
          <a:prstGeom prst="rect">
            <a:avLst/>
          </a:prstGeom>
          <a:blipFill>
            <a:blip r:embed="rId3" cstate="print"/>
            <a:stretch>
              <a:fillRect/>
            </a:stretch>
          </a:blipFill>
        </p:spPr>
        <p:txBody>
          <a:bodyPr wrap="square" lIns="0" tIns="0" rIns="0" bIns="0" rtlCol="0"/>
          <a:lstStyle/>
          <a:p>
            <a:endParaRPr/>
          </a:p>
        </p:txBody>
      </p:sp>
      <p:sp>
        <p:nvSpPr>
          <p:cNvPr id="19" name="object 19"/>
          <p:cNvSpPr/>
          <p:nvPr/>
        </p:nvSpPr>
        <p:spPr>
          <a:xfrm>
            <a:off x="4145114" y="4802123"/>
            <a:ext cx="1858157" cy="1633839"/>
          </a:xfrm>
          <a:prstGeom prst="rect">
            <a:avLst/>
          </a:prstGeom>
          <a:blipFill>
            <a:blip r:embed="rId4" cstate="print"/>
            <a:stretch>
              <a:fillRect/>
            </a:stretch>
          </a:blipFill>
        </p:spPr>
        <p:txBody>
          <a:bodyPr wrap="square" lIns="0" tIns="0" rIns="0" bIns="0" rtlCol="0"/>
          <a:lstStyle/>
          <a:p>
            <a:endParaRPr/>
          </a:p>
        </p:txBody>
      </p:sp>
      <p:sp>
        <p:nvSpPr>
          <p:cNvPr id="20" name="object 20"/>
          <p:cNvSpPr txBox="1"/>
          <p:nvPr/>
        </p:nvSpPr>
        <p:spPr>
          <a:xfrm>
            <a:off x="2232786" y="2277211"/>
            <a:ext cx="1734820" cy="2174875"/>
          </a:xfrm>
          <a:prstGeom prst="rect">
            <a:avLst/>
          </a:prstGeom>
        </p:spPr>
        <p:txBody>
          <a:bodyPr vert="horz" wrap="square" lIns="0" tIns="88900" rIns="0" bIns="0" rtlCol="0">
            <a:spAutoFit/>
          </a:bodyPr>
          <a:lstStyle/>
          <a:p>
            <a:pPr marL="12700">
              <a:lnSpc>
                <a:spcPct val="100000"/>
              </a:lnSpc>
              <a:spcBef>
                <a:spcPts val="700"/>
              </a:spcBef>
            </a:pPr>
            <a:r>
              <a:rPr sz="1100" b="1" spc="-5">
                <a:solidFill>
                  <a:srgbClr val="12ABDB"/>
                </a:solidFill>
                <a:latin typeface="Verdana"/>
                <a:cs typeface="Verdana"/>
              </a:rPr>
              <a:t>People</a:t>
            </a:r>
            <a:r>
              <a:rPr sz="1100" b="1" spc="-25">
                <a:solidFill>
                  <a:srgbClr val="12ABDB"/>
                </a:solidFill>
                <a:latin typeface="Verdana"/>
                <a:cs typeface="Verdana"/>
              </a:rPr>
              <a:t> </a:t>
            </a:r>
            <a:r>
              <a:rPr sz="1100" b="1" spc="-5">
                <a:solidFill>
                  <a:srgbClr val="12ABDB"/>
                </a:solidFill>
                <a:latin typeface="Verdana"/>
                <a:cs typeface="Verdana"/>
              </a:rPr>
              <a:t>first</a:t>
            </a:r>
            <a:endParaRPr sz="1100">
              <a:latin typeface="Verdana"/>
              <a:cs typeface="Verdana"/>
            </a:endParaRPr>
          </a:p>
          <a:p>
            <a:pPr marL="12700" marR="5080">
              <a:lnSpc>
                <a:spcPct val="100000"/>
              </a:lnSpc>
              <a:spcBef>
                <a:spcPts val="600"/>
              </a:spcBef>
            </a:pPr>
            <a:r>
              <a:rPr sz="1100">
                <a:latin typeface="Verdana"/>
                <a:cs typeface="Verdana"/>
              </a:rPr>
              <a:t>Get </a:t>
            </a:r>
            <a:r>
              <a:rPr sz="1100" spc="-5">
                <a:latin typeface="Verdana"/>
                <a:cs typeface="Verdana"/>
              </a:rPr>
              <a:t>the </a:t>
            </a:r>
            <a:r>
              <a:rPr sz="1100">
                <a:latin typeface="Verdana"/>
                <a:cs typeface="Verdana"/>
              </a:rPr>
              <a:t>users </a:t>
            </a:r>
            <a:r>
              <a:rPr sz="1100" b="1" spc="-5">
                <a:latin typeface="Verdana"/>
                <a:cs typeface="Verdana"/>
              </a:rPr>
              <a:t>insights  </a:t>
            </a:r>
            <a:r>
              <a:rPr sz="1100">
                <a:latin typeface="Verdana"/>
                <a:cs typeface="Verdana"/>
              </a:rPr>
              <a:t>&amp; </a:t>
            </a:r>
            <a:r>
              <a:rPr sz="1100" spc="-5">
                <a:latin typeface="Verdana"/>
                <a:cs typeface="Verdana"/>
              </a:rPr>
              <a:t>feedbacks to create  experiences that fits the  </a:t>
            </a:r>
            <a:r>
              <a:rPr sz="1100">
                <a:latin typeface="Verdana"/>
                <a:cs typeface="Verdana"/>
              </a:rPr>
              <a:t>needs</a:t>
            </a:r>
          </a:p>
          <a:p>
            <a:pPr marL="12700" marR="112395">
              <a:lnSpc>
                <a:spcPct val="100000"/>
              </a:lnSpc>
              <a:spcBef>
                <a:spcPts val="600"/>
              </a:spcBef>
            </a:pPr>
            <a:r>
              <a:rPr sz="1100" b="1" spc="-5">
                <a:latin typeface="Verdana"/>
                <a:cs typeface="Verdana"/>
              </a:rPr>
              <a:t>Design </a:t>
            </a:r>
            <a:r>
              <a:rPr sz="1100" spc="-5">
                <a:latin typeface="Verdana"/>
                <a:cs typeface="Verdana"/>
              </a:rPr>
              <a:t>the </a:t>
            </a:r>
            <a:r>
              <a:rPr sz="1100">
                <a:latin typeface="Verdana"/>
                <a:cs typeface="Verdana"/>
              </a:rPr>
              <a:t>good  </a:t>
            </a:r>
            <a:r>
              <a:rPr sz="1100" b="1">
                <a:latin typeface="Verdana"/>
                <a:cs typeface="Verdana"/>
              </a:rPr>
              <a:t>opportunities</a:t>
            </a:r>
            <a:r>
              <a:rPr sz="1100" b="1" spc="-90">
                <a:latin typeface="Verdana"/>
                <a:cs typeface="Verdana"/>
              </a:rPr>
              <a:t> </a:t>
            </a:r>
            <a:r>
              <a:rPr sz="1100" spc="-5">
                <a:latin typeface="Verdana"/>
                <a:cs typeface="Verdana"/>
              </a:rPr>
              <a:t>putting  people</a:t>
            </a:r>
            <a:r>
              <a:rPr sz="1100" spc="-20">
                <a:latin typeface="Verdana"/>
                <a:cs typeface="Verdana"/>
              </a:rPr>
              <a:t> </a:t>
            </a:r>
            <a:r>
              <a:rPr sz="1100" spc="-5">
                <a:latin typeface="Verdana"/>
                <a:cs typeface="Verdana"/>
              </a:rPr>
              <a:t>first</a:t>
            </a:r>
            <a:endParaRPr sz="1100">
              <a:latin typeface="Verdana"/>
              <a:cs typeface="Verdana"/>
            </a:endParaRPr>
          </a:p>
          <a:p>
            <a:pPr marL="12700" marR="78105">
              <a:lnSpc>
                <a:spcPct val="100000"/>
              </a:lnSpc>
              <a:spcBef>
                <a:spcPts val="600"/>
              </a:spcBef>
            </a:pPr>
            <a:r>
              <a:rPr sz="1100" b="1">
                <a:latin typeface="Verdana"/>
                <a:cs typeface="Verdana"/>
              </a:rPr>
              <a:t>Involve customers</a:t>
            </a:r>
            <a:r>
              <a:rPr sz="1100" b="1" spc="-95">
                <a:latin typeface="Verdana"/>
                <a:cs typeface="Verdana"/>
              </a:rPr>
              <a:t> </a:t>
            </a:r>
            <a:r>
              <a:rPr sz="1100" spc="-10">
                <a:latin typeface="Verdana"/>
                <a:cs typeface="Verdana"/>
              </a:rPr>
              <a:t>in  </a:t>
            </a:r>
            <a:r>
              <a:rPr sz="1100">
                <a:latin typeface="Verdana"/>
                <a:cs typeface="Verdana"/>
              </a:rPr>
              <a:t>the process as </a:t>
            </a:r>
            <a:r>
              <a:rPr sz="1100" spc="-5">
                <a:latin typeface="Verdana"/>
                <a:cs typeface="Verdana"/>
              </a:rPr>
              <a:t>part </a:t>
            </a:r>
            <a:r>
              <a:rPr sz="1100">
                <a:latin typeface="Verdana"/>
                <a:cs typeface="Verdana"/>
              </a:rPr>
              <a:t>of  </a:t>
            </a:r>
            <a:r>
              <a:rPr sz="1100" spc="-5">
                <a:latin typeface="Verdana"/>
                <a:cs typeface="Verdana"/>
              </a:rPr>
              <a:t>the </a:t>
            </a:r>
            <a:r>
              <a:rPr sz="1100">
                <a:latin typeface="Verdana"/>
                <a:cs typeface="Verdana"/>
              </a:rPr>
              <a:t>one</a:t>
            </a:r>
            <a:r>
              <a:rPr sz="1100" spc="-20">
                <a:latin typeface="Verdana"/>
                <a:cs typeface="Verdana"/>
              </a:rPr>
              <a:t> </a:t>
            </a:r>
            <a:r>
              <a:rPr sz="1100">
                <a:latin typeface="Verdana"/>
                <a:cs typeface="Verdana"/>
              </a:rPr>
              <a:t>team</a:t>
            </a:r>
          </a:p>
        </p:txBody>
      </p:sp>
      <p:sp>
        <p:nvSpPr>
          <p:cNvPr id="21" name="object 21"/>
          <p:cNvSpPr txBox="1"/>
          <p:nvPr/>
        </p:nvSpPr>
        <p:spPr>
          <a:xfrm>
            <a:off x="4202429" y="2352801"/>
            <a:ext cx="1633855" cy="1931670"/>
          </a:xfrm>
          <a:prstGeom prst="rect">
            <a:avLst/>
          </a:prstGeom>
        </p:spPr>
        <p:txBody>
          <a:bodyPr vert="horz" wrap="square" lIns="0" tIns="13335" rIns="0" bIns="0" rtlCol="0">
            <a:spAutoFit/>
          </a:bodyPr>
          <a:lstStyle/>
          <a:p>
            <a:pPr marL="12700" marR="33655">
              <a:lnSpc>
                <a:spcPct val="100000"/>
              </a:lnSpc>
              <a:spcBef>
                <a:spcPts val="105"/>
              </a:spcBef>
            </a:pPr>
            <a:r>
              <a:rPr sz="1100" b="1" spc="-5">
                <a:solidFill>
                  <a:srgbClr val="12ABDB"/>
                </a:solidFill>
                <a:latin typeface="Verdana"/>
                <a:cs typeface="Verdana"/>
              </a:rPr>
              <a:t>Achieve</a:t>
            </a:r>
            <a:r>
              <a:rPr sz="1100" b="1" spc="-75">
                <a:solidFill>
                  <a:srgbClr val="12ABDB"/>
                </a:solidFill>
                <a:latin typeface="Verdana"/>
                <a:cs typeface="Verdana"/>
              </a:rPr>
              <a:t> </a:t>
            </a:r>
            <a:r>
              <a:rPr sz="1100" b="1" spc="-5">
                <a:solidFill>
                  <a:srgbClr val="12ABDB"/>
                </a:solidFill>
                <a:latin typeface="Verdana"/>
                <a:cs typeface="Verdana"/>
              </a:rPr>
              <a:t>measurable  </a:t>
            </a:r>
            <a:r>
              <a:rPr sz="1100" b="1">
                <a:solidFill>
                  <a:srgbClr val="12ABDB"/>
                </a:solidFill>
                <a:latin typeface="Verdana"/>
                <a:cs typeface="Verdana"/>
              </a:rPr>
              <a:t>outcomes</a:t>
            </a:r>
            <a:endParaRPr sz="1100">
              <a:latin typeface="Verdana"/>
              <a:cs typeface="Verdana"/>
            </a:endParaRPr>
          </a:p>
          <a:p>
            <a:pPr marL="12700" marR="132080">
              <a:lnSpc>
                <a:spcPct val="100000"/>
              </a:lnSpc>
              <a:spcBef>
                <a:spcPts val="600"/>
              </a:spcBef>
            </a:pPr>
            <a:r>
              <a:rPr sz="1100" b="1" spc="-5">
                <a:latin typeface="Verdana"/>
                <a:cs typeface="Verdana"/>
              </a:rPr>
              <a:t>Goals </a:t>
            </a:r>
            <a:r>
              <a:rPr sz="1100" spc="-5">
                <a:latin typeface="Verdana"/>
                <a:cs typeface="Verdana"/>
              </a:rPr>
              <a:t>and</a:t>
            </a:r>
            <a:r>
              <a:rPr sz="1100" spc="-60">
                <a:latin typeface="Verdana"/>
                <a:cs typeface="Verdana"/>
              </a:rPr>
              <a:t> </a:t>
            </a:r>
            <a:r>
              <a:rPr sz="1100" b="1">
                <a:latin typeface="Verdana"/>
                <a:cs typeface="Verdana"/>
              </a:rPr>
              <a:t>business  oriented</a:t>
            </a:r>
            <a:endParaRPr sz="1100">
              <a:latin typeface="Verdana"/>
              <a:cs typeface="Verdana"/>
            </a:endParaRPr>
          </a:p>
          <a:p>
            <a:pPr marL="12700" marR="100330">
              <a:lnSpc>
                <a:spcPct val="100000"/>
              </a:lnSpc>
              <a:spcBef>
                <a:spcPts val="600"/>
              </a:spcBef>
            </a:pPr>
            <a:r>
              <a:rPr sz="1100" b="1" spc="-5">
                <a:latin typeface="Verdana"/>
                <a:cs typeface="Verdana"/>
              </a:rPr>
              <a:t>Defining </a:t>
            </a:r>
            <a:r>
              <a:rPr sz="1100" spc="-5">
                <a:latin typeface="Verdana"/>
                <a:cs typeface="Verdana"/>
              </a:rPr>
              <a:t>the </a:t>
            </a:r>
            <a:r>
              <a:rPr sz="1100" b="1">
                <a:latin typeface="Verdana"/>
                <a:cs typeface="Verdana"/>
              </a:rPr>
              <a:t>KPI </a:t>
            </a:r>
            <a:r>
              <a:rPr sz="1100" spc="-5">
                <a:latin typeface="Verdana"/>
                <a:cs typeface="Verdana"/>
              </a:rPr>
              <a:t>to  measure and monitor  the service design  experience</a:t>
            </a:r>
            <a:endParaRPr sz="1100">
              <a:latin typeface="Verdana"/>
              <a:cs typeface="Verdana"/>
            </a:endParaRPr>
          </a:p>
          <a:p>
            <a:pPr marL="12700">
              <a:lnSpc>
                <a:spcPct val="100000"/>
              </a:lnSpc>
              <a:spcBef>
                <a:spcPts val="600"/>
              </a:spcBef>
            </a:pPr>
            <a:r>
              <a:rPr sz="1100" b="1" spc="-5">
                <a:latin typeface="Verdana"/>
                <a:cs typeface="Verdana"/>
              </a:rPr>
              <a:t>Evaluate</a:t>
            </a:r>
            <a:r>
              <a:rPr sz="1100" b="1" spc="-30">
                <a:latin typeface="Verdana"/>
                <a:cs typeface="Verdana"/>
              </a:rPr>
              <a:t> </a:t>
            </a:r>
            <a:r>
              <a:rPr sz="1100" spc="-5">
                <a:latin typeface="Verdana"/>
                <a:cs typeface="Verdana"/>
              </a:rPr>
              <a:t>continuously</a:t>
            </a:r>
            <a:endParaRPr sz="1100">
              <a:latin typeface="Verdana"/>
              <a:cs typeface="Verdana"/>
            </a:endParaRPr>
          </a:p>
          <a:p>
            <a:pPr marL="12700">
              <a:lnSpc>
                <a:spcPct val="100000"/>
              </a:lnSpc>
            </a:pPr>
            <a:r>
              <a:rPr sz="1100" b="1">
                <a:latin typeface="Verdana"/>
                <a:cs typeface="Verdana"/>
              </a:rPr>
              <a:t>to </a:t>
            </a:r>
            <a:r>
              <a:rPr sz="1100" b="1" spc="-5">
                <a:latin typeface="Verdana"/>
                <a:cs typeface="Verdana"/>
              </a:rPr>
              <a:t>improve</a:t>
            </a:r>
            <a:r>
              <a:rPr sz="1100" b="1" spc="-20">
                <a:latin typeface="Verdana"/>
                <a:cs typeface="Verdana"/>
              </a:rPr>
              <a:t> </a:t>
            </a:r>
            <a:r>
              <a:rPr sz="1100" spc="-10">
                <a:latin typeface="Verdana"/>
                <a:cs typeface="Verdana"/>
              </a:rPr>
              <a:t>quickly</a:t>
            </a:r>
            <a:endParaRPr sz="1100">
              <a:latin typeface="Verdana"/>
              <a:cs typeface="Verdana"/>
            </a:endParaRPr>
          </a:p>
        </p:txBody>
      </p:sp>
      <p:sp>
        <p:nvSpPr>
          <p:cNvPr id="22" name="object 22"/>
          <p:cNvSpPr txBox="1"/>
          <p:nvPr/>
        </p:nvSpPr>
        <p:spPr>
          <a:xfrm>
            <a:off x="6176898" y="2352801"/>
            <a:ext cx="1611630" cy="2007870"/>
          </a:xfrm>
          <a:prstGeom prst="rect">
            <a:avLst/>
          </a:prstGeom>
        </p:spPr>
        <p:txBody>
          <a:bodyPr vert="horz" wrap="square" lIns="0" tIns="13335" rIns="0" bIns="0" rtlCol="0">
            <a:spAutoFit/>
          </a:bodyPr>
          <a:lstStyle/>
          <a:p>
            <a:pPr marL="12700" marR="133985">
              <a:lnSpc>
                <a:spcPct val="100000"/>
              </a:lnSpc>
              <a:spcBef>
                <a:spcPts val="105"/>
              </a:spcBef>
            </a:pPr>
            <a:r>
              <a:rPr sz="1100" b="1" spc="-5">
                <a:solidFill>
                  <a:srgbClr val="12ABDB"/>
                </a:solidFill>
                <a:latin typeface="Verdana"/>
                <a:cs typeface="Verdana"/>
              </a:rPr>
              <a:t>Design in </a:t>
            </a:r>
            <a:r>
              <a:rPr sz="1100" b="1">
                <a:solidFill>
                  <a:srgbClr val="12ABDB"/>
                </a:solidFill>
                <a:latin typeface="Verdana"/>
                <a:cs typeface="Verdana"/>
              </a:rPr>
              <a:t>a</a:t>
            </a:r>
            <a:r>
              <a:rPr sz="1100" b="1" spc="-55">
                <a:solidFill>
                  <a:srgbClr val="12ABDB"/>
                </a:solidFill>
                <a:latin typeface="Verdana"/>
                <a:cs typeface="Verdana"/>
              </a:rPr>
              <a:t> </a:t>
            </a:r>
            <a:r>
              <a:rPr sz="1100" b="1" spc="-5">
                <a:solidFill>
                  <a:srgbClr val="12ABDB"/>
                </a:solidFill>
                <a:latin typeface="Verdana"/>
                <a:cs typeface="Verdana"/>
              </a:rPr>
              <a:t>playful  way</a:t>
            </a:r>
            <a:endParaRPr sz="1100">
              <a:latin typeface="Verdana"/>
              <a:cs typeface="Verdana"/>
            </a:endParaRPr>
          </a:p>
          <a:p>
            <a:pPr marL="12700">
              <a:lnSpc>
                <a:spcPct val="100000"/>
              </a:lnSpc>
              <a:spcBef>
                <a:spcPts val="600"/>
              </a:spcBef>
            </a:pPr>
            <a:r>
              <a:rPr sz="1100" b="1" spc="-5">
                <a:latin typeface="Verdana"/>
                <a:cs typeface="Verdana"/>
              </a:rPr>
              <a:t>Delight </a:t>
            </a:r>
            <a:r>
              <a:rPr sz="1100">
                <a:latin typeface="Verdana"/>
                <a:cs typeface="Verdana"/>
              </a:rPr>
              <a:t>users</a:t>
            </a:r>
            <a:r>
              <a:rPr sz="1100" spc="-15">
                <a:latin typeface="Verdana"/>
                <a:cs typeface="Verdana"/>
              </a:rPr>
              <a:t> </a:t>
            </a:r>
            <a:r>
              <a:rPr sz="1100" b="1">
                <a:latin typeface="Verdana"/>
                <a:cs typeface="Verdana"/>
              </a:rPr>
              <a:t>with</a:t>
            </a:r>
            <a:endParaRPr sz="1100">
              <a:latin typeface="Verdana"/>
              <a:cs typeface="Verdana"/>
            </a:endParaRPr>
          </a:p>
          <a:p>
            <a:pPr marL="12700">
              <a:lnSpc>
                <a:spcPct val="100000"/>
              </a:lnSpc>
            </a:pPr>
            <a:r>
              <a:rPr sz="1100" spc="-5">
                <a:latin typeface="Verdana"/>
                <a:cs typeface="Verdana"/>
              </a:rPr>
              <a:t>small</a:t>
            </a:r>
            <a:r>
              <a:rPr sz="1100" spc="10">
                <a:latin typeface="Verdana"/>
                <a:cs typeface="Verdana"/>
              </a:rPr>
              <a:t> </a:t>
            </a:r>
            <a:r>
              <a:rPr sz="1100" b="1" spc="-5">
                <a:latin typeface="Verdana"/>
                <a:cs typeface="Verdana"/>
              </a:rPr>
              <a:t>details</a:t>
            </a:r>
            <a:endParaRPr sz="1100">
              <a:latin typeface="Verdana"/>
              <a:cs typeface="Verdana"/>
            </a:endParaRPr>
          </a:p>
          <a:p>
            <a:pPr marL="12700" marR="20955">
              <a:lnSpc>
                <a:spcPct val="100000"/>
              </a:lnSpc>
              <a:spcBef>
                <a:spcPts val="600"/>
              </a:spcBef>
            </a:pPr>
            <a:r>
              <a:rPr sz="1100" b="1" spc="-5">
                <a:latin typeface="Verdana"/>
                <a:cs typeface="Verdana"/>
              </a:rPr>
              <a:t>Create </a:t>
            </a:r>
            <a:r>
              <a:rPr sz="1100">
                <a:latin typeface="Verdana"/>
                <a:cs typeface="Verdana"/>
              </a:rPr>
              <a:t>an </a:t>
            </a:r>
            <a:r>
              <a:rPr sz="1100" b="1" spc="-5">
                <a:latin typeface="Verdana"/>
                <a:cs typeface="Verdana"/>
              </a:rPr>
              <a:t>emotional  experience</a:t>
            </a:r>
            <a:endParaRPr sz="1100">
              <a:latin typeface="Verdana"/>
              <a:cs typeface="Verdana"/>
            </a:endParaRPr>
          </a:p>
          <a:p>
            <a:pPr marL="12700" marR="392430">
              <a:lnSpc>
                <a:spcPct val="100000"/>
              </a:lnSpc>
              <a:spcBef>
                <a:spcPts val="600"/>
              </a:spcBef>
            </a:pPr>
            <a:r>
              <a:rPr sz="1100" b="1" spc="-5">
                <a:latin typeface="Verdana"/>
                <a:cs typeface="Verdana"/>
              </a:rPr>
              <a:t>Optimistic </a:t>
            </a:r>
            <a:r>
              <a:rPr sz="1100" b="1">
                <a:latin typeface="Verdana"/>
                <a:cs typeface="Verdana"/>
              </a:rPr>
              <a:t>UI</a:t>
            </a:r>
            <a:r>
              <a:rPr sz="1100" b="1" spc="-35">
                <a:latin typeface="Verdana"/>
                <a:cs typeface="Verdana"/>
              </a:rPr>
              <a:t> </a:t>
            </a:r>
            <a:r>
              <a:rPr sz="1100" spc="-10">
                <a:latin typeface="Verdana"/>
                <a:cs typeface="Verdana"/>
              </a:rPr>
              <a:t>is  </a:t>
            </a:r>
            <a:r>
              <a:rPr sz="1100" spc="-5">
                <a:latin typeface="Verdana"/>
                <a:cs typeface="Verdana"/>
              </a:rPr>
              <a:t>mandatory</a:t>
            </a:r>
            <a:endParaRPr sz="1100">
              <a:latin typeface="Verdana"/>
              <a:cs typeface="Verdana"/>
            </a:endParaRPr>
          </a:p>
          <a:p>
            <a:pPr marL="12700" marR="5080">
              <a:lnSpc>
                <a:spcPct val="100000"/>
              </a:lnSpc>
              <a:spcBef>
                <a:spcPts val="600"/>
              </a:spcBef>
            </a:pPr>
            <a:r>
              <a:rPr sz="1100" b="1" spc="-5">
                <a:latin typeface="Verdana"/>
                <a:cs typeface="Verdana"/>
              </a:rPr>
              <a:t>Simplicity </a:t>
            </a:r>
            <a:r>
              <a:rPr sz="1100" spc="-10">
                <a:latin typeface="Verdana"/>
                <a:cs typeface="Verdana"/>
              </a:rPr>
              <a:t>is </a:t>
            </a:r>
            <a:r>
              <a:rPr sz="1100" spc="-5">
                <a:latin typeface="Verdana"/>
                <a:cs typeface="Verdana"/>
              </a:rPr>
              <a:t>the  </a:t>
            </a:r>
            <a:r>
              <a:rPr sz="1100" spc="-10">
                <a:latin typeface="Verdana"/>
                <a:cs typeface="Verdana"/>
              </a:rPr>
              <a:t>ultimate</a:t>
            </a:r>
            <a:r>
              <a:rPr sz="1100" spc="5">
                <a:latin typeface="Verdana"/>
                <a:cs typeface="Verdana"/>
              </a:rPr>
              <a:t> </a:t>
            </a:r>
            <a:r>
              <a:rPr sz="1100" spc="-5">
                <a:latin typeface="Verdana"/>
                <a:cs typeface="Verdana"/>
              </a:rPr>
              <a:t>sophistication</a:t>
            </a:r>
            <a:endParaRPr sz="1100">
              <a:latin typeface="Verdana"/>
              <a:cs typeface="Verdana"/>
            </a:endParaRPr>
          </a:p>
        </p:txBody>
      </p:sp>
      <p:sp>
        <p:nvSpPr>
          <p:cNvPr id="23" name="object 23"/>
          <p:cNvSpPr txBox="1"/>
          <p:nvPr/>
        </p:nvSpPr>
        <p:spPr>
          <a:xfrm>
            <a:off x="8149208" y="2277211"/>
            <a:ext cx="1678305" cy="1336675"/>
          </a:xfrm>
          <a:prstGeom prst="rect">
            <a:avLst/>
          </a:prstGeom>
        </p:spPr>
        <p:txBody>
          <a:bodyPr vert="horz" wrap="square" lIns="0" tIns="88900" rIns="0" bIns="0" rtlCol="0">
            <a:spAutoFit/>
          </a:bodyPr>
          <a:lstStyle/>
          <a:p>
            <a:pPr marL="12700">
              <a:lnSpc>
                <a:spcPct val="100000"/>
              </a:lnSpc>
              <a:spcBef>
                <a:spcPts val="700"/>
              </a:spcBef>
            </a:pPr>
            <a:r>
              <a:rPr sz="1100" b="1" spc="-5">
                <a:solidFill>
                  <a:srgbClr val="12ABDB"/>
                </a:solidFill>
                <a:latin typeface="Verdana"/>
                <a:cs typeface="Verdana"/>
              </a:rPr>
              <a:t>Seamless</a:t>
            </a:r>
            <a:r>
              <a:rPr sz="1100" b="1" spc="-60">
                <a:solidFill>
                  <a:srgbClr val="12ABDB"/>
                </a:solidFill>
                <a:latin typeface="Verdana"/>
                <a:cs typeface="Verdana"/>
              </a:rPr>
              <a:t> </a:t>
            </a:r>
            <a:r>
              <a:rPr sz="1100" b="1" spc="-5">
                <a:solidFill>
                  <a:srgbClr val="12ABDB"/>
                </a:solidFill>
                <a:latin typeface="Verdana"/>
                <a:cs typeface="Verdana"/>
              </a:rPr>
              <a:t>experience</a:t>
            </a:r>
            <a:endParaRPr sz="1100">
              <a:latin typeface="Verdana"/>
              <a:cs typeface="Verdana"/>
            </a:endParaRPr>
          </a:p>
          <a:p>
            <a:pPr marL="12700" marR="5080">
              <a:lnSpc>
                <a:spcPct val="100000"/>
              </a:lnSpc>
              <a:spcBef>
                <a:spcPts val="600"/>
              </a:spcBef>
            </a:pPr>
            <a:r>
              <a:rPr sz="1100">
                <a:latin typeface="Verdana"/>
                <a:cs typeface="Verdana"/>
              </a:rPr>
              <a:t>Work </a:t>
            </a:r>
            <a:r>
              <a:rPr sz="1100" spc="-5">
                <a:latin typeface="Verdana"/>
                <a:cs typeface="Verdana"/>
              </a:rPr>
              <a:t>hard to </a:t>
            </a:r>
            <a:r>
              <a:rPr sz="1100" b="1" spc="-5">
                <a:latin typeface="Verdana"/>
                <a:cs typeface="Verdana"/>
              </a:rPr>
              <a:t>deliver</a:t>
            </a:r>
            <a:r>
              <a:rPr sz="1100" b="1" spc="-50">
                <a:latin typeface="Verdana"/>
                <a:cs typeface="Verdana"/>
              </a:rPr>
              <a:t> </a:t>
            </a:r>
            <a:r>
              <a:rPr sz="1100" b="1">
                <a:latin typeface="Verdana"/>
                <a:cs typeface="Verdana"/>
              </a:rPr>
              <a:t>a  </a:t>
            </a:r>
            <a:r>
              <a:rPr sz="1100" b="1" spc="-5">
                <a:latin typeface="Verdana"/>
                <a:cs typeface="Verdana"/>
              </a:rPr>
              <a:t>seamless</a:t>
            </a:r>
            <a:r>
              <a:rPr sz="1100" b="1" spc="-65">
                <a:latin typeface="Verdana"/>
                <a:cs typeface="Verdana"/>
              </a:rPr>
              <a:t> </a:t>
            </a:r>
            <a:r>
              <a:rPr sz="1100" b="1" spc="-5">
                <a:latin typeface="Verdana"/>
                <a:cs typeface="Verdana"/>
              </a:rPr>
              <a:t>experience</a:t>
            </a:r>
            <a:endParaRPr sz="1100">
              <a:latin typeface="Verdana"/>
              <a:cs typeface="Verdana"/>
            </a:endParaRPr>
          </a:p>
          <a:p>
            <a:pPr marL="12700">
              <a:lnSpc>
                <a:spcPct val="100000"/>
              </a:lnSpc>
              <a:spcBef>
                <a:spcPts val="600"/>
              </a:spcBef>
            </a:pPr>
            <a:r>
              <a:rPr sz="1100" b="1" spc="-5">
                <a:latin typeface="Verdana"/>
                <a:cs typeface="Verdana"/>
              </a:rPr>
              <a:t>Simplicity is </a:t>
            </a:r>
            <a:r>
              <a:rPr sz="1100" spc="-5">
                <a:latin typeface="Verdana"/>
                <a:cs typeface="Verdana"/>
              </a:rPr>
              <a:t>the</a:t>
            </a:r>
            <a:r>
              <a:rPr sz="1100" spc="-40">
                <a:latin typeface="Verdana"/>
                <a:cs typeface="Verdana"/>
              </a:rPr>
              <a:t> </a:t>
            </a:r>
            <a:r>
              <a:rPr sz="1100" b="1">
                <a:latin typeface="Verdana"/>
                <a:cs typeface="Verdana"/>
              </a:rPr>
              <a:t>key</a:t>
            </a:r>
            <a:endParaRPr sz="1100">
              <a:latin typeface="Verdana"/>
              <a:cs typeface="Verdana"/>
            </a:endParaRPr>
          </a:p>
          <a:p>
            <a:pPr marL="12700">
              <a:lnSpc>
                <a:spcPct val="100000"/>
              </a:lnSpc>
              <a:spcBef>
                <a:spcPts val="600"/>
              </a:spcBef>
            </a:pPr>
            <a:r>
              <a:rPr sz="1100" spc="-5">
                <a:latin typeface="Verdana"/>
                <a:cs typeface="Verdana"/>
              </a:rPr>
              <a:t>Stay </a:t>
            </a:r>
            <a:r>
              <a:rPr sz="1100" b="1" spc="-5">
                <a:latin typeface="Verdana"/>
                <a:cs typeface="Verdana"/>
              </a:rPr>
              <a:t>focused </a:t>
            </a:r>
            <a:r>
              <a:rPr sz="1100" b="1">
                <a:latin typeface="Verdana"/>
                <a:cs typeface="Verdana"/>
              </a:rPr>
              <a:t>on</a:t>
            </a:r>
            <a:r>
              <a:rPr sz="1100" b="1" spc="-70">
                <a:latin typeface="Verdana"/>
                <a:cs typeface="Verdana"/>
              </a:rPr>
              <a:t> </a:t>
            </a:r>
            <a:r>
              <a:rPr sz="1100" spc="-5">
                <a:latin typeface="Verdana"/>
                <a:cs typeface="Verdana"/>
              </a:rPr>
              <a:t>the</a:t>
            </a:r>
            <a:endParaRPr sz="1100">
              <a:latin typeface="Verdana"/>
              <a:cs typeface="Verdana"/>
            </a:endParaRPr>
          </a:p>
          <a:p>
            <a:pPr marL="12700">
              <a:lnSpc>
                <a:spcPct val="100000"/>
              </a:lnSpc>
            </a:pPr>
            <a:r>
              <a:rPr sz="1100" b="1" spc="-5">
                <a:latin typeface="Verdana"/>
                <a:cs typeface="Verdana"/>
              </a:rPr>
              <a:t>core </a:t>
            </a:r>
            <a:r>
              <a:rPr sz="1100">
                <a:latin typeface="Verdana"/>
                <a:cs typeface="Verdana"/>
              </a:rPr>
              <a:t>user</a:t>
            </a:r>
            <a:r>
              <a:rPr sz="1100" spc="-40">
                <a:latin typeface="Verdana"/>
                <a:cs typeface="Verdana"/>
              </a:rPr>
              <a:t> </a:t>
            </a:r>
            <a:r>
              <a:rPr sz="1100" b="1" spc="-5">
                <a:latin typeface="Verdana"/>
                <a:cs typeface="Verdana"/>
              </a:rPr>
              <a:t>needs</a:t>
            </a:r>
            <a:endParaRPr sz="1100">
              <a:latin typeface="Verdana"/>
              <a:cs typeface="Verdana"/>
            </a:endParaRPr>
          </a:p>
        </p:txBody>
      </p:sp>
      <p:sp>
        <p:nvSpPr>
          <p:cNvPr id="24" name="object 24"/>
          <p:cNvSpPr txBox="1"/>
          <p:nvPr/>
        </p:nvSpPr>
        <p:spPr>
          <a:xfrm>
            <a:off x="10121265" y="2277211"/>
            <a:ext cx="1499235" cy="2251075"/>
          </a:xfrm>
          <a:prstGeom prst="rect">
            <a:avLst/>
          </a:prstGeom>
        </p:spPr>
        <p:txBody>
          <a:bodyPr vert="horz" wrap="square" lIns="0" tIns="12065" rIns="0" bIns="0" rtlCol="0">
            <a:spAutoFit/>
          </a:bodyPr>
          <a:lstStyle/>
          <a:p>
            <a:pPr marL="12700" marR="53975">
              <a:lnSpc>
                <a:spcPct val="145500"/>
              </a:lnSpc>
              <a:spcBef>
                <a:spcPts val="95"/>
              </a:spcBef>
            </a:pPr>
            <a:r>
              <a:rPr sz="1100" b="1" spc="-5">
                <a:solidFill>
                  <a:srgbClr val="12ABDB"/>
                </a:solidFill>
                <a:latin typeface="Verdana"/>
                <a:cs typeface="Verdana"/>
              </a:rPr>
              <a:t>Visualize insights  </a:t>
            </a:r>
            <a:r>
              <a:rPr sz="1100" b="1" spc="-5">
                <a:latin typeface="Verdana"/>
                <a:cs typeface="Verdana"/>
              </a:rPr>
              <a:t>Sharing </a:t>
            </a:r>
            <a:r>
              <a:rPr sz="1100" spc="-10">
                <a:latin typeface="Verdana"/>
                <a:cs typeface="Verdana"/>
              </a:rPr>
              <a:t>is</a:t>
            </a:r>
            <a:r>
              <a:rPr sz="1100" spc="-20">
                <a:latin typeface="Verdana"/>
                <a:cs typeface="Verdana"/>
              </a:rPr>
              <a:t> </a:t>
            </a:r>
            <a:r>
              <a:rPr sz="1100" spc="-5">
                <a:latin typeface="Verdana"/>
                <a:cs typeface="Verdana"/>
              </a:rPr>
              <a:t>mapping</a:t>
            </a:r>
            <a:endParaRPr sz="1100">
              <a:latin typeface="Verdana"/>
              <a:cs typeface="Verdana"/>
            </a:endParaRPr>
          </a:p>
          <a:p>
            <a:pPr marL="12700">
              <a:lnSpc>
                <a:spcPct val="100000"/>
              </a:lnSpc>
              <a:spcBef>
                <a:spcPts val="5"/>
              </a:spcBef>
            </a:pPr>
            <a:r>
              <a:rPr sz="1100" b="1" spc="-5">
                <a:latin typeface="Verdana"/>
                <a:cs typeface="Verdana"/>
              </a:rPr>
              <a:t>ideas </a:t>
            </a:r>
            <a:r>
              <a:rPr sz="1100" spc="-5">
                <a:latin typeface="Verdana"/>
                <a:cs typeface="Verdana"/>
              </a:rPr>
              <a:t>and</a:t>
            </a:r>
            <a:r>
              <a:rPr sz="1100" spc="-25">
                <a:latin typeface="Verdana"/>
                <a:cs typeface="Verdana"/>
              </a:rPr>
              <a:t> </a:t>
            </a:r>
            <a:r>
              <a:rPr sz="1100" b="1" spc="-5">
                <a:latin typeface="Verdana"/>
                <a:cs typeface="Verdana"/>
              </a:rPr>
              <a:t>concepts</a:t>
            </a:r>
            <a:endParaRPr sz="1100">
              <a:latin typeface="Verdana"/>
              <a:cs typeface="Verdana"/>
            </a:endParaRPr>
          </a:p>
          <a:p>
            <a:pPr marL="12700">
              <a:lnSpc>
                <a:spcPct val="100000"/>
              </a:lnSpc>
              <a:spcBef>
                <a:spcPts val="600"/>
              </a:spcBef>
            </a:pPr>
            <a:r>
              <a:rPr sz="1100" b="1" spc="-5">
                <a:latin typeface="Verdana"/>
                <a:cs typeface="Verdana"/>
              </a:rPr>
              <a:t>Prototype</a:t>
            </a:r>
            <a:r>
              <a:rPr sz="1100" b="1" spc="-40">
                <a:latin typeface="Verdana"/>
                <a:cs typeface="Verdana"/>
              </a:rPr>
              <a:t> </a:t>
            </a:r>
            <a:r>
              <a:rPr sz="1100">
                <a:latin typeface="Verdana"/>
                <a:cs typeface="Verdana"/>
              </a:rPr>
              <a:t>soon</a:t>
            </a:r>
          </a:p>
          <a:p>
            <a:pPr marL="12700" marR="16510">
              <a:lnSpc>
                <a:spcPct val="100000"/>
              </a:lnSpc>
              <a:spcBef>
                <a:spcPts val="600"/>
              </a:spcBef>
            </a:pPr>
            <a:r>
              <a:rPr sz="1100" spc="-5">
                <a:latin typeface="Verdana"/>
                <a:cs typeface="Verdana"/>
              </a:rPr>
              <a:t>Make your </a:t>
            </a:r>
            <a:r>
              <a:rPr sz="1100" b="1">
                <a:latin typeface="Verdana"/>
                <a:cs typeface="Verdana"/>
              </a:rPr>
              <a:t>results  visual </a:t>
            </a:r>
            <a:r>
              <a:rPr sz="1100" spc="-5">
                <a:latin typeface="Verdana"/>
                <a:cs typeface="Verdana"/>
              </a:rPr>
              <a:t>and</a:t>
            </a:r>
            <a:r>
              <a:rPr sz="1100" spc="-50">
                <a:latin typeface="Verdana"/>
                <a:cs typeface="Verdana"/>
              </a:rPr>
              <a:t> </a:t>
            </a:r>
            <a:r>
              <a:rPr sz="1100" b="1" spc="-5">
                <a:latin typeface="Verdana"/>
                <a:cs typeface="Verdana"/>
              </a:rPr>
              <a:t>tangible</a:t>
            </a:r>
            <a:endParaRPr sz="1100">
              <a:latin typeface="Verdana"/>
              <a:cs typeface="Verdana"/>
            </a:endParaRPr>
          </a:p>
          <a:p>
            <a:pPr marL="12700" marR="5080">
              <a:lnSpc>
                <a:spcPct val="100000"/>
              </a:lnSpc>
              <a:spcBef>
                <a:spcPts val="600"/>
              </a:spcBef>
            </a:pPr>
            <a:r>
              <a:rPr sz="1100" b="1" spc="-5">
                <a:latin typeface="Verdana"/>
                <a:cs typeface="Verdana"/>
              </a:rPr>
              <a:t>Infographics</a:t>
            </a:r>
            <a:r>
              <a:rPr sz="1100" spc="-5">
                <a:latin typeface="Verdana"/>
                <a:cs typeface="Verdana"/>
              </a:rPr>
              <a:t>,  </a:t>
            </a:r>
            <a:r>
              <a:rPr sz="1100" b="1">
                <a:latin typeface="Verdana"/>
                <a:cs typeface="Verdana"/>
              </a:rPr>
              <a:t>sketching </a:t>
            </a:r>
            <a:r>
              <a:rPr sz="1100" spc="-5">
                <a:latin typeface="Verdana"/>
                <a:cs typeface="Verdana"/>
              </a:rPr>
              <a:t>and  </a:t>
            </a:r>
            <a:r>
              <a:rPr sz="1100" b="1" spc="-5">
                <a:latin typeface="Verdana"/>
                <a:cs typeface="Verdana"/>
              </a:rPr>
              <a:t>prototyping </a:t>
            </a:r>
            <a:r>
              <a:rPr sz="1100" spc="-5">
                <a:latin typeface="Verdana"/>
                <a:cs typeface="Verdana"/>
              </a:rPr>
              <a:t>are the  </a:t>
            </a:r>
            <a:r>
              <a:rPr sz="1100">
                <a:latin typeface="Verdana"/>
                <a:cs typeface="Verdana"/>
              </a:rPr>
              <a:t>best </a:t>
            </a:r>
            <a:r>
              <a:rPr sz="1100" spc="-5">
                <a:latin typeface="Verdana"/>
                <a:cs typeface="Verdana"/>
              </a:rPr>
              <a:t>to make your  experience</a:t>
            </a:r>
            <a:r>
              <a:rPr sz="1100" spc="-20">
                <a:latin typeface="Verdana"/>
                <a:cs typeface="Verdana"/>
              </a:rPr>
              <a:t> </a:t>
            </a:r>
            <a:r>
              <a:rPr sz="1100" spc="-10">
                <a:latin typeface="Verdana"/>
                <a:cs typeface="Verdana"/>
              </a:rPr>
              <a:t>alive</a:t>
            </a:r>
            <a:endParaRPr sz="1100">
              <a:latin typeface="Verdana"/>
              <a:cs typeface="Verdana"/>
            </a:endParaRPr>
          </a:p>
        </p:txBody>
      </p:sp>
      <p:sp>
        <p:nvSpPr>
          <p:cNvPr id="25" name="object 25"/>
          <p:cNvSpPr/>
          <p:nvPr/>
        </p:nvSpPr>
        <p:spPr>
          <a:xfrm>
            <a:off x="6339840" y="4802123"/>
            <a:ext cx="1435608" cy="1664208"/>
          </a:xfrm>
          <a:prstGeom prst="rect">
            <a:avLst/>
          </a:prstGeom>
          <a:blipFill>
            <a:blip r:embed="rId5" cstate="print"/>
            <a:stretch>
              <a:fillRect/>
            </a:stretch>
          </a:blipFill>
        </p:spPr>
        <p:txBody>
          <a:bodyPr wrap="square" lIns="0" tIns="0" rIns="0" bIns="0" rtlCol="0"/>
          <a:lstStyle/>
          <a:p>
            <a:endParaRPr/>
          </a:p>
        </p:txBody>
      </p:sp>
      <p:sp>
        <p:nvSpPr>
          <p:cNvPr id="26" name="object 26"/>
          <p:cNvSpPr/>
          <p:nvPr/>
        </p:nvSpPr>
        <p:spPr>
          <a:xfrm>
            <a:off x="10290047" y="4802123"/>
            <a:ext cx="1423416" cy="1664208"/>
          </a:xfrm>
          <a:prstGeom prst="rect">
            <a:avLst/>
          </a:prstGeom>
          <a:blipFill>
            <a:blip r:embed="rId6" cstate="print"/>
            <a:stretch>
              <a:fillRect/>
            </a:stretch>
          </a:blipFill>
        </p:spPr>
        <p:txBody>
          <a:bodyPr wrap="square" lIns="0" tIns="0" rIns="0" bIns="0" rtlCol="0"/>
          <a:lstStyle/>
          <a:p>
            <a:endParaRPr/>
          </a:p>
        </p:txBody>
      </p:sp>
      <p:sp>
        <p:nvSpPr>
          <p:cNvPr id="27" name="object 27"/>
          <p:cNvSpPr/>
          <p:nvPr/>
        </p:nvSpPr>
        <p:spPr>
          <a:xfrm>
            <a:off x="8301228" y="4802123"/>
            <a:ext cx="1456944" cy="1664208"/>
          </a:xfrm>
          <a:prstGeom prst="rect">
            <a:avLst/>
          </a:prstGeom>
          <a:blipFill>
            <a:blip r:embed="rId7" cstate="print"/>
            <a:stretch>
              <a:fillRect/>
            </a:stretch>
          </a:blipFill>
        </p:spPr>
        <p:txBody>
          <a:bodyPr wrap="square" lIns="0" tIns="0" rIns="0" bIns="0" rtlCol="0"/>
          <a:lstStyle/>
          <a:p>
            <a:endParaRPr/>
          </a:p>
        </p:txBody>
      </p:sp>
      <p:sp>
        <p:nvSpPr>
          <p:cNvPr id="28" name="object 28"/>
          <p:cNvSpPr/>
          <p:nvPr/>
        </p:nvSpPr>
        <p:spPr>
          <a:xfrm>
            <a:off x="227075" y="1656588"/>
            <a:ext cx="60960" cy="251460"/>
          </a:xfrm>
          <a:custGeom>
            <a:avLst/>
            <a:gdLst/>
            <a:ahLst/>
            <a:cxnLst/>
            <a:rect l="l" t="t" r="r" b="b"/>
            <a:pathLst>
              <a:path w="60960" h="251460">
                <a:moveTo>
                  <a:pt x="30480" y="0"/>
                </a:moveTo>
                <a:lnTo>
                  <a:pt x="18618" y="2387"/>
                </a:lnTo>
                <a:lnTo>
                  <a:pt x="8929" y="8905"/>
                </a:lnTo>
                <a:lnTo>
                  <a:pt x="2396" y="18591"/>
                </a:lnTo>
                <a:lnTo>
                  <a:pt x="0" y="30479"/>
                </a:lnTo>
                <a:lnTo>
                  <a:pt x="0" y="220979"/>
                </a:lnTo>
                <a:lnTo>
                  <a:pt x="2396" y="232868"/>
                </a:lnTo>
                <a:lnTo>
                  <a:pt x="8929" y="242554"/>
                </a:lnTo>
                <a:lnTo>
                  <a:pt x="18618" y="249072"/>
                </a:lnTo>
                <a:lnTo>
                  <a:pt x="30480" y="251460"/>
                </a:lnTo>
                <a:lnTo>
                  <a:pt x="42341" y="249072"/>
                </a:lnTo>
                <a:lnTo>
                  <a:pt x="52030" y="242554"/>
                </a:lnTo>
                <a:lnTo>
                  <a:pt x="58563" y="232868"/>
                </a:lnTo>
                <a:lnTo>
                  <a:pt x="60960" y="220979"/>
                </a:lnTo>
                <a:lnTo>
                  <a:pt x="60960" y="30479"/>
                </a:lnTo>
                <a:lnTo>
                  <a:pt x="58563" y="18591"/>
                </a:lnTo>
                <a:lnTo>
                  <a:pt x="52030" y="8905"/>
                </a:lnTo>
                <a:lnTo>
                  <a:pt x="42341" y="2387"/>
                </a:lnTo>
                <a:lnTo>
                  <a:pt x="30480" y="0"/>
                </a:lnTo>
                <a:close/>
              </a:path>
            </a:pathLst>
          </a:custGeom>
          <a:solidFill>
            <a:srgbClr val="0D80A3"/>
          </a:solidFill>
        </p:spPr>
        <p:txBody>
          <a:bodyPr wrap="square" lIns="0" tIns="0" rIns="0" bIns="0" rtlCol="0"/>
          <a:lstStyle/>
          <a:p>
            <a:endParaRPr/>
          </a:p>
        </p:txBody>
      </p:sp>
      <p:sp>
        <p:nvSpPr>
          <p:cNvPr id="29" name="object 29"/>
          <p:cNvSpPr/>
          <p:nvPr/>
        </p:nvSpPr>
        <p:spPr>
          <a:xfrm>
            <a:off x="227075" y="1656588"/>
            <a:ext cx="60960" cy="251460"/>
          </a:xfrm>
          <a:custGeom>
            <a:avLst/>
            <a:gdLst/>
            <a:ahLst/>
            <a:cxnLst/>
            <a:rect l="l" t="t" r="r" b="b"/>
            <a:pathLst>
              <a:path w="60960" h="251460">
                <a:moveTo>
                  <a:pt x="0" y="30479"/>
                </a:moveTo>
                <a:lnTo>
                  <a:pt x="2396" y="18591"/>
                </a:lnTo>
                <a:lnTo>
                  <a:pt x="8929" y="8905"/>
                </a:lnTo>
                <a:lnTo>
                  <a:pt x="18618" y="2387"/>
                </a:lnTo>
                <a:lnTo>
                  <a:pt x="30480" y="0"/>
                </a:lnTo>
                <a:lnTo>
                  <a:pt x="42341" y="2387"/>
                </a:lnTo>
                <a:lnTo>
                  <a:pt x="52030" y="8905"/>
                </a:lnTo>
                <a:lnTo>
                  <a:pt x="58563" y="18591"/>
                </a:lnTo>
                <a:lnTo>
                  <a:pt x="60960" y="30479"/>
                </a:lnTo>
                <a:lnTo>
                  <a:pt x="60960" y="220979"/>
                </a:lnTo>
                <a:lnTo>
                  <a:pt x="58563" y="232868"/>
                </a:lnTo>
                <a:lnTo>
                  <a:pt x="52030" y="242554"/>
                </a:lnTo>
                <a:lnTo>
                  <a:pt x="42341" y="249072"/>
                </a:lnTo>
                <a:lnTo>
                  <a:pt x="30480" y="251460"/>
                </a:lnTo>
                <a:lnTo>
                  <a:pt x="18618" y="249072"/>
                </a:lnTo>
                <a:lnTo>
                  <a:pt x="8929" y="242554"/>
                </a:lnTo>
                <a:lnTo>
                  <a:pt x="2396"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30" name="object 30"/>
          <p:cNvSpPr/>
          <p:nvPr/>
        </p:nvSpPr>
        <p:spPr>
          <a:xfrm>
            <a:off x="227075" y="2017776"/>
            <a:ext cx="60960" cy="251460"/>
          </a:xfrm>
          <a:custGeom>
            <a:avLst/>
            <a:gdLst/>
            <a:ahLst/>
            <a:cxnLst/>
            <a:rect l="l" t="t" r="r" b="b"/>
            <a:pathLst>
              <a:path w="60960" h="251460">
                <a:moveTo>
                  <a:pt x="30480" y="0"/>
                </a:moveTo>
                <a:lnTo>
                  <a:pt x="18618" y="2387"/>
                </a:lnTo>
                <a:lnTo>
                  <a:pt x="8929" y="8905"/>
                </a:lnTo>
                <a:lnTo>
                  <a:pt x="2396" y="18591"/>
                </a:lnTo>
                <a:lnTo>
                  <a:pt x="0" y="30479"/>
                </a:lnTo>
                <a:lnTo>
                  <a:pt x="0" y="220979"/>
                </a:lnTo>
                <a:lnTo>
                  <a:pt x="2396" y="232868"/>
                </a:lnTo>
                <a:lnTo>
                  <a:pt x="8929" y="242554"/>
                </a:lnTo>
                <a:lnTo>
                  <a:pt x="18618" y="249072"/>
                </a:lnTo>
                <a:lnTo>
                  <a:pt x="30480" y="251460"/>
                </a:lnTo>
                <a:lnTo>
                  <a:pt x="42341" y="249072"/>
                </a:lnTo>
                <a:lnTo>
                  <a:pt x="52030" y="242554"/>
                </a:lnTo>
                <a:lnTo>
                  <a:pt x="58563" y="232868"/>
                </a:lnTo>
                <a:lnTo>
                  <a:pt x="60960" y="220979"/>
                </a:lnTo>
                <a:lnTo>
                  <a:pt x="60960" y="30479"/>
                </a:lnTo>
                <a:lnTo>
                  <a:pt x="58563" y="18591"/>
                </a:lnTo>
                <a:lnTo>
                  <a:pt x="52030" y="8905"/>
                </a:lnTo>
                <a:lnTo>
                  <a:pt x="42341" y="2387"/>
                </a:lnTo>
                <a:lnTo>
                  <a:pt x="30480" y="0"/>
                </a:lnTo>
                <a:close/>
              </a:path>
            </a:pathLst>
          </a:custGeom>
          <a:solidFill>
            <a:srgbClr val="0D80A3"/>
          </a:solidFill>
        </p:spPr>
        <p:txBody>
          <a:bodyPr wrap="square" lIns="0" tIns="0" rIns="0" bIns="0" rtlCol="0"/>
          <a:lstStyle/>
          <a:p>
            <a:endParaRPr/>
          </a:p>
        </p:txBody>
      </p:sp>
      <p:sp>
        <p:nvSpPr>
          <p:cNvPr id="31" name="object 31"/>
          <p:cNvSpPr/>
          <p:nvPr/>
        </p:nvSpPr>
        <p:spPr>
          <a:xfrm>
            <a:off x="227075" y="2017776"/>
            <a:ext cx="60960" cy="251460"/>
          </a:xfrm>
          <a:custGeom>
            <a:avLst/>
            <a:gdLst/>
            <a:ahLst/>
            <a:cxnLst/>
            <a:rect l="l" t="t" r="r" b="b"/>
            <a:pathLst>
              <a:path w="60960" h="251460">
                <a:moveTo>
                  <a:pt x="0" y="30479"/>
                </a:moveTo>
                <a:lnTo>
                  <a:pt x="2396" y="18591"/>
                </a:lnTo>
                <a:lnTo>
                  <a:pt x="8929" y="8905"/>
                </a:lnTo>
                <a:lnTo>
                  <a:pt x="18618" y="2387"/>
                </a:lnTo>
                <a:lnTo>
                  <a:pt x="30480" y="0"/>
                </a:lnTo>
                <a:lnTo>
                  <a:pt x="42341" y="2387"/>
                </a:lnTo>
                <a:lnTo>
                  <a:pt x="52030" y="8905"/>
                </a:lnTo>
                <a:lnTo>
                  <a:pt x="58563" y="18591"/>
                </a:lnTo>
                <a:lnTo>
                  <a:pt x="60960" y="30479"/>
                </a:lnTo>
                <a:lnTo>
                  <a:pt x="60960" y="220979"/>
                </a:lnTo>
                <a:lnTo>
                  <a:pt x="58563" y="232868"/>
                </a:lnTo>
                <a:lnTo>
                  <a:pt x="52030" y="242554"/>
                </a:lnTo>
                <a:lnTo>
                  <a:pt x="42341" y="249072"/>
                </a:lnTo>
                <a:lnTo>
                  <a:pt x="30480" y="251460"/>
                </a:lnTo>
                <a:lnTo>
                  <a:pt x="18618" y="249072"/>
                </a:lnTo>
                <a:lnTo>
                  <a:pt x="8929" y="242554"/>
                </a:lnTo>
                <a:lnTo>
                  <a:pt x="2396"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32" name="object 32"/>
          <p:cNvSpPr/>
          <p:nvPr/>
        </p:nvSpPr>
        <p:spPr>
          <a:xfrm>
            <a:off x="227075" y="1714500"/>
            <a:ext cx="332740" cy="497205"/>
          </a:xfrm>
          <a:custGeom>
            <a:avLst/>
            <a:gdLst/>
            <a:ahLst/>
            <a:cxnLst/>
            <a:rect l="l" t="t" r="r" b="b"/>
            <a:pathLst>
              <a:path w="332740" h="497205">
                <a:moveTo>
                  <a:pt x="234010" y="0"/>
                </a:moveTo>
                <a:lnTo>
                  <a:pt x="0" y="0"/>
                </a:lnTo>
                <a:lnTo>
                  <a:pt x="0" y="496824"/>
                </a:lnTo>
                <a:lnTo>
                  <a:pt x="234010" y="496824"/>
                </a:lnTo>
                <a:lnTo>
                  <a:pt x="332232" y="248412"/>
                </a:lnTo>
                <a:lnTo>
                  <a:pt x="234010" y="0"/>
                </a:lnTo>
                <a:close/>
              </a:path>
            </a:pathLst>
          </a:custGeom>
          <a:solidFill>
            <a:srgbClr val="12ABDB"/>
          </a:solidFill>
        </p:spPr>
        <p:txBody>
          <a:bodyPr wrap="square" lIns="0" tIns="0" rIns="0" bIns="0" rtlCol="0"/>
          <a:lstStyle/>
          <a:p>
            <a:endParaRPr/>
          </a:p>
        </p:txBody>
      </p:sp>
      <p:sp>
        <p:nvSpPr>
          <p:cNvPr id="33" name="object 33"/>
          <p:cNvSpPr/>
          <p:nvPr/>
        </p:nvSpPr>
        <p:spPr>
          <a:xfrm>
            <a:off x="227075" y="1714500"/>
            <a:ext cx="332740" cy="497205"/>
          </a:xfrm>
          <a:custGeom>
            <a:avLst/>
            <a:gdLst/>
            <a:ahLst/>
            <a:cxnLst/>
            <a:rect l="l" t="t" r="r" b="b"/>
            <a:pathLst>
              <a:path w="332740" h="497205">
                <a:moveTo>
                  <a:pt x="0" y="0"/>
                </a:moveTo>
                <a:lnTo>
                  <a:pt x="234010" y="0"/>
                </a:lnTo>
                <a:lnTo>
                  <a:pt x="332232" y="248412"/>
                </a:lnTo>
                <a:lnTo>
                  <a:pt x="234010" y="496824"/>
                </a:lnTo>
                <a:lnTo>
                  <a:pt x="0" y="496824"/>
                </a:lnTo>
                <a:lnTo>
                  <a:pt x="0" y="0"/>
                </a:lnTo>
                <a:close/>
              </a:path>
            </a:pathLst>
          </a:custGeom>
          <a:ln w="9144">
            <a:solidFill>
              <a:srgbClr val="FFFFFF"/>
            </a:solidFill>
          </a:ln>
        </p:spPr>
        <p:txBody>
          <a:bodyPr wrap="square" lIns="0" tIns="0" rIns="0" bIns="0" rtlCol="0"/>
          <a:lstStyle/>
          <a:p>
            <a:endParaRPr/>
          </a:p>
        </p:txBody>
      </p:sp>
      <p:sp>
        <p:nvSpPr>
          <p:cNvPr id="34" name="object 34"/>
          <p:cNvSpPr txBox="1"/>
          <p:nvPr/>
        </p:nvSpPr>
        <p:spPr>
          <a:xfrm>
            <a:off x="306120" y="1858136"/>
            <a:ext cx="133985"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FFFFFF"/>
                </a:solidFill>
                <a:latin typeface="Verdana"/>
                <a:cs typeface="Verdana"/>
              </a:rPr>
              <a:t>1</a:t>
            </a:r>
            <a:endParaRPr sz="1200">
              <a:latin typeface="Verdana"/>
              <a:cs typeface="Verdana"/>
            </a:endParaRPr>
          </a:p>
        </p:txBody>
      </p:sp>
      <p:sp>
        <p:nvSpPr>
          <p:cNvPr id="35" name="object 35"/>
          <p:cNvSpPr/>
          <p:nvPr/>
        </p:nvSpPr>
        <p:spPr>
          <a:xfrm>
            <a:off x="2199132" y="1656588"/>
            <a:ext cx="60960" cy="251460"/>
          </a:xfrm>
          <a:custGeom>
            <a:avLst/>
            <a:gdLst/>
            <a:ahLst/>
            <a:cxnLst/>
            <a:rect l="l" t="t" r="r" b="b"/>
            <a:pathLst>
              <a:path w="60960" h="251460">
                <a:moveTo>
                  <a:pt x="30480" y="0"/>
                </a:moveTo>
                <a:lnTo>
                  <a:pt x="18591" y="2387"/>
                </a:lnTo>
                <a:lnTo>
                  <a:pt x="8905" y="8905"/>
                </a:lnTo>
                <a:lnTo>
                  <a:pt x="2387" y="18591"/>
                </a:lnTo>
                <a:lnTo>
                  <a:pt x="0" y="30479"/>
                </a:lnTo>
                <a:lnTo>
                  <a:pt x="0" y="220979"/>
                </a:lnTo>
                <a:lnTo>
                  <a:pt x="2387" y="232868"/>
                </a:lnTo>
                <a:lnTo>
                  <a:pt x="8905" y="242554"/>
                </a:lnTo>
                <a:lnTo>
                  <a:pt x="18591" y="249072"/>
                </a:lnTo>
                <a:lnTo>
                  <a:pt x="30480" y="251460"/>
                </a:lnTo>
                <a:lnTo>
                  <a:pt x="42368" y="249072"/>
                </a:lnTo>
                <a:lnTo>
                  <a:pt x="52054" y="242554"/>
                </a:lnTo>
                <a:lnTo>
                  <a:pt x="58572" y="232868"/>
                </a:lnTo>
                <a:lnTo>
                  <a:pt x="60960" y="220979"/>
                </a:lnTo>
                <a:lnTo>
                  <a:pt x="60960" y="30479"/>
                </a:lnTo>
                <a:lnTo>
                  <a:pt x="58572" y="18591"/>
                </a:lnTo>
                <a:lnTo>
                  <a:pt x="52054" y="8905"/>
                </a:lnTo>
                <a:lnTo>
                  <a:pt x="42368" y="2387"/>
                </a:lnTo>
                <a:lnTo>
                  <a:pt x="30480" y="0"/>
                </a:lnTo>
                <a:close/>
              </a:path>
            </a:pathLst>
          </a:custGeom>
          <a:solidFill>
            <a:srgbClr val="0D80A3"/>
          </a:solidFill>
        </p:spPr>
        <p:txBody>
          <a:bodyPr wrap="square" lIns="0" tIns="0" rIns="0" bIns="0" rtlCol="0"/>
          <a:lstStyle/>
          <a:p>
            <a:endParaRPr/>
          </a:p>
        </p:txBody>
      </p:sp>
      <p:sp>
        <p:nvSpPr>
          <p:cNvPr id="36" name="object 36"/>
          <p:cNvSpPr/>
          <p:nvPr/>
        </p:nvSpPr>
        <p:spPr>
          <a:xfrm>
            <a:off x="2199132" y="1656588"/>
            <a:ext cx="60960" cy="251460"/>
          </a:xfrm>
          <a:custGeom>
            <a:avLst/>
            <a:gdLst/>
            <a:ahLst/>
            <a:cxnLst/>
            <a:rect l="l" t="t" r="r" b="b"/>
            <a:pathLst>
              <a:path w="60960" h="251460">
                <a:moveTo>
                  <a:pt x="0" y="30479"/>
                </a:moveTo>
                <a:lnTo>
                  <a:pt x="2387" y="18591"/>
                </a:lnTo>
                <a:lnTo>
                  <a:pt x="8905" y="8905"/>
                </a:lnTo>
                <a:lnTo>
                  <a:pt x="18591" y="2387"/>
                </a:lnTo>
                <a:lnTo>
                  <a:pt x="30480" y="0"/>
                </a:lnTo>
                <a:lnTo>
                  <a:pt x="42368" y="2387"/>
                </a:lnTo>
                <a:lnTo>
                  <a:pt x="52054" y="8905"/>
                </a:lnTo>
                <a:lnTo>
                  <a:pt x="58572" y="18591"/>
                </a:lnTo>
                <a:lnTo>
                  <a:pt x="60960" y="30479"/>
                </a:lnTo>
                <a:lnTo>
                  <a:pt x="60960" y="220979"/>
                </a:lnTo>
                <a:lnTo>
                  <a:pt x="58572" y="232868"/>
                </a:lnTo>
                <a:lnTo>
                  <a:pt x="52054" y="242554"/>
                </a:lnTo>
                <a:lnTo>
                  <a:pt x="42368" y="249072"/>
                </a:lnTo>
                <a:lnTo>
                  <a:pt x="30480" y="251460"/>
                </a:lnTo>
                <a:lnTo>
                  <a:pt x="18591" y="249072"/>
                </a:lnTo>
                <a:lnTo>
                  <a:pt x="8905" y="242554"/>
                </a:lnTo>
                <a:lnTo>
                  <a:pt x="2387" y="232868"/>
                </a:lnTo>
                <a:lnTo>
                  <a:pt x="0" y="220979"/>
                </a:lnTo>
                <a:lnTo>
                  <a:pt x="0" y="30479"/>
                </a:lnTo>
                <a:close/>
              </a:path>
            </a:pathLst>
          </a:custGeom>
          <a:ln w="9143">
            <a:solidFill>
              <a:srgbClr val="0D80A3"/>
            </a:solidFill>
          </a:ln>
        </p:spPr>
        <p:txBody>
          <a:bodyPr wrap="square" lIns="0" tIns="0" rIns="0" bIns="0" rtlCol="0"/>
          <a:lstStyle/>
          <a:p>
            <a:endParaRPr/>
          </a:p>
        </p:txBody>
      </p:sp>
      <p:sp>
        <p:nvSpPr>
          <p:cNvPr id="37" name="object 37"/>
          <p:cNvSpPr/>
          <p:nvPr/>
        </p:nvSpPr>
        <p:spPr>
          <a:xfrm>
            <a:off x="2199132" y="2017776"/>
            <a:ext cx="60960" cy="251460"/>
          </a:xfrm>
          <a:custGeom>
            <a:avLst/>
            <a:gdLst/>
            <a:ahLst/>
            <a:cxnLst/>
            <a:rect l="l" t="t" r="r" b="b"/>
            <a:pathLst>
              <a:path w="60960" h="251460">
                <a:moveTo>
                  <a:pt x="30480" y="0"/>
                </a:moveTo>
                <a:lnTo>
                  <a:pt x="18591" y="2387"/>
                </a:lnTo>
                <a:lnTo>
                  <a:pt x="8905" y="8905"/>
                </a:lnTo>
                <a:lnTo>
                  <a:pt x="2387" y="18591"/>
                </a:lnTo>
                <a:lnTo>
                  <a:pt x="0" y="30479"/>
                </a:lnTo>
                <a:lnTo>
                  <a:pt x="0" y="220979"/>
                </a:lnTo>
                <a:lnTo>
                  <a:pt x="2387" y="232868"/>
                </a:lnTo>
                <a:lnTo>
                  <a:pt x="8905" y="242554"/>
                </a:lnTo>
                <a:lnTo>
                  <a:pt x="18591" y="249072"/>
                </a:lnTo>
                <a:lnTo>
                  <a:pt x="30480" y="251460"/>
                </a:lnTo>
                <a:lnTo>
                  <a:pt x="42368" y="249072"/>
                </a:lnTo>
                <a:lnTo>
                  <a:pt x="52054" y="242554"/>
                </a:lnTo>
                <a:lnTo>
                  <a:pt x="58572" y="232868"/>
                </a:lnTo>
                <a:lnTo>
                  <a:pt x="60960" y="220979"/>
                </a:lnTo>
                <a:lnTo>
                  <a:pt x="60960" y="30479"/>
                </a:lnTo>
                <a:lnTo>
                  <a:pt x="58572" y="18591"/>
                </a:lnTo>
                <a:lnTo>
                  <a:pt x="52054" y="8905"/>
                </a:lnTo>
                <a:lnTo>
                  <a:pt x="42368" y="2387"/>
                </a:lnTo>
                <a:lnTo>
                  <a:pt x="30480" y="0"/>
                </a:lnTo>
                <a:close/>
              </a:path>
            </a:pathLst>
          </a:custGeom>
          <a:solidFill>
            <a:srgbClr val="0D80A3"/>
          </a:solidFill>
        </p:spPr>
        <p:txBody>
          <a:bodyPr wrap="square" lIns="0" tIns="0" rIns="0" bIns="0" rtlCol="0"/>
          <a:lstStyle/>
          <a:p>
            <a:endParaRPr/>
          </a:p>
        </p:txBody>
      </p:sp>
      <p:sp>
        <p:nvSpPr>
          <p:cNvPr id="38" name="object 38"/>
          <p:cNvSpPr/>
          <p:nvPr/>
        </p:nvSpPr>
        <p:spPr>
          <a:xfrm>
            <a:off x="2199132" y="2017776"/>
            <a:ext cx="60960" cy="251460"/>
          </a:xfrm>
          <a:custGeom>
            <a:avLst/>
            <a:gdLst/>
            <a:ahLst/>
            <a:cxnLst/>
            <a:rect l="l" t="t" r="r" b="b"/>
            <a:pathLst>
              <a:path w="60960" h="251460">
                <a:moveTo>
                  <a:pt x="0" y="30479"/>
                </a:moveTo>
                <a:lnTo>
                  <a:pt x="2387" y="18591"/>
                </a:lnTo>
                <a:lnTo>
                  <a:pt x="8905" y="8905"/>
                </a:lnTo>
                <a:lnTo>
                  <a:pt x="18591" y="2387"/>
                </a:lnTo>
                <a:lnTo>
                  <a:pt x="30480" y="0"/>
                </a:lnTo>
                <a:lnTo>
                  <a:pt x="42368" y="2387"/>
                </a:lnTo>
                <a:lnTo>
                  <a:pt x="52054" y="8905"/>
                </a:lnTo>
                <a:lnTo>
                  <a:pt x="58572" y="18591"/>
                </a:lnTo>
                <a:lnTo>
                  <a:pt x="60960" y="30479"/>
                </a:lnTo>
                <a:lnTo>
                  <a:pt x="60960" y="220979"/>
                </a:lnTo>
                <a:lnTo>
                  <a:pt x="58572" y="232868"/>
                </a:lnTo>
                <a:lnTo>
                  <a:pt x="52054" y="242554"/>
                </a:lnTo>
                <a:lnTo>
                  <a:pt x="42368" y="249072"/>
                </a:lnTo>
                <a:lnTo>
                  <a:pt x="30480" y="251460"/>
                </a:lnTo>
                <a:lnTo>
                  <a:pt x="18591" y="249072"/>
                </a:lnTo>
                <a:lnTo>
                  <a:pt x="8905" y="242554"/>
                </a:lnTo>
                <a:lnTo>
                  <a:pt x="2387" y="232868"/>
                </a:lnTo>
                <a:lnTo>
                  <a:pt x="0" y="220979"/>
                </a:lnTo>
                <a:lnTo>
                  <a:pt x="0" y="30479"/>
                </a:lnTo>
                <a:close/>
              </a:path>
            </a:pathLst>
          </a:custGeom>
          <a:ln w="9143">
            <a:solidFill>
              <a:srgbClr val="0D80A3"/>
            </a:solidFill>
          </a:ln>
        </p:spPr>
        <p:txBody>
          <a:bodyPr wrap="square" lIns="0" tIns="0" rIns="0" bIns="0" rtlCol="0"/>
          <a:lstStyle/>
          <a:p>
            <a:endParaRPr/>
          </a:p>
        </p:txBody>
      </p:sp>
      <p:sp>
        <p:nvSpPr>
          <p:cNvPr id="39" name="object 39"/>
          <p:cNvSpPr/>
          <p:nvPr/>
        </p:nvSpPr>
        <p:spPr>
          <a:xfrm>
            <a:off x="2199132" y="1714500"/>
            <a:ext cx="332740" cy="497205"/>
          </a:xfrm>
          <a:custGeom>
            <a:avLst/>
            <a:gdLst/>
            <a:ahLst/>
            <a:cxnLst/>
            <a:rect l="l" t="t" r="r" b="b"/>
            <a:pathLst>
              <a:path w="332739" h="497205">
                <a:moveTo>
                  <a:pt x="234061" y="0"/>
                </a:moveTo>
                <a:lnTo>
                  <a:pt x="0" y="0"/>
                </a:lnTo>
                <a:lnTo>
                  <a:pt x="0" y="496824"/>
                </a:lnTo>
                <a:lnTo>
                  <a:pt x="234061" y="496824"/>
                </a:lnTo>
                <a:lnTo>
                  <a:pt x="332231" y="248412"/>
                </a:lnTo>
                <a:lnTo>
                  <a:pt x="234061" y="0"/>
                </a:lnTo>
                <a:close/>
              </a:path>
            </a:pathLst>
          </a:custGeom>
          <a:solidFill>
            <a:srgbClr val="12ABDB"/>
          </a:solidFill>
        </p:spPr>
        <p:txBody>
          <a:bodyPr wrap="square" lIns="0" tIns="0" rIns="0" bIns="0" rtlCol="0"/>
          <a:lstStyle/>
          <a:p>
            <a:endParaRPr/>
          </a:p>
        </p:txBody>
      </p:sp>
      <p:sp>
        <p:nvSpPr>
          <p:cNvPr id="40" name="object 40"/>
          <p:cNvSpPr/>
          <p:nvPr/>
        </p:nvSpPr>
        <p:spPr>
          <a:xfrm>
            <a:off x="2199132" y="1714500"/>
            <a:ext cx="332740" cy="497205"/>
          </a:xfrm>
          <a:custGeom>
            <a:avLst/>
            <a:gdLst/>
            <a:ahLst/>
            <a:cxnLst/>
            <a:rect l="l" t="t" r="r" b="b"/>
            <a:pathLst>
              <a:path w="332739" h="497205">
                <a:moveTo>
                  <a:pt x="0" y="0"/>
                </a:moveTo>
                <a:lnTo>
                  <a:pt x="234061" y="0"/>
                </a:lnTo>
                <a:lnTo>
                  <a:pt x="332231" y="248412"/>
                </a:lnTo>
                <a:lnTo>
                  <a:pt x="234061" y="496824"/>
                </a:lnTo>
                <a:lnTo>
                  <a:pt x="0" y="496824"/>
                </a:lnTo>
                <a:lnTo>
                  <a:pt x="0" y="0"/>
                </a:lnTo>
                <a:close/>
              </a:path>
            </a:pathLst>
          </a:custGeom>
          <a:ln w="9144">
            <a:solidFill>
              <a:srgbClr val="FFFFFF"/>
            </a:solidFill>
          </a:ln>
        </p:spPr>
        <p:txBody>
          <a:bodyPr wrap="square" lIns="0" tIns="0" rIns="0" bIns="0" rtlCol="0"/>
          <a:lstStyle/>
          <a:p>
            <a:endParaRPr/>
          </a:p>
        </p:txBody>
      </p:sp>
      <p:sp>
        <p:nvSpPr>
          <p:cNvPr id="41" name="object 41"/>
          <p:cNvSpPr txBox="1"/>
          <p:nvPr/>
        </p:nvSpPr>
        <p:spPr>
          <a:xfrm>
            <a:off x="2278507" y="1858136"/>
            <a:ext cx="133985"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FFFFFF"/>
                </a:solidFill>
                <a:latin typeface="Verdana"/>
                <a:cs typeface="Verdana"/>
              </a:rPr>
              <a:t>2</a:t>
            </a:r>
            <a:endParaRPr sz="1200">
              <a:latin typeface="Verdana"/>
              <a:cs typeface="Verdana"/>
            </a:endParaRPr>
          </a:p>
        </p:txBody>
      </p:sp>
      <p:sp>
        <p:nvSpPr>
          <p:cNvPr id="42" name="object 42"/>
          <p:cNvSpPr/>
          <p:nvPr/>
        </p:nvSpPr>
        <p:spPr>
          <a:xfrm>
            <a:off x="4171188" y="1656588"/>
            <a:ext cx="60960" cy="251460"/>
          </a:xfrm>
          <a:custGeom>
            <a:avLst/>
            <a:gdLst/>
            <a:ahLst/>
            <a:cxnLst/>
            <a:rect l="l" t="t" r="r" b="b"/>
            <a:pathLst>
              <a:path w="60960"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60" y="220979"/>
                </a:lnTo>
                <a:lnTo>
                  <a:pt x="60960"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43" name="object 43"/>
          <p:cNvSpPr/>
          <p:nvPr/>
        </p:nvSpPr>
        <p:spPr>
          <a:xfrm>
            <a:off x="4171188" y="1656588"/>
            <a:ext cx="60960" cy="251460"/>
          </a:xfrm>
          <a:custGeom>
            <a:avLst/>
            <a:gdLst/>
            <a:ahLst/>
            <a:cxnLst/>
            <a:rect l="l" t="t" r="r" b="b"/>
            <a:pathLst>
              <a:path w="60960" h="251460">
                <a:moveTo>
                  <a:pt x="0" y="30479"/>
                </a:moveTo>
                <a:lnTo>
                  <a:pt x="2387" y="18591"/>
                </a:lnTo>
                <a:lnTo>
                  <a:pt x="8905" y="8905"/>
                </a:lnTo>
                <a:lnTo>
                  <a:pt x="18591" y="2387"/>
                </a:lnTo>
                <a:lnTo>
                  <a:pt x="30479" y="0"/>
                </a:lnTo>
                <a:lnTo>
                  <a:pt x="42368" y="2387"/>
                </a:lnTo>
                <a:lnTo>
                  <a:pt x="52054" y="8905"/>
                </a:lnTo>
                <a:lnTo>
                  <a:pt x="58572" y="18591"/>
                </a:lnTo>
                <a:lnTo>
                  <a:pt x="60960" y="30479"/>
                </a:lnTo>
                <a:lnTo>
                  <a:pt x="60960"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3">
            <a:solidFill>
              <a:srgbClr val="0D80A3"/>
            </a:solidFill>
          </a:ln>
        </p:spPr>
        <p:txBody>
          <a:bodyPr wrap="square" lIns="0" tIns="0" rIns="0" bIns="0" rtlCol="0"/>
          <a:lstStyle/>
          <a:p>
            <a:endParaRPr/>
          </a:p>
        </p:txBody>
      </p:sp>
      <p:sp>
        <p:nvSpPr>
          <p:cNvPr id="44" name="object 44"/>
          <p:cNvSpPr/>
          <p:nvPr/>
        </p:nvSpPr>
        <p:spPr>
          <a:xfrm>
            <a:off x="4171188" y="2017776"/>
            <a:ext cx="60960" cy="251460"/>
          </a:xfrm>
          <a:custGeom>
            <a:avLst/>
            <a:gdLst/>
            <a:ahLst/>
            <a:cxnLst/>
            <a:rect l="l" t="t" r="r" b="b"/>
            <a:pathLst>
              <a:path w="60960"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60" y="220979"/>
                </a:lnTo>
                <a:lnTo>
                  <a:pt x="60960"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45" name="object 45"/>
          <p:cNvSpPr/>
          <p:nvPr/>
        </p:nvSpPr>
        <p:spPr>
          <a:xfrm>
            <a:off x="4171188" y="2017776"/>
            <a:ext cx="60960" cy="251460"/>
          </a:xfrm>
          <a:custGeom>
            <a:avLst/>
            <a:gdLst/>
            <a:ahLst/>
            <a:cxnLst/>
            <a:rect l="l" t="t" r="r" b="b"/>
            <a:pathLst>
              <a:path w="60960" h="251460">
                <a:moveTo>
                  <a:pt x="0" y="30479"/>
                </a:moveTo>
                <a:lnTo>
                  <a:pt x="2387" y="18591"/>
                </a:lnTo>
                <a:lnTo>
                  <a:pt x="8905" y="8905"/>
                </a:lnTo>
                <a:lnTo>
                  <a:pt x="18591" y="2387"/>
                </a:lnTo>
                <a:lnTo>
                  <a:pt x="30479" y="0"/>
                </a:lnTo>
                <a:lnTo>
                  <a:pt x="42368" y="2387"/>
                </a:lnTo>
                <a:lnTo>
                  <a:pt x="52054" y="8905"/>
                </a:lnTo>
                <a:lnTo>
                  <a:pt x="58572" y="18591"/>
                </a:lnTo>
                <a:lnTo>
                  <a:pt x="60960" y="30479"/>
                </a:lnTo>
                <a:lnTo>
                  <a:pt x="60960"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3">
            <a:solidFill>
              <a:srgbClr val="0D80A3"/>
            </a:solidFill>
          </a:ln>
        </p:spPr>
        <p:txBody>
          <a:bodyPr wrap="square" lIns="0" tIns="0" rIns="0" bIns="0" rtlCol="0"/>
          <a:lstStyle/>
          <a:p>
            <a:endParaRPr/>
          </a:p>
        </p:txBody>
      </p:sp>
      <p:sp>
        <p:nvSpPr>
          <p:cNvPr id="46" name="object 46"/>
          <p:cNvSpPr/>
          <p:nvPr/>
        </p:nvSpPr>
        <p:spPr>
          <a:xfrm>
            <a:off x="4171188" y="1714500"/>
            <a:ext cx="330835" cy="497205"/>
          </a:xfrm>
          <a:custGeom>
            <a:avLst/>
            <a:gdLst/>
            <a:ahLst/>
            <a:cxnLst/>
            <a:rect l="l" t="t" r="r" b="b"/>
            <a:pathLst>
              <a:path w="330835" h="497205">
                <a:moveTo>
                  <a:pt x="232917" y="0"/>
                </a:moveTo>
                <a:lnTo>
                  <a:pt x="0" y="0"/>
                </a:lnTo>
                <a:lnTo>
                  <a:pt x="0" y="496824"/>
                </a:lnTo>
                <a:lnTo>
                  <a:pt x="232917" y="496824"/>
                </a:lnTo>
                <a:lnTo>
                  <a:pt x="330708" y="248412"/>
                </a:lnTo>
                <a:lnTo>
                  <a:pt x="232917" y="0"/>
                </a:lnTo>
                <a:close/>
              </a:path>
            </a:pathLst>
          </a:custGeom>
          <a:solidFill>
            <a:srgbClr val="12ABDB"/>
          </a:solidFill>
        </p:spPr>
        <p:txBody>
          <a:bodyPr wrap="square" lIns="0" tIns="0" rIns="0" bIns="0" rtlCol="0"/>
          <a:lstStyle/>
          <a:p>
            <a:endParaRPr/>
          </a:p>
        </p:txBody>
      </p:sp>
      <p:sp>
        <p:nvSpPr>
          <p:cNvPr id="47" name="object 47"/>
          <p:cNvSpPr/>
          <p:nvPr/>
        </p:nvSpPr>
        <p:spPr>
          <a:xfrm>
            <a:off x="4171188" y="1714500"/>
            <a:ext cx="330835" cy="497205"/>
          </a:xfrm>
          <a:custGeom>
            <a:avLst/>
            <a:gdLst/>
            <a:ahLst/>
            <a:cxnLst/>
            <a:rect l="l" t="t" r="r" b="b"/>
            <a:pathLst>
              <a:path w="330835" h="497205">
                <a:moveTo>
                  <a:pt x="0" y="0"/>
                </a:moveTo>
                <a:lnTo>
                  <a:pt x="232917" y="0"/>
                </a:lnTo>
                <a:lnTo>
                  <a:pt x="330708" y="248412"/>
                </a:lnTo>
                <a:lnTo>
                  <a:pt x="232917" y="496824"/>
                </a:lnTo>
                <a:lnTo>
                  <a:pt x="0" y="496824"/>
                </a:lnTo>
                <a:lnTo>
                  <a:pt x="0" y="0"/>
                </a:lnTo>
                <a:close/>
              </a:path>
            </a:pathLst>
          </a:custGeom>
          <a:ln w="9144">
            <a:solidFill>
              <a:srgbClr val="FFFFFF"/>
            </a:solidFill>
          </a:ln>
        </p:spPr>
        <p:txBody>
          <a:bodyPr wrap="square" lIns="0" tIns="0" rIns="0" bIns="0" rtlCol="0"/>
          <a:lstStyle/>
          <a:p>
            <a:endParaRPr/>
          </a:p>
        </p:txBody>
      </p:sp>
      <p:sp>
        <p:nvSpPr>
          <p:cNvPr id="48" name="object 48"/>
          <p:cNvSpPr txBox="1"/>
          <p:nvPr/>
        </p:nvSpPr>
        <p:spPr>
          <a:xfrm>
            <a:off x="4250563" y="1858136"/>
            <a:ext cx="133985"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FFFFFF"/>
                </a:solidFill>
                <a:latin typeface="Verdana"/>
                <a:cs typeface="Verdana"/>
              </a:rPr>
              <a:t>3</a:t>
            </a:r>
            <a:endParaRPr sz="1200">
              <a:latin typeface="Verdana"/>
              <a:cs typeface="Verdana"/>
            </a:endParaRPr>
          </a:p>
        </p:txBody>
      </p:sp>
      <p:sp>
        <p:nvSpPr>
          <p:cNvPr id="49" name="object 49"/>
          <p:cNvSpPr/>
          <p:nvPr/>
        </p:nvSpPr>
        <p:spPr>
          <a:xfrm>
            <a:off x="6143244" y="1656588"/>
            <a:ext cx="60960" cy="251460"/>
          </a:xfrm>
          <a:custGeom>
            <a:avLst/>
            <a:gdLst/>
            <a:ahLst/>
            <a:cxnLst/>
            <a:rect l="l" t="t" r="r" b="b"/>
            <a:pathLst>
              <a:path w="60960"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59" y="220979"/>
                </a:lnTo>
                <a:lnTo>
                  <a:pt x="60959"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50" name="object 50"/>
          <p:cNvSpPr/>
          <p:nvPr/>
        </p:nvSpPr>
        <p:spPr>
          <a:xfrm>
            <a:off x="6143244" y="1656588"/>
            <a:ext cx="60960" cy="251460"/>
          </a:xfrm>
          <a:custGeom>
            <a:avLst/>
            <a:gdLst/>
            <a:ahLst/>
            <a:cxnLst/>
            <a:rect l="l" t="t" r="r" b="b"/>
            <a:pathLst>
              <a:path w="60960" h="251460">
                <a:moveTo>
                  <a:pt x="0" y="30479"/>
                </a:moveTo>
                <a:lnTo>
                  <a:pt x="2387" y="18591"/>
                </a:lnTo>
                <a:lnTo>
                  <a:pt x="8905" y="8905"/>
                </a:lnTo>
                <a:lnTo>
                  <a:pt x="18591" y="2387"/>
                </a:lnTo>
                <a:lnTo>
                  <a:pt x="30479" y="0"/>
                </a:lnTo>
                <a:lnTo>
                  <a:pt x="42368" y="2387"/>
                </a:lnTo>
                <a:lnTo>
                  <a:pt x="52054" y="8905"/>
                </a:lnTo>
                <a:lnTo>
                  <a:pt x="58572" y="18591"/>
                </a:lnTo>
                <a:lnTo>
                  <a:pt x="60959" y="30479"/>
                </a:lnTo>
                <a:lnTo>
                  <a:pt x="60959"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51" name="object 51"/>
          <p:cNvSpPr/>
          <p:nvPr/>
        </p:nvSpPr>
        <p:spPr>
          <a:xfrm>
            <a:off x="6143244" y="2017776"/>
            <a:ext cx="60960" cy="251460"/>
          </a:xfrm>
          <a:custGeom>
            <a:avLst/>
            <a:gdLst/>
            <a:ahLst/>
            <a:cxnLst/>
            <a:rect l="l" t="t" r="r" b="b"/>
            <a:pathLst>
              <a:path w="60960"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59" y="220979"/>
                </a:lnTo>
                <a:lnTo>
                  <a:pt x="60959"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52" name="object 52"/>
          <p:cNvSpPr/>
          <p:nvPr/>
        </p:nvSpPr>
        <p:spPr>
          <a:xfrm>
            <a:off x="6143244" y="2017776"/>
            <a:ext cx="60960" cy="251460"/>
          </a:xfrm>
          <a:custGeom>
            <a:avLst/>
            <a:gdLst/>
            <a:ahLst/>
            <a:cxnLst/>
            <a:rect l="l" t="t" r="r" b="b"/>
            <a:pathLst>
              <a:path w="60960" h="251460">
                <a:moveTo>
                  <a:pt x="0" y="30479"/>
                </a:moveTo>
                <a:lnTo>
                  <a:pt x="2387" y="18591"/>
                </a:lnTo>
                <a:lnTo>
                  <a:pt x="8905" y="8905"/>
                </a:lnTo>
                <a:lnTo>
                  <a:pt x="18591" y="2387"/>
                </a:lnTo>
                <a:lnTo>
                  <a:pt x="30479" y="0"/>
                </a:lnTo>
                <a:lnTo>
                  <a:pt x="42368" y="2387"/>
                </a:lnTo>
                <a:lnTo>
                  <a:pt x="52054" y="8905"/>
                </a:lnTo>
                <a:lnTo>
                  <a:pt x="58572" y="18591"/>
                </a:lnTo>
                <a:lnTo>
                  <a:pt x="60959" y="30479"/>
                </a:lnTo>
                <a:lnTo>
                  <a:pt x="60959"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53" name="object 53"/>
          <p:cNvSpPr/>
          <p:nvPr/>
        </p:nvSpPr>
        <p:spPr>
          <a:xfrm>
            <a:off x="6143244" y="1714500"/>
            <a:ext cx="330835" cy="497205"/>
          </a:xfrm>
          <a:custGeom>
            <a:avLst/>
            <a:gdLst/>
            <a:ahLst/>
            <a:cxnLst/>
            <a:rect l="l" t="t" r="r" b="b"/>
            <a:pathLst>
              <a:path w="330835" h="497205">
                <a:moveTo>
                  <a:pt x="232917" y="0"/>
                </a:moveTo>
                <a:lnTo>
                  <a:pt x="0" y="0"/>
                </a:lnTo>
                <a:lnTo>
                  <a:pt x="0" y="496824"/>
                </a:lnTo>
                <a:lnTo>
                  <a:pt x="232917" y="496824"/>
                </a:lnTo>
                <a:lnTo>
                  <a:pt x="330707" y="248412"/>
                </a:lnTo>
                <a:lnTo>
                  <a:pt x="232917" y="0"/>
                </a:lnTo>
                <a:close/>
              </a:path>
            </a:pathLst>
          </a:custGeom>
          <a:solidFill>
            <a:srgbClr val="12ABDB"/>
          </a:solidFill>
        </p:spPr>
        <p:txBody>
          <a:bodyPr wrap="square" lIns="0" tIns="0" rIns="0" bIns="0" rtlCol="0"/>
          <a:lstStyle/>
          <a:p>
            <a:endParaRPr/>
          </a:p>
        </p:txBody>
      </p:sp>
      <p:sp>
        <p:nvSpPr>
          <p:cNvPr id="54" name="object 54"/>
          <p:cNvSpPr/>
          <p:nvPr/>
        </p:nvSpPr>
        <p:spPr>
          <a:xfrm>
            <a:off x="6143244" y="1714500"/>
            <a:ext cx="330835" cy="497205"/>
          </a:xfrm>
          <a:custGeom>
            <a:avLst/>
            <a:gdLst/>
            <a:ahLst/>
            <a:cxnLst/>
            <a:rect l="l" t="t" r="r" b="b"/>
            <a:pathLst>
              <a:path w="330835" h="497205">
                <a:moveTo>
                  <a:pt x="0" y="0"/>
                </a:moveTo>
                <a:lnTo>
                  <a:pt x="232917" y="0"/>
                </a:lnTo>
                <a:lnTo>
                  <a:pt x="330707" y="248412"/>
                </a:lnTo>
                <a:lnTo>
                  <a:pt x="232917" y="496824"/>
                </a:lnTo>
                <a:lnTo>
                  <a:pt x="0" y="496824"/>
                </a:lnTo>
                <a:lnTo>
                  <a:pt x="0" y="0"/>
                </a:lnTo>
                <a:close/>
              </a:path>
            </a:pathLst>
          </a:custGeom>
          <a:ln w="9144">
            <a:solidFill>
              <a:srgbClr val="FFFFFF"/>
            </a:solidFill>
          </a:ln>
        </p:spPr>
        <p:txBody>
          <a:bodyPr wrap="square" lIns="0" tIns="0" rIns="0" bIns="0" rtlCol="0"/>
          <a:lstStyle/>
          <a:p>
            <a:endParaRPr/>
          </a:p>
        </p:txBody>
      </p:sp>
      <p:sp>
        <p:nvSpPr>
          <p:cNvPr id="55" name="object 55"/>
          <p:cNvSpPr txBox="1"/>
          <p:nvPr/>
        </p:nvSpPr>
        <p:spPr>
          <a:xfrm>
            <a:off x="6222619" y="1858136"/>
            <a:ext cx="133985"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FFFFFF"/>
                </a:solidFill>
                <a:latin typeface="Verdana"/>
                <a:cs typeface="Verdana"/>
              </a:rPr>
              <a:t>4</a:t>
            </a:r>
            <a:endParaRPr sz="1200">
              <a:latin typeface="Verdana"/>
              <a:cs typeface="Verdana"/>
            </a:endParaRPr>
          </a:p>
        </p:txBody>
      </p:sp>
      <p:sp>
        <p:nvSpPr>
          <p:cNvPr id="56" name="object 56"/>
          <p:cNvSpPr/>
          <p:nvPr/>
        </p:nvSpPr>
        <p:spPr>
          <a:xfrm>
            <a:off x="8115300" y="1656588"/>
            <a:ext cx="60960" cy="251460"/>
          </a:xfrm>
          <a:custGeom>
            <a:avLst/>
            <a:gdLst/>
            <a:ahLst/>
            <a:cxnLst/>
            <a:rect l="l" t="t" r="r" b="b"/>
            <a:pathLst>
              <a:path w="60959"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59" y="220979"/>
                </a:lnTo>
                <a:lnTo>
                  <a:pt x="60959"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57" name="object 57"/>
          <p:cNvSpPr/>
          <p:nvPr/>
        </p:nvSpPr>
        <p:spPr>
          <a:xfrm>
            <a:off x="8115300" y="1656588"/>
            <a:ext cx="60960" cy="251460"/>
          </a:xfrm>
          <a:custGeom>
            <a:avLst/>
            <a:gdLst/>
            <a:ahLst/>
            <a:cxnLst/>
            <a:rect l="l" t="t" r="r" b="b"/>
            <a:pathLst>
              <a:path w="60959" h="251460">
                <a:moveTo>
                  <a:pt x="0" y="30479"/>
                </a:moveTo>
                <a:lnTo>
                  <a:pt x="2387" y="18591"/>
                </a:lnTo>
                <a:lnTo>
                  <a:pt x="8905" y="8905"/>
                </a:lnTo>
                <a:lnTo>
                  <a:pt x="18591" y="2387"/>
                </a:lnTo>
                <a:lnTo>
                  <a:pt x="30479" y="0"/>
                </a:lnTo>
                <a:lnTo>
                  <a:pt x="42368" y="2387"/>
                </a:lnTo>
                <a:lnTo>
                  <a:pt x="52054" y="8905"/>
                </a:lnTo>
                <a:lnTo>
                  <a:pt x="58572" y="18591"/>
                </a:lnTo>
                <a:lnTo>
                  <a:pt x="60959" y="30479"/>
                </a:lnTo>
                <a:lnTo>
                  <a:pt x="60959"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58" name="object 58"/>
          <p:cNvSpPr/>
          <p:nvPr/>
        </p:nvSpPr>
        <p:spPr>
          <a:xfrm>
            <a:off x="8115300" y="2017776"/>
            <a:ext cx="60960" cy="251460"/>
          </a:xfrm>
          <a:custGeom>
            <a:avLst/>
            <a:gdLst/>
            <a:ahLst/>
            <a:cxnLst/>
            <a:rect l="l" t="t" r="r" b="b"/>
            <a:pathLst>
              <a:path w="60959"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59" y="220979"/>
                </a:lnTo>
                <a:lnTo>
                  <a:pt x="60959"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59" name="object 59"/>
          <p:cNvSpPr/>
          <p:nvPr/>
        </p:nvSpPr>
        <p:spPr>
          <a:xfrm>
            <a:off x="8115300" y="2017776"/>
            <a:ext cx="60960" cy="251460"/>
          </a:xfrm>
          <a:custGeom>
            <a:avLst/>
            <a:gdLst/>
            <a:ahLst/>
            <a:cxnLst/>
            <a:rect l="l" t="t" r="r" b="b"/>
            <a:pathLst>
              <a:path w="60959" h="251460">
                <a:moveTo>
                  <a:pt x="0" y="30479"/>
                </a:moveTo>
                <a:lnTo>
                  <a:pt x="2387" y="18591"/>
                </a:lnTo>
                <a:lnTo>
                  <a:pt x="8905" y="8905"/>
                </a:lnTo>
                <a:lnTo>
                  <a:pt x="18591" y="2387"/>
                </a:lnTo>
                <a:lnTo>
                  <a:pt x="30479" y="0"/>
                </a:lnTo>
                <a:lnTo>
                  <a:pt x="42368" y="2387"/>
                </a:lnTo>
                <a:lnTo>
                  <a:pt x="52054" y="8905"/>
                </a:lnTo>
                <a:lnTo>
                  <a:pt x="58572" y="18591"/>
                </a:lnTo>
                <a:lnTo>
                  <a:pt x="60959" y="30479"/>
                </a:lnTo>
                <a:lnTo>
                  <a:pt x="60959"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60" name="object 60"/>
          <p:cNvSpPr/>
          <p:nvPr/>
        </p:nvSpPr>
        <p:spPr>
          <a:xfrm>
            <a:off x="8115300" y="1714500"/>
            <a:ext cx="330835" cy="497205"/>
          </a:xfrm>
          <a:custGeom>
            <a:avLst/>
            <a:gdLst/>
            <a:ahLst/>
            <a:cxnLst/>
            <a:rect l="l" t="t" r="r" b="b"/>
            <a:pathLst>
              <a:path w="330834" h="497205">
                <a:moveTo>
                  <a:pt x="232918" y="0"/>
                </a:moveTo>
                <a:lnTo>
                  <a:pt x="0" y="0"/>
                </a:lnTo>
                <a:lnTo>
                  <a:pt x="0" y="496824"/>
                </a:lnTo>
                <a:lnTo>
                  <a:pt x="232918" y="496824"/>
                </a:lnTo>
                <a:lnTo>
                  <a:pt x="330707" y="248412"/>
                </a:lnTo>
                <a:lnTo>
                  <a:pt x="232918" y="0"/>
                </a:lnTo>
                <a:close/>
              </a:path>
            </a:pathLst>
          </a:custGeom>
          <a:solidFill>
            <a:srgbClr val="12ABDB"/>
          </a:solidFill>
        </p:spPr>
        <p:txBody>
          <a:bodyPr wrap="square" lIns="0" tIns="0" rIns="0" bIns="0" rtlCol="0"/>
          <a:lstStyle/>
          <a:p>
            <a:endParaRPr/>
          </a:p>
        </p:txBody>
      </p:sp>
      <p:sp>
        <p:nvSpPr>
          <p:cNvPr id="61" name="object 61"/>
          <p:cNvSpPr/>
          <p:nvPr/>
        </p:nvSpPr>
        <p:spPr>
          <a:xfrm>
            <a:off x="8115300" y="1714500"/>
            <a:ext cx="330835" cy="497205"/>
          </a:xfrm>
          <a:custGeom>
            <a:avLst/>
            <a:gdLst/>
            <a:ahLst/>
            <a:cxnLst/>
            <a:rect l="l" t="t" r="r" b="b"/>
            <a:pathLst>
              <a:path w="330834" h="497205">
                <a:moveTo>
                  <a:pt x="0" y="0"/>
                </a:moveTo>
                <a:lnTo>
                  <a:pt x="232918" y="0"/>
                </a:lnTo>
                <a:lnTo>
                  <a:pt x="330707" y="248412"/>
                </a:lnTo>
                <a:lnTo>
                  <a:pt x="232918" y="496824"/>
                </a:lnTo>
                <a:lnTo>
                  <a:pt x="0" y="496824"/>
                </a:lnTo>
                <a:lnTo>
                  <a:pt x="0" y="0"/>
                </a:lnTo>
                <a:close/>
              </a:path>
            </a:pathLst>
          </a:custGeom>
          <a:ln w="9144">
            <a:solidFill>
              <a:srgbClr val="FFFFFF"/>
            </a:solidFill>
          </a:ln>
        </p:spPr>
        <p:txBody>
          <a:bodyPr wrap="square" lIns="0" tIns="0" rIns="0" bIns="0" rtlCol="0"/>
          <a:lstStyle/>
          <a:p>
            <a:endParaRPr/>
          </a:p>
        </p:txBody>
      </p:sp>
      <p:sp>
        <p:nvSpPr>
          <p:cNvPr id="62" name="object 62"/>
          <p:cNvSpPr txBox="1"/>
          <p:nvPr/>
        </p:nvSpPr>
        <p:spPr>
          <a:xfrm>
            <a:off x="8194929" y="1858136"/>
            <a:ext cx="133985"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FFFFFF"/>
                </a:solidFill>
                <a:latin typeface="Verdana"/>
                <a:cs typeface="Verdana"/>
              </a:rPr>
              <a:t>5</a:t>
            </a:r>
            <a:endParaRPr sz="1200">
              <a:latin typeface="Verdana"/>
              <a:cs typeface="Verdana"/>
            </a:endParaRPr>
          </a:p>
        </p:txBody>
      </p:sp>
      <p:sp>
        <p:nvSpPr>
          <p:cNvPr id="63" name="object 63"/>
          <p:cNvSpPr/>
          <p:nvPr/>
        </p:nvSpPr>
        <p:spPr>
          <a:xfrm>
            <a:off x="10087356" y="1656588"/>
            <a:ext cx="60960" cy="251460"/>
          </a:xfrm>
          <a:custGeom>
            <a:avLst/>
            <a:gdLst/>
            <a:ahLst/>
            <a:cxnLst/>
            <a:rect l="l" t="t" r="r" b="b"/>
            <a:pathLst>
              <a:path w="60959"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60" y="220979"/>
                </a:lnTo>
                <a:lnTo>
                  <a:pt x="60960"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64" name="object 64"/>
          <p:cNvSpPr/>
          <p:nvPr/>
        </p:nvSpPr>
        <p:spPr>
          <a:xfrm>
            <a:off x="10087356" y="1656588"/>
            <a:ext cx="60960" cy="251460"/>
          </a:xfrm>
          <a:custGeom>
            <a:avLst/>
            <a:gdLst/>
            <a:ahLst/>
            <a:cxnLst/>
            <a:rect l="l" t="t" r="r" b="b"/>
            <a:pathLst>
              <a:path w="60959" h="251460">
                <a:moveTo>
                  <a:pt x="0" y="30479"/>
                </a:moveTo>
                <a:lnTo>
                  <a:pt x="2387" y="18591"/>
                </a:lnTo>
                <a:lnTo>
                  <a:pt x="8905" y="8905"/>
                </a:lnTo>
                <a:lnTo>
                  <a:pt x="18591" y="2387"/>
                </a:lnTo>
                <a:lnTo>
                  <a:pt x="30479" y="0"/>
                </a:lnTo>
                <a:lnTo>
                  <a:pt x="42368" y="2387"/>
                </a:lnTo>
                <a:lnTo>
                  <a:pt x="52054" y="8905"/>
                </a:lnTo>
                <a:lnTo>
                  <a:pt x="58572" y="18591"/>
                </a:lnTo>
                <a:lnTo>
                  <a:pt x="60960" y="30479"/>
                </a:lnTo>
                <a:lnTo>
                  <a:pt x="60960"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65" name="object 65"/>
          <p:cNvSpPr/>
          <p:nvPr/>
        </p:nvSpPr>
        <p:spPr>
          <a:xfrm>
            <a:off x="10087356" y="2017776"/>
            <a:ext cx="60960" cy="251460"/>
          </a:xfrm>
          <a:custGeom>
            <a:avLst/>
            <a:gdLst/>
            <a:ahLst/>
            <a:cxnLst/>
            <a:rect l="l" t="t" r="r" b="b"/>
            <a:pathLst>
              <a:path w="60959" h="251460">
                <a:moveTo>
                  <a:pt x="30479" y="0"/>
                </a:moveTo>
                <a:lnTo>
                  <a:pt x="18591" y="2387"/>
                </a:lnTo>
                <a:lnTo>
                  <a:pt x="8905" y="8905"/>
                </a:lnTo>
                <a:lnTo>
                  <a:pt x="2387" y="18591"/>
                </a:lnTo>
                <a:lnTo>
                  <a:pt x="0" y="30479"/>
                </a:lnTo>
                <a:lnTo>
                  <a:pt x="0" y="220979"/>
                </a:lnTo>
                <a:lnTo>
                  <a:pt x="2387" y="232868"/>
                </a:lnTo>
                <a:lnTo>
                  <a:pt x="8905" y="242554"/>
                </a:lnTo>
                <a:lnTo>
                  <a:pt x="18591" y="249072"/>
                </a:lnTo>
                <a:lnTo>
                  <a:pt x="30479" y="251460"/>
                </a:lnTo>
                <a:lnTo>
                  <a:pt x="42368" y="249072"/>
                </a:lnTo>
                <a:lnTo>
                  <a:pt x="52054" y="242554"/>
                </a:lnTo>
                <a:lnTo>
                  <a:pt x="58572" y="232868"/>
                </a:lnTo>
                <a:lnTo>
                  <a:pt x="60960" y="220979"/>
                </a:lnTo>
                <a:lnTo>
                  <a:pt x="60960" y="30479"/>
                </a:lnTo>
                <a:lnTo>
                  <a:pt x="58572" y="18591"/>
                </a:lnTo>
                <a:lnTo>
                  <a:pt x="52054" y="8905"/>
                </a:lnTo>
                <a:lnTo>
                  <a:pt x="42368" y="2387"/>
                </a:lnTo>
                <a:lnTo>
                  <a:pt x="30479" y="0"/>
                </a:lnTo>
                <a:close/>
              </a:path>
            </a:pathLst>
          </a:custGeom>
          <a:solidFill>
            <a:srgbClr val="0D80A3"/>
          </a:solidFill>
        </p:spPr>
        <p:txBody>
          <a:bodyPr wrap="square" lIns="0" tIns="0" rIns="0" bIns="0" rtlCol="0"/>
          <a:lstStyle/>
          <a:p>
            <a:endParaRPr/>
          </a:p>
        </p:txBody>
      </p:sp>
      <p:sp>
        <p:nvSpPr>
          <p:cNvPr id="66" name="object 66"/>
          <p:cNvSpPr/>
          <p:nvPr/>
        </p:nvSpPr>
        <p:spPr>
          <a:xfrm>
            <a:off x="10087356" y="2017776"/>
            <a:ext cx="60960" cy="251460"/>
          </a:xfrm>
          <a:custGeom>
            <a:avLst/>
            <a:gdLst/>
            <a:ahLst/>
            <a:cxnLst/>
            <a:rect l="l" t="t" r="r" b="b"/>
            <a:pathLst>
              <a:path w="60959" h="251460">
                <a:moveTo>
                  <a:pt x="0" y="30479"/>
                </a:moveTo>
                <a:lnTo>
                  <a:pt x="2387" y="18591"/>
                </a:lnTo>
                <a:lnTo>
                  <a:pt x="8905" y="8905"/>
                </a:lnTo>
                <a:lnTo>
                  <a:pt x="18591" y="2387"/>
                </a:lnTo>
                <a:lnTo>
                  <a:pt x="30479" y="0"/>
                </a:lnTo>
                <a:lnTo>
                  <a:pt x="42368" y="2387"/>
                </a:lnTo>
                <a:lnTo>
                  <a:pt x="52054" y="8905"/>
                </a:lnTo>
                <a:lnTo>
                  <a:pt x="58572" y="18591"/>
                </a:lnTo>
                <a:lnTo>
                  <a:pt x="60960" y="30479"/>
                </a:lnTo>
                <a:lnTo>
                  <a:pt x="60960" y="220979"/>
                </a:lnTo>
                <a:lnTo>
                  <a:pt x="58572" y="232868"/>
                </a:lnTo>
                <a:lnTo>
                  <a:pt x="52054" y="242554"/>
                </a:lnTo>
                <a:lnTo>
                  <a:pt x="42368" y="249072"/>
                </a:lnTo>
                <a:lnTo>
                  <a:pt x="30479" y="251460"/>
                </a:lnTo>
                <a:lnTo>
                  <a:pt x="18591" y="249072"/>
                </a:lnTo>
                <a:lnTo>
                  <a:pt x="8905" y="242554"/>
                </a:lnTo>
                <a:lnTo>
                  <a:pt x="2387" y="232868"/>
                </a:lnTo>
                <a:lnTo>
                  <a:pt x="0" y="220979"/>
                </a:lnTo>
                <a:lnTo>
                  <a:pt x="0" y="30479"/>
                </a:lnTo>
                <a:close/>
              </a:path>
            </a:pathLst>
          </a:custGeom>
          <a:ln w="9144">
            <a:solidFill>
              <a:srgbClr val="0D80A3"/>
            </a:solidFill>
          </a:ln>
        </p:spPr>
        <p:txBody>
          <a:bodyPr wrap="square" lIns="0" tIns="0" rIns="0" bIns="0" rtlCol="0"/>
          <a:lstStyle/>
          <a:p>
            <a:endParaRPr/>
          </a:p>
        </p:txBody>
      </p:sp>
      <p:sp>
        <p:nvSpPr>
          <p:cNvPr id="67" name="object 67"/>
          <p:cNvSpPr/>
          <p:nvPr/>
        </p:nvSpPr>
        <p:spPr>
          <a:xfrm>
            <a:off x="10087356" y="1714500"/>
            <a:ext cx="330835" cy="497205"/>
          </a:xfrm>
          <a:custGeom>
            <a:avLst/>
            <a:gdLst/>
            <a:ahLst/>
            <a:cxnLst/>
            <a:rect l="l" t="t" r="r" b="b"/>
            <a:pathLst>
              <a:path w="330834" h="497205">
                <a:moveTo>
                  <a:pt x="232918" y="0"/>
                </a:moveTo>
                <a:lnTo>
                  <a:pt x="0" y="0"/>
                </a:lnTo>
                <a:lnTo>
                  <a:pt x="0" y="496824"/>
                </a:lnTo>
                <a:lnTo>
                  <a:pt x="232918" y="496824"/>
                </a:lnTo>
                <a:lnTo>
                  <a:pt x="330708" y="248412"/>
                </a:lnTo>
                <a:lnTo>
                  <a:pt x="232918" y="0"/>
                </a:lnTo>
                <a:close/>
              </a:path>
            </a:pathLst>
          </a:custGeom>
          <a:solidFill>
            <a:srgbClr val="12ABDB"/>
          </a:solidFill>
        </p:spPr>
        <p:txBody>
          <a:bodyPr wrap="square" lIns="0" tIns="0" rIns="0" bIns="0" rtlCol="0"/>
          <a:lstStyle/>
          <a:p>
            <a:endParaRPr/>
          </a:p>
        </p:txBody>
      </p:sp>
      <p:sp>
        <p:nvSpPr>
          <p:cNvPr id="68" name="object 68"/>
          <p:cNvSpPr/>
          <p:nvPr/>
        </p:nvSpPr>
        <p:spPr>
          <a:xfrm>
            <a:off x="10087356" y="1714500"/>
            <a:ext cx="330835" cy="497205"/>
          </a:xfrm>
          <a:custGeom>
            <a:avLst/>
            <a:gdLst/>
            <a:ahLst/>
            <a:cxnLst/>
            <a:rect l="l" t="t" r="r" b="b"/>
            <a:pathLst>
              <a:path w="330834" h="497205">
                <a:moveTo>
                  <a:pt x="0" y="0"/>
                </a:moveTo>
                <a:lnTo>
                  <a:pt x="232918" y="0"/>
                </a:lnTo>
                <a:lnTo>
                  <a:pt x="330708" y="248412"/>
                </a:lnTo>
                <a:lnTo>
                  <a:pt x="232918" y="496824"/>
                </a:lnTo>
                <a:lnTo>
                  <a:pt x="0" y="496824"/>
                </a:lnTo>
                <a:lnTo>
                  <a:pt x="0" y="0"/>
                </a:lnTo>
                <a:close/>
              </a:path>
            </a:pathLst>
          </a:custGeom>
          <a:ln w="9143">
            <a:solidFill>
              <a:srgbClr val="FFFFFF"/>
            </a:solidFill>
          </a:ln>
        </p:spPr>
        <p:txBody>
          <a:bodyPr wrap="square" lIns="0" tIns="0" rIns="0" bIns="0" rtlCol="0"/>
          <a:lstStyle/>
          <a:p>
            <a:endParaRPr/>
          </a:p>
        </p:txBody>
      </p:sp>
      <p:sp>
        <p:nvSpPr>
          <p:cNvPr id="69" name="object 69"/>
          <p:cNvSpPr txBox="1"/>
          <p:nvPr/>
        </p:nvSpPr>
        <p:spPr>
          <a:xfrm>
            <a:off x="10166984" y="1858136"/>
            <a:ext cx="133985"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FFFFFF"/>
                </a:solidFill>
                <a:latin typeface="Verdana"/>
                <a:cs typeface="Verdana"/>
              </a:rPr>
              <a:t>6</a:t>
            </a:r>
            <a:endParaRPr sz="1200">
              <a:latin typeface="Verdana"/>
              <a:cs typeface="Verdana"/>
            </a:endParaRPr>
          </a:p>
        </p:txBody>
      </p:sp>
      <p:sp>
        <p:nvSpPr>
          <p:cNvPr id="70" name="object 7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1" name="object 7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3</a:t>
            </a:fld>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214680" y="318896"/>
            <a:ext cx="8072120" cy="422275"/>
          </a:xfrm>
          <a:prstGeom prst="rect">
            <a:avLst/>
          </a:prstGeom>
        </p:spPr>
        <p:txBody>
          <a:bodyPr vert="horz" wrap="square" lIns="0" tIns="12700" rIns="0" bIns="0" rtlCol="0">
            <a:spAutoFit/>
          </a:bodyPr>
          <a:lstStyle/>
          <a:p>
            <a:pPr marL="12700">
              <a:lnSpc>
                <a:spcPct val="100000"/>
              </a:lnSpc>
              <a:spcBef>
                <a:spcPts val="100"/>
              </a:spcBef>
            </a:pPr>
            <a:r>
              <a:rPr sz="2600"/>
              <a:t>Methodology </a:t>
            </a:r>
            <a:r>
              <a:rPr sz="2600" spc="-5"/>
              <a:t>Overview </a:t>
            </a:r>
            <a:r>
              <a:rPr sz="2600"/>
              <a:t>- </a:t>
            </a:r>
            <a:r>
              <a:rPr sz="2600" spc="-35"/>
              <a:t>Tailored </a:t>
            </a:r>
            <a:r>
              <a:rPr sz="2600"/>
              <a:t>Agile</a:t>
            </a:r>
            <a:r>
              <a:rPr sz="2600" spc="-85"/>
              <a:t> </a:t>
            </a:r>
            <a:r>
              <a:rPr sz="2600"/>
              <a:t>Approach</a:t>
            </a:r>
          </a:p>
        </p:txBody>
      </p:sp>
      <p:grpSp>
        <p:nvGrpSpPr>
          <p:cNvPr id="120" name="Group 119">
            <a:extLst>
              <a:ext uri="{FF2B5EF4-FFF2-40B4-BE49-F238E27FC236}">
                <a16:creationId xmlns:a16="http://schemas.microsoft.com/office/drawing/2014/main" id="{4415739D-A1C2-4090-8874-2ED1A093769C}"/>
              </a:ext>
            </a:extLst>
          </p:cNvPr>
          <p:cNvGrpSpPr/>
          <p:nvPr/>
        </p:nvGrpSpPr>
        <p:grpSpPr>
          <a:xfrm>
            <a:off x="227075" y="1129283"/>
            <a:ext cx="11712449" cy="5354930"/>
            <a:chOff x="227075" y="1129283"/>
            <a:chExt cx="11712449" cy="5354930"/>
          </a:xfrm>
        </p:grpSpPr>
        <p:sp>
          <p:nvSpPr>
            <p:cNvPr id="2" name="object 2"/>
            <p:cNvSpPr/>
            <p:nvPr/>
          </p:nvSpPr>
          <p:spPr>
            <a:xfrm>
              <a:off x="227075" y="2290572"/>
              <a:ext cx="883919" cy="382905"/>
            </a:xfrm>
            <a:custGeom>
              <a:avLst/>
              <a:gdLst/>
              <a:ahLst/>
              <a:cxnLst/>
              <a:rect l="l" t="t" r="r" b="b"/>
              <a:pathLst>
                <a:path w="883919" h="382905">
                  <a:moveTo>
                    <a:pt x="0" y="382524"/>
                  </a:moveTo>
                  <a:lnTo>
                    <a:pt x="883919" y="382524"/>
                  </a:lnTo>
                  <a:lnTo>
                    <a:pt x="883919" y="0"/>
                  </a:lnTo>
                  <a:lnTo>
                    <a:pt x="0" y="0"/>
                  </a:lnTo>
                  <a:lnTo>
                    <a:pt x="0" y="382524"/>
                  </a:lnTo>
                  <a:close/>
                </a:path>
              </a:pathLst>
            </a:custGeom>
            <a:solidFill>
              <a:srgbClr val="12ABDB"/>
            </a:solidFill>
          </p:spPr>
          <p:txBody>
            <a:bodyPr wrap="square" lIns="0" tIns="0" rIns="0" bIns="0" rtlCol="0"/>
            <a:lstStyle/>
            <a:p>
              <a:endParaRPr/>
            </a:p>
          </p:txBody>
        </p:sp>
        <p:sp>
          <p:nvSpPr>
            <p:cNvPr id="3" name="object 3"/>
            <p:cNvSpPr/>
            <p:nvPr/>
          </p:nvSpPr>
          <p:spPr>
            <a:xfrm>
              <a:off x="3396996" y="2290572"/>
              <a:ext cx="4258310" cy="382905"/>
            </a:xfrm>
            <a:custGeom>
              <a:avLst/>
              <a:gdLst/>
              <a:ahLst/>
              <a:cxnLst/>
              <a:rect l="l" t="t" r="r" b="b"/>
              <a:pathLst>
                <a:path w="4258309" h="382905">
                  <a:moveTo>
                    <a:pt x="0" y="382524"/>
                  </a:moveTo>
                  <a:lnTo>
                    <a:pt x="4258056" y="382524"/>
                  </a:lnTo>
                  <a:lnTo>
                    <a:pt x="4258056" y="0"/>
                  </a:lnTo>
                  <a:lnTo>
                    <a:pt x="0" y="0"/>
                  </a:lnTo>
                  <a:lnTo>
                    <a:pt x="0" y="382524"/>
                  </a:lnTo>
                  <a:close/>
                </a:path>
              </a:pathLst>
            </a:custGeom>
            <a:solidFill>
              <a:srgbClr val="12ABDB"/>
            </a:solidFill>
          </p:spPr>
          <p:txBody>
            <a:bodyPr wrap="square" lIns="0" tIns="0" rIns="0" bIns="0" rtlCol="0"/>
            <a:lstStyle/>
            <a:p>
              <a:endParaRPr/>
            </a:p>
          </p:txBody>
        </p:sp>
        <p:sp>
          <p:nvSpPr>
            <p:cNvPr id="4" name="object 4"/>
            <p:cNvSpPr/>
            <p:nvPr/>
          </p:nvSpPr>
          <p:spPr>
            <a:xfrm>
              <a:off x="7735823" y="2290572"/>
              <a:ext cx="1525905" cy="382905"/>
            </a:xfrm>
            <a:custGeom>
              <a:avLst/>
              <a:gdLst/>
              <a:ahLst/>
              <a:cxnLst/>
              <a:rect l="l" t="t" r="r" b="b"/>
              <a:pathLst>
                <a:path w="1525904" h="382905">
                  <a:moveTo>
                    <a:pt x="0" y="382524"/>
                  </a:moveTo>
                  <a:lnTo>
                    <a:pt x="1525524" y="382524"/>
                  </a:lnTo>
                  <a:lnTo>
                    <a:pt x="1525524" y="0"/>
                  </a:lnTo>
                  <a:lnTo>
                    <a:pt x="0" y="0"/>
                  </a:lnTo>
                  <a:lnTo>
                    <a:pt x="0" y="382524"/>
                  </a:lnTo>
                  <a:close/>
                </a:path>
              </a:pathLst>
            </a:custGeom>
            <a:solidFill>
              <a:srgbClr val="12ABDB"/>
            </a:solidFill>
          </p:spPr>
          <p:txBody>
            <a:bodyPr wrap="square" lIns="0" tIns="0" rIns="0" bIns="0" rtlCol="0"/>
            <a:lstStyle/>
            <a:p>
              <a:endParaRPr/>
            </a:p>
          </p:txBody>
        </p:sp>
        <p:sp>
          <p:nvSpPr>
            <p:cNvPr id="5" name="object 5"/>
            <p:cNvSpPr txBox="1"/>
            <p:nvPr/>
          </p:nvSpPr>
          <p:spPr>
            <a:xfrm>
              <a:off x="8084946" y="2300732"/>
              <a:ext cx="828675" cy="361315"/>
            </a:xfrm>
            <a:prstGeom prst="rect">
              <a:avLst/>
            </a:prstGeom>
          </p:spPr>
          <p:txBody>
            <a:bodyPr vert="horz" wrap="square" lIns="0" tIns="13335" rIns="0" bIns="0" rtlCol="0">
              <a:spAutoFit/>
            </a:bodyPr>
            <a:lstStyle/>
            <a:p>
              <a:pPr marL="143510" marR="5080" indent="-131445">
                <a:lnSpc>
                  <a:spcPct val="100000"/>
                </a:lnSpc>
                <a:spcBef>
                  <a:spcPts val="105"/>
                </a:spcBef>
              </a:pPr>
              <a:r>
                <a:rPr sz="1100" b="1" spc="-5">
                  <a:solidFill>
                    <a:srgbClr val="FFFFFF"/>
                  </a:solidFill>
                  <a:latin typeface="Verdana"/>
                  <a:cs typeface="Verdana"/>
                </a:rPr>
                <a:t>Verify</a:t>
              </a:r>
              <a:r>
                <a:rPr sz="1100" b="1" spc="-95">
                  <a:solidFill>
                    <a:srgbClr val="FFFFFF"/>
                  </a:solidFill>
                  <a:latin typeface="Verdana"/>
                  <a:cs typeface="Verdana"/>
                </a:rPr>
                <a:t> </a:t>
              </a:r>
              <a:r>
                <a:rPr sz="1100" b="1" spc="-5">
                  <a:solidFill>
                    <a:srgbClr val="FFFFFF"/>
                  </a:solidFill>
                  <a:latin typeface="Verdana"/>
                  <a:cs typeface="Verdana"/>
                </a:rPr>
                <a:t>and  Deploy</a:t>
              </a:r>
              <a:endParaRPr sz="1100">
                <a:latin typeface="Verdana"/>
                <a:cs typeface="Verdana"/>
              </a:endParaRPr>
            </a:p>
          </p:txBody>
        </p:sp>
        <p:sp>
          <p:nvSpPr>
            <p:cNvPr id="7" name="object 7"/>
            <p:cNvSpPr/>
            <p:nvPr/>
          </p:nvSpPr>
          <p:spPr>
            <a:xfrm>
              <a:off x="252984" y="1129283"/>
              <a:ext cx="11686540" cy="739140"/>
            </a:xfrm>
            <a:custGeom>
              <a:avLst/>
              <a:gdLst/>
              <a:ahLst/>
              <a:cxnLst/>
              <a:rect l="l" t="t" r="r" b="b"/>
              <a:pathLst>
                <a:path w="11686540" h="739139">
                  <a:moveTo>
                    <a:pt x="0" y="739139"/>
                  </a:moveTo>
                  <a:lnTo>
                    <a:pt x="11686032" y="739139"/>
                  </a:lnTo>
                  <a:lnTo>
                    <a:pt x="11686032" y="0"/>
                  </a:lnTo>
                  <a:lnTo>
                    <a:pt x="0" y="0"/>
                  </a:lnTo>
                  <a:lnTo>
                    <a:pt x="0" y="739139"/>
                  </a:lnTo>
                  <a:close/>
                </a:path>
              </a:pathLst>
            </a:custGeom>
            <a:solidFill>
              <a:srgbClr val="421F5D"/>
            </a:solidFill>
          </p:spPr>
          <p:txBody>
            <a:bodyPr wrap="square" lIns="0" tIns="0" rIns="0" bIns="0" rtlCol="0"/>
            <a:lstStyle/>
            <a:p>
              <a:endParaRPr/>
            </a:p>
          </p:txBody>
        </p:sp>
        <p:sp>
          <p:nvSpPr>
            <p:cNvPr id="8" name="object 8"/>
            <p:cNvSpPr txBox="1"/>
            <p:nvPr/>
          </p:nvSpPr>
          <p:spPr>
            <a:xfrm>
              <a:off x="331724" y="1161033"/>
              <a:ext cx="11371580" cy="666750"/>
            </a:xfrm>
            <a:prstGeom prst="rect">
              <a:avLst/>
            </a:prstGeom>
          </p:spPr>
          <p:txBody>
            <a:bodyPr vert="horz" wrap="square" lIns="0" tIns="13335" rIns="0" bIns="0" rtlCol="0">
              <a:spAutoFit/>
            </a:bodyPr>
            <a:lstStyle/>
            <a:p>
              <a:pPr marL="12700" marR="5080">
                <a:lnSpc>
                  <a:spcPct val="100000"/>
                </a:lnSpc>
                <a:spcBef>
                  <a:spcPts val="105"/>
                </a:spcBef>
              </a:pPr>
              <a:r>
                <a:rPr sz="1400" b="1" i="1">
                  <a:solidFill>
                    <a:srgbClr val="FFFFFF"/>
                  </a:solidFill>
                  <a:latin typeface="Verdana"/>
                  <a:cs typeface="Verdana"/>
                </a:rPr>
                <a:t>We recommend following </a:t>
              </a:r>
              <a:r>
                <a:rPr sz="1400" b="1" i="1" spc="-5">
                  <a:solidFill>
                    <a:srgbClr val="FFFFFF"/>
                  </a:solidFill>
                  <a:latin typeface="Verdana"/>
                  <a:cs typeface="Verdana"/>
                </a:rPr>
                <a:t>our hybrid Waterfall </a:t>
              </a:r>
              <a:r>
                <a:rPr sz="1400" b="1" i="1">
                  <a:solidFill>
                    <a:srgbClr val="FFFFFF"/>
                  </a:solidFill>
                  <a:latin typeface="Verdana"/>
                  <a:cs typeface="Verdana"/>
                </a:rPr>
                <a:t>+ Agile </a:t>
              </a:r>
              <a:r>
                <a:rPr sz="1400" b="1" i="1" spc="-5">
                  <a:solidFill>
                    <a:srgbClr val="FFFFFF"/>
                  </a:solidFill>
                  <a:latin typeface="Verdana"/>
                  <a:cs typeface="Verdana"/>
                </a:rPr>
                <a:t>Methodology iterative </a:t>
              </a:r>
              <a:r>
                <a:rPr sz="1400" b="1" i="1">
                  <a:solidFill>
                    <a:srgbClr val="FFFFFF"/>
                  </a:solidFill>
                  <a:latin typeface="Verdana"/>
                  <a:cs typeface="Verdana"/>
                </a:rPr>
                <a:t>approach. </a:t>
              </a:r>
              <a:r>
                <a:rPr sz="1400" b="1" i="1" spc="-5">
                  <a:solidFill>
                    <a:srgbClr val="FFFFFF"/>
                  </a:solidFill>
                  <a:latin typeface="Verdana"/>
                  <a:cs typeface="Verdana"/>
                </a:rPr>
                <a:t>Our results show that  blending the </a:t>
              </a:r>
              <a:r>
                <a:rPr sz="1400" b="1" i="1">
                  <a:solidFill>
                    <a:srgbClr val="FFFFFF"/>
                  </a:solidFill>
                  <a:latin typeface="Verdana"/>
                  <a:cs typeface="Verdana"/>
                </a:rPr>
                <a:t>two </a:t>
              </a:r>
              <a:r>
                <a:rPr sz="1400" b="1" i="1" spc="-5">
                  <a:solidFill>
                    <a:srgbClr val="FFFFFF"/>
                  </a:solidFill>
                  <a:latin typeface="Verdana"/>
                  <a:cs typeface="Verdana"/>
                </a:rPr>
                <a:t>methodologies helps </a:t>
              </a:r>
              <a:r>
                <a:rPr sz="1400" b="1" i="1">
                  <a:solidFill>
                    <a:srgbClr val="FFFFFF"/>
                  </a:solidFill>
                  <a:latin typeface="Verdana"/>
                  <a:cs typeface="Verdana"/>
                </a:rPr>
                <a:t>improve </a:t>
              </a:r>
              <a:r>
                <a:rPr sz="1400" b="1" i="1" spc="-5">
                  <a:solidFill>
                    <a:srgbClr val="FFFFFF"/>
                  </a:solidFill>
                  <a:latin typeface="Verdana"/>
                  <a:cs typeface="Verdana"/>
                </a:rPr>
                <a:t>quality and reliability </a:t>
              </a:r>
              <a:r>
                <a:rPr sz="1400" b="1" i="1">
                  <a:solidFill>
                    <a:srgbClr val="FFFFFF"/>
                  </a:solidFill>
                  <a:latin typeface="Verdana"/>
                  <a:cs typeface="Verdana"/>
                </a:rPr>
                <a:t>while </a:t>
              </a:r>
              <a:r>
                <a:rPr sz="1400" b="1" i="1" spc="-5">
                  <a:solidFill>
                    <a:srgbClr val="FFFFFF"/>
                  </a:solidFill>
                  <a:latin typeface="Verdana"/>
                  <a:cs typeface="Verdana"/>
                </a:rPr>
                <a:t>affording </a:t>
              </a:r>
              <a:r>
                <a:rPr sz="1400" b="1" i="1">
                  <a:solidFill>
                    <a:srgbClr val="FFFFFF"/>
                  </a:solidFill>
                  <a:latin typeface="Verdana"/>
                  <a:cs typeface="Verdana"/>
                </a:rPr>
                <a:t>flexibility </a:t>
              </a:r>
              <a:r>
                <a:rPr sz="1400" b="1" i="1" spc="-5">
                  <a:solidFill>
                    <a:srgbClr val="FFFFFF"/>
                  </a:solidFill>
                  <a:latin typeface="Verdana"/>
                  <a:cs typeface="Verdana"/>
                </a:rPr>
                <a:t>to </a:t>
              </a:r>
              <a:r>
                <a:rPr sz="1400" b="1" i="1">
                  <a:solidFill>
                    <a:srgbClr val="FFFFFF"/>
                  </a:solidFill>
                  <a:latin typeface="Verdana"/>
                  <a:cs typeface="Verdana"/>
                </a:rPr>
                <a:t>meet / adapt </a:t>
              </a:r>
              <a:r>
                <a:rPr sz="1400" b="1" i="1" spc="-5">
                  <a:solidFill>
                    <a:srgbClr val="FFFFFF"/>
                  </a:solidFill>
                  <a:latin typeface="Verdana"/>
                  <a:cs typeface="Verdana"/>
                </a:rPr>
                <a:t>to  business </a:t>
              </a:r>
              <a:r>
                <a:rPr sz="1400" b="1" i="1">
                  <a:solidFill>
                    <a:srgbClr val="FFFFFF"/>
                  </a:solidFill>
                  <a:latin typeface="Verdana"/>
                  <a:cs typeface="Verdana"/>
                </a:rPr>
                <a:t>needs </a:t>
              </a:r>
              <a:r>
                <a:rPr sz="1400" b="1" i="1" spc="-5">
                  <a:solidFill>
                    <a:srgbClr val="FFFFFF"/>
                  </a:solidFill>
                  <a:latin typeface="Verdana"/>
                  <a:cs typeface="Verdana"/>
                </a:rPr>
                <a:t>and risk</a:t>
              </a:r>
              <a:r>
                <a:rPr sz="1400" b="1" i="1" spc="-95">
                  <a:solidFill>
                    <a:srgbClr val="FFFFFF"/>
                  </a:solidFill>
                  <a:latin typeface="Verdana"/>
                  <a:cs typeface="Verdana"/>
                </a:rPr>
                <a:t> </a:t>
              </a:r>
              <a:r>
                <a:rPr sz="1400" b="1" i="1" spc="-5">
                  <a:solidFill>
                    <a:srgbClr val="FFFFFF"/>
                  </a:solidFill>
                  <a:latin typeface="Verdana"/>
                  <a:cs typeface="Verdana"/>
                </a:rPr>
                <a:t>mitigation</a:t>
              </a:r>
              <a:endParaRPr sz="1400">
                <a:latin typeface="Verdana"/>
                <a:cs typeface="Verdana"/>
              </a:endParaRPr>
            </a:p>
          </p:txBody>
        </p:sp>
        <p:sp>
          <p:nvSpPr>
            <p:cNvPr id="9" name="object 9"/>
            <p:cNvSpPr/>
            <p:nvPr/>
          </p:nvSpPr>
          <p:spPr>
            <a:xfrm>
              <a:off x="227075" y="3547871"/>
              <a:ext cx="883919" cy="1272540"/>
            </a:xfrm>
            <a:custGeom>
              <a:avLst/>
              <a:gdLst/>
              <a:ahLst/>
              <a:cxnLst/>
              <a:rect l="l" t="t" r="r" b="b"/>
              <a:pathLst>
                <a:path w="883919" h="1272539">
                  <a:moveTo>
                    <a:pt x="0" y="1272539"/>
                  </a:moveTo>
                  <a:lnTo>
                    <a:pt x="883919" y="1272539"/>
                  </a:lnTo>
                  <a:lnTo>
                    <a:pt x="883919" y="0"/>
                  </a:lnTo>
                  <a:lnTo>
                    <a:pt x="0" y="0"/>
                  </a:lnTo>
                  <a:lnTo>
                    <a:pt x="0" y="1272539"/>
                  </a:lnTo>
                  <a:close/>
                </a:path>
              </a:pathLst>
            </a:custGeom>
            <a:solidFill>
              <a:srgbClr val="D9D9D9"/>
            </a:solidFill>
          </p:spPr>
          <p:txBody>
            <a:bodyPr wrap="square" lIns="0" tIns="0" rIns="0" bIns="0" rtlCol="0"/>
            <a:lstStyle/>
            <a:p>
              <a:endParaRPr/>
            </a:p>
          </p:txBody>
        </p:sp>
        <p:sp>
          <p:nvSpPr>
            <p:cNvPr id="10" name="object 10"/>
            <p:cNvSpPr txBox="1"/>
            <p:nvPr/>
          </p:nvSpPr>
          <p:spPr>
            <a:xfrm>
              <a:off x="356717" y="3993642"/>
              <a:ext cx="622300" cy="162560"/>
            </a:xfrm>
            <a:prstGeom prst="rect">
              <a:avLst/>
            </a:prstGeom>
          </p:spPr>
          <p:txBody>
            <a:bodyPr vert="horz" wrap="square" lIns="0" tIns="12700" rIns="0" bIns="0" rtlCol="0">
              <a:spAutoFit/>
            </a:bodyPr>
            <a:lstStyle/>
            <a:p>
              <a:pPr marL="12700">
                <a:lnSpc>
                  <a:spcPct val="100000"/>
                </a:lnSpc>
                <a:spcBef>
                  <a:spcPts val="100"/>
                </a:spcBef>
              </a:pPr>
              <a:r>
                <a:rPr sz="900" b="1" spc="-5">
                  <a:latin typeface="Verdana"/>
                  <a:cs typeface="Verdana"/>
                </a:rPr>
                <a:t>Activities</a:t>
              </a:r>
              <a:endParaRPr sz="900">
                <a:latin typeface="Verdana"/>
                <a:cs typeface="Verdana"/>
              </a:endParaRPr>
            </a:p>
          </p:txBody>
        </p:sp>
        <p:sp>
          <p:nvSpPr>
            <p:cNvPr id="11" name="object 11"/>
            <p:cNvSpPr/>
            <p:nvPr/>
          </p:nvSpPr>
          <p:spPr>
            <a:xfrm>
              <a:off x="1194816" y="3560064"/>
              <a:ext cx="2121535" cy="1260475"/>
            </a:xfrm>
            <a:custGeom>
              <a:avLst/>
              <a:gdLst/>
              <a:ahLst/>
              <a:cxnLst/>
              <a:rect l="l" t="t" r="r" b="b"/>
              <a:pathLst>
                <a:path w="2121535" h="1260475">
                  <a:moveTo>
                    <a:pt x="0" y="1260348"/>
                  </a:moveTo>
                  <a:lnTo>
                    <a:pt x="2121408" y="1260348"/>
                  </a:lnTo>
                  <a:lnTo>
                    <a:pt x="2121408" y="0"/>
                  </a:lnTo>
                  <a:lnTo>
                    <a:pt x="0" y="0"/>
                  </a:lnTo>
                  <a:lnTo>
                    <a:pt x="0" y="1260348"/>
                  </a:lnTo>
                  <a:close/>
                </a:path>
              </a:pathLst>
            </a:custGeom>
            <a:solidFill>
              <a:srgbClr val="D9D9D9"/>
            </a:solidFill>
          </p:spPr>
          <p:txBody>
            <a:bodyPr wrap="square" lIns="0" tIns="0" rIns="0" bIns="0" rtlCol="0"/>
            <a:lstStyle/>
            <a:p>
              <a:endParaRPr/>
            </a:p>
          </p:txBody>
        </p:sp>
        <p:sp>
          <p:nvSpPr>
            <p:cNvPr id="12" name="object 12"/>
            <p:cNvSpPr/>
            <p:nvPr/>
          </p:nvSpPr>
          <p:spPr>
            <a:xfrm>
              <a:off x="3427476" y="3560064"/>
              <a:ext cx="4213860" cy="1260475"/>
            </a:xfrm>
            <a:custGeom>
              <a:avLst/>
              <a:gdLst/>
              <a:ahLst/>
              <a:cxnLst/>
              <a:rect l="l" t="t" r="r" b="b"/>
              <a:pathLst>
                <a:path w="4213859" h="1260475">
                  <a:moveTo>
                    <a:pt x="0" y="1260348"/>
                  </a:moveTo>
                  <a:lnTo>
                    <a:pt x="4213860" y="1260348"/>
                  </a:lnTo>
                  <a:lnTo>
                    <a:pt x="4213860" y="0"/>
                  </a:lnTo>
                  <a:lnTo>
                    <a:pt x="0" y="0"/>
                  </a:lnTo>
                  <a:lnTo>
                    <a:pt x="0" y="1260348"/>
                  </a:lnTo>
                  <a:close/>
                </a:path>
              </a:pathLst>
            </a:custGeom>
            <a:solidFill>
              <a:srgbClr val="D9D9D9"/>
            </a:solidFill>
          </p:spPr>
          <p:txBody>
            <a:bodyPr wrap="square" lIns="0" tIns="0" rIns="0" bIns="0" rtlCol="0"/>
            <a:lstStyle/>
            <a:p>
              <a:endParaRPr/>
            </a:p>
          </p:txBody>
        </p:sp>
        <p:sp>
          <p:nvSpPr>
            <p:cNvPr id="13" name="object 13"/>
            <p:cNvSpPr/>
            <p:nvPr/>
          </p:nvSpPr>
          <p:spPr>
            <a:xfrm>
              <a:off x="7735823" y="3560064"/>
              <a:ext cx="1525905" cy="1260475"/>
            </a:xfrm>
            <a:custGeom>
              <a:avLst/>
              <a:gdLst/>
              <a:ahLst/>
              <a:cxnLst/>
              <a:rect l="l" t="t" r="r" b="b"/>
              <a:pathLst>
                <a:path w="1525904" h="1260475">
                  <a:moveTo>
                    <a:pt x="0" y="1260348"/>
                  </a:moveTo>
                  <a:lnTo>
                    <a:pt x="1525524" y="1260348"/>
                  </a:lnTo>
                  <a:lnTo>
                    <a:pt x="1525524" y="0"/>
                  </a:lnTo>
                  <a:lnTo>
                    <a:pt x="0" y="0"/>
                  </a:lnTo>
                  <a:lnTo>
                    <a:pt x="0" y="1260348"/>
                  </a:lnTo>
                  <a:close/>
                </a:path>
              </a:pathLst>
            </a:custGeom>
            <a:solidFill>
              <a:srgbClr val="D9D9D9"/>
            </a:solidFill>
          </p:spPr>
          <p:txBody>
            <a:bodyPr wrap="square" lIns="0" tIns="0" rIns="0" bIns="0" rtlCol="0"/>
            <a:lstStyle/>
            <a:p>
              <a:endParaRPr/>
            </a:p>
          </p:txBody>
        </p:sp>
        <p:sp>
          <p:nvSpPr>
            <p:cNvPr id="14" name="object 14"/>
            <p:cNvSpPr/>
            <p:nvPr/>
          </p:nvSpPr>
          <p:spPr>
            <a:xfrm>
              <a:off x="227075" y="1927860"/>
              <a:ext cx="883919" cy="341630"/>
            </a:xfrm>
            <a:custGeom>
              <a:avLst/>
              <a:gdLst/>
              <a:ahLst/>
              <a:cxnLst/>
              <a:rect l="l" t="t" r="r" b="b"/>
              <a:pathLst>
                <a:path w="883919" h="341630">
                  <a:moveTo>
                    <a:pt x="0" y="341375"/>
                  </a:moveTo>
                  <a:lnTo>
                    <a:pt x="883919" y="341375"/>
                  </a:lnTo>
                  <a:lnTo>
                    <a:pt x="883919" y="0"/>
                  </a:lnTo>
                  <a:lnTo>
                    <a:pt x="0" y="0"/>
                  </a:lnTo>
                  <a:lnTo>
                    <a:pt x="0" y="341375"/>
                  </a:lnTo>
                  <a:close/>
                </a:path>
              </a:pathLst>
            </a:custGeom>
            <a:solidFill>
              <a:srgbClr val="006FAC"/>
            </a:solidFill>
          </p:spPr>
          <p:txBody>
            <a:bodyPr wrap="square" lIns="0" tIns="0" rIns="0" bIns="0" rtlCol="0"/>
            <a:lstStyle/>
            <a:p>
              <a:endParaRPr/>
            </a:p>
          </p:txBody>
        </p:sp>
        <p:sp>
          <p:nvSpPr>
            <p:cNvPr id="15" name="object 15"/>
            <p:cNvSpPr/>
            <p:nvPr/>
          </p:nvSpPr>
          <p:spPr>
            <a:xfrm>
              <a:off x="1200911" y="1927860"/>
              <a:ext cx="2115820" cy="341630"/>
            </a:xfrm>
            <a:custGeom>
              <a:avLst/>
              <a:gdLst/>
              <a:ahLst/>
              <a:cxnLst/>
              <a:rect l="l" t="t" r="r" b="b"/>
              <a:pathLst>
                <a:path w="2115820" h="341630">
                  <a:moveTo>
                    <a:pt x="0" y="341375"/>
                  </a:moveTo>
                  <a:lnTo>
                    <a:pt x="2115312" y="341375"/>
                  </a:lnTo>
                  <a:lnTo>
                    <a:pt x="2115312" y="0"/>
                  </a:lnTo>
                  <a:lnTo>
                    <a:pt x="0" y="0"/>
                  </a:lnTo>
                  <a:lnTo>
                    <a:pt x="0" y="341375"/>
                  </a:lnTo>
                  <a:close/>
                </a:path>
              </a:pathLst>
            </a:custGeom>
            <a:solidFill>
              <a:srgbClr val="006FAC"/>
            </a:solidFill>
          </p:spPr>
          <p:txBody>
            <a:bodyPr wrap="square" lIns="0" tIns="0" rIns="0" bIns="0" rtlCol="0"/>
            <a:lstStyle/>
            <a:p>
              <a:endParaRPr/>
            </a:p>
          </p:txBody>
        </p:sp>
        <p:sp>
          <p:nvSpPr>
            <p:cNvPr id="16" name="object 16"/>
            <p:cNvSpPr/>
            <p:nvPr/>
          </p:nvSpPr>
          <p:spPr>
            <a:xfrm>
              <a:off x="7735823" y="1927860"/>
              <a:ext cx="1525905" cy="341630"/>
            </a:xfrm>
            <a:custGeom>
              <a:avLst/>
              <a:gdLst/>
              <a:ahLst/>
              <a:cxnLst/>
              <a:rect l="l" t="t" r="r" b="b"/>
              <a:pathLst>
                <a:path w="1525904" h="341630">
                  <a:moveTo>
                    <a:pt x="0" y="341375"/>
                  </a:moveTo>
                  <a:lnTo>
                    <a:pt x="1525524" y="341375"/>
                  </a:lnTo>
                  <a:lnTo>
                    <a:pt x="1525524" y="0"/>
                  </a:lnTo>
                  <a:lnTo>
                    <a:pt x="0" y="0"/>
                  </a:lnTo>
                  <a:lnTo>
                    <a:pt x="0" y="341375"/>
                  </a:lnTo>
                  <a:close/>
                </a:path>
              </a:pathLst>
            </a:custGeom>
            <a:solidFill>
              <a:srgbClr val="006FAC"/>
            </a:solidFill>
          </p:spPr>
          <p:txBody>
            <a:bodyPr wrap="square" lIns="0" tIns="0" rIns="0" bIns="0" rtlCol="0"/>
            <a:lstStyle/>
            <a:p>
              <a:endParaRPr/>
            </a:p>
          </p:txBody>
        </p:sp>
        <p:sp>
          <p:nvSpPr>
            <p:cNvPr id="17" name="object 17"/>
            <p:cNvSpPr/>
            <p:nvPr/>
          </p:nvSpPr>
          <p:spPr>
            <a:xfrm>
              <a:off x="1200911" y="2290572"/>
              <a:ext cx="2115820" cy="382905"/>
            </a:xfrm>
            <a:custGeom>
              <a:avLst/>
              <a:gdLst/>
              <a:ahLst/>
              <a:cxnLst/>
              <a:rect l="l" t="t" r="r" b="b"/>
              <a:pathLst>
                <a:path w="2115820" h="382905">
                  <a:moveTo>
                    <a:pt x="0" y="382524"/>
                  </a:moveTo>
                  <a:lnTo>
                    <a:pt x="2115312" y="382524"/>
                  </a:lnTo>
                  <a:lnTo>
                    <a:pt x="2115312" y="0"/>
                  </a:lnTo>
                  <a:lnTo>
                    <a:pt x="0" y="0"/>
                  </a:lnTo>
                  <a:lnTo>
                    <a:pt x="0" y="382524"/>
                  </a:lnTo>
                  <a:close/>
                </a:path>
              </a:pathLst>
            </a:custGeom>
            <a:solidFill>
              <a:srgbClr val="12ABDB"/>
            </a:solidFill>
          </p:spPr>
          <p:txBody>
            <a:bodyPr wrap="square" lIns="0" tIns="0" rIns="0" bIns="0" rtlCol="0"/>
            <a:lstStyle/>
            <a:p>
              <a:endParaRPr/>
            </a:p>
          </p:txBody>
        </p:sp>
        <p:sp>
          <p:nvSpPr>
            <p:cNvPr id="18" name="object 18"/>
            <p:cNvSpPr txBox="1"/>
            <p:nvPr/>
          </p:nvSpPr>
          <p:spPr>
            <a:xfrm>
              <a:off x="378053" y="2384551"/>
              <a:ext cx="5901690" cy="193675"/>
            </a:xfrm>
            <a:prstGeom prst="rect">
              <a:avLst/>
            </a:prstGeom>
          </p:spPr>
          <p:txBody>
            <a:bodyPr vert="horz" wrap="square" lIns="0" tIns="13335" rIns="0" bIns="0" rtlCol="0">
              <a:spAutoFit/>
            </a:bodyPr>
            <a:lstStyle/>
            <a:p>
              <a:pPr marL="12700">
                <a:lnSpc>
                  <a:spcPct val="100000"/>
                </a:lnSpc>
                <a:spcBef>
                  <a:spcPts val="105"/>
                </a:spcBef>
                <a:tabLst>
                  <a:tab pos="1028700" algn="l"/>
                  <a:tab pos="4406900" algn="l"/>
                </a:tabLst>
              </a:pPr>
              <a:r>
                <a:rPr sz="1100" b="1" spc="-5">
                  <a:solidFill>
                    <a:srgbClr val="FFFFFF"/>
                  </a:solidFill>
                  <a:latin typeface="Verdana"/>
                  <a:cs typeface="Verdana"/>
                </a:rPr>
                <a:t>Phases	Pre-Game</a:t>
              </a:r>
              <a:r>
                <a:rPr sz="1100" b="1" spc="-15">
                  <a:solidFill>
                    <a:srgbClr val="FFFFFF"/>
                  </a:solidFill>
                  <a:latin typeface="Verdana"/>
                  <a:cs typeface="Verdana"/>
                </a:rPr>
                <a:t> </a:t>
              </a:r>
              <a:r>
                <a:rPr sz="1100" b="1" spc="-5">
                  <a:solidFill>
                    <a:srgbClr val="FFFFFF"/>
                  </a:solidFill>
                  <a:latin typeface="Verdana"/>
                  <a:cs typeface="Verdana"/>
                </a:rPr>
                <a:t>and</a:t>
              </a:r>
              <a:r>
                <a:rPr sz="1100" b="1" spc="15">
                  <a:solidFill>
                    <a:srgbClr val="FFFFFF"/>
                  </a:solidFill>
                  <a:latin typeface="Verdana"/>
                  <a:cs typeface="Verdana"/>
                </a:rPr>
                <a:t> </a:t>
              </a:r>
              <a:r>
                <a:rPr sz="1100" b="1" spc="-5">
                  <a:solidFill>
                    <a:srgbClr val="FFFFFF"/>
                  </a:solidFill>
                  <a:latin typeface="Verdana"/>
                  <a:cs typeface="Verdana"/>
                </a:rPr>
                <a:t>Design	</a:t>
              </a:r>
              <a:r>
                <a:rPr sz="1100" b="1">
                  <a:solidFill>
                    <a:srgbClr val="FFFFFF"/>
                  </a:solidFill>
                  <a:latin typeface="Verdana"/>
                  <a:cs typeface="Verdana"/>
                </a:rPr>
                <a:t>Construct </a:t>
              </a:r>
              <a:r>
                <a:rPr sz="1100" b="1" spc="-5">
                  <a:solidFill>
                    <a:srgbClr val="FFFFFF"/>
                  </a:solidFill>
                  <a:latin typeface="Verdana"/>
                  <a:cs typeface="Verdana"/>
                </a:rPr>
                <a:t>and</a:t>
              </a:r>
              <a:r>
                <a:rPr sz="1100" b="1" spc="-90">
                  <a:solidFill>
                    <a:srgbClr val="FFFFFF"/>
                  </a:solidFill>
                  <a:latin typeface="Verdana"/>
                  <a:cs typeface="Verdana"/>
                </a:rPr>
                <a:t> </a:t>
              </a:r>
              <a:r>
                <a:rPr sz="1100" b="1">
                  <a:solidFill>
                    <a:srgbClr val="FFFFFF"/>
                  </a:solidFill>
                  <a:latin typeface="Verdana"/>
                  <a:cs typeface="Verdana"/>
                </a:rPr>
                <a:t>Test</a:t>
              </a:r>
              <a:endParaRPr sz="1100">
                <a:latin typeface="Verdana"/>
                <a:cs typeface="Verdana"/>
              </a:endParaRPr>
            </a:p>
          </p:txBody>
        </p:sp>
        <p:sp>
          <p:nvSpPr>
            <p:cNvPr id="19" name="object 19"/>
            <p:cNvSpPr/>
            <p:nvPr/>
          </p:nvSpPr>
          <p:spPr>
            <a:xfrm>
              <a:off x="227075" y="2699004"/>
              <a:ext cx="883919" cy="384175"/>
            </a:xfrm>
            <a:custGeom>
              <a:avLst/>
              <a:gdLst/>
              <a:ahLst/>
              <a:cxnLst/>
              <a:rect l="l" t="t" r="r" b="b"/>
              <a:pathLst>
                <a:path w="883919" h="384175">
                  <a:moveTo>
                    <a:pt x="0" y="384048"/>
                  </a:moveTo>
                  <a:lnTo>
                    <a:pt x="883919" y="384048"/>
                  </a:lnTo>
                  <a:lnTo>
                    <a:pt x="883919" y="0"/>
                  </a:lnTo>
                  <a:lnTo>
                    <a:pt x="0" y="0"/>
                  </a:lnTo>
                  <a:lnTo>
                    <a:pt x="0" y="384048"/>
                  </a:lnTo>
                  <a:close/>
                </a:path>
              </a:pathLst>
            </a:custGeom>
            <a:solidFill>
              <a:srgbClr val="7E7E7E"/>
            </a:solidFill>
          </p:spPr>
          <p:txBody>
            <a:bodyPr wrap="square" lIns="0" tIns="0" rIns="0" bIns="0" rtlCol="0"/>
            <a:lstStyle/>
            <a:p>
              <a:endParaRPr/>
            </a:p>
          </p:txBody>
        </p:sp>
        <p:sp>
          <p:nvSpPr>
            <p:cNvPr id="20" name="object 20"/>
            <p:cNvSpPr txBox="1"/>
            <p:nvPr/>
          </p:nvSpPr>
          <p:spPr>
            <a:xfrm>
              <a:off x="304596" y="2803017"/>
              <a:ext cx="53149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Sprints</a:t>
              </a:r>
              <a:endParaRPr sz="1000">
                <a:latin typeface="Verdana"/>
                <a:cs typeface="Verdana"/>
              </a:endParaRPr>
            </a:p>
          </p:txBody>
        </p:sp>
        <p:sp>
          <p:nvSpPr>
            <p:cNvPr id="21" name="object 21"/>
            <p:cNvSpPr txBox="1"/>
            <p:nvPr/>
          </p:nvSpPr>
          <p:spPr>
            <a:xfrm>
              <a:off x="1200911" y="2699004"/>
              <a:ext cx="706120" cy="384175"/>
            </a:xfrm>
            <a:prstGeom prst="rect">
              <a:avLst/>
            </a:prstGeom>
            <a:solidFill>
              <a:srgbClr val="7E7E7E"/>
            </a:solidFill>
          </p:spPr>
          <p:txBody>
            <a:bodyPr vert="horz" wrap="square" lIns="0" tIns="40005" rIns="0" bIns="0" rtlCol="0">
              <a:spAutoFit/>
            </a:bodyPr>
            <a:lstStyle/>
            <a:p>
              <a:pPr marL="311785" marR="153035" indent="-154305">
                <a:lnSpc>
                  <a:spcPct val="100000"/>
                </a:lnSpc>
                <a:spcBef>
                  <a:spcPts val="315"/>
                </a:spcBef>
              </a:pPr>
              <a:r>
                <a:rPr sz="1000" spc="-5">
                  <a:solidFill>
                    <a:srgbClr val="FFFFFF"/>
                  </a:solidFill>
                  <a:latin typeface="Verdana"/>
                  <a:cs typeface="Verdana"/>
                </a:rPr>
                <a:t>S</a:t>
              </a:r>
              <a:r>
                <a:rPr sz="1000">
                  <a:solidFill>
                    <a:srgbClr val="FFFFFF"/>
                  </a:solidFill>
                  <a:latin typeface="Verdana"/>
                  <a:cs typeface="Verdana"/>
                </a:rPr>
                <a:t>p</a:t>
              </a:r>
              <a:r>
                <a:rPr sz="1000" spc="-10">
                  <a:solidFill>
                    <a:srgbClr val="FFFFFF"/>
                  </a:solidFill>
                  <a:latin typeface="Verdana"/>
                  <a:cs typeface="Verdana"/>
                </a:rPr>
                <a:t>r</a:t>
              </a:r>
              <a:r>
                <a:rPr sz="1000" spc="5">
                  <a:solidFill>
                    <a:srgbClr val="FFFFFF"/>
                  </a:solidFill>
                  <a:latin typeface="Verdana"/>
                  <a:cs typeface="Verdana"/>
                </a:rPr>
                <a:t>i</a:t>
              </a:r>
              <a:r>
                <a:rPr sz="1000">
                  <a:solidFill>
                    <a:srgbClr val="FFFFFF"/>
                  </a:solidFill>
                  <a:latin typeface="Verdana"/>
                  <a:cs typeface="Verdana"/>
                </a:rPr>
                <a:t>n</a:t>
              </a:r>
              <a:r>
                <a:rPr sz="1000" spc="-5">
                  <a:solidFill>
                    <a:srgbClr val="FFFFFF"/>
                  </a:solidFill>
                  <a:latin typeface="Verdana"/>
                  <a:cs typeface="Verdana"/>
                </a:rPr>
                <a:t>t  0</a:t>
              </a:r>
              <a:endParaRPr sz="1000">
                <a:latin typeface="Verdana"/>
                <a:cs typeface="Verdana"/>
              </a:endParaRPr>
            </a:p>
          </p:txBody>
        </p:sp>
        <p:sp>
          <p:nvSpPr>
            <p:cNvPr id="22" name="object 22"/>
            <p:cNvSpPr txBox="1"/>
            <p:nvPr/>
          </p:nvSpPr>
          <p:spPr>
            <a:xfrm>
              <a:off x="2639567" y="2699004"/>
              <a:ext cx="676910" cy="384175"/>
            </a:xfrm>
            <a:prstGeom prst="rect">
              <a:avLst/>
            </a:prstGeom>
            <a:solidFill>
              <a:srgbClr val="7E7E7E"/>
            </a:solidFill>
          </p:spPr>
          <p:txBody>
            <a:bodyPr vert="horz" wrap="square" lIns="0" tIns="40005" rIns="0" bIns="0" rtlCol="0">
              <a:spAutoFit/>
            </a:bodyPr>
            <a:lstStyle/>
            <a:p>
              <a:pPr marL="227329" marR="137160" indent="-82550">
                <a:lnSpc>
                  <a:spcPct val="100000"/>
                </a:lnSpc>
                <a:spcBef>
                  <a:spcPts val="315"/>
                </a:spcBef>
              </a:pPr>
              <a:r>
                <a:rPr sz="1000" spc="-5">
                  <a:solidFill>
                    <a:srgbClr val="FFFFFF"/>
                  </a:solidFill>
                  <a:latin typeface="Verdana"/>
                  <a:cs typeface="Verdana"/>
                </a:rPr>
                <a:t>S</a:t>
              </a:r>
              <a:r>
                <a:rPr sz="1000">
                  <a:solidFill>
                    <a:srgbClr val="FFFFFF"/>
                  </a:solidFill>
                  <a:latin typeface="Verdana"/>
                  <a:cs typeface="Verdana"/>
                </a:rPr>
                <a:t>p</a:t>
              </a:r>
              <a:r>
                <a:rPr sz="1000" spc="-10">
                  <a:solidFill>
                    <a:srgbClr val="FFFFFF"/>
                  </a:solidFill>
                  <a:latin typeface="Verdana"/>
                  <a:cs typeface="Verdana"/>
                </a:rPr>
                <a:t>r</a:t>
              </a:r>
              <a:r>
                <a:rPr sz="1000" spc="5">
                  <a:solidFill>
                    <a:srgbClr val="FFFFFF"/>
                  </a:solidFill>
                  <a:latin typeface="Verdana"/>
                  <a:cs typeface="Verdana"/>
                </a:rPr>
                <a:t>i</a:t>
              </a:r>
              <a:r>
                <a:rPr sz="1000">
                  <a:solidFill>
                    <a:srgbClr val="FFFFFF"/>
                  </a:solidFill>
                  <a:latin typeface="Verdana"/>
                  <a:cs typeface="Verdana"/>
                </a:rPr>
                <a:t>n</a:t>
              </a:r>
              <a:r>
                <a:rPr sz="1000" spc="-5">
                  <a:solidFill>
                    <a:srgbClr val="FFFFFF"/>
                  </a:solidFill>
                  <a:latin typeface="Verdana"/>
                  <a:cs typeface="Verdana"/>
                </a:rPr>
                <a:t>t  0.N</a:t>
              </a:r>
              <a:endParaRPr sz="1000">
                <a:latin typeface="Verdana"/>
                <a:cs typeface="Verdana"/>
              </a:endParaRPr>
            </a:p>
          </p:txBody>
        </p:sp>
        <p:sp>
          <p:nvSpPr>
            <p:cNvPr id="23" name="object 23"/>
            <p:cNvSpPr txBox="1"/>
            <p:nvPr/>
          </p:nvSpPr>
          <p:spPr>
            <a:xfrm>
              <a:off x="3396996" y="2699004"/>
              <a:ext cx="676910" cy="384175"/>
            </a:xfrm>
            <a:prstGeom prst="rect">
              <a:avLst/>
            </a:prstGeom>
            <a:solidFill>
              <a:srgbClr val="7E7E7E"/>
            </a:solidFill>
          </p:spPr>
          <p:txBody>
            <a:bodyPr vert="horz" wrap="square" lIns="0" tIns="40005" rIns="0" bIns="0" rtlCol="0">
              <a:spAutoFit/>
            </a:bodyPr>
            <a:lstStyle/>
            <a:p>
              <a:pPr marL="297815" marR="136525" indent="-152400">
                <a:lnSpc>
                  <a:spcPct val="100000"/>
                </a:lnSpc>
                <a:spcBef>
                  <a:spcPts val="315"/>
                </a:spcBef>
              </a:pPr>
              <a:r>
                <a:rPr sz="1000" spc="-5">
                  <a:solidFill>
                    <a:srgbClr val="FFFFFF"/>
                  </a:solidFill>
                  <a:latin typeface="Verdana"/>
                  <a:cs typeface="Verdana"/>
                </a:rPr>
                <a:t>S</a:t>
              </a:r>
              <a:r>
                <a:rPr sz="1000">
                  <a:solidFill>
                    <a:srgbClr val="FFFFFF"/>
                  </a:solidFill>
                  <a:latin typeface="Verdana"/>
                  <a:cs typeface="Verdana"/>
                </a:rPr>
                <a:t>p</a:t>
              </a:r>
              <a:r>
                <a:rPr sz="1000" spc="-10">
                  <a:solidFill>
                    <a:srgbClr val="FFFFFF"/>
                  </a:solidFill>
                  <a:latin typeface="Verdana"/>
                  <a:cs typeface="Verdana"/>
                </a:rPr>
                <a:t>r</a:t>
              </a:r>
              <a:r>
                <a:rPr sz="1000" spc="5">
                  <a:solidFill>
                    <a:srgbClr val="FFFFFF"/>
                  </a:solidFill>
                  <a:latin typeface="Verdana"/>
                  <a:cs typeface="Verdana"/>
                </a:rPr>
                <a:t>i</a:t>
              </a:r>
              <a:r>
                <a:rPr sz="1000">
                  <a:solidFill>
                    <a:srgbClr val="FFFFFF"/>
                  </a:solidFill>
                  <a:latin typeface="Verdana"/>
                  <a:cs typeface="Verdana"/>
                </a:rPr>
                <a:t>n</a:t>
              </a:r>
              <a:r>
                <a:rPr sz="1000" spc="-5">
                  <a:solidFill>
                    <a:srgbClr val="FFFFFF"/>
                  </a:solidFill>
                  <a:latin typeface="Verdana"/>
                  <a:cs typeface="Verdana"/>
                </a:rPr>
                <a:t>t  1</a:t>
              </a:r>
              <a:endParaRPr sz="1000">
                <a:latin typeface="Verdana"/>
                <a:cs typeface="Verdana"/>
              </a:endParaRPr>
            </a:p>
          </p:txBody>
        </p:sp>
        <p:sp>
          <p:nvSpPr>
            <p:cNvPr id="24" name="object 24"/>
            <p:cNvSpPr txBox="1"/>
            <p:nvPr/>
          </p:nvSpPr>
          <p:spPr>
            <a:xfrm>
              <a:off x="4227576" y="2699004"/>
              <a:ext cx="676910" cy="384175"/>
            </a:xfrm>
            <a:prstGeom prst="rect">
              <a:avLst/>
            </a:prstGeom>
            <a:solidFill>
              <a:srgbClr val="7E7E7E"/>
            </a:solidFill>
          </p:spPr>
          <p:txBody>
            <a:bodyPr vert="horz" wrap="square" lIns="0" tIns="40005" rIns="0" bIns="0" rtlCol="0">
              <a:spAutoFit/>
            </a:bodyPr>
            <a:lstStyle/>
            <a:p>
              <a:pPr marL="297180" marR="137160" indent="-152400">
                <a:lnSpc>
                  <a:spcPct val="100000"/>
                </a:lnSpc>
                <a:spcBef>
                  <a:spcPts val="315"/>
                </a:spcBef>
              </a:pPr>
              <a:r>
                <a:rPr sz="1000" spc="-5">
                  <a:solidFill>
                    <a:srgbClr val="FFFFFF"/>
                  </a:solidFill>
                  <a:latin typeface="Verdana"/>
                  <a:cs typeface="Verdana"/>
                </a:rPr>
                <a:t>S</a:t>
              </a:r>
              <a:r>
                <a:rPr sz="1000">
                  <a:solidFill>
                    <a:srgbClr val="FFFFFF"/>
                  </a:solidFill>
                  <a:latin typeface="Verdana"/>
                  <a:cs typeface="Verdana"/>
                </a:rPr>
                <a:t>p</a:t>
              </a:r>
              <a:r>
                <a:rPr sz="1000" spc="-10">
                  <a:solidFill>
                    <a:srgbClr val="FFFFFF"/>
                  </a:solidFill>
                  <a:latin typeface="Verdana"/>
                  <a:cs typeface="Verdana"/>
                </a:rPr>
                <a:t>r</a:t>
              </a:r>
              <a:r>
                <a:rPr sz="1000" spc="5">
                  <a:solidFill>
                    <a:srgbClr val="FFFFFF"/>
                  </a:solidFill>
                  <a:latin typeface="Verdana"/>
                  <a:cs typeface="Verdana"/>
                </a:rPr>
                <a:t>i</a:t>
              </a:r>
              <a:r>
                <a:rPr sz="1000">
                  <a:solidFill>
                    <a:srgbClr val="FFFFFF"/>
                  </a:solidFill>
                  <a:latin typeface="Verdana"/>
                  <a:cs typeface="Verdana"/>
                </a:rPr>
                <a:t>n</a:t>
              </a:r>
              <a:r>
                <a:rPr sz="1000" spc="-5">
                  <a:solidFill>
                    <a:srgbClr val="FFFFFF"/>
                  </a:solidFill>
                  <a:latin typeface="Verdana"/>
                  <a:cs typeface="Verdana"/>
                </a:rPr>
                <a:t>t  2</a:t>
              </a:r>
              <a:endParaRPr sz="1000">
                <a:latin typeface="Verdana"/>
                <a:cs typeface="Verdana"/>
              </a:endParaRPr>
            </a:p>
          </p:txBody>
        </p:sp>
        <p:sp>
          <p:nvSpPr>
            <p:cNvPr id="25" name="object 25"/>
            <p:cNvSpPr txBox="1"/>
            <p:nvPr/>
          </p:nvSpPr>
          <p:spPr>
            <a:xfrm>
              <a:off x="5887211" y="2699004"/>
              <a:ext cx="678180" cy="384175"/>
            </a:xfrm>
            <a:prstGeom prst="rect">
              <a:avLst/>
            </a:prstGeom>
            <a:solidFill>
              <a:srgbClr val="7E7E7E"/>
            </a:solidFill>
          </p:spPr>
          <p:txBody>
            <a:bodyPr vert="horz" wrap="square" lIns="0" tIns="40005" rIns="0" bIns="0" rtlCol="0">
              <a:spAutoFit/>
            </a:bodyPr>
            <a:lstStyle/>
            <a:p>
              <a:pPr marL="292100" marR="137795" indent="-146685">
                <a:lnSpc>
                  <a:spcPct val="100000"/>
                </a:lnSpc>
                <a:spcBef>
                  <a:spcPts val="315"/>
                </a:spcBef>
              </a:pPr>
              <a:r>
                <a:rPr sz="1000" spc="-5">
                  <a:solidFill>
                    <a:srgbClr val="FFFFFF"/>
                  </a:solidFill>
                  <a:latin typeface="Verdana"/>
                  <a:cs typeface="Verdana"/>
                </a:rPr>
                <a:t>S</a:t>
              </a:r>
              <a:r>
                <a:rPr sz="1000">
                  <a:solidFill>
                    <a:srgbClr val="FFFFFF"/>
                  </a:solidFill>
                  <a:latin typeface="Verdana"/>
                  <a:cs typeface="Verdana"/>
                </a:rPr>
                <a:t>p</a:t>
              </a:r>
              <a:r>
                <a:rPr sz="1000" spc="-10">
                  <a:solidFill>
                    <a:srgbClr val="FFFFFF"/>
                  </a:solidFill>
                  <a:latin typeface="Verdana"/>
                  <a:cs typeface="Verdana"/>
                </a:rPr>
                <a:t>r</a:t>
              </a:r>
              <a:r>
                <a:rPr sz="1000" spc="5">
                  <a:solidFill>
                    <a:srgbClr val="FFFFFF"/>
                  </a:solidFill>
                  <a:latin typeface="Verdana"/>
                  <a:cs typeface="Verdana"/>
                </a:rPr>
                <a:t>i</a:t>
              </a:r>
              <a:r>
                <a:rPr sz="1000">
                  <a:solidFill>
                    <a:srgbClr val="FFFFFF"/>
                  </a:solidFill>
                  <a:latin typeface="Verdana"/>
                  <a:cs typeface="Verdana"/>
                </a:rPr>
                <a:t>n</a:t>
              </a:r>
              <a:r>
                <a:rPr sz="1000" spc="-5">
                  <a:solidFill>
                    <a:srgbClr val="FFFFFF"/>
                  </a:solidFill>
                  <a:latin typeface="Verdana"/>
                  <a:cs typeface="Verdana"/>
                </a:rPr>
                <a:t>t  N</a:t>
              </a:r>
              <a:endParaRPr sz="1000">
                <a:latin typeface="Verdana"/>
                <a:cs typeface="Verdana"/>
              </a:endParaRPr>
            </a:p>
          </p:txBody>
        </p:sp>
        <p:sp>
          <p:nvSpPr>
            <p:cNvPr id="26" name="object 26"/>
            <p:cNvSpPr/>
            <p:nvPr/>
          </p:nvSpPr>
          <p:spPr>
            <a:xfrm>
              <a:off x="6757416" y="2699004"/>
              <a:ext cx="897890" cy="384175"/>
            </a:xfrm>
            <a:custGeom>
              <a:avLst/>
              <a:gdLst/>
              <a:ahLst/>
              <a:cxnLst/>
              <a:rect l="l" t="t" r="r" b="b"/>
              <a:pathLst>
                <a:path w="897890" h="384175">
                  <a:moveTo>
                    <a:pt x="0" y="384048"/>
                  </a:moveTo>
                  <a:lnTo>
                    <a:pt x="897635" y="384048"/>
                  </a:lnTo>
                  <a:lnTo>
                    <a:pt x="897635" y="0"/>
                  </a:lnTo>
                  <a:lnTo>
                    <a:pt x="0" y="0"/>
                  </a:lnTo>
                  <a:lnTo>
                    <a:pt x="0" y="384048"/>
                  </a:lnTo>
                  <a:close/>
                </a:path>
              </a:pathLst>
            </a:custGeom>
            <a:solidFill>
              <a:srgbClr val="7E7E7E"/>
            </a:solidFill>
          </p:spPr>
          <p:txBody>
            <a:bodyPr wrap="square" lIns="0" tIns="0" rIns="0" bIns="0" rtlCol="0"/>
            <a:lstStyle/>
            <a:p>
              <a:endParaRPr/>
            </a:p>
          </p:txBody>
        </p:sp>
        <p:sp>
          <p:nvSpPr>
            <p:cNvPr id="27" name="object 27"/>
            <p:cNvSpPr txBox="1"/>
            <p:nvPr/>
          </p:nvSpPr>
          <p:spPr>
            <a:xfrm>
              <a:off x="6866001" y="2726817"/>
              <a:ext cx="680085" cy="330200"/>
            </a:xfrm>
            <a:prstGeom prst="rect">
              <a:avLst/>
            </a:prstGeom>
          </p:spPr>
          <p:txBody>
            <a:bodyPr vert="horz" wrap="square" lIns="0" tIns="12065" rIns="0" bIns="0" rtlCol="0">
              <a:spAutoFit/>
            </a:bodyPr>
            <a:lstStyle/>
            <a:p>
              <a:pPr marL="146685" marR="5080" indent="-134620">
                <a:lnSpc>
                  <a:spcPct val="100000"/>
                </a:lnSpc>
                <a:spcBef>
                  <a:spcPts val="95"/>
                </a:spcBef>
              </a:pPr>
              <a:r>
                <a:rPr sz="1000" spc="-10">
                  <a:solidFill>
                    <a:srgbClr val="FFFFFF"/>
                  </a:solidFill>
                  <a:latin typeface="Verdana"/>
                  <a:cs typeface="Verdana"/>
                </a:rPr>
                <a:t>H</a:t>
              </a:r>
              <a:r>
                <a:rPr sz="1000" spc="-5">
                  <a:solidFill>
                    <a:srgbClr val="FFFFFF"/>
                  </a:solidFill>
                  <a:latin typeface="Verdana"/>
                  <a:cs typeface="Verdana"/>
                </a:rPr>
                <a:t>a</a:t>
              </a:r>
              <a:r>
                <a:rPr sz="1000" spc="-10">
                  <a:solidFill>
                    <a:srgbClr val="FFFFFF"/>
                  </a:solidFill>
                  <a:latin typeface="Verdana"/>
                  <a:cs typeface="Verdana"/>
                </a:rPr>
                <a:t>r</a:t>
              </a:r>
              <a:r>
                <a:rPr sz="1000" spc="-5">
                  <a:solidFill>
                    <a:srgbClr val="FFFFFF"/>
                  </a:solidFill>
                  <a:latin typeface="Verdana"/>
                  <a:cs typeface="Verdana"/>
                </a:rPr>
                <a:t>d</a:t>
              </a:r>
              <a:r>
                <a:rPr sz="1000" spc="-15">
                  <a:solidFill>
                    <a:srgbClr val="FFFFFF"/>
                  </a:solidFill>
                  <a:latin typeface="Verdana"/>
                  <a:cs typeface="Verdana"/>
                </a:rPr>
                <a:t>e</a:t>
              </a:r>
              <a:r>
                <a:rPr sz="1000">
                  <a:solidFill>
                    <a:srgbClr val="FFFFFF"/>
                  </a:solidFill>
                  <a:latin typeface="Verdana"/>
                  <a:cs typeface="Verdana"/>
                </a:rPr>
                <a:t>n</a:t>
              </a:r>
              <a:r>
                <a:rPr sz="1000" spc="5">
                  <a:solidFill>
                    <a:srgbClr val="FFFFFF"/>
                  </a:solidFill>
                  <a:latin typeface="Verdana"/>
                  <a:cs typeface="Verdana"/>
                </a:rPr>
                <a:t>i</a:t>
              </a:r>
              <a:r>
                <a:rPr sz="1000">
                  <a:solidFill>
                    <a:srgbClr val="FFFFFF"/>
                  </a:solidFill>
                  <a:latin typeface="Verdana"/>
                  <a:cs typeface="Verdana"/>
                </a:rPr>
                <a:t>n</a:t>
              </a:r>
              <a:r>
                <a:rPr sz="1000" spc="-5">
                  <a:solidFill>
                    <a:srgbClr val="FFFFFF"/>
                  </a:solidFill>
                  <a:latin typeface="Verdana"/>
                  <a:cs typeface="Verdana"/>
                </a:rPr>
                <a:t>g  </a:t>
              </a:r>
              <a:r>
                <a:rPr sz="1000">
                  <a:solidFill>
                    <a:srgbClr val="FFFFFF"/>
                  </a:solidFill>
                  <a:latin typeface="Verdana"/>
                  <a:cs typeface="Verdana"/>
                </a:rPr>
                <a:t>Sprint</a:t>
              </a:r>
              <a:endParaRPr sz="1000">
                <a:latin typeface="Verdana"/>
                <a:cs typeface="Verdana"/>
              </a:endParaRPr>
            </a:p>
          </p:txBody>
        </p:sp>
        <p:sp>
          <p:nvSpPr>
            <p:cNvPr id="28" name="object 28"/>
            <p:cNvSpPr/>
            <p:nvPr/>
          </p:nvSpPr>
          <p:spPr>
            <a:xfrm>
              <a:off x="227075" y="3108960"/>
              <a:ext cx="883919" cy="417830"/>
            </a:xfrm>
            <a:custGeom>
              <a:avLst/>
              <a:gdLst/>
              <a:ahLst/>
              <a:cxnLst/>
              <a:rect l="l" t="t" r="r" b="b"/>
              <a:pathLst>
                <a:path w="883919" h="417829">
                  <a:moveTo>
                    <a:pt x="0" y="417575"/>
                  </a:moveTo>
                  <a:lnTo>
                    <a:pt x="883919" y="417575"/>
                  </a:lnTo>
                  <a:lnTo>
                    <a:pt x="883919" y="0"/>
                  </a:lnTo>
                  <a:lnTo>
                    <a:pt x="0" y="0"/>
                  </a:lnTo>
                  <a:lnTo>
                    <a:pt x="0" y="417575"/>
                  </a:lnTo>
                  <a:close/>
                </a:path>
              </a:pathLst>
            </a:custGeom>
            <a:solidFill>
              <a:srgbClr val="CDEFFA"/>
            </a:solidFill>
          </p:spPr>
          <p:txBody>
            <a:bodyPr wrap="square" lIns="0" tIns="0" rIns="0" bIns="0" rtlCol="0"/>
            <a:lstStyle/>
            <a:p>
              <a:endParaRPr/>
            </a:p>
          </p:txBody>
        </p:sp>
        <p:sp>
          <p:nvSpPr>
            <p:cNvPr id="29" name="object 29"/>
            <p:cNvSpPr txBox="1"/>
            <p:nvPr/>
          </p:nvSpPr>
          <p:spPr>
            <a:xfrm>
              <a:off x="250647" y="3167253"/>
              <a:ext cx="774065" cy="299720"/>
            </a:xfrm>
            <a:prstGeom prst="rect">
              <a:avLst/>
            </a:prstGeom>
          </p:spPr>
          <p:txBody>
            <a:bodyPr vert="horz" wrap="square" lIns="0" tIns="12700" rIns="0" bIns="0" rtlCol="0">
              <a:spAutoFit/>
            </a:bodyPr>
            <a:lstStyle/>
            <a:p>
              <a:pPr marL="12700" marR="5080">
                <a:lnSpc>
                  <a:spcPct val="100000"/>
                </a:lnSpc>
                <a:spcBef>
                  <a:spcPts val="100"/>
                </a:spcBef>
              </a:pPr>
              <a:r>
                <a:rPr sz="900" b="1" spc="-5">
                  <a:latin typeface="Verdana"/>
                  <a:cs typeface="Verdana"/>
                </a:rPr>
                <a:t>Integration  </a:t>
              </a:r>
              <a:r>
                <a:rPr sz="900" b="1">
                  <a:latin typeface="Verdana"/>
                  <a:cs typeface="Verdana"/>
                </a:rPr>
                <a:t>&amp;</a:t>
              </a:r>
              <a:r>
                <a:rPr sz="900" b="1" spc="-75">
                  <a:latin typeface="Verdana"/>
                  <a:cs typeface="Verdana"/>
                </a:rPr>
                <a:t> </a:t>
              </a:r>
              <a:r>
                <a:rPr sz="900" b="1" spc="-5">
                  <a:latin typeface="Verdana"/>
                  <a:cs typeface="Verdana"/>
                </a:rPr>
                <a:t>Migration</a:t>
              </a:r>
              <a:endParaRPr sz="900">
                <a:latin typeface="Verdana"/>
                <a:cs typeface="Verdana"/>
              </a:endParaRPr>
            </a:p>
          </p:txBody>
        </p:sp>
        <p:sp>
          <p:nvSpPr>
            <p:cNvPr id="30" name="object 30"/>
            <p:cNvSpPr/>
            <p:nvPr/>
          </p:nvSpPr>
          <p:spPr>
            <a:xfrm>
              <a:off x="227075" y="4878323"/>
              <a:ext cx="883919" cy="373380"/>
            </a:xfrm>
            <a:custGeom>
              <a:avLst/>
              <a:gdLst/>
              <a:ahLst/>
              <a:cxnLst/>
              <a:rect l="l" t="t" r="r" b="b"/>
              <a:pathLst>
                <a:path w="883919" h="373379">
                  <a:moveTo>
                    <a:pt x="0" y="373379"/>
                  </a:moveTo>
                  <a:lnTo>
                    <a:pt x="883919" y="373379"/>
                  </a:lnTo>
                  <a:lnTo>
                    <a:pt x="883919" y="0"/>
                  </a:lnTo>
                  <a:lnTo>
                    <a:pt x="0" y="0"/>
                  </a:lnTo>
                  <a:lnTo>
                    <a:pt x="0" y="373379"/>
                  </a:lnTo>
                  <a:close/>
                </a:path>
              </a:pathLst>
            </a:custGeom>
            <a:solidFill>
              <a:srgbClr val="006FAC"/>
            </a:solidFill>
          </p:spPr>
          <p:txBody>
            <a:bodyPr wrap="square" lIns="0" tIns="0" rIns="0" bIns="0" rtlCol="0"/>
            <a:lstStyle/>
            <a:p>
              <a:endParaRPr/>
            </a:p>
          </p:txBody>
        </p:sp>
        <p:sp>
          <p:nvSpPr>
            <p:cNvPr id="31" name="object 31"/>
            <p:cNvSpPr txBox="1"/>
            <p:nvPr/>
          </p:nvSpPr>
          <p:spPr>
            <a:xfrm>
              <a:off x="304596" y="4977510"/>
              <a:ext cx="40386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Too</a:t>
              </a:r>
              <a:r>
                <a:rPr sz="1000" b="1" spc="-10">
                  <a:solidFill>
                    <a:srgbClr val="FFFFFF"/>
                  </a:solidFill>
                  <a:latin typeface="Verdana"/>
                  <a:cs typeface="Verdana"/>
                </a:rPr>
                <a:t>l</a:t>
              </a:r>
              <a:r>
                <a:rPr sz="1000" b="1" spc="-5">
                  <a:solidFill>
                    <a:srgbClr val="FFFFFF"/>
                  </a:solidFill>
                  <a:latin typeface="Verdana"/>
                  <a:cs typeface="Verdana"/>
                </a:rPr>
                <a:t>s</a:t>
              </a:r>
              <a:endParaRPr sz="1000">
                <a:latin typeface="Verdana"/>
                <a:cs typeface="Verdana"/>
              </a:endParaRPr>
            </a:p>
          </p:txBody>
        </p:sp>
        <p:sp>
          <p:nvSpPr>
            <p:cNvPr id="32" name="object 32"/>
            <p:cNvSpPr/>
            <p:nvPr/>
          </p:nvSpPr>
          <p:spPr>
            <a:xfrm>
              <a:off x="1243583" y="3592067"/>
              <a:ext cx="641985" cy="373380"/>
            </a:xfrm>
            <a:custGeom>
              <a:avLst/>
              <a:gdLst/>
              <a:ahLst/>
              <a:cxnLst/>
              <a:rect l="l" t="t" r="r" b="b"/>
              <a:pathLst>
                <a:path w="641985" h="373379">
                  <a:moveTo>
                    <a:pt x="0" y="373379"/>
                  </a:moveTo>
                  <a:lnTo>
                    <a:pt x="641604" y="373379"/>
                  </a:lnTo>
                  <a:lnTo>
                    <a:pt x="641604" y="0"/>
                  </a:lnTo>
                  <a:lnTo>
                    <a:pt x="0" y="0"/>
                  </a:lnTo>
                  <a:lnTo>
                    <a:pt x="0" y="373379"/>
                  </a:lnTo>
                  <a:close/>
                </a:path>
              </a:pathLst>
            </a:custGeom>
            <a:solidFill>
              <a:srgbClr val="FFFFFF"/>
            </a:solidFill>
          </p:spPr>
          <p:txBody>
            <a:bodyPr wrap="square" lIns="0" tIns="0" rIns="0" bIns="0" rtlCol="0"/>
            <a:lstStyle/>
            <a:p>
              <a:endParaRPr/>
            </a:p>
          </p:txBody>
        </p:sp>
        <p:sp>
          <p:nvSpPr>
            <p:cNvPr id="33" name="object 33"/>
            <p:cNvSpPr txBox="1"/>
            <p:nvPr/>
          </p:nvSpPr>
          <p:spPr>
            <a:xfrm>
              <a:off x="1255572" y="3713734"/>
              <a:ext cx="618490" cy="132080"/>
            </a:xfrm>
            <a:prstGeom prst="rect">
              <a:avLst/>
            </a:prstGeom>
          </p:spPr>
          <p:txBody>
            <a:bodyPr vert="horz" wrap="square" lIns="0" tIns="12065" rIns="0" bIns="0" rtlCol="0">
              <a:spAutoFit/>
            </a:bodyPr>
            <a:lstStyle/>
            <a:p>
              <a:pPr marL="12700">
                <a:lnSpc>
                  <a:spcPct val="100000"/>
                </a:lnSpc>
                <a:spcBef>
                  <a:spcPts val="95"/>
                </a:spcBef>
              </a:pPr>
              <a:r>
                <a:rPr sz="700" spc="-5">
                  <a:latin typeface="Verdana"/>
                  <a:cs typeface="Verdana"/>
                </a:rPr>
                <a:t>CRP</a:t>
              </a:r>
              <a:r>
                <a:rPr sz="700" spc="-40">
                  <a:latin typeface="Verdana"/>
                  <a:cs typeface="Verdana"/>
                </a:rPr>
                <a:t> </a:t>
              </a:r>
              <a:r>
                <a:rPr sz="700" spc="-10">
                  <a:latin typeface="Verdana"/>
                  <a:cs typeface="Verdana"/>
                </a:rPr>
                <a:t>Sessions</a:t>
              </a:r>
              <a:endParaRPr sz="700">
                <a:latin typeface="Verdana"/>
                <a:cs typeface="Verdana"/>
              </a:endParaRPr>
            </a:p>
          </p:txBody>
        </p:sp>
        <p:sp>
          <p:nvSpPr>
            <p:cNvPr id="34" name="object 34"/>
            <p:cNvSpPr/>
            <p:nvPr/>
          </p:nvSpPr>
          <p:spPr>
            <a:xfrm>
              <a:off x="1933955" y="3592067"/>
              <a:ext cx="643255" cy="373380"/>
            </a:xfrm>
            <a:custGeom>
              <a:avLst/>
              <a:gdLst/>
              <a:ahLst/>
              <a:cxnLst/>
              <a:rect l="l" t="t" r="r" b="b"/>
              <a:pathLst>
                <a:path w="643255" h="373379">
                  <a:moveTo>
                    <a:pt x="0" y="373379"/>
                  </a:moveTo>
                  <a:lnTo>
                    <a:pt x="643128" y="373379"/>
                  </a:lnTo>
                  <a:lnTo>
                    <a:pt x="643128" y="0"/>
                  </a:lnTo>
                  <a:lnTo>
                    <a:pt x="0" y="0"/>
                  </a:lnTo>
                  <a:lnTo>
                    <a:pt x="0" y="373379"/>
                  </a:lnTo>
                  <a:close/>
                </a:path>
              </a:pathLst>
            </a:custGeom>
            <a:solidFill>
              <a:srgbClr val="FFFFFF"/>
            </a:solidFill>
          </p:spPr>
          <p:txBody>
            <a:bodyPr wrap="square" lIns="0" tIns="0" rIns="0" bIns="0" rtlCol="0"/>
            <a:lstStyle/>
            <a:p>
              <a:endParaRPr/>
            </a:p>
          </p:txBody>
        </p:sp>
        <p:sp>
          <p:nvSpPr>
            <p:cNvPr id="35" name="object 35"/>
            <p:cNvSpPr txBox="1"/>
            <p:nvPr/>
          </p:nvSpPr>
          <p:spPr>
            <a:xfrm>
              <a:off x="1972182" y="3660394"/>
              <a:ext cx="565150" cy="238760"/>
            </a:xfrm>
            <a:prstGeom prst="rect">
              <a:avLst/>
            </a:prstGeom>
          </p:spPr>
          <p:txBody>
            <a:bodyPr vert="horz" wrap="square" lIns="0" tIns="12065" rIns="0" bIns="0" rtlCol="0">
              <a:spAutoFit/>
            </a:bodyPr>
            <a:lstStyle/>
            <a:p>
              <a:pPr marL="12700" marR="5080" indent="127635">
                <a:lnSpc>
                  <a:spcPct val="100000"/>
                </a:lnSpc>
                <a:spcBef>
                  <a:spcPts val="95"/>
                </a:spcBef>
              </a:pPr>
              <a:r>
                <a:rPr sz="700" spc="-10">
                  <a:latin typeface="Verdana"/>
                  <a:cs typeface="Verdana"/>
                </a:rPr>
                <a:t>Define  </a:t>
              </a:r>
              <a:r>
                <a:rPr sz="700" spc="-5">
                  <a:latin typeface="Verdana"/>
                  <a:cs typeface="Verdana"/>
                </a:rPr>
                <a:t>Ar</a:t>
              </a:r>
              <a:r>
                <a:rPr sz="700" spc="-10">
                  <a:latin typeface="Verdana"/>
                  <a:cs typeface="Verdana"/>
                </a:rPr>
                <a:t>c</a:t>
              </a:r>
              <a:r>
                <a:rPr sz="700" spc="-5">
                  <a:latin typeface="Verdana"/>
                  <a:cs typeface="Verdana"/>
                </a:rPr>
                <a:t>h</a:t>
              </a:r>
              <a:r>
                <a:rPr sz="700" spc="-20">
                  <a:latin typeface="Verdana"/>
                  <a:cs typeface="Verdana"/>
                </a:rPr>
                <a:t>i</a:t>
              </a:r>
              <a:r>
                <a:rPr sz="700" spc="-5">
                  <a:latin typeface="Verdana"/>
                  <a:cs typeface="Verdana"/>
                </a:rPr>
                <a:t>t</a:t>
              </a:r>
              <a:r>
                <a:rPr sz="700">
                  <a:latin typeface="Verdana"/>
                  <a:cs typeface="Verdana"/>
                </a:rPr>
                <a:t>e</a:t>
              </a:r>
              <a:r>
                <a:rPr sz="700" spc="-10">
                  <a:latin typeface="Verdana"/>
                  <a:cs typeface="Verdana"/>
                </a:rPr>
                <a:t>c</a:t>
              </a:r>
              <a:r>
                <a:rPr sz="700" spc="-5">
                  <a:latin typeface="Verdana"/>
                  <a:cs typeface="Verdana"/>
                </a:rPr>
                <a:t>ture</a:t>
              </a:r>
              <a:endParaRPr sz="700">
                <a:latin typeface="Verdana"/>
                <a:cs typeface="Verdana"/>
              </a:endParaRPr>
            </a:p>
          </p:txBody>
        </p:sp>
        <p:sp>
          <p:nvSpPr>
            <p:cNvPr id="36" name="object 36"/>
            <p:cNvSpPr/>
            <p:nvPr/>
          </p:nvSpPr>
          <p:spPr>
            <a:xfrm>
              <a:off x="2624327" y="3592067"/>
              <a:ext cx="643255" cy="373380"/>
            </a:xfrm>
            <a:custGeom>
              <a:avLst/>
              <a:gdLst/>
              <a:ahLst/>
              <a:cxnLst/>
              <a:rect l="l" t="t" r="r" b="b"/>
              <a:pathLst>
                <a:path w="643254" h="373379">
                  <a:moveTo>
                    <a:pt x="0" y="373379"/>
                  </a:moveTo>
                  <a:lnTo>
                    <a:pt x="643127" y="373379"/>
                  </a:lnTo>
                  <a:lnTo>
                    <a:pt x="643127" y="0"/>
                  </a:lnTo>
                  <a:lnTo>
                    <a:pt x="0" y="0"/>
                  </a:lnTo>
                  <a:lnTo>
                    <a:pt x="0" y="373379"/>
                  </a:lnTo>
                  <a:close/>
                </a:path>
              </a:pathLst>
            </a:custGeom>
            <a:solidFill>
              <a:srgbClr val="FFFFFF"/>
            </a:solidFill>
          </p:spPr>
          <p:txBody>
            <a:bodyPr wrap="square" lIns="0" tIns="0" rIns="0" bIns="0" rtlCol="0"/>
            <a:lstStyle/>
            <a:p>
              <a:endParaRPr/>
            </a:p>
          </p:txBody>
        </p:sp>
        <p:sp>
          <p:nvSpPr>
            <p:cNvPr id="37" name="object 37"/>
            <p:cNvSpPr txBox="1"/>
            <p:nvPr/>
          </p:nvSpPr>
          <p:spPr>
            <a:xfrm>
              <a:off x="2716529" y="3607053"/>
              <a:ext cx="460375" cy="345440"/>
            </a:xfrm>
            <a:prstGeom prst="rect">
              <a:avLst/>
            </a:prstGeom>
          </p:spPr>
          <p:txBody>
            <a:bodyPr vert="horz" wrap="square" lIns="0" tIns="12065" rIns="0" bIns="0" rtlCol="0">
              <a:spAutoFit/>
            </a:bodyPr>
            <a:lstStyle/>
            <a:p>
              <a:pPr marL="12700" marR="5080" indent="-635" algn="ctr">
                <a:lnSpc>
                  <a:spcPct val="100000"/>
                </a:lnSpc>
                <a:spcBef>
                  <a:spcPts val="95"/>
                </a:spcBef>
              </a:pPr>
              <a:r>
                <a:rPr sz="700" spc="-5">
                  <a:latin typeface="Verdana"/>
                  <a:cs typeface="Verdana"/>
                </a:rPr>
                <a:t>Detail  </a:t>
              </a:r>
              <a:r>
                <a:rPr sz="700" spc="-10">
                  <a:latin typeface="Verdana"/>
                  <a:cs typeface="Verdana"/>
                </a:rPr>
                <a:t>Business  </a:t>
              </a:r>
              <a:r>
                <a:rPr sz="700" spc="-5">
                  <a:latin typeface="Verdana"/>
                  <a:cs typeface="Verdana"/>
                </a:rPr>
                <a:t>Pr</a:t>
              </a:r>
              <a:r>
                <a:rPr sz="700" spc="-10">
                  <a:latin typeface="Verdana"/>
                  <a:cs typeface="Verdana"/>
                </a:rPr>
                <a:t>oc</a:t>
              </a:r>
              <a:r>
                <a:rPr sz="700" spc="-5">
                  <a:latin typeface="Verdana"/>
                  <a:cs typeface="Verdana"/>
                </a:rPr>
                <a:t>e</a:t>
              </a:r>
              <a:r>
                <a:rPr sz="700" spc="-10">
                  <a:latin typeface="Verdana"/>
                  <a:cs typeface="Verdana"/>
                </a:rPr>
                <a:t>ss</a:t>
              </a:r>
              <a:r>
                <a:rPr sz="700" spc="-5">
                  <a:latin typeface="Verdana"/>
                  <a:cs typeface="Verdana"/>
                </a:rPr>
                <a:t>es</a:t>
              </a:r>
              <a:endParaRPr sz="700">
                <a:latin typeface="Verdana"/>
                <a:cs typeface="Verdana"/>
              </a:endParaRPr>
            </a:p>
          </p:txBody>
        </p:sp>
        <p:sp>
          <p:nvSpPr>
            <p:cNvPr id="38" name="object 38"/>
            <p:cNvSpPr/>
            <p:nvPr/>
          </p:nvSpPr>
          <p:spPr>
            <a:xfrm>
              <a:off x="1243583" y="4008120"/>
              <a:ext cx="641985" cy="375285"/>
            </a:xfrm>
            <a:custGeom>
              <a:avLst/>
              <a:gdLst/>
              <a:ahLst/>
              <a:cxnLst/>
              <a:rect l="l" t="t" r="r" b="b"/>
              <a:pathLst>
                <a:path w="641985" h="375285">
                  <a:moveTo>
                    <a:pt x="0" y="374903"/>
                  </a:moveTo>
                  <a:lnTo>
                    <a:pt x="641604" y="374903"/>
                  </a:lnTo>
                  <a:lnTo>
                    <a:pt x="641604" y="0"/>
                  </a:lnTo>
                  <a:lnTo>
                    <a:pt x="0" y="0"/>
                  </a:lnTo>
                  <a:lnTo>
                    <a:pt x="0" y="374903"/>
                  </a:lnTo>
                  <a:close/>
                </a:path>
              </a:pathLst>
            </a:custGeom>
            <a:solidFill>
              <a:srgbClr val="FFFFFF"/>
            </a:solidFill>
          </p:spPr>
          <p:txBody>
            <a:bodyPr wrap="square" lIns="0" tIns="0" rIns="0" bIns="0" rtlCol="0"/>
            <a:lstStyle/>
            <a:p>
              <a:endParaRPr/>
            </a:p>
          </p:txBody>
        </p:sp>
        <p:sp>
          <p:nvSpPr>
            <p:cNvPr id="39" name="object 39"/>
            <p:cNvSpPr txBox="1"/>
            <p:nvPr/>
          </p:nvSpPr>
          <p:spPr>
            <a:xfrm>
              <a:off x="1380489" y="4023740"/>
              <a:ext cx="368935" cy="345440"/>
            </a:xfrm>
            <a:prstGeom prst="rect">
              <a:avLst/>
            </a:prstGeom>
          </p:spPr>
          <p:txBody>
            <a:bodyPr vert="horz" wrap="square" lIns="0" tIns="12065" rIns="0" bIns="0" rtlCol="0">
              <a:spAutoFit/>
            </a:bodyPr>
            <a:lstStyle/>
            <a:p>
              <a:pPr marL="12700" marR="5080" indent="19685" algn="just">
                <a:lnSpc>
                  <a:spcPct val="100000"/>
                </a:lnSpc>
                <a:spcBef>
                  <a:spcPts val="95"/>
                </a:spcBef>
              </a:pPr>
              <a:r>
                <a:rPr sz="700" spc="-10">
                  <a:latin typeface="Verdana"/>
                  <a:cs typeface="Verdana"/>
                </a:rPr>
                <a:t>Design  </a:t>
              </a:r>
              <a:r>
                <a:rPr sz="700" spc="-5">
                  <a:latin typeface="Verdana"/>
                  <a:cs typeface="Verdana"/>
                </a:rPr>
                <a:t>Pr</a:t>
              </a:r>
              <a:r>
                <a:rPr sz="700" spc="-10">
                  <a:latin typeface="Verdana"/>
                  <a:cs typeface="Verdana"/>
                </a:rPr>
                <a:t>oduct  </a:t>
              </a:r>
              <a:r>
                <a:rPr sz="700" spc="-5">
                  <a:latin typeface="Verdana"/>
                  <a:cs typeface="Verdana"/>
                </a:rPr>
                <a:t>Bac</a:t>
              </a:r>
              <a:r>
                <a:rPr sz="700" spc="-10">
                  <a:latin typeface="Verdana"/>
                  <a:cs typeface="Verdana"/>
                </a:rPr>
                <a:t>k</a:t>
              </a:r>
              <a:r>
                <a:rPr sz="700" spc="-20">
                  <a:latin typeface="Verdana"/>
                  <a:cs typeface="Verdana"/>
                </a:rPr>
                <a:t>l</a:t>
              </a:r>
              <a:r>
                <a:rPr sz="700" spc="-10">
                  <a:latin typeface="Verdana"/>
                  <a:cs typeface="Verdana"/>
                </a:rPr>
                <a:t>o</a:t>
              </a:r>
              <a:r>
                <a:rPr sz="700" spc="-5">
                  <a:latin typeface="Verdana"/>
                  <a:cs typeface="Verdana"/>
                </a:rPr>
                <a:t>g</a:t>
              </a:r>
              <a:endParaRPr sz="700">
                <a:latin typeface="Verdana"/>
                <a:cs typeface="Verdana"/>
              </a:endParaRPr>
            </a:p>
          </p:txBody>
        </p:sp>
        <p:sp>
          <p:nvSpPr>
            <p:cNvPr id="40" name="object 40"/>
            <p:cNvSpPr/>
            <p:nvPr/>
          </p:nvSpPr>
          <p:spPr>
            <a:xfrm>
              <a:off x="1933955" y="4008120"/>
              <a:ext cx="643255" cy="375285"/>
            </a:xfrm>
            <a:custGeom>
              <a:avLst/>
              <a:gdLst/>
              <a:ahLst/>
              <a:cxnLst/>
              <a:rect l="l" t="t" r="r" b="b"/>
              <a:pathLst>
                <a:path w="643255" h="375285">
                  <a:moveTo>
                    <a:pt x="0" y="374903"/>
                  </a:moveTo>
                  <a:lnTo>
                    <a:pt x="643128" y="374903"/>
                  </a:lnTo>
                  <a:lnTo>
                    <a:pt x="643128" y="0"/>
                  </a:lnTo>
                  <a:lnTo>
                    <a:pt x="0" y="0"/>
                  </a:lnTo>
                  <a:lnTo>
                    <a:pt x="0" y="374903"/>
                  </a:lnTo>
                  <a:close/>
                </a:path>
              </a:pathLst>
            </a:custGeom>
            <a:solidFill>
              <a:srgbClr val="FFFFFF"/>
            </a:solidFill>
          </p:spPr>
          <p:txBody>
            <a:bodyPr wrap="square" lIns="0" tIns="0" rIns="0" bIns="0" rtlCol="0"/>
            <a:lstStyle/>
            <a:p>
              <a:endParaRPr/>
            </a:p>
          </p:txBody>
        </p:sp>
        <p:sp>
          <p:nvSpPr>
            <p:cNvPr id="41" name="object 41"/>
            <p:cNvSpPr txBox="1"/>
            <p:nvPr/>
          </p:nvSpPr>
          <p:spPr>
            <a:xfrm>
              <a:off x="1970658" y="4077080"/>
              <a:ext cx="568960" cy="238760"/>
            </a:xfrm>
            <a:prstGeom prst="rect">
              <a:avLst/>
            </a:prstGeom>
          </p:spPr>
          <p:txBody>
            <a:bodyPr vert="horz" wrap="square" lIns="0" tIns="12065" rIns="0" bIns="0" rtlCol="0">
              <a:spAutoFit/>
            </a:bodyPr>
            <a:lstStyle/>
            <a:p>
              <a:pPr marL="78105" marR="5080" indent="-66040">
                <a:lnSpc>
                  <a:spcPct val="100000"/>
                </a:lnSpc>
                <a:spcBef>
                  <a:spcPts val="95"/>
                </a:spcBef>
              </a:pPr>
              <a:r>
                <a:rPr sz="700" spc="-10">
                  <a:latin typeface="Verdana"/>
                  <a:cs typeface="Verdana"/>
                </a:rPr>
                <a:t>Design</a:t>
              </a:r>
              <a:r>
                <a:rPr sz="700" spc="-55">
                  <a:latin typeface="Verdana"/>
                  <a:cs typeface="Verdana"/>
                </a:rPr>
                <a:t> </a:t>
              </a:r>
              <a:r>
                <a:rPr sz="700" spc="-5">
                  <a:latin typeface="Verdana"/>
                  <a:cs typeface="Verdana"/>
                </a:rPr>
                <a:t>Data  Migration</a:t>
              </a:r>
              <a:endParaRPr sz="700">
                <a:latin typeface="Verdana"/>
                <a:cs typeface="Verdana"/>
              </a:endParaRPr>
            </a:p>
          </p:txBody>
        </p:sp>
        <p:sp>
          <p:nvSpPr>
            <p:cNvPr id="42" name="object 42"/>
            <p:cNvSpPr/>
            <p:nvPr/>
          </p:nvSpPr>
          <p:spPr>
            <a:xfrm>
              <a:off x="2624327" y="4008120"/>
              <a:ext cx="643255" cy="375285"/>
            </a:xfrm>
            <a:custGeom>
              <a:avLst/>
              <a:gdLst/>
              <a:ahLst/>
              <a:cxnLst/>
              <a:rect l="l" t="t" r="r" b="b"/>
              <a:pathLst>
                <a:path w="643254" h="375285">
                  <a:moveTo>
                    <a:pt x="0" y="374903"/>
                  </a:moveTo>
                  <a:lnTo>
                    <a:pt x="643127" y="374903"/>
                  </a:lnTo>
                  <a:lnTo>
                    <a:pt x="643127" y="0"/>
                  </a:lnTo>
                  <a:lnTo>
                    <a:pt x="0" y="0"/>
                  </a:lnTo>
                  <a:lnTo>
                    <a:pt x="0" y="374903"/>
                  </a:lnTo>
                  <a:close/>
                </a:path>
              </a:pathLst>
            </a:custGeom>
            <a:solidFill>
              <a:srgbClr val="FFFFFF"/>
            </a:solidFill>
          </p:spPr>
          <p:txBody>
            <a:bodyPr wrap="square" lIns="0" tIns="0" rIns="0" bIns="0" rtlCol="0"/>
            <a:lstStyle/>
            <a:p>
              <a:endParaRPr/>
            </a:p>
          </p:txBody>
        </p:sp>
        <p:sp>
          <p:nvSpPr>
            <p:cNvPr id="43" name="object 43"/>
            <p:cNvSpPr txBox="1"/>
            <p:nvPr/>
          </p:nvSpPr>
          <p:spPr>
            <a:xfrm>
              <a:off x="2762250" y="4077080"/>
              <a:ext cx="367030" cy="238760"/>
            </a:xfrm>
            <a:prstGeom prst="rect">
              <a:avLst/>
            </a:prstGeom>
          </p:spPr>
          <p:txBody>
            <a:bodyPr vert="horz" wrap="square" lIns="0" tIns="12065" rIns="0" bIns="0" rtlCol="0">
              <a:spAutoFit/>
            </a:bodyPr>
            <a:lstStyle/>
            <a:p>
              <a:pPr marL="12700" marR="5080" indent="19685">
                <a:lnSpc>
                  <a:spcPct val="100000"/>
                </a:lnSpc>
                <a:spcBef>
                  <a:spcPts val="95"/>
                </a:spcBef>
              </a:pPr>
              <a:r>
                <a:rPr sz="700" spc="-10">
                  <a:latin typeface="Verdana"/>
                  <a:cs typeface="Verdana"/>
                </a:rPr>
                <a:t>Design  R</a:t>
              </a:r>
              <a:r>
                <a:rPr sz="700" spc="-5">
                  <a:latin typeface="Verdana"/>
                  <a:cs typeface="Verdana"/>
                </a:rPr>
                <a:t>ep</a:t>
              </a:r>
              <a:r>
                <a:rPr sz="700" spc="-10">
                  <a:latin typeface="Verdana"/>
                  <a:cs typeface="Verdana"/>
                </a:rPr>
                <a:t>o</a:t>
              </a:r>
              <a:r>
                <a:rPr sz="700" spc="-5">
                  <a:latin typeface="Verdana"/>
                  <a:cs typeface="Verdana"/>
                </a:rPr>
                <a:t>rts</a:t>
              </a:r>
              <a:endParaRPr sz="700">
                <a:latin typeface="Verdana"/>
                <a:cs typeface="Verdana"/>
              </a:endParaRPr>
            </a:p>
          </p:txBody>
        </p:sp>
        <p:sp>
          <p:nvSpPr>
            <p:cNvPr id="44" name="object 44"/>
            <p:cNvSpPr txBox="1"/>
            <p:nvPr/>
          </p:nvSpPr>
          <p:spPr>
            <a:xfrm>
              <a:off x="1243583" y="4425696"/>
              <a:ext cx="641985" cy="373380"/>
            </a:xfrm>
            <a:prstGeom prst="rect">
              <a:avLst/>
            </a:prstGeom>
            <a:solidFill>
              <a:srgbClr val="FFFFFF"/>
            </a:solidFill>
          </p:spPr>
          <p:txBody>
            <a:bodyPr vert="horz" wrap="square" lIns="0" tIns="80010" rIns="0" bIns="0" rtlCol="0">
              <a:spAutoFit/>
            </a:bodyPr>
            <a:lstStyle/>
            <a:p>
              <a:pPr marL="73025" marR="65405" indent="95885">
                <a:lnSpc>
                  <a:spcPct val="100000"/>
                </a:lnSpc>
                <a:spcBef>
                  <a:spcPts val="630"/>
                </a:spcBef>
              </a:pPr>
              <a:r>
                <a:rPr sz="700" spc="-10">
                  <a:latin typeface="Verdana"/>
                  <a:cs typeface="Verdana"/>
                </a:rPr>
                <a:t>Design  I</a:t>
              </a:r>
              <a:r>
                <a:rPr sz="700" spc="-5">
                  <a:latin typeface="Verdana"/>
                  <a:cs typeface="Verdana"/>
                </a:rPr>
                <a:t>nt</a:t>
              </a:r>
              <a:r>
                <a:rPr sz="700">
                  <a:latin typeface="Verdana"/>
                  <a:cs typeface="Verdana"/>
                </a:rPr>
                <a:t>e</a:t>
              </a:r>
              <a:r>
                <a:rPr sz="700" spc="-5">
                  <a:latin typeface="Verdana"/>
                  <a:cs typeface="Verdana"/>
                </a:rPr>
                <a:t>grat</a:t>
              </a:r>
              <a:r>
                <a:rPr sz="700" spc="-15">
                  <a:latin typeface="Verdana"/>
                  <a:cs typeface="Verdana"/>
                </a:rPr>
                <a:t>i</a:t>
              </a:r>
              <a:r>
                <a:rPr sz="700" spc="-10">
                  <a:latin typeface="Verdana"/>
                  <a:cs typeface="Verdana"/>
                </a:rPr>
                <a:t>o</a:t>
              </a:r>
              <a:r>
                <a:rPr sz="700" spc="-5">
                  <a:latin typeface="Verdana"/>
                  <a:cs typeface="Verdana"/>
                </a:rPr>
                <a:t>n</a:t>
              </a:r>
              <a:endParaRPr sz="700">
                <a:latin typeface="Verdana"/>
                <a:cs typeface="Verdana"/>
              </a:endParaRPr>
            </a:p>
          </p:txBody>
        </p:sp>
        <p:sp>
          <p:nvSpPr>
            <p:cNvPr id="45" name="object 45"/>
            <p:cNvSpPr txBox="1"/>
            <p:nvPr/>
          </p:nvSpPr>
          <p:spPr>
            <a:xfrm>
              <a:off x="1933955" y="4425696"/>
              <a:ext cx="643255" cy="373380"/>
            </a:xfrm>
            <a:prstGeom prst="rect">
              <a:avLst/>
            </a:prstGeom>
            <a:solidFill>
              <a:srgbClr val="FFFFFF"/>
            </a:solidFill>
          </p:spPr>
          <p:txBody>
            <a:bodyPr vert="horz" wrap="square" lIns="0" tIns="26670" rIns="0" bIns="0" rtlCol="0">
              <a:spAutoFit/>
            </a:bodyPr>
            <a:lstStyle/>
            <a:p>
              <a:pPr marL="64135" marR="58419" indent="-635" algn="ctr">
                <a:lnSpc>
                  <a:spcPct val="100000"/>
                </a:lnSpc>
                <a:spcBef>
                  <a:spcPts val="210"/>
                </a:spcBef>
              </a:pPr>
              <a:r>
                <a:rPr sz="700" spc="-5">
                  <a:latin typeface="Verdana"/>
                  <a:cs typeface="Verdana"/>
                </a:rPr>
                <a:t>Sprint  Plans and  E</a:t>
              </a:r>
              <a:r>
                <a:rPr sz="700" spc="-10">
                  <a:latin typeface="Verdana"/>
                  <a:cs typeface="Verdana"/>
                </a:rPr>
                <a:t>s</a:t>
              </a:r>
              <a:r>
                <a:rPr sz="700" spc="-5">
                  <a:latin typeface="Verdana"/>
                  <a:cs typeface="Verdana"/>
                </a:rPr>
                <a:t>t</a:t>
              </a:r>
              <a:r>
                <a:rPr sz="700" spc="-15">
                  <a:latin typeface="Verdana"/>
                  <a:cs typeface="Verdana"/>
                </a:rPr>
                <a:t>i</a:t>
              </a:r>
              <a:r>
                <a:rPr sz="700" spc="-10">
                  <a:latin typeface="Verdana"/>
                  <a:cs typeface="Verdana"/>
                </a:rPr>
                <a:t>m</a:t>
              </a:r>
              <a:r>
                <a:rPr sz="700" spc="-5">
                  <a:latin typeface="Verdana"/>
                  <a:cs typeface="Verdana"/>
                </a:rPr>
                <a:t>at</a:t>
              </a:r>
              <a:r>
                <a:rPr sz="700" spc="-20">
                  <a:latin typeface="Verdana"/>
                  <a:cs typeface="Verdana"/>
                </a:rPr>
                <a:t>i</a:t>
              </a:r>
              <a:r>
                <a:rPr sz="700" spc="-10">
                  <a:latin typeface="Verdana"/>
                  <a:cs typeface="Verdana"/>
                </a:rPr>
                <a:t>o</a:t>
              </a:r>
              <a:r>
                <a:rPr sz="700" spc="-5">
                  <a:latin typeface="Verdana"/>
                  <a:cs typeface="Verdana"/>
                </a:rPr>
                <a:t>ns</a:t>
              </a:r>
              <a:endParaRPr sz="700">
                <a:latin typeface="Verdana"/>
                <a:cs typeface="Verdana"/>
              </a:endParaRPr>
            </a:p>
          </p:txBody>
        </p:sp>
        <p:sp>
          <p:nvSpPr>
            <p:cNvPr id="46" name="object 46"/>
            <p:cNvSpPr txBox="1"/>
            <p:nvPr/>
          </p:nvSpPr>
          <p:spPr>
            <a:xfrm>
              <a:off x="2624327" y="4425696"/>
              <a:ext cx="643255" cy="373380"/>
            </a:xfrm>
            <a:prstGeom prst="rect">
              <a:avLst/>
            </a:prstGeom>
            <a:solidFill>
              <a:srgbClr val="FFFFFF"/>
            </a:solidFill>
          </p:spPr>
          <p:txBody>
            <a:bodyPr vert="horz" wrap="square" lIns="0" tIns="26670" rIns="0" bIns="0" rtlCol="0">
              <a:spAutoFit/>
            </a:bodyPr>
            <a:lstStyle/>
            <a:p>
              <a:pPr marL="116839" marR="109855" indent="1270" algn="ctr">
                <a:lnSpc>
                  <a:spcPct val="100000"/>
                </a:lnSpc>
                <a:spcBef>
                  <a:spcPts val="210"/>
                </a:spcBef>
              </a:pPr>
              <a:r>
                <a:rPr sz="700" spc="-5">
                  <a:latin typeface="Verdana"/>
                  <a:cs typeface="Verdana"/>
                </a:rPr>
                <a:t>Setup  </a:t>
              </a:r>
              <a:r>
                <a:rPr sz="700" spc="-10">
                  <a:latin typeface="Verdana"/>
                  <a:cs typeface="Verdana"/>
                </a:rPr>
                <a:t>tools</a:t>
              </a:r>
              <a:r>
                <a:rPr sz="700" spc="-60">
                  <a:latin typeface="Verdana"/>
                  <a:cs typeface="Verdana"/>
                </a:rPr>
                <a:t> </a:t>
              </a:r>
              <a:r>
                <a:rPr sz="700" spc="-5">
                  <a:latin typeface="Verdana"/>
                  <a:cs typeface="Verdana"/>
                </a:rPr>
                <a:t>and</a:t>
              </a:r>
              <a:endParaRPr sz="700">
                <a:latin typeface="Verdana"/>
                <a:cs typeface="Verdana"/>
              </a:endParaRPr>
            </a:p>
            <a:p>
              <a:pPr algn="ctr">
                <a:lnSpc>
                  <a:spcPct val="100000"/>
                </a:lnSpc>
              </a:pPr>
              <a:r>
                <a:rPr sz="700" spc="-10">
                  <a:latin typeface="Verdana"/>
                  <a:cs typeface="Verdana"/>
                </a:rPr>
                <a:t>Environment</a:t>
              </a:r>
              <a:endParaRPr sz="700">
                <a:latin typeface="Verdana"/>
                <a:cs typeface="Verdana"/>
              </a:endParaRPr>
            </a:p>
          </p:txBody>
        </p:sp>
        <p:sp>
          <p:nvSpPr>
            <p:cNvPr id="47" name="object 47"/>
            <p:cNvSpPr/>
            <p:nvPr/>
          </p:nvSpPr>
          <p:spPr>
            <a:xfrm>
              <a:off x="1194816" y="4878323"/>
              <a:ext cx="2121535" cy="398145"/>
            </a:xfrm>
            <a:custGeom>
              <a:avLst/>
              <a:gdLst/>
              <a:ahLst/>
              <a:cxnLst/>
              <a:rect l="l" t="t" r="r" b="b"/>
              <a:pathLst>
                <a:path w="2121535" h="398145">
                  <a:moveTo>
                    <a:pt x="0" y="397763"/>
                  </a:moveTo>
                  <a:lnTo>
                    <a:pt x="2121408" y="397763"/>
                  </a:lnTo>
                  <a:lnTo>
                    <a:pt x="2121408" y="0"/>
                  </a:lnTo>
                  <a:lnTo>
                    <a:pt x="0" y="0"/>
                  </a:lnTo>
                  <a:lnTo>
                    <a:pt x="0" y="397763"/>
                  </a:lnTo>
                  <a:close/>
                </a:path>
              </a:pathLst>
            </a:custGeom>
            <a:solidFill>
              <a:srgbClr val="006FAC"/>
            </a:solidFill>
          </p:spPr>
          <p:txBody>
            <a:bodyPr wrap="square" lIns="0" tIns="0" rIns="0" bIns="0" rtlCol="0"/>
            <a:lstStyle/>
            <a:p>
              <a:endParaRPr/>
            </a:p>
          </p:txBody>
        </p:sp>
        <p:sp>
          <p:nvSpPr>
            <p:cNvPr id="48" name="object 48"/>
            <p:cNvSpPr txBox="1"/>
            <p:nvPr/>
          </p:nvSpPr>
          <p:spPr>
            <a:xfrm>
              <a:off x="1228140" y="4941823"/>
              <a:ext cx="1444625" cy="269875"/>
            </a:xfrm>
            <a:prstGeom prst="rect">
              <a:avLst/>
            </a:prstGeom>
          </p:spPr>
          <p:txBody>
            <a:bodyPr vert="horz" wrap="square" lIns="0" tIns="12700" rIns="0" bIns="0" rtlCol="0">
              <a:spAutoFit/>
            </a:bodyPr>
            <a:lstStyle/>
            <a:p>
              <a:pPr marL="184785" indent="-172720">
                <a:lnSpc>
                  <a:spcPct val="100000"/>
                </a:lnSpc>
                <a:spcBef>
                  <a:spcPts val="100"/>
                </a:spcBef>
                <a:buFont typeface="Wingdings"/>
                <a:buChar char=""/>
                <a:tabLst>
                  <a:tab pos="185420" algn="l"/>
                </a:tabLst>
              </a:pPr>
              <a:r>
                <a:rPr sz="800">
                  <a:solidFill>
                    <a:srgbClr val="FFFFFF"/>
                  </a:solidFill>
                  <a:latin typeface="Verdana"/>
                  <a:cs typeface="Verdana"/>
                </a:rPr>
                <a:t>Integration</a:t>
              </a:r>
              <a:r>
                <a:rPr sz="800" spc="-30">
                  <a:solidFill>
                    <a:srgbClr val="FFFFFF"/>
                  </a:solidFill>
                  <a:latin typeface="Verdana"/>
                  <a:cs typeface="Verdana"/>
                </a:rPr>
                <a:t> </a:t>
              </a:r>
              <a:r>
                <a:rPr sz="800">
                  <a:solidFill>
                    <a:srgbClr val="FFFFFF"/>
                  </a:solidFill>
                  <a:latin typeface="Verdana"/>
                  <a:cs typeface="Verdana"/>
                </a:rPr>
                <a:t>Playbook</a:t>
              </a:r>
              <a:endParaRPr sz="800">
                <a:latin typeface="Verdana"/>
                <a:cs typeface="Verdana"/>
              </a:endParaRPr>
            </a:p>
            <a:p>
              <a:pPr marL="184785" indent="-172720">
                <a:lnSpc>
                  <a:spcPct val="100000"/>
                </a:lnSpc>
                <a:buFont typeface="Wingdings"/>
                <a:buChar char=""/>
                <a:tabLst>
                  <a:tab pos="185420" algn="l"/>
                </a:tabLst>
              </a:pPr>
              <a:r>
                <a:rPr sz="800" spc="-5">
                  <a:solidFill>
                    <a:srgbClr val="FFFFFF"/>
                  </a:solidFill>
                  <a:latin typeface="Verdana"/>
                  <a:cs typeface="Verdana"/>
                </a:rPr>
                <a:t>Data Migration</a:t>
              </a:r>
              <a:r>
                <a:rPr sz="800" spc="-45">
                  <a:solidFill>
                    <a:srgbClr val="FFFFFF"/>
                  </a:solidFill>
                  <a:latin typeface="Verdana"/>
                  <a:cs typeface="Verdana"/>
                </a:rPr>
                <a:t> </a:t>
              </a:r>
              <a:r>
                <a:rPr sz="800">
                  <a:solidFill>
                    <a:srgbClr val="FFFFFF"/>
                  </a:solidFill>
                  <a:latin typeface="Verdana"/>
                  <a:cs typeface="Verdana"/>
                </a:rPr>
                <a:t>Playbook</a:t>
              </a:r>
              <a:endParaRPr sz="800">
                <a:latin typeface="Verdana"/>
                <a:cs typeface="Verdana"/>
              </a:endParaRPr>
            </a:p>
          </p:txBody>
        </p:sp>
        <p:sp>
          <p:nvSpPr>
            <p:cNvPr id="49" name="object 49"/>
            <p:cNvSpPr/>
            <p:nvPr/>
          </p:nvSpPr>
          <p:spPr>
            <a:xfrm>
              <a:off x="3477767" y="3592067"/>
              <a:ext cx="753110" cy="464820"/>
            </a:xfrm>
            <a:custGeom>
              <a:avLst/>
              <a:gdLst/>
              <a:ahLst/>
              <a:cxnLst/>
              <a:rect l="l" t="t" r="r" b="b"/>
              <a:pathLst>
                <a:path w="753110" h="464820">
                  <a:moveTo>
                    <a:pt x="0" y="464820"/>
                  </a:moveTo>
                  <a:lnTo>
                    <a:pt x="752856" y="464820"/>
                  </a:lnTo>
                  <a:lnTo>
                    <a:pt x="752856" y="0"/>
                  </a:lnTo>
                  <a:lnTo>
                    <a:pt x="0" y="0"/>
                  </a:lnTo>
                  <a:lnTo>
                    <a:pt x="0" y="464820"/>
                  </a:lnTo>
                  <a:close/>
                </a:path>
              </a:pathLst>
            </a:custGeom>
            <a:solidFill>
              <a:srgbClr val="FFFFFF"/>
            </a:solidFill>
          </p:spPr>
          <p:txBody>
            <a:bodyPr wrap="square" lIns="0" tIns="0" rIns="0" bIns="0" rtlCol="0"/>
            <a:lstStyle/>
            <a:p>
              <a:endParaRPr/>
            </a:p>
          </p:txBody>
        </p:sp>
        <p:sp>
          <p:nvSpPr>
            <p:cNvPr id="50" name="object 50"/>
            <p:cNvSpPr/>
            <p:nvPr/>
          </p:nvSpPr>
          <p:spPr>
            <a:xfrm>
              <a:off x="3477767" y="4069079"/>
              <a:ext cx="753110" cy="375285"/>
            </a:xfrm>
            <a:custGeom>
              <a:avLst/>
              <a:gdLst/>
              <a:ahLst/>
              <a:cxnLst/>
              <a:rect l="l" t="t" r="r" b="b"/>
              <a:pathLst>
                <a:path w="753110" h="375285">
                  <a:moveTo>
                    <a:pt x="0" y="374904"/>
                  </a:moveTo>
                  <a:lnTo>
                    <a:pt x="752856" y="374904"/>
                  </a:lnTo>
                  <a:lnTo>
                    <a:pt x="752856" y="0"/>
                  </a:lnTo>
                  <a:lnTo>
                    <a:pt x="0" y="0"/>
                  </a:lnTo>
                  <a:lnTo>
                    <a:pt x="0" y="374904"/>
                  </a:lnTo>
                  <a:close/>
                </a:path>
              </a:pathLst>
            </a:custGeom>
            <a:solidFill>
              <a:srgbClr val="FFFFFF"/>
            </a:solidFill>
          </p:spPr>
          <p:txBody>
            <a:bodyPr wrap="square" lIns="0" tIns="0" rIns="0" bIns="0" rtlCol="0"/>
            <a:lstStyle/>
            <a:p>
              <a:endParaRPr/>
            </a:p>
          </p:txBody>
        </p:sp>
        <p:sp>
          <p:nvSpPr>
            <p:cNvPr id="51" name="object 51"/>
            <p:cNvSpPr txBox="1"/>
            <p:nvPr/>
          </p:nvSpPr>
          <p:spPr>
            <a:xfrm>
              <a:off x="3500882" y="4137736"/>
              <a:ext cx="720090" cy="239395"/>
            </a:xfrm>
            <a:prstGeom prst="rect">
              <a:avLst/>
            </a:prstGeom>
          </p:spPr>
          <p:txBody>
            <a:bodyPr vert="horz" wrap="square" lIns="0" tIns="12065" rIns="0" bIns="0" rtlCol="0">
              <a:spAutoFit/>
            </a:bodyPr>
            <a:lstStyle/>
            <a:p>
              <a:pPr marL="19685">
                <a:lnSpc>
                  <a:spcPct val="100000"/>
                </a:lnSpc>
                <a:spcBef>
                  <a:spcPts val="95"/>
                </a:spcBef>
              </a:pPr>
              <a:r>
                <a:rPr sz="700" spc="-5">
                  <a:latin typeface="Verdana"/>
                  <a:cs typeface="Verdana"/>
                </a:rPr>
                <a:t>Create</a:t>
              </a:r>
              <a:r>
                <a:rPr sz="700" spc="-70">
                  <a:latin typeface="Verdana"/>
                  <a:cs typeface="Verdana"/>
                </a:rPr>
                <a:t> </a:t>
              </a:r>
              <a:r>
                <a:rPr sz="700" spc="-5">
                  <a:latin typeface="Verdana"/>
                  <a:cs typeface="Verdana"/>
                </a:rPr>
                <a:t>Reports</a:t>
              </a:r>
              <a:endParaRPr sz="700">
                <a:latin typeface="Verdana"/>
                <a:cs typeface="Verdana"/>
              </a:endParaRPr>
            </a:p>
            <a:p>
              <a:pPr>
                <a:lnSpc>
                  <a:spcPct val="100000"/>
                </a:lnSpc>
                <a:spcBef>
                  <a:spcPts val="5"/>
                </a:spcBef>
              </a:pPr>
              <a:r>
                <a:rPr sz="700" spc="-5">
                  <a:latin typeface="Verdana"/>
                  <a:cs typeface="Verdana"/>
                </a:rPr>
                <a:t>and</a:t>
              </a:r>
              <a:r>
                <a:rPr sz="700" spc="-80">
                  <a:latin typeface="Verdana"/>
                  <a:cs typeface="Verdana"/>
                </a:rPr>
                <a:t> </a:t>
              </a:r>
              <a:r>
                <a:rPr sz="700" spc="-5">
                  <a:latin typeface="Verdana"/>
                  <a:cs typeface="Verdana"/>
                </a:rPr>
                <a:t>dashboards</a:t>
              </a:r>
              <a:endParaRPr sz="700">
                <a:latin typeface="Verdana"/>
                <a:cs typeface="Verdana"/>
              </a:endParaRPr>
            </a:p>
          </p:txBody>
        </p:sp>
        <p:sp>
          <p:nvSpPr>
            <p:cNvPr id="52" name="object 52"/>
            <p:cNvSpPr/>
            <p:nvPr/>
          </p:nvSpPr>
          <p:spPr>
            <a:xfrm>
              <a:off x="4303776" y="3592067"/>
              <a:ext cx="754380" cy="464820"/>
            </a:xfrm>
            <a:custGeom>
              <a:avLst/>
              <a:gdLst/>
              <a:ahLst/>
              <a:cxnLst/>
              <a:rect l="l" t="t" r="r" b="b"/>
              <a:pathLst>
                <a:path w="754379" h="464820">
                  <a:moveTo>
                    <a:pt x="0" y="464820"/>
                  </a:moveTo>
                  <a:lnTo>
                    <a:pt x="754379" y="464820"/>
                  </a:lnTo>
                  <a:lnTo>
                    <a:pt x="754379" y="0"/>
                  </a:lnTo>
                  <a:lnTo>
                    <a:pt x="0" y="0"/>
                  </a:lnTo>
                  <a:lnTo>
                    <a:pt x="0" y="464820"/>
                  </a:lnTo>
                  <a:close/>
                </a:path>
              </a:pathLst>
            </a:custGeom>
            <a:solidFill>
              <a:srgbClr val="FFFFFF"/>
            </a:solidFill>
          </p:spPr>
          <p:txBody>
            <a:bodyPr wrap="square" lIns="0" tIns="0" rIns="0" bIns="0" rtlCol="0"/>
            <a:lstStyle/>
            <a:p>
              <a:endParaRPr/>
            </a:p>
          </p:txBody>
        </p:sp>
        <p:sp>
          <p:nvSpPr>
            <p:cNvPr id="53" name="object 53"/>
            <p:cNvSpPr txBox="1"/>
            <p:nvPr/>
          </p:nvSpPr>
          <p:spPr>
            <a:xfrm>
              <a:off x="3624707" y="3759200"/>
              <a:ext cx="1339850" cy="238760"/>
            </a:xfrm>
            <a:prstGeom prst="rect">
              <a:avLst/>
            </a:prstGeom>
          </p:spPr>
          <p:txBody>
            <a:bodyPr vert="horz" wrap="square" lIns="0" tIns="12065" rIns="0" bIns="0" rtlCol="0">
              <a:spAutoFit/>
            </a:bodyPr>
            <a:lstStyle/>
            <a:p>
              <a:pPr marL="12065" marR="5080" indent="-12700">
                <a:lnSpc>
                  <a:spcPct val="100000"/>
                </a:lnSpc>
                <a:spcBef>
                  <a:spcPts val="95"/>
                </a:spcBef>
                <a:tabLst>
                  <a:tab pos="785495" algn="l"/>
                  <a:tab pos="974090" algn="l"/>
                </a:tabLst>
              </a:pPr>
              <a:r>
                <a:rPr sz="700" spc="-10">
                  <a:latin typeface="Verdana"/>
                  <a:cs typeface="Verdana"/>
                </a:rPr>
                <a:t>Customize		</a:t>
              </a:r>
              <a:r>
                <a:rPr sz="700" spc="-5">
                  <a:latin typeface="Verdana"/>
                  <a:cs typeface="Verdana"/>
                </a:rPr>
                <a:t>and  Pr</a:t>
              </a:r>
              <a:r>
                <a:rPr sz="700" spc="-10">
                  <a:latin typeface="Verdana"/>
                  <a:cs typeface="Verdana"/>
                </a:rPr>
                <a:t>oc</a:t>
              </a:r>
              <a:r>
                <a:rPr sz="700" spc="-5">
                  <a:latin typeface="Verdana"/>
                  <a:cs typeface="Verdana"/>
                </a:rPr>
                <a:t>e</a:t>
              </a:r>
              <a:r>
                <a:rPr sz="700" spc="-10">
                  <a:latin typeface="Verdana"/>
                  <a:cs typeface="Verdana"/>
                </a:rPr>
                <a:t>ss</a:t>
              </a:r>
              <a:r>
                <a:rPr sz="700" spc="-5">
                  <a:latin typeface="Verdana"/>
                  <a:cs typeface="Verdana"/>
                </a:rPr>
                <a:t>es</a:t>
              </a:r>
              <a:r>
                <a:rPr sz="700">
                  <a:latin typeface="Verdana"/>
                  <a:cs typeface="Verdana"/>
                </a:rPr>
                <a:t>	</a:t>
              </a:r>
              <a:r>
                <a:rPr sz="700" spc="-10">
                  <a:latin typeface="Verdana"/>
                  <a:cs typeface="Verdana"/>
                </a:rPr>
                <a:t>I</a:t>
              </a:r>
              <a:r>
                <a:rPr sz="700" spc="-5">
                  <a:latin typeface="Verdana"/>
                  <a:cs typeface="Verdana"/>
                </a:rPr>
                <a:t>nt</a:t>
              </a:r>
              <a:r>
                <a:rPr sz="700">
                  <a:latin typeface="Verdana"/>
                  <a:cs typeface="Verdana"/>
                </a:rPr>
                <a:t>e</a:t>
              </a:r>
              <a:r>
                <a:rPr sz="700" spc="-5">
                  <a:latin typeface="Verdana"/>
                  <a:cs typeface="Verdana"/>
                </a:rPr>
                <a:t>grat</a:t>
              </a:r>
              <a:r>
                <a:rPr sz="700" spc="-15">
                  <a:latin typeface="Verdana"/>
                  <a:cs typeface="Verdana"/>
                </a:rPr>
                <a:t>i</a:t>
              </a:r>
              <a:r>
                <a:rPr sz="700" spc="-10">
                  <a:latin typeface="Verdana"/>
                  <a:cs typeface="Verdana"/>
                </a:rPr>
                <a:t>o</a:t>
              </a:r>
              <a:r>
                <a:rPr sz="700" spc="-5">
                  <a:latin typeface="Verdana"/>
                  <a:cs typeface="Verdana"/>
                </a:rPr>
                <a:t>ns</a:t>
              </a:r>
              <a:endParaRPr sz="700">
                <a:latin typeface="Verdana"/>
                <a:cs typeface="Verdana"/>
              </a:endParaRPr>
            </a:p>
          </p:txBody>
        </p:sp>
        <p:sp>
          <p:nvSpPr>
            <p:cNvPr id="54" name="object 54"/>
            <p:cNvSpPr/>
            <p:nvPr/>
          </p:nvSpPr>
          <p:spPr>
            <a:xfrm>
              <a:off x="5131308" y="3592067"/>
              <a:ext cx="753110" cy="464820"/>
            </a:xfrm>
            <a:custGeom>
              <a:avLst/>
              <a:gdLst/>
              <a:ahLst/>
              <a:cxnLst/>
              <a:rect l="l" t="t" r="r" b="b"/>
              <a:pathLst>
                <a:path w="753110" h="464820">
                  <a:moveTo>
                    <a:pt x="0" y="464820"/>
                  </a:moveTo>
                  <a:lnTo>
                    <a:pt x="752856" y="464820"/>
                  </a:lnTo>
                  <a:lnTo>
                    <a:pt x="752856" y="0"/>
                  </a:lnTo>
                  <a:lnTo>
                    <a:pt x="0" y="0"/>
                  </a:lnTo>
                  <a:lnTo>
                    <a:pt x="0" y="464820"/>
                  </a:lnTo>
                  <a:close/>
                </a:path>
              </a:pathLst>
            </a:custGeom>
            <a:solidFill>
              <a:srgbClr val="FFFFFF"/>
            </a:solidFill>
          </p:spPr>
          <p:txBody>
            <a:bodyPr wrap="square" lIns="0" tIns="0" rIns="0" bIns="0" rtlCol="0"/>
            <a:lstStyle/>
            <a:p>
              <a:endParaRPr/>
            </a:p>
          </p:txBody>
        </p:sp>
        <p:sp>
          <p:nvSpPr>
            <p:cNvPr id="55" name="object 55"/>
            <p:cNvSpPr txBox="1"/>
            <p:nvPr/>
          </p:nvSpPr>
          <p:spPr>
            <a:xfrm>
              <a:off x="3542029" y="3652520"/>
              <a:ext cx="2206625" cy="132080"/>
            </a:xfrm>
            <a:prstGeom prst="rect">
              <a:avLst/>
            </a:prstGeom>
          </p:spPr>
          <p:txBody>
            <a:bodyPr vert="horz" wrap="square" lIns="0" tIns="12065" rIns="0" bIns="0" rtlCol="0">
              <a:spAutoFit/>
            </a:bodyPr>
            <a:lstStyle/>
            <a:p>
              <a:pPr>
                <a:lnSpc>
                  <a:spcPct val="100000"/>
                </a:lnSpc>
                <a:spcBef>
                  <a:spcPts val="95"/>
                </a:spcBef>
                <a:tabLst>
                  <a:tab pos="796290" algn="l"/>
                  <a:tab pos="1739264" algn="l"/>
                </a:tabLst>
              </a:pPr>
              <a:r>
                <a:rPr sz="700">
                  <a:latin typeface="Verdana"/>
                  <a:cs typeface="Verdana"/>
                </a:rPr>
                <a:t>C</a:t>
              </a:r>
              <a:r>
                <a:rPr sz="700" spc="-10">
                  <a:latin typeface="Verdana"/>
                  <a:cs typeface="Verdana"/>
                </a:rPr>
                <a:t>o</a:t>
              </a:r>
              <a:r>
                <a:rPr sz="700" spc="-5">
                  <a:latin typeface="Verdana"/>
                  <a:cs typeface="Verdana"/>
                </a:rPr>
                <a:t>n</a:t>
              </a:r>
              <a:r>
                <a:rPr sz="700" spc="-10">
                  <a:latin typeface="Verdana"/>
                  <a:cs typeface="Verdana"/>
                </a:rPr>
                <a:t>f</a:t>
              </a:r>
              <a:r>
                <a:rPr sz="700" spc="-20">
                  <a:latin typeface="Verdana"/>
                  <a:cs typeface="Verdana"/>
                </a:rPr>
                <a:t>i</a:t>
              </a:r>
              <a:r>
                <a:rPr sz="700" spc="-5">
                  <a:latin typeface="Verdana"/>
                  <a:cs typeface="Verdana"/>
                </a:rPr>
                <a:t>gure</a:t>
              </a:r>
              <a:r>
                <a:rPr sz="700" spc="5">
                  <a:latin typeface="Verdana"/>
                  <a:cs typeface="Verdana"/>
                </a:rPr>
                <a:t> </a:t>
              </a:r>
              <a:r>
                <a:rPr sz="700" spc="-5">
                  <a:latin typeface="Verdana"/>
                  <a:cs typeface="Verdana"/>
                </a:rPr>
                <a:t>and</a:t>
              </a:r>
              <a:r>
                <a:rPr sz="700">
                  <a:latin typeface="Verdana"/>
                  <a:cs typeface="Verdana"/>
                </a:rPr>
                <a:t>	</a:t>
              </a:r>
              <a:r>
                <a:rPr sz="700" spc="-5">
                  <a:latin typeface="Verdana"/>
                  <a:cs typeface="Verdana"/>
                </a:rPr>
                <a:t>Bu</a:t>
              </a:r>
              <a:r>
                <a:rPr sz="700" spc="-20">
                  <a:latin typeface="Verdana"/>
                  <a:cs typeface="Verdana"/>
                </a:rPr>
                <a:t>il</a:t>
              </a:r>
              <a:r>
                <a:rPr sz="700" spc="-5">
                  <a:latin typeface="Verdana"/>
                  <a:cs typeface="Verdana"/>
                </a:rPr>
                <a:t>d</a:t>
              </a:r>
              <a:r>
                <a:rPr sz="700" spc="15">
                  <a:latin typeface="Verdana"/>
                  <a:cs typeface="Verdana"/>
                </a:rPr>
                <a:t> </a:t>
              </a:r>
              <a:r>
                <a:rPr sz="700" spc="-20">
                  <a:latin typeface="Verdana"/>
                  <a:cs typeface="Verdana"/>
                </a:rPr>
                <a:t>i</a:t>
              </a:r>
              <a:r>
                <a:rPr sz="700" spc="-5">
                  <a:latin typeface="Verdana"/>
                  <a:cs typeface="Verdana"/>
                </a:rPr>
                <a:t>nt</a:t>
              </a:r>
              <a:r>
                <a:rPr sz="700">
                  <a:latin typeface="Verdana"/>
                  <a:cs typeface="Verdana"/>
                </a:rPr>
                <a:t>e</a:t>
              </a:r>
              <a:r>
                <a:rPr sz="700" spc="-5">
                  <a:latin typeface="Verdana"/>
                  <a:cs typeface="Verdana"/>
                </a:rPr>
                <a:t>r</a:t>
              </a:r>
              <a:r>
                <a:rPr sz="700" spc="-10">
                  <a:latin typeface="Verdana"/>
                  <a:cs typeface="Verdana"/>
                </a:rPr>
                <a:t>f</a:t>
              </a:r>
              <a:r>
                <a:rPr sz="700" spc="-5">
                  <a:latin typeface="Verdana"/>
                  <a:cs typeface="Verdana"/>
                </a:rPr>
                <a:t>aces</a:t>
              </a:r>
              <a:r>
                <a:rPr sz="700">
                  <a:latin typeface="Verdana"/>
                  <a:cs typeface="Verdana"/>
                </a:rPr>
                <a:t>	</a:t>
              </a:r>
              <a:r>
                <a:rPr sz="700" spc="-10">
                  <a:latin typeface="Verdana"/>
                  <a:cs typeface="Verdana"/>
                </a:rPr>
                <a:t>F</a:t>
              </a:r>
              <a:r>
                <a:rPr sz="700" spc="-5">
                  <a:latin typeface="Verdana"/>
                  <a:cs typeface="Verdana"/>
                </a:rPr>
                <a:t>un</a:t>
              </a:r>
              <a:r>
                <a:rPr sz="700" spc="-10">
                  <a:latin typeface="Verdana"/>
                  <a:cs typeface="Verdana"/>
                </a:rPr>
                <a:t>c</a:t>
              </a:r>
              <a:r>
                <a:rPr sz="700" spc="-5">
                  <a:latin typeface="Verdana"/>
                  <a:cs typeface="Verdana"/>
                </a:rPr>
                <a:t>t</a:t>
              </a:r>
              <a:r>
                <a:rPr sz="700" spc="-15">
                  <a:latin typeface="Verdana"/>
                  <a:cs typeface="Verdana"/>
                </a:rPr>
                <a:t>i</a:t>
              </a:r>
              <a:r>
                <a:rPr sz="700" spc="-10">
                  <a:latin typeface="Verdana"/>
                  <a:cs typeface="Verdana"/>
                </a:rPr>
                <a:t>o</a:t>
              </a:r>
              <a:r>
                <a:rPr sz="700" spc="-5">
                  <a:latin typeface="Verdana"/>
                  <a:cs typeface="Verdana"/>
                </a:rPr>
                <a:t>nal</a:t>
              </a:r>
              <a:endParaRPr sz="700">
                <a:latin typeface="Verdana"/>
                <a:cs typeface="Verdana"/>
              </a:endParaRPr>
            </a:p>
          </p:txBody>
        </p:sp>
        <p:sp>
          <p:nvSpPr>
            <p:cNvPr id="56" name="object 56"/>
            <p:cNvSpPr txBox="1"/>
            <p:nvPr/>
          </p:nvSpPr>
          <p:spPr>
            <a:xfrm>
              <a:off x="5169153" y="3759200"/>
              <a:ext cx="690245" cy="238760"/>
            </a:xfrm>
            <a:prstGeom prst="rect">
              <a:avLst/>
            </a:prstGeom>
          </p:spPr>
          <p:txBody>
            <a:bodyPr vert="horz" wrap="square" lIns="0" tIns="12065" rIns="0" bIns="0" rtlCol="0">
              <a:spAutoFit/>
            </a:bodyPr>
            <a:lstStyle/>
            <a:p>
              <a:pPr marL="245110" marR="5080" indent="-245745">
                <a:lnSpc>
                  <a:spcPct val="100000"/>
                </a:lnSpc>
                <a:spcBef>
                  <a:spcPts val="95"/>
                </a:spcBef>
              </a:pPr>
              <a:r>
                <a:rPr sz="700" spc="-5">
                  <a:latin typeface="Verdana"/>
                  <a:cs typeface="Verdana"/>
                </a:rPr>
                <a:t>and</a:t>
              </a:r>
              <a:r>
                <a:rPr sz="700" spc="-75">
                  <a:latin typeface="Verdana"/>
                  <a:cs typeface="Verdana"/>
                </a:rPr>
                <a:t> </a:t>
              </a:r>
              <a:r>
                <a:rPr sz="700" spc="-5">
                  <a:latin typeface="Verdana"/>
                  <a:cs typeface="Verdana"/>
                </a:rPr>
                <a:t>integration  Test</a:t>
              </a:r>
              <a:endParaRPr sz="700">
                <a:latin typeface="Verdana"/>
                <a:cs typeface="Verdana"/>
              </a:endParaRPr>
            </a:p>
          </p:txBody>
        </p:sp>
        <p:sp>
          <p:nvSpPr>
            <p:cNvPr id="57" name="object 57"/>
            <p:cNvSpPr/>
            <p:nvPr/>
          </p:nvSpPr>
          <p:spPr>
            <a:xfrm>
              <a:off x="5958840" y="3592067"/>
              <a:ext cx="753110" cy="464820"/>
            </a:xfrm>
            <a:custGeom>
              <a:avLst/>
              <a:gdLst/>
              <a:ahLst/>
              <a:cxnLst/>
              <a:rect l="l" t="t" r="r" b="b"/>
              <a:pathLst>
                <a:path w="753109" h="464820">
                  <a:moveTo>
                    <a:pt x="0" y="464820"/>
                  </a:moveTo>
                  <a:lnTo>
                    <a:pt x="752856" y="464820"/>
                  </a:lnTo>
                  <a:lnTo>
                    <a:pt x="752856" y="0"/>
                  </a:lnTo>
                  <a:lnTo>
                    <a:pt x="0" y="0"/>
                  </a:lnTo>
                  <a:lnTo>
                    <a:pt x="0" y="464820"/>
                  </a:lnTo>
                  <a:close/>
                </a:path>
              </a:pathLst>
            </a:custGeom>
            <a:solidFill>
              <a:srgbClr val="FFFFFF"/>
            </a:solidFill>
          </p:spPr>
          <p:txBody>
            <a:bodyPr wrap="square" lIns="0" tIns="0" rIns="0" bIns="0" rtlCol="0"/>
            <a:lstStyle/>
            <a:p>
              <a:endParaRPr/>
            </a:p>
          </p:txBody>
        </p:sp>
        <p:sp>
          <p:nvSpPr>
            <p:cNvPr id="58" name="object 58"/>
            <p:cNvSpPr txBox="1"/>
            <p:nvPr/>
          </p:nvSpPr>
          <p:spPr>
            <a:xfrm>
              <a:off x="5993257" y="3705859"/>
              <a:ext cx="697230" cy="238760"/>
            </a:xfrm>
            <a:prstGeom prst="rect">
              <a:avLst/>
            </a:prstGeom>
          </p:spPr>
          <p:txBody>
            <a:bodyPr vert="horz" wrap="square" lIns="0" tIns="12065" rIns="0" bIns="0" rtlCol="0">
              <a:spAutoFit/>
            </a:bodyPr>
            <a:lstStyle/>
            <a:p>
              <a:pPr marL="54610" marR="5080" indent="-55244">
                <a:lnSpc>
                  <a:spcPct val="100000"/>
                </a:lnSpc>
                <a:spcBef>
                  <a:spcPts val="95"/>
                </a:spcBef>
              </a:pPr>
              <a:r>
                <a:rPr sz="700" spc="-5">
                  <a:latin typeface="Verdana"/>
                  <a:cs typeface="Verdana"/>
                </a:rPr>
                <a:t>Clean,</a:t>
              </a:r>
              <a:r>
                <a:rPr sz="700" spc="-75">
                  <a:latin typeface="Verdana"/>
                  <a:cs typeface="Verdana"/>
                </a:rPr>
                <a:t> </a:t>
              </a:r>
              <a:r>
                <a:rPr sz="700" spc="-5">
                  <a:latin typeface="Verdana"/>
                  <a:cs typeface="Verdana"/>
                </a:rPr>
                <a:t>De-Dup,  Migrate</a:t>
              </a:r>
              <a:r>
                <a:rPr sz="700" spc="-10">
                  <a:latin typeface="Verdana"/>
                  <a:cs typeface="Verdana"/>
                </a:rPr>
                <a:t> </a:t>
              </a:r>
              <a:r>
                <a:rPr sz="700" spc="-5">
                  <a:latin typeface="Verdana"/>
                  <a:cs typeface="Verdana"/>
                </a:rPr>
                <a:t>Data</a:t>
              </a:r>
              <a:endParaRPr sz="700">
                <a:latin typeface="Verdana"/>
                <a:cs typeface="Verdana"/>
              </a:endParaRPr>
            </a:p>
          </p:txBody>
        </p:sp>
        <p:sp>
          <p:nvSpPr>
            <p:cNvPr id="59" name="object 59"/>
            <p:cNvSpPr txBox="1"/>
            <p:nvPr/>
          </p:nvSpPr>
          <p:spPr>
            <a:xfrm>
              <a:off x="6806183" y="3592067"/>
              <a:ext cx="754380" cy="403860"/>
            </a:xfrm>
            <a:prstGeom prst="rect">
              <a:avLst/>
            </a:prstGeom>
            <a:solidFill>
              <a:srgbClr val="FFFFFF"/>
            </a:solidFill>
          </p:spPr>
          <p:txBody>
            <a:bodyPr vert="horz" wrap="square" lIns="0" tIns="0" rIns="0" bIns="0" rtlCol="0">
              <a:spAutoFit/>
            </a:bodyPr>
            <a:lstStyle/>
            <a:p>
              <a:pPr>
                <a:lnSpc>
                  <a:spcPct val="100000"/>
                </a:lnSpc>
              </a:pPr>
              <a:endParaRPr sz="650">
                <a:latin typeface="Times New Roman"/>
                <a:cs typeface="Times New Roman"/>
              </a:endParaRPr>
            </a:p>
            <a:p>
              <a:pPr marL="1905" algn="ctr">
                <a:lnSpc>
                  <a:spcPct val="100000"/>
                </a:lnSpc>
                <a:spcBef>
                  <a:spcPts val="5"/>
                </a:spcBef>
              </a:pPr>
              <a:r>
                <a:rPr sz="700" spc="-5">
                  <a:latin typeface="Verdana"/>
                  <a:cs typeface="Verdana"/>
                </a:rPr>
                <a:t>End</a:t>
              </a:r>
              <a:r>
                <a:rPr sz="700" spc="-20">
                  <a:latin typeface="Verdana"/>
                  <a:cs typeface="Verdana"/>
                </a:rPr>
                <a:t> </a:t>
              </a:r>
              <a:r>
                <a:rPr sz="700" spc="-10">
                  <a:latin typeface="Verdana"/>
                  <a:cs typeface="Verdana"/>
                </a:rPr>
                <a:t>to</a:t>
              </a:r>
              <a:endParaRPr sz="700">
                <a:latin typeface="Verdana"/>
                <a:cs typeface="Verdana"/>
              </a:endParaRPr>
            </a:p>
            <a:p>
              <a:pPr algn="ctr">
                <a:lnSpc>
                  <a:spcPct val="100000"/>
                </a:lnSpc>
              </a:pPr>
              <a:r>
                <a:rPr sz="700" spc="-5">
                  <a:latin typeface="Verdana"/>
                  <a:cs typeface="Verdana"/>
                </a:rPr>
                <a:t>End &amp; </a:t>
              </a:r>
              <a:r>
                <a:rPr sz="700" spc="-10">
                  <a:latin typeface="Verdana"/>
                  <a:cs typeface="Verdana"/>
                </a:rPr>
                <a:t>NRT</a:t>
              </a:r>
              <a:r>
                <a:rPr sz="700" spc="-30">
                  <a:latin typeface="Verdana"/>
                  <a:cs typeface="Verdana"/>
                </a:rPr>
                <a:t> </a:t>
              </a:r>
              <a:r>
                <a:rPr sz="700" spc="-5">
                  <a:latin typeface="Verdana"/>
                  <a:cs typeface="Verdana"/>
                </a:rPr>
                <a:t>Test</a:t>
              </a:r>
              <a:endParaRPr sz="700">
                <a:latin typeface="Verdana"/>
                <a:cs typeface="Verdana"/>
              </a:endParaRPr>
            </a:p>
          </p:txBody>
        </p:sp>
        <p:sp>
          <p:nvSpPr>
            <p:cNvPr id="60" name="object 60"/>
            <p:cNvSpPr txBox="1"/>
            <p:nvPr/>
          </p:nvSpPr>
          <p:spPr>
            <a:xfrm>
              <a:off x="6806183" y="4030979"/>
              <a:ext cx="754380" cy="765175"/>
            </a:xfrm>
            <a:prstGeom prst="rect">
              <a:avLst/>
            </a:prstGeom>
            <a:solidFill>
              <a:srgbClr val="FFFFFF"/>
            </a:solidFill>
          </p:spPr>
          <p:txBody>
            <a:bodyPr vert="horz" wrap="square" lIns="0" tIns="78740" rIns="0" bIns="0" rtlCol="0">
              <a:spAutoFit/>
            </a:bodyPr>
            <a:lstStyle/>
            <a:p>
              <a:pPr marL="194945" marR="186055" indent="635" algn="ctr">
                <a:lnSpc>
                  <a:spcPct val="100000"/>
                </a:lnSpc>
                <a:spcBef>
                  <a:spcPts val="620"/>
                </a:spcBef>
              </a:pPr>
              <a:r>
                <a:rPr sz="700" spc="-10">
                  <a:latin typeface="Verdana"/>
                  <a:cs typeface="Verdana"/>
                </a:rPr>
                <a:t>Deploy  </a:t>
              </a:r>
              <a:r>
                <a:rPr sz="700" spc="-5">
                  <a:latin typeface="Verdana"/>
                  <a:cs typeface="Verdana"/>
                </a:rPr>
                <a:t>Pac</a:t>
              </a:r>
              <a:r>
                <a:rPr sz="700" spc="-10">
                  <a:latin typeface="Verdana"/>
                  <a:cs typeface="Verdana"/>
                </a:rPr>
                <a:t>k</a:t>
              </a:r>
              <a:r>
                <a:rPr sz="700" spc="-5">
                  <a:latin typeface="Verdana"/>
                  <a:cs typeface="Verdana"/>
                </a:rPr>
                <a:t>age</a:t>
              </a:r>
              <a:endParaRPr sz="700">
                <a:latin typeface="Verdana"/>
                <a:cs typeface="Verdana"/>
              </a:endParaRPr>
            </a:p>
            <a:p>
              <a:pPr>
                <a:lnSpc>
                  <a:spcPct val="100000"/>
                </a:lnSpc>
              </a:pPr>
              <a:endParaRPr sz="800">
                <a:latin typeface="Times New Roman"/>
                <a:cs typeface="Times New Roman"/>
              </a:endParaRPr>
            </a:p>
            <a:p>
              <a:pPr marL="34925" marR="25400" algn="ctr">
                <a:lnSpc>
                  <a:spcPct val="100000"/>
                </a:lnSpc>
                <a:spcBef>
                  <a:spcPts val="509"/>
                </a:spcBef>
              </a:pPr>
              <a:r>
                <a:rPr sz="700" spc="-5">
                  <a:latin typeface="Verdana"/>
                  <a:cs typeface="Verdana"/>
                </a:rPr>
                <a:t>Create</a:t>
              </a:r>
              <a:r>
                <a:rPr sz="700" spc="-45">
                  <a:latin typeface="Verdana"/>
                  <a:cs typeface="Verdana"/>
                </a:rPr>
                <a:t> </a:t>
              </a:r>
              <a:r>
                <a:rPr sz="700" spc="-10">
                  <a:latin typeface="Verdana"/>
                  <a:cs typeface="Verdana"/>
                </a:rPr>
                <a:t>Training  Guides</a:t>
              </a:r>
              <a:endParaRPr sz="700">
                <a:latin typeface="Verdana"/>
                <a:cs typeface="Verdana"/>
              </a:endParaRPr>
            </a:p>
          </p:txBody>
        </p:sp>
        <p:sp>
          <p:nvSpPr>
            <p:cNvPr id="61" name="object 61"/>
            <p:cNvSpPr/>
            <p:nvPr/>
          </p:nvSpPr>
          <p:spPr>
            <a:xfrm>
              <a:off x="7822692" y="3592067"/>
              <a:ext cx="635635" cy="403860"/>
            </a:xfrm>
            <a:custGeom>
              <a:avLst/>
              <a:gdLst/>
              <a:ahLst/>
              <a:cxnLst/>
              <a:rect l="l" t="t" r="r" b="b"/>
              <a:pathLst>
                <a:path w="635634" h="403860">
                  <a:moveTo>
                    <a:pt x="0" y="403860"/>
                  </a:moveTo>
                  <a:lnTo>
                    <a:pt x="635507" y="403860"/>
                  </a:lnTo>
                  <a:lnTo>
                    <a:pt x="635507" y="0"/>
                  </a:lnTo>
                  <a:lnTo>
                    <a:pt x="0" y="0"/>
                  </a:lnTo>
                  <a:lnTo>
                    <a:pt x="0" y="403860"/>
                  </a:lnTo>
                  <a:close/>
                </a:path>
              </a:pathLst>
            </a:custGeom>
            <a:solidFill>
              <a:srgbClr val="FFFFFF"/>
            </a:solidFill>
          </p:spPr>
          <p:txBody>
            <a:bodyPr wrap="square" lIns="0" tIns="0" rIns="0" bIns="0" rtlCol="0"/>
            <a:lstStyle/>
            <a:p>
              <a:endParaRPr/>
            </a:p>
          </p:txBody>
        </p:sp>
        <p:sp>
          <p:nvSpPr>
            <p:cNvPr id="62" name="object 62"/>
            <p:cNvSpPr txBox="1"/>
            <p:nvPr/>
          </p:nvSpPr>
          <p:spPr>
            <a:xfrm>
              <a:off x="7876793" y="3675379"/>
              <a:ext cx="528955" cy="238760"/>
            </a:xfrm>
            <a:prstGeom prst="rect">
              <a:avLst/>
            </a:prstGeom>
          </p:spPr>
          <p:txBody>
            <a:bodyPr vert="horz" wrap="square" lIns="0" tIns="12065" rIns="0" bIns="0" rtlCol="0">
              <a:spAutoFit/>
            </a:bodyPr>
            <a:lstStyle/>
            <a:p>
              <a:pPr marL="12700" marR="5080" indent="31750">
                <a:lnSpc>
                  <a:spcPct val="100000"/>
                </a:lnSpc>
                <a:spcBef>
                  <a:spcPts val="95"/>
                </a:spcBef>
              </a:pPr>
              <a:r>
                <a:rPr sz="700" spc="-10">
                  <a:latin typeface="Verdana"/>
                  <a:cs typeface="Verdana"/>
                </a:rPr>
                <a:t>Final User  </a:t>
              </a:r>
              <a:r>
                <a:rPr sz="700" spc="-5">
                  <a:latin typeface="Verdana"/>
                  <a:cs typeface="Verdana"/>
                </a:rPr>
                <a:t>A</a:t>
              </a:r>
              <a:r>
                <a:rPr sz="700" spc="-10">
                  <a:latin typeface="Verdana"/>
                  <a:cs typeface="Verdana"/>
                </a:rPr>
                <a:t>cc</a:t>
              </a:r>
              <a:r>
                <a:rPr sz="700" spc="-5">
                  <a:latin typeface="Verdana"/>
                  <a:cs typeface="Verdana"/>
                </a:rPr>
                <a:t>eptan</a:t>
              </a:r>
              <a:r>
                <a:rPr sz="700" spc="-10">
                  <a:latin typeface="Verdana"/>
                  <a:cs typeface="Verdana"/>
                </a:rPr>
                <a:t>c</a:t>
              </a:r>
              <a:r>
                <a:rPr sz="700" spc="-5">
                  <a:latin typeface="Verdana"/>
                  <a:cs typeface="Verdana"/>
                </a:rPr>
                <a:t>e</a:t>
              </a:r>
              <a:endParaRPr sz="700">
                <a:latin typeface="Verdana"/>
                <a:cs typeface="Verdana"/>
              </a:endParaRPr>
            </a:p>
          </p:txBody>
        </p:sp>
        <p:sp>
          <p:nvSpPr>
            <p:cNvPr id="63" name="object 63"/>
            <p:cNvSpPr/>
            <p:nvPr/>
          </p:nvSpPr>
          <p:spPr>
            <a:xfrm>
              <a:off x="7822692" y="4030979"/>
              <a:ext cx="635635" cy="370840"/>
            </a:xfrm>
            <a:custGeom>
              <a:avLst/>
              <a:gdLst/>
              <a:ahLst/>
              <a:cxnLst/>
              <a:rect l="l" t="t" r="r" b="b"/>
              <a:pathLst>
                <a:path w="635634" h="370839">
                  <a:moveTo>
                    <a:pt x="0" y="370332"/>
                  </a:moveTo>
                  <a:lnTo>
                    <a:pt x="635507" y="370332"/>
                  </a:lnTo>
                  <a:lnTo>
                    <a:pt x="635507" y="0"/>
                  </a:lnTo>
                  <a:lnTo>
                    <a:pt x="0" y="0"/>
                  </a:lnTo>
                  <a:lnTo>
                    <a:pt x="0" y="370332"/>
                  </a:lnTo>
                  <a:close/>
                </a:path>
              </a:pathLst>
            </a:custGeom>
            <a:solidFill>
              <a:srgbClr val="FFFFFF"/>
            </a:solidFill>
          </p:spPr>
          <p:txBody>
            <a:bodyPr wrap="square" lIns="0" tIns="0" rIns="0" bIns="0" rtlCol="0"/>
            <a:lstStyle/>
            <a:p>
              <a:endParaRPr/>
            </a:p>
          </p:txBody>
        </p:sp>
        <p:sp>
          <p:nvSpPr>
            <p:cNvPr id="64" name="object 64"/>
            <p:cNvSpPr txBox="1"/>
            <p:nvPr/>
          </p:nvSpPr>
          <p:spPr>
            <a:xfrm>
              <a:off x="7893557" y="4097528"/>
              <a:ext cx="494665" cy="238760"/>
            </a:xfrm>
            <a:prstGeom prst="rect">
              <a:avLst/>
            </a:prstGeom>
          </p:spPr>
          <p:txBody>
            <a:bodyPr vert="horz" wrap="square" lIns="0" tIns="12065" rIns="0" bIns="0" rtlCol="0">
              <a:spAutoFit/>
            </a:bodyPr>
            <a:lstStyle/>
            <a:p>
              <a:pPr marL="76200" marR="5080" indent="-64135">
                <a:lnSpc>
                  <a:spcPct val="100000"/>
                </a:lnSpc>
                <a:spcBef>
                  <a:spcPts val="95"/>
                </a:spcBef>
              </a:pPr>
              <a:r>
                <a:rPr sz="700" spc="-5">
                  <a:latin typeface="Verdana"/>
                  <a:cs typeface="Verdana"/>
                </a:rPr>
                <a:t>Pr</a:t>
              </a:r>
              <a:r>
                <a:rPr sz="700" spc="-10">
                  <a:latin typeface="Verdana"/>
                  <a:cs typeface="Verdana"/>
                </a:rPr>
                <a:t>o</a:t>
              </a:r>
              <a:r>
                <a:rPr sz="700" spc="-5">
                  <a:latin typeface="Verdana"/>
                  <a:cs typeface="Verdana"/>
                </a:rPr>
                <a:t>duct</a:t>
              </a:r>
              <a:r>
                <a:rPr sz="700" spc="-15">
                  <a:latin typeface="Verdana"/>
                  <a:cs typeface="Verdana"/>
                </a:rPr>
                <a:t>i</a:t>
              </a:r>
              <a:r>
                <a:rPr sz="700" spc="-10">
                  <a:latin typeface="Verdana"/>
                  <a:cs typeface="Verdana"/>
                </a:rPr>
                <a:t>o</a:t>
              </a:r>
              <a:r>
                <a:rPr sz="700" spc="-5">
                  <a:latin typeface="Verdana"/>
                  <a:cs typeface="Verdana"/>
                </a:rPr>
                <a:t>n  </a:t>
              </a:r>
              <a:r>
                <a:rPr sz="700" spc="-10">
                  <a:latin typeface="Verdana"/>
                  <a:cs typeface="Verdana"/>
                </a:rPr>
                <a:t>Release</a:t>
              </a:r>
              <a:endParaRPr sz="700">
                <a:latin typeface="Verdana"/>
                <a:cs typeface="Verdana"/>
              </a:endParaRPr>
            </a:p>
          </p:txBody>
        </p:sp>
        <p:sp>
          <p:nvSpPr>
            <p:cNvPr id="65" name="object 65"/>
            <p:cNvSpPr/>
            <p:nvPr/>
          </p:nvSpPr>
          <p:spPr>
            <a:xfrm>
              <a:off x="8538971" y="3592067"/>
              <a:ext cx="635635" cy="403860"/>
            </a:xfrm>
            <a:custGeom>
              <a:avLst/>
              <a:gdLst/>
              <a:ahLst/>
              <a:cxnLst/>
              <a:rect l="l" t="t" r="r" b="b"/>
              <a:pathLst>
                <a:path w="635634" h="403860">
                  <a:moveTo>
                    <a:pt x="0" y="403860"/>
                  </a:moveTo>
                  <a:lnTo>
                    <a:pt x="635507" y="403860"/>
                  </a:lnTo>
                  <a:lnTo>
                    <a:pt x="635507" y="0"/>
                  </a:lnTo>
                  <a:lnTo>
                    <a:pt x="0" y="0"/>
                  </a:lnTo>
                  <a:lnTo>
                    <a:pt x="0" y="403860"/>
                  </a:lnTo>
                  <a:close/>
                </a:path>
              </a:pathLst>
            </a:custGeom>
            <a:solidFill>
              <a:srgbClr val="FFFFFF"/>
            </a:solidFill>
          </p:spPr>
          <p:txBody>
            <a:bodyPr wrap="square" lIns="0" tIns="0" rIns="0" bIns="0" rtlCol="0"/>
            <a:lstStyle/>
            <a:p>
              <a:endParaRPr/>
            </a:p>
          </p:txBody>
        </p:sp>
        <p:sp>
          <p:nvSpPr>
            <p:cNvPr id="66" name="object 66"/>
            <p:cNvSpPr txBox="1"/>
            <p:nvPr/>
          </p:nvSpPr>
          <p:spPr>
            <a:xfrm>
              <a:off x="8664320" y="3675379"/>
              <a:ext cx="385445" cy="238760"/>
            </a:xfrm>
            <a:prstGeom prst="rect">
              <a:avLst/>
            </a:prstGeom>
          </p:spPr>
          <p:txBody>
            <a:bodyPr vert="horz" wrap="square" lIns="0" tIns="12065" rIns="0" bIns="0" rtlCol="0">
              <a:spAutoFit/>
            </a:bodyPr>
            <a:lstStyle/>
            <a:p>
              <a:pPr marL="12700" marR="5080" indent="79375">
                <a:lnSpc>
                  <a:spcPct val="100000"/>
                </a:lnSpc>
                <a:spcBef>
                  <a:spcPts val="95"/>
                </a:spcBef>
              </a:pPr>
              <a:r>
                <a:rPr sz="700" spc="-10">
                  <a:latin typeface="Verdana"/>
                  <a:cs typeface="Verdana"/>
                </a:rPr>
                <a:t>User  </a:t>
              </a:r>
              <a:r>
                <a:rPr sz="700" spc="-5">
                  <a:latin typeface="Verdana"/>
                  <a:cs typeface="Verdana"/>
                </a:rPr>
                <a:t>Tra</a:t>
              </a:r>
              <a:r>
                <a:rPr sz="700" spc="-15">
                  <a:latin typeface="Verdana"/>
                  <a:cs typeface="Verdana"/>
                </a:rPr>
                <a:t>i</a:t>
              </a:r>
              <a:r>
                <a:rPr sz="700" spc="-5">
                  <a:latin typeface="Verdana"/>
                  <a:cs typeface="Verdana"/>
                </a:rPr>
                <a:t>n</a:t>
              </a:r>
              <a:r>
                <a:rPr sz="700" spc="-20">
                  <a:latin typeface="Verdana"/>
                  <a:cs typeface="Verdana"/>
                </a:rPr>
                <a:t>i</a:t>
              </a:r>
              <a:r>
                <a:rPr sz="700" spc="-5">
                  <a:latin typeface="Verdana"/>
                  <a:cs typeface="Verdana"/>
                </a:rPr>
                <a:t>ng</a:t>
              </a:r>
              <a:endParaRPr sz="700">
                <a:latin typeface="Verdana"/>
                <a:cs typeface="Verdana"/>
              </a:endParaRPr>
            </a:p>
          </p:txBody>
        </p:sp>
        <p:sp>
          <p:nvSpPr>
            <p:cNvPr id="67" name="object 67"/>
            <p:cNvSpPr/>
            <p:nvPr/>
          </p:nvSpPr>
          <p:spPr>
            <a:xfrm>
              <a:off x="8538971" y="4030979"/>
              <a:ext cx="635635" cy="370840"/>
            </a:xfrm>
            <a:custGeom>
              <a:avLst/>
              <a:gdLst/>
              <a:ahLst/>
              <a:cxnLst/>
              <a:rect l="l" t="t" r="r" b="b"/>
              <a:pathLst>
                <a:path w="635634" h="370839">
                  <a:moveTo>
                    <a:pt x="0" y="370332"/>
                  </a:moveTo>
                  <a:lnTo>
                    <a:pt x="635507" y="370332"/>
                  </a:lnTo>
                  <a:lnTo>
                    <a:pt x="635507" y="0"/>
                  </a:lnTo>
                  <a:lnTo>
                    <a:pt x="0" y="0"/>
                  </a:lnTo>
                  <a:lnTo>
                    <a:pt x="0" y="370332"/>
                  </a:lnTo>
                  <a:close/>
                </a:path>
              </a:pathLst>
            </a:custGeom>
            <a:solidFill>
              <a:srgbClr val="FFFFFF"/>
            </a:solidFill>
          </p:spPr>
          <p:txBody>
            <a:bodyPr wrap="square" lIns="0" tIns="0" rIns="0" bIns="0" rtlCol="0"/>
            <a:lstStyle/>
            <a:p>
              <a:endParaRPr/>
            </a:p>
          </p:txBody>
        </p:sp>
        <p:sp>
          <p:nvSpPr>
            <p:cNvPr id="68" name="object 68"/>
            <p:cNvSpPr txBox="1"/>
            <p:nvPr/>
          </p:nvSpPr>
          <p:spPr>
            <a:xfrm>
              <a:off x="8588120" y="4097528"/>
              <a:ext cx="539750" cy="238760"/>
            </a:xfrm>
            <a:prstGeom prst="rect">
              <a:avLst/>
            </a:prstGeom>
          </p:spPr>
          <p:txBody>
            <a:bodyPr vert="horz" wrap="square" lIns="0" tIns="12065" rIns="0" bIns="0" rtlCol="0">
              <a:spAutoFit/>
            </a:bodyPr>
            <a:lstStyle/>
            <a:p>
              <a:pPr marL="55244" marR="5080" indent="-43180">
                <a:lnSpc>
                  <a:spcPct val="100000"/>
                </a:lnSpc>
                <a:spcBef>
                  <a:spcPts val="95"/>
                </a:spcBef>
              </a:pPr>
              <a:r>
                <a:rPr sz="700" spc="-5">
                  <a:latin typeface="Verdana"/>
                  <a:cs typeface="Verdana"/>
                </a:rPr>
                <a:t>Operat</a:t>
              </a:r>
              <a:r>
                <a:rPr sz="700" spc="-20">
                  <a:latin typeface="Verdana"/>
                  <a:cs typeface="Verdana"/>
                </a:rPr>
                <a:t>i</a:t>
              </a:r>
              <a:r>
                <a:rPr sz="700" spc="-10">
                  <a:latin typeface="Verdana"/>
                  <a:cs typeface="Verdana"/>
                </a:rPr>
                <a:t>o</a:t>
              </a:r>
              <a:r>
                <a:rPr sz="700" spc="-5">
                  <a:latin typeface="Verdana"/>
                  <a:cs typeface="Verdana"/>
                </a:rPr>
                <a:t>nal  Handover</a:t>
              </a:r>
              <a:endParaRPr sz="700">
                <a:latin typeface="Verdana"/>
                <a:cs typeface="Verdana"/>
              </a:endParaRPr>
            </a:p>
          </p:txBody>
        </p:sp>
        <p:sp>
          <p:nvSpPr>
            <p:cNvPr id="69" name="object 69"/>
            <p:cNvSpPr/>
            <p:nvPr/>
          </p:nvSpPr>
          <p:spPr>
            <a:xfrm>
              <a:off x="3427476" y="4878323"/>
              <a:ext cx="4213860" cy="401320"/>
            </a:xfrm>
            <a:custGeom>
              <a:avLst/>
              <a:gdLst/>
              <a:ahLst/>
              <a:cxnLst/>
              <a:rect l="l" t="t" r="r" b="b"/>
              <a:pathLst>
                <a:path w="4213859" h="401320">
                  <a:moveTo>
                    <a:pt x="0" y="400812"/>
                  </a:moveTo>
                  <a:lnTo>
                    <a:pt x="4213860" y="400812"/>
                  </a:lnTo>
                  <a:lnTo>
                    <a:pt x="4213860" y="0"/>
                  </a:lnTo>
                  <a:lnTo>
                    <a:pt x="0" y="0"/>
                  </a:lnTo>
                  <a:lnTo>
                    <a:pt x="0" y="400812"/>
                  </a:lnTo>
                  <a:close/>
                </a:path>
              </a:pathLst>
            </a:custGeom>
            <a:solidFill>
              <a:srgbClr val="006FAC"/>
            </a:solidFill>
          </p:spPr>
          <p:txBody>
            <a:bodyPr wrap="square" lIns="0" tIns="0" rIns="0" bIns="0" rtlCol="0"/>
            <a:lstStyle/>
            <a:p>
              <a:endParaRPr/>
            </a:p>
          </p:txBody>
        </p:sp>
        <p:sp>
          <p:nvSpPr>
            <p:cNvPr id="70" name="object 70"/>
            <p:cNvSpPr txBox="1"/>
            <p:nvPr/>
          </p:nvSpPr>
          <p:spPr>
            <a:xfrm>
              <a:off x="3427476" y="5004561"/>
              <a:ext cx="4213860" cy="147955"/>
            </a:xfrm>
            <a:prstGeom prst="rect">
              <a:avLst/>
            </a:prstGeom>
          </p:spPr>
          <p:txBody>
            <a:bodyPr vert="horz" wrap="square" lIns="0" tIns="12700" rIns="0" bIns="0" rtlCol="0">
              <a:spAutoFit/>
            </a:bodyPr>
            <a:lstStyle/>
            <a:p>
              <a:pPr marL="217804" indent="-172720">
                <a:lnSpc>
                  <a:spcPct val="100000"/>
                </a:lnSpc>
                <a:spcBef>
                  <a:spcPts val="100"/>
                </a:spcBef>
                <a:buFont typeface="Wingdings"/>
                <a:buChar char=""/>
                <a:tabLst>
                  <a:tab pos="218440" algn="l"/>
                </a:tabLst>
              </a:pPr>
              <a:r>
                <a:rPr sz="800">
                  <a:solidFill>
                    <a:srgbClr val="FFFFFF"/>
                  </a:solidFill>
                  <a:latin typeface="Verdana"/>
                  <a:cs typeface="Verdana"/>
                </a:rPr>
                <a:t>Salesfore.com </a:t>
              </a:r>
              <a:r>
                <a:rPr sz="800" spc="-5">
                  <a:solidFill>
                    <a:srgbClr val="FFFFFF"/>
                  </a:solidFill>
                  <a:latin typeface="Verdana"/>
                  <a:cs typeface="Verdana"/>
                </a:rPr>
                <a:t>Starter</a:t>
              </a:r>
              <a:r>
                <a:rPr sz="800" spc="-65">
                  <a:solidFill>
                    <a:srgbClr val="FFFFFF"/>
                  </a:solidFill>
                  <a:latin typeface="Verdana"/>
                  <a:cs typeface="Verdana"/>
                </a:rPr>
                <a:t> </a:t>
              </a:r>
              <a:r>
                <a:rPr sz="800" spc="-5">
                  <a:solidFill>
                    <a:srgbClr val="FFFFFF"/>
                  </a:solidFill>
                  <a:latin typeface="Verdana"/>
                  <a:cs typeface="Verdana"/>
                </a:rPr>
                <a:t>Kit</a:t>
              </a:r>
              <a:endParaRPr sz="800">
                <a:latin typeface="Verdana"/>
                <a:cs typeface="Verdana"/>
              </a:endParaRPr>
            </a:p>
          </p:txBody>
        </p:sp>
        <p:sp>
          <p:nvSpPr>
            <p:cNvPr id="71" name="object 71"/>
            <p:cNvSpPr/>
            <p:nvPr/>
          </p:nvSpPr>
          <p:spPr>
            <a:xfrm>
              <a:off x="9445752" y="1915667"/>
              <a:ext cx="2484120" cy="757555"/>
            </a:xfrm>
            <a:custGeom>
              <a:avLst/>
              <a:gdLst/>
              <a:ahLst/>
              <a:cxnLst/>
              <a:rect l="l" t="t" r="r" b="b"/>
              <a:pathLst>
                <a:path w="2484120" h="757555">
                  <a:moveTo>
                    <a:pt x="2361946" y="0"/>
                  </a:moveTo>
                  <a:lnTo>
                    <a:pt x="0" y="0"/>
                  </a:lnTo>
                  <a:lnTo>
                    <a:pt x="0" y="757428"/>
                  </a:lnTo>
                  <a:lnTo>
                    <a:pt x="2361946" y="757428"/>
                  </a:lnTo>
                  <a:lnTo>
                    <a:pt x="2484120" y="378714"/>
                  </a:lnTo>
                  <a:lnTo>
                    <a:pt x="2361946" y="0"/>
                  </a:lnTo>
                  <a:close/>
                </a:path>
              </a:pathLst>
            </a:custGeom>
            <a:solidFill>
              <a:srgbClr val="7E7E7E"/>
            </a:solidFill>
          </p:spPr>
          <p:txBody>
            <a:bodyPr wrap="square" lIns="0" tIns="0" rIns="0" bIns="0" rtlCol="0"/>
            <a:lstStyle/>
            <a:p>
              <a:endParaRPr/>
            </a:p>
          </p:txBody>
        </p:sp>
        <p:sp>
          <p:nvSpPr>
            <p:cNvPr id="72" name="object 72"/>
            <p:cNvSpPr txBox="1"/>
            <p:nvPr/>
          </p:nvSpPr>
          <p:spPr>
            <a:xfrm>
              <a:off x="9523603" y="2029460"/>
              <a:ext cx="1212215" cy="528955"/>
            </a:xfrm>
            <a:prstGeom prst="rect">
              <a:avLst/>
            </a:prstGeom>
          </p:spPr>
          <p:txBody>
            <a:bodyPr vert="horz" wrap="square" lIns="0" tIns="13335" rIns="0" bIns="0" rtlCol="0">
              <a:spAutoFit/>
            </a:bodyPr>
            <a:lstStyle/>
            <a:p>
              <a:pPr marL="184785" indent="-172720">
                <a:lnSpc>
                  <a:spcPct val="100000"/>
                </a:lnSpc>
                <a:spcBef>
                  <a:spcPts val="105"/>
                </a:spcBef>
                <a:buFont typeface="Wingdings"/>
                <a:buChar char=""/>
                <a:tabLst>
                  <a:tab pos="185420" algn="l"/>
                </a:tabLst>
              </a:pPr>
              <a:r>
                <a:rPr sz="1100" b="1">
                  <a:solidFill>
                    <a:srgbClr val="FFFFFF"/>
                  </a:solidFill>
                  <a:latin typeface="Verdana"/>
                  <a:cs typeface="Verdana"/>
                </a:rPr>
                <a:t>Post</a:t>
              </a:r>
              <a:r>
                <a:rPr sz="1100" b="1" spc="-60">
                  <a:solidFill>
                    <a:srgbClr val="FFFFFF"/>
                  </a:solidFill>
                  <a:latin typeface="Verdana"/>
                  <a:cs typeface="Verdana"/>
                </a:rPr>
                <a:t> </a:t>
              </a:r>
              <a:r>
                <a:rPr sz="1100" b="1" spc="-5">
                  <a:solidFill>
                    <a:srgbClr val="FFFFFF"/>
                  </a:solidFill>
                  <a:latin typeface="Verdana"/>
                  <a:cs typeface="Verdana"/>
                </a:rPr>
                <a:t>go-Live</a:t>
              </a:r>
              <a:endParaRPr sz="1100">
                <a:latin typeface="Verdana"/>
                <a:cs typeface="Verdana"/>
              </a:endParaRPr>
            </a:p>
            <a:p>
              <a:pPr marL="184785" marR="5080" indent="-172720">
                <a:lnSpc>
                  <a:spcPct val="100000"/>
                </a:lnSpc>
                <a:buFont typeface="Wingdings"/>
                <a:buChar char=""/>
                <a:tabLst>
                  <a:tab pos="185420" algn="l"/>
                </a:tabLst>
              </a:pPr>
              <a:r>
                <a:rPr sz="1100" b="1" spc="-5">
                  <a:solidFill>
                    <a:srgbClr val="FFFFFF"/>
                  </a:solidFill>
                  <a:latin typeface="Verdana"/>
                  <a:cs typeface="Verdana"/>
                </a:rPr>
                <a:t>Application  </a:t>
              </a:r>
              <a:r>
                <a:rPr sz="1100" b="1">
                  <a:solidFill>
                    <a:srgbClr val="FFFFFF"/>
                  </a:solidFill>
                  <a:latin typeface="Verdana"/>
                  <a:cs typeface="Verdana"/>
                </a:rPr>
                <a:t>M</a:t>
              </a:r>
              <a:r>
                <a:rPr sz="1100" b="1" spc="-10">
                  <a:solidFill>
                    <a:srgbClr val="FFFFFF"/>
                  </a:solidFill>
                  <a:latin typeface="Verdana"/>
                  <a:cs typeface="Verdana"/>
                </a:rPr>
                <a:t>a</a:t>
              </a:r>
              <a:r>
                <a:rPr sz="1100" b="1">
                  <a:solidFill>
                    <a:srgbClr val="FFFFFF"/>
                  </a:solidFill>
                  <a:latin typeface="Verdana"/>
                  <a:cs typeface="Verdana"/>
                </a:rPr>
                <a:t>n</a:t>
              </a:r>
              <a:r>
                <a:rPr sz="1100" b="1" spc="-10">
                  <a:solidFill>
                    <a:srgbClr val="FFFFFF"/>
                  </a:solidFill>
                  <a:latin typeface="Verdana"/>
                  <a:cs typeface="Verdana"/>
                </a:rPr>
                <a:t>a</a:t>
              </a:r>
              <a:r>
                <a:rPr sz="1100" b="1" spc="-5">
                  <a:solidFill>
                    <a:srgbClr val="FFFFFF"/>
                  </a:solidFill>
                  <a:latin typeface="Verdana"/>
                  <a:cs typeface="Verdana"/>
                </a:rPr>
                <a:t>ge</a:t>
              </a:r>
              <a:r>
                <a:rPr sz="1100" b="1" spc="-10">
                  <a:solidFill>
                    <a:srgbClr val="FFFFFF"/>
                  </a:solidFill>
                  <a:latin typeface="Verdana"/>
                  <a:cs typeface="Verdana"/>
                </a:rPr>
                <a:t>m</a:t>
              </a:r>
              <a:r>
                <a:rPr sz="1100" b="1" spc="-5">
                  <a:solidFill>
                    <a:srgbClr val="FFFFFF"/>
                  </a:solidFill>
                  <a:latin typeface="Verdana"/>
                  <a:cs typeface="Verdana"/>
                </a:rPr>
                <a:t>e</a:t>
              </a:r>
              <a:r>
                <a:rPr sz="1100" b="1">
                  <a:solidFill>
                    <a:srgbClr val="FFFFFF"/>
                  </a:solidFill>
                  <a:latin typeface="Verdana"/>
                  <a:cs typeface="Verdana"/>
                </a:rPr>
                <a:t>nt</a:t>
              </a:r>
              <a:endParaRPr sz="1100">
                <a:latin typeface="Verdana"/>
                <a:cs typeface="Verdana"/>
              </a:endParaRPr>
            </a:p>
          </p:txBody>
        </p:sp>
        <p:sp>
          <p:nvSpPr>
            <p:cNvPr id="73" name="object 73"/>
            <p:cNvSpPr txBox="1"/>
            <p:nvPr/>
          </p:nvSpPr>
          <p:spPr>
            <a:xfrm>
              <a:off x="3460750" y="5334380"/>
              <a:ext cx="1459230" cy="39179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800">
                  <a:latin typeface="Verdana"/>
                  <a:cs typeface="Verdana"/>
                </a:rPr>
                <a:t>User</a:t>
              </a:r>
              <a:r>
                <a:rPr sz="800" spc="-20">
                  <a:latin typeface="Verdana"/>
                  <a:cs typeface="Verdana"/>
                </a:rPr>
                <a:t> </a:t>
              </a:r>
              <a:r>
                <a:rPr sz="800">
                  <a:latin typeface="Verdana"/>
                  <a:cs typeface="Verdana"/>
                </a:rPr>
                <a:t>Feedback</a:t>
              </a:r>
            </a:p>
            <a:p>
              <a:pPr marL="184785" indent="-172720">
                <a:lnSpc>
                  <a:spcPct val="100000"/>
                </a:lnSpc>
                <a:buClr>
                  <a:srgbClr val="006FAC"/>
                </a:buClr>
                <a:buFont typeface="Wingdings"/>
                <a:buChar char=""/>
                <a:tabLst>
                  <a:tab pos="185420" algn="l"/>
                </a:tabLst>
              </a:pPr>
              <a:r>
                <a:rPr sz="800">
                  <a:latin typeface="Verdana"/>
                  <a:cs typeface="Verdana"/>
                </a:rPr>
                <a:t>Interim User</a:t>
              </a:r>
              <a:r>
                <a:rPr sz="800" spc="-85">
                  <a:latin typeface="Verdana"/>
                  <a:cs typeface="Verdana"/>
                </a:rPr>
                <a:t> </a:t>
              </a:r>
              <a:r>
                <a:rPr sz="800">
                  <a:latin typeface="Verdana"/>
                  <a:cs typeface="Verdana"/>
                </a:rPr>
                <a:t>Acceptance</a:t>
              </a:r>
            </a:p>
            <a:p>
              <a:pPr marL="184785" indent="-172720">
                <a:lnSpc>
                  <a:spcPct val="100000"/>
                </a:lnSpc>
                <a:spcBef>
                  <a:spcPts val="5"/>
                </a:spcBef>
                <a:buClr>
                  <a:srgbClr val="006FAC"/>
                </a:buClr>
                <a:buFont typeface="Wingdings"/>
                <a:buChar char=""/>
                <a:tabLst>
                  <a:tab pos="185420" algn="l"/>
                </a:tabLst>
              </a:pPr>
              <a:r>
                <a:rPr sz="800">
                  <a:latin typeface="Verdana"/>
                  <a:cs typeface="Verdana"/>
                </a:rPr>
                <a:t>Groom Product</a:t>
              </a:r>
              <a:r>
                <a:rPr sz="800" spc="-70">
                  <a:latin typeface="Verdana"/>
                  <a:cs typeface="Verdana"/>
                </a:rPr>
                <a:t> </a:t>
              </a:r>
              <a:r>
                <a:rPr sz="800">
                  <a:latin typeface="Verdana"/>
                  <a:cs typeface="Verdana"/>
                </a:rPr>
                <a:t>Backlog</a:t>
              </a:r>
            </a:p>
          </p:txBody>
        </p:sp>
        <p:sp>
          <p:nvSpPr>
            <p:cNvPr id="74" name="object 74"/>
            <p:cNvSpPr txBox="1"/>
            <p:nvPr/>
          </p:nvSpPr>
          <p:spPr>
            <a:xfrm>
              <a:off x="5248402" y="5334380"/>
              <a:ext cx="975994" cy="39179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800">
                  <a:latin typeface="Verdana"/>
                  <a:cs typeface="Verdana"/>
                </a:rPr>
                <a:t>Sprint</a:t>
              </a:r>
              <a:r>
                <a:rPr sz="800" spc="-25">
                  <a:latin typeface="Verdana"/>
                  <a:cs typeface="Verdana"/>
                </a:rPr>
                <a:t> </a:t>
              </a:r>
              <a:r>
                <a:rPr sz="800">
                  <a:latin typeface="Verdana"/>
                  <a:cs typeface="Verdana"/>
                </a:rPr>
                <a:t>Demos</a:t>
              </a:r>
            </a:p>
            <a:p>
              <a:pPr marL="184785" indent="-172720">
                <a:lnSpc>
                  <a:spcPct val="100000"/>
                </a:lnSpc>
                <a:buClr>
                  <a:srgbClr val="006FAC"/>
                </a:buClr>
                <a:buFont typeface="Wingdings"/>
                <a:buChar char=""/>
                <a:tabLst>
                  <a:tab pos="185420" algn="l"/>
                </a:tabLst>
              </a:pPr>
              <a:r>
                <a:rPr sz="800">
                  <a:latin typeface="Verdana"/>
                  <a:cs typeface="Verdana"/>
                </a:rPr>
                <a:t>Sprint</a:t>
              </a:r>
              <a:r>
                <a:rPr sz="800" spc="-55">
                  <a:latin typeface="Verdana"/>
                  <a:cs typeface="Verdana"/>
                </a:rPr>
                <a:t> </a:t>
              </a:r>
              <a:r>
                <a:rPr sz="800" spc="-5">
                  <a:latin typeface="Verdana"/>
                  <a:cs typeface="Verdana"/>
                </a:rPr>
                <a:t>Planning</a:t>
              </a:r>
              <a:endParaRPr sz="800">
                <a:latin typeface="Verdana"/>
                <a:cs typeface="Verdana"/>
              </a:endParaRPr>
            </a:p>
            <a:p>
              <a:pPr marL="184785" indent="-172720">
                <a:lnSpc>
                  <a:spcPct val="100000"/>
                </a:lnSpc>
                <a:spcBef>
                  <a:spcPts val="5"/>
                </a:spcBef>
                <a:buClr>
                  <a:srgbClr val="006FAC"/>
                </a:buClr>
                <a:buFont typeface="Wingdings"/>
                <a:buChar char=""/>
                <a:tabLst>
                  <a:tab pos="185420" algn="l"/>
                </a:tabLst>
              </a:pPr>
              <a:r>
                <a:rPr sz="800">
                  <a:latin typeface="Verdana"/>
                  <a:cs typeface="Verdana"/>
                </a:rPr>
                <a:t>Retrospectives</a:t>
              </a:r>
            </a:p>
          </p:txBody>
        </p:sp>
        <p:sp>
          <p:nvSpPr>
            <p:cNvPr id="75" name="object 75"/>
            <p:cNvSpPr/>
            <p:nvPr/>
          </p:nvSpPr>
          <p:spPr>
            <a:xfrm>
              <a:off x="1084072" y="1927860"/>
              <a:ext cx="127000" cy="3997960"/>
            </a:xfrm>
            <a:custGeom>
              <a:avLst/>
              <a:gdLst/>
              <a:ahLst/>
              <a:cxnLst/>
              <a:rect l="l" t="t" r="r" b="b"/>
              <a:pathLst>
                <a:path w="127000" h="3997960">
                  <a:moveTo>
                    <a:pt x="69850" y="0"/>
                  </a:moveTo>
                  <a:lnTo>
                    <a:pt x="57150" y="0"/>
                  </a:lnTo>
                  <a:lnTo>
                    <a:pt x="57150" y="50800"/>
                  </a:lnTo>
                  <a:lnTo>
                    <a:pt x="69850" y="50800"/>
                  </a:lnTo>
                  <a:lnTo>
                    <a:pt x="69850" y="0"/>
                  </a:lnTo>
                  <a:close/>
                </a:path>
                <a:path w="127000" h="3997960">
                  <a:moveTo>
                    <a:pt x="69850" y="88900"/>
                  </a:moveTo>
                  <a:lnTo>
                    <a:pt x="57150" y="88900"/>
                  </a:lnTo>
                  <a:lnTo>
                    <a:pt x="57150" y="139700"/>
                  </a:lnTo>
                  <a:lnTo>
                    <a:pt x="69850" y="139700"/>
                  </a:lnTo>
                  <a:lnTo>
                    <a:pt x="69850" y="88900"/>
                  </a:lnTo>
                  <a:close/>
                </a:path>
                <a:path w="127000" h="3997960">
                  <a:moveTo>
                    <a:pt x="69850" y="177800"/>
                  </a:moveTo>
                  <a:lnTo>
                    <a:pt x="57150" y="177800"/>
                  </a:lnTo>
                  <a:lnTo>
                    <a:pt x="57150" y="228600"/>
                  </a:lnTo>
                  <a:lnTo>
                    <a:pt x="69850" y="228600"/>
                  </a:lnTo>
                  <a:lnTo>
                    <a:pt x="69850" y="177800"/>
                  </a:lnTo>
                  <a:close/>
                </a:path>
                <a:path w="127000" h="3997960">
                  <a:moveTo>
                    <a:pt x="69850" y="266700"/>
                  </a:moveTo>
                  <a:lnTo>
                    <a:pt x="57150" y="266700"/>
                  </a:lnTo>
                  <a:lnTo>
                    <a:pt x="57150" y="317500"/>
                  </a:lnTo>
                  <a:lnTo>
                    <a:pt x="69850" y="317500"/>
                  </a:lnTo>
                  <a:lnTo>
                    <a:pt x="69850" y="266700"/>
                  </a:lnTo>
                  <a:close/>
                </a:path>
                <a:path w="127000" h="3997960">
                  <a:moveTo>
                    <a:pt x="69850" y="355600"/>
                  </a:moveTo>
                  <a:lnTo>
                    <a:pt x="57150" y="355600"/>
                  </a:lnTo>
                  <a:lnTo>
                    <a:pt x="57150" y="406400"/>
                  </a:lnTo>
                  <a:lnTo>
                    <a:pt x="69850" y="406400"/>
                  </a:lnTo>
                  <a:lnTo>
                    <a:pt x="69850" y="355600"/>
                  </a:lnTo>
                  <a:close/>
                </a:path>
                <a:path w="127000" h="3997960">
                  <a:moveTo>
                    <a:pt x="69850" y="444500"/>
                  </a:moveTo>
                  <a:lnTo>
                    <a:pt x="57150" y="444500"/>
                  </a:lnTo>
                  <a:lnTo>
                    <a:pt x="57150" y="495300"/>
                  </a:lnTo>
                  <a:lnTo>
                    <a:pt x="69850" y="495300"/>
                  </a:lnTo>
                  <a:lnTo>
                    <a:pt x="69850" y="444500"/>
                  </a:lnTo>
                  <a:close/>
                </a:path>
                <a:path w="127000" h="3997960">
                  <a:moveTo>
                    <a:pt x="69850" y="533400"/>
                  </a:moveTo>
                  <a:lnTo>
                    <a:pt x="57150" y="533400"/>
                  </a:lnTo>
                  <a:lnTo>
                    <a:pt x="57150" y="584200"/>
                  </a:lnTo>
                  <a:lnTo>
                    <a:pt x="69850" y="584200"/>
                  </a:lnTo>
                  <a:lnTo>
                    <a:pt x="69850" y="533400"/>
                  </a:lnTo>
                  <a:close/>
                </a:path>
                <a:path w="127000" h="3997960">
                  <a:moveTo>
                    <a:pt x="69850" y="622300"/>
                  </a:moveTo>
                  <a:lnTo>
                    <a:pt x="57150" y="622300"/>
                  </a:lnTo>
                  <a:lnTo>
                    <a:pt x="57150" y="673100"/>
                  </a:lnTo>
                  <a:lnTo>
                    <a:pt x="69850" y="673100"/>
                  </a:lnTo>
                  <a:lnTo>
                    <a:pt x="69850" y="622300"/>
                  </a:lnTo>
                  <a:close/>
                </a:path>
                <a:path w="127000" h="3997960">
                  <a:moveTo>
                    <a:pt x="69850" y="711200"/>
                  </a:moveTo>
                  <a:lnTo>
                    <a:pt x="57150" y="711200"/>
                  </a:lnTo>
                  <a:lnTo>
                    <a:pt x="57150" y="762000"/>
                  </a:lnTo>
                  <a:lnTo>
                    <a:pt x="69850" y="762000"/>
                  </a:lnTo>
                  <a:lnTo>
                    <a:pt x="69850" y="711200"/>
                  </a:lnTo>
                  <a:close/>
                </a:path>
                <a:path w="127000" h="3997960">
                  <a:moveTo>
                    <a:pt x="69850" y="800100"/>
                  </a:moveTo>
                  <a:lnTo>
                    <a:pt x="57150" y="800100"/>
                  </a:lnTo>
                  <a:lnTo>
                    <a:pt x="57150" y="850900"/>
                  </a:lnTo>
                  <a:lnTo>
                    <a:pt x="69850" y="850900"/>
                  </a:lnTo>
                  <a:lnTo>
                    <a:pt x="69850" y="800100"/>
                  </a:lnTo>
                  <a:close/>
                </a:path>
                <a:path w="127000" h="3997960">
                  <a:moveTo>
                    <a:pt x="69850" y="889000"/>
                  </a:moveTo>
                  <a:lnTo>
                    <a:pt x="57150" y="889000"/>
                  </a:lnTo>
                  <a:lnTo>
                    <a:pt x="57150" y="939800"/>
                  </a:lnTo>
                  <a:lnTo>
                    <a:pt x="69850" y="939800"/>
                  </a:lnTo>
                  <a:lnTo>
                    <a:pt x="69850" y="889000"/>
                  </a:lnTo>
                  <a:close/>
                </a:path>
                <a:path w="127000" h="3997960">
                  <a:moveTo>
                    <a:pt x="69850" y="977900"/>
                  </a:moveTo>
                  <a:lnTo>
                    <a:pt x="57150" y="977900"/>
                  </a:lnTo>
                  <a:lnTo>
                    <a:pt x="57150" y="1028700"/>
                  </a:lnTo>
                  <a:lnTo>
                    <a:pt x="69850" y="1028700"/>
                  </a:lnTo>
                  <a:lnTo>
                    <a:pt x="69850" y="977900"/>
                  </a:lnTo>
                  <a:close/>
                </a:path>
                <a:path w="127000" h="3997960">
                  <a:moveTo>
                    <a:pt x="69850" y="1066800"/>
                  </a:moveTo>
                  <a:lnTo>
                    <a:pt x="57150" y="1066800"/>
                  </a:lnTo>
                  <a:lnTo>
                    <a:pt x="57150" y="1117600"/>
                  </a:lnTo>
                  <a:lnTo>
                    <a:pt x="69850" y="1117600"/>
                  </a:lnTo>
                  <a:lnTo>
                    <a:pt x="69850" y="1066800"/>
                  </a:lnTo>
                  <a:close/>
                </a:path>
                <a:path w="127000" h="3997960">
                  <a:moveTo>
                    <a:pt x="69850" y="1155700"/>
                  </a:moveTo>
                  <a:lnTo>
                    <a:pt x="57150" y="1155700"/>
                  </a:lnTo>
                  <a:lnTo>
                    <a:pt x="57150" y="1206500"/>
                  </a:lnTo>
                  <a:lnTo>
                    <a:pt x="69850" y="1206500"/>
                  </a:lnTo>
                  <a:lnTo>
                    <a:pt x="69850" y="1155700"/>
                  </a:lnTo>
                  <a:close/>
                </a:path>
                <a:path w="127000" h="3997960">
                  <a:moveTo>
                    <a:pt x="69850" y="1244600"/>
                  </a:moveTo>
                  <a:lnTo>
                    <a:pt x="57150" y="1244600"/>
                  </a:lnTo>
                  <a:lnTo>
                    <a:pt x="57150" y="1295400"/>
                  </a:lnTo>
                  <a:lnTo>
                    <a:pt x="69850" y="1295400"/>
                  </a:lnTo>
                  <a:lnTo>
                    <a:pt x="69850" y="1244600"/>
                  </a:lnTo>
                  <a:close/>
                </a:path>
                <a:path w="127000" h="3997960">
                  <a:moveTo>
                    <a:pt x="69850" y="1333500"/>
                  </a:moveTo>
                  <a:lnTo>
                    <a:pt x="57150" y="1333500"/>
                  </a:lnTo>
                  <a:lnTo>
                    <a:pt x="57150" y="1384300"/>
                  </a:lnTo>
                  <a:lnTo>
                    <a:pt x="69850" y="1384300"/>
                  </a:lnTo>
                  <a:lnTo>
                    <a:pt x="69850" y="1333500"/>
                  </a:lnTo>
                  <a:close/>
                </a:path>
                <a:path w="127000" h="3997960">
                  <a:moveTo>
                    <a:pt x="69850" y="1422400"/>
                  </a:moveTo>
                  <a:lnTo>
                    <a:pt x="57150" y="1422400"/>
                  </a:lnTo>
                  <a:lnTo>
                    <a:pt x="57150" y="1473200"/>
                  </a:lnTo>
                  <a:lnTo>
                    <a:pt x="69850" y="1473200"/>
                  </a:lnTo>
                  <a:lnTo>
                    <a:pt x="69850" y="1422400"/>
                  </a:lnTo>
                  <a:close/>
                </a:path>
                <a:path w="127000" h="3997960">
                  <a:moveTo>
                    <a:pt x="69850" y="1511300"/>
                  </a:moveTo>
                  <a:lnTo>
                    <a:pt x="57150" y="1511300"/>
                  </a:lnTo>
                  <a:lnTo>
                    <a:pt x="57150" y="1562100"/>
                  </a:lnTo>
                  <a:lnTo>
                    <a:pt x="69850" y="1562100"/>
                  </a:lnTo>
                  <a:lnTo>
                    <a:pt x="69850" y="1511300"/>
                  </a:lnTo>
                  <a:close/>
                </a:path>
                <a:path w="127000" h="3997960">
                  <a:moveTo>
                    <a:pt x="69850" y="1600200"/>
                  </a:moveTo>
                  <a:lnTo>
                    <a:pt x="57150" y="1600200"/>
                  </a:lnTo>
                  <a:lnTo>
                    <a:pt x="57150" y="1651000"/>
                  </a:lnTo>
                  <a:lnTo>
                    <a:pt x="69850" y="1651000"/>
                  </a:lnTo>
                  <a:lnTo>
                    <a:pt x="69850" y="1600200"/>
                  </a:lnTo>
                  <a:close/>
                </a:path>
                <a:path w="127000" h="3997960">
                  <a:moveTo>
                    <a:pt x="69850" y="1689100"/>
                  </a:moveTo>
                  <a:lnTo>
                    <a:pt x="57150" y="1689100"/>
                  </a:lnTo>
                  <a:lnTo>
                    <a:pt x="57150" y="1739900"/>
                  </a:lnTo>
                  <a:lnTo>
                    <a:pt x="69850" y="1739900"/>
                  </a:lnTo>
                  <a:lnTo>
                    <a:pt x="69850" y="1689100"/>
                  </a:lnTo>
                  <a:close/>
                </a:path>
                <a:path w="127000" h="3997960">
                  <a:moveTo>
                    <a:pt x="69850" y="1778000"/>
                  </a:moveTo>
                  <a:lnTo>
                    <a:pt x="57150" y="1778000"/>
                  </a:lnTo>
                  <a:lnTo>
                    <a:pt x="57150" y="1828800"/>
                  </a:lnTo>
                  <a:lnTo>
                    <a:pt x="69850" y="1828800"/>
                  </a:lnTo>
                  <a:lnTo>
                    <a:pt x="69850" y="1778000"/>
                  </a:lnTo>
                  <a:close/>
                </a:path>
                <a:path w="127000" h="3997960">
                  <a:moveTo>
                    <a:pt x="69850" y="1866900"/>
                  </a:moveTo>
                  <a:lnTo>
                    <a:pt x="57150" y="1866900"/>
                  </a:lnTo>
                  <a:lnTo>
                    <a:pt x="57150" y="1917700"/>
                  </a:lnTo>
                  <a:lnTo>
                    <a:pt x="69850" y="1917700"/>
                  </a:lnTo>
                  <a:lnTo>
                    <a:pt x="69850" y="1866900"/>
                  </a:lnTo>
                  <a:close/>
                </a:path>
                <a:path w="127000" h="3997960">
                  <a:moveTo>
                    <a:pt x="69850" y="1955800"/>
                  </a:moveTo>
                  <a:lnTo>
                    <a:pt x="57150" y="1955800"/>
                  </a:lnTo>
                  <a:lnTo>
                    <a:pt x="57150" y="2006600"/>
                  </a:lnTo>
                  <a:lnTo>
                    <a:pt x="69850" y="2006600"/>
                  </a:lnTo>
                  <a:lnTo>
                    <a:pt x="69850" y="1955800"/>
                  </a:lnTo>
                  <a:close/>
                </a:path>
                <a:path w="127000" h="3997960">
                  <a:moveTo>
                    <a:pt x="69850" y="2044700"/>
                  </a:moveTo>
                  <a:lnTo>
                    <a:pt x="57150" y="2044700"/>
                  </a:lnTo>
                  <a:lnTo>
                    <a:pt x="57150" y="2095500"/>
                  </a:lnTo>
                  <a:lnTo>
                    <a:pt x="69850" y="2095500"/>
                  </a:lnTo>
                  <a:lnTo>
                    <a:pt x="69850" y="2044700"/>
                  </a:lnTo>
                  <a:close/>
                </a:path>
                <a:path w="127000" h="3997960">
                  <a:moveTo>
                    <a:pt x="69850" y="2133600"/>
                  </a:moveTo>
                  <a:lnTo>
                    <a:pt x="57150" y="2133600"/>
                  </a:lnTo>
                  <a:lnTo>
                    <a:pt x="57150" y="2184400"/>
                  </a:lnTo>
                  <a:lnTo>
                    <a:pt x="69850" y="2184400"/>
                  </a:lnTo>
                  <a:lnTo>
                    <a:pt x="69850" y="2133600"/>
                  </a:lnTo>
                  <a:close/>
                </a:path>
                <a:path w="127000" h="3997960">
                  <a:moveTo>
                    <a:pt x="69850" y="2222500"/>
                  </a:moveTo>
                  <a:lnTo>
                    <a:pt x="57150" y="2222500"/>
                  </a:lnTo>
                  <a:lnTo>
                    <a:pt x="57150" y="2273300"/>
                  </a:lnTo>
                  <a:lnTo>
                    <a:pt x="69850" y="2273300"/>
                  </a:lnTo>
                  <a:lnTo>
                    <a:pt x="69850" y="2222500"/>
                  </a:lnTo>
                  <a:close/>
                </a:path>
                <a:path w="127000" h="3997960">
                  <a:moveTo>
                    <a:pt x="69850" y="2311400"/>
                  </a:moveTo>
                  <a:lnTo>
                    <a:pt x="57150" y="2311400"/>
                  </a:lnTo>
                  <a:lnTo>
                    <a:pt x="57150" y="2362200"/>
                  </a:lnTo>
                  <a:lnTo>
                    <a:pt x="69850" y="2362200"/>
                  </a:lnTo>
                  <a:lnTo>
                    <a:pt x="69850" y="2311400"/>
                  </a:lnTo>
                  <a:close/>
                </a:path>
                <a:path w="127000" h="3997960">
                  <a:moveTo>
                    <a:pt x="69850" y="2400300"/>
                  </a:moveTo>
                  <a:lnTo>
                    <a:pt x="57150" y="2400300"/>
                  </a:lnTo>
                  <a:lnTo>
                    <a:pt x="57150" y="2451100"/>
                  </a:lnTo>
                  <a:lnTo>
                    <a:pt x="69850" y="2451100"/>
                  </a:lnTo>
                  <a:lnTo>
                    <a:pt x="69850" y="2400300"/>
                  </a:lnTo>
                  <a:close/>
                </a:path>
                <a:path w="127000" h="3997960">
                  <a:moveTo>
                    <a:pt x="69850" y="2489200"/>
                  </a:moveTo>
                  <a:lnTo>
                    <a:pt x="57150" y="2489200"/>
                  </a:lnTo>
                  <a:lnTo>
                    <a:pt x="57150" y="2540000"/>
                  </a:lnTo>
                  <a:lnTo>
                    <a:pt x="69850" y="2540000"/>
                  </a:lnTo>
                  <a:lnTo>
                    <a:pt x="69850" y="2489200"/>
                  </a:lnTo>
                  <a:close/>
                </a:path>
                <a:path w="127000" h="3997960">
                  <a:moveTo>
                    <a:pt x="69850" y="2578100"/>
                  </a:moveTo>
                  <a:lnTo>
                    <a:pt x="57150" y="2578100"/>
                  </a:lnTo>
                  <a:lnTo>
                    <a:pt x="57150" y="2628900"/>
                  </a:lnTo>
                  <a:lnTo>
                    <a:pt x="69850" y="2628900"/>
                  </a:lnTo>
                  <a:lnTo>
                    <a:pt x="69850" y="2578100"/>
                  </a:lnTo>
                  <a:close/>
                </a:path>
                <a:path w="127000" h="3997960">
                  <a:moveTo>
                    <a:pt x="69850" y="2667000"/>
                  </a:moveTo>
                  <a:lnTo>
                    <a:pt x="57150" y="2667000"/>
                  </a:lnTo>
                  <a:lnTo>
                    <a:pt x="57150" y="2717800"/>
                  </a:lnTo>
                  <a:lnTo>
                    <a:pt x="69850" y="2717800"/>
                  </a:lnTo>
                  <a:lnTo>
                    <a:pt x="69850" y="2667000"/>
                  </a:lnTo>
                  <a:close/>
                </a:path>
                <a:path w="127000" h="3997960">
                  <a:moveTo>
                    <a:pt x="69850" y="2755900"/>
                  </a:moveTo>
                  <a:lnTo>
                    <a:pt x="57150" y="2755900"/>
                  </a:lnTo>
                  <a:lnTo>
                    <a:pt x="57150" y="2806700"/>
                  </a:lnTo>
                  <a:lnTo>
                    <a:pt x="69850" y="2806700"/>
                  </a:lnTo>
                  <a:lnTo>
                    <a:pt x="69850" y="2755900"/>
                  </a:lnTo>
                  <a:close/>
                </a:path>
                <a:path w="127000" h="3997960">
                  <a:moveTo>
                    <a:pt x="69850" y="2844800"/>
                  </a:moveTo>
                  <a:lnTo>
                    <a:pt x="57150" y="2844800"/>
                  </a:lnTo>
                  <a:lnTo>
                    <a:pt x="57150" y="2895600"/>
                  </a:lnTo>
                  <a:lnTo>
                    <a:pt x="69850" y="2895600"/>
                  </a:lnTo>
                  <a:lnTo>
                    <a:pt x="69850" y="2844800"/>
                  </a:lnTo>
                  <a:close/>
                </a:path>
                <a:path w="127000" h="3997960">
                  <a:moveTo>
                    <a:pt x="69850" y="2933700"/>
                  </a:moveTo>
                  <a:lnTo>
                    <a:pt x="57150" y="2933700"/>
                  </a:lnTo>
                  <a:lnTo>
                    <a:pt x="57150" y="2984500"/>
                  </a:lnTo>
                  <a:lnTo>
                    <a:pt x="69850" y="2984500"/>
                  </a:lnTo>
                  <a:lnTo>
                    <a:pt x="69850" y="2933700"/>
                  </a:lnTo>
                  <a:close/>
                </a:path>
                <a:path w="127000" h="3997960">
                  <a:moveTo>
                    <a:pt x="69850" y="3022600"/>
                  </a:moveTo>
                  <a:lnTo>
                    <a:pt x="57150" y="3022600"/>
                  </a:lnTo>
                  <a:lnTo>
                    <a:pt x="57150" y="3073400"/>
                  </a:lnTo>
                  <a:lnTo>
                    <a:pt x="69850" y="3073400"/>
                  </a:lnTo>
                  <a:lnTo>
                    <a:pt x="69850" y="3022600"/>
                  </a:lnTo>
                  <a:close/>
                </a:path>
                <a:path w="127000" h="3997960">
                  <a:moveTo>
                    <a:pt x="69850" y="3111500"/>
                  </a:moveTo>
                  <a:lnTo>
                    <a:pt x="57150" y="3111500"/>
                  </a:lnTo>
                  <a:lnTo>
                    <a:pt x="57150" y="3162300"/>
                  </a:lnTo>
                  <a:lnTo>
                    <a:pt x="69850" y="3162300"/>
                  </a:lnTo>
                  <a:lnTo>
                    <a:pt x="69850" y="3111500"/>
                  </a:lnTo>
                  <a:close/>
                </a:path>
                <a:path w="127000" h="3997960">
                  <a:moveTo>
                    <a:pt x="69850" y="3200400"/>
                  </a:moveTo>
                  <a:lnTo>
                    <a:pt x="57150" y="3200400"/>
                  </a:lnTo>
                  <a:lnTo>
                    <a:pt x="57150" y="3251200"/>
                  </a:lnTo>
                  <a:lnTo>
                    <a:pt x="69850" y="3251200"/>
                  </a:lnTo>
                  <a:lnTo>
                    <a:pt x="69850" y="3200400"/>
                  </a:lnTo>
                  <a:close/>
                </a:path>
                <a:path w="127000" h="3997960">
                  <a:moveTo>
                    <a:pt x="69850" y="3289300"/>
                  </a:moveTo>
                  <a:lnTo>
                    <a:pt x="57150" y="3289300"/>
                  </a:lnTo>
                  <a:lnTo>
                    <a:pt x="57150" y="3340100"/>
                  </a:lnTo>
                  <a:lnTo>
                    <a:pt x="69850" y="3340100"/>
                  </a:lnTo>
                  <a:lnTo>
                    <a:pt x="69850" y="3289300"/>
                  </a:lnTo>
                  <a:close/>
                </a:path>
                <a:path w="127000" h="3997960">
                  <a:moveTo>
                    <a:pt x="69850" y="3378200"/>
                  </a:moveTo>
                  <a:lnTo>
                    <a:pt x="57150" y="3378200"/>
                  </a:lnTo>
                  <a:lnTo>
                    <a:pt x="57150" y="3429000"/>
                  </a:lnTo>
                  <a:lnTo>
                    <a:pt x="69850" y="3429000"/>
                  </a:lnTo>
                  <a:lnTo>
                    <a:pt x="69850" y="3378200"/>
                  </a:lnTo>
                  <a:close/>
                </a:path>
                <a:path w="127000" h="3997960">
                  <a:moveTo>
                    <a:pt x="69850" y="3467100"/>
                  </a:moveTo>
                  <a:lnTo>
                    <a:pt x="57150" y="3467100"/>
                  </a:lnTo>
                  <a:lnTo>
                    <a:pt x="57150" y="3517900"/>
                  </a:lnTo>
                  <a:lnTo>
                    <a:pt x="69850" y="3517900"/>
                  </a:lnTo>
                  <a:lnTo>
                    <a:pt x="69850" y="3467100"/>
                  </a:lnTo>
                  <a:close/>
                </a:path>
                <a:path w="127000" h="3997960">
                  <a:moveTo>
                    <a:pt x="69850" y="3556000"/>
                  </a:moveTo>
                  <a:lnTo>
                    <a:pt x="57150" y="3556000"/>
                  </a:lnTo>
                  <a:lnTo>
                    <a:pt x="57150" y="3606800"/>
                  </a:lnTo>
                  <a:lnTo>
                    <a:pt x="69850" y="3606800"/>
                  </a:lnTo>
                  <a:lnTo>
                    <a:pt x="69850" y="3556000"/>
                  </a:lnTo>
                  <a:close/>
                </a:path>
                <a:path w="127000" h="3997960">
                  <a:moveTo>
                    <a:pt x="69850" y="3644900"/>
                  </a:moveTo>
                  <a:lnTo>
                    <a:pt x="57150" y="3644900"/>
                  </a:lnTo>
                  <a:lnTo>
                    <a:pt x="57150" y="3695700"/>
                  </a:lnTo>
                  <a:lnTo>
                    <a:pt x="69850" y="3695700"/>
                  </a:lnTo>
                  <a:lnTo>
                    <a:pt x="69850" y="3644900"/>
                  </a:lnTo>
                  <a:close/>
                </a:path>
                <a:path w="127000" h="3997960">
                  <a:moveTo>
                    <a:pt x="69850" y="3733800"/>
                  </a:moveTo>
                  <a:lnTo>
                    <a:pt x="57150" y="3733800"/>
                  </a:lnTo>
                  <a:lnTo>
                    <a:pt x="57150" y="3784600"/>
                  </a:lnTo>
                  <a:lnTo>
                    <a:pt x="69850" y="3784600"/>
                  </a:lnTo>
                  <a:lnTo>
                    <a:pt x="69850" y="3733800"/>
                  </a:lnTo>
                  <a:close/>
                </a:path>
                <a:path w="127000" h="3997960">
                  <a:moveTo>
                    <a:pt x="57150" y="3870705"/>
                  </a:moveTo>
                  <a:lnTo>
                    <a:pt x="0" y="3870705"/>
                  </a:lnTo>
                  <a:lnTo>
                    <a:pt x="63500" y="3997705"/>
                  </a:lnTo>
                  <a:lnTo>
                    <a:pt x="125603" y="3873500"/>
                  </a:lnTo>
                  <a:lnTo>
                    <a:pt x="57150" y="3873500"/>
                  </a:lnTo>
                  <a:lnTo>
                    <a:pt x="57150" y="3870705"/>
                  </a:lnTo>
                  <a:close/>
                </a:path>
                <a:path w="127000" h="3997960">
                  <a:moveTo>
                    <a:pt x="69850" y="3822700"/>
                  </a:moveTo>
                  <a:lnTo>
                    <a:pt x="57150" y="3822700"/>
                  </a:lnTo>
                  <a:lnTo>
                    <a:pt x="57150" y="3873500"/>
                  </a:lnTo>
                  <a:lnTo>
                    <a:pt x="69850" y="3873500"/>
                  </a:lnTo>
                  <a:lnTo>
                    <a:pt x="69850" y="3822700"/>
                  </a:lnTo>
                  <a:close/>
                </a:path>
                <a:path w="127000" h="3997960">
                  <a:moveTo>
                    <a:pt x="127000" y="3870705"/>
                  </a:moveTo>
                  <a:lnTo>
                    <a:pt x="69850" y="3870705"/>
                  </a:lnTo>
                  <a:lnTo>
                    <a:pt x="69850" y="3873500"/>
                  </a:lnTo>
                  <a:lnTo>
                    <a:pt x="125603" y="3873500"/>
                  </a:lnTo>
                  <a:lnTo>
                    <a:pt x="127000" y="3870705"/>
                  </a:lnTo>
                  <a:close/>
                </a:path>
              </a:pathLst>
            </a:custGeom>
            <a:solidFill>
              <a:srgbClr val="7E7E7E"/>
            </a:solidFill>
          </p:spPr>
          <p:txBody>
            <a:bodyPr wrap="square" lIns="0" tIns="0" rIns="0" bIns="0" rtlCol="0"/>
            <a:lstStyle/>
            <a:p>
              <a:endParaRPr/>
            </a:p>
          </p:txBody>
        </p:sp>
        <p:sp>
          <p:nvSpPr>
            <p:cNvPr id="76" name="object 76"/>
            <p:cNvSpPr/>
            <p:nvPr/>
          </p:nvSpPr>
          <p:spPr>
            <a:xfrm>
              <a:off x="3296920" y="1927860"/>
              <a:ext cx="127000" cy="3997960"/>
            </a:xfrm>
            <a:custGeom>
              <a:avLst/>
              <a:gdLst/>
              <a:ahLst/>
              <a:cxnLst/>
              <a:rect l="l" t="t" r="r" b="b"/>
              <a:pathLst>
                <a:path w="127000" h="3997960">
                  <a:moveTo>
                    <a:pt x="69850" y="0"/>
                  </a:moveTo>
                  <a:lnTo>
                    <a:pt x="57150" y="0"/>
                  </a:lnTo>
                  <a:lnTo>
                    <a:pt x="57150" y="50800"/>
                  </a:lnTo>
                  <a:lnTo>
                    <a:pt x="69850" y="50800"/>
                  </a:lnTo>
                  <a:lnTo>
                    <a:pt x="69850" y="0"/>
                  </a:lnTo>
                  <a:close/>
                </a:path>
                <a:path w="127000" h="3997960">
                  <a:moveTo>
                    <a:pt x="69850" y="88900"/>
                  </a:moveTo>
                  <a:lnTo>
                    <a:pt x="57150" y="88900"/>
                  </a:lnTo>
                  <a:lnTo>
                    <a:pt x="57150" y="139700"/>
                  </a:lnTo>
                  <a:lnTo>
                    <a:pt x="69850" y="139700"/>
                  </a:lnTo>
                  <a:lnTo>
                    <a:pt x="69850" y="88900"/>
                  </a:lnTo>
                  <a:close/>
                </a:path>
                <a:path w="127000" h="3997960">
                  <a:moveTo>
                    <a:pt x="69850" y="177800"/>
                  </a:moveTo>
                  <a:lnTo>
                    <a:pt x="57150" y="177800"/>
                  </a:lnTo>
                  <a:lnTo>
                    <a:pt x="57150" y="228600"/>
                  </a:lnTo>
                  <a:lnTo>
                    <a:pt x="69850" y="228600"/>
                  </a:lnTo>
                  <a:lnTo>
                    <a:pt x="69850" y="177800"/>
                  </a:lnTo>
                  <a:close/>
                </a:path>
                <a:path w="127000" h="3997960">
                  <a:moveTo>
                    <a:pt x="69850" y="266700"/>
                  </a:moveTo>
                  <a:lnTo>
                    <a:pt x="57150" y="266700"/>
                  </a:lnTo>
                  <a:lnTo>
                    <a:pt x="57150" y="317500"/>
                  </a:lnTo>
                  <a:lnTo>
                    <a:pt x="69850" y="317500"/>
                  </a:lnTo>
                  <a:lnTo>
                    <a:pt x="69850" y="266700"/>
                  </a:lnTo>
                  <a:close/>
                </a:path>
                <a:path w="127000" h="3997960">
                  <a:moveTo>
                    <a:pt x="69850" y="355600"/>
                  </a:moveTo>
                  <a:lnTo>
                    <a:pt x="57150" y="355600"/>
                  </a:lnTo>
                  <a:lnTo>
                    <a:pt x="57150" y="406400"/>
                  </a:lnTo>
                  <a:lnTo>
                    <a:pt x="69850" y="406400"/>
                  </a:lnTo>
                  <a:lnTo>
                    <a:pt x="69850" y="355600"/>
                  </a:lnTo>
                  <a:close/>
                </a:path>
                <a:path w="127000" h="3997960">
                  <a:moveTo>
                    <a:pt x="69850" y="444500"/>
                  </a:moveTo>
                  <a:lnTo>
                    <a:pt x="57150" y="444500"/>
                  </a:lnTo>
                  <a:lnTo>
                    <a:pt x="57150" y="495300"/>
                  </a:lnTo>
                  <a:lnTo>
                    <a:pt x="69850" y="495300"/>
                  </a:lnTo>
                  <a:lnTo>
                    <a:pt x="69850" y="444500"/>
                  </a:lnTo>
                  <a:close/>
                </a:path>
                <a:path w="127000" h="3997960">
                  <a:moveTo>
                    <a:pt x="69850" y="533400"/>
                  </a:moveTo>
                  <a:lnTo>
                    <a:pt x="57150" y="533400"/>
                  </a:lnTo>
                  <a:lnTo>
                    <a:pt x="57150" y="584200"/>
                  </a:lnTo>
                  <a:lnTo>
                    <a:pt x="69850" y="584200"/>
                  </a:lnTo>
                  <a:lnTo>
                    <a:pt x="69850" y="533400"/>
                  </a:lnTo>
                  <a:close/>
                </a:path>
                <a:path w="127000" h="3997960">
                  <a:moveTo>
                    <a:pt x="69850" y="622300"/>
                  </a:moveTo>
                  <a:lnTo>
                    <a:pt x="57150" y="622300"/>
                  </a:lnTo>
                  <a:lnTo>
                    <a:pt x="57150" y="673100"/>
                  </a:lnTo>
                  <a:lnTo>
                    <a:pt x="69850" y="673100"/>
                  </a:lnTo>
                  <a:lnTo>
                    <a:pt x="69850" y="622300"/>
                  </a:lnTo>
                  <a:close/>
                </a:path>
                <a:path w="127000" h="3997960">
                  <a:moveTo>
                    <a:pt x="69850" y="711200"/>
                  </a:moveTo>
                  <a:lnTo>
                    <a:pt x="57150" y="711200"/>
                  </a:lnTo>
                  <a:lnTo>
                    <a:pt x="57150" y="762000"/>
                  </a:lnTo>
                  <a:lnTo>
                    <a:pt x="69850" y="762000"/>
                  </a:lnTo>
                  <a:lnTo>
                    <a:pt x="69850" y="711200"/>
                  </a:lnTo>
                  <a:close/>
                </a:path>
                <a:path w="127000" h="3997960">
                  <a:moveTo>
                    <a:pt x="69850" y="800100"/>
                  </a:moveTo>
                  <a:lnTo>
                    <a:pt x="57150" y="800100"/>
                  </a:lnTo>
                  <a:lnTo>
                    <a:pt x="57150" y="850900"/>
                  </a:lnTo>
                  <a:lnTo>
                    <a:pt x="69850" y="850900"/>
                  </a:lnTo>
                  <a:lnTo>
                    <a:pt x="69850" y="800100"/>
                  </a:lnTo>
                  <a:close/>
                </a:path>
                <a:path w="127000" h="3997960">
                  <a:moveTo>
                    <a:pt x="69850" y="889000"/>
                  </a:moveTo>
                  <a:lnTo>
                    <a:pt x="57150" y="889000"/>
                  </a:lnTo>
                  <a:lnTo>
                    <a:pt x="57150" y="939800"/>
                  </a:lnTo>
                  <a:lnTo>
                    <a:pt x="69850" y="939800"/>
                  </a:lnTo>
                  <a:lnTo>
                    <a:pt x="69850" y="889000"/>
                  </a:lnTo>
                  <a:close/>
                </a:path>
                <a:path w="127000" h="3997960">
                  <a:moveTo>
                    <a:pt x="69850" y="977900"/>
                  </a:moveTo>
                  <a:lnTo>
                    <a:pt x="57150" y="977900"/>
                  </a:lnTo>
                  <a:lnTo>
                    <a:pt x="57150" y="1028700"/>
                  </a:lnTo>
                  <a:lnTo>
                    <a:pt x="69850" y="1028700"/>
                  </a:lnTo>
                  <a:lnTo>
                    <a:pt x="69850" y="977900"/>
                  </a:lnTo>
                  <a:close/>
                </a:path>
                <a:path w="127000" h="3997960">
                  <a:moveTo>
                    <a:pt x="69850" y="1066800"/>
                  </a:moveTo>
                  <a:lnTo>
                    <a:pt x="57150" y="1066800"/>
                  </a:lnTo>
                  <a:lnTo>
                    <a:pt x="57150" y="1117600"/>
                  </a:lnTo>
                  <a:lnTo>
                    <a:pt x="69850" y="1117600"/>
                  </a:lnTo>
                  <a:lnTo>
                    <a:pt x="69850" y="1066800"/>
                  </a:lnTo>
                  <a:close/>
                </a:path>
                <a:path w="127000" h="3997960">
                  <a:moveTo>
                    <a:pt x="69850" y="1155700"/>
                  </a:moveTo>
                  <a:lnTo>
                    <a:pt x="57150" y="1155700"/>
                  </a:lnTo>
                  <a:lnTo>
                    <a:pt x="57150" y="1206500"/>
                  </a:lnTo>
                  <a:lnTo>
                    <a:pt x="69850" y="1206500"/>
                  </a:lnTo>
                  <a:lnTo>
                    <a:pt x="69850" y="1155700"/>
                  </a:lnTo>
                  <a:close/>
                </a:path>
                <a:path w="127000" h="3997960">
                  <a:moveTo>
                    <a:pt x="69850" y="1244600"/>
                  </a:moveTo>
                  <a:lnTo>
                    <a:pt x="57150" y="1244600"/>
                  </a:lnTo>
                  <a:lnTo>
                    <a:pt x="57150" y="1295400"/>
                  </a:lnTo>
                  <a:lnTo>
                    <a:pt x="69850" y="1295400"/>
                  </a:lnTo>
                  <a:lnTo>
                    <a:pt x="69850" y="1244600"/>
                  </a:lnTo>
                  <a:close/>
                </a:path>
                <a:path w="127000" h="3997960">
                  <a:moveTo>
                    <a:pt x="69850" y="1333500"/>
                  </a:moveTo>
                  <a:lnTo>
                    <a:pt x="57150" y="1333500"/>
                  </a:lnTo>
                  <a:lnTo>
                    <a:pt x="57150" y="1384300"/>
                  </a:lnTo>
                  <a:lnTo>
                    <a:pt x="69850" y="1384300"/>
                  </a:lnTo>
                  <a:lnTo>
                    <a:pt x="69850" y="1333500"/>
                  </a:lnTo>
                  <a:close/>
                </a:path>
                <a:path w="127000" h="3997960">
                  <a:moveTo>
                    <a:pt x="69850" y="1422400"/>
                  </a:moveTo>
                  <a:lnTo>
                    <a:pt x="57150" y="1422400"/>
                  </a:lnTo>
                  <a:lnTo>
                    <a:pt x="57150" y="1473200"/>
                  </a:lnTo>
                  <a:lnTo>
                    <a:pt x="69850" y="1473200"/>
                  </a:lnTo>
                  <a:lnTo>
                    <a:pt x="69850" y="1422400"/>
                  </a:lnTo>
                  <a:close/>
                </a:path>
                <a:path w="127000" h="3997960">
                  <a:moveTo>
                    <a:pt x="69850" y="1511300"/>
                  </a:moveTo>
                  <a:lnTo>
                    <a:pt x="57150" y="1511300"/>
                  </a:lnTo>
                  <a:lnTo>
                    <a:pt x="57150" y="1562100"/>
                  </a:lnTo>
                  <a:lnTo>
                    <a:pt x="69850" y="1562100"/>
                  </a:lnTo>
                  <a:lnTo>
                    <a:pt x="69850" y="1511300"/>
                  </a:lnTo>
                  <a:close/>
                </a:path>
                <a:path w="127000" h="3997960">
                  <a:moveTo>
                    <a:pt x="69850" y="1600200"/>
                  </a:moveTo>
                  <a:lnTo>
                    <a:pt x="57150" y="1600200"/>
                  </a:lnTo>
                  <a:lnTo>
                    <a:pt x="57150" y="1651000"/>
                  </a:lnTo>
                  <a:lnTo>
                    <a:pt x="69850" y="1651000"/>
                  </a:lnTo>
                  <a:lnTo>
                    <a:pt x="69850" y="1600200"/>
                  </a:lnTo>
                  <a:close/>
                </a:path>
                <a:path w="127000" h="3997960">
                  <a:moveTo>
                    <a:pt x="69850" y="1689100"/>
                  </a:moveTo>
                  <a:lnTo>
                    <a:pt x="57150" y="1689100"/>
                  </a:lnTo>
                  <a:lnTo>
                    <a:pt x="57150" y="1739900"/>
                  </a:lnTo>
                  <a:lnTo>
                    <a:pt x="69850" y="1739900"/>
                  </a:lnTo>
                  <a:lnTo>
                    <a:pt x="69850" y="1689100"/>
                  </a:lnTo>
                  <a:close/>
                </a:path>
                <a:path w="127000" h="3997960">
                  <a:moveTo>
                    <a:pt x="69850" y="1778000"/>
                  </a:moveTo>
                  <a:lnTo>
                    <a:pt x="57150" y="1778000"/>
                  </a:lnTo>
                  <a:lnTo>
                    <a:pt x="57150" y="1828800"/>
                  </a:lnTo>
                  <a:lnTo>
                    <a:pt x="69850" y="1828800"/>
                  </a:lnTo>
                  <a:lnTo>
                    <a:pt x="69850" y="1778000"/>
                  </a:lnTo>
                  <a:close/>
                </a:path>
                <a:path w="127000" h="3997960">
                  <a:moveTo>
                    <a:pt x="69850" y="1866900"/>
                  </a:moveTo>
                  <a:lnTo>
                    <a:pt x="57150" y="1866900"/>
                  </a:lnTo>
                  <a:lnTo>
                    <a:pt x="57150" y="1917700"/>
                  </a:lnTo>
                  <a:lnTo>
                    <a:pt x="69850" y="1917700"/>
                  </a:lnTo>
                  <a:lnTo>
                    <a:pt x="69850" y="1866900"/>
                  </a:lnTo>
                  <a:close/>
                </a:path>
                <a:path w="127000" h="3997960">
                  <a:moveTo>
                    <a:pt x="69850" y="1955800"/>
                  </a:moveTo>
                  <a:lnTo>
                    <a:pt x="57150" y="1955800"/>
                  </a:lnTo>
                  <a:lnTo>
                    <a:pt x="57150" y="2006600"/>
                  </a:lnTo>
                  <a:lnTo>
                    <a:pt x="69850" y="2006600"/>
                  </a:lnTo>
                  <a:lnTo>
                    <a:pt x="69850" y="1955800"/>
                  </a:lnTo>
                  <a:close/>
                </a:path>
                <a:path w="127000" h="3997960">
                  <a:moveTo>
                    <a:pt x="69850" y="2044700"/>
                  </a:moveTo>
                  <a:lnTo>
                    <a:pt x="57150" y="2044700"/>
                  </a:lnTo>
                  <a:lnTo>
                    <a:pt x="57150" y="2095500"/>
                  </a:lnTo>
                  <a:lnTo>
                    <a:pt x="69850" y="2095500"/>
                  </a:lnTo>
                  <a:lnTo>
                    <a:pt x="69850" y="2044700"/>
                  </a:lnTo>
                  <a:close/>
                </a:path>
                <a:path w="127000" h="3997960">
                  <a:moveTo>
                    <a:pt x="69850" y="2133600"/>
                  </a:moveTo>
                  <a:lnTo>
                    <a:pt x="57150" y="2133600"/>
                  </a:lnTo>
                  <a:lnTo>
                    <a:pt x="57150" y="2184400"/>
                  </a:lnTo>
                  <a:lnTo>
                    <a:pt x="69850" y="2184400"/>
                  </a:lnTo>
                  <a:lnTo>
                    <a:pt x="69850" y="2133600"/>
                  </a:lnTo>
                  <a:close/>
                </a:path>
                <a:path w="127000" h="3997960">
                  <a:moveTo>
                    <a:pt x="69850" y="2222500"/>
                  </a:moveTo>
                  <a:lnTo>
                    <a:pt x="57150" y="2222500"/>
                  </a:lnTo>
                  <a:lnTo>
                    <a:pt x="57150" y="2273300"/>
                  </a:lnTo>
                  <a:lnTo>
                    <a:pt x="69850" y="2273300"/>
                  </a:lnTo>
                  <a:lnTo>
                    <a:pt x="69850" y="2222500"/>
                  </a:lnTo>
                  <a:close/>
                </a:path>
                <a:path w="127000" h="3997960">
                  <a:moveTo>
                    <a:pt x="69850" y="2311400"/>
                  </a:moveTo>
                  <a:lnTo>
                    <a:pt x="57150" y="2311400"/>
                  </a:lnTo>
                  <a:lnTo>
                    <a:pt x="57150" y="2362200"/>
                  </a:lnTo>
                  <a:lnTo>
                    <a:pt x="69850" y="2362200"/>
                  </a:lnTo>
                  <a:lnTo>
                    <a:pt x="69850" y="2311400"/>
                  </a:lnTo>
                  <a:close/>
                </a:path>
                <a:path w="127000" h="3997960">
                  <a:moveTo>
                    <a:pt x="69850" y="2400300"/>
                  </a:moveTo>
                  <a:lnTo>
                    <a:pt x="57150" y="2400300"/>
                  </a:lnTo>
                  <a:lnTo>
                    <a:pt x="57150" y="2451100"/>
                  </a:lnTo>
                  <a:lnTo>
                    <a:pt x="69850" y="2451100"/>
                  </a:lnTo>
                  <a:lnTo>
                    <a:pt x="69850" y="2400300"/>
                  </a:lnTo>
                  <a:close/>
                </a:path>
                <a:path w="127000" h="3997960">
                  <a:moveTo>
                    <a:pt x="69850" y="2489200"/>
                  </a:moveTo>
                  <a:lnTo>
                    <a:pt x="57150" y="2489200"/>
                  </a:lnTo>
                  <a:lnTo>
                    <a:pt x="57150" y="2540000"/>
                  </a:lnTo>
                  <a:lnTo>
                    <a:pt x="69850" y="2540000"/>
                  </a:lnTo>
                  <a:lnTo>
                    <a:pt x="69850" y="2489200"/>
                  </a:lnTo>
                  <a:close/>
                </a:path>
                <a:path w="127000" h="3997960">
                  <a:moveTo>
                    <a:pt x="69850" y="2578100"/>
                  </a:moveTo>
                  <a:lnTo>
                    <a:pt x="57150" y="2578100"/>
                  </a:lnTo>
                  <a:lnTo>
                    <a:pt x="57150" y="2628900"/>
                  </a:lnTo>
                  <a:lnTo>
                    <a:pt x="69850" y="2628900"/>
                  </a:lnTo>
                  <a:lnTo>
                    <a:pt x="69850" y="2578100"/>
                  </a:lnTo>
                  <a:close/>
                </a:path>
                <a:path w="127000" h="3997960">
                  <a:moveTo>
                    <a:pt x="69850" y="2667000"/>
                  </a:moveTo>
                  <a:lnTo>
                    <a:pt x="57150" y="2667000"/>
                  </a:lnTo>
                  <a:lnTo>
                    <a:pt x="57150" y="2717800"/>
                  </a:lnTo>
                  <a:lnTo>
                    <a:pt x="69850" y="2717800"/>
                  </a:lnTo>
                  <a:lnTo>
                    <a:pt x="69850" y="2667000"/>
                  </a:lnTo>
                  <a:close/>
                </a:path>
                <a:path w="127000" h="3997960">
                  <a:moveTo>
                    <a:pt x="69850" y="2755900"/>
                  </a:moveTo>
                  <a:lnTo>
                    <a:pt x="57150" y="2755900"/>
                  </a:lnTo>
                  <a:lnTo>
                    <a:pt x="57150" y="2806700"/>
                  </a:lnTo>
                  <a:lnTo>
                    <a:pt x="69850" y="2806700"/>
                  </a:lnTo>
                  <a:lnTo>
                    <a:pt x="69850" y="2755900"/>
                  </a:lnTo>
                  <a:close/>
                </a:path>
                <a:path w="127000" h="3997960">
                  <a:moveTo>
                    <a:pt x="69850" y="2844800"/>
                  </a:moveTo>
                  <a:lnTo>
                    <a:pt x="57150" y="2844800"/>
                  </a:lnTo>
                  <a:lnTo>
                    <a:pt x="57150" y="2895600"/>
                  </a:lnTo>
                  <a:lnTo>
                    <a:pt x="69850" y="2895600"/>
                  </a:lnTo>
                  <a:lnTo>
                    <a:pt x="69850" y="2844800"/>
                  </a:lnTo>
                  <a:close/>
                </a:path>
                <a:path w="127000" h="3997960">
                  <a:moveTo>
                    <a:pt x="69850" y="2933700"/>
                  </a:moveTo>
                  <a:lnTo>
                    <a:pt x="57150" y="2933700"/>
                  </a:lnTo>
                  <a:lnTo>
                    <a:pt x="57150" y="2984500"/>
                  </a:lnTo>
                  <a:lnTo>
                    <a:pt x="69850" y="2984500"/>
                  </a:lnTo>
                  <a:lnTo>
                    <a:pt x="69850" y="2933700"/>
                  </a:lnTo>
                  <a:close/>
                </a:path>
                <a:path w="127000" h="3997960">
                  <a:moveTo>
                    <a:pt x="69850" y="3022600"/>
                  </a:moveTo>
                  <a:lnTo>
                    <a:pt x="57150" y="3022600"/>
                  </a:lnTo>
                  <a:lnTo>
                    <a:pt x="57150" y="3073400"/>
                  </a:lnTo>
                  <a:lnTo>
                    <a:pt x="69850" y="3073400"/>
                  </a:lnTo>
                  <a:lnTo>
                    <a:pt x="69850" y="3022600"/>
                  </a:lnTo>
                  <a:close/>
                </a:path>
                <a:path w="127000" h="3997960">
                  <a:moveTo>
                    <a:pt x="69850" y="3111500"/>
                  </a:moveTo>
                  <a:lnTo>
                    <a:pt x="57150" y="3111500"/>
                  </a:lnTo>
                  <a:lnTo>
                    <a:pt x="57150" y="3162300"/>
                  </a:lnTo>
                  <a:lnTo>
                    <a:pt x="69850" y="3162300"/>
                  </a:lnTo>
                  <a:lnTo>
                    <a:pt x="69850" y="3111500"/>
                  </a:lnTo>
                  <a:close/>
                </a:path>
                <a:path w="127000" h="3997960">
                  <a:moveTo>
                    <a:pt x="69850" y="3200400"/>
                  </a:moveTo>
                  <a:lnTo>
                    <a:pt x="57150" y="3200400"/>
                  </a:lnTo>
                  <a:lnTo>
                    <a:pt x="57150" y="3251200"/>
                  </a:lnTo>
                  <a:lnTo>
                    <a:pt x="69850" y="3251200"/>
                  </a:lnTo>
                  <a:lnTo>
                    <a:pt x="69850" y="3200400"/>
                  </a:lnTo>
                  <a:close/>
                </a:path>
                <a:path w="127000" h="3997960">
                  <a:moveTo>
                    <a:pt x="69850" y="3289300"/>
                  </a:moveTo>
                  <a:lnTo>
                    <a:pt x="57150" y="3289300"/>
                  </a:lnTo>
                  <a:lnTo>
                    <a:pt x="57150" y="3340100"/>
                  </a:lnTo>
                  <a:lnTo>
                    <a:pt x="69850" y="3340100"/>
                  </a:lnTo>
                  <a:lnTo>
                    <a:pt x="69850" y="3289300"/>
                  </a:lnTo>
                  <a:close/>
                </a:path>
                <a:path w="127000" h="3997960">
                  <a:moveTo>
                    <a:pt x="69850" y="3378200"/>
                  </a:moveTo>
                  <a:lnTo>
                    <a:pt x="57150" y="3378200"/>
                  </a:lnTo>
                  <a:lnTo>
                    <a:pt x="57150" y="3429000"/>
                  </a:lnTo>
                  <a:lnTo>
                    <a:pt x="69850" y="3429000"/>
                  </a:lnTo>
                  <a:lnTo>
                    <a:pt x="69850" y="3378200"/>
                  </a:lnTo>
                  <a:close/>
                </a:path>
                <a:path w="127000" h="3997960">
                  <a:moveTo>
                    <a:pt x="69850" y="3467100"/>
                  </a:moveTo>
                  <a:lnTo>
                    <a:pt x="57150" y="3467100"/>
                  </a:lnTo>
                  <a:lnTo>
                    <a:pt x="57150" y="3517900"/>
                  </a:lnTo>
                  <a:lnTo>
                    <a:pt x="69850" y="3517900"/>
                  </a:lnTo>
                  <a:lnTo>
                    <a:pt x="69850" y="3467100"/>
                  </a:lnTo>
                  <a:close/>
                </a:path>
                <a:path w="127000" h="3997960">
                  <a:moveTo>
                    <a:pt x="69850" y="3556000"/>
                  </a:moveTo>
                  <a:lnTo>
                    <a:pt x="57150" y="3556000"/>
                  </a:lnTo>
                  <a:lnTo>
                    <a:pt x="57150" y="3606800"/>
                  </a:lnTo>
                  <a:lnTo>
                    <a:pt x="69850" y="3606800"/>
                  </a:lnTo>
                  <a:lnTo>
                    <a:pt x="69850" y="3556000"/>
                  </a:lnTo>
                  <a:close/>
                </a:path>
                <a:path w="127000" h="3997960">
                  <a:moveTo>
                    <a:pt x="69850" y="3644900"/>
                  </a:moveTo>
                  <a:lnTo>
                    <a:pt x="57150" y="3644900"/>
                  </a:lnTo>
                  <a:lnTo>
                    <a:pt x="57150" y="3695700"/>
                  </a:lnTo>
                  <a:lnTo>
                    <a:pt x="69850" y="3695700"/>
                  </a:lnTo>
                  <a:lnTo>
                    <a:pt x="69850" y="3644900"/>
                  </a:lnTo>
                  <a:close/>
                </a:path>
                <a:path w="127000" h="3997960">
                  <a:moveTo>
                    <a:pt x="69850" y="3733800"/>
                  </a:moveTo>
                  <a:lnTo>
                    <a:pt x="57150" y="3733800"/>
                  </a:lnTo>
                  <a:lnTo>
                    <a:pt x="57150" y="3784600"/>
                  </a:lnTo>
                  <a:lnTo>
                    <a:pt x="69850" y="3784600"/>
                  </a:lnTo>
                  <a:lnTo>
                    <a:pt x="69850" y="3733800"/>
                  </a:lnTo>
                  <a:close/>
                </a:path>
                <a:path w="127000" h="3997960">
                  <a:moveTo>
                    <a:pt x="57150" y="3870705"/>
                  </a:moveTo>
                  <a:lnTo>
                    <a:pt x="0" y="3870705"/>
                  </a:lnTo>
                  <a:lnTo>
                    <a:pt x="63500" y="3997705"/>
                  </a:lnTo>
                  <a:lnTo>
                    <a:pt x="125602" y="3873500"/>
                  </a:lnTo>
                  <a:lnTo>
                    <a:pt x="57150" y="3873500"/>
                  </a:lnTo>
                  <a:lnTo>
                    <a:pt x="57150" y="3870705"/>
                  </a:lnTo>
                  <a:close/>
                </a:path>
                <a:path w="127000" h="3997960">
                  <a:moveTo>
                    <a:pt x="69850" y="3822700"/>
                  </a:moveTo>
                  <a:lnTo>
                    <a:pt x="57150" y="3822700"/>
                  </a:lnTo>
                  <a:lnTo>
                    <a:pt x="57150" y="3873500"/>
                  </a:lnTo>
                  <a:lnTo>
                    <a:pt x="69850" y="3873500"/>
                  </a:lnTo>
                  <a:lnTo>
                    <a:pt x="69850" y="3822700"/>
                  </a:lnTo>
                  <a:close/>
                </a:path>
                <a:path w="127000" h="3997960">
                  <a:moveTo>
                    <a:pt x="127000" y="3870705"/>
                  </a:moveTo>
                  <a:lnTo>
                    <a:pt x="69850" y="3870705"/>
                  </a:lnTo>
                  <a:lnTo>
                    <a:pt x="69850" y="3873500"/>
                  </a:lnTo>
                  <a:lnTo>
                    <a:pt x="125602" y="3873500"/>
                  </a:lnTo>
                  <a:lnTo>
                    <a:pt x="127000" y="3870705"/>
                  </a:lnTo>
                  <a:close/>
                </a:path>
              </a:pathLst>
            </a:custGeom>
            <a:solidFill>
              <a:srgbClr val="7E7E7E"/>
            </a:solidFill>
          </p:spPr>
          <p:txBody>
            <a:bodyPr wrap="square" lIns="0" tIns="0" rIns="0" bIns="0" rtlCol="0"/>
            <a:lstStyle/>
            <a:p>
              <a:endParaRPr/>
            </a:p>
          </p:txBody>
        </p:sp>
        <p:sp>
          <p:nvSpPr>
            <p:cNvPr id="77" name="object 77"/>
            <p:cNvSpPr/>
            <p:nvPr/>
          </p:nvSpPr>
          <p:spPr>
            <a:xfrm>
              <a:off x="6671056" y="1927860"/>
              <a:ext cx="127000" cy="3997960"/>
            </a:xfrm>
            <a:custGeom>
              <a:avLst/>
              <a:gdLst/>
              <a:ahLst/>
              <a:cxnLst/>
              <a:rect l="l" t="t" r="r" b="b"/>
              <a:pathLst>
                <a:path w="127000" h="3997960">
                  <a:moveTo>
                    <a:pt x="69850" y="0"/>
                  </a:moveTo>
                  <a:lnTo>
                    <a:pt x="57150" y="0"/>
                  </a:lnTo>
                  <a:lnTo>
                    <a:pt x="57150" y="50800"/>
                  </a:lnTo>
                  <a:lnTo>
                    <a:pt x="69850" y="50800"/>
                  </a:lnTo>
                  <a:lnTo>
                    <a:pt x="69850" y="0"/>
                  </a:lnTo>
                  <a:close/>
                </a:path>
                <a:path w="127000" h="3997960">
                  <a:moveTo>
                    <a:pt x="69850" y="88900"/>
                  </a:moveTo>
                  <a:lnTo>
                    <a:pt x="57150" y="88900"/>
                  </a:lnTo>
                  <a:lnTo>
                    <a:pt x="57150" y="139700"/>
                  </a:lnTo>
                  <a:lnTo>
                    <a:pt x="69850" y="139700"/>
                  </a:lnTo>
                  <a:lnTo>
                    <a:pt x="69850" y="88900"/>
                  </a:lnTo>
                  <a:close/>
                </a:path>
                <a:path w="127000" h="3997960">
                  <a:moveTo>
                    <a:pt x="69850" y="177800"/>
                  </a:moveTo>
                  <a:lnTo>
                    <a:pt x="57150" y="177800"/>
                  </a:lnTo>
                  <a:lnTo>
                    <a:pt x="57150" y="228600"/>
                  </a:lnTo>
                  <a:lnTo>
                    <a:pt x="69850" y="228600"/>
                  </a:lnTo>
                  <a:lnTo>
                    <a:pt x="69850" y="177800"/>
                  </a:lnTo>
                  <a:close/>
                </a:path>
                <a:path w="127000" h="3997960">
                  <a:moveTo>
                    <a:pt x="69850" y="266700"/>
                  </a:moveTo>
                  <a:lnTo>
                    <a:pt x="57150" y="266700"/>
                  </a:lnTo>
                  <a:lnTo>
                    <a:pt x="57150" y="317500"/>
                  </a:lnTo>
                  <a:lnTo>
                    <a:pt x="69850" y="317500"/>
                  </a:lnTo>
                  <a:lnTo>
                    <a:pt x="69850" y="266700"/>
                  </a:lnTo>
                  <a:close/>
                </a:path>
                <a:path w="127000" h="3997960">
                  <a:moveTo>
                    <a:pt x="69850" y="355600"/>
                  </a:moveTo>
                  <a:lnTo>
                    <a:pt x="57150" y="355600"/>
                  </a:lnTo>
                  <a:lnTo>
                    <a:pt x="57150" y="406400"/>
                  </a:lnTo>
                  <a:lnTo>
                    <a:pt x="69850" y="406400"/>
                  </a:lnTo>
                  <a:lnTo>
                    <a:pt x="69850" y="355600"/>
                  </a:lnTo>
                  <a:close/>
                </a:path>
                <a:path w="127000" h="3997960">
                  <a:moveTo>
                    <a:pt x="69850" y="444500"/>
                  </a:moveTo>
                  <a:lnTo>
                    <a:pt x="57150" y="444500"/>
                  </a:lnTo>
                  <a:lnTo>
                    <a:pt x="57150" y="495300"/>
                  </a:lnTo>
                  <a:lnTo>
                    <a:pt x="69850" y="495300"/>
                  </a:lnTo>
                  <a:lnTo>
                    <a:pt x="69850" y="444500"/>
                  </a:lnTo>
                  <a:close/>
                </a:path>
                <a:path w="127000" h="3997960">
                  <a:moveTo>
                    <a:pt x="69850" y="533400"/>
                  </a:moveTo>
                  <a:lnTo>
                    <a:pt x="57150" y="533400"/>
                  </a:lnTo>
                  <a:lnTo>
                    <a:pt x="57150" y="584200"/>
                  </a:lnTo>
                  <a:lnTo>
                    <a:pt x="69850" y="584200"/>
                  </a:lnTo>
                  <a:lnTo>
                    <a:pt x="69850" y="533400"/>
                  </a:lnTo>
                  <a:close/>
                </a:path>
                <a:path w="127000" h="3997960">
                  <a:moveTo>
                    <a:pt x="69850" y="622300"/>
                  </a:moveTo>
                  <a:lnTo>
                    <a:pt x="57150" y="622300"/>
                  </a:lnTo>
                  <a:lnTo>
                    <a:pt x="57150" y="673100"/>
                  </a:lnTo>
                  <a:lnTo>
                    <a:pt x="69850" y="673100"/>
                  </a:lnTo>
                  <a:lnTo>
                    <a:pt x="69850" y="622300"/>
                  </a:lnTo>
                  <a:close/>
                </a:path>
                <a:path w="127000" h="3997960">
                  <a:moveTo>
                    <a:pt x="69850" y="711200"/>
                  </a:moveTo>
                  <a:lnTo>
                    <a:pt x="57150" y="711200"/>
                  </a:lnTo>
                  <a:lnTo>
                    <a:pt x="57150" y="762000"/>
                  </a:lnTo>
                  <a:lnTo>
                    <a:pt x="69850" y="762000"/>
                  </a:lnTo>
                  <a:lnTo>
                    <a:pt x="69850" y="711200"/>
                  </a:lnTo>
                  <a:close/>
                </a:path>
                <a:path w="127000" h="3997960">
                  <a:moveTo>
                    <a:pt x="69850" y="800100"/>
                  </a:moveTo>
                  <a:lnTo>
                    <a:pt x="57150" y="800100"/>
                  </a:lnTo>
                  <a:lnTo>
                    <a:pt x="57150" y="850900"/>
                  </a:lnTo>
                  <a:lnTo>
                    <a:pt x="69850" y="850900"/>
                  </a:lnTo>
                  <a:lnTo>
                    <a:pt x="69850" y="800100"/>
                  </a:lnTo>
                  <a:close/>
                </a:path>
                <a:path w="127000" h="3997960">
                  <a:moveTo>
                    <a:pt x="69850" y="889000"/>
                  </a:moveTo>
                  <a:lnTo>
                    <a:pt x="57150" y="889000"/>
                  </a:lnTo>
                  <a:lnTo>
                    <a:pt x="57150" y="939800"/>
                  </a:lnTo>
                  <a:lnTo>
                    <a:pt x="69850" y="939800"/>
                  </a:lnTo>
                  <a:lnTo>
                    <a:pt x="69850" y="889000"/>
                  </a:lnTo>
                  <a:close/>
                </a:path>
                <a:path w="127000" h="3997960">
                  <a:moveTo>
                    <a:pt x="69850" y="977900"/>
                  </a:moveTo>
                  <a:lnTo>
                    <a:pt x="57150" y="977900"/>
                  </a:lnTo>
                  <a:lnTo>
                    <a:pt x="57150" y="1028700"/>
                  </a:lnTo>
                  <a:lnTo>
                    <a:pt x="69850" y="1028700"/>
                  </a:lnTo>
                  <a:lnTo>
                    <a:pt x="69850" y="977900"/>
                  </a:lnTo>
                  <a:close/>
                </a:path>
                <a:path w="127000" h="3997960">
                  <a:moveTo>
                    <a:pt x="69850" y="1066800"/>
                  </a:moveTo>
                  <a:lnTo>
                    <a:pt x="57150" y="1066800"/>
                  </a:lnTo>
                  <a:lnTo>
                    <a:pt x="57150" y="1117600"/>
                  </a:lnTo>
                  <a:lnTo>
                    <a:pt x="69850" y="1117600"/>
                  </a:lnTo>
                  <a:lnTo>
                    <a:pt x="69850" y="1066800"/>
                  </a:lnTo>
                  <a:close/>
                </a:path>
                <a:path w="127000" h="3997960">
                  <a:moveTo>
                    <a:pt x="69850" y="1155700"/>
                  </a:moveTo>
                  <a:lnTo>
                    <a:pt x="57150" y="1155700"/>
                  </a:lnTo>
                  <a:lnTo>
                    <a:pt x="57150" y="1206500"/>
                  </a:lnTo>
                  <a:lnTo>
                    <a:pt x="69850" y="1206500"/>
                  </a:lnTo>
                  <a:lnTo>
                    <a:pt x="69850" y="1155700"/>
                  </a:lnTo>
                  <a:close/>
                </a:path>
                <a:path w="127000" h="3997960">
                  <a:moveTo>
                    <a:pt x="69850" y="1244600"/>
                  </a:moveTo>
                  <a:lnTo>
                    <a:pt x="57150" y="1244600"/>
                  </a:lnTo>
                  <a:lnTo>
                    <a:pt x="57150" y="1295400"/>
                  </a:lnTo>
                  <a:lnTo>
                    <a:pt x="69850" y="1295400"/>
                  </a:lnTo>
                  <a:lnTo>
                    <a:pt x="69850" y="1244600"/>
                  </a:lnTo>
                  <a:close/>
                </a:path>
                <a:path w="127000" h="3997960">
                  <a:moveTo>
                    <a:pt x="69850" y="1333500"/>
                  </a:moveTo>
                  <a:lnTo>
                    <a:pt x="57150" y="1333500"/>
                  </a:lnTo>
                  <a:lnTo>
                    <a:pt x="57150" y="1384300"/>
                  </a:lnTo>
                  <a:lnTo>
                    <a:pt x="69850" y="1384300"/>
                  </a:lnTo>
                  <a:lnTo>
                    <a:pt x="69850" y="1333500"/>
                  </a:lnTo>
                  <a:close/>
                </a:path>
                <a:path w="127000" h="3997960">
                  <a:moveTo>
                    <a:pt x="69850" y="1422400"/>
                  </a:moveTo>
                  <a:lnTo>
                    <a:pt x="57150" y="1422400"/>
                  </a:lnTo>
                  <a:lnTo>
                    <a:pt x="57150" y="1473200"/>
                  </a:lnTo>
                  <a:lnTo>
                    <a:pt x="69850" y="1473200"/>
                  </a:lnTo>
                  <a:lnTo>
                    <a:pt x="69850" y="1422400"/>
                  </a:lnTo>
                  <a:close/>
                </a:path>
                <a:path w="127000" h="3997960">
                  <a:moveTo>
                    <a:pt x="69850" y="1511300"/>
                  </a:moveTo>
                  <a:lnTo>
                    <a:pt x="57150" y="1511300"/>
                  </a:lnTo>
                  <a:lnTo>
                    <a:pt x="57150" y="1562100"/>
                  </a:lnTo>
                  <a:lnTo>
                    <a:pt x="69850" y="1562100"/>
                  </a:lnTo>
                  <a:lnTo>
                    <a:pt x="69850" y="1511300"/>
                  </a:lnTo>
                  <a:close/>
                </a:path>
                <a:path w="127000" h="3997960">
                  <a:moveTo>
                    <a:pt x="69850" y="1600200"/>
                  </a:moveTo>
                  <a:lnTo>
                    <a:pt x="57150" y="1600200"/>
                  </a:lnTo>
                  <a:lnTo>
                    <a:pt x="57150" y="1651000"/>
                  </a:lnTo>
                  <a:lnTo>
                    <a:pt x="69850" y="1651000"/>
                  </a:lnTo>
                  <a:lnTo>
                    <a:pt x="69850" y="1600200"/>
                  </a:lnTo>
                  <a:close/>
                </a:path>
                <a:path w="127000" h="3997960">
                  <a:moveTo>
                    <a:pt x="69850" y="1689100"/>
                  </a:moveTo>
                  <a:lnTo>
                    <a:pt x="57150" y="1689100"/>
                  </a:lnTo>
                  <a:lnTo>
                    <a:pt x="57150" y="1739900"/>
                  </a:lnTo>
                  <a:lnTo>
                    <a:pt x="69850" y="1739900"/>
                  </a:lnTo>
                  <a:lnTo>
                    <a:pt x="69850" y="1689100"/>
                  </a:lnTo>
                  <a:close/>
                </a:path>
                <a:path w="127000" h="3997960">
                  <a:moveTo>
                    <a:pt x="69850" y="1778000"/>
                  </a:moveTo>
                  <a:lnTo>
                    <a:pt x="57150" y="1778000"/>
                  </a:lnTo>
                  <a:lnTo>
                    <a:pt x="57150" y="1828800"/>
                  </a:lnTo>
                  <a:lnTo>
                    <a:pt x="69850" y="1828800"/>
                  </a:lnTo>
                  <a:lnTo>
                    <a:pt x="69850" y="1778000"/>
                  </a:lnTo>
                  <a:close/>
                </a:path>
                <a:path w="127000" h="3997960">
                  <a:moveTo>
                    <a:pt x="69850" y="1866900"/>
                  </a:moveTo>
                  <a:lnTo>
                    <a:pt x="57150" y="1866900"/>
                  </a:lnTo>
                  <a:lnTo>
                    <a:pt x="57150" y="1917700"/>
                  </a:lnTo>
                  <a:lnTo>
                    <a:pt x="69850" y="1917700"/>
                  </a:lnTo>
                  <a:lnTo>
                    <a:pt x="69850" y="1866900"/>
                  </a:lnTo>
                  <a:close/>
                </a:path>
                <a:path w="127000" h="3997960">
                  <a:moveTo>
                    <a:pt x="69850" y="1955800"/>
                  </a:moveTo>
                  <a:lnTo>
                    <a:pt x="57150" y="1955800"/>
                  </a:lnTo>
                  <a:lnTo>
                    <a:pt x="57150" y="2006600"/>
                  </a:lnTo>
                  <a:lnTo>
                    <a:pt x="69850" y="2006600"/>
                  </a:lnTo>
                  <a:lnTo>
                    <a:pt x="69850" y="1955800"/>
                  </a:lnTo>
                  <a:close/>
                </a:path>
                <a:path w="127000" h="3997960">
                  <a:moveTo>
                    <a:pt x="69850" y="2044700"/>
                  </a:moveTo>
                  <a:lnTo>
                    <a:pt x="57150" y="2044700"/>
                  </a:lnTo>
                  <a:lnTo>
                    <a:pt x="57150" y="2095500"/>
                  </a:lnTo>
                  <a:lnTo>
                    <a:pt x="69850" y="2095500"/>
                  </a:lnTo>
                  <a:lnTo>
                    <a:pt x="69850" y="2044700"/>
                  </a:lnTo>
                  <a:close/>
                </a:path>
                <a:path w="127000" h="3997960">
                  <a:moveTo>
                    <a:pt x="69850" y="2133600"/>
                  </a:moveTo>
                  <a:lnTo>
                    <a:pt x="57150" y="2133600"/>
                  </a:lnTo>
                  <a:lnTo>
                    <a:pt x="57150" y="2184400"/>
                  </a:lnTo>
                  <a:lnTo>
                    <a:pt x="69850" y="2184400"/>
                  </a:lnTo>
                  <a:lnTo>
                    <a:pt x="69850" y="2133600"/>
                  </a:lnTo>
                  <a:close/>
                </a:path>
                <a:path w="127000" h="3997960">
                  <a:moveTo>
                    <a:pt x="69850" y="2222500"/>
                  </a:moveTo>
                  <a:lnTo>
                    <a:pt x="57150" y="2222500"/>
                  </a:lnTo>
                  <a:lnTo>
                    <a:pt x="57150" y="2273300"/>
                  </a:lnTo>
                  <a:lnTo>
                    <a:pt x="69850" y="2273300"/>
                  </a:lnTo>
                  <a:lnTo>
                    <a:pt x="69850" y="2222500"/>
                  </a:lnTo>
                  <a:close/>
                </a:path>
                <a:path w="127000" h="3997960">
                  <a:moveTo>
                    <a:pt x="69850" y="2311400"/>
                  </a:moveTo>
                  <a:lnTo>
                    <a:pt x="57150" y="2311400"/>
                  </a:lnTo>
                  <a:lnTo>
                    <a:pt x="57150" y="2362200"/>
                  </a:lnTo>
                  <a:lnTo>
                    <a:pt x="69850" y="2362200"/>
                  </a:lnTo>
                  <a:lnTo>
                    <a:pt x="69850" y="2311400"/>
                  </a:lnTo>
                  <a:close/>
                </a:path>
                <a:path w="127000" h="3997960">
                  <a:moveTo>
                    <a:pt x="69850" y="2400300"/>
                  </a:moveTo>
                  <a:lnTo>
                    <a:pt x="57150" y="2400300"/>
                  </a:lnTo>
                  <a:lnTo>
                    <a:pt x="57150" y="2451100"/>
                  </a:lnTo>
                  <a:lnTo>
                    <a:pt x="69850" y="2451100"/>
                  </a:lnTo>
                  <a:lnTo>
                    <a:pt x="69850" y="2400300"/>
                  </a:lnTo>
                  <a:close/>
                </a:path>
                <a:path w="127000" h="3997960">
                  <a:moveTo>
                    <a:pt x="69850" y="2489200"/>
                  </a:moveTo>
                  <a:lnTo>
                    <a:pt x="57150" y="2489200"/>
                  </a:lnTo>
                  <a:lnTo>
                    <a:pt x="57150" y="2540000"/>
                  </a:lnTo>
                  <a:lnTo>
                    <a:pt x="69850" y="2540000"/>
                  </a:lnTo>
                  <a:lnTo>
                    <a:pt x="69850" y="2489200"/>
                  </a:lnTo>
                  <a:close/>
                </a:path>
                <a:path w="127000" h="3997960">
                  <a:moveTo>
                    <a:pt x="69850" y="2578100"/>
                  </a:moveTo>
                  <a:lnTo>
                    <a:pt x="57150" y="2578100"/>
                  </a:lnTo>
                  <a:lnTo>
                    <a:pt x="57150" y="2628900"/>
                  </a:lnTo>
                  <a:lnTo>
                    <a:pt x="69850" y="2628900"/>
                  </a:lnTo>
                  <a:lnTo>
                    <a:pt x="69850" y="2578100"/>
                  </a:lnTo>
                  <a:close/>
                </a:path>
                <a:path w="127000" h="3997960">
                  <a:moveTo>
                    <a:pt x="69850" y="2667000"/>
                  </a:moveTo>
                  <a:lnTo>
                    <a:pt x="57150" y="2667000"/>
                  </a:lnTo>
                  <a:lnTo>
                    <a:pt x="57150" y="2717800"/>
                  </a:lnTo>
                  <a:lnTo>
                    <a:pt x="69850" y="2717800"/>
                  </a:lnTo>
                  <a:lnTo>
                    <a:pt x="69850" y="2667000"/>
                  </a:lnTo>
                  <a:close/>
                </a:path>
                <a:path w="127000" h="3997960">
                  <a:moveTo>
                    <a:pt x="69850" y="2755900"/>
                  </a:moveTo>
                  <a:lnTo>
                    <a:pt x="57150" y="2755900"/>
                  </a:lnTo>
                  <a:lnTo>
                    <a:pt x="57150" y="2806700"/>
                  </a:lnTo>
                  <a:lnTo>
                    <a:pt x="69850" y="2806700"/>
                  </a:lnTo>
                  <a:lnTo>
                    <a:pt x="69850" y="2755900"/>
                  </a:lnTo>
                  <a:close/>
                </a:path>
                <a:path w="127000" h="3997960">
                  <a:moveTo>
                    <a:pt x="69850" y="2844800"/>
                  </a:moveTo>
                  <a:lnTo>
                    <a:pt x="57150" y="2844800"/>
                  </a:lnTo>
                  <a:lnTo>
                    <a:pt x="57150" y="2895600"/>
                  </a:lnTo>
                  <a:lnTo>
                    <a:pt x="69850" y="2895600"/>
                  </a:lnTo>
                  <a:lnTo>
                    <a:pt x="69850" y="2844800"/>
                  </a:lnTo>
                  <a:close/>
                </a:path>
                <a:path w="127000" h="3997960">
                  <a:moveTo>
                    <a:pt x="69850" y="2933700"/>
                  </a:moveTo>
                  <a:lnTo>
                    <a:pt x="57150" y="2933700"/>
                  </a:lnTo>
                  <a:lnTo>
                    <a:pt x="57150" y="2984500"/>
                  </a:lnTo>
                  <a:lnTo>
                    <a:pt x="69850" y="2984500"/>
                  </a:lnTo>
                  <a:lnTo>
                    <a:pt x="69850" y="2933700"/>
                  </a:lnTo>
                  <a:close/>
                </a:path>
                <a:path w="127000" h="3997960">
                  <a:moveTo>
                    <a:pt x="69850" y="3022600"/>
                  </a:moveTo>
                  <a:lnTo>
                    <a:pt x="57150" y="3022600"/>
                  </a:lnTo>
                  <a:lnTo>
                    <a:pt x="57150" y="3073400"/>
                  </a:lnTo>
                  <a:lnTo>
                    <a:pt x="69850" y="3073400"/>
                  </a:lnTo>
                  <a:lnTo>
                    <a:pt x="69850" y="3022600"/>
                  </a:lnTo>
                  <a:close/>
                </a:path>
                <a:path w="127000" h="3997960">
                  <a:moveTo>
                    <a:pt x="69850" y="3111500"/>
                  </a:moveTo>
                  <a:lnTo>
                    <a:pt x="57150" y="3111500"/>
                  </a:lnTo>
                  <a:lnTo>
                    <a:pt x="57150" y="3162300"/>
                  </a:lnTo>
                  <a:lnTo>
                    <a:pt x="69850" y="3162300"/>
                  </a:lnTo>
                  <a:lnTo>
                    <a:pt x="69850" y="3111500"/>
                  </a:lnTo>
                  <a:close/>
                </a:path>
                <a:path w="127000" h="3997960">
                  <a:moveTo>
                    <a:pt x="69850" y="3200400"/>
                  </a:moveTo>
                  <a:lnTo>
                    <a:pt x="57150" y="3200400"/>
                  </a:lnTo>
                  <a:lnTo>
                    <a:pt x="57150" y="3251200"/>
                  </a:lnTo>
                  <a:lnTo>
                    <a:pt x="69850" y="3251200"/>
                  </a:lnTo>
                  <a:lnTo>
                    <a:pt x="69850" y="3200400"/>
                  </a:lnTo>
                  <a:close/>
                </a:path>
                <a:path w="127000" h="3997960">
                  <a:moveTo>
                    <a:pt x="69850" y="3289300"/>
                  </a:moveTo>
                  <a:lnTo>
                    <a:pt x="57150" y="3289300"/>
                  </a:lnTo>
                  <a:lnTo>
                    <a:pt x="57150" y="3340100"/>
                  </a:lnTo>
                  <a:lnTo>
                    <a:pt x="69850" y="3340100"/>
                  </a:lnTo>
                  <a:lnTo>
                    <a:pt x="69850" y="3289300"/>
                  </a:lnTo>
                  <a:close/>
                </a:path>
                <a:path w="127000" h="3997960">
                  <a:moveTo>
                    <a:pt x="69850" y="3378200"/>
                  </a:moveTo>
                  <a:lnTo>
                    <a:pt x="57150" y="3378200"/>
                  </a:lnTo>
                  <a:lnTo>
                    <a:pt x="57150" y="3429000"/>
                  </a:lnTo>
                  <a:lnTo>
                    <a:pt x="69850" y="3429000"/>
                  </a:lnTo>
                  <a:lnTo>
                    <a:pt x="69850" y="3378200"/>
                  </a:lnTo>
                  <a:close/>
                </a:path>
                <a:path w="127000" h="3997960">
                  <a:moveTo>
                    <a:pt x="69850" y="3467100"/>
                  </a:moveTo>
                  <a:lnTo>
                    <a:pt x="57150" y="3467100"/>
                  </a:lnTo>
                  <a:lnTo>
                    <a:pt x="57150" y="3517900"/>
                  </a:lnTo>
                  <a:lnTo>
                    <a:pt x="69850" y="3517900"/>
                  </a:lnTo>
                  <a:lnTo>
                    <a:pt x="69850" y="3467100"/>
                  </a:lnTo>
                  <a:close/>
                </a:path>
                <a:path w="127000" h="3997960">
                  <a:moveTo>
                    <a:pt x="69850" y="3556000"/>
                  </a:moveTo>
                  <a:lnTo>
                    <a:pt x="57150" y="3556000"/>
                  </a:lnTo>
                  <a:lnTo>
                    <a:pt x="57150" y="3606800"/>
                  </a:lnTo>
                  <a:lnTo>
                    <a:pt x="69850" y="3606800"/>
                  </a:lnTo>
                  <a:lnTo>
                    <a:pt x="69850" y="3556000"/>
                  </a:lnTo>
                  <a:close/>
                </a:path>
                <a:path w="127000" h="3997960">
                  <a:moveTo>
                    <a:pt x="69850" y="3644900"/>
                  </a:moveTo>
                  <a:lnTo>
                    <a:pt x="57150" y="3644900"/>
                  </a:lnTo>
                  <a:lnTo>
                    <a:pt x="57150" y="3695700"/>
                  </a:lnTo>
                  <a:lnTo>
                    <a:pt x="69850" y="3695700"/>
                  </a:lnTo>
                  <a:lnTo>
                    <a:pt x="69850" y="3644900"/>
                  </a:lnTo>
                  <a:close/>
                </a:path>
                <a:path w="127000" h="3997960">
                  <a:moveTo>
                    <a:pt x="69850" y="3733800"/>
                  </a:moveTo>
                  <a:lnTo>
                    <a:pt x="57150" y="3733800"/>
                  </a:lnTo>
                  <a:lnTo>
                    <a:pt x="57150" y="3784600"/>
                  </a:lnTo>
                  <a:lnTo>
                    <a:pt x="69850" y="3784600"/>
                  </a:lnTo>
                  <a:lnTo>
                    <a:pt x="69850" y="3733800"/>
                  </a:lnTo>
                  <a:close/>
                </a:path>
                <a:path w="127000" h="3997960">
                  <a:moveTo>
                    <a:pt x="57150" y="3870705"/>
                  </a:moveTo>
                  <a:lnTo>
                    <a:pt x="0" y="3870705"/>
                  </a:lnTo>
                  <a:lnTo>
                    <a:pt x="63500" y="3997705"/>
                  </a:lnTo>
                  <a:lnTo>
                    <a:pt x="125602" y="3873500"/>
                  </a:lnTo>
                  <a:lnTo>
                    <a:pt x="57150" y="3873500"/>
                  </a:lnTo>
                  <a:lnTo>
                    <a:pt x="57150" y="3870705"/>
                  </a:lnTo>
                  <a:close/>
                </a:path>
                <a:path w="127000" h="3997960">
                  <a:moveTo>
                    <a:pt x="69850" y="3822700"/>
                  </a:moveTo>
                  <a:lnTo>
                    <a:pt x="57150" y="3822700"/>
                  </a:lnTo>
                  <a:lnTo>
                    <a:pt x="57150" y="3873500"/>
                  </a:lnTo>
                  <a:lnTo>
                    <a:pt x="69850" y="3873500"/>
                  </a:lnTo>
                  <a:lnTo>
                    <a:pt x="69850" y="3822700"/>
                  </a:lnTo>
                  <a:close/>
                </a:path>
                <a:path w="127000" h="3997960">
                  <a:moveTo>
                    <a:pt x="127000" y="3870705"/>
                  </a:moveTo>
                  <a:lnTo>
                    <a:pt x="69850" y="3870705"/>
                  </a:lnTo>
                  <a:lnTo>
                    <a:pt x="69850" y="3873500"/>
                  </a:lnTo>
                  <a:lnTo>
                    <a:pt x="125602" y="3873500"/>
                  </a:lnTo>
                  <a:lnTo>
                    <a:pt x="127000" y="3870705"/>
                  </a:lnTo>
                  <a:close/>
                </a:path>
              </a:pathLst>
            </a:custGeom>
            <a:solidFill>
              <a:srgbClr val="7E7E7E"/>
            </a:solidFill>
          </p:spPr>
          <p:txBody>
            <a:bodyPr wrap="square" lIns="0" tIns="0" rIns="0" bIns="0" rtlCol="0"/>
            <a:lstStyle/>
            <a:p>
              <a:endParaRPr/>
            </a:p>
          </p:txBody>
        </p:sp>
        <p:sp>
          <p:nvSpPr>
            <p:cNvPr id="78" name="object 78"/>
            <p:cNvSpPr/>
            <p:nvPr/>
          </p:nvSpPr>
          <p:spPr>
            <a:xfrm>
              <a:off x="7618983" y="1927860"/>
              <a:ext cx="127000" cy="3997960"/>
            </a:xfrm>
            <a:custGeom>
              <a:avLst/>
              <a:gdLst/>
              <a:ahLst/>
              <a:cxnLst/>
              <a:rect l="l" t="t" r="r" b="b"/>
              <a:pathLst>
                <a:path w="127000" h="3997960">
                  <a:moveTo>
                    <a:pt x="69850" y="0"/>
                  </a:moveTo>
                  <a:lnTo>
                    <a:pt x="57150" y="0"/>
                  </a:lnTo>
                  <a:lnTo>
                    <a:pt x="57150" y="50800"/>
                  </a:lnTo>
                  <a:lnTo>
                    <a:pt x="69850" y="50800"/>
                  </a:lnTo>
                  <a:lnTo>
                    <a:pt x="69850" y="0"/>
                  </a:lnTo>
                  <a:close/>
                </a:path>
                <a:path w="127000" h="3997960">
                  <a:moveTo>
                    <a:pt x="69850" y="88900"/>
                  </a:moveTo>
                  <a:lnTo>
                    <a:pt x="57150" y="88900"/>
                  </a:lnTo>
                  <a:lnTo>
                    <a:pt x="57150" y="139700"/>
                  </a:lnTo>
                  <a:lnTo>
                    <a:pt x="69850" y="139700"/>
                  </a:lnTo>
                  <a:lnTo>
                    <a:pt x="69850" y="88900"/>
                  </a:lnTo>
                  <a:close/>
                </a:path>
                <a:path w="127000" h="3997960">
                  <a:moveTo>
                    <a:pt x="69850" y="177800"/>
                  </a:moveTo>
                  <a:lnTo>
                    <a:pt x="57150" y="177800"/>
                  </a:lnTo>
                  <a:lnTo>
                    <a:pt x="57150" y="228600"/>
                  </a:lnTo>
                  <a:lnTo>
                    <a:pt x="69850" y="228600"/>
                  </a:lnTo>
                  <a:lnTo>
                    <a:pt x="69850" y="177800"/>
                  </a:lnTo>
                  <a:close/>
                </a:path>
                <a:path w="127000" h="3997960">
                  <a:moveTo>
                    <a:pt x="69850" y="266700"/>
                  </a:moveTo>
                  <a:lnTo>
                    <a:pt x="57150" y="266700"/>
                  </a:lnTo>
                  <a:lnTo>
                    <a:pt x="57150" y="317500"/>
                  </a:lnTo>
                  <a:lnTo>
                    <a:pt x="69850" y="317500"/>
                  </a:lnTo>
                  <a:lnTo>
                    <a:pt x="69850" y="266700"/>
                  </a:lnTo>
                  <a:close/>
                </a:path>
                <a:path w="127000" h="3997960">
                  <a:moveTo>
                    <a:pt x="69850" y="355600"/>
                  </a:moveTo>
                  <a:lnTo>
                    <a:pt x="57150" y="355600"/>
                  </a:lnTo>
                  <a:lnTo>
                    <a:pt x="57150" y="406400"/>
                  </a:lnTo>
                  <a:lnTo>
                    <a:pt x="69850" y="406400"/>
                  </a:lnTo>
                  <a:lnTo>
                    <a:pt x="69850" y="355600"/>
                  </a:lnTo>
                  <a:close/>
                </a:path>
                <a:path w="127000" h="3997960">
                  <a:moveTo>
                    <a:pt x="69850" y="444500"/>
                  </a:moveTo>
                  <a:lnTo>
                    <a:pt x="57150" y="444500"/>
                  </a:lnTo>
                  <a:lnTo>
                    <a:pt x="57150" y="495300"/>
                  </a:lnTo>
                  <a:lnTo>
                    <a:pt x="69850" y="495300"/>
                  </a:lnTo>
                  <a:lnTo>
                    <a:pt x="69850" y="444500"/>
                  </a:lnTo>
                  <a:close/>
                </a:path>
                <a:path w="127000" h="3997960">
                  <a:moveTo>
                    <a:pt x="69850" y="533400"/>
                  </a:moveTo>
                  <a:lnTo>
                    <a:pt x="57150" y="533400"/>
                  </a:lnTo>
                  <a:lnTo>
                    <a:pt x="57150" y="584200"/>
                  </a:lnTo>
                  <a:lnTo>
                    <a:pt x="69850" y="584200"/>
                  </a:lnTo>
                  <a:lnTo>
                    <a:pt x="69850" y="533400"/>
                  </a:lnTo>
                  <a:close/>
                </a:path>
                <a:path w="127000" h="3997960">
                  <a:moveTo>
                    <a:pt x="69850" y="622300"/>
                  </a:moveTo>
                  <a:lnTo>
                    <a:pt x="57150" y="622300"/>
                  </a:lnTo>
                  <a:lnTo>
                    <a:pt x="57150" y="673100"/>
                  </a:lnTo>
                  <a:lnTo>
                    <a:pt x="69850" y="673100"/>
                  </a:lnTo>
                  <a:lnTo>
                    <a:pt x="69850" y="622300"/>
                  </a:lnTo>
                  <a:close/>
                </a:path>
                <a:path w="127000" h="3997960">
                  <a:moveTo>
                    <a:pt x="69850" y="711200"/>
                  </a:moveTo>
                  <a:lnTo>
                    <a:pt x="57150" y="711200"/>
                  </a:lnTo>
                  <a:lnTo>
                    <a:pt x="57150" y="762000"/>
                  </a:lnTo>
                  <a:lnTo>
                    <a:pt x="69850" y="762000"/>
                  </a:lnTo>
                  <a:lnTo>
                    <a:pt x="69850" y="711200"/>
                  </a:lnTo>
                  <a:close/>
                </a:path>
                <a:path w="127000" h="3997960">
                  <a:moveTo>
                    <a:pt x="69850" y="800100"/>
                  </a:moveTo>
                  <a:lnTo>
                    <a:pt x="57150" y="800100"/>
                  </a:lnTo>
                  <a:lnTo>
                    <a:pt x="57150" y="850900"/>
                  </a:lnTo>
                  <a:lnTo>
                    <a:pt x="69850" y="850900"/>
                  </a:lnTo>
                  <a:lnTo>
                    <a:pt x="69850" y="800100"/>
                  </a:lnTo>
                  <a:close/>
                </a:path>
                <a:path w="127000" h="3997960">
                  <a:moveTo>
                    <a:pt x="69850" y="889000"/>
                  </a:moveTo>
                  <a:lnTo>
                    <a:pt x="57150" y="889000"/>
                  </a:lnTo>
                  <a:lnTo>
                    <a:pt x="57150" y="939800"/>
                  </a:lnTo>
                  <a:lnTo>
                    <a:pt x="69850" y="939800"/>
                  </a:lnTo>
                  <a:lnTo>
                    <a:pt x="69850" y="889000"/>
                  </a:lnTo>
                  <a:close/>
                </a:path>
                <a:path w="127000" h="3997960">
                  <a:moveTo>
                    <a:pt x="69850" y="977900"/>
                  </a:moveTo>
                  <a:lnTo>
                    <a:pt x="57150" y="977900"/>
                  </a:lnTo>
                  <a:lnTo>
                    <a:pt x="57150" y="1028700"/>
                  </a:lnTo>
                  <a:lnTo>
                    <a:pt x="69850" y="1028700"/>
                  </a:lnTo>
                  <a:lnTo>
                    <a:pt x="69850" y="977900"/>
                  </a:lnTo>
                  <a:close/>
                </a:path>
                <a:path w="127000" h="3997960">
                  <a:moveTo>
                    <a:pt x="69850" y="1066800"/>
                  </a:moveTo>
                  <a:lnTo>
                    <a:pt x="57150" y="1066800"/>
                  </a:lnTo>
                  <a:lnTo>
                    <a:pt x="57150" y="1117600"/>
                  </a:lnTo>
                  <a:lnTo>
                    <a:pt x="69850" y="1117600"/>
                  </a:lnTo>
                  <a:lnTo>
                    <a:pt x="69850" y="1066800"/>
                  </a:lnTo>
                  <a:close/>
                </a:path>
                <a:path w="127000" h="3997960">
                  <a:moveTo>
                    <a:pt x="69850" y="1155700"/>
                  </a:moveTo>
                  <a:lnTo>
                    <a:pt x="57150" y="1155700"/>
                  </a:lnTo>
                  <a:lnTo>
                    <a:pt x="57150" y="1206500"/>
                  </a:lnTo>
                  <a:lnTo>
                    <a:pt x="69850" y="1206500"/>
                  </a:lnTo>
                  <a:lnTo>
                    <a:pt x="69850" y="1155700"/>
                  </a:lnTo>
                  <a:close/>
                </a:path>
                <a:path w="127000" h="3997960">
                  <a:moveTo>
                    <a:pt x="69850" y="1244600"/>
                  </a:moveTo>
                  <a:lnTo>
                    <a:pt x="57150" y="1244600"/>
                  </a:lnTo>
                  <a:lnTo>
                    <a:pt x="57150" y="1295400"/>
                  </a:lnTo>
                  <a:lnTo>
                    <a:pt x="69850" y="1295400"/>
                  </a:lnTo>
                  <a:lnTo>
                    <a:pt x="69850" y="1244600"/>
                  </a:lnTo>
                  <a:close/>
                </a:path>
                <a:path w="127000" h="3997960">
                  <a:moveTo>
                    <a:pt x="69850" y="1333500"/>
                  </a:moveTo>
                  <a:lnTo>
                    <a:pt x="57150" y="1333500"/>
                  </a:lnTo>
                  <a:lnTo>
                    <a:pt x="57150" y="1384300"/>
                  </a:lnTo>
                  <a:lnTo>
                    <a:pt x="69850" y="1384300"/>
                  </a:lnTo>
                  <a:lnTo>
                    <a:pt x="69850" y="1333500"/>
                  </a:lnTo>
                  <a:close/>
                </a:path>
                <a:path w="127000" h="3997960">
                  <a:moveTo>
                    <a:pt x="69850" y="1422400"/>
                  </a:moveTo>
                  <a:lnTo>
                    <a:pt x="57150" y="1422400"/>
                  </a:lnTo>
                  <a:lnTo>
                    <a:pt x="57150" y="1473200"/>
                  </a:lnTo>
                  <a:lnTo>
                    <a:pt x="69850" y="1473200"/>
                  </a:lnTo>
                  <a:lnTo>
                    <a:pt x="69850" y="1422400"/>
                  </a:lnTo>
                  <a:close/>
                </a:path>
                <a:path w="127000" h="3997960">
                  <a:moveTo>
                    <a:pt x="69850" y="1511300"/>
                  </a:moveTo>
                  <a:lnTo>
                    <a:pt x="57150" y="1511300"/>
                  </a:lnTo>
                  <a:lnTo>
                    <a:pt x="57150" y="1562100"/>
                  </a:lnTo>
                  <a:lnTo>
                    <a:pt x="69850" y="1562100"/>
                  </a:lnTo>
                  <a:lnTo>
                    <a:pt x="69850" y="1511300"/>
                  </a:lnTo>
                  <a:close/>
                </a:path>
                <a:path w="127000" h="3997960">
                  <a:moveTo>
                    <a:pt x="69850" y="1600200"/>
                  </a:moveTo>
                  <a:lnTo>
                    <a:pt x="57150" y="1600200"/>
                  </a:lnTo>
                  <a:lnTo>
                    <a:pt x="57150" y="1651000"/>
                  </a:lnTo>
                  <a:lnTo>
                    <a:pt x="69850" y="1651000"/>
                  </a:lnTo>
                  <a:lnTo>
                    <a:pt x="69850" y="1600200"/>
                  </a:lnTo>
                  <a:close/>
                </a:path>
                <a:path w="127000" h="3997960">
                  <a:moveTo>
                    <a:pt x="69850" y="1689100"/>
                  </a:moveTo>
                  <a:lnTo>
                    <a:pt x="57150" y="1689100"/>
                  </a:lnTo>
                  <a:lnTo>
                    <a:pt x="57150" y="1739900"/>
                  </a:lnTo>
                  <a:lnTo>
                    <a:pt x="69850" y="1739900"/>
                  </a:lnTo>
                  <a:lnTo>
                    <a:pt x="69850" y="1689100"/>
                  </a:lnTo>
                  <a:close/>
                </a:path>
                <a:path w="127000" h="3997960">
                  <a:moveTo>
                    <a:pt x="69850" y="1778000"/>
                  </a:moveTo>
                  <a:lnTo>
                    <a:pt x="57150" y="1778000"/>
                  </a:lnTo>
                  <a:lnTo>
                    <a:pt x="57150" y="1828800"/>
                  </a:lnTo>
                  <a:lnTo>
                    <a:pt x="69850" y="1828800"/>
                  </a:lnTo>
                  <a:lnTo>
                    <a:pt x="69850" y="1778000"/>
                  </a:lnTo>
                  <a:close/>
                </a:path>
                <a:path w="127000" h="3997960">
                  <a:moveTo>
                    <a:pt x="69850" y="1866900"/>
                  </a:moveTo>
                  <a:lnTo>
                    <a:pt x="57150" y="1866900"/>
                  </a:lnTo>
                  <a:lnTo>
                    <a:pt x="57150" y="1917700"/>
                  </a:lnTo>
                  <a:lnTo>
                    <a:pt x="69850" y="1917700"/>
                  </a:lnTo>
                  <a:lnTo>
                    <a:pt x="69850" y="1866900"/>
                  </a:lnTo>
                  <a:close/>
                </a:path>
                <a:path w="127000" h="3997960">
                  <a:moveTo>
                    <a:pt x="69850" y="1955800"/>
                  </a:moveTo>
                  <a:lnTo>
                    <a:pt x="57150" y="1955800"/>
                  </a:lnTo>
                  <a:lnTo>
                    <a:pt x="57150" y="2006600"/>
                  </a:lnTo>
                  <a:lnTo>
                    <a:pt x="69850" y="2006600"/>
                  </a:lnTo>
                  <a:lnTo>
                    <a:pt x="69850" y="1955800"/>
                  </a:lnTo>
                  <a:close/>
                </a:path>
                <a:path w="127000" h="3997960">
                  <a:moveTo>
                    <a:pt x="69850" y="2044700"/>
                  </a:moveTo>
                  <a:lnTo>
                    <a:pt x="57150" y="2044700"/>
                  </a:lnTo>
                  <a:lnTo>
                    <a:pt x="57150" y="2095500"/>
                  </a:lnTo>
                  <a:lnTo>
                    <a:pt x="69850" y="2095500"/>
                  </a:lnTo>
                  <a:lnTo>
                    <a:pt x="69850" y="2044700"/>
                  </a:lnTo>
                  <a:close/>
                </a:path>
                <a:path w="127000" h="3997960">
                  <a:moveTo>
                    <a:pt x="69850" y="2133600"/>
                  </a:moveTo>
                  <a:lnTo>
                    <a:pt x="57150" y="2133600"/>
                  </a:lnTo>
                  <a:lnTo>
                    <a:pt x="57150" y="2184400"/>
                  </a:lnTo>
                  <a:lnTo>
                    <a:pt x="69850" y="2184400"/>
                  </a:lnTo>
                  <a:lnTo>
                    <a:pt x="69850" y="2133600"/>
                  </a:lnTo>
                  <a:close/>
                </a:path>
                <a:path w="127000" h="3997960">
                  <a:moveTo>
                    <a:pt x="69850" y="2222500"/>
                  </a:moveTo>
                  <a:lnTo>
                    <a:pt x="57150" y="2222500"/>
                  </a:lnTo>
                  <a:lnTo>
                    <a:pt x="57150" y="2273300"/>
                  </a:lnTo>
                  <a:lnTo>
                    <a:pt x="69850" y="2273300"/>
                  </a:lnTo>
                  <a:lnTo>
                    <a:pt x="69850" y="2222500"/>
                  </a:lnTo>
                  <a:close/>
                </a:path>
                <a:path w="127000" h="3997960">
                  <a:moveTo>
                    <a:pt x="69850" y="2311400"/>
                  </a:moveTo>
                  <a:lnTo>
                    <a:pt x="57150" y="2311400"/>
                  </a:lnTo>
                  <a:lnTo>
                    <a:pt x="57150" y="2362200"/>
                  </a:lnTo>
                  <a:lnTo>
                    <a:pt x="69850" y="2362200"/>
                  </a:lnTo>
                  <a:lnTo>
                    <a:pt x="69850" y="2311400"/>
                  </a:lnTo>
                  <a:close/>
                </a:path>
                <a:path w="127000" h="3997960">
                  <a:moveTo>
                    <a:pt x="69850" y="2400300"/>
                  </a:moveTo>
                  <a:lnTo>
                    <a:pt x="57150" y="2400300"/>
                  </a:lnTo>
                  <a:lnTo>
                    <a:pt x="57150" y="2451100"/>
                  </a:lnTo>
                  <a:lnTo>
                    <a:pt x="69850" y="2451100"/>
                  </a:lnTo>
                  <a:lnTo>
                    <a:pt x="69850" y="2400300"/>
                  </a:lnTo>
                  <a:close/>
                </a:path>
                <a:path w="127000" h="3997960">
                  <a:moveTo>
                    <a:pt x="69850" y="2489200"/>
                  </a:moveTo>
                  <a:lnTo>
                    <a:pt x="57150" y="2489200"/>
                  </a:lnTo>
                  <a:lnTo>
                    <a:pt x="57150" y="2540000"/>
                  </a:lnTo>
                  <a:lnTo>
                    <a:pt x="69850" y="2540000"/>
                  </a:lnTo>
                  <a:lnTo>
                    <a:pt x="69850" y="2489200"/>
                  </a:lnTo>
                  <a:close/>
                </a:path>
                <a:path w="127000" h="3997960">
                  <a:moveTo>
                    <a:pt x="69850" y="2578100"/>
                  </a:moveTo>
                  <a:lnTo>
                    <a:pt x="57150" y="2578100"/>
                  </a:lnTo>
                  <a:lnTo>
                    <a:pt x="57150" y="2628900"/>
                  </a:lnTo>
                  <a:lnTo>
                    <a:pt x="69850" y="2628900"/>
                  </a:lnTo>
                  <a:lnTo>
                    <a:pt x="69850" y="2578100"/>
                  </a:lnTo>
                  <a:close/>
                </a:path>
                <a:path w="127000" h="3997960">
                  <a:moveTo>
                    <a:pt x="69850" y="2667000"/>
                  </a:moveTo>
                  <a:lnTo>
                    <a:pt x="57150" y="2667000"/>
                  </a:lnTo>
                  <a:lnTo>
                    <a:pt x="57150" y="2717800"/>
                  </a:lnTo>
                  <a:lnTo>
                    <a:pt x="69850" y="2717800"/>
                  </a:lnTo>
                  <a:lnTo>
                    <a:pt x="69850" y="2667000"/>
                  </a:lnTo>
                  <a:close/>
                </a:path>
                <a:path w="127000" h="3997960">
                  <a:moveTo>
                    <a:pt x="69850" y="2755900"/>
                  </a:moveTo>
                  <a:lnTo>
                    <a:pt x="57150" y="2755900"/>
                  </a:lnTo>
                  <a:lnTo>
                    <a:pt x="57150" y="2806700"/>
                  </a:lnTo>
                  <a:lnTo>
                    <a:pt x="69850" y="2806700"/>
                  </a:lnTo>
                  <a:lnTo>
                    <a:pt x="69850" y="2755900"/>
                  </a:lnTo>
                  <a:close/>
                </a:path>
                <a:path w="127000" h="3997960">
                  <a:moveTo>
                    <a:pt x="69850" y="2844800"/>
                  </a:moveTo>
                  <a:lnTo>
                    <a:pt x="57150" y="2844800"/>
                  </a:lnTo>
                  <a:lnTo>
                    <a:pt x="57150" y="2895600"/>
                  </a:lnTo>
                  <a:lnTo>
                    <a:pt x="69850" y="2895600"/>
                  </a:lnTo>
                  <a:lnTo>
                    <a:pt x="69850" y="2844800"/>
                  </a:lnTo>
                  <a:close/>
                </a:path>
                <a:path w="127000" h="3997960">
                  <a:moveTo>
                    <a:pt x="69850" y="2933700"/>
                  </a:moveTo>
                  <a:lnTo>
                    <a:pt x="57150" y="2933700"/>
                  </a:lnTo>
                  <a:lnTo>
                    <a:pt x="57150" y="2984500"/>
                  </a:lnTo>
                  <a:lnTo>
                    <a:pt x="69850" y="2984500"/>
                  </a:lnTo>
                  <a:lnTo>
                    <a:pt x="69850" y="2933700"/>
                  </a:lnTo>
                  <a:close/>
                </a:path>
                <a:path w="127000" h="3997960">
                  <a:moveTo>
                    <a:pt x="69850" y="3022600"/>
                  </a:moveTo>
                  <a:lnTo>
                    <a:pt x="57150" y="3022600"/>
                  </a:lnTo>
                  <a:lnTo>
                    <a:pt x="57150" y="3073400"/>
                  </a:lnTo>
                  <a:lnTo>
                    <a:pt x="69850" y="3073400"/>
                  </a:lnTo>
                  <a:lnTo>
                    <a:pt x="69850" y="3022600"/>
                  </a:lnTo>
                  <a:close/>
                </a:path>
                <a:path w="127000" h="3997960">
                  <a:moveTo>
                    <a:pt x="69850" y="3111500"/>
                  </a:moveTo>
                  <a:lnTo>
                    <a:pt x="57150" y="3111500"/>
                  </a:lnTo>
                  <a:lnTo>
                    <a:pt x="57150" y="3162300"/>
                  </a:lnTo>
                  <a:lnTo>
                    <a:pt x="69850" y="3162300"/>
                  </a:lnTo>
                  <a:lnTo>
                    <a:pt x="69850" y="3111500"/>
                  </a:lnTo>
                  <a:close/>
                </a:path>
                <a:path w="127000" h="3997960">
                  <a:moveTo>
                    <a:pt x="69850" y="3200400"/>
                  </a:moveTo>
                  <a:lnTo>
                    <a:pt x="57150" y="3200400"/>
                  </a:lnTo>
                  <a:lnTo>
                    <a:pt x="57150" y="3251200"/>
                  </a:lnTo>
                  <a:lnTo>
                    <a:pt x="69850" y="3251200"/>
                  </a:lnTo>
                  <a:lnTo>
                    <a:pt x="69850" y="3200400"/>
                  </a:lnTo>
                  <a:close/>
                </a:path>
                <a:path w="127000" h="3997960">
                  <a:moveTo>
                    <a:pt x="69850" y="3289300"/>
                  </a:moveTo>
                  <a:lnTo>
                    <a:pt x="57150" y="3289300"/>
                  </a:lnTo>
                  <a:lnTo>
                    <a:pt x="57150" y="3340100"/>
                  </a:lnTo>
                  <a:lnTo>
                    <a:pt x="69850" y="3340100"/>
                  </a:lnTo>
                  <a:lnTo>
                    <a:pt x="69850" y="3289300"/>
                  </a:lnTo>
                  <a:close/>
                </a:path>
                <a:path w="127000" h="3997960">
                  <a:moveTo>
                    <a:pt x="69850" y="3378200"/>
                  </a:moveTo>
                  <a:lnTo>
                    <a:pt x="57150" y="3378200"/>
                  </a:lnTo>
                  <a:lnTo>
                    <a:pt x="57150" y="3429000"/>
                  </a:lnTo>
                  <a:lnTo>
                    <a:pt x="69850" y="3429000"/>
                  </a:lnTo>
                  <a:lnTo>
                    <a:pt x="69850" y="3378200"/>
                  </a:lnTo>
                  <a:close/>
                </a:path>
                <a:path w="127000" h="3997960">
                  <a:moveTo>
                    <a:pt x="69850" y="3467100"/>
                  </a:moveTo>
                  <a:lnTo>
                    <a:pt x="57150" y="3467100"/>
                  </a:lnTo>
                  <a:lnTo>
                    <a:pt x="57150" y="3517900"/>
                  </a:lnTo>
                  <a:lnTo>
                    <a:pt x="69850" y="3517900"/>
                  </a:lnTo>
                  <a:lnTo>
                    <a:pt x="69850" y="3467100"/>
                  </a:lnTo>
                  <a:close/>
                </a:path>
                <a:path w="127000" h="3997960">
                  <a:moveTo>
                    <a:pt x="69850" y="3556000"/>
                  </a:moveTo>
                  <a:lnTo>
                    <a:pt x="57150" y="3556000"/>
                  </a:lnTo>
                  <a:lnTo>
                    <a:pt x="57150" y="3606800"/>
                  </a:lnTo>
                  <a:lnTo>
                    <a:pt x="69850" y="3606800"/>
                  </a:lnTo>
                  <a:lnTo>
                    <a:pt x="69850" y="3556000"/>
                  </a:lnTo>
                  <a:close/>
                </a:path>
                <a:path w="127000" h="3997960">
                  <a:moveTo>
                    <a:pt x="69850" y="3644900"/>
                  </a:moveTo>
                  <a:lnTo>
                    <a:pt x="57150" y="3644900"/>
                  </a:lnTo>
                  <a:lnTo>
                    <a:pt x="57150" y="3695700"/>
                  </a:lnTo>
                  <a:lnTo>
                    <a:pt x="69850" y="3695700"/>
                  </a:lnTo>
                  <a:lnTo>
                    <a:pt x="69850" y="3644900"/>
                  </a:lnTo>
                  <a:close/>
                </a:path>
                <a:path w="127000" h="3997960">
                  <a:moveTo>
                    <a:pt x="69850" y="3733800"/>
                  </a:moveTo>
                  <a:lnTo>
                    <a:pt x="57150" y="3733800"/>
                  </a:lnTo>
                  <a:lnTo>
                    <a:pt x="57150" y="3784600"/>
                  </a:lnTo>
                  <a:lnTo>
                    <a:pt x="69850" y="3784600"/>
                  </a:lnTo>
                  <a:lnTo>
                    <a:pt x="69850" y="3733800"/>
                  </a:lnTo>
                  <a:close/>
                </a:path>
                <a:path w="127000" h="3997960">
                  <a:moveTo>
                    <a:pt x="57150" y="3870705"/>
                  </a:moveTo>
                  <a:lnTo>
                    <a:pt x="0" y="3870705"/>
                  </a:lnTo>
                  <a:lnTo>
                    <a:pt x="63500" y="3997705"/>
                  </a:lnTo>
                  <a:lnTo>
                    <a:pt x="125602" y="3873500"/>
                  </a:lnTo>
                  <a:lnTo>
                    <a:pt x="57150" y="3873500"/>
                  </a:lnTo>
                  <a:lnTo>
                    <a:pt x="57150" y="3870705"/>
                  </a:lnTo>
                  <a:close/>
                </a:path>
                <a:path w="127000" h="3997960">
                  <a:moveTo>
                    <a:pt x="69850" y="3822700"/>
                  </a:moveTo>
                  <a:lnTo>
                    <a:pt x="57150" y="3822700"/>
                  </a:lnTo>
                  <a:lnTo>
                    <a:pt x="57150" y="3873500"/>
                  </a:lnTo>
                  <a:lnTo>
                    <a:pt x="69850" y="3873500"/>
                  </a:lnTo>
                  <a:lnTo>
                    <a:pt x="69850" y="3822700"/>
                  </a:lnTo>
                  <a:close/>
                </a:path>
                <a:path w="127000" h="3997960">
                  <a:moveTo>
                    <a:pt x="127000" y="3870705"/>
                  </a:moveTo>
                  <a:lnTo>
                    <a:pt x="69850" y="3870705"/>
                  </a:lnTo>
                  <a:lnTo>
                    <a:pt x="69850" y="3873500"/>
                  </a:lnTo>
                  <a:lnTo>
                    <a:pt x="125602" y="3873500"/>
                  </a:lnTo>
                  <a:lnTo>
                    <a:pt x="127000" y="3870705"/>
                  </a:lnTo>
                  <a:close/>
                </a:path>
              </a:pathLst>
            </a:custGeom>
            <a:solidFill>
              <a:srgbClr val="7E7E7E"/>
            </a:solidFill>
          </p:spPr>
          <p:txBody>
            <a:bodyPr wrap="square" lIns="0" tIns="0" rIns="0" bIns="0" rtlCol="0"/>
            <a:lstStyle/>
            <a:p>
              <a:endParaRPr/>
            </a:p>
          </p:txBody>
        </p:sp>
        <p:sp>
          <p:nvSpPr>
            <p:cNvPr id="79" name="object 79"/>
            <p:cNvSpPr/>
            <p:nvPr/>
          </p:nvSpPr>
          <p:spPr>
            <a:xfrm>
              <a:off x="9274047" y="1927860"/>
              <a:ext cx="127000" cy="3997960"/>
            </a:xfrm>
            <a:custGeom>
              <a:avLst/>
              <a:gdLst/>
              <a:ahLst/>
              <a:cxnLst/>
              <a:rect l="l" t="t" r="r" b="b"/>
              <a:pathLst>
                <a:path w="127000" h="3997960">
                  <a:moveTo>
                    <a:pt x="69850" y="0"/>
                  </a:moveTo>
                  <a:lnTo>
                    <a:pt x="57150" y="0"/>
                  </a:lnTo>
                  <a:lnTo>
                    <a:pt x="57150" y="50800"/>
                  </a:lnTo>
                  <a:lnTo>
                    <a:pt x="69850" y="50800"/>
                  </a:lnTo>
                  <a:lnTo>
                    <a:pt x="69850" y="0"/>
                  </a:lnTo>
                  <a:close/>
                </a:path>
                <a:path w="127000" h="3997960">
                  <a:moveTo>
                    <a:pt x="69850" y="88900"/>
                  </a:moveTo>
                  <a:lnTo>
                    <a:pt x="57150" y="88900"/>
                  </a:lnTo>
                  <a:lnTo>
                    <a:pt x="57150" y="139700"/>
                  </a:lnTo>
                  <a:lnTo>
                    <a:pt x="69850" y="139700"/>
                  </a:lnTo>
                  <a:lnTo>
                    <a:pt x="69850" y="88900"/>
                  </a:lnTo>
                  <a:close/>
                </a:path>
                <a:path w="127000" h="3997960">
                  <a:moveTo>
                    <a:pt x="69850" y="177800"/>
                  </a:moveTo>
                  <a:lnTo>
                    <a:pt x="57150" y="177800"/>
                  </a:lnTo>
                  <a:lnTo>
                    <a:pt x="57150" y="228600"/>
                  </a:lnTo>
                  <a:lnTo>
                    <a:pt x="69850" y="228600"/>
                  </a:lnTo>
                  <a:lnTo>
                    <a:pt x="69850" y="177800"/>
                  </a:lnTo>
                  <a:close/>
                </a:path>
                <a:path w="127000" h="3997960">
                  <a:moveTo>
                    <a:pt x="69850" y="266700"/>
                  </a:moveTo>
                  <a:lnTo>
                    <a:pt x="57150" y="266700"/>
                  </a:lnTo>
                  <a:lnTo>
                    <a:pt x="57150" y="317500"/>
                  </a:lnTo>
                  <a:lnTo>
                    <a:pt x="69850" y="317500"/>
                  </a:lnTo>
                  <a:lnTo>
                    <a:pt x="69850" y="266700"/>
                  </a:lnTo>
                  <a:close/>
                </a:path>
                <a:path w="127000" h="3997960">
                  <a:moveTo>
                    <a:pt x="69850" y="355600"/>
                  </a:moveTo>
                  <a:lnTo>
                    <a:pt x="57150" y="355600"/>
                  </a:lnTo>
                  <a:lnTo>
                    <a:pt x="57150" y="406400"/>
                  </a:lnTo>
                  <a:lnTo>
                    <a:pt x="69850" y="406400"/>
                  </a:lnTo>
                  <a:lnTo>
                    <a:pt x="69850" y="355600"/>
                  </a:lnTo>
                  <a:close/>
                </a:path>
                <a:path w="127000" h="3997960">
                  <a:moveTo>
                    <a:pt x="69850" y="444500"/>
                  </a:moveTo>
                  <a:lnTo>
                    <a:pt x="57150" y="444500"/>
                  </a:lnTo>
                  <a:lnTo>
                    <a:pt x="57150" y="495300"/>
                  </a:lnTo>
                  <a:lnTo>
                    <a:pt x="69850" y="495300"/>
                  </a:lnTo>
                  <a:lnTo>
                    <a:pt x="69850" y="444500"/>
                  </a:lnTo>
                  <a:close/>
                </a:path>
                <a:path w="127000" h="3997960">
                  <a:moveTo>
                    <a:pt x="69850" y="533400"/>
                  </a:moveTo>
                  <a:lnTo>
                    <a:pt x="57150" y="533400"/>
                  </a:lnTo>
                  <a:lnTo>
                    <a:pt x="57150" y="584200"/>
                  </a:lnTo>
                  <a:lnTo>
                    <a:pt x="69850" y="584200"/>
                  </a:lnTo>
                  <a:lnTo>
                    <a:pt x="69850" y="533400"/>
                  </a:lnTo>
                  <a:close/>
                </a:path>
                <a:path w="127000" h="3997960">
                  <a:moveTo>
                    <a:pt x="69850" y="622300"/>
                  </a:moveTo>
                  <a:lnTo>
                    <a:pt x="57150" y="622300"/>
                  </a:lnTo>
                  <a:lnTo>
                    <a:pt x="57150" y="673100"/>
                  </a:lnTo>
                  <a:lnTo>
                    <a:pt x="69850" y="673100"/>
                  </a:lnTo>
                  <a:lnTo>
                    <a:pt x="69850" y="622300"/>
                  </a:lnTo>
                  <a:close/>
                </a:path>
                <a:path w="127000" h="3997960">
                  <a:moveTo>
                    <a:pt x="69850" y="711200"/>
                  </a:moveTo>
                  <a:lnTo>
                    <a:pt x="57150" y="711200"/>
                  </a:lnTo>
                  <a:lnTo>
                    <a:pt x="57150" y="762000"/>
                  </a:lnTo>
                  <a:lnTo>
                    <a:pt x="69850" y="762000"/>
                  </a:lnTo>
                  <a:lnTo>
                    <a:pt x="69850" y="711200"/>
                  </a:lnTo>
                  <a:close/>
                </a:path>
                <a:path w="127000" h="3997960">
                  <a:moveTo>
                    <a:pt x="69850" y="800100"/>
                  </a:moveTo>
                  <a:lnTo>
                    <a:pt x="57150" y="800100"/>
                  </a:lnTo>
                  <a:lnTo>
                    <a:pt x="57150" y="850900"/>
                  </a:lnTo>
                  <a:lnTo>
                    <a:pt x="69850" y="850900"/>
                  </a:lnTo>
                  <a:lnTo>
                    <a:pt x="69850" y="800100"/>
                  </a:lnTo>
                  <a:close/>
                </a:path>
                <a:path w="127000" h="3997960">
                  <a:moveTo>
                    <a:pt x="69850" y="889000"/>
                  </a:moveTo>
                  <a:lnTo>
                    <a:pt x="57150" y="889000"/>
                  </a:lnTo>
                  <a:lnTo>
                    <a:pt x="57150" y="939800"/>
                  </a:lnTo>
                  <a:lnTo>
                    <a:pt x="69850" y="939800"/>
                  </a:lnTo>
                  <a:lnTo>
                    <a:pt x="69850" y="889000"/>
                  </a:lnTo>
                  <a:close/>
                </a:path>
                <a:path w="127000" h="3997960">
                  <a:moveTo>
                    <a:pt x="69850" y="977900"/>
                  </a:moveTo>
                  <a:lnTo>
                    <a:pt x="57150" y="977900"/>
                  </a:lnTo>
                  <a:lnTo>
                    <a:pt x="57150" y="1028700"/>
                  </a:lnTo>
                  <a:lnTo>
                    <a:pt x="69850" y="1028700"/>
                  </a:lnTo>
                  <a:lnTo>
                    <a:pt x="69850" y="977900"/>
                  </a:lnTo>
                  <a:close/>
                </a:path>
                <a:path w="127000" h="3997960">
                  <a:moveTo>
                    <a:pt x="69850" y="1066800"/>
                  </a:moveTo>
                  <a:lnTo>
                    <a:pt x="57150" y="1066800"/>
                  </a:lnTo>
                  <a:lnTo>
                    <a:pt x="57150" y="1117600"/>
                  </a:lnTo>
                  <a:lnTo>
                    <a:pt x="69850" y="1117600"/>
                  </a:lnTo>
                  <a:lnTo>
                    <a:pt x="69850" y="1066800"/>
                  </a:lnTo>
                  <a:close/>
                </a:path>
                <a:path w="127000" h="3997960">
                  <a:moveTo>
                    <a:pt x="69850" y="1155700"/>
                  </a:moveTo>
                  <a:lnTo>
                    <a:pt x="57150" y="1155700"/>
                  </a:lnTo>
                  <a:lnTo>
                    <a:pt x="57150" y="1206500"/>
                  </a:lnTo>
                  <a:lnTo>
                    <a:pt x="69850" y="1206500"/>
                  </a:lnTo>
                  <a:lnTo>
                    <a:pt x="69850" y="1155700"/>
                  </a:lnTo>
                  <a:close/>
                </a:path>
                <a:path w="127000" h="3997960">
                  <a:moveTo>
                    <a:pt x="69850" y="1244600"/>
                  </a:moveTo>
                  <a:lnTo>
                    <a:pt x="57150" y="1244600"/>
                  </a:lnTo>
                  <a:lnTo>
                    <a:pt x="57150" y="1295400"/>
                  </a:lnTo>
                  <a:lnTo>
                    <a:pt x="69850" y="1295400"/>
                  </a:lnTo>
                  <a:lnTo>
                    <a:pt x="69850" y="1244600"/>
                  </a:lnTo>
                  <a:close/>
                </a:path>
                <a:path w="127000" h="3997960">
                  <a:moveTo>
                    <a:pt x="69850" y="1333500"/>
                  </a:moveTo>
                  <a:lnTo>
                    <a:pt x="57150" y="1333500"/>
                  </a:lnTo>
                  <a:lnTo>
                    <a:pt x="57150" y="1384300"/>
                  </a:lnTo>
                  <a:lnTo>
                    <a:pt x="69850" y="1384300"/>
                  </a:lnTo>
                  <a:lnTo>
                    <a:pt x="69850" y="1333500"/>
                  </a:lnTo>
                  <a:close/>
                </a:path>
                <a:path w="127000" h="3997960">
                  <a:moveTo>
                    <a:pt x="69850" y="1422400"/>
                  </a:moveTo>
                  <a:lnTo>
                    <a:pt x="57150" y="1422400"/>
                  </a:lnTo>
                  <a:lnTo>
                    <a:pt x="57150" y="1473200"/>
                  </a:lnTo>
                  <a:lnTo>
                    <a:pt x="69850" y="1473200"/>
                  </a:lnTo>
                  <a:lnTo>
                    <a:pt x="69850" y="1422400"/>
                  </a:lnTo>
                  <a:close/>
                </a:path>
                <a:path w="127000" h="3997960">
                  <a:moveTo>
                    <a:pt x="69850" y="1511300"/>
                  </a:moveTo>
                  <a:lnTo>
                    <a:pt x="57150" y="1511300"/>
                  </a:lnTo>
                  <a:lnTo>
                    <a:pt x="57150" y="1562100"/>
                  </a:lnTo>
                  <a:lnTo>
                    <a:pt x="69850" y="1562100"/>
                  </a:lnTo>
                  <a:lnTo>
                    <a:pt x="69850" y="1511300"/>
                  </a:lnTo>
                  <a:close/>
                </a:path>
                <a:path w="127000" h="3997960">
                  <a:moveTo>
                    <a:pt x="69850" y="1600200"/>
                  </a:moveTo>
                  <a:lnTo>
                    <a:pt x="57150" y="1600200"/>
                  </a:lnTo>
                  <a:lnTo>
                    <a:pt x="57150" y="1651000"/>
                  </a:lnTo>
                  <a:lnTo>
                    <a:pt x="69850" y="1651000"/>
                  </a:lnTo>
                  <a:lnTo>
                    <a:pt x="69850" y="1600200"/>
                  </a:lnTo>
                  <a:close/>
                </a:path>
                <a:path w="127000" h="3997960">
                  <a:moveTo>
                    <a:pt x="69850" y="1689100"/>
                  </a:moveTo>
                  <a:lnTo>
                    <a:pt x="57150" y="1689100"/>
                  </a:lnTo>
                  <a:lnTo>
                    <a:pt x="57150" y="1739900"/>
                  </a:lnTo>
                  <a:lnTo>
                    <a:pt x="69850" y="1739900"/>
                  </a:lnTo>
                  <a:lnTo>
                    <a:pt x="69850" y="1689100"/>
                  </a:lnTo>
                  <a:close/>
                </a:path>
                <a:path w="127000" h="3997960">
                  <a:moveTo>
                    <a:pt x="69850" y="1778000"/>
                  </a:moveTo>
                  <a:lnTo>
                    <a:pt x="57150" y="1778000"/>
                  </a:lnTo>
                  <a:lnTo>
                    <a:pt x="57150" y="1828800"/>
                  </a:lnTo>
                  <a:lnTo>
                    <a:pt x="69850" y="1828800"/>
                  </a:lnTo>
                  <a:lnTo>
                    <a:pt x="69850" y="1778000"/>
                  </a:lnTo>
                  <a:close/>
                </a:path>
                <a:path w="127000" h="3997960">
                  <a:moveTo>
                    <a:pt x="69850" y="1866900"/>
                  </a:moveTo>
                  <a:lnTo>
                    <a:pt x="57150" y="1866900"/>
                  </a:lnTo>
                  <a:lnTo>
                    <a:pt x="57150" y="1917700"/>
                  </a:lnTo>
                  <a:lnTo>
                    <a:pt x="69850" y="1917700"/>
                  </a:lnTo>
                  <a:lnTo>
                    <a:pt x="69850" y="1866900"/>
                  </a:lnTo>
                  <a:close/>
                </a:path>
                <a:path w="127000" h="3997960">
                  <a:moveTo>
                    <a:pt x="69850" y="1955800"/>
                  </a:moveTo>
                  <a:lnTo>
                    <a:pt x="57150" y="1955800"/>
                  </a:lnTo>
                  <a:lnTo>
                    <a:pt x="57150" y="2006600"/>
                  </a:lnTo>
                  <a:lnTo>
                    <a:pt x="69850" y="2006600"/>
                  </a:lnTo>
                  <a:lnTo>
                    <a:pt x="69850" y="1955800"/>
                  </a:lnTo>
                  <a:close/>
                </a:path>
                <a:path w="127000" h="3997960">
                  <a:moveTo>
                    <a:pt x="69850" y="2044700"/>
                  </a:moveTo>
                  <a:lnTo>
                    <a:pt x="57150" y="2044700"/>
                  </a:lnTo>
                  <a:lnTo>
                    <a:pt x="57150" y="2095500"/>
                  </a:lnTo>
                  <a:lnTo>
                    <a:pt x="69850" y="2095500"/>
                  </a:lnTo>
                  <a:lnTo>
                    <a:pt x="69850" y="2044700"/>
                  </a:lnTo>
                  <a:close/>
                </a:path>
                <a:path w="127000" h="3997960">
                  <a:moveTo>
                    <a:pt x="69850" y="2133600"/>
                  </a:moveTo>
                  <a:lnTo>
                    <a:pt x="57150" y="2133600"/>
                  </a:lnTo>
                  <a:lnTo>
                    <a:pt x="57150" y="2184400"/>
                  </a:lnTo>
                  <a:lnTo>
                    <a:pt x="69850" y="2184400"/>
                  </a:lnTo>
                  <a:lnTo>
                    <a:pt x="69850" y="2133600"/>
                  </a:lnTo>
                  <a:close/>
                </a:path>
                <a:path w="127000" h="3997960">
                  <a:moveTo>
                    <a:pt x="69850" y="2222500"/>
                  </a:moveTo>
                  <a:lnTo>
                    <a:pt x="57150" y="2222500"/>
                  </a:lnTo>
                  <a:lnTo>
                    <a:pt x="57150" y="2273300"/>
                  </a:lnTo>
                  <a:lnTo>
                    <a:pt x="69850" y="2273300"/>
                  </a:lnTo>
                  <a:lnTo>
                    <a:pt x="69850" y="2222500"/>
                  </a:lnTo>
                  <a:close/>
                </a:path>
                <a:path w="127000" h="3997960">
                  <a:moveTo>
                    <a:pt x="69850" y="2311400"/>
                  </a:moveTo>
                  <a:lnTo>
                    <a:pt x="57150" y="2311400"/>
                  </a:lnTo>
                  <a:lnTo>
                    <a:pt x="57150" y="2362200"/>
                  </a:lnTo>
                  <a:lnTo>
                    <a:pt x="69850" y="2362200"/>
                  </a:lnTo>
                  <a:lnTo>
                    <a:pt x="69850" y="2311400"/>
                  </a:lnTo>
                  <a:close/>
                </a:path>
                <a:path w="127000" h="3997960">
                  <a:moveTo>
                    <a:pt x="69850" y="2400300"/>
                  </a:moveTo>
                  <a:lnTo>
                    <a:pt x="57150" y="2400300"/>
                  </a:lnTo>
                  <a:lnTo>
                    <a:pt x="57150" y="2451100"/>
                  </a:lnTo>
                  <a:lnTo>
                    <a:pt x="69850" y="2451100"/>
                  </a:lnTo>
                  <a:lnTo>
                    <a:pt x="69850" y="2400300"/>
                  </a:lnTo>
                  <a:close/>
                </a:path>
                <a:path w="127000" h="3997960">
                  <a:moveTo>
                    <a:pt x="69850" y="2489200"/>
                  </a:moveTo>
                  <a:lnTo>
                    <a:pt x="57150" y="2489200"/>
                  </a:lnTo>
                  <a:lnTo>
                    <a:pt x="57150" y="2540000"/>
                  </a:lnTo>
                  <a:lnTo>
                    <a:pt x="69850" y="2540000"/>
                  </a:lnTo>
                  <a:lnTo>
                    <a:pt x="69850" y="2489200"/>
                  </a:lnTo>
                  <a:close/>
                </a:path>
                <a:path w="127000" h="3997960">
                  <a:moveTo>
                    <a:pt x="69850" y="2578100"/>
                  </a:moveTo>
                  <a:lnTo>
                    <a:pt x="57150" y="2578100"/>
                  </a:lnTo>
                  <a:lnTo>
                    <a:pt x="57150" y="2628900"/>
                  </a:lnTo>
                  <a:lnTo>
                    <a:pt x="69850" y="2628900"/>
                  </a:lnTo>
                  <a:lnTo>
                    <a:pt x="69850" y="2578100"/>
                  </a:lnTo>
                  <a:close/>
                </a:path>
                <a:path w="127000" h="3997960">
                  <a:moveTo>
                    <a:pt x="69850" y="2667000"/>
                  </a:moveTo>
                  <a:lnTo>
                    <a:pt x="57150" y="2667000"/>
                  </a:lnTo>
                  <a:lnTo>
                    <a:pt x="57150" y="2717800"/>
                  </a:lnTo>
                  <a:lnTo>
                    <a:pt x="69850" y="2717800"/>
                  </a:lnTo>
                  <a:lnTo>
                    <a:pt x="69850" y="2667000"/>
                  </a:lnTo>
                  <a:close/>
                </a:path>
                <a:path w="127000" h="3997960">
                  <a:moveTo>
                    <a:pt x="69850" y="2755900"/>
                  </a:moveTo>
                  <a:lnTo>
                    <a:pt x="57150" y="2755900"/>
                  </a:lnTo>
                  <a:lnTo>
                    <a:pt x="57150" y="2806700"/>
                  </a:lnTo>
                  <a:lnTo>
                    <a:pt x="69850" y="2806700"/>
                  </a:lnTo>
                  <a:lnTo>
                    <a:pt x="69850" y="2755900"/>
                  </a:lnTo>
                  <a:close/>
                </a:path>
                <a:path w="127000" h="3997960">
                  <a:moveTo>
                    <a:pt x="69850" y="2844800"/>
                  </a:moveTo>
                  <a:lnTo>
                    <a:pt x="57150" y="2844800"/>
                  </a:lnTo>
                  <a:lnTo>
                    <a:pt x="57150" y="2895600"/>
                  </a:lnTo>
                  <a:lnTo>
                    <a:pt x="69850" y="2895600"/>
                  </a:lnTo>
                  <a:lnTo>
                    <a:pt x="69850" y="2844800"/>
                  </a:lnTo>
                  <a:close/>
                </a:path>
                <a:path w="127000" h="3997960">
                  <a:moveTo>
                    <a:pt x="69850" y="2933700"/>
                  </a:moveTo>
                  <a:lnTo>
                    <a:pt x="57150" y="2933700"/>
                  </a:lnTo>
                  <a:lnTo>
                    <a:pt x="57150" y="2984500"/>
                  </a:lnTo>
                  <a:lnTo>
                    <a:pt x="69850" y="2984500"/>
                  </a:lnTo>
                  <a:lnTo>
                    <a:pt x="69850" y="2933700"/>
                  </a:lnTo>
                  <a:close/>
                </a:path>
                <a:path w="127000" h="3997960">
                  <a:moveTo>
                    <a:pt x="69850" y="3022600"/>
                  </a:moveTo>
                  <a:lnTo>
                    <a:pt x="57150" y="3022600"/>
                  </a:lnTo>
                  <a:lnTo>
                    <a:pt x="57150" y="3073400"/>
                  </a:lnTo>
                  <a:lnTo>
                    <a:pt x="69850" y="3073400"/>
                  </a:lnTo>
                  <a:lnTo>
                    <a:pt x="69850" y="3022600"/>
                  </a:lnTo>
                  <a:close/>
                </a:path>
                <a:path w="127000" h="3997960">
                  <a:moveTo>
                    <a:pt x="69850" y="3111500"/>
                  </a:moveTo>
                  <a:lnTo>
                    <a:pt x="57150" y="3111500"/>
                  </a:lnTo>
                  <a:lnTo>
                    <a:pt x="57150" y="3162300"/>
                  </a:lnTo>
                  <a:lnTo>
                    <a:pt x="69850" y="3162300"/>
                  </a:lnTo>
                  <a:lnTo>
                    <a:pt x="69850" y="3111500"/>
                  </a:lnTo>
                  <a:close/>
                </a:path>
                <a:path w="127000" h="3997960">
                  <a:moveTo>
                    <a:pt x="69850" y="3200400"/>
                  </a:moveTo>
                  <a:lnTo>
                    <a:pt x="57150" y="3200400"/>
                  </a:lnTo>
                  <a:lnTo>
                    <a:pt x="57150" y="3251200"/>
                  </a:lnTo>
                  <a:lnTo>
                    <a:pt x="69850" y="3251200"/>
                  </a:lnTo>
                  <a:lnTo>
                    <a:pt x="69850" y="3200400"/>
                  </a:lnTo>
                  <a:close/>
                </a:path>
                <a:path w="127000" h="3997960">
                  <a:moveTo>
                    <a:pt x="69850" y="3289300"/>
                  </a:moveTo>
                  <a:lnTo>
                    <a:pt x="57150" y="3289300"/>
                  </a:lnTo>
                  <a:lnTo>
                    <a:pt x="57150" y="3340100"/>
                  </a:lnTo>
                  <a:lnTo>
                    <a:pt x="69850" y="3340100"/>
                  </a:lnTo>
                  <a:lnTo>
                    <a:pt x="69850" y="3289300"/>
                  </a:lnTo>
                  <a:close/>
                </a:path>
                <a:path w="127000" h="3997960">
                  <a:moveTo>
                    <a:pt x="69850" y="3378200"/>
                  </a:moveTo>
                  <a:lnTo>
                    <a:pt x="57150" y="3378200"/>
                  </a:lnTo>
                  <a:lnTo>
                    <a:pt x="57150" y="3429000"/>
                  </a:lnTo>
                  <a:lnTo>
                    <a:pt x="69850" y="3429000"/>
                  </a:lnTo>
                  <a:lnTo>
                    <a:pt x="69850" y="3378200"/>
                  </a:lnTo>
                  <a:close/>
                </a:path>
                <a:path w="127000" h="3997960">
                  <a:moveTo>
                    <a:pt x="69850" y="3467100"/>
                  </a:moveTo>
                  <a:lnTo>
                    <a:pt x="57150" y="3467100"/>
                  </a:lnTo>
                  <a:lnTo>
                    <a:pt x="57150" y="3517900"/>
                  </a:lnTo>
                  <a:lnTo>
                    <a:pt x="69850" y="3517900"/>
                  </a:lnTo>
                  <a:lnTo>
                    <a:pt x="69850" y="3467100"/>
                  </a:lnTo>
                  <a:close/>
                </a:path>
                <a:path w="127000" h="3997960">
                  <a:moveTo>
                    <a:pt x="69850" y="3556000"/>
                  </a:moveTo>
                  <a:lnTo>
                    <a:pt x="57150" y="3556000"/>
                  </a:lnTo>
                  <a:lnTo>
                    <a:pt x="57150" y="3606800"/>
                  </a:lnTo>
                  <a:lnTo>
                    <a:pt x="69850" y="3606800"/>
                  </a:lnTo>
                  <a:lnTo>
                    <a:pt x="69850" y="3556000"/>
                  </a:lnTo>
                  <a:close/>
                </a:path>
                <a:path w="127000" h="3997960">
                  <a:moveTo>
                    <a:pt x="69850" y="3644900"/>
                  </a:moveTo>
                  <a:lnTo>
                    <a:pt x="57150" y="3644900"/>
                  </a:lnTo>
                  <a:lnTo>
                    <a:pt x="57150" y="3695700"/>
                  </a:lnTo>
                  <a:lnTo>
                    <a:pt x="69850" y="3695700"/>
                  </a:lnTo>
                  <a:lnTo>
                    <a:pt x="69850" y="3644900"/>
                  </a:lnTo>
                  <a:close/>
                </a:path>
                <a:path w="127000" h="3997960">
                  <a:moveTo>
                    <a:pt x="69850" y="3733800"/>
                  </a:moveTo>
                  <a:lnTo>
                    <a:pt x="57150" y="3733800"/>
                  </a:lnTo>
                  <a:lnTo>
                    <a:pt x="57150" y="3784600"/>
                  </a:lnTo>
                  <a:lnTo>
                    <a:pt x="69850" y="3784600"/>
                  </a:lnTo>
                  <a:lnTo>
                    <a:pt x="69850" y="3733800"/>
                  </a:lnTo>
                  <a:close/>
                </a:path>
                <a:path w="127000" h="3997960">
                  <a:moveTo>
                    <a:pt x="57150" y="3870705"/>
                  </a:moveTo>
                  <a:lnTo>
                    <a:pt x="0" y="3870705"/>
                  </a:lnTo>
                  <a:lnTo>
                    <a:pt x="63500" y="3997705"/>
                  </a:lnTo>
                  <a:lnTo>
                    <a:pt x="125602" y="3873500"/>
                  </a:lnTo>
                  <a:lnTo>
                    <a:pt x="57150" y="3873500"/>
                  </a:lnTo>
                  <a:lnTo>
                    <a:pt x="57150" y="3870705"/>
                  </a:lnTo>
                  <a:close/>
                </a:path>
                <a:path w="127000" h="3997960">
                  <a:moveTo>
                    <a:pt x="69850" y="3822700"/>
                  </a:moveTo>
                  <a:lnTo>
                    <a:pt x="57150" y="3822700"/>
                  </a:lnTo>
                  <a:lnTo>
                    <a:pt x="57150" y="3873500"/>
                  </a:lnTo>
                  <a:lnTo>
                    <a:pt x="69850" y="3873500"/>
                  </a:lnTo>
                  <a:lnTo>
                    <a:pt x="69850" y="3822700"/>
                  </a:lnTo>
                  <a:close/>
                </a:path>
                <a:path w="127000" h="3997960">
                  <a:moveTo>
                    <a:pt x="127000" y="3870705"/>
                  </a:moveTo>
                  <a:lnTo>
                    <a:pt x="69850" y="3870705"/>
                  </a:lnTo>
                  <a:lnTo>
                    <a:pt x="69850" y="3873500"/>
                  </a:lnTo>
                  <a:lnTo>
                    <a:pt x="125602" y="3873500"/>
                  </a:lnTo>
                  <a:lnTo>
                    <a:pt x="127000" y="3870705"/>
                  </a:lnTo>
                  <a:close/>
                </a:path>
              </a:pathLst>
            </a:custGeom>
            <a:solidFill>
              <a:srgbClr val="7E7E7E"/>
            </a:solidFill>
          </p:spPr>
          <p:txBody>
            <a:bodyPr wrap="square" lIns="0" tIns="0" rIns="0" bIns="0" rtlCol="0"/>
            <a:lstStyle/>
            <a:p>
              <a:endParaRPr/>
            </a:p>
          </p:txBody>
        </p:sp>
        <p:sp>
          <p:nvSpPr>
            <p:cNvPr id="80" name="object 80"/>
            <p:cNvSpPr/>
            <p:nvPr/>
          </p:nvSpPr>
          <p:spPr>
            <a:xfrm>
              <a:off x="2191511" y="6013703"/>
              <a:ext cx="927100" cy="108585"/>
            </a:xfrm>
            <a:custGeom>
              <a:avLst/>
              <a:gdLst/>
              <a:ahLst/>
              <a:cxnLst/>
              <a:rect l="l" t="t" r="r" b="b"/>
              <a:pathLst>
                <a:path w="927100" h="108585">
                  <a:moveTo>
                    <a:pt x="872489" y="0"/>
                  </a:moveTo>
                  <a:lnTo>
                    <a:pt x="872489" y="27051"/>
                  </a:lnTo>
                  <a:lnTo>
                    <a:pt x="0" y="27051"/>
                  </a:lnTo>
                  <a:lnTo>
                    <a:pt x="0" y="81153"/>
                  </a:lnTo>
                  <a:lnTo>
                    <a:pt x="872489" y="81153"/>
                  </a:lnTo>
                  <a:lnTo>
                    <a:pt x="872489" y="108204"/>
                  </a:lnTo>
                  <a:lnTo>
                    <a:pt x="926592" y="54102"/>
                  </a:lnTo>
                  <a:lnTo>
                    <a:pt x="872489" y="0"/>
                  </a:lnTo>
                  <a:close/>
                </a:path>
              </a:pathLst>
            </a:custGeom>
            <a:solidFill>
              <a:srgbClr val="12ABDB"/>
            </a:solidFill>
          </p:spPr>
          <p:txBody>
            <a:bodyPr wrap="square" lIns="0" tIns="0" rIns="0" bIns="0" rtlCol="0"/>
            <a:lstStyle/>
            <a:p>
              <a:endParaRPr/>
            </a:p>
          </p:txBody>
        </p:sp>
        <p:sp>
          <p:nvSpPr>
            <p:cNvPr id="81" name="object 81"/>
            <p:cNvSpPr/>
            <p:nvPr/>
          </p:nvSpPr>
          <p:spPr>
            <a:xfrm>
              <a:off x="3808476" y="6013703"/>
              <a:ext cx="2641600" cy="108585"/>
            </a:xfrm>
            <a:custGeom>
              <a:avLst/>
              <a:gdLst/>
              <a:ahLst/>
              <a:cxnLst/>
              <a:rect l="l" t="t" r="r" b="b"/>
              <a:pathLst>
                <a:path w="2641600" h="108585">
                  <a:moveTo>
                    <a:pt x="2586990" y="0"/>
                  </a:moveTo>
                  <a:lnTo>
                    <a:pt x="2586990" y="27051"/>
                  </a:lnTo>
                  <a:lnTo>
                    <a:pt x="0" y="27051"/>
                  </a:lnTo>
                  <a:lnTo>
                    <a:pt x="0" y="81153"/>
                  </a:lnTo>
                  <a:lnTo>
                    <a:pt x="2586990" y="81153"/>
                  </a:lnTo>
                  <a:lnTo>
                    <a:pt x="2586990" y="108204"/>
                  </a:lnTo>
                  <a:lnTo>
                    <a:pt x="2641091" y="54102"/>
                  </a:lnTo>
                  <a:lnTo>
                    <a:pt x="2586990" y="0"/>
                  </a:lnTo>
                  <a:close/>
                </a:path>
              </a:pathLst>
            </a:custGeom>
            <a:solidFill>
              <a:srgbClr val="12ABDB"/>
            </a:solidFill>
          </p:spPr>
          <p:txBody>
            <a:bodyPr wrap="square" lIns="0" tIns="0" rIns="0" bIns="0" rtlCol="0"/>
            <a:lstStyle/>
            <a:p>
              <a:endParaRPr/>
            </a:p>
          </p:txBody>
        </p:sp>
        <p:sp>
          <p:nvSpPr>
            <p:cNvPr id="82" name="object 82"/>
            <p:cNvSpPr txBox="1"/>
            <p:nvPr/>
          </p:nvSpPr>
          <p:spPr>
            <a:xfrm>
              <a:off x="1012952" y="6306413"/>
              <a:ext cx="134937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Initial Product</a:t>
              </a:r>
              <a:r>
                <a:rPr sz="1000" spc="-10">
                  <a:latin typeface="Verdana"/>
                  <a:cs typeface="Verdana"/>
                </a:rPr>
                <a:t> </a:t>
              </a:r>
              <a:r>
                <a:rPr sz="1000">
                  <a:latin typeface="Verdana"/>
                  <a:cs typeface="Verdana"/>
                </a:rPr>
                <a:t>Vision</a:t>
              </a:r>
            </a:p>
          </p:txBody>
        </p:sp>
        <p:sp>
          <p:nvSpPr>
            <p:cNvPr id="83" name="object 83"/>
            <p:cNvSpPr txBox="1"/>
            <p:nvPr/>
          </p:nvSpPr>
          <p:spPr>
            <a:xfrm>
              <a:off x="2922270" y="6306413"/>
              <a:ext cx="173418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Prioritized Product</a:t>
              </a:r>
              <a:r>
                <a:rPr sz="1000" spc="5">
                  <a:latin typeface="Verdana"/>
                  <a:cs typeface="Verdana"/>
                </a:rPr>
                <a:t> </a:t>
              </a:r>
              <a:r>
                <a:rPr sz="1000" spc="-5">
                  <a:latin typeface="Verdana"/>
                  <a:cs typeface="Verdana"/>
                </a:rPr>
                <a:t>Backlog</a:t>
              </a:r>
              <a:endParaRPr sz="1000">
                <a:latin typeface="Verdana"/>
                <a:cs typeface="Verdana"/>
              </a:endParaRPr>
            </a:p>
          </p:txBody>
        </p:sp>
        <p:sp>
          <p:nvSpPr>
            <p:cNvPr id="84" name="object 84"/>
            <p:cNvSpPr txBox="1"/>
            <p:nvPr/>
          </p:nvSpPr>
          <p:spPr>
            <a:xfrm>
              <a:off x="6552945" y="6034227"/>
              <a:ext cx="706120" cy="147955"/>
            </a:xfrm>
            <a:prstGeom prst="rect">
              <a:avLst/>
            </a:prstGeom>
          </p:spPr>
          <p:txBody>
            <a:bodyPr vert="horz" wrap="square" lIns="0" tIns="12700" rIns="0" bIns="0" rtlCol="0">
              <a:spAutoFit/>
            </a:bodyPr>
            <a:lstStyle/>
            <a:p>
              <a:pPr marL="12700">
                <a:lnSpc>
                  <a:spcPct val="100000"/>
                </a:lnSpc>
                <a:spcBef>
                  <a:spcPts val="100"/>
                </a:spcBef>
              </a:pPr>
              <a:r>
                <a:rPr sz="800">
                  <a:latin typeface="Verdana"/>
                  <a:cs typeface="Verdana"/>
                </a:rPr>
                <a:t>Ready for</a:t>
              </a:r>
              <a:r>
                <a:rPr sz="800" spc="-85">
                  <a:latin typeface="Verdana"/>
                  <a:cs typeface="Verdana"/>
                </a:rPr>
                <a:t> </a:t>
              </a:r>
              <a:r>
                <a:rPr sz="800">
                  <a:latin typeface="Verdana"/>
                  <a:cs typeface="Verdana"/>
                </a:rPr>
                <a:t>QA</a:t>
              </a:r>
            </a:p>
          </p:txBody>
        </p:sp>
        <p:sp>
          <p:nvSpPr>
            <p:cNvPr id="85" name="object 85"/>
            <p:cNvSpPr txBox="1"/>
            <p:nvPr/>
          </p:nvSpPr>
          <p:spPr>
            <a:xfrm>
              <a:off x="7670418" y="6034227"/>
              <a:ext cx="605790" cy="269875"/>
            </a:xfrm>
            <a:prstGeom prst="rect">
              <a:avLst/>
            </a:prstGeom>
          </p:spPr>
          <p:txBody>
            <a:bodyPr vert="horz" wrap="square" lIns="0" tIns="12700" rIns="0" bIns="0" rtlCol="0">
              <a:spAutoFit/>
            </a:bodyPr>
            <a:lstStyle/>
            <a:p>
              <a:pPr marL="12700" marR="5080">
                <a:lnSpc>
                  <a:spcPct val="100000"/>
                </a:lnSpc>
                <a:spcBef>
                  <a:spcPts val="100"/>
                </a:spcBef>
              </a:pPr>
              <a:r>
                <a:rPr sz="800">
                  <a:latin typeface="Verdana"/>
                  <a:cs typeface="Verdana"/>
                </a:rPr>
                <a:t>Ready for  Accep</a:t>
              </a:r>
              <a:r>
                <a:rPr sz="800" spc="-5">
                  <a:latin typeface="Verdana"/>
                  <a:cs typeface="Verdana"/>
                </a:rPr>
                <a:t>tan</a:t>
              </a:r>
              <a:r>
                <a:rPr sz="800">
                  <a:latin typeface="Verdana"/>
                  <a:cs typeface="Verdana"/>
                </a:rPr>
                <a:t>ce</a:t>
              </a:r>
            </a:p>
          </p:txBody>
        </p:sp>
        <p:sp>
          <p:nvSpPr>
            <p:cNvPr id="86" name="object 86"/>
            <p:cNvSpPr txBox="1"/>
            <p:nvPr/>
          </p:nvSpPr>
          <p:spPr>
            <a:xfrm>
              <a:off x="8815578" y="5979972"/>
              <a:ext cx="618490" cy="269875"/>
            </a:xfrm>
            <a:prstGeom prst="rect">
              <a:avLst/>
            </a:prstGeom>
          </p:spPr>
          <p:txBody>
            <a:bodyPr vert="horz" wrap="square" lIns="0" tIns="12700" rIns="0" bIns="0" rtlCol="0">
              <a:spAutoFit/>
            </a:bodyPr>
            <a:lstStyle/>
            <a:p>
              <a:pPr marR="5080" algn="r">
                <a:lnSpc>
                  <a:spcPct val="100000"/>
                </a:lnSpc>
                <a:spcBef>
                  <a:spcPts val="100"/>
                </a:spcBef>
              </a:pPr>
              <a:r>
                <a:rPr sz="800">
                  <a:latin typeface="Verdana"/>
                  <a:cs typeface="Verdana"/>
                </a:rPr>
                <a:t>Ope</a:t>
              </a:r>
              <a:r>
                <a:rPr sz="800" spc="5">
                  <a:latin typeface="Verdana"/>
                  <a:cs typeface="Verdana"/>
                </a:rPr>
                <a:t>r</a:t>
              </a:r>
              <a:r>
                <a:rPr sz="800" spc="-5">
                  <a:latin typeface="Verdana"/>
                  <a:cs typeface="Verdana"/>
                </a:rPr>
                <a:t>ati</a:t>
              </a:r>
              <a:r>
                <a:rPr sz="800">
                  <a:latin typeface="Verdana"/>
                  <a:cs typeface="Verdana"/>
                </a:rPr>
                <a:t>o</a:t>
              </a:r>
              <a:r>
                <a:rPr sz="800" spc="-5">
                  <a:latin typeface="Verdana"/>
                  <a:cs typeface="Verdana"/>
                </a:rPr>
                <a:t>na</a:t>
              </a:r>
              <a:r>
                <a:rPr sz="800">
                  <a:latin typeface="Verdana"/>
                  <a:cs typeface="Verdana"/>
                </a:rPr>
                <a:t>l</a:t>
              </a:r>
            </a:p>
            <a:p>
              <a:pPr marR="5080" algn="r">
                <a:lnSpc>
                  <a:spcPct val="100000"/>
                </a:lnSpc>
                <a:spcBef>
                  <a:spcPts val="5"/>
                </a:spcBef>
              </a:pPr>
              <a:r>
                <a:rPr sz="800">
                  <a:latin typeface="Verdana"/>
                  <a:cs typeface="Verdana"/>
                </a:rPr>
                <a:t>Rele</a:t>
              </a:r>
              <a:r>
                <a:rPr sz="800" spc="-5">
                  <a:latin typeface="Verdana"/>
                  <a:cs typeface="Verdana"/>
                </a:rPr>
                <a:t>a</a:t>
              </a:r>
              <a:r>
                <a:rPr sz="800">
                  <a:latin typeface="Verdana"/>
                  <a:cs typeface="Verdana"/>
                </a:rPr>
                <a:t>se</a:t>
              </a:r>
            </a:p>
          </p:txBody>
        </p:sp>
        <p:sp>
          <p:nvSpPr>
            <p:cNvPr id="87" name="object 87"/>
            <p:cNvSpPr/>
            <p:nvPr/>
          </p:nvSpPr>
          <p:spPr>
            <a:xfrm>
              <a:off x="868680" y="2776727"/>
              <a:ext cx="213360" cy="230124"/>
            </a:xfrm>
            <a:prstGeom prst="rect">
              <a:avLst/>
            </a:prstGeom>
            <a:blipFill>
              <a:blip r:embed="rId2" cstate="print"/>
              <a:stretch>
                <a:fillRect/>
              </a:stretch>
            </a:blipFill>
          </p:spPr>
          <p:txBody>
            <a:bodyPr wrap="square" lIns="0" tIns="0" rIns="0" bIns="0" rtlCol="0"/>
            <a:lstStyle/>
            <a:p>
              <a:endParaRPr/>
            </a:p>
          </p:txBody>
        </p:sp>
        <p:sp>
          <p:nvSpPr>
            <p:cNvPr id="88" name="object 88"/>
            <p:cNvSpPr/>
            <p:nvPr/>
          </p:nvSpPr>
          <p:spPr>
            <a:xfrm>
              <a:off x="752855" y="4937759"/>
              <a:ext cx="264160" cy="256540"/>
            </a:xfrm>
            <a:custGeom>
              <a:avLst/>
              <a:gdLst/>
              <a:ahLst/>
              <a:cxnLst/>
              <a:rect l="l" t="t" r="r" b="b"/>
              <a:pathLst>
                <a:path w="264159" h="256539">
                  <a:moveTo>
                    <a:pt x="149339" y="150367"/>
                  </a:moveTo>
                  <a:lnTo>
                    <a:pt x="188061" y="121792"/>
                  </a:lnTo>
                  <a:lnTo>
                    <a:pt x="202806" y="121792"/>
                  </a:lnTo>
                  <a:lnTo>
                    <a:pt x="213868" y="121792"/>
                  </a:lnTo>
                  <a:lnTo>
                    <a:pt x="254431" y="94868"/>
                  </a:lnTo>
                  <a:lnTo>
                    <a:pt x="258114" y="85978"/>
                  </a:lnTo>
                  <a:lnTo>
                    <a:pt x="263652" y="73406"/>
                  </a:lnTo>
                  <a:lnTo>
                    <a:pt x="263652" y="62610"/>
                  </a:lnTo>
                  <a:lnTo>
                    <a:pt x="263652" y="53720"/>
                  </a:lnTo>
                  <a:lnTo>
                    <a:pt x="204647" y="85978"/>
                  </a:lnTo>
                  <a:lnTo>
                    <a:pt x="182524" y="44703"/>
                  </a:lnTo>
                  <a:lnTo>
                    <a:pt x="241528" y="14350"/>
                  </a:lnTo>
                  <a:lnTo>
                    <a:pt x="234149" y="8889"/>
                  </a:lnTo>
                  <a:lnTo>
                    <a:pt x="224929" y="5333"/>
                  </a:lnTo>
                  <a:lnTo>
                    <a:pt x="212026" y="1777"/>
                  </a:lnTo>
                  <a:lnTo>
                    <a:pt x="202806" y="0"/>
                  </a:lnTo>
                  <a:lnTo>
                    <a:pt x="189903" y="1777"/>
                  </a:lnTo>
                  <a:lnTo>
                    <a:pt x="176999" y="5333"/>
                  </a:lnTo>
                  <a:lnTo>
                    <a:pt x="165938" y="12572"/>
                  </a:lnTo>
                  <a:lnTo>
                    <a:pt x="158559" y="19684"/>
                  </a:lnTo>
                  <a:lnTo>
                    <a:pt x="147497" y="28701"/>
                  </a:lnTo>
                  <a:lnTo>
                    <a:pt x="141960" y="37591"/>
                  </a:lnTo>
                  <a:lnTo>
                    <a:pt x="140119" y="50164"/>
                  </a:lnTo>
                  <a:lnTo>
                    <a:pt x="138277" y="62610"/>
                  </a:lnTo>
                  <a:lnTo>
                    <a:pt x="140119" y="76962"/>
                  </a:lnTo>
                  <a:lnTo>
                    <a:pt x="145656" y="89534"/>
                  </a:lnTo>
                  <a:lnTo>
                    <a:pt x="82969" y="139700"/>
                  </a:lnTo>
                  <a:lnTo>
                    <a:pt x="73748" y="136016"/>
                  </a:lnTo>
                  <a:lnTo>
                    <a:pt x="64528" y="134238"/>
                  </a:lnTo>
                  <a:lnTo>
                    <a:pt x="51625" y="136016"/>
                  </a:lnTo>
                  <a:lnTo>
                    <a:pt x="40563" y="139700"/>
                  </a:lnTo>
                  <a:lnTo>
                    <a:pt x="27660" y="146812"/>
                  </a:lnTo>
                  <a:lnTo>
                    <a:pt x="20281" y="153923"/>
                  </a:lnTo>
                  <a:lnTo>
                    <a:pt x="11061" y="159384"/>
                  </a:lnTo>
                  <a:lnTo>
                    <a:pt x="3682" y="171831"/>
                  </a:lnTo>
                  <a:lnTo>
                    <a:pt x="1841" y="184403"/>
                  </a:lnTo>
                  <a:lnTo>
                    <a:pt x="0" y="196976"/>
                  </a:lnTo>
                  <a:lnTo>
                    <a:pt x="0" y="198754"/>
                  </a:lnTo>
                  <a:lnTo>
                    <a:pt x="64528" y="168275"/>
                  </a:lnTo>
                  <a:lnTo>
                    <a:pt x="82969" y="207644"/>
                  </a:lnTo>
                  <a:lnTo>
                    <a:pt x="20281" y="241681"/>
                  </a:lnTo>
                  <a:lnTo>
                    <a:pt x="29502" y="247141"/>
                  </a:lnTo>
                  <a:lnTo>
                    <a:pt x="40563" y="254253"/>
                  </a:lnTo>
                  <a:lnTo>
                    <a:pt x="51625" y="256031"/>
                  </a:lnTo>
                  <a:lnTo>
                    <a:pt x="64528" y="256031"/>
                  </a:lnTo>
                  <a:lnTo>
                    <a:pt x="75590" y="256031"/>
                  </a:lnTo>
                  <a:lnTo>
                    <a:pt x="116154" y="229234"/>
                  </a:lnTo>
                  <a:lnTo>
                    <a:pt x="119837" y="220217"/>
                  </a:lnTo>
                  <a:lnTo>
                    <a:pt x="125374" y="207644"/>
                  </a:lnTo>
                  <a:lnTo>
                    <a:pt x="125374" y="196976"/>
                  </a:lnTo>
                  <a:lnTo>
                    <a:pt x="125374" y="184403"/>
                  </a:lnTo>
                  <a:lnTo>
                    <a:pt x="123532" y="175513"/>
                  </a:lnTo>
                </a:path>
              </a:pathLst>
            </a:custGeom>
            <a:ln w="12192">
              <a:solidFill>
                <a:srgbClr val="FFFFFF"/>
              </a:solidFill>
            </a:ln>
          </p:spPr>
          <p:txBody>
            <a:bodyPr wrap="square" lIns="0" tIns="0" rIns="0" bIns="0" rtlCol="0"/>
            <a:lstStyle/>
            <a:p>
              <a:endParaRPr/>
            </a:p>
          </p:txBody>
        </p:sp>
        <p:sp>
          <p:nvSpPr>
            <p:cNvPr id="89" name="object 89"/>
            <p:cNvSpPr/>
            <p:nvPr/>
          </p:nvSpPr>
          <p:spPr>
            <a:xfrm>
              <a:off x="3396996" y="1927860"/>
              <a:ext cx="4258310" cy="341630"/>
            </a:xfrm>
            <a:custGeom>
              <a:avLst/>
              <a:gdLst/>
              <a:ahLst/>
              <a:cxnLst/>
              <a:rect l="l" t="t" r="r" b="b"/>
              <a:pathLst>
                <a:path w="4258309" h="341630">
                  <a:moveTo>
                    <a:pt x="0" y="341375"/>
                  </a:moveTo>
                  <a:lnTo>
                    <a:pt x="4258056" y="341375"/>
                  </a:lnTo>
                  <a:lnTo>
                    <a:pt x="4258056" y="0"/>
                  </a:lnTo>
                  <a:lnTo>
                    <a:pt x="0" y="0"/>
                  </a:lnTo>
                  <a:lnTo>
                    <a:pt x="0" y="341375"/>
                  </a:lnTo>
                  <a:close/>
                </a:path>
              </a:pathLst>
            </a:custGeom>
            <a:solidFill>
              <a:srgbClr val="006FAC"/>
            </a:solidFill>
          </p:spPr>
          <p:txBody>
            <a:bodyPr wrap="square" lIns="0" tIns="0" rIns="0" bIns="0" rtlCol="0"/>
            <a:lstStyle/>
            <a:p>
              <a:endParaRPr/>
            </a:p>
          </p:txBody>
        </p:sp>
        <p:sp>
          <p:nvSpPr>
            <p:cNvPr id="90" name="object 90"/>
            <p:cNvSpPr txBox="1"/>
            <p:nvPr/>
          </p:nvSpPr>
          <p:spPr>
            <a:xfrm>
              <a:off x="428345" y="2000504"/>
              <a:ext cx="8380095" cy="193675"/>
            </a:xfrm>
            <a:prstGeom prst="rect">
              <a:avLst/>
            </a:prstGeom>
          </p:spPr>
          <p:txBody>
            <a:bodyPr vert="horz" wrap="square" lIns="0" tIns="13335" rIns="0" bIns="0" rtlCol="0">
              <a:spAutoFit/>
            </a:bodyPr>
            <a:lstStyle/>
            <a:p>
              <a:pPr marL="12700">
                <a:lnSpc>
                  <a:spcPct val="100000"/>
                </a:lnSpc>
                <a:spcBef>
                  <a:spcPts val="105"/>
                </a:spcBef>
                <a:tabLst>
                  <a:tab pos="1106805" algn="l"/>
                  <a:tab pos="4144645" algn="l"/>
                  <a:tab pos="7774305" algn="l"/>
                </a:tabLst>
              </a:pPr>
              <a:r>
                <a:rPr sz="1100" b="1" spc="-5">
                  <a:solidFill>
                    <a:srgbClr val="FFFFFF"/>
                  </a:solidFill>
                  <a:latin typeface="Verdana"/>
                  <a:cs typeface="Verdana"/>
                </a:rPr>
                <a:t>Foc</a:t>
              </a:r>
              <a:r>
                <a:rPr sz="1100" b="1">
                  <a:solidFill>
                    <a:srgbClr val="FFFFFF"/>
                  </a:solidFill>
                  <a:latin typeface="Verdana"/>
                  <a:cs typeface="Verdana"/>
                </a:rPr>
                <a:t>us	</a:t>
              </a:r>
              <a:r>
                <a:rPr sz="1100" b="1" spc="-5">
                  <a:solidFill>
                    <a:srgbClr val="FFFFFF"/>
                  </a:solidFill>
                  <a:latin typeface="Verdana"/>
                  <a:cs typeface="Verdana"/>
                </a:rPr>
                <a:t>S</a:t>
              </a:r>
              <a:r>
                <a:rPr sz="1100" b="1">
                  <a:solidFill>
                    <a:srgbClr val="FFFFFF"/>
                  </a:solidFill>
                  <a:latin typeface="Verdana"/>
                  <a:cs typeface="Verdana"/>
                </a:rPr>
                <a:t>t</a:t>
              </a:r>
              <a:r>
                <a:rPr sz="1100" b="1" spc="-5">
                  <a:solidFill>
                    <a:srgbClr val="FFFFFF"/>
                  </a:solidFill>
                  <a:latin typeface="Verdana"/>
                  <a:cs typeface="Verdana"/>
                </a:rPr>
                <a:t>ar</a:t>
              </a:r>
              <a:r>
                <a:rPr sz="1100" b="1">
                  <a:solidFill>
                    <a:srgbClr val="FFFFFF"/>
                  </a:solidFill>
                  <a:latin typeface="Verdana"/>
                  <a:cs typeface="Verdana"/>
                </a:rPr>
                <a:t>t</a:t>
              </a:r>
              <a:r>
                <a:rPr sz="1100" b="1" spc="-5">
                  <a:solidFill>
                    <a:srgbClr val="FFFFFF"/>
                  </a:solidFill>
                  <a:latin typeface="Verdana"/>
                  <a:cs typeface="Verdana"/>
                </a:rPr>
                <a:t> </a:t>
              </a:r>
              <a:r>
                <a:rPr sz="1100" b="1">
                  <a:solidFill>
                    <a:srgbClr val="FFFFFF"/>
                  </a:solidFill>
                  <a:latin typeface="Verdana"/>
                  <a:cs typeface="Verdana"/>
                </a:rPr>
                <a:t>u</a:t>
              </a:r>
              <a:r>
                <a:rPr sz="1100" b="1" spc="-5">
                  <a:solidFill>
                    <a:srgbClr val="FFFFFF"/>
                  </a:solidFill>
                  <a:latin typeface="Verdana"/>
                  <a:cs typeface="Verdana"/>
                </a:rPr>
                <a:t>p/</a:t>
              </a:r>
              <a:r>
                <a:rPr sz="1100" b="1" spc="-10">
                  <a:solidFill>
                    <a:srgbClr val="FFFFFF"/>
                  </a:solidFill>
                  <a:latin typeface="Verdana"/>
                  <a:cs typeface="Verdana"/>
                </a:rPr>
                <a:t>P</a:t>
              </a:r>
              <a:r>
                <a:rPr sz="1100" b="1" spc="-5">
                  <a:solidFill>
                    <a:srgbClr val="FFFFFF"/>
                  </a:solidFill>
                  <a:latin typeface="Verdana"/>
                  <a:cs typeface="Verdana"/>
                </a:rPr>
                <a:t>re</a:t>
              </a:r>
              <a:r>
                <a:rPr sz="1100" b="1" spc="5">
                  <a:solidFill>
                    <a:srgbClr val="FFFFFF"/>
                  </a:solidFill>
                  <a:latin typeface="Verdana"/>
                  <a:cs typeface="Verdana"/>
                </a:rPr>
                <a:t>G</a:t>
              </a:r>
              <a:r>
                <a:rPr sz="1100" b="1" spc="-10">
                  <a:solidFill>
                    <a:srgbClr val="FFFFFF"/>
                  </a:solidFill>
                  <a:latin typeface="Verdana"/>
                  <a:cs typeface="Verdana"/>
                </a:rPr>
                <a:t>a</a:t>
              </a:r>
              <a:r>
                <a:rPr sz="1100" b="1" spc="-5">
                  <a:solidFill>
                    <a:srgbClr val="FFFFFF"/>
                  </a:solidFill>
                  <a:latin typeface="Verdana"/>
                  <a:cs typeface="Verdana"/>
                </a:rPr>
                <a:t>m</a:t>
              </a:r>
              <a:r>
                <a:rPr sz="1100" b="1">
                  <a:solidFill>
                    <a:srgbClr val="FFFFFF"/>
                  </a:solidFill>
                  <a:latin typeface="Verdana"/>
                  <a:cs typeface="Verdana"/>
                </a:rPr>
                <a:t>e	</a:t>
              </a:r>
              <a:r>
                <a:rPr sz="1100" b="1" spc="-5">
                  <a:solidFill>
                    <a:srgbClr val="FFFFFF"/>
                  </a:solidFill>
                  <a:latin typeface="Verdana"/>
                  <a:cs typeface="Verdana"/>
                </a:rPr>
                <a:t>E</a:t>
              </a:r>
              <a:r>
                <a:rPr sz="1100" b="1" spc="5">
                  <a:solidFill>
                    <a:srgbClr val="FFFFFF"/>
                  </a:solidFill>
                  <a:latin typeface="Verdana"/>
                  <a:cs typeface="Verdana"/>
                </a:rPr>
                <a:t>x</a:t>
              </a:r>
              <a:r>
                <a:rPr sz="1100" b="1" spc="-5">
                  <a:solidFill>
                    <a:srgbClr val="FFFFFF"/>
                  </a:solidFill>
                  <a:latin typeface="Verdana"/>
                  <a:cs typeface="Verdana"/>
                </a:rPr>
                <a:t>ec</a:t>
              </a:r>
              <a:r>
                <a:rPr sz="1100" b="1">
                  <a:solidFill>
                    <a:srgbClr val="FFFFFF"/>
                  </a:solidFill>
                  <a:latin typeface="Verdana"/>
                  <a:cs typeface="Verdana"/>
                </a:rPr>
                <a:t>ut</a:t>
              </a:r>
              <a:r>
                <a:rPr sz="1100" b="1" spc="-5">
                  <a:solidFill>
                    <a:srgbClr val="FFFFFF"/>
                  </a:solidFill>
                  <a:latin typeface="Verdana"/>
                  <a:cs typeface="Verdana"/>
                </a:rPr>
                <a:t>i</a:t>
              </a:r>
              <a:r>
                <a:rPr sz="1100" b="1">
                  <a:solidFill>
                    <a:srgbClr val="FFFFFF"/>
                  </a:solidFill>
                  <a:latin typeface="Verdana"/>
                  <a:cs typeface="Verdana"/>
                </a:rPr>
                <a:t>on</a:t>
              </a:r>
              <a:r>
                <a:rPr sz="1100" b="1" spc="-5">
                  <a:solidFill>
                    <a:srgbClr val="FFFFFF"/>
                  </a:solidFill>
                  <a:latin typeface="Verdana"/>
                  <a:cs typeface="Verdana"/>
                </a:rPr>
                <a:t>/Dev</a:t>
              </a:r>
              <a:r>
                <a:rPr sz="1100" b="1" spc="-15">
                  <a:solidFill>
                    <a:srgbClr val="FFFFFF"/>
                  </a:solidFill>
                  <a:latin typeface="Verdana"/>
                  <a:cs typeface="Verdana"/>
                </a:rPr>
                <a:t>e</a:t>
              </a:r>
              <a:r>
                <a:rPr sz="1100" b="1" spc="-10">
                  <a:solidFill>
                    <a:srgbClr val="FFFFFF"/>
                  </a:solidFill>
                  <a:latin typeface="Verdana"/>
                  <a:cs typeface="Verdana"/>
                </a:rPr>
                <a:t>l</a:t>
              </a:r>
              <a:r>
                <a:rPr sz="1100" b="1">
                  <a:solidFill>
                    <a:srgbClr val="FFFFFF"/>
                  </a:solidFill>
                  <a:latin typeface="Verdana"/>
                  <a:cs typeface="Verdana"/>
                </a:rPr>
                <a:t>o</a:t>
              </a:r>
              <a:r>
                <a:rPr sz="1100" b="1" spc="-10">
                  <a:solidFill>
                    <a:srgbClr val="FFFFFF"/>
                  </a:solidFill>
                  <a:latin typeface="Verdana"/>
                  <a:cs typeface="Verdana"/>
                </a:rPr>
                <a:t>p</a:t>
              </a:r>
              <a:r>
                <a:rPr sz="1100" b="1" spc="-5">
                  <a:solidFill>
                    <a:srgbClr val="FFFFFF"/>
                  </a:solidFill>
                  <a:latin typeface="Verdana"/>
                  <a:cs typeface="Verdana"/>
                </a:rPr>
                <a:t>me</a:t>
              </a:r>
              <a:r>
                <a:rPr sz="1100" b="1" spc="-10">
                  <a:solidFill>
                    <a:srgbClr val="FFFFFF"/>
                  </a:solidFill>
                  <a:latin typeface="Verdana"/>
                  <a:cs typeface="Verdana"/>
                </a:rPr>
                <a:t>n</a:t>
              </a:r>
              <a:r>
                <a:rPr sz="1100" b="1">
                  <a:solidFill>
                    <a:srgbClr val="FFFFFF"/>
                  </a:solidFill>
                  <a:latin typeface="Verdana"/>
                  <a:cs typeface="Verdana"/>
                </a:rPr>
                <a:t>t	C</a:t>
              </a:r>
              <a:r>
                <a:rPr sz="1100" b="1" spc="-10">
                  <a:solidFill>
                    <a:srgbClr val="FFFFFF"/>
                  </a:solidFill>
                  <a:latin typeface="Verdana"/>
                  <a:cs typeface="Verdana"/>
                </a:rPr>
                <a:t>l</a:t>
              </a:r>
              <a:r>
                <a:rPr sz="1100" b="1">
                  <a:solidFill>
                    <a:srgbClr val="FFFFFF"/>
                  </a:solidFill>
                  <a:latin typeface="Verdana"/>
                  <a:cs typeface="Verdana"/>
                </a:rPr>
                <a:t>os</a:t>
              </a:r>
              <a:r>
                <a:rPr sz="1100" b="1" spc="5">
                  <a:solidFill>
                    <a:srgbClr val="FFFFFF"/>
                  </a:solidFill>
                  <a:latin typeface="Verdana"/>
                  <a:cs typeface="Verdana"/>
                </a:rPr>
                <a:t>u</a:t>
              </a:r>
              <a:r>
                <a:rPr sz="1100" b="1" spc="-5">
                  <a:solidFill>
                    <a:srgbClr val="FFFFFF"/>
                  </a:solidFill>
                  <a:latin typeface="Verdana"/>
                  <a:cs typeface="Verdana"/>
                </a:rPr>
                <a:t>re</a:t>
              </a:r>
              <a:endParaRPr sz="1100">
                <a:latin typeface="Verdana"/>
                <a:cs typeface="Verdana"/>
              </a:endParaRPr>
            </a:p>
          </p:txBody>
        </p:sp>
        <p:sp>
          <p:nvSpPr>
            <p:cNvPr id="91" name="object 91"/>
            <p:cNvSpPr/>
            <p:nvPr/>
          </p:nvSpPr>
          <p:spPr>
            <a:xfrm>
              <a:off x="2639567" y="3144011"/>
              <a:ext cx="6621780" cy="382905"/>
            </a:xfrm>
            <a:custGeom>
              <a:avLst/>
              <a:gdLst/>
              <a:ahLst/>
              <a:cxnLst/>
              <a:rect l="l" t="t" r="r" b="b"/>
              <a:pathLst>
                <a:path w="6621780" h="382904">
                  <a:moveTo>
                    <a:pt x="0" y="382524"/>
                  </a:moveTo>
                  <a:lnTo>
                    <a:pt x="6621780" y="382524"/>
                  </a:lnTo>
                  <a:lnTo>
                    <a:pt x="6621780" y="0"/>
                  </a:lnTo>
                  <a:lnTo>
                    <a:pt x="0" y="0"/>
                  </a:lnTo>
                  <a:lnTo>
                    <a:pt x="0" y="382524"/>
                  </a:lnTo>
                  <a:close/>
                </a:path>
              </a:pathLst>
            </a:custGeom>
            <a:solidFill>
              <a:srgbClr val="CDEFFA"/>
            </a:solidFill>
          </p:spPr>
          <p:txBody>
            <a:bodyPr wrap="square" lIns="0" tIns="0" rIns="0" bIns="0" rtlCol="0"/>
            <a:lstStyle/>
            <a:p>
              <a:endParaRPr/>
            </a:p>
          </p:txBody>
        </p:sp>
        <p:sp>
          <p:nvSpPr>
            <p:cNvPr id="92" name="object 92"/>
            <p:cNvSpPr txBox="1"/>
            <p:nvPr/>
          </p:nvSpPr>
          <p:spPr>
            <a:xfrm>
              <a:off x="2718561" y="3138932"/>
              <a:ext cx="2091055" cy="391795"/>
            </a:xfrm>
            <a:prstGeom prst="rect">
              <a:avLst/>
            </a:prstGeom>
          </p:spPr>
          <p:txBody>
            <a:bodyPr vert="horz" wrap="square" lIns="0" tIns="13335" rIns="0" bIns="0" rtlCol="0">
              <a:spAutoFit/>
            </a:bodyPr>
            <a:lstStyle/>
            <a:p>
              <a:pPr marL="184785" indent="-172720">
                <a:lnSpc>
                  <a:spcPct val="100000"/>
                </a:lnSpc>
                <a:spcBef>
                  <a:spcPts val="105"/>
                </a:spcBef>
                <a:buClr>
                  <a:srgbClr val="006FAC"/>
                </a:buClr>
                <a:buFont typeface="Wingdings"/>
                <a:buChar char=""/>
                <a:tabLst>
                  <a:tab pos="185420" algn="l"/>
                </a:tabLst>
              </a:pPr>
              <a:r>
                <a:rPr sz="800">
                  <a:latin typeface="Verdana"/>
                  <a:cs typeface="Verdana"/>
                </a:rPr>
                <a:t>Iterative </a:t>
              </a:r>
              <a:r>
                <a:rPr sz="800" spc="-5">
                  <a:latin typeface="Verdana"/>
                  <a:cs typeface="Verdana"/>
                </a:rPr>
                <a:t>Waterfall</a:t>
              </a:r>
              <a:r>
                <a:rPr sz="800" spc="-45">
                  <a:latin typeface="Verdana"/>
                  <a:cs typeface="Verdana"/>
                </a:rPr>
                <a:t> </a:t>
              </a:r>
              <a:r>
                <a:rPr sz="800">
                  <a:latin typeface="Verdana"/>
                  <a:cs typeface="Verdana"/>
                </a:rPr>
                <a:t>Approach</a:t>
              </a:r>
            </a:p>
            <a:p>
              <a:pPr marL="184785" indent="-172720">
                <a:lnSpc>
                  <a:spcPct val="100000"/>
                </a:lnSpc>
                <a:buClr>
                  <a:srgbClr val="006FAC"/>
                </a:buClr>
                <a:buFont typeface="Wingdings"/>
                <a:buChar char=""/>
                <a:tabLst>
                  <a:tab pos="185420" algn="l"/>
                </a:tabLst>
              </a:pPr>
              <a:r>
                <a:rPr sz="800">
                  <a:latin typeface="Verdana"/>
                  <a:cs typeface="Verdana"/>
                </a:rPr>
                <a:t>Review </a:t>
              </a:r>
              <a:r>
                <a:rPr sz="800" spc="-5">
                  <a:latin typeface="Verdana"/>
                  <a:cs typeface="Verdana"/>
                </a:rPr>
                <a:t>Gates </a:t>
              </a:r>
              <a:r>
                <a:rPr sz="800">
                  <a:latin typeface="Verdana"/>
                  <a:cs typeface="Verdana"/>
                </a:rPr>
                <a:t>&amp;</a:t>
              </a:r>
              <a:r>
                <a:rPr sz="800" spc="-20">
                  <a:latin typeface="Verdana"/>
                  <a:cs typeface="Verdana"/>
                </a:rPr>
                <a:t> </a:t>
              </a:r>
              <a:r>
                <a:rPr sz="800">
                  <a:latin typeface="Verdana"/>
                  <a:cs typeface="Verdana"/>
                </a:rPr>
                <a:t>Approvals</a:t>
              </a:r>
            </a:p>
            <a:p>
              <a:pPr marL="184785" indent="-172720">
                <a:lnSpc>
                  <a:spcPct val="100000"/>
                </a:lnSpc>
                <a:buClr>
                  <a:srgbClr val="006FAC"/>
                </a:buClr>
                <a:buFont typeface="Wingdings"/>
                <a:buChar char=""/>
                <a:tabLst>
                  <a:tab pos="185420" algn="l"/>
                </a:tabLst>
              </a:pPr>
              <a:r>
                <a:rPr sz="800">
                  <a:latin typeface="Verdana"/>
                  <a:cs typeface="Verdana"/>
                </a:rPr>
                <a:t>Integrated </a:t>
              </a:r>
              <a:r>
                <a:rPr sz="800" spc="-5">
                  <a:latin typeface="Verdana"/>
                  <a:cs typeface="Verdana"/>
                </a:rPr>
                <a:t>testing </a:t>
              </a:r>
              <a:r>
                <a:rPr sz="800">
                  <a:latin typeface="Verdana"/>
                  <a:cs typeface="Verdana"/>
                </a:rPr>
                <a:t>&amp; </a:t>
              </a:r>
              <a:r>
                <a:rPr sz="800" spc="-5">
                  <a:latin typeface="Verdana"/>
                  <a:cs typeface="Verdana"/>
                </a:rPr>
                <a:t>Data</a:t>
              </a:r>
              <a:r>
                <a:rPr sz="800" spc="-45">
                  <a:latin typeface="Verdana"/>
                  <a:cs typeface="Verdana"/>
                </a:rPr>
                <a:t> </a:t>
              </a:r>
              <a:r>
                <a:rPr sz="800" spc="-5">
                  <a:latin typeface="Verdana"/>
                  <a:cs typeface="Verdana"/>
                </a:rPr>
                <a:t>validations</a:t>
              </a:r>
              <a:endParaRPr sz="800">
                <a:latin typeface="Verdana"/>
                <a:cs typeface="Verdana"/>
              </a:endParaRPr>
            </a:p>
          </p:txBody>
        </p:sp>
        <p:sp>
          <p:nvSpPr>
            <p:cNvPr id="93" name="object 93"/>
            <p:cNvSpPr/>
            <p:nvPr/>
          </p:nvSpPr>
          <p:spPr>
            <a:xfrm>
              <a:off x="1240536" y="5844540"/>
              <a:ext cx="858519" cy="378460"/>
            </a:xfrm>
            <a:custGeom>
              <a:avLst/>
              <a:gdLst/>
              <a:ahLst/>
              <a:cxnLst/>
              <a:rect l="l" t="t" r="r" b="b"/>
              <a:pathLst>
                <a:path w="858519" h="378460">
                  <a:moveTo>
                    <a:pt x="0" y="20015"/>
                  </a:moveTo>
                  <a:lnTo>
                    <a:pt x="1573" y="12226"/>
                  </a:lnTo>
                  <a:lnTo>
                    <a:pt x="5864" y="5864"/>
                  </a:lnTo>
                  <a:lnTo>
                    <a:pt x="12226" y="1573"/>
                  </a:lnTo>
                  <a:lnTo>
                    <a:pt x="20015" y="0"/>
                  </a:lnTo>
                  <a:lnTo>
                    <a:pt x="837945" y="0"/>
                  </a:lnTo>
                  <a:lnTo>
                    <a:pt x="845742" y="1573"/>
                  </a:lnTo>
                  <a:lnTo>
                    <a:pt x="852122" y="5864"/>
                  </a:lnTo>
                  <a:lnTo>
                    <a:pt x="856430" y="12226"/>
                  </a:lnTo>
                  <a:lnTo>
                    <a:pt x="858012" y="20015"/>
                  </a:lnTo>
                  <a:lnTo>
                    <a:pt x="858012" y="357936"/>
                  </a:lnTo>
                  <a:lnTo>
                    <a:pt x="856430" y="365725"/>
                  </a:lnTo>
                  <a:lnTo>
                    <a:pt x="852122" y="372087"/>
                  </a:lnTo>
                  <a:lnTo>
                    <a:pt x="845742" y="376378"/>
                  </a:lnTo>
                  <a:lnTo>
                    <a:pt x="837945" y="377952"/>
                  </a:lnTo>
                  <a:lnTo>
                    <a:pt x="20015" y="377952"/>
                  </a:lnTo>
                  <a:lnTo>
                    <a:pt x="12226" y="376378"/>
                  </a:lnTo>
                  <a:lnTo>
                    <a:pt x="5864" y="372087"/>
                  </a:lnTo>
                  <a:lnTo>
                    <a:pt x="1573" y="365725"/>
                  </a:lnTo>
                  <a:lnTo>
                    <a:pt x="0" y="357936"/>
                  </a:lnTo>
                  <a:lnTo>
                    <a:pt x="0" y="20015"/>
                  </a:lnTo>
                  <a:close/>
                </a:path>
              </a:pathLst>
            </a:custGeom>
            <a:ln w="9144">
              <a:solidFill>
                <a:srgbClr val="BCBCBC"/>
              </a:solidFill>
            </a:ln>
          </p:spPr>
          <p:txBody>
            <a:bodyPr wrap="square" lIns="0" tIns="0" rIns="0" bIns="0" rtlCol="0"/>
            <a:lstStyle/>
            <a:p>
              <a:endParaRPr/>
            </a:p>
          </p:txBody>
        </p:sp>
        <p:sp>
          <p:nvSpPr>
            <p:cNvPr id="94" name="object 94"/>
            <p:cNvSpPr txBox="1"/>
            <p:nvPr/>
          </p:nvSpPr>
          <p:spPr>
            <a:xfrm>
              <a:off x="1246327" y="5861405"/>
              <a:ext cx="842010" cy="345440"/>
            </a:xfrm>
            <a:prstGeom prst="rect">
              <a:avLst/>
            </a:prstGeom>
          </p:spPr>
          <p:txBody>
            <a:bodyPr vert="horz" wrap="square" lIns="0" tIns="12065" rIns="0" bIns="0" rtlCol="0">
              <a:spAutoFit/>
            </a:bodyPr>
            <a:lstStyle/>
            <a:p>
              <a:pPr>
                <a:lnSpc>
                  <a:spcPct val="100000"/>
                </a:lnSpc>
                <a:spcBef>
                  <a:spcPts val="95"/>
                </a:spcBef>
              </a:pPr>
              <a:r>
                <a:rPr sz="700" spc="-5">
                  <a:latin typeface="Verdana"/>
                  <a:cs typeface="Verdana"/>
                </a:rPr>
                <a:t>10101010101010</a:t>
              </a:r>
              <a:endParaRPr sz="700">
                <a:latin typeface="Verdana"/>
                <a:cs typeface="Verdana"/>
              </a:endParaRPr>
            </a:p>
            <a:p>
              <a:pPr>
                <a:lnSpc>
                  <a:spcPct val="100000"/>
                </a:lnSpc>
              </a:pPr>
              <a:r>
                <a:rPr sz="700" spc="-5">
                  <a:latin typeface="Verdana"/>
                  <a:cs typeface="Verdana"/>
                </a:rPr>
                <a:t>10110101010101</a:t>
              </a:r>
              <a:endParaRPr sz="700">
                <a:latin typeface="Verdana"/>
                <a:cs typeface="Verdana"/>
              </a:endParaRPr>
            </a:p>
            <a:p>
              <a:pPr>
                <a:lnSpc>
                  <a:spcPct val="100000"/>
                </a:lnSpc>
              </a:pPr>
              <a:r>
                <a:rPr sz="700" spc="-5">
                  <a:latin typeface="Verdana"/>
                  <a:cs typeface="Verdana"/>
                </a:rPr>
                <a:t>0110101010101</a:t>
              </a:r>
              <a:endParaRPr sz="700">
                <a:latin typeface="Verdana"/>
                <a:cs typeface="Verdana"/>
              </a:endParaRPr>
            </a:p>
          </p:txBody>
        </p:sp>
        <p:sp>
          <p:nvSpPr>
            <p:cNvPr id="95" name="object 95"/>
            <p:cNvSpPr/>
            <p:nvPr/>
          </p:nvSpPr>
          <p:spPr>
            <a:xfrm>
              <a:off x="3211067" y="6004572"/>
              <a:ext cx="255904" cy="185420"/>
            </a:xfrm>
            <a:custGeom>
              <a:avLst/>
              <a:gdLst/>
              <a:ahLst/>
              <a:cxnLst/>
              <a:rect l="l" t="t" r="r" b="b"/>
              <a:pathLst>
                <a:path w="255904" h="185420">
                  <a:moveTo>
                    <a:pt x="0" y="0"/>
                  </a:moveTo>
                  <a:lnTo>
                    <a:pt x="255778" y="0"/>
                  </a:lnTo>
                  <a:lnTo>
                    <a:pt x="255778" y="148805"/>
                  </a:lnTo>
                  <a:lnTo>
                    <a:pt x="201306" y="152914"/>
                  </a:lnTo>
                  <a:lnTo>
                    <a:pt x="161045" y="162588"/>
                  </a:lnTo>
                  <a:lnTo>
                    <a:pt x="127889" y="173853"/>
                  </a:lnTo>
                  <a:lnTo>
                    <a:pt x="94732" y="182732"/>
                  </a:lnTo>
                  <a:lnTo>
                    <a:pt x="54471" y="185250"/>
                  </a:lnTo>
                  <a:lnTo>
                    <a:pt x="0" y="177431"/>
                  </a:lnTo>
                  <a:lnTo>
                    <a:pt x="0" y="0"/>
                  </a:lnTo>
                  <a:close/>
                </a:path>
              </a:pathLst>
            </a:custGeom>
            <a:ln w="12192">
              <a:solidFill>
                <a:srgbClr val="7E7E7E"/>
              </a:solidFill>
            </a:ln>
          </p:spPr>
          <p:txBody>
            <a:bodyPr wrap="square" lIns="0" tIns="0" rIns="0" bIns="0" rtlCol="0"/>
            <a:lstStyle/>
            <a:p>
              <a:endParaRPr/>
            </a:p>
          </p:txBody>
        </p:sp>
        <p:sp>
          <p:nvSpPr>
            <p:cNvPr id="96" name="object 96"/>
            <p:cNvSpPr/>
            <p:nvPr/>
          </p:nvSpPr>
          <p:spPr>
            <a:xfrm>
              <a:off x="3232150" y="5985281"/>
              <a:ext cx="254635" cy="151130"/>
            </a:xfrm>
            <a:custGeom>
              <a:avLst/>
              <a:gdLst/>
              <a:ahLst/>
              <a:cxnLst/>
              <a:rect l="l" t="t" r="r" b="b"/>
              <a:pathLst>
                <a:path w="254635" h="151129">
                  <a:moveTo>
                    <a:pt x="0" y="19291"/>
                  </a:moveTo>
                  <a:lnTo>
                    <a:pt x="0" y="0"/>
                  </a:lnTo>
                  <a:lnTo>
                    <a:pt x="254126" y="0"/>
                  </a:lnTo>
                  <a:lnTo>
                    <a:pt x="254126" y="149733"/>
                  </a:lnTo>
                  <a:lnTo>
                    <a:pt x="244475" y="149733"/>
                  </a:lnTo>
                  <a:lnTo>
                    <a:pt x="234696" y="150774"/>
                  </a:lnTo>
                </a:path>
              </a:pathLst>
            </a:custGeom>
            <a:ln w="12192">
              <a:solidFill>
                <a:srgbClr val="7E7E7E"/>
              </a:solidFill>
            </a:ln>
          </p:spPr>
          <p:txBody>
            <a:bodyPr wrap="square" lIns="0" tIns="0" rIns="0" bIns="0" rtlCol="0"/>
            <a:lstStyle/>
            <a:p>
              <a:endParaRPr/>
            </a:p>
          </p:txBody>
        </p:sp>
        <p:sp>
          <p:nvSpPr>
            <p:cNvPr id="97" name="object 97"/>
            <p:cNvSpPr/>
            <p:nvPr/>
          </p:nvSpPr>
          <p:spPr>
            <a:xfrm>
              <a:off x="3251961" y="5966459"/>
              <a:ext cx="256540" cy="150495"/>
            </a:xfrm>
            <a:custGeom>
              <a:avLst/>
              <a:gdLst/>
              <a:ahLst/>
              <a:cxnLst/>
              <a:rect l="l" t="t" r="r" b="b"/>
              <a:pathLst>
                <a:path w="256539" h="150495">
                  <a:moveTo>
                    <a:pt x="0" y="18821"/>
                  </a:moveTo>
                  <a:lnTo>
                    <a:pt x="0" y="0"/>
                  </a:lnTo>
                  <a:lnTo>
                    <a:pt x="256286" y="0"/>
                  </a:lnTo>
                  <a:lnTo>
                    <a:pt x="256286" y="149263"/>
                  </a:lnTo>
                  <a:lnTo>
                    <a:pt x="245237" y="149263"/>
                  </a:lnTo>
                  <a:lnTo>
                    <a:pt x="234314" y="150050"/>
                  </a:lnTo>
                </a:path>
              </a:pathLst>
            </a:custGeom>
            <a:ln w="12192">
              <a:solidFill>
                <a:srgbClr val="7E7E7E"/>
              </a:solidFill>
            </a:ln>
          </p:spPr>
          <p:txBody>
            <a:bodyPr wrap="square" lIns="0" tIns="0" rIns="0" bIns="0" rtlCol="0"/>
            <a:lstStyle/>
            <a:p>
              <a:endParaRPr/>
            </a:p>
          </p:txBody>
        </p:sp>
        <p:sp>
          <p:nvSpPr>
            <p:cNvPr id="98" name="object 98"/>
            <p:cNvSpPr/>
            <p:nvPr/>
          </p:nvSpPr>
          <p:spPr>
            <a:xfrm>
              <a:off x="3381755" y="5902452"/>
              <a:ext cx="320040" cy="200660"/>
            </a:xfrm>
            <a:custGeom>
              <a:avLst/>
              <a:gdLst/>
              <a:ahLst/>
              <a:cxnLst/>
              <a:rect l="l" t="t" r="r" b="b"/>
              <a:pathLst>
                <a:path w="320039" h="200660">
                  <a:moveTo>
                    <a:pt x="275463" y="34226"/>
                  </a:moveTo>
                  <a:lnTo>
                    <a:pt x="0" y="34226"/>
                  </a:lnTo>
                  <a:lnTo>
                    <a:pt x="0" y="193548"/>
                  </a:lnTo>
                  <a:lnTo>
                    <a:pt x="58689" y="200569"/>
                  </a:lnTo>
                  <a:lnTo>
                    <a:pt x="102065" y="198308"/>
                  </a:lnTo>
                  <a:lnTo>
                    <a:pt x="137779" y="190334"/>
                  </a:lnTo>
                  <a:lnTo>
                    <a:pt x="173482" y="180219"/>
                  </a:lnTo>
                  <a:lnTo>
                    <a:pt x="216826" y="171532"/>
                  </a:lnTo>
                  <a:lnTo>
                    <a:pt x="275463" y="167843"/>
                  </a:lnTo>
                  <a:lnTo>
                    <a:pt x="275463" y="34226"/>
                  </a:lnTo>
                  <a:close/>
                </a:path>
                <a:path w="320039" h="200660">
                  <a:moveTo>
                    <a:pt x="296291" y="16903"/>
                  </a:moveTo>
                  <a:lnTo>
                    <a:pt x="22733" y="16903"/>
                  </a:lnTo>
                  <a:lnTo>
                    <a:pt x="22733" y="34226"/>
                  </a:lnTo>
                  <a:lnTo>
                    <a:pt x="275463" y="34226"/>
                  </a:lnTo>
                  <a:lnTo>
                    <a:pt x="275463" y="152285"/>
                  </a:lnTo>
                  <a:lnTo>
                    <a:pt x="285877" y="151358"/>
                  </a:lnTo>
                  <a:lnTo>
                    <a:pt x="296291" y="151358"/>
                  </a:lnTo>
                  <a:lnTo>
                    <a:pt x="296291" y="16903"/>
                  </a:lnTo>
                  <a:close/>
                </a:path>
                <a:path w="320039" h="200660">
                  <a:moveTo>
                    <a:pt x="320040" y="0"/>
                  </a:moveTo>
                  <a:lnTo>
                    <a:pt x="44069" y="0"/>
                  </a:lnTo>
                  <a:lnTo>
                    <a:pt x="44069" y="16903"/>
                  </a:lnTo>
                  <a:lnTo>
                    <a:pt x="296291" y="16903"/>
                  </a:lnTo>
                  <a:lnTo>
                    <a:pt x="296291" y="134734"/>
                  </a:lnTo>
                  <a:lnTo>
                    <a:pt x="308229" y="134035"/>
                  </a:lnTo>
                  <a:lnTo>
                    <a:pt x="320040" y="134035"/>
                  </a:lnTo>
                  <a:lnTo>
                    <a:pt x="320040" y="0"/>
                  </a:lnTo>
                  <a:close/>
                </a:path>
              </a:pathLst>
            </a:custGeom>
            <a:solidFill>
              <a:srgbClr val="FFFFFF"/>
            </a:solidFill>
          </p:spPr>
          <p:txBody>
            <a:bodyPr wrap="square" lIns="0" tIns="0" rIns="0" bIns="0" rtlCol="0"/>
            <a:lstStyle/>
            <a:p>
              <a:endParaRPr/>
            </a:p>
          </p:txBody>
        </p:sp>
        <p:sp>
          <p:nvSpPr>
            <p:cNvPr id="99" name="object 99"/>
            <p:cNvSpPr/>
            <p:nvPr/>
          </p:nvSpPr>
          <p:spPr>
            <a:xfrm>
              <a:off x="3381755" y="5936678"/>
              <a:ext cx="275590" cy="166370"/>
            </a:xfrm>
            <a:custGeom>
              <a:avLst/>
              <a:gdLst/>
              <a:ahLst/>
              <a:cxnLst/>
              <a:rect l="l" t="t" r="r" b="b"/>
              <a:pathLst>
                <a:path w="275589" h="166370">
                  <a:moveTo>
                    <a:pt x="0" y="0"/>
                  </a:moveTo>
                  <a:lnTo>
                    <a:pt x="275463" y="0"/>
                  </a:lnTo>
                  <a:lnTo>
                    <a:pt x="275463" y="133616"/>
                  </a:lnTo>
                  <a:lnTo>
                    <a:pt x="216826" y="137305"/>
                  </a:lnTo>
                  <a:lnTo>
                    <a:pt x="173482" y="145993"/>
                  </a:lnTo>
                  <a:lnTo>
                    <a:pt x="137779" y="156108"/>
                  </a:lnTo>
                  <a:lnTo>
                    <a:pt x="102065" y="164081"/>
                  </a:lnTo>
                  <a:lnTo>
                    <a:pt x="58689" y="166342"/>
                  </a:lnTo>
                  <a:lnTo>
                    <a:pt x="0" y="159321"/>
                  </a:lnTo>
                  <a:lnTo>
                    <a:pt x="0" y="0"/>
                  </a:lnTo>
                  <a:close/>
                </a:path>
              </a:pathLst>
            </a:custGeom>
            <a:ln w="12192">
              <a:solidFill>
                <a:srgbClr val="7E7E7E"/>
              </a:solidFill>
            </a:ln>
          </p:spPr>
          <p:txBody>
            <a:bodyPr wrap="square" lIns="0" tIns="0" rIns="0" bIns="0" rtlCol="0"/>
            <a:lstStyle/>
            <a:p>
              <a:endParaRPr/>
            </a:p>
          </p:txBody>
        </p:sp>
        <p:sp>
          <p:nvSpPr>
            <p:cNvPr id="100" name="object 100"/>
            <p:cNvSpPr/>
            <p:nvPr/>
          </p:nvSpPr>
          <p:spPr>
            <a:xfrm>
              <a:off x="3404489" y="5919355"/>
              <a:ext cx="273685" cy="135890"/>
            </a:xfrm>
            <a:custGeom>
              <a:avLst/>
              <a:gdLst/>
              <a:ahLst/>
              <a:cxnLst/>
              <a:rect l="l" t="t" r="r" b="b"/>
              <a:pathLst>
                <a:path w="273685" h="135889">
                  <a:moveTo>
                    <a:pt x="0" y="17322"/>
                  </a:moveTo>
                  <a:lnTo>
                    <a:pt x="0" y="0"/>
                  </a:lnTo>
                  <a:lnTo>
                    <a:pt x="273558" y="0"/>
                  </a:lnTo>
                  <a:lnTo>
                    <a:pt x="273558" y="134454"/>
                  </a:lnTo>
                  <a:lnTo>
                    <a:pt x="263144" y="134454"/>
                  </a:lnTo>
                  <a:lnTo>
                    <a:pt x="252730" y="135381"/>
                  </a:lnTo>
                </a:path>
              </a:pathLst>
            </a:custGeom>
            <a:ln w="12192">
              <a:solidFill>
                <a:srgbClr val="7E7E7E"/>
              </a:solidFill>
            </a:ln>
          </p:spPr>
          <p:txBody>
            <a:bodyPr wrap="square" lIns="0" tIns="0" rIns="0" bIns="0" rtlCol="0"/>
            <a:lstStyle/>
            <a:p>
              <a:endParaRPr/>
            </a:p>
          </p:txBody>
        </p:sp>
        <p:sp>
          <p:nvSpPr>
            <p:cNvPr id="101" name="object 101"/>
            <p:cNvSpPr/>
            <p:nvPr/>
          </p:nvSpPr>
          <p:spPr>
            <a:xfrm>
              <a:off x="3425825" y="5902452"/>
              <a:ext cx="276225" cy="135255"/>
            </a:xfrm>
            <a:custGeom>
              <a:avLst/>
              <a:gdLst/>
              <a:ahLst/>
              <a:cxnLst/>
              <a:rect l="l" t="t" r="r" b="b"/>
              <a:pathLst>
                <a:path w="276225" h="135254">
                  <a:moveTo>
                    <a:pt x="0" y="16903"/>
                  </a:moveTo>
                  <a:lnTo>
                    <a:pt x="0" y="0"/>
                  </a:lnTo>
                  <a:lnTo>
                    <a:pt x="275971" y="0"/>
                  </a:lnTo>
                  <a:lnTo>
                    <a:pt x="275971" y="134035"/>
                  </a:lnTo>
                  <a:lnTo>
                    <a:pt x="264160" y="134035"/>
                  </a:lnTo>
                  <a:lnTo>
                    <a:pt x="252222" y="134734"/>
                  </a:lnTo>
                </a:path>
              </a:pathLst>
            </a:custGeom>
            <a:ln w="12192">
              <a:solidFill>
                <a:srgbClr val="7E7E7E"/>
              </a:solidFill>
            </a:ln>
          </p:spPr>
          <p:txBody>
            <a:bodyPr wrap="square" lIns="0" tIns="0" rIns="0" bIns="0" rtlCol="0"/>
            <a:lstStyle/>
            <a:p>
              <a:endParaRPr/>
            </a:p>
          </p:txBody>
        </p:sp>
        <p:sp>
          <p:nvSpPr>
            <p:cNvPr id="102" name="object 102"/>
            <p:cNvSpPr/>
            <p:nvPr/>
          </p:nvSpPr>
          <p:spPr>
            <a:xfrm>
              <a:off x="5187569" y="5797000"/>
              <a:ext cx="346075" cy="266700"/>
            </a:xfrm>
            <a:custGeom>
              <a:avLst/>
              <a:gdLst/>
              <a:ahLst/>
              <a:cxnLst/>
              <a:rect l="l" t="t" r="r" b="b"/>
              <a:pathLst>
                <a:path w="346075" h="266700">
                  <a:moveTo>
                    <a:pt x="291296" y="47262"/>
                  </a:moveTo>
                  <a:lnTo>
                    <a:pt x="169253" y="47262"/>
                  </a:lnTo>
                  <a:lnTo>
                    <a:pt x="215391" y="52314"/>
                  </a:lnTo>
                  <a:lnTo>
                    <a:pt x="256424" y="76739"/>
                  </a:lnTo>
                  <a:lnTo>
                    <a:pt x="285051" y="115200"/>
                  </a:lnTo>
                  <a:lnTo>
                    <a:pt x="298723" y="162512"/>
                  </a:lnTo>
                  <a:lnTo>
                    <a:pt x="294893" y="213490"/>
                  </a:lnTo>
                  <a:lnTo>
                    <a:pt x="292725" y="220692"/>
                  </a:lnTo>
                  <a:lnTo>
                    <a:pt x="290210" y="227733"/>
                  </a:lnTo>
                  <a:lnTo>
                    <a:pt x="287339" y="234592"/>
                  </a:lnTo>
                  <a:lnTo>
                    <a:pt x="284098" y="241252"/>
                  </a:lnTo>
                  <a:lnTo>
                    <a:pt x="323341" y="266665"/>
                  </a:lnTo>
                  <a:lnTo>
                    <a:pt x="340397" y="223493"/>
                  </a:lnTo>
                  <a:lnTo>
                    <a:pt x="346079" y="178443"/>
                  </a:lnTo>
                  <a:lnTo>
                    <a:pt x="340931" y="133815"/>
                  </a:lnTo>
                  <a:lnTo>
                    <a:pt x="325496" y="91907"/>
                  </a:lnTo>
                  <a:lnTo>
                    <a:pt x="300317" y="55020"/>
                  </a:lnTo>
                  <a:lnTo>
                    <a:pt x="291296" y="47262"/>
                  </a:lnTo>
                  <a:close/>
                </a:path>
                <a:path w="346075" h="266700">
                  <a:moveTo>
                    <a:pt x="183689" y="0"/>
                  </a:moveTo>
                  <a:lnTo>
                    <a:pt x="142271" y="5054"/>
                  </a:lnTo>
                  <a:lnTo>
                    <a:pt x="103500" y="21211"/>
                  </a:lnTo>
                  <a:lnTo>
                    <a:pt x="69505" y="47905"/>
                  </a:lnTo>
                  <a:lnTo>
                    <a:pt x="42417" y="84572"/>
                  </a:lnTo>
                  <a:lnTo>
                    <a:pt x="25665" y="126459"/>
                  </a:lnTo>
                  <a:lnTo>
                    <a:pt x="22478" y="141328"/>
                  </a:lnTo>
                  <a:lnTo>
                    <a:pt x="0" y="142979"/>
                  </a:lnTo>
                  <a:lnTo>
                    <a:pt x="43433" y="185918"/>
                  </a:lnTo>
                  <a:lnTo>
                    <a:pt x="91347" y="137747"/>
                  </a:lnTo>
                  <a:lnTo>
                    <a:pt x="70865" y="137747"/>
                  </a:lnTo>
                  <a:lnTo>
                    <a:pt x="92358" y="92728"/>
                  </a:lnTo>
                  <a:lnTo>
                    <a:pt x="126698" y="61650"/>
                  </a:lnTo>
                  <a:lnTo>
                    <a:pt x="169253" y="47262"/>
                  </a:lnTo>
                  <a:lnTo>
                    <a:pt x="291296" y="47262"/>
                  </a:lnTo>
                  <a:lnTo>
                    <a:pt x="265938" y="25454"/>
                  </a:lnTo>
                  <a:lnTo>
                    <a:pt x="225621" y="6611"/>
                  </a:lnTo>
                  <a:lnTo>
                    <a:pt x="183689" y="0"/>
                  </a:lnTo>
                  <a:close/>
                </a:path>
                <a:path w="346075" h="266700">
                  <a:moveTo>
                    <a:pt x="92963" y="136121"/>
                  </a:moveTo>
                  <a:lnTo>
                    <a:pt x="70865" y="137747"/>
                  </a:lnTo>
                  <a:lnTo>
                    <a:pt x="91347" y="137747"/>
                  </a:lnTo>
                  <a:lnTo>
                    <a:pt x="92963" y="136121"/>
                  </a:lnTo>
                  <a:close/>
                </a:path>
              </a:pathLst>
            </a:custGeom>
            <a:solidFill>
              <a:srgbClr val="12ABDB"/>
            </a:solidFill>
          </p:spPr>
          <p:txBody>
            <a:bodyPr wrap="square" lIns="0" tIns="0" rIns="0" bIns="0" rtlCol="0"/>
            <a:lstStyle/>
            <a:p>
              <a:endParaRPr/>
            </a:p>
          </p:txBody>
        </p:sp>
        <p:sp>
          <p:nvSpPr>
            <p:cNvPr id="103" name="object 103"/>
            <p:cNvSpPr txBox="1"/>
            <p:nvPr/>
          </p:nvSpPr>
          <p:spPr>
            <a:xfrm>
              <a:off x="9433686" y="2686050"/>
              <a:ext cx="1029969" cy="186690"/>
            </a:xfrm>
            <a:prstGeom prst="rect">
              <a:avLst/>
            </a:prstGeom>
          </p:spPr>
          <p:txBody>
            <a:bodyPr vert="horz" wrap="square" lIns="0" tIns="13335" rIns="0" bIns="0" rtlCol="0">
              <a:spAutoFit/>
            </a:bodyPr>
            <a:lstStyle/>
            <a:p>
              <a:pPr marL="12700">
                <a:lnSpc>
                  <a:spcPct val="100000"/>
                </a:lnSpc>
                <a:spcBef>
                  <a:spcPts val="105"/>
                </a:spcBef>
              </a:pPr>
              <a:r>
                <a:rPr sz="1050" b="1">
                  <a:solidFill>
                    <a:srgbClr val="006FAC"/>
                  </a:solidFill>
                  <a:latin typeface="Verdana"/>
                  <a:cs typeface="Verdana"/>
                </a:rPr>
                <a:t>Key</a:t>
              </a:r>
              <a:r>
                <a:rPr sz="1050" b="1" spc="-35">
                  <a:solidFill>
                    <a:srgbClr val="006FAC"/>
                  </a:solidFill>
                  <a:latin typeface="Verdana"/>
                  <a:cs typeface="Verdana"/>
                </a:rPr>
                <a:t> </a:t>
              </a:r>
              <a:r>
                <a:rPr sz="1050" b="1" spc="-5">
                  <a:solidFill>
                    <a:srgbClr val="006FAC"/>
                  </a:solidFill>
                  <a:latin typeface="Verdana"/>
                  <a:cs typeface="Verdana"/>
                </a:rPr>
                <a:t>Benefits</a:t>
              </a:r>
              <a:r>
                <a:rPr sz="1050" spc="-5">
                  <a:solidFill>
                    <a:srgbClr val="006FAC"/>
                  </a:solidFill>
                  <a:latin typeface="Verdana"/>
                  <a:cs typeface="Verdana"/>
                </a:rPr>
                <a:t>:</a:t>
              </a:r>
              <a:endParaRPr sz="1050">
                <a:latin typeface="Verdana"/>
                <a:cs typeface="Verdana"/>
              </a:endParaRPr>
            </a:p>
          </p:txBody>
        </p:sp>
        <p:sp>
          <p:nvSpPr>
            <p:cNvPr id="104" name="object 104"/>
            <p:cNvSpPr txBox="1"/>
            <p:nvPr/>
          </p:nvSpPr>
          <p:spPr>
            <a:xfrm>
              <a:off x="9433686" y="2948178"/>
              <a:ext cx="2470150" cy="346710"/>
            </a:xfrm>
            <a:prstGeom prst="rect">
              <a:avLst/>
            </a:prstGeom>
          </p:spPr>
          <p:txBody>
            <a:bodyPr vert="horz" wrap="square" lIns="0" tIns="13335" rIns="0" bIns="0" rtlCol="0">
              <a:spAutoFit/>
            </a:bodyPr>
            <a:lstStyle/>
            <a:p>
              <a:pPr marL="195580" indent="-182880">
                <a:lnSpc>
                  <a:spcPct val="100000"/>
                </a:lnSpc>
                <a:spcBef>
                  <a:spcPts val="105"/>
                </a:spcBef>
                <a:buClr>
                  <a:srgbClr val="006FAC"/>
                </a:buClr>
                <a:buFont typeface="Wingdings"/>
                <a:buChar char=""/>
                <a:tabLst>
                  <a:tab pos="195580" algn="l"/>
                </a:tabLst>
              </a:pPr>
              <a:r>
                <a:rPr sz="1050">
                  <a:latin typeface="Verdana"/>
                  <a:cs typeface="Verdana"/>
                </a:rPr>
                <a:t>Focus </a:t>
              </a:r>
              <a:r>
                <a:rPr sz="1050" spc="-5">
                  <a:latin typeface="Verdana"/>
                  <a:cs typeface="Verdana"/>
                </a:rPr>
                <a:t>on </a:t>
              </a:r>
              <a:r>
                <a:rPr sz="1050" b="1">
                  <a:latin typeface="Verdana"/>
                  <a:cs typeface="Verdana"/>
                </a:rPr>
                <a:t>out-of-the- box</a:t>
              </a:r>
              <a:r>
                <a:rPr sz="1050" b="1" spc="-95">
                  <a:latin typeface="Verdana"/>
                  <a:cs typeface="Verdana"/>
                </a:rPr>
                <a:t> </a:t>
              </a:r>
              <a:r>
                <a:rPr sz="1050" spc="-5">
                  <a:latin typeface="Verdana"/>
                  <a:cs typeface="Verdana"/>
                </a:rPr>
                <a:t>(OOB)</a:t>
              </a:r>
              <a:endParaRPr sz="1050">
                <a:latin typeface="Verdana"/>
                <a:cs typeface="Verdana"/>
              </a:endParaRPr>
            </a:p>
            <a:p>
              <a:pPr marL="195580">
                <a:lnSpc>
                  <a:spcPct val="100000"/>
                </a:lnSpc>
              </a:pPr>
              <a:r>
                <a:rPr sz="1050">
                  <a:latin typeface="Verdana"/>
                  <a:cs typeface="Verdana"/>
                </a:rPr>
                <a:t>Salesforce</a:t>
              </a:r>
              <a:r>
                <a:rPr sz="1050" spc="-35">
                  <a:latin typeface="Verdana"/>
                  <a:cs typeface="Verdana"/>
                </a:rPr>
                <a:t> </a:t>
              </a:r>
              <a:r>
                <a:rPr sz="1050">
                  <a:latin typeface="Verdana"/>
                  <a:cs typeface="Verdana"/>
                </a:rPr>
                <a:t>capabilities</a:t>
              </a:r>
            </a:p>
          </p:txBody>
        </p:sp>
        <p:sp>
          <p:nvSpPr>
            <p:cNvPr id="105" name="object 105"/>
            <p:cNvSpPr txBox="1"/>
            <p:nvPr/>
          </p:nvSpPr>
          <p:spPr>
            <a:xfrm>
              <a:off x="9433686" y="3369055"/>
              <a:ext cx="2437765" cy="1409065"/>
            </a:xfrm>
            <a:prstGeom prst="rect">
              <a:avLst/>
            </a:prstGeom>
          </p:spPr>
          <p:txBody>
            <a:bodyPr vert="horz" wrap="square" lIns="0" tIns="13335" rIns="0" bIns="0" rtlCol="0">
              <a:spAutoFit/>
            </a:bodyPr>
            <a:lstStyle/>
            <a:p>
              <a:pPr marL="195580" marR="5080" indent="-182880">
                <a:lnSpc>
                  <a:spcPct val="100000"/>
                </a:lnSpc>
                <a:spcBef>
                  <a:spcPts val="105"/>
                </a:spcBef>
                <a:buClr>
                  <a:srgbClr val="006FAC"/>
                </a:buClr>
                <a:buFont typeface="Wingdings"/>
                <a:buChar char=""/>
                <a:tabLst>
                  <a:tab pos="195580" algn="l"/>
                </a:tabLst>
              </a:pPr>
              <a:r>
                <a:rPr sz="1050" spc="-5">
                  <a:latin typeface="Verdana"/>
                  <a:cs typeface="Verdana"/>
                </a:rPr>
                <a:t>Sprint-based development </a:t>
              </a:r>
              <a:r>
                <a:rPr sz="1050">
                  <a:latin typeface="Verdana"/>
                  <a:cs typeface="Verdana"/>
                </a:rPr>
                <a:t>with  </a:t>
              </a:r>
              <a:r>
                <a:rPr sz="1050" b="1" spc="-5">
                  <a:latin typeface="Verdana"/>
                  <a:cs typeface="Verdana"/>
                </a:rPr>
                <a:t>functional </a:t>
              </a:r>
              <a:r>
                <a:rPr sz="1050" b="1">
                  <a:latin typeface="Verdana"/>
                  <a:cs typeface="Verdana"/>
                </a:rPr>
                <a:t>demos </a:t>
              </a:r>
              <a:r>
                <a:rPr sz="1050">
                  <a:latin typeface="Verdana"/>
                  <a:cs typeface="Verdana"/>
                </a:rPr>
                <a:t>showing  progress and </a:t>
              </a:r>
              <a:r>
                <a:rPr sz="1050" spc="-5">
                  <a:latin typeface="Verdana"/>
                  <a:cs typeface="Verdana"/>
                </a:rPr>
                <a:t>soliciting </a:t>
              </a:r>
              <a:r>
                <a:rPr sz="1050" b="1" spc="-5">
                  <a:latin typeface="Verdana"/>
                  <a:cs typeface="Verdana"/>
                </a:rPr>
                <a:t>real </a:t>
              </a:r>
              <a:r>
                <a:rPr sz="1050" b="1">
                  <a:latin typeface="Verdana"/>
                  <a:cs typeface="Verdana"/>
                </a:rPr>
                <a:t>time  feedback</a:t>
              </a:r>
              <a:endParaRPr sz="1050">
                <a:latin typeface="Verdana"/>
                <a:cs typeface="Verdana"/>
              </a:endParaRPr>
            </a:p>
            <a:p>
              <a:pPr marL="195580" marR="177165" indent="-182880">
                <a:lnSpc>
                  <a:spcPct val="100000"/>
                </a:lnSpc>
                <a:spcBef>
                  <a:spcPts val="805"/>
                </a:spcBef>
                <a:buClr>
                  <a:srgbClr val="006FAC"/>
                </a:buClr>
                <a:buFont typeface="Wingdings"/>
                <a:buChar char=""/>
                <a:tabLst>
                  <a:tab pos="195580" algn="l"/>
                </a:tabLst>
              </a:pPr>
              <a:r>
                <a:rPr sz="1050">
                  <a:latin typeface="Verdana"/>
                  <a:cs typeface="Verdana"/>
                </a:rPr>
                <a:t>Lightweight </a:t>
              </a:r>
              <a:r>
                <a:rPr sz="1050" spc="-5">
                  <a:latin typeface="Verdana"/>
                  <a:cs typeface="Verdana"/>
                </a:rPr>
                <a:t>approach,</a:t>
              </a:r>
              <a:r>
                <a:rPr sz="1050" spc="-70">
                  <a:latin typeface="Verdana"/>
                  <a:cs typeface="Verdana"/>
                </a:rPr>
                <a:t> </a:t>
              </a:r>
              <a:r>
                <a:rPr sz="1050" spc="-5">
                  <a:latin typeface="Verdana"/>
                  <a:cs typeface="Verdana"/>
                </a:rPr>
                <a:t>utilizing  </a:t>
              </a:r>
              <a:r>
                <a:rPr sz="1050">
                  <a:latin typeface="Verdana"/>
                  <a:cs typeface="Verdana"/>
                </a:rPr>
                <a:t>a number </a:t>
              </a:r>
              <a:r>
                <a:rPr sz="1050" spc="-5">
                  <a:latin typeface="Verdana"/>
                  <a:cs typeface="Verdana"/>
                </a:rPr>
                <a:t>of distributed agile  </a:t>
              </a:r>
              <a:r>
                <a:rPr sz="1050">
                  <a:latin typeface="Verdana"/>
                  <a:cs typeface="Verdana"/>
                </a:rPr>
                <a:t>practices within the</a:t>
              </a:r>
              <a:r>
                <a:rPr sz="1050" spc="-95">
                  <a:latin typeface="Verdana"/>
                  <a:cs typeface="Verdana"/>
                </a:rPr>
                <a:t> </a:t>
              </a:r>
              <a:r>
                <a:rPr sz="1050">
                  <a:latin typeface="Verdana"/>
                  <a:cs typeface="Verdana"/>
                </a:rPr>
                <a:t>more</a:t>
              </a:r>
            </a:p>
            <a:p>
              <a:pPr marL="195580">
                <a:lnSpc>
                  <a:spcPct val="100000"/>
                </a:lnSpc>
              </a:pPr>
              <a:r>
                <a:rPr sz="1050" spc="-5">
                  <a:latin typeface="Verdana"/>
                  <a:cs typeface="Verdana"/>
                </a:rPr>
                <a:t>rigorous </a:t>
              </a:r>
              <a:r>
                <a:rPr sz="1050">
                  <a:latin typeface="Verdana"/>
                  <a:cs typeface="Verdana"/>
                </a:rPr>
                <a:t>waterfall SDLC</a:t>
              </a:r>
              <a:r>
                <a:rPr sz="1050" spc="-70">
                  <a:latin typeface="Verdana"/>
                  <a:cs typeface="Verdana"/>
                </a:rPr>
                <a:t> </a:t>
              </a:r>
              <a:r>
                <a:rPr sz="1050">
                  <a:latin typeface="Verdana"/>
                  <a:cs typeface="Verdana"/>
                </a:rPr>
                <a:t>life-cycle</a:t>
              </a:r>
            </a:p>
          </p:txBody>
        </p:sp>
        <p:sp>
          <p:nvSpPr>
            <p:cNvPr id="106" name="object 106"/>
            <p:cNvSpPr txBox="1"/>
            <p:nvPr/>
          </p:nvSpPr>
          <p:spPr>
            <a:xfrm>
              <a:off x="9433686" y="4853685"/>
              <a:ext cx="2495550" cy="986790"/>
            </a:xfrm>
            <a:prstGeom prst="rect">
              <a:avLst/>
            </a:prstGeom>
          </p:spPr>
          <p:txBody>
            <a:bodyPr vert="horz" wrap="square" lIns="0" tIns="13335" rIns="0" bIns="0" rtlCol="0">
              <a:spAutoFit/>
            </a:bodyPr>
            <a:lstStyle/>
            <a:p>
              <a:pPr marL="195580" marR="5080" indent="-182880">
                <a:lnSpc>
                  <a:spcPct val="100000"/>
                </a:lnSpc>
                <a:spcBef>
                  <a:spcPts val="105"/>
                </a:spcBef>
                <a:buClr>
                  <a:srgbClr val="006FAC"/>
                </a:buClr>
                <a:buFont typeface="Wingdings"/>
                <a:buChar char=""/>
                <a:tabLst>
                  <a:tab pos="195580" algn="l"/>
                </a:tabLst>
              </a:pPr>
              <a:r>
                <a:rPr sz="1050">
                  <a:latin typeface="Verdana"/>
                  <a:cs typeface="Verdana"/>
                </a:rPr>
                <a:t>Priority-driven, iterative and  incremental, with a focus on</a:t>
              </a:r>
              <a:r>
                <a:rPr sz="1050" spc="-114">
                  <a:latin typeface="Verdana"/>
                  <a:cs typeface="Verdana"/>
                </a:rPr>
                <a:t> </a:t>
              </a:r>
              <a:r>
                <a:rPr sz="1050" b="1">
                  <a:latin typeface="Verdana"/>
                  <a:cs typeface="Verdana"/>
                </a:rPr>
                <a:t>high  collaboration with Marelli </a:t>
              </a:r>
              <a:r>
                <a:rPr sz="1050" spc="-5">
                  <a:latin typeface="Verdana"/>
                  <a:cs typeface="Verdana"/>
                </a:rPr>
                <a:t>on  </a:t>
              </a:r>
              <a:r>
                <a:rPr sz="1050">
                  <a:latin typeface="Verdana"/>
                  <a:cs typeface="Verdana"/>
                </a:rPr>
                <a:t>determining the gaps with </a:t>
              </a:r>
              <a:r>
                <a:rPr sz="1050" spc="-5">
                  <a:latin typeface="Verdana"/>
                  <a:cs typeface="Verdana"/>
                </a:rPr>
                <a:t>Global  </a:t>
              </a:r>
              <a:r>
                <a:rPr sz="1050">
                  <a:latin typeface="Verdana"/>
                  <a:cs typeface="Verdana"/>
                </a:rPr>
                <a:t>and approach to their resolution  together with </a:t>
              </a:r>
              <a:r>
                <a:rPr sz="1050" spc="-5">
                  <a:latin typeface="Verdana"/>
                  <a:cs typeface="Verdana"/>
                </a:rPr>
                <a:t>Global</a:t>
              </a:r>
              <a:r>
                <a:rPr sz="1050" spc="-100">
                  <a:latin typeface="Verdana"/>
                  <a:cs typeface="Verdana"/>
                </a:rPr>
                <a:t> </a:t>
              </a:r>
              <a:r>
                <a:rPr sz="1050">
                  <a:latin typeface="Verdana"/>
                  <a:cs typeface="Verdana"/>
                </a:rPr>
                <a:t>governance</a:t>
              </a:r>
            </a:p>
          </p:txBody>
        </p:sp>
        <p:sp>
          <p:nvSpPr>
            <p:cNvPr id="107" name="object 107"/>
            <p:cNvSpPr txBox="1"/>
            <p:nvPr/>
          </p:nvSpPr>
          <p:spPr>
            <a:xfrm>
              <a:off x="2137029" y="2740533"/>
              <a:ext cx="272415" cy="299720"/>
            </a:xfrm>
            <a:prstGeom prst="rect">
              <a:avLst/>
            </a:prstGeom>
          </p:spPr>
          <p:txBody>
            <a:bodyPr vert="horz" wrap="square" lIns="0" tIns="12700" rIns="0" bIns="0" rtlCol="0">
              <a:spAutoFit/>
            </a:bodyPr>
            <a:lstStyle/>
            <a:p>
              <a:pPr marL="12700">
                <a:lnSpc>
                  <a:spcPct val="100000"/>
                </a:lnSpc>
                <a:spcBef>
                  <a:spcPts val="100"/>
                </a:spcBef>
              </a:pPr>
              <a:r>
                <a:rPr sz="1800" b="1" spc="-5">
                  <a:latin typeface="Verdana"/>
                  <a:cs typeface="Verdana"/>
                </a:rPr>
                <a:t>...</a:t>
              </a:r>
              <a:endParaRPr sz="1800">
                <a:latin typeface="Verdana"/>
                <a:cs typeface="Verdana"/>
              </a:endParaRPr>
            </a:p>
          </p:txBody>
        </p:sp>
        <p:sp>
          <p:nvSpPr>
            <p:cNvPr id="108" name="object 108"/>
            <p:cNvSpPr txBox="1"/>
            <p:nvPr/>
          </p:nvSpPr>
          <p:spPr>
            <a:xfrm>
              <a:off x="5260340" y="2740533"/>
              <a:ext cx="272415" cy="299720"/>
            </a:xfrm>
            <a:prstGeom prst="rect">
              <a:avLst/>
            </a:prstGeom>
          </p:spPr>
          <p:txBody>
            <a:bodyPr vert="horz" wrap="square" lIns="0" tIns="12700" rIns="0" bIns="0" rtlCol="0">
              <a:spAutoFit/>
            </a:bodyPr>
            <a:lstStyle/>
            <a:p>
              <a:pPr marL="12700">
                <a:lnSpc>
                  <a:spcPct val="100000"/>
                </a:lnSpc>
                <a:spcBef>
                  <a:spcPts val="100"/>
                </a:spcBef>
              </a:pPr>
              <a:r>
                <a:rPr sz="1800" b="1" spc="-5">
                  <a:latin typeface="Verdana"/>
                  <a:cs typeface="Verdana"/>
                </a:rPr>
                <a:t>...</a:t>
              </a:r>
              <a:endParaRPr sz="1800">
                <a:latin typeface="Verdana"/>
                <a:cs typeface="Verdana"/>
              </a:endParaRPr>
            </a:p>
          </p:txBody>
        </p:sp>
        <p:sp>
          <p:nvSpPr>
            <p:cNvPr id="109" name="object 109"/>
            <p:cNvSpPr/>
            <p:nvPr/>
          </p:nvSpPr>
          <p:spPr>
            <a:xfrm>
              <a:off x="493896" y="4216400"/>
              <a:ext cx="350399" cy="370839"/>
            </a:xfrm>
            <a:prstGeom prst="rect">
              <a:avLst/>
            </a:prstGeom>
            <a:blipFill>
              <a:blip r:embed="rId3" cstate="print"/>
              <a:stretch>
                <a:fillRect/>
              </a:stretch>
            </a:blipFill>
          </p:spPr>
          <p:txBody>
            <a:bodyPr wrap="square" lIns="0" tIns="0" rIns="0" bIns="0" rtlCol="0"/>
            <a:lstStyle/>
            <a:p>
              <a:endParaRPr/>
            </a:p>
          </p:txBody>
        </p:sp>
        <p:sp>
          <p:nvSpPr>
            <p:cNvPr id="110" name="object 110"/>
            <p:cNvSpPr/>
            <p:nvPr/>
          </p:nvSpPr>
          <p:spPr>
            <a:xfrm>
              <a:off x="7206995" y="5475732"/>
              <a:ext cx="198120" cy="472440"/>
            </a:xfrm>
            <a:custGeom>
              <a:avLst/>
              <a:gdLst/>
              <a:ahLst/>
              <a:cxnLst/>
              <a:rect l="l" t="t" r="r" b="b"/>
              <a:pathLst>
                <a:path w="198120" h="472439">
                  <a:moveTo>
                    <a:pt x="0" y="0"/>
                  </a:moveTo>
                  <a:lnTo>
                    <a:pt x="0" y="472440"/>
                  </a:lnTo>
                  <a:lnTo>
                    <a:pt x="143128" y="380123"/>
                  </a:lnTo>
                  <a:lnTo>
                    <a:pt x="167955" y="361797"/>
                  </a:lnTo>
                  <a:lnTo>
                    <a:pt x="185054" y="339396"/>
                  </a:lnTo>
                  <a:lnTo>
                    <a:pt x="194939" y="312920"/>
                  </a:lnTo>
                  <a:lnTo>
                    <a:pt x="198120" y="282371"/>
                  </a:lnTo>
                  <a:lnTo>
                    <a:pt x="198120" y="48895"/>
                  </a:lnTo>
                  <a:lnTo>
                    <a:pt x="0" y="0"/>
                  </a:lnTo>
                  <a:close/>
                </a:path>
              </a:pathLst>
            </a:custGeom>
            <a:solidFill>
              <a:srgbClr val="0071AB"/>
            </a:solidFill>
          </p:spPr>
          <p:txBody>
            <a:bodyPr wrap="square" lIns="0" tIns="0" rIns="0" bIns="0" rtlCol="0"/>
            <a:lstStyle/>
            <a:p>
              <a:endParaRPr/>
            </a:p>
          </p:txBody>
        </p:sp>
        <p:sp>
          <p:nvSpPr>
            <p:cNvPr id="111" name="object 111"/>
            <p:cNvSpPr/>
            <p:nvPr/>
          </p:nvSpPr>
          <p:spPr>
            <a:xfrm>
              <a:off x="7206995" y="5522976"/>
              <a:ext cx="198120" cy="425450"/>
            </a:xfrm>
            <a:custGeom>
              <a:avLst/>
              <a:gdLst/>
              <a:ahLst/>
              <a:cxnLst/>
              <a:rect l="l" t="t" r="r" b="b"/>
              <a:pathLst>
                <a:path w="198120" h="425450">
                  <a:moveTo>
                    <a:pt x="198120" y="0"/>
                  </a:moveTo>
                  <a:lnTo>
                    <a:pt x="0" y="76314"/>
                  </a:lnTo>
                  <a:lnTo>
                    <a:pt x="0" y="425196"/>
                  </a:lnTo>
                  <a:lnTo>
                    <a:pt x="148589" y="332524"/>
                  </a:lnTo>
                  <a:lnTo>
                    <a:pt x="185737" y="292322"/>
                  </a:lnTo>
                  <a:lnTo>
                    <a:pt x="198120" y="239852"/>
                  </a:lnTo>
                  <a:lnTo>
                    <a:pt x="198120" y="0"/>
                  </a:lnTo>
                  <a:close/>
                </a:path>
              </a:pathLst>
            </a:custGeom>
            <a:solidFill>
              <a:srgbClr val="9AE0F7"/>
            </a:solidFill>
          </p:spPr>
          <p:txBody>
            <a:bodyPr wrap="square" lIns="0" tIns="0" rIns="0" bIns="0" rtlCol="0"/>
            <a:lstStyle/>
            <a:p>
              <a:endParaRPr/>
            </a:p>
          </p:txBody>
        </p:sp>
        <p:sp>
          <p:nvSpPr>
            <p:cNvPr id="112" name="object 112"/>
            <p:cNvSpPr/>
            <p:nvPr/>
          </p:nvSpPr>
          <p:spPr>
            <a:xfrm>
              <a:off x="6990588" y="5475732"/>
              <a:ext cx="216535" cy="472440"/>
            </a:xfrm>
            <a:custGeom>
              <a:avLst/>
              <a:gdLst/>
              <a:ahLst/>
              <a:cxnLst/>
              <a:rect l="l" t="t" r="r" b="b"/>
              <a:pathLst>
                <a:path w="216534" h="472439">
                  <a:moveTo>
                    <a:pt x="216407" y="0"/>
                  </a:moveTo>
                  <a:lnTo>
                    <a:pt x="0" y="59690"/>
                  </a:lnTo>
                  <a:lnTo>
                    <a:pt x="0" y="357771"/>
                  </a:lnTo>
                  <a:lnTo>
                    <a:pt x="216407" y="472440"/>
                  </a:lnTo>
                  <a:lnTo>
                    <a:pt x="216407" y="0"/>
                  </a:lnTo>
                  <a:close/>
                </a:path>
              </a:pathLst>
            </a:custGeom>
            <a:solidFill>
              <a:srgbClr val="9AE0F7"/>
            </a:solidFill>
          </p:spPr>
          <p:txBody>
            <a:bodyPr wrap="square" lIns="0" tIns="0" rIns="0" bIns="0" rtlCol="0"/>
            <a:lstStyle/>
            <a:p>
              <a:endParaRPr/>
            </a:p>
          </p:txBody>
        </p:sp>
        <p:sp>
          <p:nvSpPr>
            <p:cNvPr id="113" name="object 113"/>
            <p:cNvSpPr/>
            <p:nvPr/>
          </p:nvSpPr>
          <p:spPr>
            <a:xfrm>
              <a:off x="6990588" y="5530596"/>
              <a:ext cx="216535" cy="417830"/>
            </a:xfrm>
            <a:custGeom>
              <a:avLst/>
              <a:gdLst/>
              <a:ahLst/>
              <a:cxnLst/>
              <a:rect l="l" t="t" r="r" b="b"/>
              <a:pathLst>
                <a:path w="216534" h="417829">
                  <a:moveTo>
                    <a:pt x="0" y="0"/>
                  </a:moveTo>
                  <a:lnTo>
                    <a:pt x="0" y="302856"/>
                  </a:lnTo>
                  <a:lnTo>
                    <a:pt x="216407" y="417575"/>
                  </a:lnTo>
                  <a:lnTo>
                    <a:pt x="216407" y="68833"/>
                  </a:lnTo>
                  <a:lnTo>
                    <a:pt x="0" y="0"/>
                  </a:lnTo>
                  <a:close/>
                </a:path>
              </a:pathLst>
            </a:custGeom>
            <a:solidFill>
              <a:srgbClr val="0071AB"/>
            </a:solidFill>
          </p:spPr>
          <p:txBody>
            <a:bodyPr wrap="square" lIns="0" tIns="0" rIns="0" bIns="0" rtlCol="0"/>
            <a:lstStyle/>
            <a:p>
              <a:endParaRPr/>
            </a:p>
          </p:txBody>
        </p:sp>
        <p:sp>
          <p:nvSpPr>
            <p:cNvPr id="114" name="object 114"/>
            <p:cNvSpPr/>
            <p:nvPr/>
          </p:nvSpPr>
          <p:spPr>
            <a:xfrm>
              <a:off x="6876288" y="5530596"/>
              <a:ext cx="330835" cy="212090"/>
            </a:xfrm>
            <a:custGeom>
              <a:avLst/>
              <a:gdLst/>
              <a:ahLst/>
              <a:cxnLst/>
              <a:rect l="l" t="t" r="r" b="b"/>
              <a:pathLst>
                <a:path w="330834" h="212089">
                  <a:moveTo>
                    <a:pt x="114807" y="0"/>
                  </a:moveTo>
                  <a:lnTo>
                    <a:pt x="0" y="108216"/>
                  </a:lnTo>
                  <a:lnTo>
                    <a:pt x="222757" y="211835"/>
                  </a:lnTo>
                  <a:lnTo>
                    <a:pt x="330707" y="69075"/>
                  </a:lnTo>
                  <a:lnTo>
                    <a:pt x="114807" y="0"/>
                  </a:lnTo>
                  <a:close/>
                </a:path>
              </a:pathLst>
            </a:custGeom>
            <a:solidFill>
              <a:srgbClr val="421F5D"/>
            </a:solidFill>
          </p:spPr>
          <p:txBody>
            <a:bodyPr wrap="square" lIns="0" tIns="0" rIns="0" bIns="0" rtlCol="0"/>
            <a:lstStyle/>
            <a:p>
              <a:endParaRPr/>
            </a:p>
          </p:txBody>
        </p:sp>
        <p:sp>
          <p:nvSpPr>
            <p:cNvPr id="115" name="object 115"/>
            <p:cNvSpPr/>
            <p:nvPr/>
          </p:nvSpPr>
          <p:spPr>
            <a:xfrm>
              <a:off x="7206995" y="5522976"/>
              <a:ext cx="301625" cy="215265"/>
            </a:xfrm>
            <a:custGeom>
              <a:avLst/>
              <a:gdLst/>
              <a:ahLst/>
              <a:cxnLst/>
              <a:rect l="l" t="t" r="r" b="b"/>
              <a:pathLst>
                <a:path w="301625" h="215264">
                  <a:moveTo>
                    <a:pt x="196976" y="0"/>
                  </a:moveTo>
                  <a:lnTo>
                    <a:pt x="0" y="77139"/>
                  </a:lnTo>
                  <a:lnTo>
                    <a:pt x="131318" y="214884"/>
                  </a:lnTo>
                  <a:lnTo>
                    <a:pt x="284479" y="126720"/>
                  </a:lnTo>
                  <a:lnTo>
                    <a:pt x="296852" y="116651"/>
                  </a:lnTo>
                  <a:lnTo>
                    <a:pt x="301545" y="103997"/>
                  </a:lnTo>
                  <a:lnTo>
                    <a:pt x="299071" y="90308"/>
                  </a:lnTo>
                  <a:lnTo>
                    <a:pt x="289940" y="77139"/>
                  </a:lnTo>
                  <a:lnTo>
                    <a:pt x="196976" y="0"/>
                  </a:lnTo>
                  <a:close/>
                </a:path>
              </a:pathLst>
            </a:custGeom>
            <a:solidFill>
              <a:srgbClr val="421F5D"/>
            </a:solidFill>
          </p:spPr>
          <p:txBody>
            <a:bodyPr wrap="square" lIns="0" tIns="0" rIns="0" bIns="0" rtlCol="0"/>
            <a:lstStyle/>
            <a:p>
              <a:endParaRPr/>
            </a:p>
          </p:txBody>
        </p:sp>
        <p:sp>
          <p:nvSpPr>
            <p:cNvPr id="116" name="object 116"/>
            <p:cNvSpPr/>
            <p:nvPr/>
          </p:nvSpPr>
          <p:spPr>
            <a:xfrm>
              <a:off x="8525555" y="5281715"/>
              <a:ext cx="361315" cy="361315"/>
            </a:xfrm>
            <a:custGeom>
              <a:avLst/>
              <a:gdLst/>
              <a:ahLst/>
              <a:cxnLst/>
              <a:rect l="l" t="t" r="r" b="b"/>
              <a:pathLst>
                <a:path w="361315" h="361314">
                  <a:moveTo>
                    <a:pt x="195498" y="251420"/>
                  </a:moveTo>
                  <a:lnTo>
                    <a:pt x="83520" y="251420"/>
                  </a:lnTo>
                  <a:lnTo>
                    <a:pt x="97744" y="256246"/>
                  </a:lnTo>
                  <a:lnTo>
                    <a:pt x="145242" y="351229"/>
                  </a:lnTo>
                  <a:lnTo>
                    <a:pt x="150068" y="360741"/>
                  </a:lnTo>
                  <a:lnTo>
                    <a:pt x="234396" y="318489"/>
                  </a:lnTo>
                  <a:lnTo>
                    <a:pt x="239095" y="304252"/>
                  </a:lnTo>
                  <a:lnTo>
                    <a:pt x="210774" y="294727"/>
                  </a:lnTo>
                  <a:lnTo>
                    <a:pt x="206075" y="285202"/>
                  </a:lnTo>
                  <a:lnTo>
                    <a:pt x="201249" y="275677"/>
                  </a:lnTo>
                  <a:lnTo>
                    <a:pt x="196016" y="260826"/>
                  </a:lnTo>
                  <a:lnTo>
                    <a:pt x="195498" y="251420"/>
                  </a:lnTo>
                  <a:close/>
                </a:path>
                <a:path w="361315" h="361314">
                  <a:moveTo>
                    <a:pt x="349349" y="219960"/>
                  </a:moveTo>
                  <a:lnTo>
                    <a:pt x="225813" y="219960"/>
                  </a:lnTo>
                  <a:lnTo>
                    <a:pt x="242127" y="222527"/>
                  </a:lnTo>
                  <a:lnTo>
                    <a:pt x="256702" y="230429"/>
                  </a:lnTo>
                  <a:lnTo>
                    <a:pt x="266908" y="242784"/>
                  </a:lnTo>
                  <a:lnTo>
                    <a:pt x="268964" y="250513"/>
                  </a:lnTo>
                  <a:lnTo>
                    <a:pt x="268781" y="258230"/>
                  </a:lnTo>
                  <a:lnTo>
                    <a:pt x="267694" y="264161"/>
                  </a:lnTo>
                  <a:lnTo>
                    <a:pt x="267035" y="266533"/>
                  </a:lnTo>
                  <a:lnTo>
                    <a:pt x="268430" y="272921"/>
                  </a:lnTo>
                  <a:lnTo>
                    <a:pt x="265838" y="283839"/>
                  </a:lnTo>
                  <a:lnTo>
                    <a:pt x="267162" y="290155"/>
                  </a:lnTo>
                  <a:lnTo>
                    <a:pt x="281386" y="294981"/>
                  </a:lnTo>
                  <a:lnTo>
                    <a:pt x="290657" y="290282"/>
                  </a:lnTo>
                  <a:lnTo>
                    <a:pt x="346918" y="262088"/>
                  </a:lnTo>
                  <a:lnTo>
                    <a:pt x="356316" y="257516"/>
                  </a:lnTo>
                  <a:lnTo>
                    <a:pt x="361015" y="243292"/>
                  </a:lnTo>
                  <a:lnTo>
                    <a:pt x="349349" y="219960"/>
                  </a:lnTo>
                  <a:close/>
                </a:path>
                <a:path w="361315" h="361314">
                  <a:moveTo>
                    <a:pt x="31577" y="217892"/>
                  </a:moveTo>
                  <a:lnTo>
                    <a:pt x="22306" y="222591"/>
                  </a:lnTo>
                  <a:lnTo>
                    <a:pt x="10140" y="232767"/>
                  </a:lnTo>
                  <a:lnTo>
                    <a:pt x="2414" y="247419"/>
                  </a:lnTo>
                  <a:lnTo>
                    <a:pt x="0" y="263882"/>
                  </a:lnTo>
                  <a:lnTo>
                    <a:pt x="3764" y="279487"/>
                  </a:lnTo>
                  <a:lnTo>
                    <a:pt x="13235" y="290300"/>
                  </a:lnTo>
                  <a:lnTo>
                    <a:pt x="26195" y="294933"/>
                  </a:lnTo>
                  <a:lnTo>
                    <a:pt x="40894" y="294257"/>
                  </a:lnTo>
                  <a:lnTo>
                    <a:pt x="55580" y="289139"/>
                  </a:lnTo>
                  <a:lnTo>
                    <a:pt x="74376" y="279741"/>
                  </a:lnTo>
                  <a:lnTo>
                    <a:pt x="83520" y="251420"/>
                  </a:lnTo>
                  <a:lnTo>
                    <a:pt x="195498" y="251420"/>
                  </a:lnTo>
                  <a:lnTo>
                    <a:pt x="195200" y="246022"/>
                  </a:lnTo>
                  <a:lnTo>
                    <a:pt x="199695" y="233029"/>
                  </a:lnTo>
                  <a:lnTo>
                    <a:pt x="210393" y="223607"/>
                  </a:lnTo>
                  <a:lnTo>
                    <a:pt x="213615" y="222845"/>
                  </a:lnTo>
                  <a:lnTo>
                    <a:pt x="69296" y="222845"/>
                  </a:lnTo>
                  <a:lnTo>
                    <a:pt x="68925" y="222718"/>
                  </a:lnTo>
                  <a:lnTo>
                    <a:pt x="45801" y="222718"/>
                  </a:lnTo>
                  <a:lnTo>
                    <a:pt x="31577" y="217892"/>
                  </a:lnTo>
                  <a:close/>
                </a:path>
                <a:path w="361315" h="361314">
                  <a:moveTo>
                    <a:pt x="171170" y="76160"/>
                  </a:moveTo>
                  <a:lnTo>
                    <a:pt x="124922" y="76160"/>
                  </a:lnTo>
                  <a:lnTo>
                    <a:pt x="126777" y="83962"/>
                  </a:lnTo>
                  <a:lnTo>
                    <a:pt x="125573" y="92194"/>
                  </a:lnTo>
                  <a:lnTo>
                    <a:pt x="121725" y="99520"/>
                  </a:lnTo>
                  <a:lnTo>
                    <a:pt x="115651" y="104608"/>
                  </a:lnTo>
                  <a:lnTo>
                    <a:pt x="40594" y="142200"/>
                  </a:lnTo>
                  <a:lnTo>
                    <a:pt x="45420" y="151598"/>
                  </a:lnTo>
                  <a:lnTo>
                    <a:pt x="73868" y="208621"/>
                  </a:lnTo>
                  <a:lnTo>
                    <a:pt x="69296" y="222845"/>
                  </a:lnTo>
                  <a:lnTo>
                    <a:pt x="213615" y="222845"/>
                  </a:lnTo>
                  <a:lnTo>
                    <a:pt x="225813" y="219960"/>
                  </a:lnTo>
                  <a:lnTo>
                    <a:pt x="349349" y="219960"/>
                  </a:lnTo>
                  <a:lnTo>
                    <a:pt x="332853" y="186967"/>
                  </a:lnTo>
                  <a:lnTo>
                    <a:pt x="241905" y="186967"/>
                  </a:lnTo>
                  <a:lnTo>
                    <a:pt x="228953" y="182296"/>
                  </a:lnTo>
                  <a:lnTo>
                    <a:pt x="219537" y="171410"/>
                  </a:lnTo>
                  <a:lnTo>
                    <a:pt x="215753" y="155878"/>
                  </a:lnTo>
                  <a:lnTo>
                    <a:pt x="218124" y="139453"/>
                  </a:lnTo>
                  <a:lnTo>
                    <a:pt x="225805" y="124815"/>
                  </a:lnTo>
                  <a:lnTo>
                    <a:pt x="237952" y="114641"/>
                  </a:lnTo>
                  <a:lnTo>
                    <a:pt x="247350" y="109942"/>
                  </a:lnTo>
                  <a:lnTo>
                    <a:pt x="286074" y="109942"/>
                  </a:lnTo>
                  <a:lnTo>
                    <a:pt x="286688" y="106592"/>
                  </a:lnTo>
                  <a:lnTo>
                    <a:pt x="286871" y="98875"/>
                  </a:lnTo>
                  <a:lnTo>
                    <a:pt x="284815" y="91146"/>
                  </a:lnTo>
                  <a:lnTo>
                    <a:pt x="277449" y="76414"/>
                  </a:lnTo>
                  <a:lnTo>
                    <a:pt x="171912" y="76414"/>
                  </a:lnTo>
                  <a:lnTo>
                    <a:pt x="171170" y="76160"/>
                  </a:lnTo>
                  <a:close/>
                </a:path>
                <a:path w="361315" h="361314">
                  <a:moveTo>
                    <a:pt x="55199" y="218019"/>
                  </a:moveTo>
                  <a:lnTo>
                    <a:pt x="45801" y="222718"/>
                  </a:lnTo>
                  <a:lnTo>
                    <a:pt x="68925" y="222718"/>
                  </a:lnTo>
                  <a:lnTo>
                    <a:pt x="55199" y="218019"/>
                  </a:lnTo>
                  <a:close/>
                </a:path>
                <a:path w="361315" h="361314">
                  <a:moveTo>
                    <a:pt x="299293" y="143343"/>
                  </a:moveTo>
                  <a:lnTo>
                    <a:pt x="297183" y="146448"/>
                  </a:lnTo>
                  <a:lnTo>
                    <a:pt x="292895" y="153995"/>
                  </a:lnTo>
                  <a:lnTo>
                    <a:pt x="289488" y="163327"/>
                  </a:lnTo>
                  <a:lnTo>
                    <a:pt x="290022" y="171791"/>
                  </a:lnTo>
                  <a:lnTo>
                    <a:pt x="271226" y="181189"/>
                  </a:lnTo>
                  <a:lnTo>
                    <a:pt x="256595" y="186305"/>
                  </a:lnTo>
                  <a:lnTo>
                    <a:pt x="241905" y="186967"/>
                  </a:lnTo>
                  <a:lnTo>
                    <a:pt x="332853" y="186967"/>
                  </a:lnTo>
                  <a:lnTo>
                    <a:pt x="318216" y="157694"/>
                  </a:lnTo>
                  <a:lnTo>
                    <a:pt x="313390" y="148169"/>
                  </a:lnTo>
                  <a:lnTo>
                    <a:pt x="299293" y="143343"/>
                  </a:lnTo>
                  <a:close/>
                </a:path>
                <a:path w="361315" h="361314">
                  <a:moveTo>
                    <a:pt x="286074" y="109942"/>
                  </a:moveTo>
                  <a:lnTo>
                    <a:pt x="247350" y="109942"/>
                  </a:lnTo>
                  <a:lnTo>
                    <a:pt x="275671" y="119594"/>
                  </a:lnTo>
                  <a:lnTo>
                    <a:pt x="284942" y="114895"/>
                  </a:lnTo>
                  <a:lnTo>
                    <a:pt x="285601" y="112523"/>
                  </a:lnTo>
                  <a:lnTo>
                    <a:pt x="286074" y="109942"/>
                  </a:lnTo>
                  <a:close/>
                </a:path>
                <a:path w="361315" h="361314">
                  <a:moveTo>
                    <a:pt x="166996" y="74731"/>
                  </a:moveTo>
                  <a:lnTo>
                    <a:pt x="107688" y="74731"/>
                  </a:lnTo>
                  <a:lnTo>
                    <a:pt x="118590" y="77462"/>
                  </a:lnTo>
                  <a:lnTo>
                    <a:pt x="124922" y="76160"/>
                  </a:lnTo>
                  <a:lnTo>
                    <a:pt x="171170" y="76160"/>
                  </a:lnTo>
                  <a:lnTo>
                    <a:pt x="166996" y="74731"/>
                  </a:lnTo>
                  <a:close/>
                </a:path>
                <a:path w="361315" h="361314">
                  <a:moveTo>
                    <a:pt x="251080" y="38250"/>
                  </a:moveTo>
                  <a:lnTo>
                    <a:pt x="244546" y="40219"/>
                  </a:lnTo>
                  <a:lnTo>
                    <a:pt x="237571" y="43521"/>
                  </a:lnTo>
                  <a:lnTo>
                    <a:pt x="171912" y="76414"/>
                  </a:lnTo>
                  <a:lnTo>
                    <a:pt x="277449" y="76414"/>
                  </a:lnTo>
                  <a:lnTo>
                    <a:pt x="261066" y="43648"/>
                  </a:lnTo>
                  <a:lnTo>
                    <a:pt x="256734" y="38949"/>
                  </a:lnTo>
                  <a:lnTo>
                    <a:pt x="251080" y="38250"/>
                  </a:lnTo>
                  <a:close/>
                </a:path>
                <a:path w="361315" h="361314">
                  <a:moveTo>
                    <a:pt x="115681" y="0"/>
                  </a:moveTo>
                  <a:lnTo>
                    <a:pt x="100919" y="4913"/>
                  </a:lnTo>
                  <a:lnTo>
                    <a:pt x="90295" y="14354"/>
                  </a:lnTo>
                  <a:lnTo>
                    <a:pt x="85838" y="27392"/>
                  </a:lnTo>
                  <a:lnTo>
                    <a:pt x="86667" y="42239"/>
                  </a:lnTo>
                  <a:lnTo>
                    <a:pt x="91902" y="57110"/>
                  </a:lnTo>
                  <a:lnTo>
                    <a:pt x="96601" y="66635"/>
                  </a:lnTo>
                  <a:lnTo>
                    <a:pt x="101427" y="76033"/>
                  </a:lnTo>
                  <a:lnTo>
                    <a:pt x="107688" y="74731"/>
                  </a:lnTo>
                  <a:lnTo>
                    <a:pt x="166996" y="74731"/>
                  </a:lnTo>
                  <a:lnTo>
                    <a:pt x="157815" y="71588"/>
                  </a:lnTo>
                  <a:lnTo>
                    <a:pt x="157688" y="47966"/>
                  </a:lnTo>
                  <a:lnTo>
                    <a:pt x="158329" y="45594"/>
                  </a:lnTo>
                  <a:lnTo>
                    <a:pt x="159287" y="40219"/>
                  </a:lnTo>
                  <a:lnTo>
                    <a:pt x="159403" y="38949"/>
                  </a:lnTo>
                  <a:lnTo>
                    <a:pt x="159563" y="31946"/>
                  </a:lnTo>
                  <a:lnTo>
                    <a:pt x="157561" y="24217"/>
                  </a:lnTo>
                  <a:lnTo>
                    <a:pt x="145299" y="7842"/>
                  </a:lnTo>
                  <a:lnTo>
                    <a:pt x="130907" y="373"/>
                  </a:lnTo>
                  <a:lnTo>
                    <a:pt x="115681" y="0"/>
                  </a:lnTo>
                  <a:close/>
                </a:path>
              </a:pathLst>
            </a:custGeom>
            <a:solidFill>
              <a:srgbClr val="7E7E7E"/>
            </a:solidFill>
          </p:spPr>
          <p:txBody>
            <a:bodyPr wrap="square" lIns="0" tIns="0" rIns="0" bIns="0" rtlCol="0"/>
            <a:lstStyle/>
            <a:p>
              <a:endParaRPr/>
            </a:p>
          </p:txBody>
        </p:sp>
        <p:sp>
          <p:nvSpPr>
            <p:cNvPr id="117" name="object 117"/>
            <p:cNvSpPr/>
            <p:nvPr/>
          </p:nvSpPr>
          <p:spPr>
            <a:xfrm>
              <a:off x="8189769" y="5460732"/>
              <a:ext cx="363855" cy="358140"/>
            </a:xfrm>
            <a:custGeom>
              <a:avLst/>
              <a:gdLst/>
              <a:ahLst/>
              <a:cxnLst/>
              <a:rect l="l" t="t" r="r" b="b"/>
              <a:pathLst>
                <a:path w="363854" h="358139">
                  <a:moveTo>
                    <a:pt x="191701" y="256109"/>
                  </a:moveTo>
                  <a:lnTo>
                    <a:pt x="76533" y="256109"/>
                  </a:lnTo>
                  <a:lnTo>
                    <a:pt x="90630" y="260922"/>
                  </a:lnTo>
                  <a:lnTo>
                    <a:pt x="95329" y="270422"/>
                  </a:lnTo>
                  <a:lnTo>
                    <a:pt x="138128" y="355956"/>
                  </a:lnTo>
                  <a:lnTo>
                    <a:pt x="140497" y="356635"/>
                  </a:lnTo>
                  <a:lnTo>
                    <a:pt x="146415" y="357776"/>
                  </a:lnTo>
                  <a:lnTo>
                    <a:pt x="154094" y="358035"/>
                  </a:lnTo>
                  <a:lnTo>
                    <a:pt x="161750" y="356071"/>
                  </a:lnTo>
                  <a:lnTo>
                    <a:pt x="236680" y="318517"/>
                  </a:lnTo>
                  <a:lnTo>
                    <a:pt x="227282" y="299505"/>
                  </a:lnTo>
                  <a:lnTo>
                    <a:pt x="198961" y="289891"/>
                  </a:lnTo>
                  <a:lnTo>
                    <a:pt x="194135" y="280391"/>
                  </a:lnTo>
                  <a:lnTo>
                    <a:pt x="190424" y="264816"/>
                  </a:lnTo>
                  <a:lnTo>
                    <a:pt x="191701" y="256109"/>
                  </a:lnTo>
                  <a:close/>
                </a:path>
                <a:path w="363854" h="358139">
                  <a:moveTo>
                    <a:pt x="38687" y="221557"/>
                  </a:moveTo>
                  <a:lnTo>
                    <a:pt x="28261" y="222693"/>
                  </a:lnTo>
                  <a:lnTo>
                    <a:pt x="15192" y="227369"/>
                  </a:lnTo>
                  <a:lnTo>
                    <a:pt x="4494" y="236796"/>
                  </a:lnTo>
                  <a:lnTo>
                    <a:pt x="0" y="249811"/>
                  </a:lnTo>
                  <a:lnTo>
                    <a:pt x="790" y="264168"/>
                  </a:lnTo>
                  <a:lnTo>
                    <a:pt x="23780" y="297332"/>
                  </a:lnTo>
                  <a:lnTo>
                    <a:pt x="35248" y="298275"/>
                  </a:lnTo>
                  <a:lnTo>
                    <a:pt x="48466" y="293891"/>
                  </a:lnTo>
                  <a:lnTo>
                    <a:pt x="76660" y="279807"/>
                  </a:lnTo>
                  <a:lnTo>
                    <a:pt x="75265" y="273432"/>
                  </a:lnTo>
                  <a:lnTo>
                    <a:pt x="77856" y="262483"/>
                  </a:lnTo>
                  <a:lnTo>
                    <a:pt x="76533" y="256109"/>
                  </a:lnTo>
                  <a:lnTo>
                    <a:pt x="191701" y="256109"/>
                  </a:lnTo>
                  <a:lnTo>
                    <a:pt x="192833" y="248384"/>
                  </a:lnTo>
                  <a:lnTo>
                    <a:pt x="200529" y="233757"/>
                  </a:lnTo>
                  <a:lnTo>
                    <a:pt x="207893" y="227597"/>
                  </a:lnTo>
                  <a:lnTo>
                    <a:pt x="62182" y="227597"/>
                  </a:lnTo>
                  <a:lnTo>
                    <a:pt x="48085" y="222784"/>
                  </a:lnTo>
                  <a:lnTo>
                    <a:pt x="45589" y="222181"/>
                  </a:lnTo>
                  <a:lnTo>
                    <a:pt x="38687" y="221557"/>
                  </a:lnTo>
                  <a:close/>
                </a:path>
                <a:path w="363854" h="358139">
                  <a:moveTo>
                    <a:pt x="351632" y="219965"/>
                  </a:moveTo>
                  <a:lnTo>
                    <a:pt x="228097" y="219965"/>
                  </a:lnTo>
                  <a:lnTo>
                    <a:pt x="244411" y="222562"/>
                  </a:lnTo>
                  <a:lnTo>
                    <a:pt x="258986" y="230483"/>
                  </a:lnTo>
                  <a:lnTo>
                    <a:pt x="269192" y="242825"/>
                  </a:lnTo>
                  <a:lnTo>
                    <a:pt x="271248" y="250543"/>
                  </a:lnTo>
                  <a:lnTo>
                    <a:pt x="271065" y="258247"/>
                  </a:lnTo>
                  <a:lnTo>
                    <a:pt x="269978" y="264168"/>
                  </a:lnTo>
                  <a:lnTo>
                    <a:pt x="269319" y="266536"/>
                  </a:lnTo>
                  <a:lnTo>
                    <a:pt x="266749" y="274893"/>
                  </a:lnTo>
                  <a:lnTo>
                    <a:pt x="266015" y="279464"/>
                  </a:lnTo>
                  <a:lnTo>
                    <a:pt x="265956" y="280391"/>
                  </a:lnTo>
                  <a:lnTo>
                    <a:pt x="266801" y="284520"/>
                  </a:lnTo>
                  <a:lnTo>
                    <a:pt x="269446" y="290234"/>
                  </a:lnTo>
                  <a:lnTo>
                    <a:pt x="267757" y="292968"/>
                  </a:lnTo>
                  <a:lnTo>
                    <a:pt x="273081" y="294403"/>
                  </a:lnTo>
                  <a:lnTo>
                    <a:pt x="280144" y="294956"/>
                  </a:lnTo>
                  <a:lnTo>
                    <a:pt x="283670" y="295047"/>
                  </a:lnTo>
                  <a:lnTo>
                    <a:pt x="358600" y="257480"/>
                  </a:lnTo>
                  <a:lnTo>
                    <a:pt x="363299" y="243282"/>
                  </a:lnTo>
                  <a:lnTo>
                    <a:pt x="351632" y="219965"/>
                  </a:lnTo>
                  <a:close/>
                </a:path>
                <a:path w="363854" h="358139">
                  <a:moveTo>
                    <a:pt x="158836" y="71387"/>
                  </a:moveTo>
                  <a:lnTo>
                    <a:pt x="112982" y="71387"/>
                  </a:lnTo>
                  <a:lnTo>
                    <a:pt x="117808" y="80912"/>
                  </a:lnTo>
                  <a:lnTo>
                    <a:pt x="119810" y="88642"/>
                  </a:lnTo>
                  <a:lnTo>
                    <a:pt x="119633" y="96359"/>
                  </a:lnTo>
                  <a:lnTo>
                    <a:pt x="118576" y="102290"/>
                  </a:lnTo>
                  <a:lnTo>
                    <a:pt x="117935" y="104661"/>
                  </a:lnTo>
                  <a:lnTo>
                    <a:pt x="52276" y="137478"/>
                  </a:lnTo>
                  <a:lnTo>
                    <a:pt x="45450" y="141077"/>
                  </a:lnTo>
                  <a:lnTo>
                    <a:pt x="39957" y="145127"/>
                  </a:lnTo>
                  <a:lnTo>
                    <a:pt x="37131" y="150076"/>
                  </a:lnTo>
                  <a:lnTo>
                    <a:pt x="38306" y="156376"/>
                  </a:lnTo>
                  <a:lnTo>
                    <a:pt x="66881" y="213399"/>
                  </a:lnTo>
                  <a:lnTo>
                    <a:pt x="71580" y="222898"/>
                  </a:lnTo>
                  <a:lnTo>
                    <a:pt x="62182" y="227597"/>
                  </a:lnTo>
                  <a:lnTo>
                    <a:pt x="207893" y="227597"/>
                  </a:lnTo>
                  <a:lnTo>
                    <a:pt x="212677" y="223597"/>
                  </a:lnTo>
                  <a:lnTo>
                    <a:pt x="228097" y="219965"/>
                  </a:lnTo>
                  <a:lnTo>
                    <a:pt x="351632" y="219965"/>
                  </a:lnTo>
                  <a:lnTo>
                    <a:pt x="336788" y="190300"/>
                  </a:lnTo>
                  <a:lnTo>
                    <a:pt x="251021" y="190300"/>
                  </a:lnTo>
                  <a:lnTo>
                    <a:pt x="239553" y="189356"/>
                  </a:lnTo>
                  <a:lnTo>
                    <a:pt x="229824" y="183085"/>
                  </a:lnTo>
                  <a:lnTo>
                    <a:pt x="221821" y="171489"/>
                  </a:lnTo>
                  <a:lnTo>
                    <a:pt x="216586" y="156653"/>
                  </a:lnTo>
                  <a:lnTo>
                    <a:pt x="215757" y="141836"/>
                  </a:lnTo>
                  <a:lnTo>
                    <a:pt x="220214" y="128821"/>
                  </a:lnTo>
                  <a:lnTo>
                    <a:pt x="230838" y="119393"/>
                  </a:lnTo>
                  <a:lnTo>
                    <a:pt x="242458" y="115448"/>
                  </a:lnTo>
                  <a:lnTo>
                    <a:pt x="262494" y="115448"/>
                  </a:lnTo>
                  <a:lnTo>
                    <a:pt x="263731" y="114821"/>
                  </a:lnTo>
                  <a:lnTo>
                    <a:pt x="283716" y="114821"/>
                  </a:lnTo>
                  <a:lnTo>
                    <a:pt x="284029" y="114559"/>
                  </a:lnTo>
                  <a:lnTo>
                    <a:pt x="287877" y="107233"/>
                  </a:lnTo>
                  <a:lnTo>
                    <a:pt x="289081" y="99002"/>
                  </a:lnTo>
                  <a:lnTo>
                    <a:pt x="287226" y="91199"/>
                  </a:lnTo>
                  <a:lnTo>
                    <a:pt x="279820" y="76467"/>
                  </a:lnTo>
                  <a:lnTo>
                    <a:pt x="174196" y="76467"/>
                  </a:lnTo>
                  <a:lnTo>
                    <a:pt x="160099" y="71641"/>
                  </a:lnTo>
                  <a:lnTo>
                    <a:pt x="158836" y="71387"/>
                  </a:lnTo>
                  <a:close/>
                </a:path>
                <a:path w="363854" h="358139">
                  <a:moveTo>
                    <a:pt x="301577" y="143434"/>
                  </a:moveTo>
                  <a:lnTo>
                    <a:pt x="295356" y="148591"/>
                  </a:lnTo>
                  <a:lnTo>
                    <a:pt x="290508" y="156376"/>
                  </a:lnTo>
                  <a:lnTo>
                    <a:pt x="286486" y="166030"/>
                  </a:lnTo>
                  <a:lnTo>
                    <a:pt x="282908" y="176531"/>
                  </a:lnTo>
                  <a:lnTo>
                    <a:pt x="264239" y="185916"/>
                  </a:lnTo>
                  <a:lnTo>
                    <a:pt x="251021" y="190300"/>
                  </a:lnTo>
                  <a:lnTo>
                    <a:pt x="336788" y="190300"/>
                  </a:lnTo>
                  <a:lnTo>
                    <a:pt x="320500" y="157747"/>
                  </a:lnTo>
                  <a:lnTo>
                    <a:pt x="316168" y="152841"/>
                  </a:lnTo>
                  <a:lnTo>
                    <a:pt x="305837" y="148348"/>
                  </a:lnTo>
                  <a:lnTo>
                    <a:pt x="301577" y="143434"/>
                  </a:lnTo>
                  <a:close/>
                </a:path>
                <a:path w="363854" h="358139">
                  <a:moveTo>
                    <a:pt x="283716" y="114821"/>
                  </a:moveTo>
                  <a:lnTo>
                    <a:pt x="263731" y="114821"/>
                  </a:lnTo>
                  <a:lnTo>
                    <a:pt x="277955" y="119647"/>
                  </a:lnTo>
                  <a:lnTo>
                    <a:pt x="283716" y="114821"/>
                  </a:lnTo>
                  <a:close/>
                </a:path>
                <a:path w="363854" h="358139">
                  <a:moveTo>
                    <a:pt x="262494" y="115448"/>
                  </a:moveTo>
                  <a:lnTo>
                    <a:pt x="242458" y="115448"/>
                  </a:lnTo>
                  <a:lnTo>
                    <a:pt x="249697" y="115933"/>
                  </a:lnTo>
                  <a:lnTo>
                    <a:pt x="253412" y="118179"/>
                  </a:lnTo>
                  <a:lnTo>
                    <a:pt x="254460" y="119520"/>
                  </a:lnTo>
                  <a:lnTo>
                    <a:pt x="262494" y="115448"/>
                  </a:lnTo>
                  <a:close/>
                </a:path>
                <a:path w="363854" h="358139">
                  <a:moveTo>
                    <a:pt x="253365" y="38304"/>
                  </a:moveTo>
                  <a:lnTo>
                    <a:pt x="246830" y="40272"/>
                  </a:lnTo>
                  <a:lnTo>
                    <a:pt x="239855" y="43574"/>
                  </a:lnTo>
                  <a:lnTo>
                    <a:pt x="174196" y="76467"/>
                  </a:lnTo>
                  <a:lnTo>
                    <a:pt x="279820" y="76467"/>
                  </a:lnTo>
                  <a:lnTo>
                    <a:pt x="263350" y="43701"/>
                  </a:lnTo>
                  <a:lnTo>
                    <a:pt x="259018" y="39002"/>
                  </a:lnTo>
                  <a:lnTo>
                    <a:pt x="253365" y="38304"/>
                  </a:lnTo>
                  <a:close/>
                </a:path>
                <a:path w="363854" h="358139">
                  <a:moveTo>
                    <a:pt x="117965" y="0"/>
                  </a:moveTo>
                  <a:lnTo>
                    <a:pt x="103203" y="4966"/>
                  </a:lnTo>
                  <a:lnTo>
                    <a:pt x="90449" y="13801"/>
                  </a:lnTo>
                  <a:lnTo>
                    <a:pt x="81660" y="26207"/>
                  </a:lnTo>
                  <a:lnTo>
                    <a:pt x="79039" y="42185"/>
                  </a:lnTo>
                  <a:lnTo>
                    <a:pt x="84788" y="61735"/>
                  </a:lnTo>
                  <a:lnTo>
                    <a:pt x="89487" y="71260"/>
                  </a:lnTo>
                  <a:lnTo>
                    <a:pt x="103711" y="76086"/>
                  </a:lnTo>
                  <a:lnTo>
                    <a:pt x="112982" y="71387"/>
                  </a:lnTo>
                  <a:lnTo>
                    <a:pt x="158836" y="71387"/>
                  </a:lnTo>
                  <a:lnTo>
                    <a:pt x="154793" y="70574"/>
                  </a:lnTo>
                  <a:lnTo>
                    <a:pt x="152987" y="63291"/>
                  </a:lnTo>
                  <a:lnTo>
                    <a:pt x="154705" y="54246"/>
                  </a:lnTo>
                  <a:lnTo>
                    <a:pt x="159972" y="47892"/>
                  </a:lnTo>
                  <a:lnTo>
                    <a:pt x="164544" y="33795"/>
                  </a:lnTo>
                  <a:lnTo>
                    <a:pt x="159845" y="24270"/>
                  </a:lnTo>
                  <a:lnTo>
                    <a:pt x="147583" y="7877"/>
                  </a:lnTo>
                  <a:lnTo>
                    <a:pt x="133191" y="379"/>
                  </a:lnTo>
                  <a:lnTo>
                    <a:pt x="117965" y="0"/>
                  </a:lnTo>
                  <a:close/>
                </a:path>
              </a:pathLst>
            </a:custGeom>
            <a:solidFill>
              <a:srgbClr val="7E7E7E"/>
            </a:solidFill>
          </p:spPr>
          <p:txBody>
            <a:bodyPr wrap="square" lIns="0" tIns="0" rIns="0" bIns="0" rtlCol="0"/>
            <a:lstStyle/>
            <a:p>
              <a:endParaRPr/>
            </a:p>
          </p:txBody>
        </p:sp>
      </p:grpSp>
      <p:sp>
        <p:nvSpPr>
          <p:cNvPr id="118" name="object 11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19" name="object 119"/>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4</a:t>
            </a:fld>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620385" cy="422275"/>
          </a:xfrm>
          <a:prstGeom prst="rect">
            <a:avLst/>
          </a:prstGeom>
        </p:spPr>
        <p:txBody>
          <a:bodyPr vert="horz" wrap="square" lIns="0" tIns="12700" rIns="0" bIns="0" rtlCol="0">
            <a:spAutoFit/>
          </a:bodyPr>
          <a:lstStyle/>
          <a:p>
            <a:pPr marL="12700">
              <a:lnSpc>
                <a:spcPct val="100000"/>
              </a:lnSpc>
              <a:spcBef>
                <a:spcPts val="100"/>
              </a:spcBef>
            </a:pPr>
            <a:r>
              <a:rPr sz="2600"/>
              <a:t>Methodology </a:t>
            </a:r>
            <a:r>
              <a:rPr sz="2600" spc="-5"/>
              <a:t>Phase </a:t>
            </a:r>
            <a:r>
              <a:rPr sz="2600"/>
              <a:t>1 – </a:t>
            </a:r>
            <a:r>
              <a:rPr sz="2600" spc="-5"/>
              <a:t>Pre</a:t>
            </a:r>
            <a:r>
              <a:rPr sz="2600" spc="-110"/>
              <a:t> </a:t>
            </a:r>
            <a:r>
              <a:rPr sz="2600" spc="-5"/>
              <a:t>Game</a:t>
            </a:r>
            <a:endParaRPr sz="2600"/>
          </a:p>
        </p:txBody>
      </p:sp>
      <p:sp>
        <p:nvSpPr>
          <p:cNvPr id="3" name="object 3"/>
          <p:cNvSpPr/>
          <p:nvPr/>
        </p:nvSpPr>
        <p:spPr>
          <a:xfrm>
            <a:off x="749808" y="1115567"/>
            <a:ext cx="3854450" cy="494030"/>
          </a:xfrm>
          <a:custGeom>
            <a:avLst/>
            <a:gdLst/>
            <a:ahLst/>
            <a:cxnLst/>
            <a:rect l="l" t="t" r="r" b="b"/>
            <a:pathLst>
              <a:path w="3854450" h="494030">
                <a:moveTo>
                  <a:pt x="3854195" y="0"/>
                </a:moveTo>
                <a:lnTo>
                  <a:pt x="82295" y="0"/>
                </a:lnTo>
                <a:lnTo>
                  <a:pt x="50261" y="6465"/>
                </a:lnTo>
                <a:lnTo>
                  <a:pt x="24103" y="24098"/>
                </a:lnTo>
                <a:lnTo>
                  <a:pt x="6466" y="50256"/>
                </a:lnTo>
                <a:lnTo>
                  <a:pt x="0" y="82296"/>
                </a:lnTo>
                <a:lnTo>
                  <a:pt x="0" y="493776"/>
                </a:lnTo>
                <a:lnTo>
                  <a:pt x="3771900" y="493776"/>
                </a:lnTo>
                <a:lnTo>
                  <a:pt x="3803939" y="487310"/>
                </a:lnTo>
                <a:lnTo>
                  <a:pt x="3830097" y="469677"/>
                </a:lnTo>
                <a:lnTo>
                  <a:pt x="3847730" y="443519"/>
                </a:lnTo>
                <a:lnTo>
                  <a:pt x="3854195" y="411480"/>
                </a:lnTo>
                <a:lnTo>
                  <a:pt x="3854195" y="0"/>
                </a:lnTo>
                <a:close/>
              </a:path>
            </a:pathLst>
          </a:custGeom>
          <a:solidFill>
            <a:srgbClr val="D9D9D9"/>
          </a:solidFill>
        </p:spPr>
        <p:txBody>
          <a:bodyPr wrap="square" lIns="0" tIns="0" rIns="0" bIns="0" rtlCol="0"/>
          <a:lstStyle/>
          <a:p>
            <a:endParaRPr/>
          </a:p>
        </p:txBody>
      </p:sp>
      <p:sp>
        <p:nvSpPr>
          <p:cNvPr id="4" name="object 4"/>
          <p:cNvSpPr txBox="1"/>
          <p:nvPr/>
        </p:nvSpPr>
        <p:spPr>
          <a:xfrm>
            <a:off x="2240407" y="1257046"/>
            <a:ext cx="875030"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Pre-Game</a:t>
            </a:r>
            <a:endParaRPr sz="1200">
              <a:latin typeface="Verdana"/>
              <a:cs typeface="Verdana"/>
            </a:endParaRPr>
          </a:p>
        </p:txBody>
      </p:sp>
      <p:sp>
        <p:nvSpPr>
          <p:cNvPr id="5" name="object 5"/>
          <p:cNvSpPr/>
          <p:nvPr/>
        </p:nvSpPr>
        <p:spPr>
          <a:xfrm>
            <a:off x="752855" y="4055364"/>
            <a:ext cx="3851275" cy="807720"/>
          </a:xfrm>
          <a:custGeom>
            <a:avLst/>
            <a:gdLst/>
            <a:ahLst/>
            <a:cxnLst/>
            <a:rect l="l" t="t" r="r" b="b"/>
            <a:pathLst>
              <a:path w="3851275" h="807720">
                <a:moveTo>
                  <a:pt x="3851148" y="0"/>
                </a:moveTo>
                <a:lnTo>
                  <a:pt x="62293" y="0"/>
                </a:lnTo>
                <a:lnTo>
                  <a:pt x="0" y="807719"/>
                </a:lnTo>
                <a:lnTo>
                  <a:pt x="3788791" y="807719"/>
                </a:lnTo>
                <a:lnTo>
                  <a:pt x="3851148" y="0"/>
                </a:lnTo>
                <a:close/>
              </a:path>
            </a:pathLst>
          </a:custGeom>
          <a:solidFill>
            <a:srgbClr val="F1F1F1"/>
          </a:solidFill>
        </p:spPr>
        <p:txBody>
          <a:bodyPr wrap="square" lIns="0" tIns="0" rIns="0" bIns="0" rtlCol="0"/>
          <a:lstStyle/>
          <a:p>
            <a:endParaRPr/>
          </a:p>
        </p:txBody>
      </p:sp>
      <p:sp>
        <p:nvSpPr>
          <p:cNvPr id="6" name="object 6"/>
          <p:cNvSpPr/>
          <p:nvPr/>
        </p:nvSpPr>
        <p:spPr>
          <a:xfrm>
            <a:off x="746759" y="2744723"/>
            <a:ext cx="3857625" cy="1224280"/>
          </a:xfrm>
          <a:custGeom>
            <a:avLst/>
            <a:gdLst/>
            <a:ahLst/>
            <a:cxnLst/>
            <a:rect l="l" t="t" r="r" b="b"/>
            <a:pathLst>
              <a:path w="3857625" h="1224279">
                <a:moveTo>
                  <a:pt x="3857243" y="0"/>
                </a:moveTo>
                <a:lnTo>
                  <a:pt x="45554" y="0"/>
                </a:lnTo>
                <a:lnTo>
                  <a:pt x="0" y="1223771"/>
                </a:lnTo>
                <a:lnTo>
                  <a:pt x="3811651" y="1223771"/>
                </a:lnTo>
                <a:lnTo>
                  <a:pt x="3857243" y="0"/>
                </a:lnTo>
                <a:close/>
              </a:path>
            </a:pathLst>
          </a:custGeom>
          <a:solidFill>
            <a:srgbClr val="D9D9D9"/>
          </a:solidFill>
        </p:spPr>
        <p:txBody>
          <a:bodyPr wrap="square" lIns="0" tIns="0" rIns="0" bIns="0" rtlCol="0"/>
          <a:lstStyle/>
          <a:p>
            <a:endParaRPr/>
          </a:p>
        </p:txBody>
      </p:sp>
      <p:sp>
        <p:nvSpPr>
          <p:cNvPr id="7" name="object 7"/>
          <p:cNvSpPr txBox="1"/>
          <p:nvPr/>
        </p:nvSpPr>
        <p:spPr>
          <a:xfrm>
            <a:off x="2073655" y="2097176"/>
            <a:ext cx="888365" cy="455295"/>
          </a:xfrm>
          <a:prstGeom prst="rect">
            <a:avLst/>
          </a:prstGeom>
        </p:spPr>
        <p:txBody>
          <a:bodyPr vert="horz" wrap="square" lIns="0" tIns="74930" rIns="0" bIns="0" rtlCol="0">
            <a:spAutoFit/>
          </a:bodyPr>
          <a:lstStyle/>
          <a:p>
            <a:pPr marL="12700">
              <a:lnSpc>
                <a:spcPct val="100000"/>
              </a:lnSpc>
              <a:spcBef>
                <a:spcPts val="590"/>
              </a:spcBef>
            </a:pPr>
            <a:r>
              <a:rPr sz="1000" spc="-5">
                <a:latin typeface="Verdana"/>
                <a:cs typeface="Verdana"/>
              </a:rPr>
              <a:t>…………………</a:t>
            </a:r>
            <a:r>
              <a:rPr sz="1000" spc="-10">
                <a:latin typeface="Verdana"/>
                <a:cs typeface="Verdana"/>
              </a:rPr>
              <a:t>..</a:t>
            </a:r>
            <a:r>
              <a:rPr sz="1000" spc="-5">
                <a:latin typeface="Verdana"/>
                <a:cs typeface="Verdana"/>
              </a:rPr>
              <a:t>.</a:t>
            </a:r>
            <a:endParaRPr sz="1000">
              <a:latin typeface="Verdana"/>
              <a:cs typeface="Verdana"/>
            </a:endParaRPr>
          </a:p>
          <a:p>
            <a:pPr marL="12700">
              <a:lnSpc>
                <a:spcPct val="100000"/>
              </a:lnSpc>
              <a:spcBef>
                <a:spcPts val="495"/>
              </a:spcBef>
            </a:pPr>
            <a:r>
              <a:rPr sz="1000" spc="-5">
                <a:latin typeface="Verdana"/>
                <a:cs typeface="Verdana"/>
              </a:rPr>
              <a:t>……………………</a:t>
            </a:r>
            <a:endParaRPr sz="1000">
              <a:latin typeface="Verdana"/>
              <a:cs typeface="Verdana"/>
            </a:endParaRPr>
          </a:p>
        </p:txBody>
      </p:sp>
      <p:sp>
        <p:nvSpPr>
          <p:cNvPr id="8" name="object 8"/>
          <p:cNvSpPr/>
          <p:nvPr/>
        </p:nvSpPr>
        <p:spPr>
          <a:xfrm>
            <a:off x="643636" y="1156716"/>
            <a:ext cx="127000" cy="4493260"/>
          </a:xfrm>
          <a:custGeom>
            <a:avLst/>
            <a:gdLst/>
            <a:ahLst/>
            <a:cxnLst/>
            <a:rect l="l" t="t" r="r" b="b"/>
            <a:pathLst>
              <a:path w="127000" h="4493260">
                <a:moveTo>
                  <a:pt x="69850" y="0"/>
                </a:moveTo>
                <a:lnTo>
                  <a:pt x="57150" y="0"/>
                </a:lnTo>
                <a:lnTo>
                  <a:pt x="57150" y="50800"/>
                </a:lnTo>
                <a:lnTo>
                  <a:pt x="69850" y="50800"/>
                </a:lnTo>
                <a:lnTo>
                  <a:pt x="69850" y="0"/>
                </a:lnTo>
                <a:close/>
              </a:path>
              <a:path w="127000" h="4493260">
                <a:moveTo>
                  <a:pt x="69850" y="88900"/>
                </a:moveTo>
                <a:lnTo>
                  <a:pt x="57150" y="88900"/>
                </a:lnTo>
                <a:lnTo>
                  <a:pt x="57150" y="139700"/>
                </a:lnTo>
                <a:lnTo>
                  <a:pt x="69850" y="139700"/>
                </a:lnTo>
                <a:lnTo>
                  <a:pt x="69850" y="88900"/>
                </a:lnTo>
                <a:close/>
              </a:path>
              <a:path w="127000" h="4493260">
                <a:moveTo>
                  <a:pt x="69850" y="177800"/>
                </a:moveTo>
                <a:lnTo>
                  <a:pt x="57150" y="177800"/>
                </a:lnTo>
                <a:lnTo>
                  <a:pt x="57150" y="228600"/>
                </a:lnTo>
                <a:lnTo>
                  <a:pt x="69850" y="228600"/>
                </a:lnTo>
                <a:lnTo>
                  <a:pt x="69850" y="177800"/>
                </a:lnTo>
                <a:close/>
              </a:path>
              <a:path w="127000" h="4493260">
                <a:moveTo>
                  <a:pt x="69850" y="266700"/>
                </a:moveTo>
                <a:lnTo>
                  <a:pt x="57150" y="266700"/>
                </a:lnTo>
                <a:lnTo>
                  <a:pt x="57150" y="317500"/>
                </a:lnTo>
                <a:lnTo>
                  <a:pt x="69850" y="317500"/>
                </a:lnTo>
                <a:lnTo>
                  <a:pt x="69850" y="266700"/>
                </a:lnTo>
                <a:close/>
              </a:path>
              <a:path w="127000" h="4493260">
                <a:moveTo>
                  <a:pt x="69850" y="355600"/>
                </a:moveTo>
                <a:lnTo>
                  <a:pt x="57150" y="355600"/>
                </a:lnTo>
                <a:lnTo>
                  <a:pt x="57150" y="406400"/>
                </a:lnTo>
                <a:lnTo>
                  <a:pt x="69850" y="406400"/>
                </a:lnTo>
                <a:lnTo>
                  <a:pt x="69850" y="355600"/>
                </a:lnTo>
                <a:close/>
              </a:path>
              <a:path w="127000" h="4493260">
                <a:moveTo>
                  <a:pt x="69850" y="444500"/>
                </a:moveTo>
                <a:lnTo>
                  <a:pt x="57150" y="444500"/>
                </a:lnTo>
                <a:lnTo>
                  <a:pt x="57150" y="495300"/>
                </a:lnTo>
                <a:lnTo>
                  <a:pt x="69850" y="495300"/>
                </a:lnTo>
                <a:lnTo>
                  <a:pt x="69850" y="444500"/>
                </a:lnTo>
                <a:close/>
              </a:path>
              <a:path w="127000" h="4493260">
                <a:moveTo>
                  <a:pt x="69850" y="533400"/>
                </a:moveTo>
                <a:lnTo>
                  <a:pt x="57150" y="533400"/>
                </a:lnTo>
                <a:lnTo>
                  <a:pt x="57150" y="584200"/>
                </a:lnTo>
                <a:lnTo>
                  <a:pt x="69850" y="584200"/>
                </a:lnTo>
                <a:lnTo>
                  <a:pt x="69850" y="533400"/>
                </a:lnTo>
                <a:close/>
              </a:path>
              <a:path w="127000" h="4493260">
                <a:moveTo>
                  <a:pt x="69850" y="622300"/>
                </a:moveTo>
                <a:lnTo>
                  <a:pt x="57150" y="622300"/>
                </a:lnTo>
                <a:lnTo>
                  <a:pt x="57150" y="673100"/>
                </a:lnTo>
                <a:lnTo>
                  <a:pt x="69850" y="673100"/>
                </a:lnTo>
                <a:lnTo>
                  <a:pt x="69850" y="622300"/>
                </a:lnTo>
                <a:close/>
              </a:path>
              <a:path w="127000" h="4493260">
                <a:moveTo>
                  <a:pt x="69850" y="711200"/>
                </a:moveTo>
                <a:lnTo>
                  <a:pt x="57150" y="711200"/>
                </a:lnTo>
                <a:lnTo>
                  <a:pt x="57150" y="762000"/>
                </a:lnTo>
                <a:lnTo>
                  <a:pt x="69850" y="762000"/>
                </a:lnTo>
                <a:lnTo>
                  <a:pt x="69850" y="711200"/>
                </a:lnTo>
                <a:close/>
              </a:path>
              <a:path w="127000" h="4493260">
                <a:moveTo>
                  <a:pt x="69850" y="800100"/>
                </a:moveTo>
                <a:lnTo>
                  <a:pt x="57150" y="800100"/>
                </a:lnTo>
                <a:lnTo>
                  <a:pt x="57150" y="850900"/>
                </a:lnTo>
                <a:lnTo>
                  <a:pt x="69850" y="850900"/>
                </a:lnTo>
                <a:lnTo>
                  <a:pt x="69850" y="800100"/>
                </a:lnTo>
                <a:close/>
              </a:path>
              <a:path w="127000" h="4493260">
                <a:moveTo>
                  <a:pt x="69850" y="889000"/>
                </a:moveTo>
                <a:lnTo>
                  <a:pt x="57150" y="889000"/>
                </a:lnTo>
                <a:lnTo>
                  <a:pt x="57150" y="939800"/>
                </a:lnTo>
                <a:lnTo>
                  <a:pt x="69850" y="939800"/>
                </a:lnTo>
                <a:lnTo>
                  <a:pt x="69850" y="889000"/>
                </a:lnTo>
                <a:close/>
              </a:path>
              <a:path w="127000" h="4493260">
                <a:moveTo>
                  <a:pt x="69850" y="977900"/>
                </a:moveTo>
                <a:lnTo>
                  <a:pt x="57150" y="977900"/>
                </a:lnTo>
                <a:lnTo>
                  <a:pt x="57150" y="1028700"/>
                </a:lnTo>
                <a:lnTo>
                  <a:pt x="69850" y="1028700"/>
                </a:lnTo>
                <a:lnTo>
                  <a:pt x="69850" y="977900"/>
                </a:lnTo>
                <a:close/>
              </a:path>
              <a:path w="127000" h="4493260">
                <a:moveTo>
                  <a:pt x="69850" y="1066800"/>
                </a:moveTo>
                <a:lnTo>
                  <a:pt x="57150" y="1066800"/>
                </a:lnTo>
                <a:lnTo>
                  <a:pt x="57150" y="1117600"/>
                </a:lnTo>
                <a:lnTo>
                  <a:pt x="69850" y="1117600"/>
                </a:lnTo>
                <a:lnTo>
                  <a:pt x="69850" y="1066800"/>
                </a:lnTo>
                <a:close/>
              </a:path>
              <a:path w="127000" h="4493260">
                <a:moveTo>
                  <a:pt x="69850" y="1155700"/>
                </a:moveTo>
                <a:lnTo>
                  <a:pt x="57150" y="1155700"/>
                </a:lnTo>
                <a:lnTo>
                  <a:pt x="57150" y="1206500"/>
                </a:lnTo>
                <a:lnTo>
                  <a:pt x="69850" y="1206500"/>
                </a:lnTo>
                <a:lnTo>
                  <a:pt x="69850" y="1155700"/>
                </a:lnTo>
                <a:close/>
              </a:path>
              <a:path w="127000" h="4493260">
                <a:moveTo>
                  <a:pt x="69850" y="1244600"/>
                </a:moveTo>
                <a:lnTo>
                  <a:pt x="57150" y="1244600"/>
                </a:lnTo>
                <a:lnTo>
                  <a:pt x="57150" y="1295400"/>
                </a:lnTo>
                <a:lnTo>
                  <a:pt x="69850" y="1295400"/>
                </a:lnTo>
                <a:lnTo>
                  <a:pt x="69850" y="1244600"/>
                </a:lnTo>
                <a:close/>
              </a:path>
              <a:path w="127000" h="4493260">
                <a:moveTo>
                  <a:pt x="69850" y="1333500"/>
                </a:moveTo>
                <a:lnTo>
                  <a:pt x="57150" y="1333500"/>
                </a:lnTo>
                <a:lnTo>
                  <a:pt x="57150" y="1384300"/>
                </a:lnTo>
                <a:lnTo>
                  <a:pt x="69850" y="1384300"/>
                </a:lnTo>
                <a:lnTo>
                  <a:pt x="69850" y="1333500"/>
                </a:lnTo>
                <a:close/>
              </a:path>
              <a:path w="127000" h="4493260">
                <a:moveTo>
                  <a:pt x="69850" y="1422400"/>
                </a:moveTo>
                <a:lnTo>
                  <a:pt x="57150" y="1422400"/>
                </a:lnTo>
                <a:lnTo>
                  <a:pt x="57150" y="1473200"/>
                </a:lnTo>
                <a:lnTo>
                  <a:pt x="69850" y="1473200"/>
                </a:lnTo>
                <a:lnTo>
                  <a:pt x="69850" y="1422400"/>
                </a:lnTo>
                <a:close/>
              </a:path>
              <a:path w="127000" h="4493260">
                <a:moveTo>
                  <a:pt x="69850" y="1511300"/>
                </a:moveTo>
                <a:lnTo>
                  <a:pt x="57150" y="1511300"/>
                </a:lnTo>
                <a:lnTo>
                  <a:pt x="57150" y="1562100"/>
                </a:lnTo>
                <a:lnTo>
                  <a:pt x="69850" y="1562100"/>
                </a:lnTo>
                <a:lnTo>
                  <a:pt x="69850" y="1511300"/>
                </a:lnTo>
                <a:close/>
              </a:path>
              <a:path w="127000" h="4493260">
                <a:moveTo>
                  <a:pt x="69850" y="1600200"/>
                </a:moveTo>
                <a:lnTo>
                  <a:pt x="57150" y="1600200"/>
                </a:lnTo>
                <a:lnTo>
                  <a:pt x="57150" y="1651000"/>
                </a:lnTo>
                <a:lnTo>
                  <a:pt x="69850" y="1651000"/>
                </a:lnTo>
                <a:lnTo>
                  <a:pt x="69850" y="1600200"/>
                </a:lnTo>
                <a:close/>
              </a:path>
              <a:path w="127000" h="4493260">
                <a:moveTo>
                  <a:pt x="69850" y="1689100"/>
                </a:moveTo>
                <a:lnTo>
                  <a:pt x="57150" y="1689100"/>
                </a:lnTo>
                <a:lnTo>
                  <a:pt x="57150" y="1739900"/>
                </a:lnTo>
                <a:lnTo>
                  <a:pt x="69850" y="1739900"/>
                </a:lnTo>
                <a:lnTo>
                  <a:pt x="69850" y="1689100"/>
                </a:lnTo>
                <a:close/>
              </a:path>
              <a:path w="127000" h="4493260">
                <a:moveTo>
                  <a:pt x="69850" y="1778000"/>
                </a:moveTo>
                <a:lnTo>
                  <a:pt x="57150" y="1778000"/>
                </a:lnTo>
                <a:lnTo>
                  <a:pt x="57150" y="1828800"/>
                </a:lnTo>
                <a:lnTo>
                  <a:pt x="69850" y="1828800"/>
                </a:lnTo>
                <a:lnTo>
                  <a:pt x="69850" y="1778000"/>
                </a:lnTo>
                <a:close/>
              </a:path>
              <a:path w="127000" h="4493260">
                <a:moveTo>
                  <a:pt x="69850" y="1866900"/>
                </a:moveTo>
                <a:lnTo>
                  <a:pt x="57150" y="1866900"/>
                </a:lnTo>
                <a:lnTo>
                  <a:pt x="57150" y="1917700"/>
                </a:lnTo>
                <a:lnTo>
                  <a:pt x="69850" y="1917700"/>
                </a:lnTo>
                <a:lnTo>
                  <a:pt x="69850" y="1866900"/>
                </a:lnTo>
                <a:close/>
              </a:path>
              <a:path w="127000" h="4493260">
                <a:moveTo>
                  <a:pt x="69850" y="1955800"/>
                </a:moveTo>
                <a:lnTo>
                  <a:pt x="57150" y="1955800"/>
                </a:lnTo>
                <a:lnTo>
                  <a:pt x="57150" y="2006600"/>
                </a:lnTo>
                <a:lnTo>
                  <a:pt x="69850" y="2006600"/>
                </a:lnTo>
                <a:lnTo>
                  <a:pt x="69850" y="1955800"/>
                </a:lnTo>
                <a:close/>
              </a:path>
              <a:path w="127000" h="4493260">
                <a:moveTo>
                  <a:pt x="69850" y="2044700"/>
                </a:moveTo>
                <a:lnTo>
                  <a:pt x="57150" y="2044700"/>
                </a:lnTo>
                <a:lnTo>
                  <a:pt x="57150" y="2095500"/>
                </a:lnTo>
                <a:lnTo>
                  <a:pt x="69850" y="2095500"/>
                </a:lnTo>
                <a:lnTo>
                  <a:pt x="69850" y="2044700"/>
                </a:lnTo>
                <a:close/>
              </a:path>
              <a:path w="127000" h="4493260">
                <a:moveTo>
                  <a:pt x="69850" y="2133600"/>
                </a:moveTo>
                <a:lnTo>
                  <a:pt x="57150" y="2133600"/>
                </a:lnTo>
                <a:lnTo>
                  <a:pt x="57150" y="2184400"/>
                </a:lnTo>
                <a:lnTo>
                  <a:pt x="69850" y="2184400"/>
                </a:lnTo>
                <a:lnTo>
                  <a:pt x="69850" y="2133600"/>
                </a:lnTo>
                <a:close/>
              </a:path>
              <a:path w="127000" h="4493260">
                <a:moveTo>
                  <a:pt x="69850" y="2222500"/>
                </a:moveTo>
                <a:lnTo>
                  <a:pt x="57150" y="2222500"/>
                </a:lnTo>
                <a:lnTo>
                  <a:pt x="57150" y="2273300"/>
                </a:lnTo>
                <a:lnTo>
                  <a:pt x="69850" y="2273300"/>
                </a:lnTo>
                <a:lnTo>
                  <a:pt x="69850" y="2222500"/>
                </a:lnTo>
                <a:close/>
              </a:path>
              <a:path w="127000" h="4493260">
                <a:moveTo>
                  <a:pt x="69850" y="2311400"/>
                </a:moveTo>
                <a:lnTo>
                  <a:pt x="57150" y="2311400"/>
                </a:lnTo>
                <a:lnTo>
                  <a:pt x="57150" y="2362200"/>
                </a:lnTo>
                <a:lnTo>
                  <a:pt x="69850" y="2362200"/>
                </a:lnTo>
                <a:lnTo>
                  <a:pt x="69850" y="2311400"/>
                </a:lnTo>
                <a:close/>
              </a:path>
              <a:path w="127000" h="4493260">
                <a:moveTo>
                  <a:pt x="69850" y="2400300"/>
                </a:moveTo>
                <a:lnTo>
                  <a:pt x="57150" y="2400300"/>
                </a:lnTo>
                <a:lnTo>
                  <a:pt x="57150" y="2451100"/>
                </a:lnTo>
                <a:lnTo>
                  <a:pt x="69850" y="2451100"/>
                </a:lnTo>
                <a:lnTo>
                  <a:pt x="69850" y="2400300"/>
                </a:lnTo>
                <a:close/>
              </a:path>
              <a:path w="127000" h="4493260">
                <a:moveTo>
                  <a:pt x="69850" y="2489200"/>
                </a:moveTo>
                <a:lnTo>
                  <a:pt x="57150" y="2489200"/>
                </a:lnTo>
                <a:lnTo>
                  <a:pt x="57150" y="2540000"/>
                </a:lnTo>
                <a:lnTo>
                  <a:pt x="69850" y="2540000"/>
                </a:lnTo>
                <a:lnTo>
                  <a:pt x="69850" y="2489200"/>
                </a:lnTo>
                <a:close/>
              </a:path>
              <a:path w="127000" h="4493260">
                <a:moveTo>
                  <a:pt x="69850" y="2578100"/>
                </a:moveTo>
                <a:lnTo>
                  <a:pt x="57150" y="2578100"/>
                </a:lnTo>
                <a:lnTo>
                  <a:pt x="57150" y="2628900"/>
                </a:lnTo>
                <a:lnTo>
                  <a:pt x="69850" y="2628900"/>
                </a:lnTo>
                <a:lnTo>
                  <a:pt x="69850" y="2578100"/>
                </a:lnTo>
                <a:close/>
              </a:path>
              <a:path w="127000" h="4493260">
                <a:moveTo>
                  <a:pt x="69850" y="2667000"/>
                </a:moveTo>
                <a:lnTo>
                  <a:pt x="57150" y="2667000"/>
                </a:lnTo>
                <a:lnTo>
                  <a:pt x="57150" y="2717800"/>
                </a:lnTo>
                <a:lnTo>
                  <a:pt x="69850" y="2717800"/>
                </a:lnTo>
                <a:lnTo>
                  <a:pt x="69850" y="2667000"/>
                </a:lnTo>
                <a:close/>
              </a:path>
              <a:path w="127000" h="4493260">
                <a:moveTo>
                  <a:pt x="69850" y="2755900"/>
                </a:moveTo>
                <a:lnTo>
                  <a:pt x="57150" y="2755900"/>
                </a:lnTo>
                <a:lnTo>
                  <a:pt x="57150" y="2806700"/>
                </a:lnTo>
                <a:lnTo>
                  <a:pt x="69850" y="2806700"/>
                </a:lnTo>
                <a:lnTo>
                  <a:pt x="69850" y="2755900"/>
                </a:lnTo>
                <a:close/>
              </a:path>
              <a:path w="127000" h="4493260">
                <a:moveTo>
                  <a:pt x="69850" y="2844800"/>
                </a:moveTo>
                <a:lnTo>
                  <a:pt x="57150" y="2844800"/>
                </a:lnTo>
                <a:lnTo>
                  <a:pt x="57150" y="2895600"/>
                </a:lnTo>
                <a:lnTo>
                  <a:pt x="69850" y="2895600"/>
                </a:lnTo>
                <a:lnTo>
                  <a:pt x="69850" y="2844800"/>
                </a:lnTo>
                <a:close/>
              </a:path>
              <a:path w="127000" h="4493260">
                <a:moveTo>
                  <a:pt x="69850" y="2933700"/>
                </a:moveTo>
                <a:lnTo>
                  <a:pt x="57150" y="2933700"/>
                </a:lnTo>
                <a:lnTo>
                  <a:pt x="57150" y="2984500"/>
                </a:lnTo>
                <a:lnTo>
                  <a:pt x="69850" y="2984500"/>
                </a:lnTo>
                <a:lnTo>
                  <a:pt x="69850" y="2933700"/>
                </a:lnTo>
                <a:close/>
              </a:path>
              <a:path w="127000" h="4493260">
                <a:moveTo>
                  <a:pt x="69850" y="3022600"/>
                </a:moveTo>
                <a:lnTo>
                  <a:pt x="57150" y="3022600"/>
                </a:lnTo>
                <a:lnTo>
                  <a:pt x="57150" y="3073400"/>
                </a:lnTo>
                <a:lnTo>
                  <a:pt x="69850" y="3073400"/>
                </a:lnTo>
                <a:lnTo>
                  <a:pt x="69850" y="3022600"/>
                </a:lnTo>
                <a:close/>
              </a:path>
              <a:path w="127000" h="4493260">
                <a:moveTo>
                  <a:pt x="69850" y="3111500"/>
                </a:moveTo>
                <a:lnTo>
                  <a:pt x="57150" y="3111500"/>
                </a:lnTo>
                <a:lnTo>
                  <a:pt x="57150" y="3162300"/>
                </a:lnTo>
                <a:lnTo>
                  <a:pt x="69850" y="3162300"/>
                </a:lnTo>
                <a:lnTo>
                  <a:pt x="69850" y="3111500"/>
                </a:lnTo>
                <a:close/>
              </a:path>
              <a:path w="127000" h="4493260">
                <a:moveTo>
                  <a:pt x="69850" y="3200400"/>
                </a:moveTo>
                <a:lnTo>
                  <a:pt x="57150" y="3200400"/>
                </a:lnTo>
                <a:lnTo>
                  <a:pt x="57150" y="3251200"/>
                </a:lnTo>
                <a:lnTo>
                  <a:pt x="69850" y="3251200"/>
                </a:lnTo>
                <a:lnTo>
                  <a:pt x="69850" y="3200400"/>
                </a:lnTo>
                <a:close/>
              </a:path>
              <a:path w="127000" h="4493260">
                <a:moveTo>
                  <a:pt x="69850" y="3289300"/>
                </a:moveTo>
                <a:lnTo>
                  <a:pt x="57150" y="3289300"/>
                </a:lnTo>
                <a:lnTo>
                  <a:pt x="57150" y="3340100"/>
                </a:lnTo>
                <a:lnTo>
                  <a:pt x="69850" y="3340100"/>
                </a:lnTo>
                <a:lnTo>
                  <a:pt x="69850" y="3289300"/>
                </a:lnTo>
                <a:close/>
              </a:path>
              <a:path w="127000" h="4493260">
                <a:moveTo>
                  <a:pt x="69850" y="3378200"/>
                </a:moveTo>
                <a:lnTo>
                  <a:pt x="57150" y="3378200"/>
                </a:lnTo>
                <a:lnTo>
                  <a:pt x="57150" y="3429000"/>
                </a:lnTo>
                <a:lnTo>
                  <a:pt x="69850" y="3429000"/>
                </a:lnTo>
                <a:lnTo>
                  <a:pt x="69850" y="3378200"/>
                </a:lnTo>
                <a:close/>
              </a:path>
              <a:path w="127000" h="4493260">
                <a:moveTo>
                  <a:pt x="69850" y="3467100"/>
                </a:moveTo>
                <a:lnTo>
                  <a:pt x="57150" y="3467100"/>
                </a:lnTo>
                <a:lnTo>
                  <a:pt x="57150" y="3517900"/>
                </a:lnTo>
                <a:lnTo>
                  <a:pt x="69850" y="3517900"/>
                </a:lnTo>
                <a:lnTo>
                  <a:pt x="69850" y="3467100"/>
                </a:lnTo>
                <a:close/>
              </a:path>
              <a:path w="127000" h="4493260">
                <a:moveTo>
                  <a:pt x="69850" y="3556000"/>
                </a:moveTo>
                <a:lnTo>
                  <a:pt x="57150" y="3556000"/>
                </a:lnTo>
                <a:lnTo>
                  <a:pt x="57150" y="3606800"/>
                </a:lnTo>
                <a:lnTo>
                  <a:pt x="69850" y="3606800"/>
                </a:lnTo>
                <a:lnTo>
                  <a:pt x="69850" y="3556000"/>
                </a:lnTo>
                <a:close/>
              </a:path>
              <a:path w="127000" h="4493260">
                <a:moveTo>
                  <a:pt x="69850" y="3644900"/>
                </a:moveTo>
                <a:lnTo>
                  <a:pt x="57150" y="3644900"/>
                </a:lnTo>
                <a:lnTo>
                  <a:pt x="57150" y="3695700"/>
                </a:lnTo>
                <a:lnTo>
                  <a:pt x="69850" y="3695700"/>
                </a:lnTo>
                <a:lnTo>
                  <a:pt x="69850" y="3644900"/>
                </a:lnTo>
                <a:close/>
              </a:path>
              <a:path w="127000" h="4493260">
                <a:moveTo>
                  <a:pt x="69850" y="3733800"/>
                </a:moveTo>
                <a:lnTo>
                  <a:pt x="57150" y="3733800"/>
                </a:lnTo>
                <a:lnTo>
                  <a:pt x="57150" y="3784600"/>
                </a:lnTo>
                <a:lnTo>
                  <a:pt x="69850" y="3784600"/>
                </a:lnTo>
                <a:lnTo>
                  <a:pt x="69850" y="3733800"/>
                </a:lnTo>
                <a:close/>
              </a:path>
              <a:path w="127000" h="4493260">
                <a:moveTo>
                  <a:pt x="69850" y="3822700"/>
                </a:moveTo>
                <a:lnTo>
                  <a:pt x="57150" y="3822700"/>
                </a:lnTo>
                <a:lnTo>
                  <a:pt x="57150" y="3873500"/>
                </a:lnTo>
                <a:lnTo>
                  <a:pt x="69850" y="3873500"/>
                </a:lnTo>
                <a:lnTo>
                  <a:pt x="69850" y="3822700"/>
                </a:lnTo>
                <a:close/>
              </a:path>
              <a:path w="127000" h="4493260">
                <a:moveTo>
                  <a:pt x="69850" y="3911600"/>
                </a:moveTo>
                <a:lnTo>
                  <a:pt x="57150" y="3911600"/>
                </a:lnTo>
                <a:lnTo>
                  <a:pt x="57150" y="3962400"/>
                </a:lnTo>
                <a:lnTo>
                  <a:pt x="69850" y="3962400"/>
                </a:lnTo>
                <a:lnTo>
                  <a:pt x="69850" y="3911600"/>
                </a:lnTo>
                <a:close/>
              </a:path>
              <a:path w="127000" h="4493260">
                <a:moveTo>
                  <a:pt x="69850" y="4000500"/>
                </a:moveTo>
                <a:lnTo>
                  <a:pt x="57150" y="4000500"/>
                </a:lnTo>
                <a:lnTo>
                  <a:pt x="57150" y="4051300"/>
                </a:lnTo>
                <a:lnTo>
                  <a:pt x="69850" y="4051300"/>
                </a:lnTo>
                <a:lnTo>
                  <a:pt x="69850" y="4000500"/>
                </a:lnTo>
                <a:close/>
              </a:path>
              <a:path w="127000" h="4493260">
                <a:moveTo>
                  <a:pt x="69850" y="4089400"/>
                </a:moveTo>
                <a:lnTo>
                  <a:pt x="57150" y="4089400"/>
                </a:lnTo>
                <a:lnTo>
                  <a:pt x="57150" y="4140200"/>
                </a:lnTo>
                <a:lnTo>
                  <a:pt x="69850" y="4140200"/>
                </a:lnTo>
                <a:lnTo>
                  <a:pt x="69850" y="4089400"/>
                </a:lnTo>
                <a:close/>
              </a:path>
              <a:path w="127000" h="4493260">
                <a:moveTo>
                  <a:pt x="69850" y="4178300"/>
                </a:moveTo>
                <a:lnTo>
                  <a:pt x="57150" y="4178300"/>
                </a:lnTo>
                <a:lnTo>
                  <a:pt x="57150" y="4229100"/>
                </a:lnTo>
                <a:lnTo>
                  <a:pt x="69850" y="4229100"/>
                </a:lnTo>
                <a:lnTo>
                  <a:pt x="69850" y="4178300"/>
                </a:lnTo>
                <a:close/>
              </a:path>
              <a:path w="127000" h="4493260">
                <a:moveTo>
                  <a:pt x="69850" y="4267200"/>
                </a:moveTo>
                <a:lnTo>
                  <a:pt x="57150" y="4267200"/>
                </a:lnTo>
                <a:lnTo>
                  <a:pt x="57150" y="4318000"/>
                </a:lnTo>
                <a:lnTo>
                  <a:pt x="69850" y="4318000"/>
                </a:lnTo>
                <a:lnTo>
                  <a:pt x="69850" y="4267200"/>
                </a:lnTo>
                <a:close/>
              </a:path>
              <a:path w="127000" h="4493260">
                <a:moveTo>
                  <a:pt x="57150" y="4365879"/>
                </a:moveTo>
                <a:lnTo>
                  <a:pt x="0" y="4365879"/>
                </a:lnTo>
                <a:lnTo>
                  <a:pt x="63500" y="4492828"/>
                </a:lnTo>
                <a:lnTo>
                  <a:pt x="120647" y="4378579"/>
                </a:lnTo>
                <a:lnTo>
                  <a:pt x="57150" y="4378579"/>
                </a:lnTo>
                <a:lnTo>
                  <a:pt x="57150" y="4365879"/>
                </a:lnTo>
                <a:close/>
              </a:path>
              <a:path w="127000" h="4493260">
                <a:moveTo>
                  <a:pt x="69850" y="4356100"/>
                </a:moveTo>
                <a:lnTo>
                  <a:pt x="57150" y="4356100"/>
                </a:lnTo>
                <a:lnTo>
                  <a:pt x="57150" y="4378579"/>
                </a:lnTo>
                <a:lnTo>
                  <a:pt x="69850" y="4378579"/>
                </a:lnTo>
                <a:lnTo>
                  <a:pt x="69850" y="4356100"/>
                </a:lnTo>
                <a:close/>
              </a:path>
              <a:path w="127000" h="4493260">
                <a:moveTo>
                  <a:pt x="127000" y="4365879"/>
                </a:moveTo>
                <a:lnTo>
                  <a:pt x="69850" y="4365879"/>
                </a:lnTo>
                <a:lnTo>
                  <a:pt x="69850" y="4378579"/>
                </a:lnTo>
                <a:lnTo>
                  <a:pt x="120647" y="4378579"/>
                </a:lnTo>
                <a:lnTo>
                  <a:pt x="127000" y="4365879"/>
                </a:lnTo>
                <a:close/>
              </a:path>
            </a:pathLst>
          </a:custGeom>
          <a:solidFill>
            <a:srgbClr val="7E7E7E"/>
          </a:solidFill>
        </p:spPr>
        <p:txBody>
          <a:bodyPr wrap="square" lIns="0" tIns="0" rIns="0" bIns="0" rtlCol="0"/>
          <a:lstStyle/>
          <a:p>
            <a:endParaRPr/>
          </a:p>
        </p:txBody>
      </p:sp>
      <p:sp>
        <p:nvSpPr>
          <p:cNvPr id="9" name="object 9"/>
          <p:cNvSpPr txBox="1"/>
          <p:nvPr/>
        </p:nvSpPr>
        <p:spPr>
          <a:xfrm>
            <a:off x="295452" y="5710224"/>
            <a:ext cx="1065530" cy="482600"/>
          </a:xfrm>
          <a:prstGeom prst="rect">
            <a:avLst/>
          </a:prstGeom>
        </p:spPr>
        <p:txBody>
          <a:bodyPr vert="horz" wrap="square" lIns="0" tIns="12065" rIns="0" bIns="0" rtlCol="0">
            <a:spAutoFit/>
          </a:bodyPr>
          <a:lstStyle/>
          <a:p>
            <a:pPr marL="12065" marR="5080" indent="635" algn="ctr">
              <a:lnSpc>
                <a:spcPct val="100000"/>
              </a:lnSpc>
              <a:spcBef>
                <a:spcPts val="95"/>
              </a:spcBef>
            </a:pPr>
            <a:r>
              <a:rPr sz="1000" b="1" spc="-10">
                <a:solidFill>
                  <a:srgbClr val="12ABDB"/>
                </a:solidFill>
                <a:latin typeface="Verdana"/>
                <a:cs typeface="Verdana"/>
              </a:rPr>
              <a:t>Initial </a:t>
            </a:r>
            <a:r>
              <a:rPr sz="1000" b="1" spc="-5">
                <a:solidFill>
                  <a:srgbClr val="12ABDB"/>
                </a:solidFill>
                <a:latin typeface="Verdana"/>
                <a:cs typeface="Verdana"/>
              </a:rPr>
              <a:t>Product  </a:t>
            </a:r>
            <a:r>
              <a:rPr sz="1000" b="1" spc="-10">
                <a:solidFill>
                  <a:srgbClr val="12ABDB"/>
                </a:solidFill>
                <a:latin typeface="Verdana"/>
                <a:cs typeface="Verdana"/>
              </a:rPr>
              <a:t>Backlog </a:t>
            </a:r>
            <a:r>
              <a:rPr sz="1000" b="1" spc="-5">
                <a:solidFill>
                  <a:srgbClr val="12ABDB"/>
                </a:solidFill>
                <a:latin typeface="Verdana"/>
                <a:cs typeface="Verdana"/>
              </a:rPr>
              <a:t>as</a:t>
            </a:r>
            <a:r>
              <a:rPr sz="1000" b="1" spc="-45">
                <a:solidFill>
                  <a:srgbClr val="12ABDB"/>
                </a:solidFill>
                <a:latin typeface="Verdana"/>
                <a:cs typeface="Verdana"/>
              </a:rPr>
              <a:t> </a:t>
            </a:r>
            <a:r>
              <a:rPr sz="1000" b="1" spc="-10">
                <a:solidFill>
                  <a:srgbClr val="12ABDB"/>
                </a:solidFill>
                <a:latin typeface="Verdana"/>
                <a:cs typeface="Verdana"/>
              </a:rPr>
              <a:t>per  prioritised</a:t>
            </a:r>
            <a:endParaRPr sz="1000">
              <a:latin typeface="Verdana"/>
              <a:cs typeface="Verdana"/>
            </a:endParaRPr>
          </a:p>
        </p:txBody>
      </p:sp>
      <p:sp>
        <p:nvSpPr>
          <p:cNvPr id="10" name="object 10"/>
          <p:cNvSpPr txBox="1"/>
          <p:nvPr/>
        </p:nvSpPr>
        <p:spPr>
          <a:xfrm>
            <a:off x="3931411" y="5723331"/>
            <a:ext cx="1182370" cy="330200"/>
          </a:xfrm>
          <a:prstGeom prst="rect">
            <a:avLst/>
          </a:prstGeom>
        </p:spPr>
        <p:txBody>
          <a:bodyPr vert="horz" wrap="square" lIns="0" tIns="12065" rIns="0" bIns="0" rtlCol="0">
            <a:spAutoFit/>
          </a:bodyPr>
          <a:lstStyle/>
          <a:p>
            <a:pPr marL="635" algn="ctr">
              <a:lnSpc>
                <a:spcPct val="100000"/>
              </a:lnSpc>
              <a:spcBef>
                <a:spcPts val="95"/>
              </a:spcBef>
            </a:pPr>
            <a:r>
              <a:rPr sz="1000" b="1" spc="-5">
                <a:solidFill>
                  <a:srgbClr val="12ABDB"/>
                </a:solidFill>
                <a:latin typeface="Verdana"/>
                <a:cs typeface="Verdana"/>
              </a:rPr>
              <a:t>Prioritized</a:t>
            </a:r>
            <a:endParaRPr sz="1000">
              <a:latin typeface="Verdana"/>
              <a:cs typeface="Verdana"/>
            </a:endParaRPr>
          </a:p>
          <a:p>
            <a:pPr algn="ctr">
              <a:lnSpc>
                <a:spcPct val="100000"/>
              </a:lnSpc>
              <a:spcBef>
                <a:spcPts val="5"/>
              </a:spcBef>
            </a:pPr>
            <a:r>
              <a:rPr sz="1000" b="1" spc="-5">
                <a:solidFill>
                  <a:srgbClr val="12ABDB"/>
                </a:solidFill>
                <a:latin typeface="Verdana"/>
                <a:cs typeface="Verdana"/>
              </a:rPr>
              <a:t>Product</a:t>
            </a:r>
            <a:r>
              <a:rPr sz="1000" b="1" spc="-25">
                <a:solidFill>
                  <a:srgbClr val="12ABDB"/>
                </a:solidFill>
                <a:latin typeface="Verdana"/>
                <a:cs typeface="Verdana"/>
              </a:rPr>
              <a:t> </a:t>
            </a:r>
            <a:r>
              <a:rPr sz="1000" b="1" spc="-10">
                <a:solidFill>
                  <a:srgbClr val="12ABDB"/>
                </a:solidFill>
                <a:latin typeface="Verdana"/>
                <a:cs typeface="Verdana"/>
              </a:rPr>
              <a:t>Backlog</a:t>
            </a:r>
            <a:endParaRPr sz="1000">
              <a:latin typeface="Verdana"/>
              <a:cs typeface="Verdana"/>
            </a:endParaRPr>
          </a:p>
        </p:txBody>
      </p:sp>
      <p:sp>
        <p:nvSpPr>
          <p:cNvPr id="11" name="object 11"/>
          <p:cNvSpPr txBox="1"/>
          <p:nvPr/>
        </p:nvSpPr>
        <p:spPr>
          <a:xfrm>
            <a:off x="874775" y="2206751"/>
            <a:ext cx="996950" cy="375285"/>
          </a:xfrm>
          <a:prstGeom prst="rect">
            <a:avLst/>
          </a:prstGeom>
          <a:solidFill>
            <a:srgbClr val="7E7E7E"/>
          </a:solidFill>
        </p:spPr>
        <p:txBody>
          <a:bodyPr vert="horz" wrap="square" lIns="0" tIns="111125" rIns="0" bIns="0" rtlCol="0">
            <a:spAutoFit/>
          </a:bodyPr>
          <a:lstStyle/>
          <a:p>
            <a:pPr marL="215900">
              <a:lnSpc>
                <a:spcPct val="100000"/>
              </a:lnSpc>
              <a:spcBef>
                <a:spcPts val="875"/>
              </a:spcBef>
            </a:pPr>
            <a:r>
              <a:rPr sz="1000" b="1" spc="-10">
                <a:solidFill>
                  <a:srgbClr val="FFFFFF"/>
                </a:solidFill>
                <a:latin typeface="Verdana"/>
                <a:cs typeface="Verdana"/>
              </a:rPr>
              <a:t>Sprint </a:t>
            </a:r>
            <a:r>
              <a:rPr sz="1000" b="1" spc="-5">
                <a:solidFill>
                  <a:srgbClr val="FFFFFF"/>
                </a:solidFill>
                <a:latin typeface="Verdana"/>
                <a:cs typeface="Verdana"/>
              </a:rPr>
              <a:t>0</a:t>
            </a:r>
            <a:endParaRPr sz="1000">
              <a:latin typeface="Verdana"/>
              <a:cs typeface="Verdana"/>
            </a:endParaRPr>
          </a:p>
        </p:txBody>
      </p:sp>
      <p:sp>
        <p:nvSpPr>
          <p:cNvPr id="12" name="object 12"/>
          <p:cNvSpPr txBox="1"/>
          <p:nvPr/>
        </p:nvSpPr>
        <p:spPr>
          <a:xfrm>
            <a:off x="3464052" y="2200655"/>
            <a:ext cx="996950" cy="375285"/>
          </a:xfrm>
          <a:prstGeom prst="rect">
            <a:avLst/>
          </a:prstGeom>
          <a:solidFill>
            <a:srgbClr val="7E7E7E"/>
          </a:solidFill>
        </p:spPr>
        <p:txBody>
          <a:bodyPr vert="horz" wrap="square" lIns="0" tIns="110489" rIns="0" bIns="0" rtlCol="0">
            <a:spAutoFit/>
          </a:bodyPr>
          <a:lstStyle/>
          <a:p>
            <a:pPr marL="139700">
              <a:lnSpc>
                <a:spcPct val="100000"/>
              </a:lnSpc>
              <a:spcBef>
                <a:spcPts val="869"/>
              </a:spcBef>
            </a:pPr>
            <a:r>
              <a:rPr sz="1000" b="1" spc="-10">
                <a:solidFill>
                  <a:srgbClr val="FFFFFF"/>
                </a:solidFill>
                <a:latin typeface="Verdana"/>
                <a:cs typeface="Verdana"/>
              </a:rPr>
              <a:t>Sprint</a:t>
            </a:r>
            <a:r>
              <a:rPr sz="1000" b="1" spc="-15">
                <a:solidFill>
                  <a:srgbClr val="FFFFFF"/>
                </a:solidFill>
                <a:latin typeface="Verdana"/>
                <a:cs typeface="Verdana"/>
              </a:rPr>
              <a:t> </a:t>
            </a:r>
            <a:r>
              <a:rPr sz="1000" b="1" spc="-5">
                <a:solidFill>
                  <a:srgbClr val="FFFFFF"/>
                </a:solidFill>
                <a:latin typeface="Verdana"/>
                <a:cs typeface="Verdana"/>
              </a:rPr>
              <a:t>0.N</a:t>
            </a:r>
            <a:endParaRPr sz="1000">
              <a:latin typeface="Verdana"/>
              <a:cs typeface="Verdana"/>
            </a:endParaRPr>
          </a:p>
        </p:txBody>
      </p:sp>
      <p:sp>
        <p:nvSpPr>
          <p:cNvPr id="13" name="object 13"/>
          <p:cNvSpPr/>
          <p:nvPr/>
        </p:nvSpPr>
        <p:spPr>
          <a:xfrm>
            <a:off x="4503928" y="1667255"/>
            <a:ext cx="127000" cy="3895725"/>
          </a:xfrm>
          <a:custGeom>
            <a:avLst/>
            <a:gdLst/>
            <a:ahLst/>
            <a:cxnLst/>
            <a:rect l="l" t="t" r="r" b="b"/>
            <a:pathLst>
              <a:path w="127000" h="3895725">
                <a:moveTo>
                  <a:pt x="69850" y="0"/>
                </a:moveTo>
                <a:lnTo>
                  <a:pt x="57150" y="0"/>
                </a:lnTo>
                <a:lnTo>
                  <a:pt x="57150" y="50800"/>
                </a:lnTo>
                <a:lnTo>
                  <a:pt x="69850" y="50800"/>
                </a:lnTo>
                <a:lnTo>
                  <a:pt x="69850" y="0"/>
                </a:lnTo>
                <a:close/>
              </a:path>
              <a:path w="127000" h="3895725">
                <a:moveTo>
                  <a:pt x="69850" y="88900"/>
                </a:moveTo>
                <a:lnTo>
                  <a:pt x="57150" y="88900"/>
                </a:lnTo>
                <a:lnTo>
                  <a:pt x="57150" y="139700"/>
                </a:lnTo>
                <a:lnTo>
                  <a:pt x="69850" y="139700"/>
                </a:lnTo>
                <a:lnTo>
                  <a:pt x="69850" y="88900"/>
                </a:lnTo>
                <a:close/>
              </a:path>
              <a:path w="127000" h="3895725">
                <a:moveTo>
                  <a:pt x="69850" y="177800"/>
                </a:moveTo>
                <a:lnTo>
                  <a:pt x="57150" y="177800"/>
                </a:lnTo>
                <a:lnTo>
                  <a:pt x="57150" y="228600"/>
                </a:lnTo>
                <a:lnTo>
                  <a:pt x="69850" y="228600"/>
                </a:lnTo>
                <a:lnTo>
                  <a:pt x="69850" y="177800"/>
                </a:lnTo>
                <a:close/>
              </a:path>
              <a:path w="127000" h="3895725">
                <a:moveTo>
                  <a:pt x="69850" y="266700"/>
                </a:moveTo>
                <a:lnTo>
                  <a:pt x="57150" y="266700"/>
                </a:lnTo>
                <a:lnTo>
                  <a:pt x="57150" y="317500"/>
                </a:lnTo>
                <a:lnTo>
                  <a:pt x="69850" y="317500"/>
                </a:lnTo>
                <a:lnTo>
                  <a:pt x="69850" y="266700"/>
                </a:lnTo>
                <a:close/>
              </a:path>
              <a:path w="127000" h="3895725">
                <a:moveTo>
                  <a:pt x="69850" y="355600"/>
                </a:moveTo>
                <a:lnTo>
                  <a:pt x="57150" y="355600"/>
                </a:lnTo>
                <a:lnTo>
                  <a:pt x="57150" y="406400"/>
                </a:lnTo>
                <a:lnTo>
                  <a:pt x="69850" y="406400"/>
                </a:lnTo>
                <a:lnTo>
                  <a:pt x="69850" y="355600"/>
                </a:lnTo>
                <a:close/>
              </a:path>
              <a:path w="127000" h="3895725">
                <a:moveTo>
                  <a:pt x="69850" y="444500"/>
                </a:moveTo>
                <a:lnTo>
                  <a:pt x="57150" y="444500"/>
                </a:lnTo>
                <a:lnTo>
                  <a:pt x="57150" y="495300"/>
                </a:lnTo>
                <a:lnTo>
                  <a:pt x="69850" y="495300"/>
                </a:lnTo>
                <a:lnTo>
                  <a:pt x="69850" y="444500"/>
                </a:lnTo>
                <a:close/>
              </a:path>
              <a:path w="127000" h="3895725">
                <a:moveTo>
                  <a:pt x="69850" y="533400"/>
                </a:moveTo>
                <a:lnTo>
                  <a:pt x="57150" y="533400"/>
                </a:lnTo>
                <a:lnTo>
                  <a:pt x="57150" y="584200"/>
                </a:lnTo>
                <a:lnTo>
                  <a:pt x="69850" y="584200"/>
                </a:lnTo>
                <a:lnTo>
                  <a:pt x="69850" y="533400"/>
                </a:lnTo>
                <a:close/>
              </a:path>
              <a:path w="127000" h="3895725">
                <a:moveTo>
                  <a:pt x="69850" y="622300"/>
                </a:moveTo>
                <a:lnTo>
                  <a:pt x="57150" y="622300"/>
                </a:lnTo>
                <a:lnTo>
                  <a:pt x="57150" y="673100"/>
                </a:lnTo>
                <a:lnTo>
                  <a:pt x="69850" y="673100"/>
                </a:lnTo>
                <a:lnTo>
                  <a:pt x="69850" y="622300"/>
                </a:lnTo>
                <a:close/>
              </a:path>
              <a:path w="127000" h="3895725">
                <a:moveTo>
                  <a:pt x="69850" y="711200"/>
                </a:moveTo>
                <a:lnTo>
                  <a:pt x="57150" y="711200"/>
                </a:lnTo>
                <a:lnTo>
                  <a:pt x="57150" y="762000"/>
                </a:lnTo>
                <a:lnTo>
                  <a:pt x="69850" y="762000"/>
                </a:lnTo>
                <a:lnTo>
                  <a:pt x="69850" y="711200"/>
                </a:lnTo>
                <a:close/>
              </a:path>
              <a:path w="127000" h="3895725">
                <a:moveTo>
                  <a:pt x="69850" y="800100"/>
                </a:moveTo>
                <a:lnTo>
                  <a:pt x="57150" y="800100"/>
                </a:lnTo>
                <a:lnTo>
                  <a:pt x="57150" y="850900"/>
                </a:lnTo>
                <a:lnTo>
                  <a:pt x="69850" y="850900"/>
                </a:lnTo>
                <a:lnTo>
                  <a:pt x="69850" y="800100"/>
                </a:lnTo>
                <a:close/>
              </a:path>
              <a:path w="127000" h="3895725">
                <a:moveTo>
                  <a:pt x="69850" y="889000"/>
                </a:moveTo>
                <a:lnTo>
                  <a:pt x="57150" y="889000"/>
                </a:lnTo>
                <a:lnTo>
                  <a:pt x="57150" y="939800"/>
                </a:lnTo>
                <a:lnTo>
                  <a:pt x="69850" y="939800"/>
                </a:lnTo>
                <a:lnTo>
                  <a:pt x="69850" y="889000"/>
                </a:lnTo>
                <a:close/>
              </a:path>
              <a:path w="127000" h="3895725">
                <a:moveTo>
                  <a:pt x="69850" y="977900"/>
                </a:moveTo>
                <a:lnTo>
                  <a:pt x="57150" y="977900"/>
                </a:lnTo>
                <a:lnTo>
                  <a:pt x="57150" y="1028700"/>
                </a:lnTo>
                <a:lnTo>
                  <a:pt x="69850" y="1028700"/>
                </a:lnTo>
                <a:lnTo>
                  <a:pt x="69850" y="977900"/>
                </a:lnTo>
                <a:close/>
              </a:path>
              <a:path w="127000" h="3895725">
                <a:moveTo>
                  <a:pt x="69850" y="1066800"/>
                </a:moveTo>
                <a:lnTo>
                  <a:pt x="57150" y="1066800"/>
                </a:lnTo>
                <a:lnTo>
                  <a:pt x="57150" y="1117600"/>
                </a:lnTo>
                <a:lnTo>
                  <a:pt x="69850" y="1117600"/>
                </a:lnTo>
                <a:lnTo>
                  <a:pt x="69850" y="1066800"/>
                </a:lnTo>
                <a:close/>
              </a:path>
              <a:path w="127000" h="3895725">
                <a:moveTo>
                  <a:pt x="69850" y="1155700"/>
                </a:moveTo>
                <a:lnTo>
                  <a:pt x="57150" y="1155700"/>
                </a:lnTo>
                <a:lnTo>
                  <a:pt x="57150" y="1206500"/>
                </a:lnTo>
                <a:lnTo>
                  <a:pt x="69850" y="1206500"/>
                </a:lnTo>
                <a:lnTo>
                  <a:pt x="69850" y="1155700"/>
                </a:lnTo>
                <a:close/>
              </a:path>
              <a:path w="127000" h="3895725">
                <a:moveTo>
                  <a:pt x="69850" y="1244600"/>
                </a:moveTo>
                <a:lnTo>
                  <a:pt x="57150" y="1244600"/>
                </a:lnTo>
                <a:lnTo>
                  <a:pt x="57150" y="1295400"/>
                </a:lnTo>
                <a:lnTo>
                  <a:pt x="69850" y="1295400"/>
                </a:lnTo>
                <a:lnTo>
                  <a:pt x="69850" y="1244600"/>
                </a:lnTo>
                <a:close/>
              </a:path>
              <a:path w="127000" h="3895725">
                <a:moveTo>
                  <a:pt x="69850" y="1333500"/>
                </a:moveTo>
                <a:lnTo>
                  <a:pt x="57150" y="1333500"/>
                </a:lnTo>
                <a:lnTo>
                  <a:pt x="57150" y="1384300"/>
                </a:lnTo>
                <a:lnTo>
                  <a:pt x="69850" y="1384300"/>
                </a:lnTo>
                <a:lnTo>
                  <a:pt x="69850" y="1333500"/>
                </a:lnTo>
                <a:close/>
              </a:path>
              <a:path w="127000" h="3895725">
                <a:moveTo>
                  <a:pt x="69850" y="1422400"/>
                </a:moveTo>
                <a:lnTo>
                  <a:pt x="57150" y="1422400"/>
                </a:lnTo>
                <a:lnTo>
                  <a:pt x="57150" y="1473200"/>
                </a:lnTo>
                <a:lnTo>
                  <a:pt x="69850" y="1473200"/>
                </a:lnTo>
                <a:lnTo>
                  <a:pt x="69850" y="1422400"/>
                </a:lnTo>
                <a:close/>
              </a:path>
              <a:path w="127000" h="3895725">
                <a:moveTo>
                  <a:pt x="69850" y="1511300"/>
                </a:moveTo>
                <a:lnTo>
                  <a:pt x="57150" y="1511300"/>
                </a:lnTo>
                <a:lnTo>
                  <a:pt x="57150" y="1562100"/>
                </a:lnTo>
                <a:lnTo>
                  <a:pt x="69850" y="1562100"/>
                </a:lnTo>
                <a:lnTo>
                  <a:pt x="69850" y="1511300"/>
                </a:lnTo>
                <a:close/>
              </a:path>
              <a:path w="127000" h="3895725">
                <a:moveTo>
                  <a:pt x="69850" y="1600200"/>
                </a:moveTo>
                <a:lnTo>
                  <a:pt x="57150" y="1600200"/>
                </a:lnTo>
                <a:lnTo>
                  <a:pt x="57150" y="1651000"/>
                </a:lnTo>
                <a:lnTo>
                  <a:pt x="69850" y="1651000"/>
                </a:lnTo>
                <a:lnTo>
                  <a:pt x="69850" y="1600200"/>
                </a:lnTo>
                <a:close/>
              </a:path>
              <a:path w="127000" h="3895725">
                <a:moveTo>
                  <a:pt x="69850" y="1689100"/>
                </a:moveTo>
                <a:lnTo>
                  <a:pt x="57150" y="1689100"/>
                </a:lnTo>
                <a:lnTo>
                  <a:pt x="57150" y="1739900"/>
                </a:lnTo>
                <a:lnTo>
                  <a:pt x="69850" y="1739900"/>
                </a:lnTo>
                <a:lnTo>
                  <a:pt x="69850" y="1689100"/>
                </a:lnTo>
                <a:close/>
              </a:path>
              <a:path w="127000" h="3895725">
                <a:moveTo>
                  <a:pt x="69850" y="1778000"/>
                </a:moveTo>
                <a:lnTo>
                  <a:pt x="57150" y="1778000"/>
                </a:lnTo>
                <a:lnTo>
                  <a:pt x="57150" y="1828800"/>
                </a:lnTo>
                <a:lnTo>
                  <a:pt x="69850" y="1828800"/>
                </a:lnTo>
                <a:lnTo>
                  <a:pt x="69850" y="1778000"/>
                </a:lnTo>
                <a:close/>
              </a:path>
              <a:path w="127000" h="3895725">
                <a:moveTo>
                  <a:pt x="69850" y="1866900"/>
                </a:moveTo>
                <a:lnTo>
                  <a:pt x="57150" y="1866900"/>
                </a:lnTo>
                <a:lnTo>
                  <a:pt x="57150" y="1917700"/>
                </a:lnTo>
                <a:lnTo>
                  <a:pt x="69850" y="1917700"/>
                </a:lnTo>
                <a:lnTo>
                  <a:pt x="69850" y="1866900"/>
                </a:lnTo>
                <a:close/>
              </a:path>
              <a:path w="127000" h="3895725">
                <a:moveTo>
                  <a:pt x="69850" y="1955800"/>
                </a:moveTo>
                <a:lnTo>
                  <a:pt x="57150" y="1955800"/>
                </a:lnTo>
                <a:lnTo>
                  <a:pt x="57150" y="2006600"/>
                </a:lnTo>
                <a:lnTo>
                  <a:pt x="69850" y="2006600"/>
                </a:lnTo>
                <a:lnTo>
                  <a:pt x="69850" y="1955800"/>
                </a:lnTo>
                <a:close/>
              </a:path>
              <a:path w="127000" h="3895725">
                <a:moveTo>
                  <a:pt x="69850" y="2044700"/>
                </a:moveTo>
                <a:lnTo>
                  <a:pt x="57150" y="2044700"/>
                </a:lnTo>
                <a:lnTo>
                  <a:pt x="57150" y="2095500"/>
                </a:lnTo>
                <a:lnTo>
                  <a:pt x="69850" y="2095500"/>
                </a:lnTo>
                <a:lnTo>
                  <a:pt x="69850" y="2044700"/>
                </a:lnTo>
                <a:close/>
              </a:path>
              <a:path w="127000" h="3895725">
                <a:moveTo>
                  <a:pt x="69850" y="2133600"/>
                </a:moveTo>
                <a:lnTo>
                  <a:pt x="57150" y="2133600"/>
                </a:lnTo>
                <a:lnTo>
                  <a:pt x="57150" y="2184400"/>
                </a:lnTo>
                <a:lnTo>
                  <a:pt x="69850" y="2184400"/>
                </a:lnTo>
                <a:lnTo>
                  <a:pt x="69850" y="2133600"/>
                </a:lnTo>
                <a:close/>
              </a:path>
              <a:path w="127000" h="3895725">
                <a:moveTo>
                  <a:pt x="69850" y="2222500"/>
                </a:moveTo>
                <a:lnTo>
                  <a:pt x="57150" y="2222500"/>
                </a:lnTo>
                <a:lnTo>
                  <a:pt x="57150" y="2273300"/>
                </a:lnTo>
                <a:lnTo>
                  <a:pt x="69850" y="2273300"/>
                </a:lnTo>
                <a:lnTo>
                  <a:pt x="69850" y="2222500"/>
                </a:lnTo>
                <a:close/>
              </a:path>
              <a:path w="127000" h="3895725">
                <a:moveTo>
                  <a:pt x="69850" y="2311400"/>
                </a:moveTo>
                <a:lnTo>
                  <a:pt x="57150" y="2311400"/>
                </a:lnTo>
                <a:lnTo>
                  <a:pt x="57150" y="2362200"/>
                </a:lnTo>
                <a:lnTo>
                  <a:pt x="69850" y="2362200"/>
                </a:lnTo>
                <a:lnTo>
                  <a:pt x="69850" y="2311400"/>
                </a:lnTo>
                <a:close/>
              </a:path>
              <a:path w="127000" h="3895725">
                <a:moveTo>
                  <a:pt x="69850" y="2400300"/>
                </a:moveTo>
                <a:lnTo>
                  <a:pt x="57150" y="2400300"/>
                </a:lnTo>
                <a:lnTo>
                  <a:pt x="57150" y="2451100"/>
                </a:lnTo>
                <a:lnTo>
                  <a:pt x="69850" y="2451100"/>
                </a:lnTo>
                <a:lnTo>
                  <a:pt x="69850" y="2400300"/>
                </a:lnTo>
                <a:close/>
              </a:path>
              <a:path w="127000" h="3895725">
                <a:moveTo>
                  <a:pt x="69850" y="2489200"/>
                </a:moveTo>
                <a:lnTo>
                  <a:pt x="57150" y="2489200"/>
                </a:lnTo>
                <a:lnTo>
                  <a:pt x="57150" y="2540000"/>
                </a:lnTo>
                <a:lnTo>
                  <a:pt x="69850" y="2540000"/>
                </a:lnTo>
                <a:lnTo>
                  <a:pt x="69850" y="2489200"/>
                </a:lnTo>
                <a:close/>
              </a:path>
              <a:path w="127000" h="3895725">
                <a:moveTo>
                  <a:pt x="69850" y="2578100"/>
                </a:moveTo>
                <a:lnTo>
                  <a:pt x="57150" y="2578100"/>
                </a:lnTo>
                <a:lnTo>
                  <a:pt x="57150" y="2628900"/>
                </a:lnTo>
                <a:lnTo>
                  <a:pt x="69850" y="2628900"/>
                </a:lnTo>
                <a:lnTo>
                  <a:pt x="69850" y="2578100"/>
                </a:lnTo>
                <a:close/>
              </a:path>
              <a:path w="127000" h="3895725">
                <a:moveTo>
                  <a:pt x="69850" y="2667000"/>
                </a:moveTo>
                <a:lnTo>
                  <a:pt x="57150" y="2667000"/>
                </a:lnTo>
                <a:lnTo>
                  <a:pt x="57150" y="2717800"/>
                </a:lnTo>
                <a:lnTo>
                  <a:pt x="69850" y="2717800"/>
                </a:lnTo>
                <a:lnTo>
                  <a:pt x="69850" y="2667000"/>
                </a:lnTo>
                <a:close/>
              </a:path>
              <a:path w="127000" h="3895725">
                <a:moveTo>
                  <a:pt x="69850" y="2755900"/>
                </a:moveTo>
                <a:lnTo>
                  <a:pt x="57150" y="2755900"/>
                </a:lnTo>
                <a:lnTo>
                  <a:pt x="57150" y="2806700"/>
                </a:lnTo>
                <a:lnTo>
                  <a:pt x="69850" y="2806700"/>
                </a:lnTo>
                <a:lnTo>
                  <a:pt x="69850" y="2755900"/>
                </a:lnTo>
                <a:close/>
              </a:path>
              <a:path w="127000" h="3895725">
                <a:moveTo>
                  <a:pt x="69850" y="2844800"/>
                </a:moveTo>
                <a:lnTo>
                  <a:pt x="57150" y="2844800"/>
                </a:lnTo>
                <a:lnTo>
                  <a:pt x="57150" y="2895600"/>
                </a:lnTo>
                <a:lnTo>
                  <a:pt x="69850" y="2895600"/>
                </a:lnTo>
                <a:lnTo>
                  <a:pt x="69850" y="2844800"/>
                </a:lnTo>
                <a:close/>
              </a:path>
              <a:path w="127000" h="3895725">
                <a:moveTo>
                  <a:pt x="69850" y="2933700"/>
                </a:moveTo>
                <a:lnTo>
                  <a:pt x="57150" y="2933700"/>
                </a:lnTo>
                <a:lnTo>
                  <a:pt x="57150" y="2984500"/>
                </a:lnTo>
                <a:lnTo>
                  <a:pt x="69850" y="2984500"/>
                </a:lnTo>
                <a:lnTo>
                  <a:pt x="69850" y="2933700"/>
                </a:lnTo>
                <a:close/>
              </a:path>
              <a:path w="127000" h="3895725">
                <a:moveTo>
                  <a:pt x="69850" y="3022600"/>
                </a:moveTo>
                <a:lnTo>
                  <a:pt x="57150" y="3022600"/>
                </a:lnTo>
                <a:lnTo>
                  <a:pt x="57150" y="3073400"/>
                </a:lnTo>
                <a:lnTo>
                  <a:pt x="69850" y="3073400"/>
                </a:lnTo>
                <a:lnTo>
                  <a:pt x="69850" y="3022600"/>
                </a:lnTo>
                <a:close/>
              </a:path>
              <a:path w="127000" h="3895725">
                <a:moveTo>
                  <a:pt x="69850" y="3111500"/>
                </a:moveTo>
                <a:lnTo>
                  <a:pt x="57150" y="3111500"/>
                </a:lnTo>
                <a:lnTo>
                  <a:pt x="57150" y="3162300"/>
                </a:lnTo>
                <a:lnTo>
                  <a:pt x="69850" y="3162300"/>
                </a:lnTo>
                <a:lnTo>
                  <a:pt x="69850" y="3111500"/>
                </a:lnTo>
                <a:close/>
              </a:path>
              <a:path w="127000" h="3895725">
                <a:moveTo>
                  <a:pt x="69850" y="3200400"/>
                </a:moveTo>
                <a:lnTo>
                  <a:pt x="57150" y="3200400"/>
                </a:lnTo>
                <a:lnTo>
                  <a:pt x="57150" y="3251200"/>
                </a:lnTo>
                <a:lnTo>
                  <a:pt x="69850" y="3251200"/>
                </a:lnTo>
                <a:lnTo>
                  <a:pt x="69850" y="3200400"/>
                </a:lnTo>
                <a:close/>
              </a:path>
              <a:path w="127000" h="3895725">
                <a:moveTo>
                  <a:pt x="69850" y="3289300"/>
                </a:moveTo>
                <a:lnTo>
                  <a:pt x="57150" y="3289300"/>
                </a:lnTo>
                <a:lnTo>
                  <a:pt x="57150" y="3340100"/>
                </a:lnTo>
                <a:lnTo>
                  <a:pt x="69850" y="3340100"/>
                </a:lnTo>
                <a:lnTo>
                  <a:pt x="69850" y="3289300"/>
                </a:lnTo>
                <a:close/>
              </a:path>
              <a:path w="127000" h="3895725">
                <a:moveTo>
                  <a:pt x="69850" y="3378200"/>
                </a:moveTo>
                <a:lnTo>
                  <a:pt x="57150" y="3378200"/>
                </a:lnTo>
                <a:lnTo>
                  <a:pt x="57150" y="3429000"/>
                </a:lnTo>
                <a:lnTo>
                  <a:pt x="69850" y="3429000"/>
                </a:lnTo>
                <a:lnTo>
                  <a:pt x="69850" y="3378200"/>
                </a:lnTo>
                <a:close/>
              </a:path>
              <a:path w="127000" h="3895725">
                <a:moveTo>
                  <a:pt x="69850" y="3467100"/>
                </a:moveTo>
                <a:lnTo>
                  <a:pt x="57150" y="3467100"/>
                </a:lnTo>
                <a:lnTo>
                  <a:pt x="57150" y="3517900"/>
                </a:lnTo>
                <a:lnTo>
                  <a:pt x="69850" y="3517900"/>
                </a:lnTo>
                <a:lnTo>
                  <a:pt x="69850" y="3467100"/>
                </a:lnTo>
                <a:close/>
              </a:path>
              <a:path w="127000" h="3895725">
                <a:moveTo>
                  <a:pt x="69850" y="3556000"/>
                </a:moveTo>
                <a:lnTo>
                  <a:pt x="57150" y="3556000"/>
                </a:lnTo>
                <a:lnTo>
                  <a:pt x="57150" y="3606800"/>
                </a:lnTo>
                <a:lnTo>
                  <a:pt x="69850" y="3606800"/>
                </a:lnTo>
                <a:lnTo>
                  <a:pt x="69850" y="3556000"/>
                </a:lnTo>
                <a:close/>
              </a:path>
              <a:path w="127000" h="3895725">
                <a:moveTo>
                  <a:pt x="69850" y="3644900"/>
                </a:moveTo>
                <a:lnTo>
                  <a:pt x="57150" y="3644900"/>
                </a:lnTo>
                <a:lnTo>
                  <a:pt x="57150" y="3695700"/>
                </a:lnTo>
                <a:lnTo>
                  <a:pt x="69850" y="3695700"/>
                </a:lnTo>
                <a:lnTo>
                  <a:pt x="69850" y="3644900"/>
                </a:lnTo>
                <a:close/>
              </a:path>
              <a:path w="127000" h="3895725">
                <a:moveTo>
                  <a:pt x="57150" y="3768344"/>
                </a:moveTo>
                <a:lnTo>
                  <a:pt x="0" y="3768344"/>
                </a:lnTo>
                <a:lnTo>
                  <a:pt x="63500" y="3895344"/>
                </a:lnTo>
                <a:lnTo>
                  <a:pt x="120650" y="3781044"/>
                </a:lnTo>
                <a:lnTo>
                  <a:pt x="57150" y="3781044"/>
                </a:lnTo>
                <a:lnTo>
                  <a:pt x="57150" y="3768344"/>
                </a:lnTo>
                <a:close/>
              </a:path>
              <a:path w="127000" h="3895725">
                <a:moveTo>
                  <a:pt x="69850" y="3733800"/>
                </a:moveTo>
                <a:lnTo>
                  <a:pt x="57150" y="3733800"/>
                </a:lnTo>
                <a:lnTo>
                  <a:pt x="57150" y="3781044"/>
                </a:lnTo>
                <a:lnTo>
                  <a:pt x="69850" y="3781044"/>
                </a:lnTo>
                <a:lnTo>
                  <a:pt x="69850" y="3733800"/>
                </a:lnTo>
                <a:close/>
              </a:path>
              <a:path w="127000" h="3895725">
                <a:moveTo>
                  <a:pt x="127000" y="3768344"/>
                </a:moveTo>
                <a:lnTo>
                  <a:pt x="69850" y="3768344"/>
                </a:lnTo>
                <a:lnTo>
                  <a:pt x="69850" y="3781044"/>
                </a:lnTo>
                <a:lnTo>
                  <a:pt x="120650" y="3781044"/>
                </a:lnTo>
                <a:lnTo>
                  <a:pt x="127000" y="3768344"/>
                </a:lnTo>
                <a:close/>
              </a:path>
            </a:pathLst>
          </a:custGeom>
          <a:solidFill>
            <a:srgbClr val="7E7E7E"/>
          </a:solidFill>
        </p:spPr>
        <p:txBody>
          <a:bodyPr wrap="square" lIns="0" tIns="0" rIns="0" bIns="0" rtlCol="0"/>
          <a:lstStyle/>
          <a:p>
            <a:endParaRPr/>
          </a:p>
        </p:txBody>
      </p:sp>
      <p:sp>
        <p:nvSpPr>
          <p:cNvPr id="14" name="object 14"/>
          <p:cNvSpPr txBox="1"/>
          <p:nvPr/>
        </p:nvSpPr>
        <p:spPr>
          <a:xfrm>
            <a:off x="3477767" y="2855976"/>
            <a:ext cx="1005840" cy="320040"/>
          </a:xfrm>
          <a:prstGeom prst="rect">
            <a:avLst/>
          </a:prstGeom>
          <a:solidFill>
            <a:srgbClr val="FFFFFF"/>
          </a:solidFill>
        </p:spPr>
        <p:txBody>
          <a:bodyPr vert="horz" wrap="square" lIns="0" tIns="38100" rIns="0" bIns="0" rtlCol="0">
            <a:spAutoFit/>
          </a:bodyPr>
          <a:lstStyle/>
          <a:p>
            <a:pPr marL="252729" marR="106045" indent="-139065">
              <a:lnSpc>
                <a:spcPct val="100000"/>
              </a:lnSpc>
              <a:spcBef>
                <a:spcPts val="300"/>
              </a:spcBef>
            </a:pPr>
            <a:r>
              <a:rPr sz="800" spc="-5">
                <a:latin typeface="Verdana"/>
                <a:cs typeface="Verdana"/>
              </a:rPr>
              <a:t>Detail</a:t>
            </a:r>
            <a:r>
              <a:rPr sz="800" spc="-70">
                <a:latin typeface="Verdana"/>
                <a:cs typeface="Verdana"/>
              </a:rPr>
              <a:t> </a:t>
            </a:r>
            <a:r>
              <a:rPr sz="800">
                <a:latin typeface="Verdana"/>
                <a:cs typeface="Verdana"/>
              </a:rPr>
              <a:t>Business  Processes</a:t>
            </a:r>
          </a:p>
        </p:txBody>
      </p:sp>
      <p:sp>
        <p:nvSpPr>
          <p:cNvPr id="15" name="object 15"/>
          <p:cNvSpPr txBox="1"/>
          <p:nvPr/>
        </p:nvSpPr>
        <p:spPr>
          <a:xfrm>
            <a:off x="3477767" y="3218688"/>
            <a:ext cx="1005840" cy="320040"/>
          </a:xfrm>
          <a:prstGeom prst="rect">
            <a:avLst/>
          </a:prstGeom>
          <a:solidFill>
            <a:srgbClr val="FFFFFF"/>
          </a:solidFill>
        </p:spPr>
        <p:txBody>
          <a:bodyPr vert="horz" wrap="square" lIns="0" tIns="98425" rIns="0" bIns="0" rtlCol="0">
            <a:spAutoFit/>
          </a:bodyPr>
          <a:lstStyle/>
          <a:p>
            <a:pPr marL="112395">
              <a:lnSpc>
                <a:spcPct val="100000"/>
              </a:lnSpc>
              <a:spcBef>
                <a:spcPts val="775"/>
              </a:spcBef>
            </a:pPr>
            <a:r>
              <a:rPr sz="800">
                <a:latin typeface="Verdana"/>
                <a:cs typeface="Verdana"/>
              </a:rPr>
              <a:t>Design</a:t>
            </a:r>
            <a:r>
              <a:rPr sz="800" spc="-30">
                <a:latin typeface="Verdana"/>
                <a:cs typeface="Verdana"/>
              </a:rPr>
              <a:t> </a:t>
            </a:r>
            <a:r>
              <a:rPr sz="800">
                <a:latin typeface="Verdana"/>
                <a:cs typeface="Verdana"/>
              </a:rPr>
              <a:t>Reports</a:t>
            </a:r>
          </a:p>
        </p:txBody>
      </p:sp>
      <p:sp>
        <p:nvSpPr>
          <p:cNvPr id="16" name="object 16"/>
          <p:cNvSpPr/>
          <p:nvPr/>
        </p:nvSpPr>
        <p:spPr>
          <a:xfrm>
            <a:off x="746759" y="1740407"/>
            <a:ext cx="3857625" cy="381000"/>
          </a:xfrm>
          <a:custGeom>
            <a:avLst/>
            <a:gdLst/>
            <a:ahLst/>
            <a:cxnLst/>
            <a:rect l="l" t="t" r="r" b="b"/>
            <a:pathLst>
              <a:path w="3857625" h="381000">
                <a:moveTo>
                  <a:pt x="3857243" y="0"/>
                </a:moveTo>
                <a:lnTo>
                  <a:pt x="57099" y="0"/>
                </a:lnTo>
                <a:lnTo>
                  <a:pt x="0" y="381000"/>
                </a:lnTo>
                <a:lnTo>
                  <a:pt x="3800093" y="381000"/>
                </a:lnTo>
                <a:lnTo>
                  <a:pt x="3857243" y="0"/>
                </a:lnTo>
                <a:close/>
              </a:path>
            </a:pathLst>
          </a:custGeom>
          <a:solidFill>
            <a:srgbClr val="006FAC"/>
          </a:solidFill>
        </p:spPr>
        <p:txBody>
          <a:bodyPr wrap="square" lIns="0" tIns="0" rIns="0" bIns="0" rtlCol="0"/>
          <a:lstStyle/>
          <a:p>
            <a:endParaRPr/>
          </a:p>
        </p:txBody>
      </p:sp>
      <p:sp>
        <p:nvSpPr>
          <p:cNvPr id="17" name="object 17"/>
          <p:cNvSpPr txBox="1"/>
          <p:nvPr/>
        </p:nvSpPr>
        <p:spPr>
          <a:xfrm>
            <a:off x="1803019" y="1825497"/>
            <a:ext cx="174307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Analysis </a:t>
            </a:r>
            <a:r>
              <a:rPr sz="1200" b="1">
                <a:solidFill>
                  <a:srgbClr val="FFFFFF"/>
                </a:solidFill>
                <a:latin typeface="Verdana"/>
                <a:cs typeface="Verdana"/>
              </a:rPr>
              <a:t>and</a:t>
            </a:r>
            <a:r>
              <a:rPr sz="1200" b="1" spc="-60">
                <a:solidFill>
                  <a:srgbClr val="FFFFFF"/>
                </a:solidFill>
                <a:latin typeface="Verdana"/>
                <a:cs typeface="Verdana"/>
              </a:rPr>
              <a:t> </a:t>
            </a:r>
            <a:r>
              <a:rPr sz="1200" b="1" spc="-10">
                <a:solidFill>
                  <a:srgbClr val="FFFFFF"/>
                </a:solidFill>
                <a:latin typeface="Verdana"/>
                <a:cs typeface="Verdana"/>
              </a:rPr>
              <a:t>Design</a:t>
            </a:r>
            <a:endParaRPr sz="1200">
              <a:latin typeface="Verdana"/>
              <a:cs typeface="Verdana"/>
            </a:endParaRPr>
          </a:p>
        </p:txBody>
      </p:sp>
      <p:sp>
        <p:nvSpPr>
          <p:cNvPr id="18" name="object 18"/>
          <p:cNvSpPr/>
          <p:nvPr/>
        </p:nvSpPr>
        <p:spPr>
          <a:xfrm>
            <a:off x="591312" y="1136903"/>
            <a:ext cx="274320" cy="274320"/>
          </a:xfrm>
          <a:custGeom>
            <a:avLst/>
            <a:gdLst/>
            <a:ahLst/>
            <a:cxnLst/>
            <a:rect l="l" t="t" r="r" b="b"/>
            <a:pathLst>
              <a:path w="274319" h="274319">
                <a:moveTo>
                  <a:pt x="137159" y="0"/>
                </a:moveTo>
                <a:lnTo>
                  <a:pt x="93805" y="6998"/>
                </a:lnTo>
                <a:lnTo>
                  <a:pt x="56153" y="26481"/>
                </a:lnTo>
                <a:lnTo>
                  <a:pt x="26462" y="56180"/>
                </a:lnTo>
                <a:lnTo>
                  <a:pt x="6992" y="93829"/>
                </a:lnTo>
                <a:lnTo>
                  <a:pt x="0" y="137160"/>
                </a:lnTo>
                <a:lnTo>
                  <a:pt x="6992" y="180490"/>
                </a:lnTo>
                <a:lnTo>
                  <a:pt x="26462" y="218139"/>
                </a:lnTo>
                <a:lnTo>
                  <a:pt x="56153" y="247838"/>
                </a:lnTo>
                <a:lnTo>
                  <a:pt x="93805" y="267321"/>
                </a:lnTo>
                <a:lnTo>
                  <a:pt x="137159" y="274320"/>
                </a:lnTo>
                <a:lnTo>
                  <a:pt x="180514" y="267321"/>
                </a:lnTo>
                <a:lnTo>
                  <a:pt x="218166" y="247838"/>
                </a:lnTo>
                <a:lnTo>
                  <a:pt x="247857" y="218139"/>
                </a:lnTo>
                <a:lnTo>
                  <a:pt x="267327" y="180490"/>
                </a:lnTo>
                <a:lnTo>
                  <a:pt x="274319" y="137160"/>
                </a:lnTo>
                <a:lnTo>
                  <a:pt x="267327" y="93829"/>
                </a:lnTo>
                <a:lnTo>
                  <a:pt x="247857" y="56180"/>
                </a:lnTo>
                <a:lnTo>
                  <a:pt x="218166" y="26481"/>
                </a:lnTo>
                <a:lnTo>
                  <a:pt x="180514" y="6998"/>
                </a:lnTo>
                <a:lnTo>
                  <a:pt x="137159" y="0"/>
                </a:lnTo>
                <a:close/>
              </a:path>
            </a:pathLst>
          </a:custGeom>
          <a:solidFill>
            <a:srgbClr val="12ABDB"/>
          </a:solidFill>
        </p:spPr>
        <p:txBody>
          <a:bodyPr wrap="square" lIns="0" tIns="0" rIns="0" bIns="0" rtlCol="0"/>
          <a:lstStyle/>
          <a:p>
            <a:endParaRPr/>
          </a:p>
        </p:txBody>
      </p:sp>
      <p:sp>
        <p:nvSpPr>
          <p:cNvPr id="19" name="object 19"/>
          <p:cNvSpPr txBox="1"/>
          <p:nvPr/>
        </p:nvSpPr>
        <p:spPr>
          <a:xfrm>
            <a:off x="676148" y="1191005"/>
            <a:ext cx="10668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1</a:t>
            </a:r>
            <a:endParaRPr sz="900">
              <a:latin typeface="Verdana"/>
              <a:cs typeface="Verdana"/>
            </a:endParaRPr>
          </a:p>
        </p:txBody>
      </p:sp>
      <p:sp>
        <p:nvSpPr>
          <p:cNvPr id="20" name="object 20"/>
          <p:cNvSpPr/>
          <p:nvPr/>
        </p:nvSpPr>
        <p:spPr>
          <a:xfrm>
            <a:off x="5263896" y="1057655"/>
            <a:ext cx="114300" cy="5400040"/>
          </a:xfrm>
          <a:custGeom>
            <a:avLst/>
            <a:gdLst/>
            <a:ahLst/>
            <a:cxnLst/>
            <a:rect l="l" t="t" r="r" b="b"/>
            <a:pathLst>
              <a:path w="114300" h="5400040">
                <a:moveTo>
                  <a:pt x="38100" y="110465"/>
                </a:moveTo>
                <a:lnTo>
                  <a:pt x="38100" y="5399976"/>
                </a:lnTo>
                <a:lnTo>
                  <a:pt x="76200" y="5399976"/>
                </a:lnTo>
                <a:lnTo>
                  <a:pt x="76200" y="114300"/>
                </a:lnTo>
                <a:lnTo>
                  <a:pt x="57150" y="114300"/>
                </a:lnTo>
                <a:lnTo>
                  <a:pt x="38100" y="110465"/>
                </a:lnTo>
                <a:close/>
              </a:path>
              <a:path w="114300" h="5400040">
                <a:moveTo>
                  <a:pt x="76200" y="57150"/>
                </a:moveTo>
                <a:lnTo>
                  <a:pt x="38100" y="57150"/>
                </a:lnTo>
                <a:lnTo>
                  <a:pt x="38100" y="110465"/>
                </a:lnTo>
                <a:lnTo>
                  <a:pt x="57150" y="114300"/>
                </a:lnTo>
                <a:lnTo>
                  <a:pt x="76200" y="110465"/>
                </a:lnTo>
                <a:lnTo>
                  <a:pt x="76200" y="57150"/>
                </a:lnTo>
                <a:close/>
              </a:path>
              <a:path w="114300" h="5400040">
                <a:moveTo>
                  <a:pt x="76200" y="110465"/>
                </a:moveTo>
                <a:lnTo>
                  <a:pt x="57150" y="114300"/>
                </a:lnTo>
                <a:lnTo>
                  <a:pt x="76200" y="114300"/>
                </a:lnTo>
                <a:lnTo>
                  <a:pt x="76200" y="110465"/>
                </a:lnTo>
                <a:close/>
              </a:path>
              <a:path w="114300" h="5400040">
                <a:moveTo>
                  <a:pt x="57150" y="0"/>
                </a:moveTo>
                <a:lnTo>
                  <a:pt x="34879" y="4482"/>
                </a:lnTo>
                <a:lnTo>
                  <a:pt x="16716" y="16716"/>
                </a:lnTo>
                <a:lnTo>
                  <a:pt x="4482" y="34879"/>
                </a:lnTo>
                <a:lnTo>
                  <a:pt x="0" y="57150"/>
                </a:lnTo>
                <a:lnTo>
                  <a:pt x="4482" y="79420"/>
                </a:lnTo>
                <a:lnTo>
                  <a:pt x="16716" y="97583"/>
                </a:lnTo>
                <a:lnTo>
                  <a:pt x="34879" y="109817"/>
                </a:lnTo>
                <a:lnTo>
                  <a:pt x="38100" y="110465"/>
                </a:lnTo>
                <a:lnTo>
                  <a:pt x="38100" y="57150"/>
                </a:lnTo>
                <a:lnTo>
                  <a:pt x="114300" y="57150"/>
                </a:lnTo>
                <a:lnTo>
                  <a:pt x="109817" y="34879"/>
                </a:lnTo>
                <a:lnTo>
                  <a:pt x="97583" y="16716"/>
                </a:lnTo>
                <a:lnTo>
                  <a:pt x="79420" y="4482"/>
                </a:lnTo>
                <a:lnTo>
                  <a:pt x="57150" y="0"/>
                </a:lnTo>
                <a:close/>
              </a:path>
              <a:path w="114300" h="5400040">
                <a:moveTo>
                  <a:pt x="114300" y="57150"/>
                </a:moveTo>
                <a:lnTo>
                  <a:pt x="76200" y="57150"/>
                </a:lnTo>
                <a:lnTo>
                  <a:pt x="76200" y="110465"/>
                </a:lnTo>
                <a:lnTo>
                  <a:pt x="79420" y="109817"/>
                </a:lnTo>
                <a:lnTo>
                  <a:pt x="97583" y="97583"/>
                </a:lnTo>
                <a:lnTo>
                  <a:pt x="109817" y="79420"/>
                </a:lnTo>
                <a:lnTo>
                  <a:pt x="114300" y="57150"/>
                </a:lnTo>
                <a:close/>
              </a:path>
            </a:pathLst>
          </a:custGeom>
          <a:solidFill>
            <a:srgbClr val="909090"/>
          </a:solidFill>
        </p:spPr>
        <p:txBody>
          <a:bodyPr wrap="square" lIns="0" tIns="0" rIns="0" bIns="0" rtlCol="0"/>
          <a:lstStyle/>
          <a:p>
            <a:endParaRPr/>
          </a:p>
        </p:txBody>
      </p:sp>
      <p:sp>
        <p:nvSpPr>
          <p:cNvPr id="21" name="object 21"/>
          <p:cNvSpPr/>
          <p:nvPr/>
        </p:nvSpPr>
        <p:spPr>
          <a:xfrm>
            <a:off x="224586" y="4662804"/>
            <a:ext cx="286385" cy="357505"/>
          </a:xfrm>
          <a:custGeom>
            <a:avLst/>
            <a:gdLst/>
            <a:ahLst/>
            <a:cxnLst/>
            <a:rect l="l" t="t" r="r" b="b"/>
            <a:pathLst>
              <a:path w="286384" h="357504">
                <a:moveTo>
                  <a:pt x="130873" y="34798"/>
                </a:moveTo>
                <a:lnTo>
                  <a:pt x="19265" y="96520"/>
                </a:lnTo>
                <a:lnTo>
                  <a:pt x="118516" y="276225"/>
                </a:lnTo>
                <a:lnTo>
                  <a:pt x="62712" y="307086"/>
                </a:lnTo>
                <a:lnTo>
                  <a:pt x="235940" y="356997"/>
                </a:lnTo>
                <a:lnTo>
                  <a:pt x="277022" y="214630"/>
                </a:lnTo>
                <a:lnTo>
                  <a:pt x="230124" y="214630"/>
                </a:lnTo>
                <a:lnTo>
                  <a:pt x="130873" y="34798"/>
                </a:lnTo>
                <a:close/>
              </a:path>
              <a:path w="286384" h="357504">
                <a:moveTo>
                  <a:pt x="285927" y="183769"/>
                </a:moveTo>
                <a:lnTo>
                  <a:pt x="230124" y="214630"/>
                </a:lnTo>
                <a:lnTo>
                  <a:pt x="277022" y="214630"/>
                </a:lnTo>
                <a:lnTo>
                  <a:pt x="285927" y="183769"/>
                </a:lnTo>
                <a:close/>
              </a:path>
              <a:path w="286384" h="357504">
                <a:moveTo>
                  <a:pt x="119316" y="13970"/>
                </a:moveTo>
                <a:lnTo>
                  <a:pt x="7708" y="75565"/>
                </a:lnTo>
                <a:lnTo>
                  <a:pt x="15405" y="89535"/>
                </a:lnTo>
                <a:lnTo>
                  <a:pt x="127012" y="27813"/>
                </a:lnTo>
                <a:lnTo>
                  <a:pt x="119316" y="13970"/>
                </a:lnTo>
                <a:close/>
              </a:path>
              <a:path w="286384" h="357504">
                <a:moveTo>
                  <a:pt x="111607" y="0"/>
                </a:moveTo>
                <a:lnTo>
                  <a:pt x="0" y="61595"/>
                </a:lnTo>
                <a:lnTo>
                  <a:pt x="3860" y="68580"/>
                </a:lnTo>
                <a:lnTo>
                  <a:pt x="115455" y="6985"/>
                </a:lnTo>
                <a:lnTo>
                  <a:pt x="111607" y="0"/>
                </a:lnTo>
                <a:close/>
              </a:path>
            </a:pathLst>
          </a:custGeom>
          <a:solidFill>
            <a:srgbClr val="12ABDB"/>
          </a:solidFill>
        </p:spPr>
        <p:txBody>
          <a:bodyPr wrap="square" lIns="0" tIns="0" rIns="0" bIns="0" rtlCol="0"/>
          <a:lstStyle/>
          <a:p>
            <a:endParaRPr/>
          </a:p>
        </p:txBody>
      </p:sp>
      <p:sp>
        <p:nvSpPr>
          <p:cNvPr id="22" name="object 22"/>
          <p:cNvSpPr txBox="1"/>
          <p:nvPr/>
        </p:nvSpPr>
        <p:spPr>
          <a:xfrm>
            <a:off x="912977" y="4168521"/>
            <a:ext cx="1744345" cy="39179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800">
                <a:latin typeface="Verdana"/>
                <a:cs typeface="Verdana"/>
              </a:rPr>
              <a:t>CRP (Conference Room</a:t>
            </a:r>
            <a:r>
              <a:rPr sz="800" spc="-60">
                <a:latin typeface="Verdana"/>
                <a:cs typeface="Verdana"/>
              </a:rPr>
              <a:t> </a:t>
            </a:r>
            <a:r>
              <a:rPr sz="800" spc="-5">
                <a:latin typeface="Verdana"/>
                <a:cs typeface="Verdana"/>
              </a:rPr>
              <a:t>Pilots)</a:t>
            </a:r>
            <a:endParaRPr sz="800">
              <a:latin typeface="Verdana"/>
              <a:cs typeface="Verdana"/>
            </a:endParaRPr>
          </a:p>
          <a:p>
            <a:pPr marL="184785" indent="-172720">
              <a:lnSpc>
                <a:spcPct val="100000"/>
              </a:lnSpc>
              <a:buClr>
                <a:srgbClr val="006FAC"/>
              </a:buClr>
              <a:buFont typeface="Wingdings"/>
              <a:buChar char=""/>
              <a:tabLst>
                <a:tab pos="185420" algn="l"/>
              </a:tabLst>
            </a:pPr>
            <a:r>
              <a:rPr sz="800">
                <a:latin typeface="Verdana"/>
                <a:cs typeface="Verdana"/>
              </a:rPr>
              <a:t>Integration</a:t>
            </a:r>
            <a:r>
              <a:rPr sz="800" spc="-25">
                <a:latin typeface="Verdana"/>
                <a:cs typeface="Verdana"/>
              </a:rPr>
              <a:t> </a:t>
            </a:r>
            <a:r>
              <a:rPr sz="800">
                <a:latin typeface="Verdana"/>
                <a:cs typeface="Verdana"/>
              </a:rPr>
              <a:t>Playbook</a:t>
            </a:r>
          </a:p>
          <a:p>
            <a:pPr marL="184785" indent="-172720">
              <a:lnSpc>
                <a:spcPct val="100000"/>
              </a:lnSpc>
              <a:buClr>
                <a:srgbClr val="006FAC"/>
              </a:buClr>
              <a:buFont typeface="Wingdings"/>
              <a:buChar char=""/>
              <a:tabLst>
                <a:tab pos="185420" algn="l"/>
              </a:tabLst>
            </a:pPr>
            <a:r>
              <a:rPr sz="800" spc="-5">
                <a:latin typeface="Verdana"/>
                <a:cs typeface="Verdana"/>
              </a:rPr>
              <a:t>Data Migration</a:t>
            </a:r>
            <a:r>
              <a:rPr sz="800" spc="-20">
                <a:latin typeface="Verdana"/>
                <a:cs typeface="Verdana"/>
              </a:rPr>
              <a:t> </a:t>
            </a:r>
            <a:r>
              <a:rPr sz="800">
                <a:latin typeface="Verdana"/>
                <a:cs typeface="Verdana"/>
              </a:rPr>
              <a:t>Playbook</a:t>
            </a:r>
          </a:p>
        </p:txBody>
      </p:sp>
      <p:sp>
        <p:nvSpPr>
          <p:cNvPr id="23" name="object 23"/>
          <p:cNvSpPr/>
          <p:nvPr/>
        </p:nvSpPr>
        <p:spPr>
          <a:xfrm>
            <a:off x="912875" y="5434584"/>
            <a:ext cx="2886710" cy="165100"/>
          </a:xfrm>
          <a:custGeom>
            <a:avLst/>
            <a:gdLst/>
            <a:ahLst/>
            <a:cxnLst/>
            <a:rect l="l" t="t" r="r" b="b"/>
            <a:pathLst>
              <a:path w="2886710" h="165100">
                <a:moveTo>
                  <a:pt x="5143" y="41147"/>
                </a:moveTo>
                <a:lnTo>
                  <a:pt x="0" y="41147"/>
                </a:lnTo>
                <a:lnTo>
                  <a:pt x="0" y="123443"/>
                </a:lnTo>
                <a:lnTo>
                  <a:pt x="5143" y="123443"/>
                </a:lnTo>
                <a:lnTo>
                  <a:pt x="5143" y="41147"/>
                </a:lnTo>
                <a:close/>
              </a:path>
              <a:path w="2886710" h="165100">
                <a:moveTo>
                  <a:pt x="20574" y="41147"/>
                </a:moveTo>
                <a:lnTo>
                  <a:pt x="10287" y="41147"/>
                </a:lnTo>
                <a:lnTo>
                  <a:pt x="10287" y="123443"/>
                </a:lnTo>
                <a:lnTo>
                  <a:pt x="20574" y="123443"/>
                </a:lnTo>
                <a:lnTo>
                  <a:pt x="20574" y="41147"/>
                </a:lnTo>
                <a:close/>
              </a:path>
              <a:path w="2886710" h="165100">
                <a:moveTo>
                  <a:pt x="2804160" y="0"/>
                </a:moveTo>
                <a:lnTo>
                  <a:pt x="2804160" y="41147"/>
                </a:lnTo>
                <a:lnTo>
                  <a:pt x="25717" y="41147"/>
                </a:lnTo>
                <a:lnTo>
                  <a:pt x="25717" y="123443"/>
                </a:lnTo>
                <a:lnTo>
                  <a:pt x="2804160" y="123443"/>
                </a:lnTo>
                <a:lnTo>
                  <a:pt x="2804160" y="164591"/>
                </a:lnTo>
                <a:lnTo>
                  <a:pt x="2886456" y="82295"/>
                </a:lnTo>
                <a:lnTo>
                  <a:pt x="2804160" y="0"/>
                </a:lnTo>
                <a:close/>
              </a:path>
            </a:pathLst>
          </a:custGeom>
          <a:solidFill>
            <a:srgbClr val="12ABDB"/>
          </a:solidFill>
        </p:spPr>
        <p:txBody>
          <a:bodyPr wrap="square" lIns="0" tIns="0" rIns="0" bIns="0" rtlCol="0"/>
          <a:lstStyle/>
          <a:p>
            <a:endParaRPr/>
          </a:p>
        </p:txBody>
      </p:sp>
      <p:sp>
        <p:nvSpPr>
          <p:cNvPr id="24" name="object 24"/>
          <p:cNvSpPr/>
          <p:nvPr/>
        </p:nvSpPr>
        <p:spPr>
          <a:xfrm>
            <a:off x="4739766" y="4808473"/>
            <a:ext cx="278130" cy="387985"/>
          </a:xfrm>
          <a:custGeom>
            <a:avLst/>
            <a:gdLst/>
            <a:ahLst/>
            <a:cxnLst/>
            <a:rect l="l" t="t" r="r" b="b"/>
            <a:pathLst>
              <a:path w="278129" h="387985">
                <a:moveTo>
                  <a:pt x="3048" y="332994"/>
                </a:moveTo>
                <a:lnTo>
                  <a:pt x="0" y="339217"/>
                </a:lnTo>
                <a:lnTo>
                  <a:pt x="98425" y="387476"/>
                </a:lnTo>
                <a:lnTo>
                  <a:pt x="101473" y="381381"/>
                </a:lnTo>
                <a:lnTo>
                  <a:pt x="3048" y="332994"/>
                </a:lnTo>
                <a:close/>
              </a:path>
              <a:path w="278129" h="387985">
                <a:moveTo>
                  <a:pt x="12065" y="314578"/>
                </a:moveTo>
                <a:lnTo>
                  <a:pt x="5969" y="326898"/>
                </a:lnTo>
                <a:lnTo>
                  <a:pt x="104394" y="375157"/>
                </a:lnTo>
                <a:lnTo>
                  <a:pt x="110490" y="362838"/>
                </a:lnTo>
                <a:lnTo>
                  <a:pt x="12065" y="314578"/>
                </a:lnTo>
                <a:close/>
              </a:path>
              <a:path w="278129" h="387985">
                <a:moveTo>
                  <a:pt x="227584" y="0"/>
                </a:moveTo>
                <a:lnTo>
                  <a:pt x="80899" y="50037"/>
                </a:lnTo>
                <a:lnTo>
                  <a:pt x="130048" y="74168"/>
                </a:lnTo>
                <a:lnTo>
                  <a:pt x="15112" y="308356"/>
                </a:lnTo>
                <a:lnTo>
                  <a:pt x="113537" y="356743"/>
                </a:lnTo>
                <a:lnTo>
                  <a:pt x="228473" y="122555"/>
                </a:lnTo>
                <a:lnTo>
                  <a:pt x="269496" y="122555"/>
                </a:lnTo>
                <a:lnTo>
                  <a:pt x="227584" y="0"/>
                </a:lnTo>
                <a:close/>
              </a:path>
              <a:path w="278129" h="387985">
                <a:moveTo>
                  <a:pt x="269496" y="122555"/>
                </a:moveTo>
                <a:lnTo>
                  <a:pt x="228473" y="122555"/>
                </a:lnTo>
                <a:lnTo>
                  <a:pt x="277749" y="146684"/>
                </a:lnTo>
                <a:lnTo>
                  <a:pt x="269496" y="122555"/>
                </a:lnTo>
                <a:close/>
              </a:path>
            </a:pathLst>
          </a:custGeom>
          <a:solidFill>
            <a:srgbClr val="12ABDB"/>
          </a:solidFill>
        </p:spPr>
        <p:txBody>
          <a:bodyPr wrap="square" lIns="0" tIns="0" rIns="0" bIns="0" rtlCol="0"/>
          <a:lstStyle/>
          <a:p>
            <a:endParaRPr/>
          </a:p>
        </p:txBody>
      </p:sp>
      <p:sp>
        <p:nvSpPr>
          <p:cNvPr id="25" name="object 25"/>
          <p:cNvSpPr/>
          <p:nvPr/>
        </p:nvSpPr>
        <p:spPr>
          <a:xfrm>
            <a:off x="4773167" y="4501896"/>
            <a:ext cx="274320" cy="274320"/>
          </a:xfrm>
          <a:custGeom>
            <a:avLst/>
            <a:gdLst/>
            <a:ahLst/>
            <a:cxnLst/>
            <a:rect l="l" t="t" r="r" b="b"/>
            <a:pathLst>
              <a:path w="274320" h="274320">
                <a:moveTo>
                  <a:pt x="137160" y="0"/>
                </a:move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60" y="274319"/>
                </a:lnTo>
                <a:lnTo>
                  <a:pt x="180490" y="267321"/>
                </a:lnTo>
                <a:lnTo>
                  <a:pt x="218139" y="247838"/>
                </a:lnTo>
                <a:lnTo>
                  <a:pt x="247838" y="218139"/>
                </a:lnTo>
                <a:lnTo>
                  <a:pt x="267321" y="180490"/>
                </a:lnTo>
                <a:lnTo>
                  <a:pt x="274320" y="137159"/>
                </a:lnTo>
                <a:lnTo>
                  <a:pt x="267321" y="93829"/>
                </a:lnTo>
                <a:lnTo>
                  <a:pt x="247838" y="56180"/>
                </a:lnTo>
                <a:lnTo>
                  <a:pt x="218139" y="26481"/>
                </a:lnTo>
                <a:lnTo>
                  <a:pt x="180490" y="6998"/>
                </a:lnTo>
                <a:lnTo>
                  <a:pt x="137160" y="0"/>
                </a:lnTo>
                <a:close/>
              </a:path>
            </a:pathLst>
          </a:custGeom>
          <a:solidFill>
            <a:srgbClr val="12ABDB"/>
          </a:solidFill>
        </p:spPr>
        <p:txBody>
          <a:bodyPr wrap="square" lIns="0" tIns="0" rIns="0" bIns="0" rtlCol="0"/>
          <a:lstStyle/>
          <a:p>
            <a:endParaRPr/>
          </a:p>
        </p:txBody>
      </p:sp>
      <p:sp>
        <p:nvSpPr>
          <p:cNvPr id="26" name="object 26"/>
          <p:cNvSpPr txBox="1"/>
          <p:nvPr/>
        </p:nvSpPr>
        <p:spPr>
          <a:xfrm>
            <a:off x="4858003" y="4557521"/>
            <a:ext cx="10668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2</a:t>
            </a:r>
            <a:endParaRPr sz="900">
              <a:latin typeface="Verdana"/>
              <a:cs typeface="Verdana"/>
            </a:endParaRPr>
          </a:p>
        </p:txBody>
      </p:sp>
      <p:sp>
        <p:nvSpPr>
          <p:cNvPr id="27" name="object 27"/>
          <p:cNvSpPr txBox="1"/>
          <p:nvPr/>
        </p:nvSpPr>
        <p:spPr>
          <a:xfrm>
            <a:off x="5509259" y="4585715"/>
            <a:ext cx="3182620" cy="1903730"/>
          </a:xfrm>
          <a:prstGeom prst="rect">
            <a:avLst/>
          </a:prstGeom>
          <a:solidFill>
            <a:srgbClr val="F1F1F1"/>
          </a:solidFill>
        </p:spPr>
        <p:txBody>
          <a:bodyPr vert="horz" wrap="square" lIns="0" tIns="45720" rIns="0" bIns="0" rtlCol="0">
            <a:spAutoFit/>
          </a:bodyPr>
          <a:lstStyle/>
          <a:p>
            <a:pPr marL="269875" indent="-178435">
              <a:lnSpc>
                <a:spcPct val="100000"/>
              </a:lnSpc>
              <a:spcBef>
                <a:spcPts val="360"/>
              </a:spcBef>
              <a:buClr>
                <a:srgbClr val="006FAC"/>
              </a:buClr>
              <a:buFont typeface="Wingdings"/>
              <a:buChar char=""/>
              <a:tabLst>
                <a:tab pos="270510" algn="l"/>
              </a:tabLst>
            </a:pPr>
            <a:r>
              <a:rPr sz="1200">
                <a:latin typeface="Verdana"/>
                <a:cs typeface="Verdana"/>
              </a:rPr>
              <a:t>Design </a:t>
            </a:r>
            <a:r>
              <a:rPr sz="1200" spc="-5">
                <a:latin typeface="Verdana"/>
                <a:cs typeface="Verdana"/>
              </a:rPr>
              <a:t>Product</a:t>
            </a:r>
            <a:r>
              <a:rPr sz="1200">
                <a:latin typeface="Verdana"/>
                <a:cs typeface="Verdana"/>
              </a:rPr>
              <a:t> </a:t>
            </a:r>
            <a:r>
              <a:rPr sz="1200" spc="-5">
                <a:latin typeface="Verdana"/>
                <a:cs typeface="Verdana"/>
              </a:rPr>
              <a:t>Backlog</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Define Architecture</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Detail Business</a:t>
            </a:r>
            <a:r>
              <a:rPr sz="1200">
                <a:latin typeface="Verdana"/>
                <a:cs typeface="Verdana"/>
              </a:rPr>
              <a:t> Processes</a:t>
            </a:r>
          </a:p>
          <a:p>
            <a:pPr marL="269875" indent="-178435">
              <a:lnSpc>
                <a:spcPct val="100000"/>
              </a:lnSpc>
              <a:spcBef>
                <a:spcPts val="190"/>
              </a:spcBef>
              <a:buClr>
                <a:srgbClr val="006FAC"/>
              </a:buClr>
              <a:buFont typeface="Wingdings"/>
              <a:buChar char=""/>
              <a:tabLst>
                <a:tab pos="270510" algn="l"/>
              </a:tabLst>
            </a:pPr>
            <a:r>
              <a:rPr sz="1200" spc="-5">
                <a:latin typeface="Verdana"/>
                <a:cs typeface="Verdana"/>
              </a:rPr>
              <a:t>Design </a:t>
            </a:r>
            <a:r>
              <a:rPr sz="1200" spc="-10">
                <a:latin typeface="Verdana"/>
                <a:cs typeface="Verdana"/>
              </a:rPr>
              <a:t>Integration</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a:latin typeface="Verdana"/>
                <a:cs typeface="Verdana"/>
              </a:rPr>
              <a:t>Design </a:t>
            </a:r>
            <a:r>
              <a:rPr sz="1200" spc="-5">
                <a:latin typeface="Verdana"/>
                <a:cs typeface="Verdana"/>
              </a:rPr>
              <a:t>Data</a:t>
            </a:r>
            <a:r>
              <a:rPr sz="1200" spc="10">
                <a:latin typeface="Verdana"/>
                <a:cs typeface="Verdana"/>
              </a:rPr>
              <a:t> </a:t>
            </a:r>
            <a:r>
              <a:rPr sz="1200" spc="-10">
                <a:latin typeface="Verdana"/>
                <a:cs typeface="Verdana"/>
              </a:rPr>
              <a:t>Migration</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a:latin typeface="Verdana"/>
                <a:cs typeface="Verdana"/>
              </a:rPr>
              <a:t>Design</a:t>
            </a:r>
            <a:r>
              <a:rPr sz="1200" spc="-5">
                <a:latin typeface="Verdana"/>
                <a:cs typeface="Verdana"/>
              </a:rPr>
              <a:t> Reports</a:t>
            </a:r>
            <a:endParaRPr sz="1200">
              <a:latin typeface="Verdana"/>
              <a:cs typeface="Verdana"/>
            </a:endParaRPr>
          </a:p>
          <a:p>
            <a:pPr marL="269875" indent="-178435">
              <a:lnSpc>
                <a:spcPct val="100000"/>
              </a:lnSpc>
              <a:spcBef>
                <a:spcPts val="195"/>
              </a:spcBef>
              <a:buClr>
                <a:srgbClr val="006FAC"/>
              </a:buClr>
              <a:buFont typeface="Wingdings"/>
              <a:buChar char=""/>
              <a:tabLst>
                <a:tab pos="270510" algn="l"/>
              </a:tabLst>
            </a:pPr>
            <a:r>
              <a:rPr sz="1200" spc="-5">
                <a:latin typeface="Verdana"/>
                <a:cs typeface="Verdana"/>
              </a:rPr>
              <a:t>Sprint Plans and</a:t>
            </a:r>
            <a:r>
              <a:rPr sz="1200" spc="50">
                <a:latin typeface="Verdana"/>
                <a:cs typeface="Verdana"/>
              </a:rPr>
              <a:t> </a:t>
            </a:r>
            <a:r>
              <a:rPr sz="1200" spc="-10">
                <a:latin typeface="Verdana"/>
                <a:cs typeface="Verdana"/>
              </a:rPr>
              <a:t>Estimations</a:t>
            </a:r>
            <a:endParaRPr sz="1200">
              <a:latin typeface="Verdana"/>
              <a:cs typeface="Verdana"/>
            </a:endParaRPr>
          </a:p>
          <a:p>
            <a:pPr marL="269875" indent="-178435">
              <a:lnSpc>
                <a:spcPct val="100000"/>
              </a:lnSpc>
              <a:spcBef>
                <a:spcPts val="200"/>
              </a:spcBef>
              <a:buClr>
                <a:srgbClr val="006FAC"/>
              </a:buClr>
              <a:buFont typeface="Wingdings"/>
              <a:buChar char=""/>
              <a:tabLst>
                <a:tab pos="270510" algn="l"/>
              </a:tabLst>
            </a:pPr>
            <a:r>
              <a:rPr sz="1200" spc="-5">
                <a:latin typeface="Verdana"/>
                <a:cs typeface="Verdana"/>
              </a:rPr>
              <a:t>Setup </a:t>
            </a:r>
            <a:r>
              <a:rPr sz="1200" spc="-30">
                <a:latin typeface="Verdana"/>
                <a:cs typeface="Verdana"/>
              </a:rPr>
              <a:t>Tools </a:t>
            </a:r>
            <a:r>
              <a:rPr sz="1200" spc="-5">
                <a:latin typeface="Verdana"/>
                <a:cs typeface="Verdana"/>
              </a:rPr>
              <a:t>and</a:t>
            </a:r>
            <a:r>
              <a:rPr sz="1200" spc="30">
                <a:latin typeface="Verdana"/>
                <a:cs typeface="Verdana"/>
              </a:rPr>
              <a:t> </a:t>
            </a:r>
            <a:r>
              <a:rPr sz="1200" spc="-5">
                <a:latin typeface="Verdana"/>
                <a:cs typeface="Verdana"/>
              </a:rPr>
              <a:t>Environment</a:t>
            </a:r>
            <a:endParaRPr sz="1200">
              <a:latin typeface="Verdana"/>
              <a:cs typeface="Verdana"/>
            </a:endParaRPr>
          </a:p>
        </p:txBody>
      </p:sp>
      <p:sp>
        <p:nvSpPr>
          <p:cNvPr id="28" name="object 28"/>
          <p:cNvSpPr txBox="1"/>
          <p:nvPr/>
        </p:nvSpPr>
        <p:spPr>
          <a:xfrm>
            <a:off x="2186939" y="2855976"/>
            <a:ext cx="1005840" cy="320040"/>
          </a:xfrm>
          <a:prstGeom prst="rect">
            <a:avLst/>
          </a:prstGeom>
          <a:solidFill>
            <a:srgbClr val="FFFFFF"/>
          </a:solidFill>
        </p:spPr>
        <p:txBody>
          <a:bodyPr vert="horz" wrap="square" lIns="0" tIns="38100" rIns="0" bIns="0" rtlCol="0">
            <a:spAutoFit/>
          </a:bodyPr>
          <a:lstStyle/>
          <a:p>
            <a:pPr marL="190500" marR="185420" indent="146050">
              <a:lnSpc>
                <a:spcPct val="100000"/>
              </a:lnSpc>
              <a:spcBef>
                <a:spcPts val="300"/>
              </a:spcBef>
            </a:pPr>
            <a:r>
              <a:rPr sz="800">
                <a:latin typeface="Verdana"/>
                <a:cs typeface="Verdana"/>
              </a:rPr>
              <a:t>Define  A</a:t>
            </a:r>
            <a:r>
              <a:rPr sz="800" spc="5">
                <a:latin typeface="Verdana"/>
                <a:cs typeface="Verdana"/>
              </a:rPr>
              <a:t>r</a:t>
            </a:r>
            <a:r>
              <a:rPr sz="800">
                <a:latin typeface="Verdana"/>
                <a:cs typeface="Verdana"/>
              </a:rPr>
              <a:t>c</a:t>
            </a:r>
            <a:r>
              <a:rPr sz="800" spc="-5">
                <a:latin typeface="Verdana"/>
                <a:cs typeface="Verdana"/>
              </a:rPr>
              <a:t>hit</a:t>
            </a:r>
            <a:r>
              <a:rPr sz="800">
                <a:latin typeface="Verdana"/>
                <a:cs typeface="Verdana"/>
              </a:rPr>
              <a:t>ec</a:t>
            </a:r>
            <a:r>
              <a:rPr sz="800" spc="-5">
                <a:latin typeface="Verdana"/>
                <a:cs typeface="Verdana"/>
              </a:rPr>
              <a:t>tu</a:t>
            </a:r>
            <a:r>
              <a:rPr sz="800">
                <a:latin typeface="Verdana"/>
                <a:cs typeface="Verdana"/>
              </a:rPr>
              <a:t>re</a:t>
            </a:r>
          </a:p>
        </p:txBody>
      </p:sp>
      <p:sp>
        <p:nvSpPr>
          <p:cNvPr id="29" name="object 29"/>
          <p:cNvSpPr txBox="1"/>
          <p:nvPr/>
        </p:nvSpPr>
        <p:spPr>
          <a:xfrm>
            <a:off x="2186939" y="3218688"/>
            <a:ext cx="1005840" cy="320040"/>
          </a:xfrm>
          <a:prstGeom prst="rect">
            <a:avLst/>
          </a:prstGeom>
          <a:solidFill>
            <a:srgbClr val="FFFFFF"/>
          </a:solidFill>
        </p:spPr>
        <p:txBody>
          <a:bodyPr vert="horz" wrap="square" lIns="0" tIns="37465" rIns="0" bIns="0" rtlCol="0">
            <a:spAutoFit/>
          </a:bodyPr>
          <a:lstStyle/>
          <a:p>
            <a:pPr algn="ctr">
              <a:lnSpc>
                <a:spcPct val="100000"/>
              </a:lnSpc>
              <a:spcBef>
                <a:spcPts val="295"/>
              </a:spcBef>
            </a:pPr>
            <a:r>
              <a:rPr sz="800">
                <a:latin typeface="Verdana"/>
                <a:cs typeface="Verdana"/>
              </a:rPr>
              <a:t>Design</a:t>
            </a:r>
            <a:r>
              <a:rPr sz="800" spc="-25">
                <a:latin typeface="Verdana"/>
                <a:cs typeface="Verdana"/>
              </a:rPr>
              <a:t> </a:t>
            </a:r>
            <a:r>
              <a:rPr sz="800" spc="-5">
                <a:latin typeface="Verdana"/>
                <a:cs typeface="Verdana"/>
              </a:rPr>
              <a:t>Data</a:t>
            </a:r>
            <a:endParaRPr sz="800">
              <a:latin typeface="Verdana"/>
              <a:cs typeface="Verdana"/>
            </a:endParaRPr>
          </a:p>
          <a:p>
            <a:pPr algn="ctr">
              <a:lnSpc>
                <a:spcPct val="100000"/>
              </a:lnSpc>
            </a:pPr>
            <a:r>
              <a:rPr sz="800" spc="-5">
                <a:latin typeface="Verdana"/>
                <a:cs typeface="Verdana"/>
              </a:rPr>
              <a:t>Migration</a:t>
            </a:r>
            <a:endParaRPr sz="800">
              <a:latin typeface="Verdana"/>
              <a:cs typeface="Verdana"/>
            </a:endParaRPr>
          </a:p>
        </p:txBody>
      </p:sp>
      <p:sp>
        <p:nvSpPr>
          <p:cNvPr id="30" name="object 30"/>
          <p:cNvSpPr txBox="1"/>
          <p:nvPr/>
        </p:nvSpPr>
        <p:spPr>
          <a:xfrm>
            <a:off x="2186939" y="3581400"/>
            <a:ext cx="1005840" cy="320040"/>
          </a:xfrm>
          <a:prstGeom prst="rect">
            <a:avLst/>
          </a:prstGeom>
          <a:solidFill>
            <a:srgbClr val="FFFFFF"/>
          </a:solidFill>
        </p:spPr>
        <p:txBody>
          <a:bodyPr vert="horz" wrap="square" lIns="0" tIns="37465" rIns="0" bIns="0" rtlCol="0">
            <a:spAutoFit/>
          </a:bodyPr>
          <a:lstStyle/>
          <a:p>
            <a:pPr marL="176530" marR="82550" indent="-88900">
              <a:lnSpc>
                <a:spcPct val="100000"/>
              </a:lnSpc>
              <a:spcBef>
                <a:spcPts val="295"/>
              </a:spcBef>
            </a:pPr>
            <a:r>
              <a:rPr sz="800">
                <a:latin typeface="Verdana"/>
                <a:cs typeface="Verdana"/>
              </a:rPr>
              <a:t>Setup Tools</a:t>
            </a:r>
            <a:r>
              <a:rPr sz="800" spc="-80">
                <a:latin typeface="Verdana"/>
                <a:cs typeface="Verdana"/>
              </a:rPr>
              <a:t> </a:t>
            </a:r>
            <a:r>
              <a:rPr sz="800" spc="-5">
                <a:latin typeface="Verdana"/>
                <a:cs typeface="Verdana"/>
              </a:rPr>
              <a:t>and  Environment</a:t>
            </a:r>
            <a:endParaRPr sz="800">
              <a:latin typeface="Verdana"/>
              <a:cs typeface="Verdana"/>
            </a:endParaRPr>
          </a:p>
        </p:txBody>
      </p:sp>
      <p:sp>
        <p:nvSpPr>
          <p:cNvPr id="31" name="object 31"/>
          <p:cNvSpPr txBox="1"/>
          <p:nvPr/>
        </p:nvSpPr>
        <p:spPr>
          <a:xfrm>
            <a:off x="894588" y="2855976"/>
            <a:ext cx="1005840" cy="320040"/>
          </a:xfrm>
          <a:prstGeom prst="rect">
            <a:avLst/>
          </a:prstGeom>
          <a:solidFill>
            <a:srgbClr val="FFFFFF"/>
          </a:solidFill>
        </p:spPr>
        <p:txBody>
          <a:bodyPr vert="horz" wrap="square" lIns="0" tIns="38100" rIns="0" bIns="0" rtlCol="0">
            <a:spAutoFit/>
          </a:bodyPr>
          <a:lstStyle/>
          <a:p>
            <a:pPr marL="301625" marR="108585" indent="-186055">
              <a:lnSpc>
                <a:spcPct val="100000"/>
              </a:lnSpc>
              <a:spcBef>
                <a:spcPts val="300"/>
              </a:spcBef>
            </a:pPr>
            <a:r>
              <a:rPr sz="800">
                <a:latin typeface="Verdana"/>
                <a:cs typeface="Verdana"/>
              </a:rPr>
              <a:t>Design</a:t>
            </a:r>
            <a:r>
              <a:rPr sz="800" spc="-85">
                <a:latin typeface="Verdana"/>
                <a:cs typeface="Verdana"/>
              </a:rPr>
              <a:t> </a:t>
            </a:r>
            <a:r>
              <a:rPr sz="800">
                <a:latin typeface="Verdana"/>
                <a:cs typeface="Verdana"/>
              </a:rPr>
              <a:t>Product  Backlog</a:t>
            </a:r>
          </a:p>
        </p:txBody>
      </p:sp>
      <p:sp>
        <p:nvSpPr>
          <p:cNvPr id="32" name="object 32"/>
          <p:cNvSpPr txBox="1"/>
          <p:nvPr/>
        </p:nvSpPr>
        <p:spPr>
          <a:xfrm>
            <a:off x="894588" y="3218688"/>
            <a:ext cx="1005840" cy="320040"/>
          </a:xfrm>
          <a:prstGeom prst="rect">
            <a:avLst/>
          </a:prstGeom>
          <a:solidFill>
            <a:srgbClr val="FFFFFF"/>
          </a:solidFill>
        </p:spPr>
        <p:txBody>
          <a:bodyPr vert="horz" wrap="square" lIns="0" tIns="98425" rIns="0" bIns="0" rtlCol="0">
            <a:spAutoFit/>
          </a:bodyPr>
          <a:lstStyle/>
          <a:p>
            <a:pPr marL="24130">
              <a:lnSpc>
                <a:spcPct val="100000"/>
              </a:lnSpc>
              <a:spcBef>
                <a:spcPts val="775"/>
              </a:spcBef>
            </a:pPr>
            <a:r>
              <a:rPr sz="800">
                <a:latin typeface="Verdana"/>
                <a:cs typeface="Verdana"/>
              </a:rPr>
              <a:t>Design</a:t>
            </a:r>
            <a:r>
              <a:rPr sz="800" spc="-60">
                <a:latin typeface="Verdana"/>
                <a:cs typeface="Verdana"/>
              </a:rPr>
              <a:t> </a:t>
            </a:r>
            <a:r>
              <a:rPr sz="800">
                <a:latin typeface="Verdana"/>
                <a:cs typeface="Verdana"/>
              </a:rPr>
              <a:t>Integration</a:t>
            </a:r>
          </a:p>
        </p:txBody>
      </p:sp>
      <p:sp>
        <p:nvSpPr>
          <p:cNvPr id="33" name="object 33"/>
          <p:cNvSpPr txBox="1"/>
          <p:nvPr/>
        </p:nvSpPr>
        <p:spPr>
          <a:xfrm>
            <a:off x="894588" y="3581400"/>
            <a:ext cx="1005840" cy="320040"/>
          </a:xfrm>
          <a:prstGeom prst="rect">
            <a:avLst/>
          </a:prstGeom>
          <a:solidFill>
            <a:srgbClr val="FFFFFF"/>
          </a:solidFill>
        </p:spPr>
        <p:txBody>
          <a:bodyPr vert="horz" wrap="square" lIns="0" tIns="37465" rIns="0" bIns="0" rtlCol="0">
            <a:spAutoFit/>
          </a:bodyPr>
          <a:lstStyle/>
          <a:p>
            <a:pPr marL="205740" marR="76200" indent="-123825">
              <a:lnSpc>
                <a:spcPct val="100000"/>
              </a:lnSpc>
              <a:spcBef>
                <a:spcPts val="295"/>
              </a:spcBef>
            </a:pPr>
            <a:r>
              <a:rPr sz="800">
                <a:latin typeface="Verdana"/>
                <a:cs typeface="Verdana"/>
              </a:rPr>
              <a:t>Sprint </a:t>
            </a:r>
            <a:r>
              <a:rPr sz="800" spc="-5">
                <a:latin typeface="Verdana"/>
                <a:cs typeface="Verdana"/>
              </a:rPr>
              <a:t>Plans</a:t>
            </a:r>
            <a:r>
              <a:rPr sz="800" spc="-55">
                <a:latin typeface="Verdana"/>
                <a:cs typeface="Verdana"/>
              </a:rPr>
              <a:t> </a:t>
            </a:r>
            <a:r>
              <a:rPr sz="800" spc="-5">
                <a:latin typeface="Verdana"/>
                <a:cs typeface="Verdana"/>
              </a:rPr>
              <a:t>and  Estimations</a:t>
            </a:r>
            <a:endParaRPr sz="800">
              <a:latin typeface="Verdana"/>
              <a:cs typeface="Verdana"/>
            </a:endParaRPr>
          </a:p>
        </p:txBody>
      </p:sp>
      <p:sp>
        <p:nvSpPr>
          <p:cNvPr id="34" name="object 34"/>
          <p:cNvSpPr/>
          <p:nvPr/>
        </p:nvSpPr>
        <p:spPr>
          <a:xfrm>
            <a:off x="426719" y="5070347"/>
            <a:ext cx="841375" cy="378460"/>
          </a:xfrm>
          <a:custGeom>
            <a:avLst/>
            <a:gdLst/>
            <a:ahLst/>
            <a:cxnLst/>
            <a:rect l="l" t="t" r="r" b="b"/>
            <a:pathLst>
              <a:path w="841375" h="378460">
                <a:moveTo>
                  <a:pt x="821232" y="0"/>
                </a:moveTo>
                <a:lnTo>
                  <a:pt x="20015" y="0"/>
                </a:lnTo>
                <a:lnTo>
                  <a:pt x="12226" y="1581"/>
                </a:lnTo>
                <a:lnTo>
                  <a:pt x="5864" y="5889"/>
                </a:lnTo>
                <a:lnTo>
                  <a:pt x="1573" y="12269"/>
                </a:lnTo>
                <a:lnTo>
                  <a:pt x="0" y="20065"/>
                </a:lnTo>
                <a:lnTo>
                  <a:pt x="0" y="357885"/>
                </a:lnTo>
                <a:lnTo>
                  <a:pt x="1573" y="365682"/>
                </a:lnTo>
                <a:lnTo>
                  <a:pt x="5864" y="372062"/>
                </a:lnTo>
                <a:lnTo>
                  <a:pt x="12226" y="376370"/>
                </a:lnTo>
                <a:lnTo>
                  <a:pt x="20015" y="377951"/>
                </a:lnTo>
                <a:lnTo>
                  <a:pt x="821232" y="377951"/>
                </a:lnTo>
                <a:lnTo>
                  <a:pt x="829021" y="376370"/>
                </a:lnTo>
                <a:lnTo>
                  <a:pt x="835383" y="372062"/>
                </a:lnTo>
                <a:lnTo>
                  <a:pt x="839674" y="365682"/>
                </a:lnTo>
                <a:lnTo>
                  <a:pt x="841248" y="357885"/>
                </a:lnTo>
                <a:lnTo>
                  <a:pt x="841248" y="20065"/>
                </a:lnTo>
                <a:lnTo>
                  <a:pt x="839674" y="12269"/>
                </a:lnTo>
                <a:lnTo>
                  <a:pt x="835383" y="5889"/>
                </a:lnTo>
                <a:lnTo>
                  <a:pt x="829021" y="1581"/>
                </a:lnTo>
                <a:lnTo>
                  <a:pt x="821232" y="0"/>
                </a:lnTo>
                <a:close/>
              </a:path>
            </a:pathLst>
          </a:custGeom>
          <a:solidFill>
            <a:srgbClr val="FFFFFF"/>
          </a:solidFill>
        </p:spPr>
        <p:txBody>
          <a:bodyPr wrap="square" lIns="0" tIns="0" rIns="0" bIns="0" rtlCol="0"/>
          <a:lstStyle/>
          <a:p>
            <a:endParaRPr/>
          </a:p>
        </p:txBody>
      </p:sp>
      <p:sp>
        <p:nvSpPr>
          <p:cNvPr id="35" name="object 35"/>
          <p:cNvSpPr/>
          <p:nvPr/>
        </p:nvSpPr>
        <p:spPr>
          <a:xfrm>
            <a:off x="426719" y="5070347"/>
            <a:ext cx="841375" cy="378460"/>
          </a:xfrm>
          <a:custGeom>
            <a:avLst/>
            <a:gdLst/>
            <a:ahLst/>
            <a:cxnLst/>
            <a:rect l="l" t="t" r="r" b="b"/>
            <a:pathLst>
              <a:path w="841375" h="378460">
                <a:moveTo>
                  <a:pt x="0" y="20065"/>
                </a:moveTo>
                <a:lnTo>
                  <a:pt x="1573" y="12269"/>
                </a:lnTo>
                <a:lnTo>
                  <a:pt x="5864" y="5889"/>
                </a:lnTo>
                <a:lnTo>
                  <a:pt x="12226" y="1581"/>
                </a:lnTo>
                <a:lnTo>
                  <a:pt x="20015" y="0"/>
                </a:lnTo>
                <a:lnTo>
                  <a:pt x="821232" y="0"/>
                </a:lnTo>
                <a:lnTo>
                  <a:pt x="829021" y="1581"/>
                </a:lnTo>
                <a:lnTo>
                  <a:pt x="835383" y="5889"/>
                </a:lnTo>
                <a:lnTo>
                  <a:pt x="839674" y="12269"/>
                </a:lnTo>
                <a:lnTo>
                  <a:pt x="841248" y="20065"/>
                </a:lnTo>
                <a:lnTo>
                  <a:pt x="841248" y="357885"/>
                </a:lnTo>
                <a:lnTo>
                  <a:pt x="839674" y="365682"/>
                </a:lnTo>
                <a:lnTo>
                  <a:pt x="835383" y="372062"/>
                </a:lnTo>
                <a:lnTo>
                  <a:pt x="829021" y="376370"/>
                </a:lnTo>
                <a:lnTo>
                  <a:pt x="821232" y="377951"/>
                </a:lnTo>
                <a:lnTo>
                  <a:pt x="20015" y="377951"/>
                </a:lnTo>
                <a:lnTo>
                  <a:pt x="12226" y="376370"/>
                </a:lnTo>
                <a:lnTo>
                  <a:pt x="5864" y="372062"/>
                </a:lnTo>
                <a:lnTo>
                  <a:pt x="1573" y="365682"/>
                </a:lnTo>
                <a:lnTo>
                  <a:pt x="0" y="357885"/>
                </a:lnTo>
                <a:lnTo>
                  <a:pt x="0" y="20065"/>
                </a:lnTo>
                <a:close/>
              </a:path>
            </a:pathLst>
          </a:custGeom>
          <a:ln w="9144">
            <a:solidFill>
              <a:srgbClr val="BCBCBC"/>
            </a:solidFill>
          </a:ln>
        </p:spPr>
        <p:txBody>
          <a:bodyPr wrap="square" lIns="0" tIns="0" rIns="0" bIns="0" rtlCol="0"/>
          <a:lstStyle/>
          <a:p>
            <a:endParaRPr/>
          </a:p>
        </p:txBody>
      </p:sp>
      <p:sp>
        <p:nvSpPr>
          <p:cNvPr id="36" name="object 36"/>
          <p:cNvSpPr txBox="1"/>
          <p:nvPr/>
        </p:nvSpPr>
        <p:spPr>
          <a:xfrm>
            <a:off x="432511" y="5088128"/>
            <a:ext cx="824865" cy="345440"/>
          </a:xfrm>
          <a:prstGeom prst="rect">
            <a:avLst/>
          </a:prstGeom>
        </p:spPr>
        <p:txBody>
          <a:bodyPr vert="horz" wrap="square" lIns="0" tIns="12065" rIns="0" bIns="0" rtlCol="0">
            <a:spAutoFit/>
          </a:bodyPr>
          <a:lstStyle/>
          <a:p>
            <a:pPr>
              <a:lnSpc>
                <a:spcPct val="100000"/>
              </a:lnSpc>
              <a:spcBef>
                <a:spcPts val="95"/>
              </a:spcBef>
            </a:pPr>
            <a:r>
              <a:rPr sz="700" spc="-5">
                <a:latin typeface="Verdana"/>
                <a:cs typeface="Verdana"/>
              </a:rPr>
              <a:t>10101010101010</a:t>
            </a:r>
            <a:endParaRPr sz="700">
              <a:latin typeface="Verdana"/>
              <a:cs typeface="Verdana"/>
            </a:endParaRPr>
          </a:p>
          <a:p>
            <a:pPr>
              <a:lnSpc>
                <a:spcPct val="100000"/>
              </a:lnSpc>
            </a:pPr>
            <a:r>
              <a:rPr sz="700" spc="-5">
                <a:latin typeface="Verdana"/>
                <a:cs typeface="Verdana"/>
              </a:rPr>
              <a:t>10110101010101</a:t>
            </a:r>
            <a:endParaRPr sz="700">
              <a:latin typeface="Verdana"/>
              <a:cs typeface="Verdana"/>
            </a:endParaRPr>
          </a:p>
          <a:p>
            <a:pPr>
              <a:lnSpc>
                <a:spcPct val="100000"/>
              </a:lnSpc>
            </a:pPr>
            <a:r>
              <a:rPr sz="700" spc="-5">
                <a:latin typeface="Verdana"/>
                <a:cs typeface="Verdana"/>
              </a:rPr>
              <a:t>0110101010101</a:t>
            </a:r>
            <a:endParaRPr sz="700">
              <a:latin typeface="Verdana"/>
              <a:cs typeface="Verdana"/>
            </a:endParaRPr>
          </a:p>
        </p:txBody>
      </p:sp>
      <p:sp>
        <p:nvSpPr>
          <p:cNvPr id="37" name="object 37"/>
          <p:cNvSpPr/>
          <p:nvPr/>
        </p:nvSpPr>
        <p:spPr>
          <a:xfrm>
            <a:off x="3962400" y="5194172"/>
            <a:ext cx="381000" cy="283845"/>
          </a:xfrm>
          <a:custGeom>
            <a:avLst/>
            <a:gdLst/>
            <a:ahLst/>
            <a:cxnLst/>
            <a:rect l="l" t="t" r="r" b="b"/>
            <a:pathLst>
              <a:path w="381000" h="283845">
                <a:moveTo>
                  <a:pt x="0" y="0"/>
                </a:moveTo>
                <a:lnTo>
                  <a:pt x="380491" y="0"/>
                </a:lnTo>
                <a:lnTo>
                  <a:pt x="380491" y="227837"/>
                </a:lnTo>
                <a:lnTo>
                  <a:pt x="323600" y="230783"/>
                </a:lnTo>
                <a:lnTo>
                  <a:pt x="277670" y="238416"/>
                </a:lnTo>
                <a:lnTo>
                  <a:pt x="239569" y="248934"/>
                </a:lnTo>
                <a:lnTo>
                  <a:pt x="206165" y="260533"/>
                </a:lnTo>
                <a:lnTo>
                  <a:pt x="174326" y="271412"/>
                </a:lnTo>
                <a:lnTo>
                  <a:pt x="140922" y="279766"/>
                </a:lnTo>
                <a:lnTo>
                  <a:pt x="102821" y="283793"/>
                </a:lnTo>
                <a:lnTo>
                  <a:pt x="56891" y="281690"/>
                </a:lnTo>
                <a:lnTo>
                  <a:pt x="0" y="271652"/>
                </a:lnTo>
                <a:lnTo>
                  <a:pt x="0" y="0"/>
                </a:lnTo>
                <a:close/>
              </a:path>
            </a:pathLst>
          </a:custGeom>
          <a:ln w="12192">
            <a:solidFill>
              <a:srgbClr val="7E7E7E"/>
            </a:solidFill>
          </a:ln>
        </p:spPr>
        <p:txBody>
          <a:bodyPr wrap="square" lIns="0" tIns="0" rIns="0" bIns="0" rtlCol="0"/>
          <a:lstStyle/>
          <a:p>
            <a:endParaRPr/>
          </a:p>
        </p:txBody>
      </p:sp>
      <p:sp>
        <p:nvSpPr>
          <p:cNvPr id="38" name="object 38"/>
          <p:cNvSpPr/>
          <p:nvPr/>
        </p:nvSpPr>
        <p:spPr>
          <a:xfrm>
            <a:off x="3993769" y="5164709"/>
            <a:ext cx="377825" cy="231140"/>
          </a:xfrm>
          <a:custGeom>
            <a:avLst/>
            <a:gdLst/>
            <a:ahLst/>
            <a:cxnLst/>
            <a:rect l="l" t="t" r="r" b="b"/>
            <a:pathLst>
              <a:path w="377825" h="231139">
                <a:moveTo>
                  <a:pt x="0" y="29464"/>
                </a:moveTo>
                <a:lnTo>
                  <a:pt x="0" y="0"/>
                </a:lnTo>
                <a:lnTo>
                  <a:pt x="377825" y="0"/>
                </a:lnTo>
                <a:lnTo>
                  <a:pt x="377825" y="229108"/>
                </a:lnTo>
                <a:lnTo>
                  <a:pt x="367285" y="229365"/>
                </a:lnTo>
                <a:lnTo>
                  <a:pt x="358092" y="229933"/>
                </a:lnTo>
                <a:lnTo>
                  <a:pt x="351589" y="230501"/>
                </a:lnTo>
                <a:lnTo>
                  <a:pt x="349122" y="230759"/>
                </a:lnTo>
              </a:path>
            </a:pathLst>
          </a:custGeom>
          <a:ln w="12192">
            <a:solidFill>
              <a:srgbClr val="7E7E7E"/>
            </a:solidFill>
          </a:ln>
        </p:spPr>
        <p:txBody>
          <a:bodyPr wrap="square" lIns="0" tIns="0" rIns="0" bIns="0" rtlCol="0"/>
          <a:lstStyle/>
          <a:p>
            <a:endParaRPr/>
          </a:p>
        </p:txBody>
      </p:sp>
      <p:sp>
        <p:nvSpPr>
          <p:cNvPr id="39" name="object 39"/>
          <p:cNvSpPr/>
          <p:nvPr/>
        </p:nvSpPr>
        <p:spPr>
          <a:xfrm>
            <a:off x="4023233" y="5135879"/>
            <a:ext cx="381635" cy="229870"/>
          </a:xfrm>
          <a:custGeom>
            <a:avLst/>
            <a:gdLst/>
            <a:ahLst/>
            <a:cxnLst/>
            <a:rect l="l" t="t" r="r" b="b"/>
            <a:pathLst>
              <a:path w="381635" h="229870">
                <a:moveTo>
                  <a:pt x="0" y="28829"/>
                </a:moveTo>
                <a:lnTo>
                  <a:pt x="0" y="0"/>
                </a:lnTo>
                <a:lnTo>
                  <a:pt x="381126" y="0"/>
                </a:lnTo>
                <a:lnTo>
                  <a:pt x="381126" y="228473"/>
                </a:lnTo>
                <a:lnTo>
                  <a:pt x="369095" y="228651"/>
                </a:lnTo>
                <a:lnTo>
                  <a:pt x="358600" y="229044"/>
                </a:lnTo>
                <a:lnTo>
                  <a:pt x="351176" y="229437"/>
                </a:lnTo>
                <a:lnTo>
                  <a:pt x="348361" y="229616"/>
                </a:lnTo>
              </a:path>
            </a:pathLst>
          </a:custGeom>
          <a:ln w="12192">
            <a:solidFill>
              <a:srgbClr val="7E7E7E"/>
            </a:solidFill>
          </a:ln>
        </p:spPr>
        <p:txBody>
          <a:bodyPr wrap="square" lIns="0" tIns="0" rIns="0" bIns="0" rtlCol="0"/>
          <a:lstStyle/>
          <a:p>
            <a:endParaRPr/>
          </a:p>
        </p:txBody>
      </p:sp>
      <p:sp>
        <p:nvSpPr>
          <p:cNvPr id="40" name="object 40"/>
          <p:cNvSpPr/>
          <p:nvPr/>
        </p:nvSpPr>
        <p:spPr>
          <a:xfrm>
            <a:off x="4215384" y="5038344"/>
            <a:ext cx="475615" cy="306070"/>
          </a:xfrm>
          <a:custGeom>
            <a:avLst/>
            <a:gdLst/>
            <a:ahLst/>
            <a:cxnLst/>
            <a:rect l="l" t="t" r="r" b="b"/>
            <a:pathLst>
              <a:path w="475614" h="306070">
                <a:moveTo>
                  <a:pt x="409320" y="52069"/>
                </a:moveTo>
                <a:lnTo>
                  <a:pt x="0" y="52069"/>
                </a:lnTo>
                <a:lnTo>
                  <a:pt x="0" y="294766"/>
                </a:lnTo>
                <a:lnTo>
                  <a:pt x="55684" y="303173"/>
                </a:lnTo>
                <a:lnTo>
                  <a:pt x="101542" y="305706"/>
                </a:lnTo>
                <a:lnTo>
                  <a:pt x="140027" y="303540"/>
                </a:lnTo>
                <a:lnTo>
                  <a:pt x="173597" y="297851"/>
                </a:lnTo>
                <a:lnTo>
                  <a:pt x="204708" y="289813"/>
                </a:lnTo>
                <a:lnTo>
                  <a:pt x="235814" y="280602"/>
                </a:lnTo>
                <a:lnTo>
                  <a:pt x="269373" y="271393"/>
                </a:lnTo>
                <a:lnTo>
                  <a:pt x="307839" y="263360"/>
                </a:lnTo>
                <a:lnTo>
                  <a:pt x="353670" y="257678"/>
                </a:lnTo>
                <a:lnTo>
                  <a:pt x="409320" y="255523"/>
                </a:lnTo>
                <a:lnTo>
                  <a:pt x="409320" y="52069"/>
                </a:lnTo>
                <a:close/>
              </a:path>
              <a:path w="475614" h="306070">
                <a:moveTo>
                  <a:pt x="440308" y="25780"/>
                </a:moveTo>
                <a:lnTo>
                  <a:pt x="33781" y="25780"/>
                </a:lnTo>
                <a:lnTo>
                  <a:pt x="33781" y="52069"/>
                </a:lnTo>
                <a:lnTo>
                  <a:pt x="409320" y="52069"/>
                </a:lnTo>
                <a:lnTo>
                  <a:pt x="409320" y="231901"/>
                </a:lnTo>
                <a:lnTo>
                  <a:pt x="411984" y="231683"/>
                </a:lnTo>
                <a:lnTo>
                  <a:pt x="419004" y="231203"/>
                </a:lnTo>
                <a:lnTo>
                  <a:pt x="428930" y="230723"/>
                </a:lnTo>
                <a:lnTo>
                  <a:pt x="440308" y="230504"/>
                </a:lnTo>
                <a:lnTo>
                  <a:pt x="440308" y="25780"/>
                </a:lnTo>
                <a:close/>
              </a:path>
              <a:path w="475614" h="306070">
                <a:moveTo>
                  <a:pt x="475488" y="0"/>
                </a:moveTo>
                <a:lnTo>
                  <a:pt x="65404" y="0"/>
                </a:lnTo>
                <a:lnTo>
                  <a:pt x="65404" y="25780"/>
                </a:lnTo>
                <a:lnTo>
                  <a:pt x="440308" y="25780"/>
                </a:lnTo>
                <a:lnTo>
                  <a:pt x="440308" y="205104"/>
                </a:lnTo>
                <a:lnTo>
                  <a:pt x="451278" y="204596"/>
                </a:lnTo>
                <a:lnTo>
                  <a:pt x="462543" y="204247"/>
                </a:lnTo>
                <a:lnTo>
                  <a:pt x="475488" y="204088"/>
                </a:lnTo>
                <a:lnTo>
                  <a:pt x="475488" y="0"/>
                </a:lnTo>
                <a:close/>
              </a:path>
            </a:pathLst>
          </a:custGeom>
          <a:solidFill>
            <a:srgbClr val="FFFFFF"/>
          </a:solidFill>
        </p:spPr>
        <p:txBody>
          <a:bodyPr wrap="square" lIns="0" tIns="0" rIns="0" bIns="0" rtlCol="0"/>
          <a:lstStyle/>
          <a:p>
            <a:endParaRPr/>
          </a:p>
        </p:txBody>
      </p:sp>
      <p:sp>
        <p:nvSpPr>
          <p:cNvPr id="41" name="object 41"/>
          <p:cNvSpPr/>
          <p:nvPr/>
        </p:nvSpPr>
        <p:spPr>
          <a:xfrm>
            <a:off x="4215384" y="5090414"/>
            <a:ext cx="409575" cy="254000"/>
          </a:xfrm>
          <a:custGeom>
            <a:avLst/>
            <a:gdLst/>
            <a:ahLst/>
            <a:cxnLst/>
            <a:rect l="l" t="t" r="r" b="b"/>
            <a:pathLst>
              <a:path w="409575" h="254000">
                <a:moveTo>
                  <a:pt x="0" y="0"/>
                </a:moveTo>
                <a:lnTo>
                  <a:pt x="409320" y="0"/>
                </a:lnTo>
                <a:lnTo>
                  <a:pt x="409320" y="203454"/>
                </a:lnTo>
                <a:lnTo>
                  <a:pt x="353670" y="205608"/>
                </a:lnTo>
                <a:lnTo>
                  <a:pt x="307839" y="211290"/>
                </a:lnTo>
                <a:lnTo>
                  <a:pt x="269373" y="219323"/>
                </a:lnTo>
                <a:lnTo>
                  <a:pt x="235814" y="228532"/>
                </a:lnTo>
                <a:lnTo>
                  <a:pt x="204708" y="237744"/>
                </a:lnTo>
                <a:lnTo>
                  <a:pt x="173597" y="245781"/>
                </a:lnTo>
                <a:lnTo>
                  <a:pt x="140027" y="251470"/>
                </a:lnTo>
                <a:lnTo>
                  <a:pt x="101542" y="253636"/>
                </a:lnTo>
                <a:lnTo>
                  <a:pt x="55684" y="251103"/>
                </a:lnTo>
                <a:lnTo>
                  <a:pt x="0" y="242697"/>
                </a:lnTo>
                <a:lnTo>
                  <a:pt x="0" y="0"/>
                </a:lnTo>
                <a:close/>
              </a:path>
            </a:pathLst>
          </a:custGeom>
          <a:ln w="12192">
            <a:solidFill>
              <a:srgbClr val="7E7E7E"/>
            </a:solidFill>
          </a:ln>
        </p:spPr>
        <p:txBody>
          <a:bodyPr wrap="square" lIns="0" tIns="0" rIns="0" bIns="0" rtlCol="0"/>
          <a:lstStyle/>
          <a:p>
            <a:endParaRPr/>
          </a:p>
        </p:txBody>
      </p:sp>
      <p:sp>
        <p:nvSpPr>
          <p:cNvPr id="42" name="object 42"/>
          <p:cNvSpPr/>
          <p:nvPr/>
        </p:nvSpPr>
        <p:spPr>
          <a:xfrm>
            <a:off x="4249165" y="5064125"/>
            <a:ext cx="407034" cy="206375"/>
          </a:xfrm>
          <a:custGeom>
            <a:avLst/>
            <a:gdLst/>
            <a:ahLst/>
            <a:cxnLst/>
            <a:rect l="l" t="t" r="r" b="b"/>
            <a:pathLst>
              <a:path w="407035" h="206375">
                <a:moveTo>
                  <a:pt x="0" y="26288"/>
                </a:moveTo>
                <a:lnTo>
                  <a:pt x="0" y="0"/>
                </a:lnTo>
                <a:lnTo>
                  <a:pt x="406526" y="0"/>
                </a:lnTo>
                <a:lnTo>
                  <a:pt x="406526" y="204724"/>
                </a:lnTo>
                <a:lnTo>
                  <a:pt x="395148" y="204942"/>
                </a:lnTo>
                <a:lnTo>
                  <a:pt x="385222" y="205422"/>
                </a:lnTo>
                <a:lnTo>
                  <a:pt x="378202" y="205902"/>
                </a:lnTo>
                <a:lnTo>
                  <a:pt x="375538" y="206121"/>
                </a:lnTo>
              </a:path>
            </a:pathLst>
          </a:custGeom>
          <a:ln w="12192">
            <a:solidFill>
              <a:srgbClr val="7E7E7E"/>
            </a:solidFill>
          </a:ln>
        </p:spPr>
        <p:txBody>
          <a:bodyPr wrap="square" lIns="0" tIns="0" rIns="0" bIns="0" rtlCol="0"/>
          <a:lstStyle/>
          <a:p>
            <a:endParaRPr/>
          </a:p>
        </p:txBody>
      </p:sp>
      <p:sp>
        <p:nvSpPr>
          <p:cNvPr id="43" name="object 43"/>
          <p:cNvSpPr/>
          <p:nvPr/>
        </p:nvSpPr>
        <p:spPr>
          <a:xfrm>
            <a:off x="4280789" y="5038344"/>
            <a:ext cx="410209" cy="205104"/>
          </a:xfrm>
          <a:custGeom>
            <a:avLst/>
            <a:gdLst/>
            <a:ahLst/>
            <a:cxnLst/>
            <a:rect l="l" t="t" r="r" b="b"/>
            <a:pathLst>
              <a:path w="410210" h="205104">
                <a:moveTo>
                  <a:pt x="0" y="25780"/>
                </a:moveTo>
                <a:lnTo>
                  <a:pt x="0" y="0"/>
                </a:lnTo>
                <a:lnTo>
                  <a:pt x="410083" y="0"/>
                </a:lnTo>
                <a:lnTo>
                  <a:pt x="410083" y="204088"/>
                </a:lnTo>
                <a:lnTo>
                  <a:pt x="397138" y="204247"/>
                </a:lnTo>
                <a:lnTo>
                  <a:pt x="385873" y="204596"/>
                </a:lnTo>
                <a:lnTo>
                  <a:pt x="377918" y="204946"/>
                </a:lnTo>
                <a:lnTo>
                  <a:pt x="374903" y="205104"/>
                </a:lnTo>
              </a:path>
            </a:pathLst>
          </a:custGeom>
          <a:ln w="12192">
            <a:solidFill>
              <a:srgbClr val="7E7E7E"/>
            </a:solidFill>
          </a:ln>
        </p:spPr>
        <p:txBody>
          <a:bodyPr wrap="square" lIns="0" tIns="0" rIns="0" bIns="0" rtlCol="0"/>
          <a:lstStyle/>
          <a:p>
            <a:endParaRPr/>
          </a:p>
        </p:txBody>
      </p:sp>
      <p:sp>
        <p:nvSpPr>
          <p:cNvPr id="44" name="object 44"/>
          <p:cNvSpPr/>
          <p:nvPr/>
        </p:nvSpPr>
        <p:spPr>
          <a:xfrm>
            <a:off x="5509259" y="4219955"/>
            <a:ext cx="3182620" cy="381000"/>
          </a:xfrm>
          <a:custGeom>
            <a:avLst/>
            <a:gdLst/>
            <a:ahLst/>
            <a:cxnLst/>
            <a:rect l="l" t="t" r="r" b="b"/>
            <a:pathLst>
              <a:path w="3182620" h="381000">
                <a:moveTo>
                  <a:pt x="3182112" y="0"/>
                </a:moveTo>
                <a:lnTo>
                  <a:pt x="63500" y="0"/>
                </a:lnTo>
                <a:lnTo>
                  <a:pt x="38790" y="4992"/>
                </a:lnTo>
                <a:lnTo>
                  <a:pt x="18605" y="18605"/>
                </a:lnTo>
                <a:lnTo>
                  <a:pt x="4992" y="38790"/>
                </a:lnTo>
                <a:lnTo>
                  <a:pt x="0" y="63500"/>
                </a:lnTo>
                <a:lnTo>
                  <a:pt x="0" y="381000"/>
                </a:lnTo>
                <a:lnTo>
                  <a:pt x="3118612" y="381000"/>
                </a:lnTo>
                <a:lnTo>
                  <a:pt x="3143321" y="376007"/>
                </a:lnTo>
                <a:lnTo>
                  <a:pt x="3163506" y="362394"/>
                </a:lnTo>
                <a:lnTo>
                  <a:pt x="3177119" y="342209"/>
                </a:lnTo>
                <a:lnTo>
                  <a:pt x="3182112" y="317500"/>
                </a:lnTo>
                <a:lnTo>
                  <a:pt x="3182112" y="0"/>
                </a:lnTo>
                <a:close/>
              </a:path>
            </a:pathLst>
          </a:custGeom>
          <a:solidFill>
            <a:srgbClr val="421F5D"/>
          </a:solidFill>
        </p:spPr>
        <p:txBody>
          <a:bodyPr wrap="square" lIns="0" tIns="0" rIns="0" bIns="0" rtlCol="0"/>
          <a:lstStyle/>
          <a:p>
            <a:endParaRPr/>
          </a:p>
        </p:txBody>
      </p:sp>
      <p:sp>
        <p:nvSpPr>
          <p:cNvPr id="45" name="object 45"/>
          <p:cNvSpPr txBox="1"/>
          <p:nvPr/>
        </p:nvSpPr>
        <p:spPr>
          <a:xfrm>
            <a:off x="5509259" y="1481327"/>
            <a:ext cx="6414770" cy="2661285"/>
          </a:xfrm>
          <a:prstGeom prst="rect">
            <a:avLst/>
          </a:prstGeom>
          <a:solidFill>
            <a:srgbClr val="F1F1F1"/>
          </a:solidFill>
        </p:spPr>
        <p:txBody>
          <a:bodyPr vert="horz" wrap="square" lIns="0" tIns="44450" rIns="0" bIns="0" rtlCol="0">
            <a:spAutoFit/>
          </a:bodyPr>
          <a:lstStyle/>
          <a:p>
            <a:pPr marL="92075" marR="121285">
              <a:lnSpc>
                <a:spcPct val="100000"/>
              </a:lnSpc>
              <a:spcBef>
                <a:spcPts val="350"/>
              </a:spcBef>
            </a:pPr>
            <a:r>
              <a:rPr sz="1200" spc="-15">
                <a:latin typeface="Verdana"/>
                <a:cs typeface="Verdana"/>
              </a:rPr>
              <a:t>Once the </a:t>
            </a:r>
            <a:r>
              <a:rPr sz="1200" spc="-20">
                <a:latin typeface="Verdana"/>
                <a:cs typeface="Verdana"/>
              </a:rPr>
              <a:t>initial </a:t>
            </a:r>
            <a:r>
              <a:rPr sz="1200" spc="-15">
                <a:latin typeface="Verdana"/>
                <a:cs typeface="Verdana"/>
              </a:rPr>
              <a:t>vision </a:t>
            </a:r>
            <a:r>
              <a:rPr sz="1200" spc="-5">
                <a:latin typeface="Verdana"/>
                <a:cs typeface="Verdana"/>
              </a:rPr>
              <a:t>of </a:t>
            </a:r>
            <a:r>
              <a:rPr sz="1200" spc="-20">
                <a:latin typeface="Verdana"/>
                <a:cs typeface="Verdana"/>
              </a:rPr>
              <a:t>implementation </a:t>
            </a:r>
            <a:r>
              <a:rPr sz="1200" spc="-10">
                <a:latin typeface="Verdana"/>
                <a:cs typeface="Verdana"/>
              </a:rPr>
              <a:t>is </a:t>
            </a:r>
            <a:r>
              <a:rPr sz="1200" spc="-20">
                <a:latin typeface="Verdana"/>
                <a:cs typeface="Verdana"/>
              </a:rPr>
              <a:t>established, </a:t>
            </a:r>
            <a:r>
              <a:rPr sz="1200" spc="-10">
                <a:latin typeface="Verdana"/>
                <a:cs typeface="Verdana"/>
              </a:rPr>
              <a:t>it </a:t>
            </a:r>
            <a:r>
              <a:rPr sz="1200" spc="-15">
                <a:latin typeface="Verdana"/>
                <a:cs typeface="Verdana"/>
              </a:rPr>
              <a:t>takes careful  examination </a:t>
            </a:r>
            <a:r>
              <a:rPr sz="1200" spc="-5">
                <a:latin typeface="Verdana"/>
                <a:cs typeface="Verdana"/>
              </a:rPr>
              <a:t>of </a:t>
            </a:r>
            <a:r>
              <a:rPr sz="1200" spc="-10">
                <a:latin typeface="Verdana"/>
                <a:cs typeface="Verdana"/>
              </a:rPr>
              <a:t>how </a:t>
            </a:r>
            <a:r>
              <a:rPr sz="1200" spc="-15">
                <a:latin typeface="Verdana"/>
                <a:cs typeface="Verdana"/>
              </a:rPr>
              <a:t>the </a:t>
            </a:r>
            <a:r>
              <a:rPr sz="1200" spc="-10">
                <a:latin typeface="Verdana"/>
                <a:cs typeface="Verdana"/>
              </a:rPr>
              <a:t>set of </a:t>
            </a:r>
            <a:r>
              <a:rPr sz="1200" spc="-15">
                <a:latin typeface="Verdana"/>
                <a:cs typeface="Verdana"/>
              </a:rPr>
              <a:t>business processes can </a:t>
            </a:r>
            <a:r>
              <a:rPr sz="1200" spc="-10">
                <a:latin typeface="Verdana"/>
                <a:cs typeface="Verdana"/>
              </a:rPr>
              <a:t>be </a:t>
            </a:r>
            <a:r>
              <a:rPr sz="1200" spc="-15">
                <a:latin typeface="Verdana"/>
                <a:cs typeface="Verdana"/>
              </a:rPr>
              <a:t>realized through  </a:t>
            </a:r>
            <a:r>
              <a:rPr sz="1200" spc="-20">
                <a:latin typeface="Verdana"/>
                <a:cs typeface="Verdana"/>
              </a:rPr>
              <a:t>configuration </a:t>
            </a:r>
            <a:r>
              <a:rPr sz="1200" spc="-5">
                <a:latin typeface="Verdana"/>
                <a:cs typeface="Verdana"/>
              </a:rPr>
              <a:t>or </a:t>
            </a:r>
            <a:r>
              <a:rPr sz="1200" spc="-15">
                <a:latin typeface="Verdana"/>
                <a:cs typeface="Verdana"/>
              </a:rPr>
              <a:t>customization and </a:t>
            </a:r>
            <a:r>
              <a:rPr sz="1200" spc="-20">
                <a:latin typeface="Verdana"/>
                <a:cs typeface="Verdana"/>
              </a:rPr>
              <a:t>mapping </a:t>
            </a:r>
            <a:r>
              <a:rPr sz="1200" spc="-15">
                <a:latin typeface="Verdana"/>
                <a:cs typeface="Verdana"/>
              </a:rPr>
              <a:t>business needs </a:t>
            </a:r>
            <a:r>
              <a:rPr sz="1200" spc="-10">
                <a:latin typeface="Verdana"/>
                <a:cs typeface="Verdana"/>
              </a:rPr>
              <a:t>to </a:t>
            </a:r>
            <a:r>
              <a:rPr sz="1200" spc="-15">
                <a:latin typeface="Verdana"/>
                <a:cs typeface="Verdana"/>
              </a:rPr>
              <a:t>Salesforce. </a:t>
            </a:r>
            <a:r>
              <a:rPr sz="1200">
                <a:latin typeface="Verdana"/>
                <a:cs typeface="Verdana"/>
              </a:rPr>
              <a:t>A  </a:t>
            </a:r>
            <a:r>
              <a:rPr sz="1200" spc="-15">
                <a:latin typeface="Verdana"/>
                <a:cs typeface="Verdana"/>
              </a:rPr>
              <a:t>balance has </a:t>
            </a:r>
            <a:r>
              <a:rPr sz="1200" spc="-10">
                <a:latin typeface="Verdana"/>
                <a:cs typeface="Verdana"/>
              </a:rPr>
              <a:t>to be </a:t>
            </a:r>
            <a:r>
              <a:rPr sz="1200" spc="-15">
                <a:latin typeface="Verdana"/>
                <a:cs typeface="Verdana"/>
              </a:rPr>
              <a:t>struck between user goals, standard processes and </a:t>
            </a:r>
            <a:r>
              <a:rPr sz="1200" spc="-10">
                <a:latin typeface="Verdana"/>
                <a:cs typeface="Verdana"/>
              </a:rPr>
              <a:t>need </a:t>
            </a:r>
            <a:r>
              <a:rPr sz="1200" spc="-15">
                <a:latin typeface="Verdana"/>
                <a:cs typeface="Verdana"/>
              </a:rPr>
              <a:t>and  </a:t>
            </a:r>
            <a:r>
              <a:rPr sz="1200" spc="-10">
                <a:latin typeface="Verdana"/>
                <a:cs typeface="Verdana"/>
              </a:rPr>
              <a:t>ease </a:t>
            </a:r>
            <a:r>
              <a:rPr sz="1200" spc="-5">
                <a:latin typeface="Verdana"/>
                <a:cs typeface="Verdana"/>
              </a:rPr>
              <a:t>of </a:t>
            </a:r>
            <a:r>
              <a:rPr sz="1200" spc="-20">
                <a:latin typeface="Verdana"/>
                <a:cs typeface="Verdana"/>
              </a:rPr>
              <a:t>customization. </a:t>
            </a:r>
            <a:r>
              <a:rPr sz="1200" spc="-15">
                <a:latin typeface="Verdana"/>
                <a:cs typeface="Verdana"/>
              </a:rPr>
              <a:t>Data design and </a:t>
            </a:r>
            <a:r>
              <a:rPr sz="1200" spc="-20">
                <a:latin typeface="Verdana"/>
                <a:cs typeface="Verdana"/>
              </a:rPr>
              <a:t>integration </a:t>
            </a:r>
            <a:r>
              <a:rPr sz="1200" spc="-15">
                <a:latin typeface="Verdana"/>
                <a:cs typeface="Verdana"/>
              </a:rPr>
              <a:t>with other systems </a:t>
            </a:r>
            <a:r>
              <a:rPr sz="1200" spc="-20">
                <a:latin typeface="Verdana"/>
                <a:cs typeface="Verdana"/>
              </a:rPr>
              <a:t>have </a:t>
            </a:r>
            <a:r>
              <a:rPr sz="1200" spc="-10">
                <a:latin typeface="Verdana"/>
                <a:cs typeface="Verdana"/>
              </a:rPr>
              <a:t>to be  </a:t>
            </a:r>
            <a:r>
              <a:rPr sz="1200" spc="-15">
                <a:latin typeface="Verdana"/>
                <a:cs typeface="Verdana"/>
              </a:rPr>
              <a:t>considered. </a:t>
            </a:r>
            <a:r>
              <a:rPr sz="1200">
                <a:latin typeface="Verdana"/>
                <a:cs typeface="Verdana"/>
              </a:rPr>
              <a:t>A </a:t>
            </a:r>
            <a:r>
              <a:rPr sz="1200" spc="-15">
                <a:latin typeface="Verdana"/>
                <a:cs typeface="Verdana"/>
              </a:rPr>
              <a:t>well </a:t>
            </a:r>
            <a:r>
              <a:rPr sz="1200" spc="-20">
                <a:latin typeface="Verdana"/>
                <a:cs typeface="Verdana"/>
              </a:rPr>
              <a:t>thought </a:t>
            </a:r>
            <a:r>
              <a:rPr sz="1200" spc="-10">
                <a:latin typeface="Verdana"/>
                <a:cs typeface="Verdana"/>
              </a:rPr>
              <a:t>out </a:t>
            </a:r>
            <a:r>
              <a:rPr sz="1200" spc="-15">
                <a:latin typeface="Verdana"/>
                <a:cs typeface="Verdana"/>
              </a:rPr>
              <a:t>design feeds into </a:t>
            </a:r>
            <a:r>
              <a:rPr sz="1200" spc="-20">
                <a:latin typeface="Verdana"/>
                <a:cs typeface="Verdana"/>
              </a:rPr>
              <a:t>building </a:t>
            </a:r>
            <a:r>
              <a:rPr sz="1200" spc="-15">
                <a:latin typeface="Verdana"/>
                <a:cs typeface="Verdana"/>
              </a:rPr>
              <a:t>the sprint plan and plan  the CRPs. </a:t>
            </a:r>
            <a:r>
              <a:rPr sz="1200" spc="-40">
                <a:latin typeface="Verdana"/>
                <a:cs typeface="Verdana"/>
              </a:rPr>
              <a:t>We </a:t>
            </a:r>
            <a:r>
              <a:rPr sz="1200" spc="-10">
                <a:latin typeface="Verdana"/>
                <a:cs typeface="Verdana"/>
              </a:rPr>
              <a:t>work in </a:t>
            </a:r>
            <a:r>
              <a:rPr sz="1200" spc="-15">
                <a:latin typeface="Verdana"/>
                <a:cs typeface="Verdana"/>
              </a:rPr>
              <a:t>close </a:t>
            </a:r>
            <a:r>
              <a:rPr sz="1200" spc="-20">
                <a:latin typeface="Verdana"/>
                <a:cs typeface="Verdana"/>
              </a:rPr>
              <a:t>collaboration </a:t>
            </a:r>
            <a:r>
              <a:rPr sz="1200" spc="-15">
                <a:latin typeface="Verdana"/>
                <a:cs typeface="Verdana"/>
              </a:rPr>
              <a:t>with </a:t>
            </a:r>
            <a:r>
              <a:rPr sz="1200" spc="-20">
                <a:latin typeface="Verdana"/>
                <a:cs typeface="Verdana"/>
              </a:rPr>
              <a:t>client’s </a:t>
            </a:r>
            <a:r>
              <a:rPr sz="1200" spc="-15">
                <a:latin typeface="Verdana"/>
                <a:cs typeface="Verdana"/>
              </a:rPr>
              <a:t>business process owners  and </a:t>
            </a:r>
            <a:r>
              <a:rPr sz="1200" spc="-10">
                <a:latin typeface="Verdana"/>
                <a:cs typeface="Verdana"/>
              </a:rPr>
              <a:t>IT owners </a:t>
            </a:r>
            <a:r>
              <a:rPr sz="1200" spc="-15">
                <a:latin typeface="Verdana"/>
                <a:cs typeface="Verdana"/>
              </a:rPr>
              <a:t>to prioritize and detail product backlog that becomes basis </a:t>
            </a:r>
            <a:r>
              <a:rPr sz="1200" spc="-10">
                <a:latin typeface="Verdana"/>
                <a:cs typeface="Verdana"/>
              </a:rPr>
              <a:t>for  </a:t>
            </a:r>
            <a:r>
              <a:rPr sz="1200" spc="-20">
                <a:latin typeface="Verdana"/>
                <a:cs typeface="Verdana"/>
              </a:rPr>
              <a:t>implementation </a:t>
            </a:r>
            <a:r>
              <a:rPr sz="1200" spc="-15">
                <a:latin typeface="Verdana"/>
                <a:cs typeface="Verdana"/>
              </a:rPr>
              <a:t>and refined </a:t>
            </a:r>
            <a:r>
              <a:rPr sz="1200" spc="-10">
                <a:latin typeface="Verdana"/>
                <a:cs typeface="Verdana"/>
              </a:rPr>
              <a:t>cost </a:t>
            </a:r>
            <a:r>
              <a:rPr sz="1200" spc="-20">
                <a:latin typeface="Verdana"/>
                <a:cs typeface="Verdana"/>
              </a:rPr>
              <a:t>estimations. </a:t>
            </a:r>
            <a:r>
              <a:rPr sz="1200" spc="-15">
                <a:latin typeface="Verdana"/>
                <a:cs typeface="Verdana"/>
              </a:rPr>
              <a:t>At </a:t>
            </a:r>
            <a:r>
              <a:rPr sz="1200" spc="-10">
                <a:latin typeface="Verdana"/>
                <a:cs typeface="Verdana"/>
              </a:rPr>
              <a:t>end </a:t>
            </a:r>
            <a:r>
              <a:rPr sz="1200" spc="-5">
                <a:latin typeface="Verdana"/>
                <a:cs typeface="Verdana"/>
              </a:rPr>
              <a:t>of </a:t>
            </a:r>
            <a:r>
              <a:rPr sz="1200" spc="-15">
                <a:latin typeface="Verdana"/>
                <a:cs typeface="Verdana"/>
              </a:rPr>
              <a:t>this phase both  stakeholders and users </a:t>
            </a:r>
            <a:r>
              <a:rPr sz="1200" spc="-20">
                <a:latin typeface="Verdana"/>
                <a:cs typeface="Verdana"/>
              </a:rPr>
              <a:t>have </a:t>
            </a:r>
            <a:r>
              <a:rPr sz="1200">
                <a:latin typeface="Verdana"/>
                <a:cs typeface="Verdana"/>
              </a:rPr>
              <a:t>a </a:t>
            </a:r>
            <a:r>
              <a:rPr sz="1200" spc="-15">
                <a:latin typeface="Verdana"/>
                <a:cs typeface="Verdana"/>
              </a:rPr>
              <a:t>clear view </a:t>
            </a:r>
            <a:r>
              <a:rPr sz="1200" spc="-5">
                <a:latin typeface="Verdana"/>
                <a:cs typeface="Verdana"/>
              </a:rPr>
              <a:t>of </a:t>
            </a:r>
            <a:r>
              <a:rPr sz="1200" spc="-10">
                <a:latin typeface="Verdana"/>
                <a:cs typeface="Verdana"/>
              </a:rPr>
              <a:t>how </a:t>
            </a:r>
            <a:r>
              <a:rPr sz="1200" spc="-15">
                <a:latin typeface="Verdana"/>
                <a:cs typeface="Verdana"/>
              </a:rPr>
              <a:t>the project</a:t>
            </a:r>
            <a:r>
              <a:rPr sz="1200" spc="45">
                <a:latin typeface="Verdana"/>
                <a:cs typeface="Verdana"/>
              </a:rPr>
              <a:t> </a:t>
            </a:r>
            <a:r>
              <a:rPr sz="1200" spc="-15">
                <a:latin typeface="Verdana"/>
                <a:cs typeface="Verdana"/>
              </a:rPr>
              <a:t>proceeds</a:t>
            </a:r>
            <a:endParaRPr sz="1200">
              <a:latin typeface="Verdana"/>
              <a:cs typeface="Verdana"/>
            </a:endParaRPr>
          </a:p>
        </p:txBody>
      </p:sp>
      <p:sp>
        <p:nvSpPr>
          <p:cNvPr id="46" name="object 46"/>
          <p:cNvSpPr/>
          <p:nvPr/>
        </p:nvSpPr>
        <p:spPr>
          <a:xfrm>
            <a:off x="5509259" y="1114044"/>
            <a:ext cx="6414770" cy="381000"/>
          </a:xfrm>
          <a:custGeom>
            <a:avLst/>
            <a:gdLst/>
            <a:ahLst/>
            <a:cxnLst/>
            <a:rect l="l" t="t" r="r" b="b"/>
            <a:pathLst>
              <a:path w="6414770" h="381000">
                <a:moveTo>
                  <a:pt x="6414516" y="0"/>
                </a:moveTo>
                <a:lnTo>
                  <a:pt x="63500" y="0"/>
                </a:lnTo>
                <a:lnTo>
                  <a:pt x="38790" y="4992"/>
                </a:lnTo>
                <a:lnTo>
                  <a:pt x="18605" y="18605"/>
                </a:lnTo>
                <a:lnTo>
                  <a:pt x="4992" y="38790"/>
                </a:lnTo>
                <a:lnTo>
                  <a:pt x="0" y="63500"/>
                </a:lnTo>
                <a:lnTo>
                  <a:pt x="0" y="381000"/>
                </a:lnTo>
                <a:lnTo>
                  <a:pt x="6351016" y="381000"/>
                </a:lnTo>
                <a:lnTo>
                  <a:pt x="6375725" y="376007"/>
                </a:lnTo>
                <a:lnTo>
                  <a:pt x="6395910" y="362394"/>
                </a:lnTo>
                <a:lnTo>
                  <a:pt x="6409523" y="342209"/>
                </a:lnTo>
                <a:lnTo>
                  <a:pt x="6414516" y="317500"/>
                </a:lnTo>
                <a:lnTo>
                  <a:pt x="6414516" y="0"/>
                </a:lnTo>
                <a:close/>
              </a:path>
            </a:pathLst>
          </a:custGeom>
          <a:solidFill>
            <a:srgbClr val="006FAC"/>
          </a:solidFill>
        </p:spPr>
        <p:txBody>
          <a:bodyPr wrap="square" lIns="0" tIns="0" rIns="0" bIns="0" rtlCol="0"/>
          <a:lstStyle/>
          <a:p>
            <a:endParaRPr/>
          </a:p>
        </p:txBody>
      </p:sp>
      <p:sp>
        <p:nvSpPr>
          <p:cNvPr id="47" name="object 47"/>
          <p:cNvSpPr txBox="1"/>
          <p:nvPr/>
        </p:nvSpPr>
        <p:spPr>
          <a:xfrm>
            <a:off x="8280907" y="1199134"/>
            <a:ext cx="87503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Pre-Game</a:t>
            </a:r>
            <a:endParaRPr sz="1200">
              <a:latin typeface="Verdana"/>
              <a:cs typeface="Verdana"/>
            </a:endParaRPr>
          </a:p>
        </p:txBody>
      </p:sp>
      <p:sp>
        <p:nvSpPr>
          <p:cNvPr id="48" name="object 48"/>
          <p:cNvSpPr txBox="1"/>
          <p:nvPr/>
        </p:nvSpPr>
        <p:spPr>
          <a:xfrm>
            <a:off x="8741664" y="4585715"/>
            <a:ext cx="3182620" cy="1903730"/>
          </a:xfrm>
          <a:prstGeom prst="rect">
            <a:avLst/>
          </a:prstGeom>
          <a:solidFill>
            <a:srgbClr val="F1F1F1"/>
          </a:solidFill>
        </p:spPr>
        <p:txBody>
          <a:bodyPr vert="horz" wrap="square" lIns="0" tIns="45720" rIns="0" bIns="0" rtlCol="0">
            <a:spAutoFit/>
          </a:bodyPr>
          <a:lstStyle/>
          <a:p>
            <a:pPr marL="271145" indent="-179070">
              <a:lnSpc>
                <a:spcPct val="100000"/>
              </a:lnSpc>
              <a:spcBef>
                <a:spcPts val="360"/>
              </a:spcBef>
              <a:buClr>
                <a:srgbClr val="006FAC"/>
              </a:buClr>
              <a:buFont typeface="Wingdings"/>
              <a:buChar char=""/>
              <a:tabLst>
                <a:tab pos="271780" algn="l"/>
              </a:tabLst>
            </a:pPr>
            <a:r>
              <a:rPr sz="1200" spc="-5">
                <a:latin typeface="Verdana"/>
                <a:cs typeface="Verdana"/>
              </a:rPr>
              <a:t>JIRA</a:t>
            </a:r>
            <a:endParaRPr sz="1200">
              <a:latin typeface="Verdana"/>
              <a:cs typeface="Verdana"/>
            </a:endParaRPr>
          </a:p>
          <a:p>
            <a:pPr marL="271145" indent="-179070">
              <a:lnSpc>
                <a:spcPct val="100000"/>
              </a:lnSpc>
              <a:spcBef>
                <a:spcPts val="204"/>
              </a:spcBef>
              <a:buClr>
                <a:srgbClr val="006FAC"/>
              </a:buClr>
              <a:buFont typeface="Wingdings"/>
              <a:buChar char=""/>
              <a:tabLst>
                <a:tab pos="271780" algn="l"/>
              </a:tabLst>
            </a:pPr>
            <a:r>
              <a:rPr sz="1200" spc="-5">
                <a:latin typeface="Verdana"/>
                <a:cs typeface="Verdana"/>
              </a:rPr>
              <a:t>Confluence</a:t>
            </a:r>
            <a:endParaRPr sz="1200">
              <a:latin typeface="Verdana"/>
              <a:cs typeface="Verdana"/>
            </a:endParaRPr>
          </a:p>
        </p:txBody>
      </p:sp>
      <p:sp>
        <p:nvSpPr>
          <p:cNvPr id="49" name="object 49"/>
          <p:cNvSpPr/>
          <p:nvPr/>
        </p:nvSpPr>
        <p:spPr>
          <a:xfrm>
            <a:off x="8741664" y="4219955"/>
            <a:ext cx="3182620" cy="381000"/>
          </a:xfrm>
          <a:custGeom>
            <a:avLst/>
            <a:gdLst/>
            <a:ahLst/>
            <a:cxnLst/>
            <a:rect l="l" t="t" r="r" b="b"/>
            <a:pathLst>
              <a:path w="3182620" h="381000">
                <a:moveTo>
                  <a:pt x="3182111" y="0"/>
                </a:moveTo>
                <a:lnTo>
                  <a:pt x="63500" y="0"/>
                </a:lnTo>
                <a:lnTo>
                  <a:pt x="38790" y="4992"/>
                </a:lnTo>
                <a:lnTo>
                  <a:pt x="18605" y="18605"/>
                </a:lnTo>
                <a:lnTo>
                  <a:pt x="4992" y="38790"/>
                </a:lnTo>
                <a:lnTo>
                  <a:pt x="0" y="63500"/>
                </a:lnTo>
                <a:lnTo>
                  <a:pt x="0" y="381000"/>
                </a:lnTo>
                <a:lnTo>
                  <a:pt x="3118611" y="381000"/>
                </a:lnTo>
                <a:lnTo>
                  <a:pt x="3143321" y="376007"/>
                </a:lnTo>
                <a:lnTo>
                  <a:pt x="3163506" y="362394"/>
                </a:lnTo>
                <a:lnTo>
                  <a:pt x="3177119" y="342209"/>
                </a:lnTo>
                <a:lnTo>
                  <a:pt x="3182111" y="317500"/>
                </a:lnTo>
                <a:lnTo>
                  <a:pt x="3182111" y="0"/>
                </a:lnTo>
                <a:close/>
              </a:path>
            </a:pathLst>
          </a:custGeom>
          <a:solidFill>
            <a:srgbClr val="421F5D"/>
          </a:solidFill>
        </p:spPr>
        <p:txBody>
          <a:bodyPr wrap="square" lIns="0" tIns="0" rIns="0" bIns="0" rtlCol="0"/>
          <a:lstStyle/>
          <a:p>
            <a:endParaRPr/>
          </a:p>
        </p:txBody>
      </p:sp>
      <p:sp>
        <p:nvSpPr>
          <p:cNvPr id="50" name="object 50"/>
          <p:cNvSpPr txBox="1"/>
          <p:nvPr/>
        </p:nvSpPr>
        <p:spPr>
          <a:xfrm>
            <a:off x="6253225" y="4310882"/>
            <a:ext cx="5805424" cy="197490"/>
          </a:xfrm>
          <a:prstGeom prst="rect">
            <a:avLst/>
          </a:prstGeom>
        </p:spPr>
        <p:txBody>
          <a:bodyPr vert="horz" wrap="square" lIns="0" tIns="12700" rIns="0" bIns="0" rtlCol="0">
            <a:spAutoFit/>
          </a:bodyPr>
          <a:lstStyle/>
          <a:p>
            <a:pPr marL="12700">
              <a:lnSpc>
                <a:spcPct val="100000"/>
              </a:lnSpc>
              <a:spcBef>
                <a:spcPts val="100"/>
              </a:spcBef>
              <a:tabLst>
                <a:tab pos="3208020" algn="l"/>
              </a:tabLst>
            </a:pPr>
            <a:r>
              <a:rPr sz="1200" b="1" spc="-5">
                <a:solidFill>
                  <a:srgbClr val="FFFFFF"/>
                </a:solidFill>
                <a:latin typeface="Verdana"/>
                <a:cs typeface="Verdana"/>
              </a:rPr>
              <a:t>Activities	</a:t>
            </a:r>
            <a:r>
              <a:rPr sz="1200" b="1">
                <a:solidFill>
                  <a:srgbClr val="FFFFFF"/>
                </a:solidFill>
                <a:latin typeface="Verdana"/>
                <a:cs typeface="Verdana"/>
              </a:rPr>
              <a:t>ALM</a:t>
            </a:r>
            <a:r>
              <a:rPr sz="1200" b="1" spc="-80">
                <a:solidFill>
                  <a:srgbClr val="FFFFFF"/>
                </a:solidFill>
                <a:latin typeface="Verdana"/>
                <a:cs typeface="Verdana"/>
              </a:rPr>
              <a:t> </a:t>
            </a:r>
            <a:r>
              <a:rPr sz="1200" b="1">
                <a:solidFill>
                  <a:srgbClr val="FFFFFF"/>
                </a:solidFill>
                <a:latin typeface="Verdana"/>
                <a:cs typeface="Verdana"/>
              </a:rPr>
              <a:t>Tools</a:t>
            </a:r>
            <a:r>
              <a:rPr lang="it-IT" sz="1200" b="1">
                <a:solidFill>
                  <a:srgbClr val="FFFFFF"/>
                </a:solidFill>
                <a:latin typeface="Verdana"/>
                <a:cs typeface="Verdana"/>
              </a:rPr>
              <a:t> (</a:t>
            </a:r>
            <a:r>
              <a:rPr lang="it-IT" sz="1200" b="1" err="1">
                <a:solidFill>
                  <a:srgbClr val="FFFFFF"/>
                </a:solidFill>
                <a:latin typeface="Verdana"/>
                <a:cs typeface="Verdana"/>
              </a:rPr>
              <a:t>examples</a:t>
            </a:r>
            <a:r>
              <a:rPr lang="it-IT" sz="1200" b="1">
                <a:solidFill>
                  <a:srgbClr val="FFFFFF"/>
                </a:solidFill>
                <a:latin typeface="Verdana"/>
                <a:cs typeface="Verdana"/>
              </a:rPr>
              <a:t>) </a:t>
            </a:r>
            <a:endParaRPr sz="1200">
              <a:latin typeface="Verdana"/>
              <a:cs typeface="Verdana"/>
            </a:endParaRPr>
          </a:p>
        </p:txBody>
      </p:sp>
      <p:sp>
        <p:nvSpPr>
          <p:cNvPr id="51" name="object 5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2" name="object 5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5</a:t>
            </a:fld>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466076" y="0"/>
            <a:ext cx="4725923" cy="5821680"/>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14680" y="181737"/>
            <a:ext cx="6149975" cy="696595"/>
          </a:xfrm>
          <a:prstGeom prst="rect">
            <a:avLst/>
          </a:prstGeom>
        </p:spPr>
        <p:txBody>
          <a:bodyPr vert="horz" wrap="square" lIns="0" tIns="12700" rIns="0" bIns="0" rtlCol="0">
            <a:spAutoFit/>
          </a:bodyPr>
          <a:lstStyle/>
          <a:p>
            <a:pPr marL="12700">
              <a:lnSpc>
                <a:spcPts val="3000"/>
              </a:lnSpc>
              <a:spcBef>
                <a:spcPts val="100"/>
              </a:spcBef>
            </a:pPr>
            <a:r>
              <a:rPr sz="2600"/>
              <a:t>A Backlog is a </a:t>
            </a:r>
            <a:r>
              <a:rPr sz="2600" spc="-5"/>
              <a:t>Set </a:t>
            </a:r>
            <a:r>
              <a:rPr sz="2600"/>
              <a:t>of User</a:t>
            </a:r>
            <a:r>
              <a:rPr sz="2600" spc="-105"/>
              <a:t> </a:t>
            </a:r>
            <a:r>
              <a:rPr sz="2600"/>
              <a:t>Stories</a:t>
            </a:r>
          </a:p>
          <a:p>
            <a:pPr marL="12700">
              <a:lnSpc>
                <a:spcPts val="2280"/>
              </a:lnSpc>
            </a:pPr>
            <a:r>
              <a:rPr sz="2000">
                <a:solidFill>
                  <a:srgbClr val="12ABDB"/>
                </a:solidFill>
              </a:rPr>
              <a:t>How </a:t>
            </a:r>
            <a:r>
              <a:rPr sz="2000" spc="-5">
                <a:solidFill>
                  <a:srgbClr val="12ABDB"/>
                </a:solidFill>
              </a:rPr>
              <a:t>User Stories </a:t>
            </a:r>
            <a:r>
              <a:rPr sz="2000">
                <a:solidFill>
                  <a:srgbClr val="12ABDB"/>
                </a:solidFill>
              </a:rPr>
              <a:t>can Support </a:t>
            </a:r>
            <a:r>
              <a:rPr sz="2000" spc="-5">
                <a:solidFill>
                  <a:srgbClr val="12ABDB"/>
                </a:solidFill>
              </a:rPr>
              <a:t>in </a:t>
            </a:r>
            <a:r>
              <a:rPr sz="2000" spc="-10">
                <a:solidFill>
                  <a:srgbClr val="12ABDB"/>
                </a:solidFill>
              </a:rPr>
              <a:t>Reducing</a:t>
            </a:r>
            <a:r>
              <a:rPr sz="2000" spc="-150">
                <a:solidFill>
                  <a:srgbClr val="12ABDB"/>
                </a:solidFill>
              </a:rPr>
              <a:t> </a:t>
            </a:r>
            <a:r>
              <a:rPr sz="2000" spc="-5">
                <a:solidFill>
                  <a:srgbClr val="12ABDB"/>
                </a:solidFill>
              </a:rPr>
              <a:t>Gaps</a:t>
            </a:r>
            <a:endParaRPr sz="2000"/>
          </a:p>
        </p:txBody>
      </p:sp>
      <p:sp>
        <p:nvSpPr>
          <p:cNvPr id="4" name="object 4"/>
          <p:cNvSpPr txBox="1"/>
          <p:nvPr/>
        </p:nvSpPr>
        <p:spPr>
          <a:xfrm>
            <a:off x="1401317" y="1848688"/>
            <a:ext cx="6328410" cy="2464435"/>
          </a:xfrm>
          <a:prstGeom prst="rect">
            <a:avLst/>
          </a:prstGeom>
        </p:spPr>
        <p:txBody>
          <a:bodyPr vert="horz" wrap="square" lIns="0" tIns="12065" rIns="0" bIns="0" rtlCol="0">
            <a:spAutoFit/>
          </a:bodyPr>
          <a:lstStyle/>
          <a:p>
            <a:pPr marL="12700">
              <a:lnSpc>
                <a:spcPct val="100000"/>
              </a:lnSpc>
              <a:spcBef>
                <a:spcPts val="95"/>
              </a:spcBef>
            </a:pPr>
            <a:r>
              <a:rPr sz="1600" spc="-10">
                <a:latin typeface="Verdana"/>
                <a:cs typeface="Verdana"/>
              </a:rPr>
              <a:t>Many teams </a:t>
            </a:r>
            <a:r>
              <a:rPr sz="1600" spc="-5">
                <a:latin typeface="Verdana"/>
                <a:cs typeface="Verdana"/>
              </a:rPr>
              <a:t>struggle in </a:t>
            </a:r>
            <a:r>
              <a:rPr sz="1600" spc="-10">
                <a:latin typeface="Verdana"/>
                <a:cs typeface="Verdana"/>
              </a:rPr>
              <a:t>writing </a:t>
            </a:r>
            <a:r>
              <a:rPr sz="1600" spc="-5">
                <a:latin typeface="Verdana"/>
                <a:cs typeface="Verdana"/>
              </a:rPr>
              <a:t>and </a:t>
            </a:r>
            <a:r>
              <a:rPr sz="1600" spc="-10">
                <a:latin typeface="Verdana"/>
                <a:cs typeface="Verdana"/>
              </a:rPr>
              <a:t>understanding </a:t>
            </a:r>
            <a:r>
              <a:rPr sz="1600" spc="-5">
                <a:latin typeface="Verdana"/>
                <a:cs typeface="Verdana"/>
              </a:rPr>
              <a:t>the fit</a:t>
            </a:r>
            <a:r>
              <a:rPr sz="1600" spc="225">
                <a:latin typeface="Verdana"/>
                <a:cs typeface="Verdana"/>
              </a:rPr>
              <a:t> </a:t>
            </a:r>
            <a:r>
              <a:rPr sz="1600" spc="-5">
                <a:latin typeface="Verdana"/>
                <a:cs typeface="Verdana"/>
              </a:rPr>
              <a:t>of</a:t>
            </a:r>
            <a:endParaRPr sz="1600">
              <a:latin typeface="Verdana"/>
              <a:cs typeface="Verdana"/>
            </a:endParaRPr>
          </a:p>
          <a:p>
            <a:pPr marL="12700">
              <a:lnSpc>
                <a:spcPct val="100000"/>
              </a:lnSpc>
              <a:spcBef>
                <a:spcPts val="5"/>
              </a:spcBef>
            </a:pPr>
            <a:r>
              <a:rPr sz="1600" spc="-5">
                <a:latin typeface="Verdana"/>
                <a:cs typeface="Verdana"/>
              </a:rPr>
              <a:t>User Stories and Agile </a:t>
            </a:r>
            <a:r>
              <a:rPr sz="1600" spc="-10">
                <a:latin typeface="Verdana"/>
                <a:cs typeface="Verdana"/>
              </a:rPr>
              <a:t>Design into </a:t>
            </a:r>
            <a:r>
              <a:rPr sz="1600" spc="-5">
                <a:latin typeface="Verdana"/>
                <a:cs typeface="Verdana"/>
              </a:rPr>
              <a:t>a Salesforce</a:t>
            </a:r>
            <a:r>
              <a:rPr sz="1600" spc="200">
                <a:latin typeface="Verdana"/>
                <a:cs typeface="Verdana"/>
              </a:rPr>
              <a:t> </a:t>
            </a:r>
            <a:r>
              <a:rPr sz="1600" spc="-10">
                <a:latin typeface="Verdana"/>
                <a:cs typeface="Verdana"/>
              </a:rPr>
              <a:t>project.</a:t>
            </a:r>
            <a:endParaRPr sz="1600">
              <a:latin typeface="Verdana"/>
              <a:cs typeface="Verdana"/>
            </a:endParaRPr>
          </a:p>
          <a:p>
            <a:pPr>
              <a:lnSpc>
                <a:spcPct val="100000"/>
              </a:lnSpc>
              <a:spcBef>
                <a:spcPts val="20"/>
              </a:spcBef>
            </a:pPr>
            <a:endParaRPr sz="1650">
              <a:latin typeface="Times New Roman"/>
              <a:cs typeface="Times New Roman"/>
            </a:endParaRPr>
          </a:p>
          <a:p>
            <a:pPr marL="12700" marR="433070">
              <a:lnSpc>
                <a:spcPct val="100000"/>
              </a:lnSpc>
              <a:spcBef>
                <a:spcPts val="5"/>
              </a:spcBef>
            </a:pPr>
            <a:r>
              <a:rPr sz="1600">
                <a:latin typeface="Verdana"/>
                <a:cs typeface="Verdana"/>
              </a:rPr>
              <a:t>In </a:t>
            </a:r>
            <a:r>
              <a:rPr sz="1600" spc="-5">
                <a:latin typeface="Verdana"/>
                <a:cs typeface="Verdana"/>
              </a:rPr>
              <a:t>this </a:t>
            </a:r>
            <a:r>
              <a:rPr sz="1600" spc="-10">
                <a:latin typeface="Verdana"/>
                <a:cs typeface="Verdana"/>
              </a:rPr>
              <a:t>project, </a:t>
            </a:r>
            <a:r>
              <a:rPr sz="1600" spc="-5">
                <a:latin typeface="Verdana"/>
                <a:cs typeface="Verdana"/>
              </a:rPr>
              <a:t>to </a:t>
            </a:r>
            <a:r>
              <a:rPr sz="1600" spc="-10">
                <a:latin typeface="Verdana"/>
                <a:cs typeface="Verdana"/>
              </a:rPr>
              <a:t>stick </a:t>
            </a:r>
            <a:r>
              <a:rPr sz="1600" spc="-5">
                <a:latin typeface="Verdana"/>
                <a:cs typeface="Verdana"/>
              </a:rPr>
              <a:t>to standard, User Stories are  </a:t>
            </a:r>
            <a:r>
              <a:rPr sz="1600" spc="-10">
                <a:latin typeface="Verdana"/>
                <a:cs typeface="Verdana"/>
              </a:rPr>
              <a:t>leveraged </a:t>
            </a:r>
            <a:r>
              <a:rPr sz="1600" spc="-5">
                <a:latin typeface="Verdana"/>
                <a:cs typeface="Verdana"/>
              </a:rPr>
              <a:t>to focus on </a:t>
            </a:r>
            <a:r>
              <a:rPr sz="1600" spc="-10">
                <a:latin typeface="Verdana"/>
                <a:cs typeface="Verdana"/>
              </a:rPr>
              <a:t>the desired result, </a:t>
            </a:r>
            <a:r>
              <a:rPr sz="1600" spc="-5">
                <a:latin typeface="Verdana"/>
                <a:cs typeface="Verdana"/>
              </a:rPr>
              <a:t>not so </a:t>
            </a:r>
            <a:r>
              <a:rPr sz="1600" spc="-10">
                <a:latin typeface="Verdana"/>
                <a:cs typeface="Verdana"/>
              </a:rPr>
              <a:t>much </a:t>
            </a:r>
            <a:r>
              <a:rPr sz="1600" spc="-5">
                <a:latin typeface="Verdana"/>
                <a:cs typeface="Verdana"/>
              </a:rPr>
              <a:t>the  </a:t>
            </a:r>
            <a:r>
              <a:rPr sz="1600" spc="-35">
                <a:latin typeface="Verdana"/>
                <a:cs typeface="Verdana"/>
              </a:rPr>
              <a:t>“how”.</a:t>
            </a:r>
            <a:endParaRPr sz="1600">
              <a:latin typeface="Verdana"/>
              <a:cs typeface="Verdana"/>
            </a:endParaRPr>
          </a:p>
          <a:p>
            <a:pPr>
              <a:lnSpc>
                <a:spcPct val="100000"/>
              </a:lnSpc>
              <a:spcBef>
                <a:spcPts val="20"/>
              </a:spcBef>
            </a:pPr>
            <a:endParaRPr sz="1650">
              <a:latin typeface="Times New Roman"/>
              <a:cs typeface="Times New Roman"/>
            </a:endParaRPr>
          </a:p>
          <a:p>
            <a:pPr marL="12700" marR="5080">
              <a:lnSpc>
                <a:spcPct val="100000"/>
              </a:lnSpc>
            </a:pPr>
            <a:r>
              <a:rPr sz="1600" spc="-10">
                <a:latin typeface="Verdana"/>
                <a:cs typeface="Verdana"/>
              </a:rPr>
              <a:t>Through lessons </a:t>
            </a:r>
            <a:r>
              <a:rPr sz="1600" spc="-5">
                <a:latin typeface="Verdana"/>
                <a:cs typeface="Verdana"/>
              </a:rPr>
              <a:t>learned </a:t>
            </a:r>
            <a:r>
              <a:rPr sz="1600" spc="-10">
                <a:latin typeface="Verdana"/>
                <a:cs typeface="Verdana"/>
              </a:rPr>
              <a:t>with </a:t>
            </a:r>
            <a:r>
              <a:rPr sz="1600" spc="-5">
                <a:latin typeface="Verdana"/>
                <a:cs typeface="Verdana"/>
              </a:rPr>
              <a:t>other </a:t>
            </a:r>
            <a:r>
              <a:rPr sz="1600" spc="-10">
                <a:latin typeface="Verdana"/>
                <a:cs typeface="Verdana"/>
              </a:rPr>
              <a:t>projects, we have </a:t>
            </a:r>
            <a:r>
              <a:rPr sz="1600" spc="-5">
                <a:latin typeface="Verdana"/>
                <a:cs typeface="Verdana"/>
              </a:rPr>
              <a:t>applied  our lean, industrialized, and </a:t>
            </a:r>
            <a:r>
              <a:rPr sz="1600" spc="-10">
                <a:latin typeface="Verdana"/>
                <a:cs typeface="Verdana"/>
              </a:rPr>
              <a:t>principles </a:t>
            </a:r>
            <a:r>
              <a:rPr sz="1600" spc="-5">
                <a:latin typeface="Verdana"/>
                <a:cs typeface="Verdana"/>
              </a:rPr>
              <a:t>to </a:t>
            </a:r>
            <a:r>
              <a:rPr sz="1600" spc="-10">
                <a:latin typeface="Verdana"/>
                <a:cs typeface="Verdana"/>
              </a:rPr>
              <a:t>guide </a:t>
            </a:r>
            <a:r>
              <a:rPr sz="1600" spc="-5">
                <a:latin typeface="Verdana"/>
                <a:cs typeface="Verdana"/>
              </a:rPr>
              <a:t>User Story  </a:t>
            </a:r>
            <a:r>
              <a:rPr sz="1600" spc="-10">
                <a:latin typeface="Verdana"/>
                <a:cs typeface="Verdana"/>
              </a:rPr>
              <a:t>writing.</a:t>
            </a:r>
            <a:endParaRPr sz="1600">
              <a:latin typeface="Verdana"/>
              <a:cs typeface="Verdana"/>
            </a:endParaRPr>
          </a:p>
        </p:txBody>
      </p:sp>
      <p:sp>
        <p:nvSpPr>
          <p:cNvPr id="5" name="object 5"/>
          <p:cNvSpPr/>
          <p:nvPr/>
        </p:nvSpPr>
        <p:spPr>
          <a:xfrm>
            <a:off x="327659" y="1328927"/>
            <a:ext cx="897890" cy="894715"/>
          </a:xfrm>
          <a:custGeom>
            <a:avLst/>
            <a:gdLst/>
            <a:ahLst/>
            <a:cxnLst/>
            <a:rect l="l" t="t" r="r" b="b"/>
            <a:pathLst>
              <a:path w="897890" h="894714">
                <a:moveTo>
                  <a:pt x="448818" y="0"/>
                </a:moveTo>
                <a:lnTo>
                  <a:pt x="400243" y="2648"/>
                </a:lnTo>
                <a:lnTo>
                  <a:pt x="353103" y="10405"/>
                </a:lnTo>
                <a:lnTo>
                  <a:pt x="307682" y="22988"/>
                </a:lnTo>
                <a:lnTo>
                  <a:pt x="264263" y="40112"/>
                </a:lnTo>
                <a:lnTo>
                  <a:pt x="223130" y="61496"/>
                </a:lnTo>
                <a:lnTo>
                  <a:pt x="184567" y="86855"/>
                </a:lnTo>
                <a:lnTo>
                  <a:pt x="148859" y="115908"/>
                </a:lnTo>
                <a:lnTo>
                  <a:pt x="116288" y="148370"/>
                </a:lnTo>
                <a:lnTo>
                  <a:pt x="87139" y="183958"/>
                </a:lnTo>
                <a:lnTo>
                  <a:pt x="61696" y="222391"/>
                </a:lnTo>
                <a:lnTo>
                  <a:pt x="40242" y="263383"/>
                </a:lnTo>
                <a:lnTo>
                  <a:pt x="23062" y="306653"/>
                </a:lnTo>
                <a:lnTo>
                  <a:pt x="10439" y="351916"/>
                </a:lnTo>
                <a:lnTo>
                  <a:pt x="2657" y="398891"/>
                </a:lnTo>
                <a:lnTo>
                  <a:pt x="0" y="447294"/>
                </a:lnTo>
                <a:lnTo>
                  <a:pt x="2657" y="496072"/>
                </a:lnTo>
                <a:lnTo>
                  <a:pt x="10439" y="543319"/>
                </a:lnTo>
                <a:lnTo>
                  <a:pt x="23062" y="588763"/>
                </a:lnTo>
                <a:lnTo>
                  <a:pt x="40242" y="632133"/>
                </a:lnTo>
                <a:lnTo>
                  <a:pt x="61696" y="673156"/>
                </a:lnTo>
                <a:lnTo>
                  <a:pt x="87139" y="711561"/>
                </a:lnTo>
                <a:lnTo>
                  <a:pt x="116288" y="747077"/>
                </a:lnTo>
                <a:lnTo>
                  <a:pt x="148859" y="779432"/>
                </a:lnTo>
                <a:lnTo>
                  <a:pt x="184567" y="808353"/>
                </a:lnTo>
                <a:lnTo>
                  <a:pt x="223130" y="833571"/>
                </a:lnTo>
                <a:lnTo>
                  <a:pt x="264263" y="854813"/>
                </a:lnTo>
                <a:lnTo>
                  <a:pt x="307682" y="871807"/>
                </a:lnTo>
                <a:lnTo>
                  <a:pt x="353103" y="884282"/>
                </a:lnTo>
                <a:lnTo>
                  <a:pt x="400243" y="891966"/>
                </a:lnTo>
                <a:lnTo>
                  <a:pt x="448818" y="894588"/>
                </a:lnTo>
                <a:lnTo>
                  <a:pt x="497768" y="891966"/>
                </a:lnTo>
                <a:lnTo>
                  <a:pt x="545181" y="884282"/>
                </a:lnTo>
                <a:lnTo>
                  <a:pt x="570181" y="877443"/>
                </a:lnTo>
                <a:lnTo>
                  <a:pt x="448818" y="877443"/>
                </a:lnTo>
                <a:lnTo>
                  <a:pt x="401967" y="874933"/>
                </a:lnTo>
                <a:lnTo>
                  <a:pt x="356536" y="867576"/>
                </a:lnTo>
                <a:lnTo>
                  <a:pt x="312793" y="855628"/>
                </a:lnTo>
                <a:lnTo>
                  <a:pt x="271006" y="839344"/>
                </a:lnTo>
                <a:lnTo>
                  <a:pt x="231443" y="818980"/>
                </a:lnTo>
                <a:lnTo>
                  <a:pt x="194374" y="794793"/>
                </a:lnTo>
                <a:lnTo>
                  <a:pt x="160066" y="767038"/>
                </a:lnTo>
                <a:lnTo>
                  <a:pt x="128789" y="735972"/>
                </a:lnTo>
                <a:lnTo>
                  <a:pt x="100811" y="701850"/>
                </a:lnTo>
                <a:lnTo>
                  <a:pt x="76400" y="664929"/>
                </a:lnTo>
                <a:lnTo>
                  <a:pt x="55825" y="625465"/>
                </a:lnTo>
                <a:lnTo>
                  <a:pt x="39355" y="583713"/>
                </a:lnTo>
                <a:lnTo>
                  <a:pt x="27258" y="539930"/>
                </a:lnTo>
                <a:lnTo>
                  <a:pt x="19803" y="494371"/>
                </a:lnTo>
                <a:lnTo>
                  <a:pt x="17259" y="447294"/>
                </a:lnTo>
                <a:lnTo>
                  <a:pt x="19803" y="400592"/>
                </a:lnTo>
                <a:lnTo>
                  <a:pt x="27258" y="355306"/>
                </a:lnTo>
                <a:lnTo>
                  <a:pt x="39355" y="311703"/>
                </a:lnTo>
                <a:lnTo>
                  <a:pt x="55825" y="270051"/>
                </a:lnTo>
                <a:lnTo>
                  <a:pt x="76400" y="230617"/>
                </a:lnTo>
                <a:lnTo>
                  <a:pt x="100811" y="193669"/>
                </a:lnTo>
                <a:lnTo>
                  <a:pt x="128789" y="159475"/>
                </a:lnTo>
                <a:lnTo>
                  <a:pt x="160066" y="128301"/>
                </a:lnTo>
                <a:lnTo>
                  <a:pt x="194374" y="100416"/>
                </a:lnTo>
                <a:lnTo>
                  <a:pt x="231443" y="76087"/>
                </a:lnTo>
                <a:lnTo>
                  <a:pt x="271006" y="55581"/>
                </a:lnTo>
                <a:lnTo>
                  <a:pt x="312793" y="39166"/>
                </a:lnTo>
                <a:lnTo>
                  <a:pt x="356536" y="27110"/>
                </a:lnTo>
                <a:lnTo>
                  <a:pt x="401967" y="19681"/>
                </a:lnTo>
                <a:lnTo>
                  <a:pt x="448818" y="17145"/>
                </a:lnTo>
                <a:lnTo>
                  <a:pt x="569606" y="17145"/>
                </a:lnTo>
                <a:lnTo>
                  <a:pt x="545181" y="10405"/>
                </a:lnTo>
                <a:lnTo>
                  <a:pt x="497768" y="2648"/>
                </a:lnTo>
                <a:lnTo>
                  <a:pt x="448818" y="0"/>
                </a:lnTo>
                <a:close/>
              </a:path>
              <a:path w="897890" h="894714">
                <a:moveTo>
                  <a:pt x="569606" y="17145"/>
                </a:moveTo>
                <a:lnTo>
                  <a:pt x="448818" y="17145"/>
                </a:lnTo>
                <a:lnTo>
                  <a:pt x="496044" y="19681"/>
                </a:lnTo>
                <a:lnTo>
                  <a:pt x="541747" y="27110"/>
                </a:lnTo>
                <a:lnTo>
                  <a:pt x="585671" y="39166"/>
                </a:lnTo>
                <a:lnTo>
                  <a:pt x="627558" y="55581"/>
                </a:lnTo>
                <a:lnTo>
                  <a:pt x="667152" y="76087"/>
                </a:lnTo>
                <a:lnTo>
                  <a:pt x="704194" y="100416"/>
                </a:lnTo>
                <a:lnTo>
                  <a:pt x="738429" y="128301"/>
                </a:lnTo>
                <a:lnTo>
                  <a:pt x="769599" y="159475"/>
                </a:lnTo>
                <a:lnTo>
                  <a:pt x="797446" y="193669"/>
                </a:lnTo>
                <a:lnTo>
                  <a:pt x="821715" y="230617"/>
                </a:lnTo>
                <a:lnTo>
                  <a:pt x="842148" y="270051"/>
                </a:lnTo>
                <a:lnTo>
                  <a:pt x="858487" y="311703"/>
                </a:lnTo>
                <a:lnTo>
                  <a:pt x="870476" y="355306"/>
                </a:lnTo>
                <a:lnTo>
                  <a:pt x="877858" y="400592"/>
                </a:lnTo>
                <a:lnTo>
                  <a:pt x="880376" y="447294"/>
                </a:lnTo>
                <a:lnTo>
                  <a:pt x="877858" y="494371"/>
                </a:lnTo>
                <a:lnTo>
                  <a:pt x="870476" y="539930"/>
                </a:lnTo>
                <a:lnTo>
                  <a:pt x="858487" y="583713"/>
                </a:lnTo>
                <a:lnTo>
                  <a:pt x="842148" y="625465"/>
                </a:lnTo>
                <a:lnTo>
                  <a:pt x="821715" y="664929"/>
                </a:lnTo>
                <a:lnTo>
                  <a:pt x="797446" y="701850"/>
                </a:lnTo>
                <a:lnTo>
                  <a:pt x="769599" y="735972"/>
                </a:lnTo>
                <a:lnTo>
                  <a:pt x="738429" y="767038"/>
                </a:lnTo>
                <a:lnTo>
                  <a:pt x="704194" y="794793"/>
                </a:lnTo>
                <a:lnTo>
                  <a:pt x="667152" y="818980"/>
                </a:lnTo>
                <a:lnTo>
                  <a:pt x="627558" y="839344"/>
                </a:lnTo>
                <a:lnTo>
                  <a:pt x="585671" y="855628"/>
                </a:lnTo>
                <a:lnTo>
                  <a:pt x="541747" y="867576"/>
                </a:lnTo>
                <a:lnTo>
                  <a:pt x="496044" y="874933"/>
                </a:lnTo>
                <a:lnTo>
                  <a:pt x="448818" y="877443"/>
                </a:lnTo>
                <a:lnTo>
                  <a:pt x="570181" y="877443"/>
                </a:lnTo>
                <a:lnTo>
                  <a:pt x="634301" y="854813"/>
                </a:lnTo>
                <a:lnTo>
                  <a:pt x="675465" y="833571"/>
                </a:lnTo>
                <a:lnTo>
                  <a:pt x="714000" y="808353"/>
                </a:lnTo>
                <a:lnTo>
                  <a:pt x="749636" y="779432"/>
                </a:lnTo>
                <a:lnTo>
                  <a:pt x="782099" y="747077"/>
                </a:lnTo>
                <a:lnTo>
                  <a:pt x="811117" y="711561"/>
                </a:lnTo>
                <a:lnTo>
                  <a:pt x="836419" y="673156"/>
                </a:lnTo>
                <a:lnTo>
                  <a:pt x="857730" y="632133"/>
                </a:lnTo>
                <a:lnTo>
                  <a:pt x="874780" y="588763"/>
                </a:lnTo>
                <a:lnTo>
                  <a:pt x="887296" y="543319"/>
                </a:lnTo>
                <a:lnTo>
                  <a:pt x="895005" y="496072"/>
                </a:lnTo>
                <a:lnTo>
                  <a:pt x="897636" y="447294"/>
                </a:lnTo>
                <a:lnTo>
                  <a:pt x="895005" y="398891"/>
                </a:lnTo>
                <a:lnTo>
                  <a:pt x="887296" y="351916"/>
                </a:lnTo>
                <a:lnTo>
                  <a:pt x="874780" y="306653"/>
                </a:lnTo>
                <a:lnTo>
                  <a:pt x="857730" y="263383"/>
                </a:lnTo>
                <a:lnTo>
                  <a:pt x="836419" y="222391"/>
                </a:lnTo>
                <a:lnTo>
                  <a:pt x="811117" y="183958"/>
                </a:lnTo>
                <a:lnTo>
                  <a:pt x="782099" y="148370"/>
                </a:lnTo>
                <a:lnTo>
                  <a:pt x="749636" y="115908"/>
                </a:lnTo>
                <a:lnTo>
                  <a:pt x="714000" y="86855"/>
                </a:lnTo>
                <a:lnTo>
                  <a:pt x="675465" y="61496"/>
                </a:lnTo>
                <a:lnTo>
                  <a:pt x="634301" y="40112"/>
                </a:lnTo>
                <a:lnTo>
                  <a:pt x="590782" y="22988"/>
                </a:lnTo>
                <a:lnTo>
                  <a:pt x="569606" y="17145"/>
                </a:lnTo>
                <a:close/>
              </a:path>
            </a:pathLst>
          </a:custGeom>
          <a:solidFill>
            <a:srgbClr val="12ABDB"/>
          </a:solidFill>
        </p:spPr>
        <p:txBody>
          <a:bodyPr wrap="square" lIns="0" tIns="0" rIns="0" bIns="0" rtlCol="0"/>
          <a:lstStyle/>
          <a:p>
            <a:endParaRPr/>
          </a:p>
        </p:txBody>
      </p:sp>
      <p:sp>
        <p:nvSpPr>
          <p:cNvPr id="6" name="object 6"/>
          <p:cNvSpPr/>
          <p:nvPr/>
        </p:nvSpPr>
        <p:spPr>
          <a:xfrm>
            <a:off x="372618" y="1372361"/>
            <a:ext cx="810895" cy="807720"/>
          </a:xfrm>
          <a:custGeom>
            <a:avLst/>
            <a:gdLst/>
            <a:ahLst/>
            <a:cxnLst/>
            <a:rect l="l" t="t" r="r" b="b"/>
            <a:pathLst>
              <a:path w="810894" h="807719">
                <a:moveTo>
                  <a:pt x="405384" y="0"/>
                </a:moveTo>
                <a:lnTo>
                  <a:pt x="358107" y="2717"/>
                </a:lnTo>
                <a:lnTo>
                  <a:pt x="312432" y="10668"/>
                </a:lnTo>
                <a:lnTo>
                  <a:pt x="268664" y="23548"/>
                </a:lnTo>
                <a:lnTo>
                  <a:pt x="227105" y="41054"/>
                </a:lnTo>
                <a:lnTo>
                  <a:pt x="188062" y="62884"/>
                </a:lnTo>
                <a:lnTo>
                  <a:pt x="151836" y="88734"/>
                </a:lnTo>
                <a:lnTo>
                  <a:pt x="118733" y="118300"/>
                </a:lnTo>
                <a:lnTo>
                  <a:pt x="89058" y="151280"/>
                </a:lnTo>
                <a:lnTo>
                  <a:pt x="63113" y="187370"/>
                </a:lnTo>
                <a:lnTo>
                  <a:pt x="41203" y="226267"/>
                </a:lnTo>
                <a:lnTo>
                  <a:pt x="23633" y="267668"/>
                </a:lnTo>
                <a:lnTo>
                  <a:pt x="10706" y="311269"/>
                </a:lnTo>
                <a:lnTo>
                  <a:pt x="2727" y="356767"/>
                </a:lnTo>
                <a:lnTo>
                  <a:pt x="0" y="403860"/>
                </a:lnTo>
                <a:lnTo>
                  <a:pt x="2727" y="450952"/>
                </a:lnTo>
                <a:lnTo>
                  <a:pt x="10706" y="496450"/>
                </a:lnTo>
                <a:lnTo>
                  <a:pt x="23633" y="540051"/>
                </a:lnTo>
                <a:lnTo>
                  <a:pt x="41203" y="581452"/>
                </a:lnTo>
                <a:lnTo>
                  <a:pt x="63113" y="620349"/>
                </a:lnTo>
                <a:lnTo>
                  <a:pt x="89058" y="656439"/>
                </a:lnTo>
                <a:lnTo>
                  <a:pt x="118733" y="689419"/>
                </a:lnTo>
                <a:lnTo>
                  <a:pt x="151836" y="718985"/>
                </a:lnTo>
                <a:lnTo>
                  <a:pt x="188062" y="744835"/>
                </a:lnTo>
                <a:lnTo>
                  <a:pt x="227105" y="766665"/>
                </a:lnTo>
                <a:lnTo>
                  <a:pt x="268664" y="784171"/>
                </a:lnTo>
                <a:lnTo>
                  <a:pt x="312432" y="797052"/>
                </a:lnTo>
                <a:lnTo>
                  <a:pt x="358107" y="805002"/>
                </a:lnTo>
                <a:lnTo>
                  <a:pt x="405384" y="807720"/>
                </a:lnTo>
                <a:lnTo>
                  <a:pt x="452660" y="805002"/>
                </a:lnTo>
                <a:lnTo>
                  <a:pt x="498335" y="797052"/>
                </a:lnTo>
                <a:lnTo>
                  <a:pt x="542103" y="784171"/>
                </a:lnTo>
                <a:lnTo>
                  <a:pt x="583662" y="766665"/>
                </a:lnTo>
                <a:lnTo>
                  <a:pt x="622705" y="744835"/>
                </a:lnTo>
                <a:lnTo>
                  <a:pt x="658931" y="718985"/>
                </a:lnTo>
                <a:lnTo>
                  <a:pt x="692034" y="689419"/>
                </a:lnTo>
                <a:lnTo>
                  <a:pt x="721709" y="656439"/>
                </a:lnTo>
                <a:lnTo>
                  <a:pt x="747654" y="620349"/>
                </a:lnTo>
                <a:lnTo>
                  <a:pt x="769564" y="581452"/>
                </a:lnTo>
                <a:lnTo>
                  <a:pt x="787134" y="540051"/>
                </a:lnTo>
                <a:lnTo>
                  <a:pt x="800061" y="496450"/>
                </a:lnTo>
                <a:lnTo>
                  <a:pt x="808040" y="450952"/>
                </a:lnTo>
                <a:lnTo>
                  <a:pt x="810768" y="403860"/>
                </a:lnTo>
                <a:lnTo>
                  <a:pt x="808040" y="356767"/>
                </a:lnTo>
                <a:lnTo>
                  <a:pt x="800061" y="311269"/>
                </a:lnTo>
                <a:lnTo>
                  <a:pt x="787134" y="267668"/>
                </a:lnTo>
                <a:lnTo>
                  <a:pt x="769564" y="226267"/>
                </a:lnTo>
                <a:lnTo>
                  <a:pt x="747654" y="187370"/>
                </a:lnTo>
                <a:lnTo>
                  <a:pt x="721709" y="151280"/>
                </a:lnTo>
                <a:lnTo>
                  <a:pt x="692034" y="118300"/>
                </a:lnTo>
                <a:lnTo>
                  <a:pt x="658931" y="88734"/>
                </a:lnTo>
                <a:lnTo>
                  <a:pt x="622705" y="62884"/>
                </a:lnTo>
                <a:lnTo>
                  <a:pt x="583662" y="41054"/>
                </a:lnTo>
                <a:lnTo>
                  <a:pt x="542103" y="23548"/>
                </a:lnTo>
                <a:lnTo>
                  <a:pt x="498335" y="10668"/>
                </a:lnTo>
                <a:lnTo>
                  <a:pt x="452660" y="2717"/>
                </a:lnTo>
                <a:lnTo>
                  <a:pt x="405384" y="0"/>
                </a:lnTo>
                <a:close/>
              </a:path>
            </a:pathLst>
          </a:custGeom>
          <a:solidFill>
            <a:srgbClr val="2B133C"/>
          </a:solidFill>
        </p:spPr>
        <p:txBody>
          <a:bodyPr wrap="square" lIns="0" tIns="0" rIns="0" bIns="0" rtlCol="0"/>
          <a:lstStyle/>
          <a:p>
            <a:endParaRPr/>
          </a:p>
        </p:txBody>
      </p:sp>
      <p:sp>
        <p:nvSpPr>
          <p:cNvPr id="7" name="object 7"/>
          <p:cNvSpPr/>
          <p:nvPr/>
        </p:nvSpPr>
        <p:spPr>
          <a:xfrm>
            <a:off x="372618" y="1372361"/>
            <a:ext cx="810895" cy="807720"/>
          </a:xfrm>
          <a:custGeom>
            <a:avLst/>
            <a:gdLst/>
            <a:ahLst/>
            <a:cxnLst/>
            <a:rect l="l" t="t" r="r" b="b"/>
            <a:pathLst>
              <a:path w="810894" h="807719">
                <a:moveTo>
                  <a:pt x="405384" y="0"/>
                </a:moveTo>
                <a:lnTo>
                  <a:pt x="452660" y="2717"/>
                </a:lnTo>
                <a:lnTo>
                  <a:pt x="498335" y="10667"/>
                </a:lnTo>
                <a:lnTo>
                  <a:pt x="542103" y="23548"/>
                </a:lnTo>
                <a:lnTo>
                  <a:pt x="583662" y="41054"/>
                </a:lnTo>
                <a:lnTo>
                  <a:pt x="622705" y="62884"/>
                </a:lnTo>
                <a:lnTo>
                  <a:pt x="658931" y="88734"/>
                </a:lnTo>
                <a:lnTo>
                  <a:pt x="692034" y="118300"/>
                </a:lnTo>
                <a:lnTo>
                  <a:pt x="721709" y="151280"/>
                </a:lnTo>
                <a:lnTo>
                  <a:pt x="747654" y="187370"/>
                </a:lnTo>
                <a:lnTo>
                  <a:pt x="769564" y="226267"/>
                </a:lnTo>
                <a:lnTo>
                  <a:pt x="787134" y="267668"/>
                </a:lnTo>
                <a:lnTo>
                  <a:pt x="800061" y="311269"/>
                </a:lnTo>
                <a:lnTo>
                  <a:pt x="808040" y="356767"/>
                </a:lnTo>
                <a:lnTo>
                  <a:pt x="810768" y="403860"/>
                </a:lnTo>
                <a:lnTo>
                  <a:pt x="808040" y="450952"/>
                </a:lnTo>
                <a:lnTo>
                  <a:pt x="800061" y="496450"/>
                </a:lnTo>
                <a:lnTo>
                  <a:pt x="787134" y="540051"/>
                </a:lnTo>
                <a:lnTo>
                  <a:pt x="769564" y="581452"/>
                </a:lnTo>
                <a:lnTo>
                  <a:pt x="747654" y="620349"/>
                </a:lnTo>
                <a:lnTo>
                  <a:pt x="721709" y="656439"/>
                </a:lnTo>
                <a:lnTo>
                  <a:pt x="692034" y="689419"/>
                </a:lnTo>
                <a:lnTo>
                  <a:pt x="658931" y="718985"/>
                </a:lnTo>
                <a:lnTo>
                  <a:pt x="622705" y="744835"/>
                </a:lnTo>
                <a:lnTo>
                  <a:pt x="583662" y="766665"/>
                </a:lnTo>
                <a:lnTo>
                  <a:pt x="542103" y="784171"/>
                </a:lnTo>
                <a:lnTo>
                  <a:pt x="498335" y="797051"/>
                </a:lnTo>
                <a:lnTo>
                  <a:pt x="452660" y="805002"/>
                </a:lnTo>
                <a:lnTo>
                  <a:pt x="405384" y="807720"/>
                </a:lnTo>
                <a:lnTo>
                  <a:pt x="358107" y="805002"/>
                </a:lnTo>
                <a:lnTo>
                  <a:pt x="312432" y="797052"/>
                </a:lnTo>
                <a:lnTo>
                  <a:pt x="268664" y="784171"/>
                </a:lnTo>
                <a:lnTo>
                  <a:pt x="227105" y="766665"/>
                </a:lnTo>
                <a:lnTo>
                  <a:pt x="188062" y="744835"/>
                </a:lnTo>
                <a:lnTo>
                  <a:pt x="151836" y="718985"/>
                </a:lnTo>
                <a:lnTo>
                  <a:pt x="118733" y="689419"/>
                </a:lnTo>
                <a:lnTo>
                  <a:pt x="89058" y="656439"/>
                </a:lnTo>
                <a:lnTo>
                  <a:pt x="63113" y="620349"/>
                </a:lnTo>
                <a:lnTo>
                  <a:pt x="41203" y="581452"/>
                </a:lnTo>
                <a:lnTo>
                  <a:pt x="23633" y="540051"/>
                </a:lnTo>
                <a:lnTo>
                  <a:pt x="10706" y="496450"/>
                </a:lnTo>
                <a:lnTo>
                  <a:pt x="2727" y="450952"/>
                </a:lnTo>
                <a:lnTo>
                  <a:pt x="0" y="403860"/>
                </a:lnTo>
                <a:lnTo>
                  <a:pt x="2727" y="356767"/>
                </a:lnTo>
                <a:lnTo>
                  <a:pt x="10706" y="311269"/>
                </a:lnTo>
                <a:lnTo>
                  <a:pt x="23633" y="267668"/>
                </a:lnTo>
                <a:lnTo>
                  <a:pt x="41203" y="226267"/>
                </a:lnTo>
                <a:lnTo>
                  <a:pt x="63113" y="187370"/>
                </a:lnTo>
                <a:lnTo>
                  <a:pt x="89058" y="151280"/>
                </a:lnTo>
                <a:lnTo>
                  <a:pt x="118733" y="118300"/>
                </a:lnTo>
                <a:lnTo>
                  <a:pt x="151836" y="88734"/>
                </a:lnTo>
                <a:lnTo>
                  <a:pt x="188062" y="62884"/>
                </a:lnTo>
                <a:lnTo>
                  <a:pt x="227105" y="41054"/>
                </a:lnTo>
                <a:lnTo>
                  <a:pt x="268664" y="23548"/>
                </a:lnTo>
                <a:lnTo>
                  <a:pt x="312432" y="10668"/>
                </a:lnTo>
                <a:lnTo>
                  <a:pt x="358107" y="2717"/>
                </a:lnTo>
                <a:lnTo>
                  <a:pt x="405384" y="0"/>
                </a:lnTo>
                <a:close/>
              </a:path>
            </a:pathLst>
          </a:custGeom>
          <a:ln w="19812">
            <a:solidFill>
              <a:srgbClr val="006FAC"/>
            </a:solidFill>
          </a:ln>
        </p:spPr>
        <p:txBody>
          <a:bodyPr wrap="square" lIns="0" tIns="0" rIns="0" bIns="0" rtlCol="0"/>
          <a:lstStyle/>
          <a:p>
            <a:endParaRPr/>
          </a:p>
        </p:txBody>
      </p:sp>
      <p:sp>
        <p:nvSpPr>
          <p:cNvPr id="8" name="object 8"/>
          <p:cNvSpPr/>
          <p:nvPr/>
        </p:nvSpPr>
        <p:spPr>
          <a:xfrm>
            <a:off x="198120" y="1748027"/>
            <a:ext cx="546100" cy="1450975"/>
          </a:xfrm>
          <a:custGeom>
            <a:avLst/>
            <a:gdLst/>
            <a:ahLst/>
            <a:cxnLst/>
            <a:rect l="l" t="t" r="r" b="b"/>
            <a:pathLst>
              <a:path w="546100" h="1450975">
                <a:moveTo>
                  <a:pt x="30187" y="0"/>
                </a:moveTo>
                <a:lnTo>
                  <a:pt x="18195" y="2258"/>
                </a:lnTo>
                <a:lnTo>
                  <a:pt x="8626" y="8350"/>
                </a:lnTo>
                <a:lnTo>
                  <a:pt x="2291" y="17252"/>
                </a:lnTo>
                <a:lnTo>
                  <a:pt x="0" y="27939"/>
                </a:lnTo>
                <a:lnTo>
                  <a:pt x="1549" y="38324"/>
                </a:lnTo>
                <a:lnTo>
                  <a:pt x="5929" y="46720"/>
                </a:lnTo>
                <a:lnTo>
                  <a:pt x="12735" y="52710"/>
                </a:lnTo>
                <a:lnTo>
                  <a:pt x="21564" y="55880"/>
                </a:lnTo>
                <a:lnTo>
                  <a:pt x="26159" y="105274"/>
                </a:lnTo>
                <a:lnTo>
                  <a:pt x="34971" y="153364"/>
                </a:lnTo>
                <a:lnTo>
                  <a:pt x="47820" y="199953"/>
                </a:lnTo>
                <a:lnTo>
                  <a:pt x="64526" y="244848"/>
                </a:lnTo>
                <a:lnTo>
                  <a:pt x="84908" y="287852"/>
                </a:lnTo>
                <a:lnTo>
                  <a:pt x="108788" y="328771"/>
                </a:lnTo>
                <a:lnTo>
                  <a:pt x="135984" y="367410"/>
                </a:lnTo>
                <a:lnTo>
                  <a:pt x="166317" y="403574"/>
                </a:lnTo>
                <a:lnTo>
                  <a:pt x="199607" y="437068"/>
                </a:lnTo>
                <a:lnTo>
                  <a:pt x="235674" y="467697"/>
                </a:lnTo>
                <a:lnTo>
                  <a:pt x="274337" y="495266"/>
                </a:lnTo>
                <a:lnTo>
                  <a:pt x="315417" y="519580"/>
                </a:lnTo>
                <a:lnTo>
                  <a:pt x="358734" y="540445"/>
                </a:lnTo>
                <a:lnTo>
                  <a:pt x="404107" y="557664"/>
                </a:lnTo>
                <a:lnTo>
                  <a:pt x="451357" y="571044"/>
                </a:lnTo>
                <a:lnTo>
                  <a:pt x="500303" y="580389"/>
                </a:lnTo>
                <a:lnTo>
                  <a:pt x="500303" y="1377823"/>
                </a:lnTo>
                <a:lnTo>
                  <a:pt x="488311" y="1381660"/>
                </a:lnTo>
                <a:lnTo>
                  <a:pt x="478742" y="1389570"/>
                </a:lnTo>
                <a:lnTo>
                  <a:pt x="472407" y="1400718"/>
                </a:lnTo>
                <a:lnTo>
                  <a:pt x="470115" y="1414272"/>
                </a:lnTo>
                <a:lnTo>
                  <a:pt x="473147" y="1428184"/>
                </a:lnTo>
                <a:lnTo>
                  <a:pt x="481434" y="1439846"/>
                </a:lnTo>
                <a:lnTo>
                  <a:pt x="493765" y="1447865"/>
                </a:lnTo>
                <a:lnTo>
                  <a:pt x="508927" y="1450848"/>
                </a:lnTo>
                <a:lnTo>
                  <a:pt x="523753" y="1447865"/>
                </a:lnTo>
                <a:lnTo>
                  <a:pt x="535346" y="1439846"/>
                </a:lnTo>
                <a:lnTo>
                  <a:pt x="539323" y="1433702"/>
                </a:lnTo>
                <a:lnTo>
                  <a:pt x="508927" y="1433702"/>
                </a:lnTo>
                <a:lnTo>
                  <a:pt x="501008" y="1432184"/>
                </a:lnTo>
                <a:lnTo>
                  <a:pt x="494101" y="1428035"/>
                </a:lnTo>
                <a:lnTo>
                  <a:pt x="489215" y="1421862"/>
                </a:lnTo>
                <a:lnTo>
                  <a:pt x="487362" y="1414272"/>
                </a:lnTo>
                <a:lnTo>
                  <a:pt x="489215" y="1405507"/>
                </a:lnTo>
                <a:lnTo>
                  <a:pt x="494101" y="1398730"/>
                </a:lnTo>
                <a:lnTo>
                  <a:pt x="501008" y="1394358"/>
                </a:lnTo>
                <a:lnTo>
                  <a:pt x="508927" y="1392809"/>
                </a:lnTo>
                <a:lnTo>
                  <a:pt x="539669" y="1392809"/>
                </a:lnTo>
                <a:lnTo>
                  <a:pt x="538045" y="1389570"/>
                </a:lnTo>
                <a:lnTo>
                  <a:pt x="529218" y="1381660"/>
                </a:lnTo>
                <a:lnTo>
                  <a:pt x="517563" y="1377823"/>
                </a:lnTo>
                <a:lnTo>
                  <a:pt x="517563" y="565276"/>
                </a:lnTo>
                <a:lnTo>
                  <a:pt x="508927" y="563118"/>
                </a:lnTo>
                <a:lnTo>
                  <a:pt x="461144" y="554963"/>
                </a:lnTo>
                <a:lnTo>
                  <a:pt x="414960" y="542729"/>
                </a:lnTo>
                <a:lnTo>
                  <a:pt x="370558" y="526617"/>
                </a:lnTo>
                <a:lnTo>
                  <a:pt x="328120" y="506829"/>
                </a:lnTo>
                <a:lnTo>
                  <a:pt x="287830" y="483565"/>
                </a:lnTo>
                <a:lnTo>
                  <a:pt x="249872" y="457028"/>
                </a:lnTo>
                <a:lnTo>
                  <a:pt x="214427" y="427419"/>
                </a:lnTo>
                <a:lnTo>
                  <a:pt x="181681" y="394938"/>
                </a:lnTo>
                <a:lnTo>
                  <a:pt x="151815" y="359787"/>
                </a:lnTo>
                <a:lnTo>
                  <a:pt x="125014" y="322167"/>
                </a:lnTo>
                <a:lnTo>
                  <a:pt x="101459" y="282280"/>
                </a:lnTo>
                <a:lnTo>
                  <a:pt x="81336" y="240327"/>
                </a:lnTo>
                <a:lnTo>
                  <a:pt x="64826" y="196509"/>
                </a:lnTo>
                <a:lnTo>
                  <a:pt x="52113" y="151028"/>
                </a:lnTo>
                <a:lnTo>
                  <a:pt x="43380" y="104084"/>
                </a:lnTo>
                <a:lnTo>
                  <a:pt x="38811" y="55880"/>
                </a:lnTo>
                <a:lnTo>
                  <a:pt x="46394" y="51514"/>
                </a:lnTo>
                <a:lnTo>
                  <a:pt x="52563" y="45148"/>
                </a:lnTo>
                <a:lnTo>
                  <a:pt x="56711" y="37163"/>
                </a:lnTo>
                <a:lnTo>
                  <a:pt x="58229" y="27939"/>
                </a:lnTo>
                <a:lnTo>
                  <a:pt x="55971" y="17252"/>
                </a:lnTo>
                <a:lnTo>
                  <a:pt x="49871" y="8350"/>
                </a:lnTo>
                <a:lnTo>
                  <a:pt x="40939" y="2258"/>
                </a:lnTo>
                <a:lnTo>
                  <a:pt x="30187" y="0"/>
                </a:lnTo>
                <a:close/>
              </a:path>
              <a:path w="546100" h="1450975">
                <a:moveTo>
                  <a:pt x="539669" y="1392809"/>
                </a:moveTo>
                <a:lnTo>
                  <a:pt x="508927" y="1392809"/>
                </a:lnTo>
                <a:lnTo>
                  <a:pt x="516509" y="1394358"/>
                </a:lnTo>
                <a:lnTo>
                  <a:pt x="522679" y="1398730"/>
                </a:lnTo>
                <a:lnTo>
                  <a:pt x="526827" y="1405507"/>
                </a:lnTo>
                <a:lnTo>
                  <a:pt x="528345" y="1414272"/>
                </a:lnTo>
                <a:lnTo>
                  <a:pt x="526827" y="1421862"/>
                </a:lnTo>
                <a:lnTo>
                  <a:pt x="522679" y="1428035"/>
                </a:lnTo>
                <a:lnTo>
                  <a:pt x="516509" y="1432184"/>
                </a:lnTo>
                <a:lnTo>
                  <a:pt x="508927" y="1433702"/>
                </a:lnTo>
                <a:lnTo>
                  <a:pt x="539323" y="1433702"/>
                </a:lnTo>
                <a:lnTo>
                  <a:pt x="542895" y="1428184"/>
                </a:lnTo>
                <a:lnTo>
                  <a:pt x="545592" y="1414272"/>
                </a:lnTo>
                <a:lnTo>
                  <a:pt x="543637" y="1400718"/>
                </a:lnTo>
                <a:lnTo>
                  <a:pt x="539669" y="1392809"/>
                </a:lnTo>
                <a:close/>
              </a:path>
            </a:pathLst>
          </a:custGeom>
          <a:solidFill>
            <a:srgbClr val="12ABDB"/>
          </a:solidFill>
        </p:spPr>
        <p:txBody>
          <a:bodyPr wrap="square" lIns="0" tIns="0" rIns="0" bIns="0" rtlCol="0"/>
          <a:lstStyle/>
          <a:p>
            <a:endParaRPr/>
          </a:p>
        </p:txBody>
      </p:sp>
      <p:sp>
        <p:nvSpPr>
          <p:cNvPr id="9" name="object 9"/>
          <p:cNvSpPr/>
          <p:nvPr/>
        </p:nvSpPr>
        <p:spPr>
          <a:xfrm>
            <a:off x="268224" y="1269491"/>
            <a:ext cx="1019810" cy="1015365"/>
          </a:xfrm>
          <a:custGeom>
            <a:avLst/>
            <a:gdLst/>
            <a:ahLst/>
            <a:cxnLst/>
            <a:rect l="l" t="t" r="r" b="b"/>
            <a:pathLst>
              <a:path w="1019810" h="1015364">
                <a:moveTo>
                  <a:pt x="508660" y="0"/>
                </a:moveTo>
                <a:lnTo>
                  <a:pt x="459790" y="2326"/>
                </a:lnTo>
                <a:lnTo>
                  <a:pt x="412209" y="9163"/>
                </a:lnTo>
                <a:lnTo>
                  <a:pt x="366133" y="20294"/>
                </a:lnTo>
                <a:lnTo>
                  <a:pt x="321778" y="35504"/>
                </a:lnTo>
                <a:lnTo>
                  <a:pt x="279359" y="54579"/>
                </a:lnTo>
                <a:lnTo>
                  <a:pt x="239094" y="77304"/>
                </a:lnTo>
                <a:lnTo>
                  <a:pt x="201196" y="103462"/>
                </a:lnTo>
                <a:lnTo>
                  <a:pt x="165884" y="132840"/>
                </a:lnTo>
                <a:lnTo>
                  <a:pt x="133372" y="165222"/>
                </a:lnTo>
                <a:lnTo>
                  <a:pt x="103876" y="200392"/>
                </a:lnTo>
                <a:lnTo>
                  <a:pt x="77612" y="238136"/>
                </a:lnTo>
                <a:lnTo>
                  <a:pt x="54797" y="278239"/>
                </a:lnTo>
                <a:lnTo>
                  <a:pt x="35646" y="320485"/>
                </a:lnTo>
                <a:lnTo>
                  <a:pt x="20374" y="364660"/>
                </a:lnTo>
                <a:lnTo>
                  <a:pt x="9199" y="410548"/>
                </a:lnTo>
                <a:lnTo>
                  <a:pt x="2335" y="457934"/>
                </a:lnTo>
                <a:lnTo>
                  <a:pt x="0" y="506603"/>
                </a:lnTo>
                <a:lnTo>
                  <a:pt x="2204" y="554511"/>
                </a:lnTo>
                <a:lnTo>
                  <a:pt x="8689" y="601153"/>
                </a:lnTo>
                <a:lnTo>
                  <a:pt x="19259" y="646330"/>
                </a:lnTo>
                <a:lnTo>
                  <a:pt x="33720" y="689847"/>
                </a:lnTo>
                <a:lnTo>
                  <a:pt x="51877" y="731507"/>
                </a:lnTo>
                <a:lnTo>
                  <a:pt x="73534" y="771114"/>
                </a:lnTo>
                <a:lnTo>
                  <a:pt x="98498" y="808469"/>
                </a:lnTo>
                <a:lnTo>
                  <a:pt x="126573" y="843378"/>
                </a:lnTo>
                <a:lnTo>
                  <a:pt x="157566" y="875643"/>
                </a:lnTo>
                <a:lnTo>
                  <a:pt x="191280" y="905067"/>
                </a:lnTo>
                <a:lnTo>
                  <a:pt x="227522" y="931454"/>
                </a:lnTo>
                <a:lnTo>
                  <a:pt x="266097" y="954607"/>
                </a:lnTo>
                <a:lnTo>
                  <a:pt x="306810" y="974330"/>
                </a:lnTo>
                <a:lnTo>
                  <a:pt x="349466" y="990426"/>
                </a:lnTo>
                <a:lnTo>
                  <a:pt x="393870" y="1002698"/>
                </a:lnTo>
                <a:lnTo>
                  <a:pt x="439829" y="1010949"/>
                </a:lnTo>
                <a:lnTo>
                  <a:pt x="487146" y="1014984"/>
                </a:lnTo>
                <a:lnTo>
                  <a:pt x="530275" y="1014984"/>
                </a:lnTo>
                <a:lnTo>
                  <a:pt x="530275" y="972185"/>
                </a:lnTo>
                <a:lnTo>
                  <a:pt x="508660" y="972185"/>
                </a:lnTo>
                <a:lnTo>
                  <a:pt x="461174" y="969785"/>
                </a:lnTo>
                <a:lnTo>
                  <a:pt x="415034" y="962743"/>
                </a:lnTo>
                <a:lnTo>
                  <a:pt x="370478" y="951289"/>
                </a:lnTo>
                <a:lnTo>
                  <a:pt x="327741" y="935656"/>
                </a:lnTo>
                <a:lnTo>
                  <a:pt x="287061" y="916076"/>
                </a:lnTo>
                <a:lnTo>
                  <a:pt x="248676" y="892782"/>
                </a:lnTo>
                <a:lnTo>
                  <a:pt x="212821" y="866005"/>
                </a:lnTo>
                <a:lnTo>
                  <a:pt x="179735" y="835977"/>
                </a:lnTo>
                <a:lnTo>
                  <a:pt x="149653" y="802931"/>
                </a:lnTo>
                <a:lnTo>
                  <a:pt x="122813" y="767099"/>
                </a:lnTo>
                <a:lnTo>
                  <a:pt x="99453" y="728714"/>
                </a:lnTo>
                <a:lnTo>
                  <a:pt x="79808" y="688006"/>
                </a:lnTo>
                <a:lnTo>
                  <a:pt x="64116" y="645209"/>
                </a:lnTo>
                <a:lnTo>
                  <a:pt x="52615" y="600555"/>
                </a:lnTo>
                <a:lnTo>
                  <a:pt x="45540" y="554275"/>
                </a:lnTo>
                <a:lnTo>
                  <a:pt x="43129" y="506603"/>
                </a:lnTo>
                <a:lnTo>
                  <a:pt x="45540" y="459288"/>
                </a:lnTo>
                <a:lnTo>
                  <a:pt x="52615" y="413321"/>
                </a:lnTo>
                <a:lnTo>
                  <a:pt x="64116" y="368938"/>
                </a:lnTo>
                <a:lnTo>
                  <a:pt x="79808" y="326374"/>
                </a:lnTo>
                <a:lnTo>
                  <a:pt x="99453" y="285863"/>
                </a:lnTo>
                <a:lnTo>
                  <a:pt x="122813" y="247642"/>
                </a:lnTo>
                <a:lnTo>
                  <a:pt x="149653" y="211944"/>
                </a:lnTo>
                <a:lnTo>
                  <a:pt x="179735" y="179006"/>
                </a:lnTo>
                <a:lnTo>
                  <a:pt x="212821" y="149062"/>
                </a:lnTo>
                <a:lnTo>
                  <a:pt x="248676" y="122348"/>
                </a:lnTo>
                <a:lnTo>
                  <a:pt x="287061" y="99099"/>
                </a:lnTo>
                <a:lnTo>
                  <a:pt x="327741" y="79549"/>
                </a:lnTo>
                <a:lnTo>
                  <a:pt x="370478" y="63935"/>
                </a:lnTo>
                <a:lnTo>
                  <a:pt x="415034" y="52490"/>
                </a:lnTo>
                <a:lnTo>
                  <a:pt x="461174" y="45451"/>
                </a:lnTo>
                <a:lnTo>
                  <a:pt x="508660" y="43053"/>
                </a:lnTo>
                <a:lnTo>
                  <a:pt x="713648" y="43053"/>
                </a:lnTo>
                <a:lnTo>
                  <a:pt x="696778" y="35504"/>
                </a:lnTo>
                <a:lnTo>
                  <a:pt x="652174" y="20294"/>
                </a:lnTo>
                <a:lnTo>
                  <a:pt x="605811" y="9163"/>
                </a:lnTo>
                <a:lnTo>
                  <a:pt x="557902" y="2326"/>
                </a:lnTo>
                <a:lnTo>
                  <a:pt x="508660" y="0"/>
                </a:lnTo>
                <a:close/>
              </a:path>
              <a:path w="1019810" h="1015364">
                <a:moveTo>
                  <a:pt x="713648" y="43053"/>
                </a:moveTo>
                <a:lnTo>
                  <a:pt x="508660" y="43053"/>
                </a:lnTo>
                <a:lnTo>
                  <a:pt x="556539" y="45451"/>
                </a:lnTo>
                <a:lnTo>
                  <a:pt x="603023" y="52490"/>
                </a:lnTo>
                <a:lnTo>
                  <a:pt x="647878" y="63935"/>
                </a:lnTo>
                <a:lnTo>
                  <a:pt x="690871" y="79549"/>
                </a:lnTo>
                <a:lnTo>
                  <a:pt x="731767" y="99099"/>
                </a:lnTo>
                <a:lnTo>
                  <a:pt x="770333" y="122348"/>
                </a:lnTo>
                <a:lnTo>
                  <a:pt x="806336" y="149062"/>
                </a:lnTo>
                <a:lnTo>
                  <a:pt x="839541" y="179006"/>
                </a:lnTo>
                <a:lnTo>
                  <a:pt x="869715" y="211944"/>
                </a:lnTo>
                <a:lnTo>
                  <a:pt x="896624" y="247642"/>
                </a:lnTo>
                <a:lnTo>
                  <a:pt x="920034" y="285863"/>
                </a:lnTo>
                <a:lnTo>
                  <a:pt x="939712" y="326374"/>
                </a:lnTo>
                <a:lnTo>
                  <a:pt x="955424" y="368938"/>
                </a:lnTo>
                <a:lnTo>
                  <a:pt x="966936" y="413321"/>
                </a:lnTo>
                <a:lnTo>
                  <a:pt x="974015" y="459288"/>
                </a:lnTo>
                <a:lnTo>
                  <a:pt x="976426" y="506603"/>
                </a:lnTo>
                <a:lnTo>
                  <a:pt x="973853" y="555632"/>
                </a:lnTo>
                <a:lnTo>
                  <a:pt x="966314" y="603153"/>
                </a:lnTo>
                <a:lnTo>
                  <a:pt x="954081" y="648921"/>
                </a:lnTo>
                <a:lnTo>
                  <a:pt x="937428" y="692693"/>
                </a:lnTo>
                <a:lnTo>
                  <a:pt x="916625" y="734227"/>
                </a:lnTo>
                <a:lnTo>
                  <a:pt x="891945" y="773278"/>
                </a:lnTo>
                <a:lnTo>
                  <a:pt x="863660" y="809603"/>
                </a:lnTo>
                <a:lnTo>
                  <a:pt x="832042" y="842960"/>
                </a:lnTo>
                <a:lnTo>
                  <a:pt x="797363" y="873104"/>
                </a:lnTo>
                <a:lnTo>
                  <a:pt x="759896" y="899792"/>
                </a:lnTo>
                <a:lnTo>
                  <a:pt x="719912" y="922782"/>
                </a:lnTo>
                <a:lnTo>
                  <a:pt x="719912" y="970153"/>
                </a:lnTo>
                <a:lnTo>
                  <a:pt x="762944" y="948265"/>
                </a:lnTo>
                <a:lnTo>
                  <a:pt x="803491" y="922516"/>
                </a:lnTo>
                <a:lnTo>
                  <a:pt x="841312" y="893151"/>
                </a:lnTo>
                <a:lnTo>
                  <a:pt x="876168" y="860415"/>
                </a:lnTo>
                <a:lnTo>
                  <a:pt x="907820" y="824554"/>
                </a:lnTo>
                <a:lnTo>
                  <a:pt x="936028" y="785812"/>
                </a:lnTo>
                <a:lnTo>
                  <a:pt x="960553" y="744435"/>
                </a:lnTo>
                <a:lnTo>
                  <a:pt x="981155" y="700668"/>
                </a:lnTo>
                <a:lnTo>
                  <a:pt x="997596" y="654756"/>
                </a:lnTo>
                <a:lnTo>
                  <a:pt x="1009636" y="606944"/>
                </a:lnTo>
                <a:lnTo>
                  <a:pt x="1017036" y="557478"/>
                </a:lnTo>
                <a:lnTo>
                  <a:pt x="1019556" y="506603"/>
                </a:lnTo>
                <a:lnTo>
                  <a:pt x="1017219" y="457934"/>
                </a:lnTo>
                <a:lnTo>
                  <a:pt x="1010352" y="410548"/>
                </a:lnTo>
                <a:lnTo>
                  <a:pt x="999168" y="364660"/>
                </a:lnTo>
                <a:lnTo>
                  <a:pt x="983880" y="320485"/>
                </a:lnTo>
                <a:lnTo>
                  <a:pt x="964701" y="278239"/>
                </a:lnTo>
                <a:lnTo>
                  <a:pt x="941844" y="238136"/>
                </a:lnTo>
                <a:lnTo>
                  <a:pt x="915523" y="200392"/>
                </a:lnTo>
                <a:lnTo>
                  <a:pt x="885950" y="165222"/>
                </a:lnTo>
                <a:lnTo>
                  <a:pt x="853340" y="132840"/>
                </a:lnTo>
                <a:lnTo>
                  <a:pt x="817904" y="103462"/>
                </a:lnTo>
                <a:lnTo>
                  <a:pt x="779856" y="77304"/>
                </a:lnTo>
                <a:lnTo>
                  <a:pt x="739410" y="54579"/>
                </a:lnTo>
                <a:lnTo>
                  <a:pt x="713648" y="43053"/>
                </a:lnTo>
                <a:close/>
              </a:path>
            </a:pathLst>
          </a:custGeom>
          <a:solidFill>
            <a:srgbClr val="006FAC"/>
          </a:solidFill>
        </p:spPr>
        <p:txBody>
          <a:bodyPr wrap="square" lIns="0" tIns="0" rIns="0" bIns="0" rtlCol="0"/>
          <a:lstStyle/>
          <a:p>
            <a:endParaRPr/>
          </a:p>
        </p:txBody>
      </p:sp>
      <p:sp>
        <p:nvSpPr>
          <p:cNvPr id="10" name="object 10"/>
          <p:cNvSpPr/>
          <p:nvPr/>
        </p:nvSpPr>
        <p:spPr>
          <a:xfrm>
            <a:off x="781812" y="2244851"/>
            <a:ext cx="0" cy="3566160"/>
          </a:xfrm>
          <a:custGeom>
            <a:avLst/>
            <a:gdLst/>
            <a:ahLst/>
            <a:cxnLst/>
            <a:rect l="l" t="t" r="r" b="b"/>
            <a:pathLst>
              <a:path h="3566160">
                <a:moveTo>
                  <a:pt x="0" y="0"/>
                </a:moveTo>
                <a:lnTo>
                  <a:pt x="0" y="3566160"/>
                </a:lnTo>
              </a:path>
            </a:pathLst>
          </a:custGeom>
          <a:ln w="36576">
            <a:solidFill>
              <a:srgbClr val="006FAC"/>
            </a:solidFill>
          </a:ln>
        </p:spPr>
        <p:txBody>
          <a:bodyPr wrap="square" lIns="0" tIns="0" rIns="0" bIns="0" rtlCol="0"/>
          <a:lstStyle/>
          <a:p>
            <a:endParaRPr/>
          </a:p>
        </p:txBody>
      </p:sp>
      <p:sp>
        <p:nvSpPr>
          <p:cNvPr id="11" name="object 11"/>
          <p:cNvSpPr/>
          <p:nvPr/>
        </p:nvSpPr>
        <p:spPr>
          <a:xfrm>
            <a:off x="669036" y="5766815"/>
            <a:ext cx="216408" cy="213359"/>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492625" y="2004060"/>
            <a:ext cx="478155" cy="0"/>
          </a:xfrm>
          <a:custGeom>
            <a:avLst/>
            <a:gdLst/>
            <a:ahLst/>
            <a:cxnLst/>
            <a:rect l="l" t="t" r="r" b="b"/>
            <a:pathLst>
              <a:path w="478155">
                <a:moveTo>
                  <a:pt x="0" y="0"/>
                </a:moveTo>
                <a:lnTo>
                  <a:pt x="477788" y="0"/>
                </a:lnTo>
              </a:path>
            </a:pathLst>
          </a:custGeom>
          <a:ln w="3175">
            <a:solidFill>
              <a:srgbClr val="CDEFFA"/>
            </a:solidFill>
          </a:ln>
        </p:spPr>
        <p:txBody>
          <a:bodyPr wrap="square" lIns="0" tIns="0" rIns="0" bIns="0" rtlCol="0"/>
          <a:lstStyle/>
          <a:p>
            <a:endParaRPr/>
          </a:p>
        </p:txBody>
      </p:sp>
      <p:sp>
        <p:nvSpPr>
          <p:cNvPr id="13" name="object 13"/>
          <p:cNvSpPr/>
          <p:nvPr/>
        </p:nvSpPr>
        <p:spPr>
          <a:xfrm>
            <a:off x="490727" y="1912620"/>
            <a:ext cx="481965" cy="90170"/>
          </a:xfrm>
          <a:custGeom>
            <a:avLst/>
            <a:gdLst/>
            <a:ahLst/>
            <a:cxnLst/>
            <a:rect l="l" t="t" r="r" b="b"/>
            <a:pathLst>
              <a:path w="481965" h="90169">
                <a:moveTo>
                  <a:pt x="0" y="90170"/>
                </a:moveTo>
                <a:lnTo>
                  <a:pt x="481584" y="90170"/>
                </a:lnTo>
                <a:lnTo>
                  <a:pt x="481584" y="0"/>
                </a:lnTo>
                <a:lnTo>
                  <a:pt x="0" y="0"/>
                </a:lnTo>
                <a:lnTo>
                  <a:pt x="0" y="90170"/>
                </a:lnTo>
                <a:close/>
              </a:path>
            </a:pathLst>
          </a:custGeom>
          <a:solidFill>
            <a:srgbClr val="CDEFFA"/>
          </a:solidFill>
        </p:spPr>
        <p:txBody>
          <a:bodyPr wrap="square" lIns="0" tIns="0" rIns="0" bIns="0" rtlCol="0"/>
          <a:lstStyle/>
          <a:p>
            <a:endParaRPr/>
          </a:p>
        </p:txBody>
      </p:sp>
      <p:sp>
        <p:nvSpPr>
          <p:cNvPr id="14" name="object 14"/>
          <p:cNvSpPr/>
          <p:nvPr/>
        </p:nvSpPr>
        <p:spPr>
          <a:xfrm>
            <a:off x="951801" y="1871979"/>
            <a:ext cx="20955" cy="40640"/>
          </a:xfrm>
          <a:custGeom>
            <a:avLst/>
            <a:gdLst/>
            <a:ahLst/>
            <a:cxnLst/>
            <a:rect l="l" t="t" r="r" b="b"/>
            <a:pathLst>
              <a:path w="20955" h="40639">
                <a:moveTo>
                  <a:pt x="0" y="40639"/>
                </a:moveTo>
                <a:lnTo>
                  <a:pt x="20510" y="40639"/>
                </a:lnTo>
                <a:lnTo>
                  <a:pt x="20510" y="0"/>
                </a:lnTo>
                <a:lnTo>
                  <a:pt x="0" y="0"/>
                </a:lnTo>
                <a:lnTo>
                  <a:pt x="0" y="40639"/>
                </a:lnTo>
                <a:close/>
              </a:path>
            </a:pathLst>
          </a:custGeom>
          <a:solidFill>
            <a:srgbClr val="CDEFFA"/>
          </a:solidFill>
        </p:spPr>
        <p:txBody>
          <a:bodyPr wrap="square" lIns="0" tIns="0" rIns="0" bIns="0" rtlCol="0"/>
          <a:lstStyle/>
          <a:p>
            <a:endParaRPr/>
          </a:p>
        </p:txBody>
      </p:sp>
      <p:sp>
        <p:nvSpPr>
          <p:cNvPr id="15" name="object 15"/>
          <p:cNvSpPr/>
          <p:nvPr/>
        </p:nvSpPr>
        <p:spPr>
          <a:xfrm>
            <a:off x="490727" y="1871472"/>
            <a:ext cx="481965" cy="134620"/>
          </a:xfrm>
          <a:custGeom>
            <a:avLst/>
            <a:gdLst/>
            <a:ahLst/>
            <a:cxnLst/>
            <a:rect l="l" t="t" r="r" b="b"/>
            <a:pathLst>
              <a:path w="481965" h="134619">
                <a:moveTo>
                  <a:pt x="64922" y="41275"/>
                </a:moveTo>
                <a:lnTo>
                  <a:pt x="461073" y="41275"/>
                </a:lnTo>
                <a:lnTo>
                  <a:pt x="461073" y="3428"/>
                </a:lnTo>
                <a:lnTo>
                  <a:pt x="461073" y="0"/>
                </a:lnTo>
                <a:lnTo>
                  <a:pt x="464489" y="0"/>
                </a:lnTo>
                <a:lnTo>
                  <a:pt x="474751" y="0"/>
                </a:lnTo>
                <a:lnTo>
                  <a:pt x="478167" y="0"/>
                </a:lnTo>
                <a:lnTo>
                  <a:pt x="481584" y="0"/>
                </a:lnTo>
                <a:lnTo>
                  <a:pt x="481584" y="3428"/>
                </a:lnTo>
                <a:lnTo>
                  <a:pt x="481584" y="44703"/>
                </a:lnTo>
                <a:lnTo>
                  <a:pt x="481584" y="127253"/>
                </a:lnTo>
                <a:lnTo>
                  <a:pt x="481584" y="130682"/>
                </a:lnTo>
                <a:lnTo>
                  <a:pt x="478167" y="134112"/>
                </a:lnTo>
                <a:lnTo>
                  <a:pt x="474751" y="134112"/>
                </a:lnTo>
                <a:lnTo>
                  <a:pt x="464489" y="134112"/>
                </a:lnTo>
                <a:lnTo>
                  <a:pt x="3416" y="134112"/>
                </a:lnTo>
                <a:lnTo>
                  <a:pt x="0" y="130682"/>
                </a:lnTo>
                <a:lnTo>
                  <a:pt x="0" y="127253"/>
                </a:lnTo>
                <a:lnTo>
                  <a:pt x="0" y="44703"/>
                </a:lnTo>
                <a:lnTo>
                  <a:pt x="0" y="41275"/>
                </a:lnTo>
                <a:lnTo>
                  <a:pt x="3416" y="41275"/>
                </a:lnTo>
                <a:lnTo>
                  <a:pt x="64922" y="41275"/>
                </a:lnTo>
                <a:close/>
              </a:path>
            </a:pathLst>
          </a:custGeom>
          <a:ln w="12192">
            <a:solidFill>
              <a:srgbClr val="2B133C"/>
            </a:solidFill>
          </a:ln>
        </p:spPr>
        <p:txBody>
          <a:bodyPr wrap="square" lIns="0" tIns="0" rIns="0" bIns="0" rtlCol="0"/>
          <a:lstStyle/>
          <a:p>
            <a:endParaRPr/>
          </a:p>
        </p:txBody>
      </p:sp>
      <p:sp>
        <p:nvSpPr>
          <p:cNvPr id="16" name="object 16"/>
          <p:cNvSpPr/>
          <p:nvPr/>
        </p:nvSpPr>
        <p:spPr>
          <a:xfrm>
            <a:off x="844296" y="1947672"/>
            <a:ext cx="3175" cy="52069"/>
          </a:xfrm>
          <a:custGeom>
            <a:avLst/>
            <a:gdLst/>
            <a:ahLst/>
            <a:cxnLst/>
            <a:rect l="l" t="t" r="r" b="b"/>
            <a:pathLst>
              <a:path w="3175" h="52069">
                <a:moveTo>
                  <a:pt x="1523" y="-6096"/>
                </a:moveTo>
                <a:lnTo>
                  <a:pt x="1523" y="57911"/>
                </a:lnTo>
              </a:path>
            </a:pathLst>
          </a:custGeom>
          <a:ln w="15240">
            <a:solidFill>
              <a:srgbClr val="2B133C"/>
            </a:solidFill>
          </a:ln>
        </p:spPr>
        <p:txBody>
          <a:bodyPr wrap="square" lIns="0" tIns="0" rIns="0" bIns="0" rtlCol="0"/>
          <a:lstStyle/>
          <a:p>
            <a:endParaRPr/>
          </a:p>
        </p:txBody>
      </p:sp>
      <p:sp>
        <p:nvSpPr>
          <p:cNvPr id="17" name="object 17"/>
          <p:cNvSpPr/>
          <p:nvPr/>
        </p:nvSpPr>
        <p:spPr>
          <a:xfrm>
            <a:off x="726948" y="1953767"/>
            <a:ext cx="1905" cy="45720"/>
          </a:xfrm>
          <a:custGeom>
            <a:avLst/>
            <a:gdLst/>
            <a:ahLst/>
            <a:cxnLst/>
            <a:rect l="l" t="t" r="r" b="b"/>
            <a:pathLst>
              <a:path w="1904" h="45719">
                <a:moveTo>
                  <a:pt x="761" y="-6096"/>
                </a:moveTo>
                <a:lnTo>
                  <a:pt x="761" y="51816"/>
                </a:lnTo>
              </a:path>
            </a:pathLst>
          </a:custGeom>
          <a:ln w="13715">
            <a:solidFill>
              <a:srgbClr val="2B133C"/>
            </a:solidFill>
          </a:ln>
        </p:spPr>
        <p:txBody>
          <a:bodyPr wrap="square" lIns="0" tIns="0" rIns="0" bIns="0" rtlCol="0"/>
          <a:lstStyle/>
          <a:p>
            <a:endParaRPr/>
          </a:p>
        </p:txBody>
      </p:sp>
      <p:sp>
        <p:nvSpPr>
          <p:cNvPr id="18" name="object 18"/>
          <p:cNvSpPr/>
          <p:nvPr/>
        </p:nvSpPr>
        <p:spPr>
          <a:xfrm>
            <a:off x="591312" y="1947672"/>
            <a:ext cx="3175" cy="52069"/>
          </a:xfrm>
          <a:custGeom>
            <a:avLst/>
            <a:gdLst/>
            <a:ahLst/>
            <a:cxnLst/>
            <a:rect l="l" t="t" r="r" b="b"/>
            <a:pathLst>
              <a:path w="3175" h="52069">
                <a:moveTo>
                  <a:pt x="1523" y="-6096"/>
                </a:moveTo>
                <a:lnTo>
                  <a:pt x="1523" y="57911"/>
                </a:lnTo>
              </a:path>
            </a:pathLst>
          </a:custGeom>
          <a:ln w="15239">
            <a:solidFill>
              <a:srgbClr val="2B133C"/>
            </a:solidFill>
          </a:ln>
        </p:spPr>
        <p:txBody>
          <a:bodyPr wrap="square" lIns="0" tIns="0" rIns="0" bIns="0" rtlCol="0"/>
          <a:lstStyle/>
          <a:p>
            <a:endParaRPr/>
          </a:p>
        </p:txBody>
      </p:sp>
      <p:sp>
        <p:nvSpPr>
          <p:cNvPr id="19" name="object 19"/>
          <p:cNvSpPr/>
          <p:nvPr/>
        </p:nvSpPr>
        <p:spPr>
          <a:xfrm>
            <a:off x="748283" y="1565147"/>
            <a:ext cx="220979" cy="353567"/>
          </a:xfrm>
          <a:prstGeom prst="rect">
            <a:avLst/>
          </a:prstGeom>
          <a:blipFill>
            <a:blip r:embed="rId4" cstate="print"/>
            <a:stretch>
              <a:fillRect/>
            </a:stretch>
          </a:blipFill>
        </p:spPr>
        <p:txBody>
          <a:bodyPr wrap="square" lIns="0" tIns="0" rIns="0" bIns="0" rtlCol="0"/>
          <a:lstStyle/>
          <a:p>
            <a:endParaRPr/>
          </a:p>
        </p:txBody>
      </p:sp>
      <p:sp>
        <p:nvSpPr>
          <p:cNvPr id="20" name="object 20"/>
          <p:cNvSpPr/>
          <p:nvPr/>
        </p:nvSpPr>
        <p:spPr>
          <a:xfrm>
            <a:off x="960119" y="1560575"/>
            <a:ext cx="0" cy="365760"/>
          </a:xfrm>
          <a:custGeom>
            <a:avLst/>
            <a:gdLst/>
            <a:ahLst/>
            <a:cxnLst/>
            <a:rect l="l" t="t" r="r" b="b"/>
            <a:pathLst>
              <a:path h="365760">
                <a:moveTo>
                  <a:pt x="0" y="0"/>
                </a:moveTo>
                <a:lnTo>
                  <a:pt x="0" y="365760"/>
                </a:lnTo>
              </a:path>
            </a:pathLst>
          </a:custGeom>
          <a:ln w="9143">
            <a:solidFill>
              <a:srgbClr val="CDEFFA"/>
            </a:solidFill>
          </a:ln>
        </p:spPr>
        <p:txBody>
          <a:bodyPr wrap="square" lIns="0" tIns="0" rIns="0" bIns="0" rtlCol="0"/>
          <a:lstStyle/>
          <a:p>
            <a:endParaRPr/>
          </a:p>
        </p:txBody>
      </p:sp>
      <p:sp>
        <p:nvSpPr>
          <p:cNvPr id="21" name="object 21"/>
          <p:cNvSpPr/>
          <p:nvPr/>
        </p:nvSpPr>
        <p:spPr>
          <a:xfrm>
            <a:off x="8983980" y="2121407"/>
            <a:ext cx="3057144" cy="4146804"/>
          </a:xfrm>
          <a:prstGeom prst="rect">
            <a:avLst/>
          </a:prstGeom>
          <a:blipFill>
            <a:blip r:embed="rId5" cstate="print"/>
            <a:stretch>
              <a:fillRect/>
            </a:stretch>
          </a:blipFill>
        </p:spPr>
        <p:txBody>
          <a:bodyPr wrap="square" lIns="0" tIns="0" rIns="0" bIns="0" rtlCol="0"/>
          <a:lstStyle/>
          <a:p>
            <a:endParaRPr/>
          </a:p>
        </p:txBody>
      </p:sp>
      <p:sp>
        <p:nvSpPr>
          <p:cNvPr id="22" name="object 22"/>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23" name="object 23"/>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24" name="object 24"/>
          <p:cNvSpPr/>
          <p:nvPr/>
        </p:nvSpPr>
        <p:spPr>
          <a:xfrm>
            <a:off x="11352276" y="220979"/>
            <a:ext cx="0" cy="339725"/>
          </a:xfrm>
          <a:custGeom>
            <a:avLst/>
            <a:gdLst/>
            <a:ahLst/>
            <a:cxnLst/>
            <a:rect l="l" t="t" r="r" b="b"/>
            <a:pathLst>
              <a:path h="339725">
                <a:moveTo>
                  <a:pt x="0" y="0"/>
                </a:moveTo>
                <a:lnTo>
                  <a:pt x="0" y="339344"/>
                </a:lnTo>
              </a:path>
            </a:pathLst>
          </a:custGeom>
          <a:ln w="6096">
            <a:solidFill>
              <a:srgbClr val="7E7E7E"/>
            </a:solidFill>
          </a:ln>
        </p:spPr>
        <p:txBody>
          <a:bodyPr wrap="square" lIns="0" tIns="0" rIns="0" bIns="0" rtlCol="0"/>
          <a:lstStyle/>
          <a:p>
            <a:endParaRPr/>
          </a:p>
        </p:txBody>
      </p:sp>
      <p:sp>
        <p:nvSpPr>
          <p:cNvPr id="25" name="object 2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6" name="object 2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6</a:t>
            </a:fld>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6193155" cy="422275"/>
          </a:xfrm>
          <a:prstGeom prst="rect">
            <a:avLst/>
          </a:prstGeom>
        </p:spPr>
        <p:txBody>
          <a:bodyPr vert="horz" wrap="square" lIns="0" tIns="12700" rIns="0" bIns="0" rtlCol="0">
            <a:spAutoFit/>
          </a:bodyPr>
          <a:lstStyle/>
          <a:p>
            <a:pPr marL="12700">
              <a:lnSpc>
                <a:spcPct val="100000"/>
              </a:lnSpc>
              <a:spcBef>
                <a:spcPts val="100"/>
              </a:spcBef>
            </a:pPr>
            <a:r>
              <a:rPr sz="2600"/>
              <a:t>Methodology </a:t>
            </a:r>
            <a:r>
              <a:rPr sz="2600" spc="-5"/>
              <a:t>Phase </a:t>
            </a:r>
            <a:r>
              <a:rPr sz="2600"/>
              <a:t>2 –</a:t>
            </a:r>
            <a:r>
              <a:rPr sz="2600" spc="-90"/>
              <a:t> </a:t>
            </a:r>
            <a:r>
              <a:rPr sz="2600" spc="-5"/>
              <a:t>Development</a:t>
            </a:r>
            <a:endParaRPr sz="2600"/>
          </a:p>
        </p:txBody>
      </p:sp>
      <p:sp>
        <p:nvSpPr>
          <p:cNvPr id="3" name="object 3"/>
          <p:cNvSpPr/>
          <p:nvPr/>
        </p:nvSpPr>
        <p:spPr>
          <a:xfrm>
            <a:off x="5263896" y="1057655"/>
            <a:ext cx="114300" cy="5400040"/>
          </a:xfrm>
          <a:custGeom>
            <a:avLst/>
            <a:gdLst/>
            <a:ahLst/>
            <a:cxnLst/>
            <a:rect l="l" t="t" r="r" b="b"/>
            <a:pathLst>
              <a:path w="114300" h="5400040">
                <a:moveTo>
                  <a:pt x="38100" y="110465"/>
                </a:moveTo>
                <a:lnTo>
                  <a:pt x="38100" y="5399976"/>
                </a:lnTo>
                <a:lnTo>
                  <a:pt x="76200" y="5399976"/>
                </a:lnTo>
                <a:lnTo>
                  <a:pt x="76200" y="114300"/>
                </a:lnTo>
                <a:lnTo>
                  <a:pt x="57150" y="114300"/>
                </a:lnTo>
                <a:lnTo>
                  <a:pt x="38100" y="110465"/>
                </a:lnTo>
                <a:close/>
              </a:path>
              <a:path w="114300" h="5400040">
                <a:moveTo>
                  <a:pt x="76200" y="57150"/>
                </a:moveTo>
                <a:lnTo>
                  <a:pt x="38100" y="57150"/>
                </a:lnTo>
                <a:lnTo>
                  <a:pt x="38100" y="110465"/>
                </a:lnTo>
                <a:lnTo>
                  <a:pt x="57150" y="114300"/>
                </a:lnTo>
                <a:lnTo>
                  <a:pt x="76200" y="110465"/>
                </a:lnTo>
                <a:lnTo>
                  <a:pt x="76200" y="57150"/>
                </a:lnTo>
                <a:close/>
              </a:path>
              <a:path w="114300" h="5400040">
                <a:moveTo>
                  <a:pt x="76200" y="110465"/>
                </a:moveTo>
                <a:lnTo>
                  <a:pt x="57150" y="114300"/>
                </a:lnTo>
                <a:lnTo>
                  <a:pt x="76200" y="114300"/>
                </a:lnTo>
                <a:lnTo>
                  <a:pt x="76200" y="110465"/>
                </a:lnTo>
                <a:close/>
              </a:path>
              <a:path w="114300" h="5400040">
                <a:moveTo>
                  <a:pt x="57150" y="0"/>
                </a:moveTo>
                <a:lnTo>
                  <a:pt x="34879" y="4482"/>
                </a:lnTo>
                <a:lnTo>
                  <a:pt x="16716" y="16716"/>
                </a:lnTo>
                <a:lnTo>
                  <a:pt x="4482" y="34879"/>
                </a:lnTo>
                <a:lnTo>
                  <a:pt x="0" y="57150"/>
                </a:lnTo>
                <a:lnTo>
                  <a:pt x="4482" y="79420"/>
                </a:lnTo>
                <a:lnTo>
                  <a:pt x="16716" y="97583"/>
                </a:lnTo>
                <a:lnTo>
                  <a:pt x="34879" y="109817"/>
                </a:lnTo>
                <a:lnTo>
                  <a:pt x="38100" y="110465"/>
                </a:lnTo>
                <a:lnTo>
                  <a:pt x="38100" y="57150"/>
                </a:lnTo>
                <a:lnTo>
                  <a:pt x="114300" y="57150"/>
                </a:lnTo>
                <a:lnTo>
                  <a:pt x="109817" y="34879"/>
                </a:lnTo>
                <a:lnTo>
                  <a:pt x="97583" y="16716"/>
                </a:lnTo>
                <a:lnTo>
                  <a:pt x="79420" y="4482"/>
                </a:lnTo>
                <a:lnTo>
                  <a:pt x="57150" y="0"/>
                </a:lnTo>
                <a:close/>
              </a:path>
              <a:path w="114300" h="5400040">
                <a:moveTo>
                  <a:pt x="114300" y="57150"/>
                </a:moveTo>
                <a:lnTo>
                  <a:pt x="76200" y="57150"/>
                </a:lnTo>
                <a:lnTo>
                  <a:pt x="76200" y="110465"/>
                </a:lnTo>
                <a:lnTo>
                  <a:pt x="79420" y="109817"/>
                </a:lnTo>
                <a:lnTo>
                  <a:pt x="97583" y="97583"/>
                </a:lnTo>
                <a:lnTo>
                  <a:pt x="109817" y="79420"/>
                </a:lnTo>
                <a:lnTo>
                  <a:pt x="114300" y="57150"/>
                </a:lnTo>
                <a:close/>
              </a:path>
            </a:pathLst>
          </a:custGeom>
          <a:solidFill>
            <a:srgbClr val="909090"/>
          </a:solidFill>
        </p:spPr>
        <p:txBody>
          <a:bodyPr wrap="square" lIns="0" tIns="0" rIns="0" bIns="0" rtlCol="0"/>
          <a:lstStyle/>
          <a:p>
            <a:endParaRPr/>
          </a:p>
        </p:txBody>
      </p:sp>
      <p:sp>
        <p:nvSpPr>
          <p:cNvPr id="4" name="object 4"/>
          <p:cNvSpPr txBox="1"/>
          <p:nvPr/>
        </p:nvSpPr>
        <p:spPr>
          <a:xfrm>
            <a:off x="5509259" y="4585715"/>
            <a:ext cx="3182620" cy="1903730"/>
          </a:xfrm>
          <a:prstGeom prst="rect">
            <a:avLst/>
          </a:prstGeom>
          <a:solidFill>
            <a:srgbClr val="F1F1F1"/>
          </a:solidFill>
        </p:spPr>
        <p:txBody>
          <a:bodyPr vert="horz" wrap="square" lIns="0" tIns="45720" rIns="0" bIns="0" rtlCol="0">
            <a:spAutoFit/>
          </a:bodyPr>
          <a:lstStyle/>
          <a:p>
            <a:pPr marL="269875" indent="-178435">
              <a:lnSpc>
                <a:spcPct val="100000"/>
              </a:lnSpc>
              <a:spcBef>
                <a:spcPts val="360"/>
              </a:spcBef>
              <a:buClr>
                <a:srgbClr val="006FAC"/>
              </a:buClr>
              <a:buFont typeface="Wingdings"/>
              <a:buChar char=""/>
              <a:tabLst>
                <a:tab pos="270510" algn="l"/>
              </a:tabLst>
            </a:pPr>
            <a:r>
              <a:rPr sz="1200" spc="-5">
                <a:latin typeface="Verdana"/>
                <a:cs typeface="Verdana"/>
              </a:rPr>
              <a:t>Configure and </a:t>
            </a:r>
            <a:r>
              <a:rPr sz="1200" spc="-10">
                <a:latin typeface="Verdana"/>
                <a:cs typeface="Verdana"/>
              </a:rPr>
              <a:t>Customize</a:t>
            </a:r>
            <a:r>
              <a:rPr sz="1200" spc="15">
                <a:latin typeface="Verdana"/>
                <a:cs typeface="Verdana"/>
              </a:rPr>
              <a:t> </a:t>
            </a:r>
            <a:r>
              <a:rPr sz="1200">
                <a:latin typeface="Verdana"/>
                <a:cs typeface="Verdana"/>
              </a:rPr>
              <a:t>Processes</a:t>
            </a: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Build interfaces and</a:t>
            </a:r>
            <a:r>
              <a:rPr sz="1200" spc="30">
                <a:latin typeface="Verdana"/>
                <a:cs typeface="Verdana"/>
              </a:rPr>
              <a:t> </a:t>
            </a:r>
            <a:r>
              <a:rPr sz="1200" spc="-10">
                <a:latin typeface="Verdana"/>
                <a:cs typeface="Verdana"/>
              </a:rPr>
              <a:t>Integrations</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10">
                <a:latin typeface="Verdana"/>
                <a:cs typeface="Verdana"/>
              </a:rPr>
              <a:t>Functional </a:t>
            </a:r>
            <a:r>
              <a:rPr sz="1200" spc="-5">
                <a:latin typeface="Verdana"/>
                <a:cs typeface="Verdana"/>
              </a:rPr>
              <a:t>and </a:t>
            </a:r>
            <a:r>
              <a:rPr sz="1200" spc="-10">
                <a:latin typeface="Verdana"/>
                <a:cs typeface="Verdana"/>
              </a:rPr>
              <a:t>Integration</a:t>
            </a:r>
            <a:r>
              <a:rPr sz="1200" spc="60">
                <a:latin typeface="Verdana"/>
                <a:cs typeface="Verdana"/>
              </a:rPr>
              <a:t> </a:t>
            </a:r>
            <a:r>
              <a:rPr sz="1200" spc="-35">
                <a:latin typeface="Verdana"/>
                <a:cs typeface="Verdana"/>
              </a:rPr>
              <a:t>Test</a:t>
            </a:r>
            <a:endParaRPr sz="1200">
              <a:latin typeface="Verdana"/>
              <a:cs typeface="Verdana"/>
            </a:endParaRPr>
          </a:p>
          <a:p>
            <a:pPr marL="269875" indent="-178435">
              <a:lnSpc>
                <a:spcPct val="100000"/>
              </a:lnSpc>
              <a:spcBef>
                <a:spcPts val="190"/>
              </a:spcBef>
              <a:buClr>
                <a:srgbClr val="006FAC"/>
              </a:buClr>
              <a:buFont typeface="Wingdings"/>
              <a:buChar char=""/>
              <a:tabLst>
                <a:tab pos="270510" algn="l"/>
              </a:tabLst>
            </a:pPr>
            <a:r>
              <a:rPr sz="1200" spc="-5">
                <a:latin typeface="Verdana"/>
                <a:cs typeface="Verdana"/>
              </a:rPr>
              <a:t>Clean, De-Dup, </a:t>
            </a:r>
            <a:r>
              <a:rPr sz="1200" spc="-10">
                <a:latin typeface="Verdana"/>
                <a:cs typeface="Verdana"/>
              </a:rPr>
              <a:t>Migrate</a:t>
            </a:r>
            <a:r>
              <a:rPr sz="1200" spc="25">
                <a:latin typeface="Verdana"/>
                <a:cs typeface="Verdana"/>
              </a:rPr>
              <a:t> </a:t>
            </a:r>
            <a:r>
              <a:rPr sz="1200" spc="-5">
                <a:latin typeface="Verdana"/>
                <a:cs typeface="Verdana"/>
              </a:rPr>
              <a:t>Data</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Create Reports and Dashboards</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End </a:t>
            </a:r>
            <a:r>
              <a:rPr sz="1200" spc="-65">
                <a:latin typeface="Verdana"/>
                <a:cs typeface="Verdana"/>
              </a:rPr>
              <a:t>To </a:t>
            </a:r>
            <a:r>
              <a:rPr sz="1200" spc="-5">
                <a:latin typeface="Verdana"/>
                <a:cs typeface="Verdana"/>
              </a:rPr>
              <a:t>End</a:t>
            </a:r>
            <a:r>
              <a:rPr sz="1200" spc="10">
                <a:latin typeface="Verdana"/>
                <a:cs typeface="Verdana"/>
              </a:rPr>
              <a:t> </a:t>
            </a:r>
            <a:r>
              <a:rPr sz="1200" spc="-35">
                <a:latin typeface="Verdana"/>
                <a:cs typeface="Verdana"/>
              </a:rPr>
              <a:t>Test</a:t>
            </a:r>
            <a:endParaRPr sz="1200">
              <a:latin typeface="Verdana"/>
              <a:cs typeface="Verdana"/>
            </a:endParaRPr>
          </a:p>
          <a:p>
            <a:pPr marL="269875" indent="-178435">
              <a:lnSpc>
                <a:spcPct val="100000"/>
              </a:lnSpc>
              <a:spcBef>
                <a:spcPts val="195"/>
              </a:spcBef>
              <a:buClr>
                <a:srgbClr val="006FAC"/>
              </a:buClr>
              <a:buFont typeface="Wingdings"/>
              <a:buChar char=""/>
              <a:tabLst>
                <a:tab pos="270510" algn="l"/>
              </a:tabLst>
            </a:pPr>
            <a:r>
              <a:rPr sz="1200" spc="-5">
                <a:latin typeface="Verdana"/>
                <a:cs typeface="Verdana"/>
              </a:rPr>
              <a:t>Deploy</a:t>
            </a:r>
            <a:r>
              <a:rPr sz="1200" spc="-60">
                <a:latin typeface="Verdana"/>
                <a:cs typeface="Verdana"/>
              </a:rPr>
              <a:t> </a:t>
            </a:r>
            <a:r>
              <a:rPr sz="1200" spc="-10">
                <a:latin typeface="Verdana"/>
                <a:cs typeface="Verdana"/>
              </a:rPr>
              <a:t>Package</a:t>
            </a:r>
            <a:endParaRPr sz="1200">
              <a:latin typeface="Verdana"/>
              <a:cs typeface="Verdana"/>
            </a:endParaRPr>
          </a:p>
          <a:p>
            <a:pPr marL="269875" indent="-178435">
              <a:lnSpc>
                <a:spcPct val="100000"/>
              </a:lnSpc>
              <a:spcBef>
                <a:spcPts val="200"/>
              </a:spcBef>
              <a:buClr>
                <a:srgbClr val="006FAC"/>
              </a:buClr>
              <a:buFont typeface="Wingdings"/>
              <a:buChar char=""/>
              <a:tabLst>
                <a:tab pos="270510" algn="l"/>
              </a:tabLst>
            </a:pPr>
            <a:r>
              <a:rPr sz="1200" spc="-5">
                <a:latin typeface="Verdana"/>
                <a:cs typeface="Verdana"/>
              </a:rPr>
              <a:t>Create </a:t>
            </a:r>
            <a:r>
              <a:rPr sz="1200" spc="-25">
                <a:latin typeface="Verdana"/>
                <a:cs typeface="Verdana"/>
              </a:rPr>
              <a:t>Training</a:t>
            </a:r>
            <a:r>
              <a:rPr sz="1200" spc="15">
                <a:latin typeface="Verdana"/>
                <a:cs typeface="Verdana"/>
              </a:rPr>
              <a:t> </a:t>
            </a:r>
            <a:r>
              <a:rPr sz="1200" spc="-5">
                <a:latin typeface="Verdana"/>
                <a:cs typeface="Verdana"/>
              </a:rPr>
              <a:t>Guides</a:t>
            </a:r>
            <a:endParaRPr sz="1200">
              <a:latin typeface="Verdana"/>
              <a:cs typeface="Verdana"/>
            </a:endParaRPr>
          </a:p>
        </p:txBody>
      </p:sp>
      <p:sp>
        <p:nvSpPr>
          <p:cNvPr id="5" name="object 5"/>
          <p:cNvSpPr/>
          <p:nvPr/>
        </p:nvSpPr>
        <p:spPr>
          <a:xfrm>
            <a:off x="393191" y="5608230"/>
            <a:ext cx="297815" cy="221615"/>
          </a:xfrm>
          <a:custGeom>
            <a:avLst/>
            <a:gdLst/>
            <a:ahLst/>
            <a:cxnLst/>
            <a:rect l="l" t="t" r="r" b="b"/>
            <a:pathLst>
              <a:path w="297815" h="221614">
                <a:moveTo>
                  <a:pt x="0" y="0"/>
                </a:moveTo>
                <a:lnTo>
                  <a:pt x="297814" y="0"/>
                </a:lnTo>
                <a:lnTo>
                  <a:pt x="297814" y="178155"/>
                </a:lnTo>
                <a:lnTo>
                  <a:pt x="242250" y="181853"/>
                </a:lnTo>
                <a:lnTo>
                  <a:pt x="199708" y="190947"/>
                </a:lnTo>
                <a:lnTo>
                  <a:pt x="164979" y="202439"/>
                </a:lnTo>
                <a:lnTo>
                  <a:pt x="132853" y="213332"/>
                </a:lnTo>
                <a:lnTo>
                  <a:pt x="98121" y="220627"/>
                </a:lnTo>
                <a:lnTo>
                  <a:pt x="55573" y="221327"/>
                </a:lnTo>
                <a:lnTo>
                  <a:pt x="0" y="212432"/>
                </a:lnTo>
                <a:lnTo>
                  <a:pt x="0" y="0"/>
                </a:lnTo>
                <a:close/>
              </a:path>
            </a:pathLst>
          </a:custGeom>
          <a:ln w="12192">
            <a:solidFill>
              <a:srgbClr val="7E7E7E"/>
            </a:solidFill>
          </a:ln>
        </p:spPr>
        <p:txBody>
          <a:bodyPr wrap="square" lIns="0" tIns="0" rIns="0" bIns="0" rtlCol="0"/>
          <a:lstStyle/>
          <a:p>
            <a:endParaRPr/>
          </a:p>
        </p:txBody>
      </p:sp>
      <p:sp>
        <p:nvSpPr>
          <p:cNvPr id="6" name="object 6"/>
          <p:cNvSpPr/>
          <p:nvPr/>
        </p:nvSpPr>
        <p:spPr>
          <a:xfrm>
            <a:off x="417728" y="5585078"/>
            <a:ext cx="295910" cy="180975"/>
          </a:xfrm>
          <a:custGeom>
            <a:avLst/>
            <a:gdLst/>
            <a:ahLst/>
            <a:cxnLst/>
            <a:rect l="l" t="t" r="r" b="b"/>
            <a:pathLst>
              <a:path w="295909" h="180975">
                <a:moveTo>
                  <a:pt x="0" y="23152"/>
                </a:moveTo>
                <a:lnTo>
                  <a:pt x="0" y="0"/>
                </a:lnTo>
                <a:lnTo>
                  <a:pt x="295783" y="0"/>
                </a:lnTo>
                <a:lnTo>
                  <a:pt x="295783" y="179336"/>
                </a:lnTo>
                <a:lnTo>
                  <a:pt x="284543" y="179336"/>
                </a:lnTo>
                <a:lnTo>
                  <a:pt x="273278" y="180581"/>
                </a:lnTo>
              </a:path>
            </a:pathLst>
          </a:custGeom>
          <a:ln w="12192">
            <a:solidFill>
              <a:srgbClr val="7E7E7E"/>
            </a:solidFill>
          </a:ln>
        </p:spPr>
        <p:txBody>
          <a:bodyPr wrap="square" lIns="0" tIns="0" rIns="0" bIns="0" rtlCol="0"/>
          <a:lstStyle/>
          <a:p>
            <a:endParaRPr/>
          </a:p>
        </p:txBody>
      </p:sp>
      <p:sp>
        <p:nvSpPr>
          <p:cNvPr id="7" name="object 7"/>
          <p:cNvSpPr/>
          <p:nvPr/>
        </p:nvSpPr>
        <p:spPr>
          <a:xfrm>
            <a:off x="440791" y="5562600"/>
            <a:ext cx="298450" cy="179705"/>
          </a:xfrm>
          <a:custGeom>
            <a:avLst/>
            <a:gdLst/>
            <a:ahLst/>
            <a:cxnLst/>
            <a:rect l="l" t="t" r="r" b="b"/>
            <a:pathLst>
              <a:path w="298450" h="179704">
                <a:moveTo>
                  <a:pt x="0" y="22478"/>
                </a:moveTo>
                <a:lnTo>
                  <a:pt x="0" y="0"/>
                </a:lnTo>
                <a:lnTo>
                  <a:pt x="298348" y="0"/>
                </a:lnTo>
                <a:lnTo>
                  <a:pt x="298348" y="178714"/>
                </a:lnTo>
                <a:lnTo>
                  <a:pt x="288937" y="178859"/>
                </a:lnTo>
                <a:lnTo>
                  <a:pt x="280728" y="179177"/>
                </a:lnTo>
                <a:lnTo>
                  <a:pt x="274922" y="179496"/>
                </a:lnTo>
                <a:lnTo>
                  <a:pt x="272719" y="179641"/>
                </a:lnTo>
              </a:path>
            </a:pathLst>
          </a:custGeom>
          <a:ln w="12192">
            <a:solidFill>
              <a:srgbClr val="7E7E7E"/>
            </a:solidFill>
          </a:ln>
        </p:spPr>
        <p:txBody>
          <a:bodyPr wrap="square" lIns="0" tIns="0" rIns="0" bIns="0" rtlCol="0"/>
          <a:lstStyle/>
          <a:p>
            <a:endParaRPr/>
          </a:p>
        </p:txBody>
      </p:sp>
      <p:sp>
        <p:nvSpPr>
          <p:cNvPr id="8" name="object 8"/>
          <p:cNvSpPr/>
          <p:nvPr/>
        </p:nvSpPr>
        <p:spPr>
          <a:xfrm>
            <a:off x="591312" y="5486400"/>
            <a:ext cx="373380" cy="238760"/>
          </a:xfrm>
          <a:custGeom>
            <a:avLst/>
            <a:gdLst/>
            <a:ahLst/>
            <a:cxnLst/>
            <a:rect l="l" t="t" r="r" b="b"/>
            <a:pathLst>
              <a:path w="373380" h="238760">
                <a:moveTo>
                  <a:pt x="321437" y="40766"/>
                </a:moveTo>
                <a:lnTo>
                  <a:pt x="0" y="40766"/>
                </a:lnTo>
                <a:lnTo>
                  <a:pt x="0" y="230200"/>
                </a:lnTo>
                <a:lnTo>
                  <a:pt x="53367" y="237666"/>
                </a:lnTo>
                <a:lnTo>
                  <a:pt x="95433" y="238325"/>
                </a:lnTo>
                <a:lnTo>
                  <a:pt x="129964" y="233967"/>
                </a:lnTo>
                <a:lnTo>
                  <a:pt x="160728" y="226383"/>
                </a:lnTo>
                <a:lnTo>
                  <a:pt x="191489" y="217366"/>
                </a:lnTo>
                <a:lnTo>
                  <a:pt x="226017" y="208708"/>
                </a:lnTo>
                <a:lnTo>
                  <a:pt x="268077" y="202199"/>
                </a:lnTo>
                <a:lnTo>
                  <a:pt x="321437" y="199631"/>
                </a:lnTo>
                <a:lnTo>
                  <a:pt x="321437" y="40766"/>
                </a:lnTo>
                <a:close/>
              </a:path>
              <a:path w="373380" h="238760">
                <a:moveTo>
                  <a:pt x="345719" y="20065"/>
                </a:moveTo>
                <a:lnTo>
                  <a:pt x="26479" y="20065"/>
                </a:lnTo>
                <a:lnTo>
                  <a:pt x="26479" y="40766"/>
                </a:lnTo>
                <a:lnTo>
                  <a:pt x="321437" y="40766"/>
                </a:lnTo>
                <a:lnTo>
                  <a:pt x="321437" y="181140"/>
                </a:lnTo>
                <a:lnTo>
                  <a:pt x="333590" y="180022"/>
                </a:lnTo>
                <a:lnTo>
                  <a:pt x="345719" y="180022"/>
                </a:lnTo>
                <a:lnTo>
                  <a:pt x="345719" y="20065"/>
                </a:lnTo>
                <a:close/>
              </a:path>
              <a:path w="373380" h="238760">
                <a:moveTo>
                  <a:pt x="373379" y="0"/>
                </a:moveTo>
                <a:lnTo>
                  <a:pt x="51371" y="0"/>
                </a:lnTo>
                <a:lnTo>
                  <a:pt x="51371" y="20065"/>
                </a:lnTo>
                <a:lnTo>
                  <a:pt x="345719" y="20065"/>
                </a:lnTo>
                <a:lnTo>
                  <a:pt x="345719" y="160248"/>
                </a:lnTo>
                <a:lnTo>
                  <a:pt x="354363" y="159835"/>
                </a:lnTo>
                <a:lnTo>
                  <a:pt x="363223" y="159552"/>
                </a:lnTo>
                <a:lnTo>
                  <a:pt x="373379" y="159423"/>
                </a:lnTo>
                <a:lnTo>
                  <a:pt x="373379" y="0"/>
                </a:lnTo>
                <a:close/>
              </a:path>
            </a:pathLst>
          </a:custGeom>
          <a:solidFill>
            <a:srgbClr val="FFFFFF"/>
          </a:solidFill>
        </p:spPr>
        <p:txBody>
          <a:bodyPr wrap="square" lIns="0" tIns="0" rIns="0" bIns="0" rtlCol="0"/>
          <a:lstStyle/>
          <a:p>
            <a:endParaRPr/>
          </a:p>
        </p:txBody>
      </p:sp>
      <p:sp>
        <p:nvSpPr>
          <p:cNvPr id="9" name="object 9"/>
          <p:cNvSpPr/>
          <p:nvPr/>
        </p:nvSpPr>
        <p:spPr>
          <a:xfrm>
            <a:off x="591312" y="5527166"/>
            <a:ext cx="321945" cy="198120"/>
          </a:xfrm>
          <a:custGeom>
            <a:avLst/>
            <a:gdLst/>
            <a:ahLst/>
            <a:cxnLst/>
            <a:rect l="l" t="t" r="r" b="b"/>
            <a:pathLst>
              <a:path w="321944" h="198120">
                <a:moveTo>
                  <a:pt x="0" y="0"/>
                </a:moveTo>
                <a:lnTo>
                  <a:pt x="321437" y="0"/>
                </a:lnTo>
                <a:lnTo>
                  <a:pt x="321437" y="158864"/>
                </a:lnTo>
                <a:lnTo>
                  <a:pt x="268077" y="161432"/>
                </a:lnTo>
                <a:lnTo>
                  <a:pt x="226017" y="167941"/>
                </a:lnTo>
                <a:lnTo>
                  <a:pt x="191489" y="176599"/>
                </a:lnTo>
                <a:lnTo>
                  <a:pt x="160728" y="185616"/>
                </a:lnTo>
                <a:lnTo>
                  <a:pt x="129964" y="193200"/>
                </a:lnTo>
                <a:lnTo>
                  <a:pt x="95433" y="197558"/>
                </a:lnTo>
                <a:lnTo>
                  <a:pt x="53367" y="196899"/>
                </a:lnTo>
                <a:lnTo>
                  <a:pt x="0" y="189433"/>
                </a:lnTo>
                <a:lnTo>
                  <a:pt x="0" y="0"/>
                </a:lnTo>
                <a:close/>
              </a:path>
            </a:pathLst>
          </a:custGeom>
          <a:ln w="12192">
            <a:solidFill>
              <a:srgbClr val="7E7E7E"/>
            </a:solidFill>
          </a:ln>
        </p:spPr>
        <p:txBody>
          <a:bodyPr wrap="square" lIns="0" tIns="0" rIns="0" bIns="0" rtlCol="0"/>
          <a:lstStyle/>
          <a:p>
            <a:endParaRPr/>
          </a:p>
        </p:txBody>
      </p:sp>
      <p:sp>
        <p:nvSpPr>
          <p:cNvPr id="10" name="object 10"/>
          <p:cNvSpPr/>
          <p:nvPr/>
        </p:nvSpPr>
        <p:spPr>
          <a:xfrm>
            <a:off x="617791" y="5506465"/>
            <a:ext cx="319405" cy="161290"/>
          </a:xfrm>
          <a:custGeom>
            <a:avLst/>
            <a:gdLst/>
            <a:ahLst/>
            <a:cxnLst/>
            <a:rect l="l" t="t" r="r" b="b"/>
            <a:pathLst>
              <a:path w="319405" h="161289">
                <a:moveTo>
                  <a:pt x="0" y="20701"/>
                </a:moveTo>
                <a:lnTo>
                  <a:pt x="0" y="0"/>
                </a:lnTo>
                <a:lnTo>
                  <a:pt x="319239" y="0"/>
                </a:lnTo>
                <a:lnTo>
                  <a:pt x="319239" y="159956"/>
                </a:lnTo>
                <a:lnTo>
                  <a:pt x="307111" y="159956"/>
                </a:lnTo>
                <a:lnTo>
                  <a:pt x="294957" y="161074"/>
                </a:lnTo>
              </a:path>
            </a:pathLst>
          </a:custGeom>
          <a:ln w="12192">
            <a:solidFill>
              <a:srgbClr val="7E7E7E"/>
            </a:solidFill>
          </a:ln>
        </p:spPr>
        <p:txBody>
          <a:bodyPr wrap="square" lIns="0" tIns="0" rIns="0" bIns="0" rtlCol="0"/>
          <a:lstStyle/>
          <a:p>
            <a:endParaRPr/>
          </a:p>
        </p:txBody>
      </p:sp>
      <p:sp>
        <p:nvSpPr>
          <p:cNvPr id="11" name="object 11"/>
          <p:cNvSpPr/>
          <p:nvPr/>
        </p:nvSpPr>
        <p:spPr>
          <a:xfrm>
            <a:off x="642683" y="5486400"/>
            <a:ext cx="322580" cy="160655"/>
          </a:xfrm>
          <a:custGeom>
            <a:avLst/>
            <a:gdLst/>
            <a:ahLst/>
            <a:cxnLst/>
            <a:rect l="l" t="t" r="r" b="b"/>
            <a:pathLst>
              <a:path w="322580" h="160654">
                <a:moveTo>
                  <a:pt x="0" y="20065"/>
                </a:moveTo>
                <a:lnTo>
                  <a:pt x="0" y="0"/>
                </a:lnTo>
                <a:lnTo>
                  <a:pt x="322008" y="0"/>
                </a:lnTo>
                <a:lnTo>
                  <a:pt x="322008" y="159423"/>
                </a:lnTo>
                <a:lnTo>
                  <a:pt x="311851" y="159552"/>
                </a:lnTo>
                <a:lnTo>
                  <a:pt x="302991" y="159835"/>
                </a:lnTo>
                <a:lnTo>
                  <a:pt x="296724" y="160119"/>
                </a:lnTo>
                <a:lnTo>
                  <a:pt x="294347" y="160248"/>
                </a:lnTo>
              </a:path>
            </a:pathLst>
          </a:custGeom>
          <a:ln w="12192">
            <a:solidFill>
              <a:srgbClr val="7E7E7E"/>
            </a:solidFill>
          </a:ln>
        </p:spPr>
        <p:txBody>
          <a:bodyPr wrap="square" lIns="0" tIns="0" rIns="0" bIns="0" rtlCol="0"/>
          <a:lstStyle/>
          <a:p>
            <a:endParaRPr/>
          </a:p>
        </p:txBody>
      </p:sp>
      <p:sp>
        <p:nvSpPr>
          <p:cNvPr id="12" name="object 12"/>
          <p:cNvSpPr/>
          <p:nvPr/>
        </p:nvSpPr>
        <p:spPr>
          <a:xfrm>
            <a:off x="5509259" y="4219955"/>
            <a:ext cx="3182620" cy="381000"/>
          </a:xfrm>
          <a:custGeom>
            <a:avLst/>
            <a:gdLst/>
            <a:ahLst/>
            <a:cxnLst/>
            <a:rect l="l" t="t" r="r" b="b"/>
            <a:pathLst>
              <a:path w="3182620" h="381000">
                <a:moveTo>
                  <a:pt x="3182112" y="0"/>
                </a:moveTo>
                <a:lnTo>
                  <a:pt x="63500" y="0"/>
                </a:lnTo>
                <a:lnTo>
                  <a:pt x="38790" y="4992"/>
                </a:lnTo>
                <a:lnTo>
                  <a:pt x="18605" y="18605"/>
                </a:lnTo>
                <a:lnTo>
                  <a:pt x="4992" y="38790"/>
                </a:lnTo>
                <a:lnTo>
                  <a:pt x="0" y="63500"/>
                </a:lnTo>
                <a:lnTo>
                  <a:pt x="0" y="381000"/>
                </a:lnTo>
                <a:lnTo>
                  <a:pt x="3118612" y="381000"/>
                </a:lnTo>
                <a:lnTo>
                  <a:pt x="3143321" y="376007"/>
                </a:lnTo>
                <a:lnTo>
                  <a:pt x="3163506" y="362394"/>
                </a:lnTo>
                <a:lnTo>
                  <a:pt x="3177119" y="342209"/>
                </a:lnTo>
                <a:lnTo>
                  <a:pt x="3182112" y="317500"/>
                </a:lnTo>
                <a:lnTo>
                  <a:pt x="3182112" y="0"/>
                </a:lnTo>
                <a:close/>
              </a:path>
            </a:pathLst>
          </a:custGeom>
          <a:solidFill>
            <a:srgbClr val="421F5D"/>
          </a:solidFill>
        </p:spPr>
        <p:txBody>
          <a:bodyPr wrap="square" lIns="0" tIns="0" rIns="0" bIns="0" rtlCol="0"/>
          <a:lstStyle/>
          <a:p>
            <a:endParaRPr/>
          </a:p>
        </p:txBody>
      </p:sp>
      <p:sp>
        <p:nvSpPr>
          <p:cNvPr id="13" name="object 13"/>
          <p:cNvSpPr txBox="1"/>
          <p:nvPr/>
        </p:nvSpPr>
        <p:spPr>
          <a:xfrm>
            <a:off x="5509259" y="1481327"/>
            <a:ext cx="6414770" cy="2661285"/>
          </a:xfrm>
          <a:prstGeom prst="rect">
            <a:avLst/>
          </a:prstGeom>
          <a:solidFill>
            <a:srgbClr val="F1F1F1"/>
          </a:solidFill>
        </p:spPr>
        <p:txBody>
          <a:bodyPr vert="horz" wrap="square" lIns="0" tIns="44450" rIns="0" bIns="0" rtlCol="0">
            <a:spAutoFit/>
          </a:bodyPr>
          <a:lstStyle/>
          <a:p>
            <a:pPr marL="92075" marR="250190">
              <a:lnSpc>
                <a:spcPct val="100000"/>
              </a:lnSpc>
              <a:spcBef>
                <a:spcPts val="350"/>
              </a:spcBef>
            </a:pPr>
            <a:r>
              <a:rPr sz="1200" spc="-15">
                <a:latin typeface="Verdana"/>
                <a:cs typeface="Verdana"/>
              </a:rPr>
              <a:t>Development phase </a:t>
            </a:r>
            <a:r>
              <a:rPr sz="1200" spc="-10">
                <a:latin typeface="Verdana"/>
                <a:cs typeface="Verdana"/>
              </a:rPr>
              <a:t>is </a:t>
            </a:r>
            <a:r>
              <a:rPr sz="1200" spc="-15">
                <a:latin typeface="Verdana"/>
                <a:cs typeface="Verdana"/>
              </a:rPr>
              <a:t>formed </a:t>
            </a:r>
            <a:r>
              <a:rPr sz="1200" spc="-5">
                <a:latin typeface="Verdana"/>
                <a:cs typeface="Verdana"/>
              </a:rPr>
              <a:t>of </a:t>
            </a:r>
            <a:r>
              <a:rPr sz="1200" spc="-15">
                <a:latin typeface="Verdana"/>
                <a:cs typeface="Verdana"/>
              </a:rPr>
              <a:t>series </a:t>
            </a:r>
            <a:r>
              <a:rPr sz="1200" spc="-5">
                <a:latin typeface="Verdana"/>
                <a:cs typeface="Verdana"/>
              </a:rPr>
              <a:t>of </a:t>
            </a:r>
            <a:r>
              <a:rPr sz="1200" spc="-20">
                <a:latin typeface="Verdana"/>
                <a:cs typeface="Verdana"/>
              </a:rPr>
              <a:t>fixed </a:t>
            </a:r>
            <a:r>
              <a:rPr sz="1200" spc="-15">
                <a:latin typeface="Verdana"/>
                <a:cs typeface="Verdana"/>
              </a:rPr>
              <a:t>length </a:t>
            </a:r>
            <a:r>
              <a:rPr sz="1200" spc="-20">
                <a:latin typeface="Verdana"/>
                <a:cs typeface="Verdana"/>
              </a:rPr>
              <a:t>Sprints </a:t>
            </a:r>
            <a:r>
              <a:rPr sz="1200" spc="-10">
                <a:latin typeface="Verdana"/>
                <a:cs typeface="Verdana"/>
              </a:rPr>
              <a:t>where </a:t>
            </a:r>
            <a:r>
              <a:rPr sz="1200" spc="-15">
                <a:latin typeface="Verdana"/>
                <a:cs typeface="Verdana"/>
              </a:rPr>
              <a:t>focus </a:t>
            </a:r>
            <a:r>
              <a:rPr sz="1200" spc="-10">
                <a:latin typeface="Verdana"/>
                <a:cs typeface="Verdana"/>
              </a:rPr>
              <a:t>is to  </a:t>
            </a:r>
            <a:r>
              <a:rPr sz="1200" spc="-15">
                <a:latin typeface="Verdana"/>
                <a:cs typeface="Verdana"/>
              </a:rPr>
              <a:t>configure and </a:t>
            </a:r>
            <a:r>
              <a:rPr sz="1200" spc="-20">
                <a:latin typeface="Verdana"/>
                <a:cs typeface="Verdana"/>
              </a:rPr>
              <a:t>customize </a:t>
            </a:r>
            <a:r>
              <a:rPr sz="1200" spc="-15">
                <a:latin typeface="Verdana"/>
                <a:cs typeface="Verdana"/>
              </a:rPr>
              <a:t>the solution </a:t>
            </a:r>
            <a:r>
              <a:rPr sz="1200" spc="-10">
                <a:latin typeface="Verdana"/>
                <a:cs typeface="Verdana"/>
              </a:rPr>
              <a:t>as per </a:t>
            </a:r>
            <a:r>
              <a:rPr sz="1200" spc="-15">
                <a:latin typeface="Verdana"/>
                <a:cs typeface="Verdana"/>
              </a:rPr>
              <a:t>stories detailed </a:t>
            </a:r>
            <a:r>
              <a:rPr sz="1200" spc="-10">
                <a:latin typeface="Verdana"/>
                <a:cs typeface="Verdana"/>
              </a:rPr>
              <a:t>in </a:t>
            </a:r>
            <a:r>
              <a:rPr sz="1200" spc="-15">
                <a:latin typeface="Verdana"/>
                <a:cs typeface="Verdana"/>
              </a:rPr>
              <a:t>product backlog.  Every sprint starts with </a:t>
            </a:r>
            <a:r>
              <a:rPr sz="1200">
                <a:latin typeface="Verdana"/>
                <a:cs typeface="Verdana"/>
              </a:rPr>
              <a:t>a </a:t>
            </a:r>
            <a:r>
              <a:rPr sz="1200" spc="-15">
                <a:latin typeface="Verdana"/>
                <a:cs typeface="Verdana"/>
              </a:rPr>
              <a:t>plan and </a:t>
            </a:r>
            <a:r>
              <a:rPr sz="1200" spc="-10">
                <a:latin typeface="Verdana"/>
                <a:cs typeface="Verdana"/>
              </a:rPr>
              <a:t>is </a:t>
            </a:r>
            <a:r>
              <a:rPr sz="1200" spc="-20">
                <a:latin typeface="Verdana"/>
                <a:cs typeface="Verdana"/>
              </a:rPr>
              <a:t>finished </a:t>
            </a:r>
            <a:r>
              <a:rPr sz="1200" spc="-15">
                <a:latin typeface="Verdana"/>
                <a:cs typeface="Verdana"/>
              </a:rPr>
              <a:t>with </a:t>
            </a:r>
            <a:r>
              <a:rPr sz="1200">
                <a:latin typeface="Verdana"/>
                <a:cs typeface="Verdana"/>
              </a:rPr>
              <a:t>a </a:t>
            </a:r>
            <a:r>
              <a:rPr sz="1200" spc="-15">
                <a:latin typeface="Verdana"/>
                <a:cs typeface="Verdana"/>
              </a:rPr>
              <a:t>Demo </a:t>
            </a:r>
            <a:r>
              <a:rPr sz="1200" spc="-5">
                <a:latin typeface="Verdana"/>
                <a:cs typeface="Verdana"/>
              </a:rPr>
              <a:t>of </a:t>
            </a:r>
            <a:r>
              <a:rPr sz="1200" spc="-15">
                <a:latin typeface="Verdana"/>
                <a:cs typeface="Verdana"/>
              </a:rPr>
              <a:t>working software  and retrospective. Demos </a:t>
            </a:r>
            <a:r>
              <a:rPr sz="1200" spc="-20">
                <a:latin typeface="Verdana"/>
                <a:cs typeface="Verdana"/>
              </a:rPr>
              <a:t>provide </a:t>
            </a:r>
            <a:r>
              <a:rPr sz="1200" spc="-15">
                <a:latin typeface="Verdana"/>
                <a:cs typeface="Verdana"/>
              </a:rPr>
              <a:t>early view </a:t>
            </a:r>
            <a:r>
              <a:rPr sz="1200" spc="-10">
                <a:latin typeface="Verdana"/>
                <a:cs typeface="Verdana"/>
              </a:rPr>
              <a:t>of </a:t>
            </a:r>
            <a:r>
              <a:rPr sz="1200" spc="-15">
                <a:latin typeface="Verdana"/>
                <a:cs typeface="Verdana"/>
              </a:rPr>
              <a:t>working system </a:t>
            </a:r>
            <a:r>
              <a:rPr sz="1200" spc="-10">
                <a:latin typeface="Verdana"/>
                <a:cs typeface="Verdana"/>
              </a:rPr>
              <a:t>to </a:t>
            </a:r>
            <a:r>
              <a:rPr sz="1200" spc="-20">
                <a:latin typeface="Verdana"/>
                <a:cs typeface="Verdana"/>
              </a:rPr>
              <a:t>various  </a:t>
            </a:r>
            <a:r>
              <a:rPr sz="1200" spc="-15">
                <a:latin typeface="Verdana"/>
                <a:cs typeface="Verdana"/>
              </a:rPr>
              <a:t>stakeholders. </a:t>
            </a:r>
            <a:r>
              <a:rPr sz="1200" spc="-10">
                <a:latin typeface="Verdana"/>
                <a:cs typeface="Verdana"/>
              </a:rPr>
              <a:t>In an </a:t>
            </a:r>
            <a:r>
              <a:rPr sz="1200" spc="-15">
                <a:latin typeface="Verdana"/>
                <a:cs typeface="Verdana"/>
              </a:rPr>
              <a:t>enterprise context, Salesforce </a:t>
            </a:r>
            <a:r>
              <a:rPr sz="1200" spc="-20">
                <a:latin typeface="Verdana"/>
                <a:cs typeface="Verdana"/>
              </a:rPr>
              <a:t>implementation </a:t>
            </a:r>
            <a:r>
              <a:rPr sz="1200" spc="-15">
                <a:latin typeface="Verdana"/>
                <a:cs typeface="Verdana"/>
              </a:rPr>
              <a:t>often </a:t>
            </a:r>
            <a:r>
              <a:rPr sz="1200" spc="-10">
                <a:latin typeface="Verdana"/>
                <a:cs typeface="Verdana"/>
              </a:rPr>
              <a:t>need to  </a:t>
            </a:r>
            <a:r>
              <a:rPr sz="1200" spc="-20">
                <a:latin typeface="Verdana"/>
                <a:cs typeface="Verdana"/>
              </a:rPr>
              <a:t>integrate </a:t>
            </a:r>
            <a:r>
              <a:rPr sz="1200" spc="-15">
                <a:latin typeface="Verdana"/>
                <a:cs typeface="Verdana"/>
              </a:rPr>
              <a:t>with other on-premise </a:t>
            </a:r>
            <a:r>
              <a:rPr sz="1200" spc="-5">
                <a:latin typeface="Verdana"/>
                <a:cs typeface="Verdana"/>
              </a:rPr>
              <a:t>or </a:t>
            </a:r>
            <a:r>
              <a:rPr sz="1200" spc="-15">
                <a:latin typeface="Verdana"/>
                <a:cs typeface="Verdana"/>
              </a:rPr>
              <a:t>other cloud systems and different types </a:t>
            </a:r>
            <a:r>
              <a:rPr sz="1200" spc="-5">
                <a:latin typeface="Verdana"/>
                <a:cs typeface="Verdana"/>
              </a:rPr>
              <a:t>of  </a:t>
            </a:r>
            <a:r>
              <a:rPr sz="1200" spc="-15">
                <a:latin typeface="Verdana"/>
                <a:cs typeface="Verdana"/>
              </a:rPr>
              <a:t>data will also </a:t>
            </a:r>
            <a:r>
              <a:rPr sz="1200" spc="-10">
                <a:latin typeface="Verdana"/>
                <a:cs typeface="Verdana"/>
              </a:rPr>
              <a:t>be </a:t>
            </a:r>
            <a:r>
              <a:rPr sz="1200" spc="-20">
                <a:latin typeface="Verdana"/>
                <a:cs typeface="Verdana"/>
              </a:rPr>
              <a:t>migrated </a:t>
            </a:r>
            <a:r>
              <a:rPr sz="1200" spc="-10">
                <a:latin typeface="Verdana"/>
                <a:cs typeface="Verdana"/>
              </a:rPr>
              <a:t>to seed </a:t>
            </a:r>
            <a:r>
              <a:rPr sz="1200" spc="-15">
                <a:latin typeface="Verdana"/>
                <a:cs typeface="Verdana"/>
              </a:rPr>
              <a:t>the system. These </a:t>
            </a:r>
            <a:r>
              <a:rPr sz="1200" spc="-20">
                <a:latin typeface="Verdana"/>
                <a:cs typeface="Verdana"/>
              </a:rPr>
              <a:t>activities </a:t>
            </a:r>
            <a:r>
              <a:rPr sz="1200" spc="-15">
                <a:latin typeface="Verdana"/>
                <a:cs typeface="Verdana"/>
              </a:rPr>
              <a:t>along with  functional testing </a:t>
            </a:r>
            <a:r>
              <a:rPr sz="1200" spc="-10">
                <a:latin typeface="Verdana"/>
                <a:cs typeface="Verdana"/>
              </a:rPr>
              <a:t>form </a:t>
            </a:r>
            <a:r>
              <a:rPr sz="1200" spc="-15">
                <a:latin typeface="Verdana"/>
                <a:cs typeface="Verdana"/>
              </a:rPr>
              <a:t>part </a:t>
            </a:r>
            <a:r>
              <a:rPr sz="1200" spc="-5">
                <a:latin typeface="Verdana"/>
                <a:cs typeface="Verdana"/>
              </a:rPr>
              <a:t>of </a:t>
            </a:r>
            <a:r>
              <a:rPr sz="1200" spc="-10">
                <a:latin typeface="Verdana"/>
                <a:cs typeface="Verdana"/>
              </a:rPr>
              <a:t>each </a:t>
            </a:r>
            <a:r>
              <a:rPr sz="1200" spc="-15">
                <a:latin typeface="Verdana"/>
                <a:cs typeface="Verdana"/>
              </a:rPr>
              <a:t>sprint. </a:t>
            </a:r>
            <a:r>
              <a:rPr sz="1200" spc="-10">
                <a:latin typeface="Verdana"/>
                <a:cs typeface="Verdana"/>
              </a:rPr>
              <a:t>In </a:t>
            </a:r>
            <a:r>
              <a:rPr sz="1200" spc="-15">
                <a:latin typeface="Verdana"/>
                <a:cs typeface="Verdana"/>
              </a:rPr>
              <a:t>larger </a:t>
            </a:r>
            <a:r>
              <a:rPr sz="1200" spc="-20">
                <a:latin typeface="Verdana"/>
                <a:cs typeface="Verdana"/>
              </a:rPr>
              <a:t>implementation </a:t>
            </a:r>
            <a:r>
              <a:rPr sz="1200" spc="-15">
                <a:latin typeface="Verdana"/>
                <a:cs typeface="Verdana"/>
              </a:rPr>
              <a:t>projects,  there could </a:t>
            </a:r>
            <a:r>
              <a:rPr sz="1200" spc="-10">
                <a:latin typeface="Verdana"/>
                <a:cs typeface="Verdana"/>
              </a:rPr>
              <a:t>be </a:t>
            </a:r>
            <a:r>
              <a:rPr sz="1200" spc="-15">
                <a:latin typeface="Verdana"/>
                <a:cs typeface="Verdana"/>
              </a:rPr>
              <a:t>different Scrum team doing data </a:t>
            </a:r>
            <a:r>
              <a:rPr sz="1200" spc="-20">
                <a:latin typeface="Verdana"/>
                <a:cs typeface="Verdana"/>
              </a:rPr>
              <a:t>migration </a:t>
            </a:r>
            <a:r>
              <a:rPr sz="1200" spc="-15">
                <a:latin typeface="Verdana"/>
                <a:cs typeface="Verdana"/>
              </a:rPr>
              <a:t>and </a:t>
            </a:r>
            <a:r>
              <a:rPr sz="1200" spc="-20">
                <a:latin typeface="Verdana"/>
                <a:cs typeface="Verdana"/>
              </a:rPr>
              <a:t>integration  activities</a:t>
            </a:r>
            <a:endParaRPr sz="1200">
              <a:latin typeface="Verdana"/>
              <a:cs typeface="Verdana"/>
            </a:endParaRPr>
          </a:p>
          <a:p>
            <a:pPr marL="92075" marR="135255">
              <a:lnSpc>
                <a:spcPct val="100000"/>
              </a:lnSpc>
              <a:spcBef>
                <a:spcPts val="204"/>
              </a:spcBef>
            </a:pPr>
            <a:r>
              <a:rPr sz="1200" spc="-35">
                <a:latin typeface="Verdana"/>
                <a:cs typeface="Verdana"/>
              </a:rPr>
              <a:t>Towards </a:t>
            </a:r>
            <a:r>
              <a:rPr sz="1200" spc="-10">
                <a:latin typeface="Verdana"/>
                <a:cs typeface="Verdana"/>
              </a:rPr>
              <a:t>end of </a:t>
            </a:r>
            <a:r>
              <a:rPr sz="1200" spc="-15">
                <a:latin typeface="Verdana"/>
                <a:cs typeface="Verdana"/>
              </a:rPr>
              <a:t>phase, </a:t>
            </a:r>
            <a:r>
              <a:rPr sz="1200" spc="-10">
                <a:latin typeface="Verdana"/>
                <a:cs typeface="Verdana"/>
              </a:rPr>
              <a:t>one or more </a:t>
            </a:r>
            <a:r>
              <a:rPr sz="1200" spc="-15">
                <a:latin typeface="Verdana"/>
                <a:cs typeface="Verdana"/>
              </a:rPr>
              <a:t>Hardening </a:t>
            </a:r>
            <a:r>
              <a:rPr sz="1200" spc="-20">
                <a:latin typeface="Verdana"/>
                <a:cs typeface="Verdana"/>
              </a:rPr>
              <a:t>Sprints </a:t>
            </a:r>
            <a:r>
              <a:rPr sz="1200" spc="-10">
                <a:latin typeface="Verdana"/>
                <a:cs typeface="Verdana"/>
              </a:rPr>
              <a:t>are </a:t>
            </a:r>
            <a:r>
              <a:rPr sz="1200" spc="-15">
                <a:latin typeface="Verdana"/>
                <a:cs typeface="Verdana"/>
              </a:rPr>
              <a:t>scheduled </a:t>
            </a:r>
            <a:r>
              <a:rPr sz="1200" spc="-10">
                <a:latin typeface="Verdana"/>
                <a:cs typeface="Verdana"/>
              </a:rPr>
              <a:t>to </a:t>
            </a:r>
            <a:r>
              <a:rPr sz="1200" spc="-20">
                <a:latin typeface="Verdana"/>
                <a:cs typeface="Verdana"/>
              </a:rPr>
              <a:t>have  </a:t>
            </a:r>
            <a:r>
              <a:rPr sz="1200" spc="-15">
                <a:latin typeface="Verdana"/>
                <a:cs typeface="Verdana"/>
              </a:rPr>
              <a:t>controlled freeze </a:t>
            </a:r>
            <a:r>
              <a:rPr sz="1200" spc="-5">
                <a:latin typeface="Verdana"/>
                <a:cs typeface="Verdana"/>
              </a:rPr>
              <a:t>on </a:t>
            </a:r>
            <a:r>
              <a:rPr sz="1200" spc="-15">
                <a:latin typeface="Verdana"/>
                <a:cs typeface="Verdana"/>
              </a:rPr>
              <a:t>changes </a:t>
            </a:r>
            <a:r>
              <a:rPr sz="1200" spc="-10">
                <a:latin typeface="Verdana"/>
                <a:cs typeface="Verdana"/>
              </a:rPr>
              <a:t>for </a:t>
            </a:r>
            <a:r>
              <a:rPr sz="1200" spc="-15">
                <a:latin typeface="Verdana"/>
                <a:cs typeface="Verdana"/>
              </a:rPr>
              <a:t>final </a:t>
            </a:r>
            <a:r>
              <a:rPr sz="1200" spc="-5">
                <a:latin typeface="Verdana"/>
                <a:cs typeface="Verdana"/>
              </a:rPr>
              <a:t>QA </a:t>
            </a:r>
            <a:r>
              <a:rPr sz="1200" spc="-15">
                <a:latin typeface="Verdana"/>
                <a:cs typeface="Verdana"/>
              </a:rPr>
              <a:t>before system </a:t>
            </a:r>
            <a:r>
              <a:rPr sz="1200" spc="-10">
                <a:latin typeface="Verdana"/>
                <a:cs typeface="Verdana"/>
              </a:rPr>
              <a:t>is </a:t>
            </a:r>
            <a:r>
              <a:rPr sz="1200" spc="-15">
                <a:latin typeface="Verdana"/>
                <a:cs typeface="Verdana"/>
              </a:rPr>
              <a:t>placed </a:t>
            </a:r>
            <a:r>
              <a:rPr sz="1200" spc="-5">
                <a:latin typeface="Verdana"/>
                <a:cs typeface="Verdana"/>
              </a:rPr>
              <a:t>on </a:t>
            </a:r>
            <a:r>
              <a:rPr sz="1200" spc="-40">
                <a:latin typeface="Verdana"/>
                <a:cs typeface="Verdana"/>
              </a:rPr>
              <a:t>UAT </a:t>
            </a:r>
            <a:r>
              <a:rPr sz="1200" spc="-20">
                <a:latin typeface="Verdana"/>
                <a:cs typeface="Verdana"/>
              </a:rPr>
              <a:t>sandbox  </a:t>
            </a:r>
            <a:r>
              <a:rPr sz="1200" spc="-10">
                <a:latin typeface="Verdana"/>
                <a:cs typeface="Verdana"/>
              </a:rPr>
              <a:t>for </a:t>
            </a:r>
            <a:r>
              <a:rPr sz="1200" spc="-15">
                <a:latin typeface="Verdana"/>
                <a:cs typeface="Verdana"/>
              </a:rPr>
              <a:t>final </a:t>
            </a:r>
            <a:r>
              <a:rPr sz="1200" spc="-10">
                <a:latin typeface="Verdana"/>
                <a:cs typeface="Verdana"/>
              </a:rPr>
              <a:t>User </a:t>
            </a:r>
            <a:r>
              <a:rPr sz="1200" spc="-15">
                <a:latin typeface="Verdana"/>
                <a:cs typeface="Verdana"/>
              </a:rPr>
              <a:t>Acceptance. </a:t>
            </a:r>
            <a:r>
              <a:rPr sz="1200" spc="-10">
                <a:latin typeface="Verdana"/>
                <a:cs typeface="Verdana"/>
              </a:rPr>
              <a:t>In </a:t>
            </a:r>
            <a:r>
              <a:rPr sz="1200" spc="-15">
                <a:latin typeface="Verdana"/>
                <a:cs typeface="Verdana"/>
              </a:rPr>
              <a:t>larger </a:t>
            </a:r>
            <a:r>
              <a:rPr sz="1200" spc="-20">
                <a:latin typeface="Verdana"/>
                <a:cs typeface="Verdana"/>
              </a:rPr>
              <a:t>implementations </a:t>
            </a:r>
            <a:r>
              <a:rPr sz="1200" spc="-15">
                <a:latin typeface="Verdana"/>
                <a:cs typeface="Verdana"/>
              </a:rPr>
              <a:t>though there could </a:t>
            </a:r>
            <a:r>
              <a:rPr sz="1200" spc="-10">
                <a:latin typeface="Verdana"/>
                <a:cs typeface="Verdana"/>
              </a:rPr>
              <a:t>be more  </a:t>
            </a:r>
            <a:r>
              <a:rPr sz="1200" spc="-15">
                <a:latin typeface="Verdana"/>
                <a:cs typeface="Verdana"/>
              </a:rPr>
              <a:t>hardening sprints requiring </a:t>
            </a:r>
            <a:r>
              <a:rPr sz="1200" spc="-20">
                <a:latin typeface="Verdana"/>
                <a:cs typeface="Verdana"/>
              </a:rPr>
              <a:t>elaborate </a:t>
            </a:r>
            <a:r>
              <a:rPr sz="1200" spc="-15">
                <a:latin typeface="Verdana"/>
                <a:cs typeface="Verdana"/>
              </a:rPr>
              <a:t>regression</a:t>
            </a:r>
            <a:r>
              <a:rPr sz="1200" spc="80">
                <a:latin typeface="Verdana"/>
                <a:cs typeface="Verdana"/>
              </a:rPr>
              <a:t> </a:t>
            </a:r>
            <a:r>
              <a:rPr sz="1200" spc="-15">
                <a:latin typeface="Verdana"/>
                <a:cs typeface="Verdana"/>
              </a:rPr>
              <a:t>testing</a:t>
            </a:r>
            <a:endParaRPr sz="1200">
              <a:latin typeface="Verdana"/>
              <a:cs typeface="Verdana"/>
            </a:endParaRPr>
          </a:p>
        </p:txBody>
      </p:sp>
      <p:sp>
        <p:nvSpPr>
          <p:cNvPr id="14" name="object 14"/>
          <p:cNvSpPr/>
          <p:nvPr/>
        </p:nvSpPr>
        <p:spPr>
          <a:xfrm>
            <a:off x="5509259" y="1114044"/>
            <a:ext cx="6414770" cy="381000"/>
          </a:xfrm>
          <a:custGeom>
            <a:avLst/>
            <a:gdLst/>
            <a:ahLst/>
            <a:cxnLst/>
            <a:rect l="l" t="t" r="r" b="b"/>
            <a:pathLst>
              <a:path w="6414770" h="381000">
                <a:moveTo>
                  <a:pt x="6414516" y="0"/>
                </a:moveTo>
                <a:lnTo>
                  <a:pt x="63500" y="0"/>
                </a:lnTo>
                <a:lnTo>
                  <a:pt x="38790" y="4992"/>
                </a:lnTo>
                <a:lnTo>
                  <a:pt x="18605" y="18605"/>
                </a:lnTo>
                <a:lnTo>
                  <a:pt x="4992" y="38790"/>
                </a:lnTo>
                <a:lnTo>
                  <a:pt x="0" y="63500"/>
                </a:lnTo>
                <a:lnTo>
                  <a:pt x="0" y="381000"/>
                </a:lnTo>
                <a:lnTo>
                  <a:pt x="6351016" y="381000"/>
                </a:lnTo>
                <a:lnTo>
                  <a:pt x="6375725" y="376007"/>
                </a:lnTo>
                <a:lnTo>
                  <a:pt x="6395910" y="362394"/>
                </a:lnTo>
                <a:lnTo>
                  <a:pt x="6409523" y="342209"/>
                </a:lnTo>
                <a:lnTo>
                  <a:pt x="6414516" y="317500"/>
                </a:lnTo>
                <a:lnTo>
                  <a:pt x="6414516" y="0"/>
                </a:lnTo>
                <a:close/>
              </a:path>
            </a:pathLst>
          </a:custGeom>
          <a:solidFill>
            <a:srgbClr val="006FAC"/>
          </a:solidFill>
        </p:spPr>
        <p:txBody>
          <a:bodyPr wrap="square" lIns="0" tIns="0" rIns="0" bIns="0" rtlCol="0"/>
          <a:lstStyle/>
          <a:p>
            <a:endParaRPr/>
          </a:p>
        </p:txBody>
      </p:sp>
      <p:sp>
        <p:nvSpPr>
          <p:cNvPr id="15" name="object 15"/>
          <p:cNvSpPr txBox="1"/>
          <p:nvPr/>
        </p:nvSpPr>
        <p:spPr>
          <a:xfrm>
            <a:off x="8139176" y="1199134"/>
            <a:ext cx="115633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Development</a:t>
            </a:r>
            <a:endParaRPr sz="1200">
              <a:latin typeface="Verdana"/>
              <a:cs typeface="Verdana"/>
            </a:endParaRPr>
          </a:p>
        </p:txBody>
      </p:sp>
      <p:sp>
        <p:nvSpPr>
          <p:cNvPr id="16" name="object 16"/>
          <p:cNvSpPr txBox="1"/>
          <p:nvPr/>
        </p:nvSpPr>
        <p:spPr>
          <a:xfrm>
            <a:off x="1486280" y="2143760"/>
            <a:ext cx="129539"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a:t>
            </a:r>
            <a:endParaRPr sz="1000">
              <a:latin typeface="Verdana"/>
              <a:cs typeface="Verdana"/>
            </a:endParaRPr>
          </a:p>
        </p:txBody>
      </p:sp>
      <p:sp>
        <p:nvSpPr>
          <p:cNvPr id="17" name="object 17"/>
          <p:cNvSpPr txBox="1"/>
          <p:nvPr/>
        </p:nvSpPr>
        <p:spPr>
          <a:xfrm>
            <a:off x="1291716" y="2155780"/>
            <a:ext cx="207645" cy="368935"/>
          </a:xfrm>
          <a:prstGeom prst="rect">
            <a:avLst/>
          </a:prstGeom>
        </p:spPr>
        <p:txBody>
          <a:bodyPr vert="horz" wrap="square" lIns="0" tIns="0" rIns="0" bIns="0" rtlCol="0">
            <a:spAutoFit/>
          </a:bodyPr>
          <a:lstStyle/>
          <a:p>
            <a:pPr>
              <a:lnSpc>
                <a:spcPct val="100000"/>
              </a:lnSpc>
            </a:pPr>
            <a:r>
              <a:rPr sz="1000" spc="-5">
                <a:latin typeface="Verdana"/>
                <a:cs typeface="Verdana"/>
              </a:rPr>
              <a:t>……</a:t>
            </a:r>
            <a:endParaRPr sz="1000">
              <a:latin typeface="Verdana"/>
              <a:cs typeface="Verdana"/>
            </a:endParaRPr>
          </a:p>
          <a:p>
            <a:pPr>
              <a:lnSpc>
                <a:spcPct val="100000"/>
              </a:lnSpc>
              <a:spcBef>
                <a:spcPts val="490"/>
              </a:spcBef>
            </a:pPr>
            <a:r>
              <a:rPr sz="1000" spc="-5">
                <a:latin typeface="Verdana"/>
                <a:cs typeface="Verdana"/>
              </a:rPr>
              <a:t>……</a:t>
            </a:r>
            <a:endParaRPr sz="1000">
              <a:latin typeface="Verdana"/>
              <a:cs typeface="Verdana"/>
            </a:endParaRPr>
          </a:p>
        </p:txBody>
      </p:sp>
      <p:sp>
        <p:nvSpPr>
          <p:cNvPr id="18" name="object 18"/>
          <p:cNvSpPr txBox="1"/>
          <p:nvPr/>
        </p:nvSpPr>
        <p:spPr>
          <a:xfrm>
            <a:off x="1602612" y="2155780"/>
            <a:ext cx="552450" cy="368935"/>
          </a:xfrm>
          <a:prstGeom prst="rect">
            <a:avLst/>
          </a:prstGeom>
        </p:spPr>
        <p:txBody>
          <a:bodyPr vert="horz" wrap="square" lIns="0" tIns="0" rIns="0" bIns="0" rtlCol="0">
            <a:spAutoFit/>
          </a:bodyPr>
          <a:lstStyle/>
          <a:p>
            <a:pPr>
              <a:lnSpc>
                <a:spcPct val="100000"/>
              </a:lnSpc>
            </a:pPr>
            <a:r>
              <a:rPr sz="1000" spc="-5">
                <a:latin typeface="Verdana"/>
                <a:cs typeface="Verdana"/>
              </a:rPr>
              <a:t>…………</a:t>
            </a:r>
            <a:r>
              <a:rPr sz="1000" spc="-10">
                <a:latin typeface="Verdana"/>
                <a:cs typeface="Verdana"/>
              </a:rPr>
              <a:t>..</a:t>
            </a:r>
            <a:r>
              <a:rPr sz="1000" spc="-5">
                <a:latin typeface="Verdana"/>
                <a:cs typeface="Verdana"/>
              </a:rPr>
              <a:t>.</a:t>
            </a:r>
            <a:endParaRPr sz="1000">
              <a:latin typeface="Verdana"/>
              <a:cs typeface="Verdana"/>
            </a:endParaRPr>
          </a:p>
          <a:p>
            <a:pPr>
              <a:lnSpc>
                <a:spcPct val="100000"/>
              </a:lnSpc>
              <a:spcBef>
                <a:spcPts val="490"/>
              </a:spcBef>
            </a:pPr>
            <a:r>
              <a:rPr sz="1000" spc="-5">
                <a:latin typeface="Verdana"/>
                <a:cs typeface="Verdana"/>
              </a:rPr>
              <a:t>……………</a:t>
            </a:r>
            <a:endParaRPr sz="1000">
              <a:latin typeface="Verdana"/>
              <a:cs typeface="Verdana"/>
            </a:endParaRPr>
          </a:p>
        </p:txBody>
      </p:sp>
      <p:sp>
        <p:nvSpPr>
          <p:cNvPr id="19" name="object 19"/>
          <p:cNvSpPr/>
          <p:nvPr/>
        </p:nvSpPr>
        <p:spPr>
          <a:xfrm>
            <a:off x="2298192" y="2215895"/>
            <a:ext cx="342900" cy="356615"/>
          </a:xfrm>
          <a:prstGeom prst="rect">
            <a:avLst/>
          </a:prstGeom>
          <a:blipFill>
            <a:blip r:embed="rId2" cstate="print"/>
            <a:stretch>
              <a:fillRect/>
            </a:stretch>
          </a:blipFill>
        </p:spPr>
        <p:txBody>
          <a:bodyPr wrap="square" lIns="0" tIns="0" rIns="0" bIns="0" rtlCol="0"/>
          <a:lstStyle/>
          <a:p>
            <a:endParaRPr/>
          </a:p>
        </p:txBody>
      </p:sp>
      <p:sp>
        <p:nvSpPr>
          <p:cNvPr id="20" name="object 20"/>
          <p:cNvSpPr/>
          <p:nvPr/>
        </p:nvSpPr>
        <p:spPr>
          <a:xfrm>
            <a:off x="749808" y="1115567"/>
            <a:ext cx="3854450" cy="494030"/>
          </a:xfrm>
          <a:custGeom>
            <a:avLst/>
            <a:gdLst/>
            <a:ahLst/>
            <a:cxnLst/>
            <a:rect l="l" t="t" r="r" b="b"/>
            <a:pathLst>
              <a:path w="3854450" h="494030">
                <a:moveTo>
                  <a:pt x="3854195" y="0"/>
                </a:moveTo>
                <a:lnTo>
                  <a:pt x="53568" y="0"/>
                </a:lnTo>
                <a:lnTo>
                  <a:pt x="0" y="493776"/>
                </a:lnTo>
                <a:lnTo>
                  <a:pt x="3800602" y="493776"/>
                </a:lnTo>
                <a:lnTo>
                  <a:pt x="3854195" y="0"/>
                </a:lnTo>
                <a:close/>
              </a:path>
            </a:pathLst>
          </a:custGeom>
          <a:solidFill>
            <a:srgbClr val="D9D9D9"/>
          </a:solidFill>
        </p:spPr>
        <p:txBody>
          <a:bodyPr wrap="square" lIns="0" tIns="0" rIns="0" bIns="0" rtlCol="0"/>
          <a:lstStyle/>
          <a:p>
            <a:endParaRPr/>
          </a:p>
        </p:txBody>
      </p:sp>
      <p:sp>
        <p:nvSpPr>
          <p:cNvPr id="21" name="object 21"/>
          <p:cNvSpPr txBox="1"/>
          <p:nvPr/>
        </p:nvSpPr>
        <p:spPr>
          <a:xfrm>
            <a:off x="2098675" y="1257046"/>
            <a:ext cx="115570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253046"/>
                </a:solidFill>
                <a:latin typeface="Verdana"/>
                <a:cs typeface="Verdana"/>
              </a:rPr>
              <a:t>Development</a:t>
            </a:r>
            <a:endParaRPr sz="1200">
              <a:latin typeface="Verdana"/>
              <a:cs typeface="Verdana"/>
            </a:endParaRPr>
          </a:p>
        </p:txBody>
      </p:sp>
      <p:sp>
        <p:nvSpPr>
          <p:cNvPr id="22" name="object 22"/>
          <p:cNvSpPr/>
          <p:nvPr/>
        </p:nvSpPr>
        <p:spPr>
          <a:xfrm>
            <a:off x="752855" y="4055364"/>
            <a:ext cx="3851275" cy="807720"/>
          </a:xfrm>
          <a:custGeom>
            <a:avLst/>
            <a:gdLst/>
            <a:ahLst/>
            <a:cxnLst/>
            <a:rect l="l" t="t" r="r" b="b"/>
            <a:pathLst>
              <a:path w="3851275" h="807720">
                <a:moveTo>
                  <a:pt x="3851148" y="0"/>
                </a:moveTo>
                <a:lnTo>
                  <a:pt x="62293" y="0"/>
                </a:lnTo>
                <a:lnTo>
                  <a:pt x="0" y="807719"/>
                </a:lnTo>
                <a:lnTo>
                  <a:pt x="3788791" y="807719"/>
                </a:lnTo>
                <a:lnTo>
                  <a:pt x="3851148" y="0"/>
                </a:lnTo>
                <a:close/>
              </a:path>
            </a:pathLst>
          </a:custGeom>
          <a:solidFill>
            <a:srgbClr val="F1F1F1"/>
          </a:solidFill>
        </p:spPr>
        <p:txBody>
          <a:bodyPr wrap="square" lIns="0" tIns="0" rIns="0" bIns="0" rtlCol="0"/>
          <a:lstStyle/>
          <a:p>
            <a:endParaRPr/>
          </a:p>
        </p:txBody>
      </p:sp>
      <p:sp>
        <p:nvSpPr>
          <p:cNvPr id="23" name="object 23"/>
          <p:cNvSpPr/>
          <p:nvPr/>
        </p:nvSpPr>
        <p:spPr>
          <a:xfrm>
            <a:off x="746759" y="2744723"/>
            <a:ext cx="3857625" cy="1224280"/>
          </a:xfrm>
          <a:custGeom>
            <a:avLst/>
            <a:gdLst/>
            <a:ahLst/>
            <a:cxnLst/>
            <a:rect l="l" t="t" r="r" b="b"/>
            <a:pathLst>
              <a:path w="3857625" h="1224279">
                <a:moveTo>
                  <a:pt x="3857243" y="0"/>
                </a:moveTo>
                <a:lnTo>
                  <a:pt x="45554" y="0"/>
                </a:lnTo>
                <a:lnTo>
                  <a:pt x="0" y="1223771"/>
                </a:lnTo>
                <a:lnTo>
                  <a:pt x="3811651" y="1223771"/>
                </a:lnTo>
                <a:lnTo>
                  <a:pt x="3857243" y="0"/>
                </a:lnTo>
                <a:close/>
              </a:path>
            </a:pathLst>
          </a:custGeom>
          <a:solidFill>
            <a:srgbClr val="D9D9D9"/>
          </a:solidFill>
        </p:spPr>
        <p:txBody>
          <a:bodyPr wrap="square" lIns="0" tIns="0" rIns="0" bIns="0" rtlCol="0"/>
          <a:lstStyle/>
          <a:p>
            <a:endParaRPr/>
          </a:p>
        </p:txBody>
      </p:sp>
      <p:sp>
        <p:nvSpPr>
          <p:cNvPr id="24" name="object 24"/>
          <p:cNvSpPr/>
          <p:nvPr/>
        </p:nvSpPr>
        <p:spPr>
          <a:xfrm>
            <a:off x="643636" y="1156716"/>
            <a:ext cx="127000" cy="4812665"/>
          </a:xfrm>
          <a:custGeom>
            <a:avLst/>
            <a:gdLst/>
            <a:ahLst/>
            <a:cxnLst/>
            <a:rect l="l" t="t" r="r" b="b"/>
            <a:pathLst>
              <a:path w="127000" h="4812665">
                <a:moveTo>
                  <a:pt x="69850" y="0"/>
                </a:moveTo>
                <a:lnTo>
                  <a:pt x="57150" y="0"/>
                </a:lnTo>
                <a:lnTo>
                  <a:pt x="57150" y="50800"/>
                </a:lnTo>
                <a:lnTo>
                  <a:pt x="69850" y="50800"/>
                </a:lnTo>
                <a:lnTo>
                  <a:pt x="69850" y="0"/>
                </a:lnTo>
                <a:close/>
              </a:path>
              <a:path w="127000" h="4812665">
                <a:moveTo>
                  <a:pt x="69850" y="88900"/>
                </a:moveTo>
                <a:lnTo>
                  <a:pt x="57150" y="88900"/>
                </a:lnTo>
                <a:lnTo>
                  <a:pt x="57150" y="139700"/>
                </a:lnTo>
                <a:lnTo>
                  <a:pt x="69850" y="139700"/>
                </a:lnTo>
                <a:lnTo>
                  <a:pt x="69850" y="88900"/>
                </a:lnTo>
                <a:close/>
              </a:path>
              <a:path w="127000" h="4812665">
                <a:moveTo>
                  <a:pt x="69850" y="177800"/>
                </a:moveTo>
                <a:lnTo>
                  <a:pt x="57150" y="177800"/>
                </a:lnTo>
                <a:lnTo>
                  <a:pt x="57150" y="228600"/>
                </a:lnTo>
                <a:lnTo>
                  <a:pt x="69850" y="228600"/>
                </a:lnTo>
                <a:lnTo>
                  <a:pt x="69850" y="177800"/>
                </a:lnTo>
                <a:close/>
              </a:path>
              <a:path w="127000" h="4812665">
                <a:moveTo>
                  <a:pt x="69850" y="266700"/>
                </a:moveTo>
                <a:lnTo>
                  <a:pt x="57150" y="266700"/>
                </a:lnTo>
                <a:lnTo>
                  <a:pt x="57150" y="317500"/>
                </a:lnTo>
                <a:lnTo>
                  <a:pt x="69850" y="317500"/>
                </a:lnTo>
                <a:lnTo>
                  <a:pt x="69850" y="266700"/>
                </a:lnTo>
                <a:close/>
              </a:path>
              <a:path w="127000" h="4812665">
                <a:moveTo>
                  <a:pt x="69850" y="355600"/>
                </a:moveTo>
                <a:lnTo>
                  <a:pt x="57150" y="355600"/>
                </a:lnTo>
                <a:lnTo>
                  <a:pt x="57150" y="406400"/>
                </a:lnTo>
                <a:lnTo>
                  <a:pt x="69850" y="406400"/>
                </a:lnTo>
                <a:lnTo>
                  <a:pt x="69850" y="355600"/>
                </a:lnTo>
                <a:close/>
              </a:path>
              <a:path w="127000" h="4812665">
                <a:moveTo>
                  <a:pt x="69850" y="444500"/>
                </a:moveTo>
                <a:lnTo>
                  <a:pt x="57150" y="444500"/>
                </a:lnTo>
                <a:lnTo>
                  <a:pt x="57150" y="495300"/>
                </a:lnTo>
                <a:lnTo>
                  <a:pt x="69850" y="495300"/>
                </a:lnTo>
                <a:lnTo>
                  <a:pt x="69850" y="444500"/>
                </a:lnTo>
                <a:close/>
              </a:path>
              <a:path w="127000" h="4812665">
                <a:moveTo>
                  <a:pt x="69850" y="533400"/>
                </a:moveTo>
                <a:lnTo>
                  <a:pt x="57150" y="533400"/>
                </a:lnTo>
                <a:lnTo>
                  <a:pt x="57150" y="584200"/>
                </a:lnTo>
                <a:lnTo>
                  <a:pt x="69850" y="584200"/>
                </a:lnTo>
                <a:lnTo>
                  <a:pt x="69850" y="533400"/>
                </a:lnTo>
                <a:close/>
              </a:path>
              <a:path w="127000" h="4812665">
                <a:moveTo>
                  <a:pt x="69850" y="622300"/>
                </a:moveTo>
                <a:lnTo>
                  <a:pt x="57150" y="622300"/>
                </a:lnTo>
                <a:lnTo>
                  <a:pt x="57150" y="673100"/>
                </a:lnTo>
                <a:lnTo>
                  <a:pt x="69850" y="673100"/>
                </a:lnTo>
                <a:lnTo>
                  <a:pt x="69850" y="622300"/>
                </a:lnTo>
                <a:close/>
              </a:path>
              <a:path w="127000" h="4812665">
                <a:moveTo>
                  <a:pt x="69850" y="711200"/>
                </a:moveTo>
                <a:lnTo>
                  <a:pt x="57150" y="711200"/>
                </a:lnTo>
                <a:lnTo>
                  <a:pt x="57150" y="762000"/>
                </a:lnTo>
                <a:lnTo>
                  <a:pt x="69850" y="762000"/>
                </a:lnTo>
                <a:lnTo>
                  <a:pt x="69850" y="711200"/>
                </a:lnTo>
                <a:close/>
              </a:path>
              <a:path w="127000" h="4812665">
                <a:moveTo>
                  <a:pt x="69850" y="800100"/>
                </a:moveTo>
                <a:lnTo>
                  <a:pt x="57150" y="800100"/>
                </a:lnTo>
                <a:lnTo>
                  <a:pt x="57150" y="850900"/>
                </a:lnTo>
                <a:lnTo>
                  <a:pt x="69850" y="850900"/>
                </a:lnTo>
                <a:lnTo>
                  <a:pt x="69850" y="800100"/>
                </a:lnTo>
                <a:close/>
              </a:path>
              <a:path w="127000" h="4812665">
                <a:moveTo>
                  <a:pt x="69850" y="889000"/>
                </a:moveTo>
                <a:lnTo>
                  <a:pt x="57150" y="889000"/>
                </a:lnTo>
                <a:lnTo>
                  <a:pt x="57150" y="939800"/>
                </a:lnTo>
                <a:lnTo>
                  <a:pt x="69850" y="939800"/>
                </a:lnTo>
                <a:lnTo>
                  <a:pt x="69850" y="889000"/>
                </a:lnTo>
                <a:close/>
              </a:path>
              <a:path w="127000" h="4812665">
                <a:moveTo>
                  <a:pt x="69850" y="977900"/>
                </a:moveTo>
                <a:lnTo>
                  <a:pt x="57150" y="977900"/>
                </a:lnTo>
                <a:lnTo>
                  <a:pt x="57150" y="1028700"/>
                </a:lnTo>
                <a:lnTo>
                  <a:pt x="69850" y="1028700"/>
                </a:lnTo>
                <a:lnTo>
                  <a:pt x="69850" y="977900"/>
                </a:lnTo>
                <a:close/>
              </a:path>
              <a:path w="127000" h="4812665">
                <a:moveTo>
                  <a:pt x="69850" y="1066800"/>
                </a:moveTo>
                <a:lnTo>
                  <a:pt x="57150" y="1066800"/>
                </a:lnTo>
                <a:lnTo>
                  <a:pt x="57150" y="1117600"/>
                </a:lnTo>
                <a:lnTo>
                  <a:pt x="69850" y="1117600"/>
                </a:lnTo>
                <a:lnTo>
                  <a:pt x="69850" y="1066800"/>
                </a:lnTo>
                <a:close/>
              </a:path>
              <a:path w="127000" h="4812665">
                <a:moveTo>
                  <a:pt x="69850" y="1155700"/>
                </a:moveTo>
                <a:lnTo>
                  <a:pt x="57150" y="1155700"/>
                </a:lnTo>
                <a:lnTo>
                  <a:pt x="57150" y="1206500"/>
                </a:lnTo>
                <a:lnTo>
                  <a:pt x="69850" y="1206500"/>
                </a:lnTo>
                <a:lnTo>
                  <a:pt x="69850" y="1155700"/>
                </a:lnTo>
                <a:close/>
              </a:path>
              <a:path w="127000" h="4812665">
                <a:moveTo>
                  <a:pt x="69850" y="1244600"/>
                </a:moveTo>
                <a:lnTo>
                  <a:pt x="57150" y="1244600"/>
                </a:lnTo>
                <a:lnTo>
                  <a:pt x="57150" y="1295400"/>
                </a:lnTo>
                <a:lnTo>
                  <a:pt x="69850" y="1295400"/>
                </a:lnTo>
                <a:lnTo>
                  <a:pt x="69850" y="1244600"/>
                </a:lnTo>
                <a:close/>
              </a:path>
              <a:path w="127000" h="4812665">
                <a:moveTo>
                  <a:pt x="69850" y="1333500"/>
                </a:moveTo>
                <a:lnTo>
                  <a:pt x="57150" y="1333500"/>
                </a:lnTo>
                <a:lnTo>
                  <a:pt x="57150" y="1384300"/>
                </a:lnTo>
                <a:lnTo>
                  <a:pt x="69850" y="1384300"/>
                </a:lnTo>
                <a:lnTo>
                  <a:pt x="69850" y="1333500"/>
                </a:lnTo>
                <a:close/>
              </a:path>
              <a:path w="127000" h="4812665">
                <a:moveTo>
                  <a:pt x="69850" y="1422400"/>
                </a:moveTo>
                <a:lnTo>
                  <a:pt x="57150" y="1422400"/>
                </a:lnTo>
                <a:lnTo>
                  <a:pt x="57150" y="1473200"/>
                </a:lnTo>
                <a:lnTo>
                  <a:pt x="69850" y="1473200"/>
                </a:lnTo>
                <a:lnTo>
                  <a:pt x="69850" y="1422400"/>
                </a:lnTo>
                <a:close/>
              </a:path>
              <a:path w="127000" h="4812665">
                <a:moveTo>
                  <a:pt x="69850" y="1511300"/>
                </a:moveTo>
                <a:lnTo>
                  <a:pt x="57150" y="1511300"/>
                </a:lnTo>
                <a:lnTo>
                  <a:pt x="57150" y="1562100"/>
                </a:lnTo>
                <a:lnTo>
                  <a:pt x="69850" y="1562100"/>
                </a:lnTo>
                <a:lnTo>
                  <a:pt x="69850" y="1511300"/>
                </a:lnTo>
                <a:close/>
              </a:path>
              <a:path w="127000" h="4812665">
                <a:moveTo>
                  <a:pt x="69850" y="1600200"/>
                </a:moveTo>
                <a:lnTo>
                  <a:pt x="57150" y="1600200"/>
                </a:lnTo>
                <a:lnTo>
                  <a:pt x="57150" y="1651000"/>
                </a:lnTo>
                <a:lnTo>
                  <a:pt x="69850" y="1651000"/>
                </a:lnTo>
                <a:lnTo>
                  <a:pt x="69850" y="1600200"/>
                </a:lnTo>
                <a:close/>
              </a:path>
              <a:path w="127000" h="4812665">
                <a:moveTo>
                  <a:pt x="69850" y="1689100"/>
                </a:moveTo>
                <a:lnTo>
                  <a:pt x="57150" y="1689100"/>
                </a:lnTo>
                <a:lnTo>
                  <a:pt x="57150" y="1739900"/>
                </a:lnTo>
                <a:lnTo>
                  <a:pt x="69850" y="1739900"/>
                </a:lnTo>
                <a:lnTo>
                  <a:pt x="69850" y="1689100"/>
                </a:lnTo>
                <a:close/>
              </a:path>
              <a:path w="127000" h="4812665">
                <a:moveTo>
                  <a:pt x="69850" y="1778000"/>
                </a:moveTo>
                <a:lnTo>
                  <a:pt x="57150" y="1778000"/>
                </a:lnTo>
                <a:lnTo>
                  <a:pt x="57150" y="1828800"/>
                </a:lnTo>
                <a:lnTo>
                  <a:pt x="69850" y="1828800"/>
                </a:lnTo>
                <a:lnTo>
                  <a:pt x="69850" y="1778000"/>
                </a:lnTo>
                <a:close/>
              </a:path>
              <a:path w="127000" h="4812665">
                <a:moveTo>
                  <a:pt x="69850" y="1866900"/>
                </a:moveTo>
                <a:lnTo>
                  <a:pt x="57150" y="1866900"/>
                </a:lnTo>
                <a:lnTo>
                  <a:pt x="57150" y="1917700"/>
                </a:lnTo>
                <a:lnTo>
                  <a:pt x="69850" y="1917700"/>
                </a:lnTo>
                <a:lnTo>
                  <a:pt x="69850" y="1866900"/>
                </a:lnTo>
                <a:close/>
              </a:path>
              <a:path w="127000" h="4812665">
                <a:moveTo>
                  <a:pt x="69850" y="1955800"/>
                </a:moveTo>
                <a:lnTo>
                  <a:pt x="57150" y="1955800"/>
                </a:lnTo>
                <a:lnTo>
                  <a:pt x="57150" y="2006600"/>
                </a:lnTo>
                <a:lnTo>
                  <a:pt x="69850" y="2006600"/>
                </a:lnTo>
                <a:lnTo>
                  <a:pt x="69850" y="1955800"/>
                </a:lnTo>
                <a:close/>
              </a:path>
              <a:path w="127000" h="4812665">
                <a:moveTo>
                  <a:pt x="69850" y="2044700"/>
                </a:moveTo>
                <a:lnTo>
                  <a:pt x="57150" y="2044700"/>
                </a:lnTo>
                <a:lnTo>
                  <a:pt x="57150" y="2095500"/>
                </a:lnTo>
                <a:lnTo>
                  <a:pt x="69850" y="2095500"/>
                </a:lnTo>
                <a:lnTo>
                  <a:pt x="69850" y="2044700"/>
                </a:lnTo>
                <a:close/>
              </a:path>
              <a:path w="127000" h="4812665">
                <a:moveTo>
                  <a:pt x="69850" y="2133600"/>
                </a:moveTo>
                <a:lnTo>
                  <a:pt x="57150" y="2133600"/>
                </a:lnTo>
                <a:lnTo>
                  <a:pt x="57150" y="2184400"/>
                </a:lnTo>
                <a:lnTo>
                  <a:pt x="69850" y="2184400"/>
                </a:lnTo>
                <a:lnTo>
                  <a:pt x="69850" y="2133600"/>
                </a:lnTo>
                <a:close/>
              </a:path>
              <a:path w="127000" h="4812665">
                <a:moveTo>
                  <a:pt x="69850" y="2222500"/>
                </a:moveTo>
                <a:lnTo>
                  <a:pt x="57150" y="2222500"/>
                </a:lnTo>
                <a:lnTo>
                  <a:pt x="57150" y="2273300"/>
                </a:lnTo>
                <a:lnTo>
                  <a:pt x="69850" y="2273300"/>
                </a:lnTo>
                <a:lnTo>
                  <a:pt x="69850" y="2222500"/>
                </a:lnTo>
                <a:close/>
              </a:path>
              <a:path w="127000" h="4812665">
                <a:moveTo>
                  <a:pt x="69850" y="2311400"/>
                </a:moveTo>
                <a:lnTo>
                  <a:pt x="57150" y="2311400"/>
                </a:lnTo>
                <a:lnTo>
                  <a:pt x="57150" y="2362200"/>
                </a:lnTo>
                <a:lnTo>
                  <a:pt x="69850" y="2362200"/>
                </a:lnTo>
                <a:lnTo>
                  <a:pt x="69850" y="2311400"/>
                </a:lnTo>
                <a:close/>
              </a:path>
              <a:path w="127000" h="4812665">
                <a:moveTo>
                  <a:pt x="69850" y="2400300"/>
                </a:moveTo>
                <a:lnTo>
                  <a:pt x="57150" y="2400300"/>
                </a:lnTo>
                <a:lnTo>
                  <a:pt x="57150" y="2451100"/>
                </a:lnTo>
                <a:lnTo>
                  <a:pt x="69850" y="2451100"/>
                </a:lnTo>
                <a:lnTo>
                  <a:pt x="69850" y="2400300"/>
                </a:lnTo>
                <a:close/>
              </a:path>
              <a:path w="127000" h="4812665">
                <a:moveTo>
                  <a:pt x="69850" y="2489200"/>
                </a:moveTo>
                <a:lnTo>
                  <a:pt x="57150" y="2489200"/>
                </a:lnTo>
                <a:lnTo>
                  <a:pt x="57150" y="2540000"/>
                </a:lnTo>
                <a:lnTo>
                  <a:pt x="69850" y="2540000"/>
                </a:lnTo>
                <a:lnTo>
                  <a:pt x="69850" y="2489200"/>
                </a:lnTo>
                <a:close/>
              </a:path>
              <a:path w="127000" h="4812665">
                <a:moveTo>
                  <a:pt x="69850" y="2578100"/>
                </a:moveTo>
                <a:lnTo>
                  <a:pt x="57150" y="2578100"/>
                </a:lnTo>
                <a:lnTo>
                  <a:pt x="57150" y="2628900"/>
                </a:lnTo>
                <a:lnTo>
                  <a:pt x="69850" y="2628900"/>
                </a:lnTo>
                <a:lnTo>
                  <a:pt x="69850" y="2578100"/>
                </a:lnTo>
                <a:close/>
              </a:path>
              <a:path w="127000" h="4812665">
                <a:moveTo>
                  <a:pt x="69850" y="2667000"/>
                </a:moveTo>
                <a:lnTo>
                  <a:pt x="57150" y="2667000"/>
                </a:lnTo>
                <a:lnTo>
                  <a:pt x="57150" y="2717800"/>
                </a:lnTo>
                <a:lnTo>
                  <a:pt x="69850" y="2717800"/>
                </a:lnTo>
                <a:lnTo>
                  <a:pt x="69850" y="2667000"/>
                </a:lnTo>
                <a:close/>
              </a:path>
              <a:path w="127000" h="4812665">
                <a:moveTo>
                  <a:pt x="69850" y="2755900"/>
                </a:moveTo>
                <a:lnTo>
                  <a:pt x="57150" y="2755900"/>
                </a:lnTo>
                <a:lnTo>
                  <a:pt x="57150" y="2806700"/>
                </a:lnTo>
                <a:lnTo>
                  <a:pt x="69850" y="2806700"/>
                </a:lnTo>
                <a:lnTo>
                  <a:pt x="69850" y="2755900"/>
                </a:lnTo>
                <a:close/>
              </a:path>
              <a:path w="127000" h="4812665">
                <a:moveTo>
                  <a:pt x="69850" y="2844800"/>
                </a:moveTo>
                <a:lnTo>
                  <a:pt x="57150" y="2844800"/>
                </a:lnTo>
                <a:lnTo>
                  <a:pt x="57150" y="2895600"/>
                </a:lnTo>
                <a:lnTo>
                  <a:pt x="69850" y="2895600"/>
                </a:lnTo>
                <a:lnTo>
                  <a:pt x="69850" y="2844800"/>
                </a:lnTo>
                <a:close/>
              </a:path>
              <a:path w="127000" h="4812665">
                <a:moveTo>
                  <a:pt x="69850" y="2933700"/>
                </a:moveTo>
                <a:lnTo>
                  <a:pt x="57150" y="2933700"/>
                </a:lnTo>
                <a:lnTo>
                  <a:pt x="57150" y="2984500"/>
                </a:lnTo>
                <a:lnTo>
                  <a:pt x="69850" y="2984500"/>
                </a:lnTo>
                <a:lnTo>
                  <a:pt x="69850" y="2933700"/>
                </a:lnTo>
                <a:close/>
              </a:path>
              <a:path w="127000" h="4812665">
                <a:moveTo>
                  <a:pt x="69850" y="3022600"/>
                </a:moveTo>
                <a:lnTo>
                  <a:pt x="57150" y="3022600"/>
                </a:lnTo>
                <a:lnTo>
                  <a:pt x="57150" y="3073400"/>
                </a:lnTo>
                <a:lnTo>
                  <a:pt x="69850" y="3073400"/>
                </a:lnTo>
                <a:lnTo>
                  <a:pt x="69850" y="3022600"/>
                </a:lnTo>
                <a:close/>
              </a:path>
              <a:path w="127000" h="4812665">
                <a:moveTo>
                  <a:pt x="69850" y="3111500"/>
                </a:moveTo>
                <a:lnTo>
                  <a:pt x="57150" y="3111500"/>
                </a:lnTo>
                <a:lnTo>
                  <a:pt x="57150" y="3162300"/>
                </a:lnTo>
                <a:lnTo>
                  <a:pt x="69850" y="3162300"/>
                </a:lnTo>
                <a:lnTo>
                  <a:pt x="69850" y="3111500"/>
                </a:lnTo>
                <a:close/>
              </a:path>
              <a:path w="127000" h="4812665">
                <a:moveTo>
                  <a:pt x="69850" y="3200400"/>
                </a:moveTo>
                <a:lnTo>
                  <a:pt x="57150" y="3200400"/>
                </a:lnTo>
                <a:lnTo>
                  <a:pt x="57150" y="3251200"/>
                </a:lnTo>
                <a:lnTo>
                  <a:pt x="69850" y="3251200"/>
                </a:lnTo>
                <a:lnTo>
                  <a:pt x="69850" y="3200400"/>
                </a:lnTo>
                <a:close/>
              </a:path>
              <a:path w="127000" h="4812665">
                <a:moveTo>
                  <a:pt x="69850" y="3289300"/>
                </a:moveTo>
                <a:lnTo>
                  <a:pt x="57150" y="3289300"/>
                </a:lnTo>
                <a:lnTo>
                  <a:pt x="57150" y="3340100"/>
                </a:lnTo>
                <a:lnTo>
                  <a:pt x="69850" y="3340100"/>
                </a:lnTo>
                <a:lnTo>
                  <a:pt x="69850" y="3289300"/>
                </a:lnTo>
                <a:close/>
              </a:path>
              <a:path w="127000" h="4812665">
                <a:moveTo>
                  <a:pt x="69850" y="3378200"/>
                </a:moveTo>
                <a:lnTo>
                  <a:pt x="57150" y="3378200"/>
                </a:lnTo>
                <a:lnTo>
                  <a:pt x="57150" y="3429000"/>
                </a:lnTo>
                <a:lnTo>
                  <a:pt x="69850" y="3429000"/>
                </a:lnTo>
                <a:lnTo>
                  <a:pt x="69850" y="3378200"/>
                </a:lnTo>
                <a:close/>
              </a:path>
              <a:path w="127000" h="4812665">
                <a:moveTo>
                  <a:pt x="69850" y="3467100"/>
                </a:moveTo>
                <a:lnTo>
                  <a:pt x="57150" y="3467100"/>
                </a:lnTo>
                <a:lnTo>
                  <a:pt x="57150" y="3517900"/>
                </a:lnTo>
                <a:lnTo>
                  <a:pt x="69850" y="3517900"/>
                </a:lnTo>
                <a:lnTo>
                  <a:pt x="69850" y="3467100"/>
                </a:lnTo>
                <a:close/>
              </a:path>
              <a:path w="127000" h="4812665">
                <a:moveTo>
                  <a:pt x="69850" y="3556000"/>
                </a:moveTo>
                <a:lnTo>
                  <a:pt x="57150" y="3556000"/>
                </a:lnTo>
                <a:lnTo>
                  <a:pt x="57150" y="3606800"/>
                </a:lnTo>
                <a:lnTo>
                  <a:pt x="69850" y="3606800"/>
                </a:lnTo>
                <a:lnTo>
                  <a:pt x="69850" y="3556000"/>
                </a:lnTo>
                <a:close/>
              </a:path>
              <a:path w="127000" h="4812665">
                <a:moveTo>
                  <a:pt x="69850" y="3644900"/>
                </a:moveTo>
                <a:lnTo>
                  <a:pt x="57150" y="3644900"/>
                </a:lnTo>
                <a:lnTo>
                  <a:pt x="57150" y="3695700"/>
                </a:lnTo>
                <a:lnTo>
                  <a:pt x="69850" y="3695700"/>
                </a:lnTo>
                <a:lnTo>
                  <a:pt x="69850" y="3644900"/>
                </a:lnTo>
                <a:close/>
              </a:path>
              <a:path w="127000" h="4812665">
                <a:moveTo>
                  <a:pt x="69850" y="3733800"/>
                </a:moveTo>
                <a:lnTo>
                  <a:pt x="57150" y="3733800"/>
                </a:lnTo>
                <a:lnTo>
                  <a:pt x="57150" y="3784600"/>
                </a:lnTo>
                <a:lnTo>
                  <a:pt x="69850" y="3784600"/>
                </a:lnTo>
                <a:lnTo>
                  <a:pt x="69850" y="3733800"/>
                </a:lnTo>
                <a:close/>
              </a:path>
              <a:path w="127000" h="4812665">
                <a:moveTo>
                  <a:pt x="69850" y="3822700"/>
                </a:moveTo>
                <a:lnTo>
                  <a:pt x="57150" y="3822700"/>
                </a:lnTo>
                <a:lnTo>
                  <a:pt x="57150" y="3873500"/>
                </a:lnTo>
                <a:lnTo>
                  <a:pt x="69850" y="3873500"/>
                </a:lnTo>
                <a:lnTo>
                  <a:pt x="69850" y="3822700"/>
                </a:lnTo>
                <a:close/>
              </a:path>
              <a:path w="127000" h="4812665">
                <a:moveTo>
                  <a:pt x="69850" y="3911600"/>
                </a:moveTo>
                <a:lnTo>
                  <a:pt x="57150" y="3911600"/>
                </a:lnTo>
                <a:lnTo>
                  <a:pt x="57150" y="3962400"/>
                </a:lnTo>
                <a:lnTo>
                  <a:pt x="69850" y="3962400"/>
                </a:lnTo>
                <a:lnTo>
                  <a:pt x="69850" y="3911600"/>
                </a:lnTo>
                <a:close/>
              </a:path>
              <a:path w="127000" h="4812665">
                <a:moveTo>
                  <a:pt x="69850" y="4000500"/>
                </a:moveTo>
                <a:lnTo>
                  <a:pt x="57150" y="4000500"/>
                </a:lnTo>
                <a:lnTo>
                  <a:pt x="57150" y="4051300"/>
                </a:lnTo>
                <a:lnTo>
                  <a:pt x="69850" y="4051300"/>
                </a:lnTo>
                <a:lnTo>
                  <a:pt x="69850" y="4000500"/>
                </a:lnTo>
                <a:close/>
              </a:path>
              <a:path w="127000" h="4812665">
                <a:moveTo>
                  <a:pt x="69850" y="4089400"/>
                </a:moveTo>
                <a:lnTo>
                  <a:pt x="57150" y="4089400"/>
                </a:lnTo>
                <a:lnTo>
                  <a:pt x="57150" y="4140200"/>
                </a:lnTo>
                <a:lnTo>
                  <a:pt x="69850" y="4140200"/>
                </a:lnTo>
                <a:lnTo>
                  <a:pt x="69850" y="4089400"/>
                </a:lnTo>
                <a:close/>
              </a:path>
              <a:path w="127000" h="4812665">
                <a:moveTo>
                  <a:pt x="69850" y="4178300"/>
                </a:moveTo>
                <a:lnTo>
                  <a:pt x="57150" y="4178300"/>
                </a:lnTo>
                <a:lnTo>
                  <a:pt x="57150" y="4229100"/>
                </a:lnTo>
                <a:lnTo>
                  <a:pt x="69850" y="4229100"/>
                </a:lnTo>
                <a:lnTo>
                  <a:pt x="69850" y="4178300"/>
                </a:lnTo>
                <a:close/>
              </a:path>
              <a:path w="127000" h="4812665">
                <a:moveTo>
                  <a:pt x="69850" y="4267200"/>
                </a:moveTo>
                <a:lnTo>
                  <a:pt x="57150" y="4267200"/>
                </a:lnTo>
                <a:lnTo>
                  <a:pt x="57150" y="4318000"/>
                </a:lnTo>
                <a:lnTo>
                  <a:pt x="69850" y="4318000"/>
                </a:lnTo>
                <a:lnTo>
                  <a:pt x="69850" y="4267200"/>
                </a:lnTo>
                <a:close/>
              </a:path>
              <a:path w="127000" h="4812665">
                <a:moveTo>
                  <a:pt x="69850" y="4356100"/>
                </a:moveTo>
                <a:lnTo>
                  <a:pt x="57150" y="4356100"/>
                </a:lnTo>
                <a:lnTo>
                  <a:pt x="57150" y="4406900"/>
                </a:lnTo>
                <a:lnTo>
                  <a:pt x="69850" y="4406900"/>
                </a:lnTo>
                <a:lnTo>
                  <a:pt x="69850" y="4356100"/>
                </a:lnTo>
                <a:close/>
              </a:path>
              <a:path w="127000" h="4812665">
                <a:moveTo>
                  <a:pt x="69850" y="4445000"/>
                </a:moveTo>
                <a:lnTo>
                  <a:pt x="57150" y="4445000"/>
                </a:lnTo>
                <a:lnTo>
                  <a:pt x="57150" y="4495800"/>
                </a:lnTo>
                <a:lnTo>
                  <a:pt x="69850" y="4495800"/>
                </a:lnTo>
                <a:lnTo>
                  <a:pt x="69850" y="4445000"/>
                </a:lnTo>
                <a:close/>
              </a:path>
              <a:path w="127000" h="4812665">
                <a:moveTo>
                  <a:pt x="69850" y="4533900"/>
                </a:moveTo>
                <a:lnTo>
                  <a:pt x="57150" y="4533900"/>
                </a:lnTo>
                <a:lnTo>
                  <a:pt x="57150" y="4584700"/>
                </a:lnTo>
                <a:lnTo>
                  <a:pt x="69850" y="4584700"/>
                </a:lnTo>
                <a:lnTo>
                  <a:pt x="69850" y="4533900"/>
                </a:lnTo>
                <a:close/>
              </a:path>
              <a:path w="127000" h="4812665">
                <a:moveTo>
                  <a:pt x="69850" y="4622800"/>
                </a:moveTo>
                <a:lnTo>
                  <a:pt x="57150" y="4622800"/>
                </a:lnTo>
                <a:lnTo>
                  <a:pt x="57150" y="4673600"/>
                </a:lnTo>
                <a:lnTo>
                  <a:pt x="69850" y="4673600"/>
                </a:lnTo>
                <a:lnTo>
                  <a:pt x="69850" y="4622800"/>
                </a:lnTo>
                <a:close/>
              </a:path>
              <a:path w="127000" h="4812665">
                <a:moveTo>
                  <a:pt x="127000" y="4685106"/>
                </a:moveTo>
                <a:lnTo>
                  <a:pt x="0" y="4685106"/>
                </a:lnTo>
                <a:lnTo>
                  <a:pt x="63500" y="4812106"/>
                </a:lnTo>
                <a:lnTo>
                  <a:pt x="127000" y="4685106"/>
                </a:lnTo>
                <a:close/>
              </a:path>
            </a:pathLst>
          </a:custGeom>
          <a:solidFill>
            <a:srgbClr val="7E7E7E"/>
          </a:solidFill>
        </p:spPr>
        <p:txBody>
          <a:bodyPr wrap="square" lIns="0" tIns="0" rIns="0" bIns="0" rtlCol="0"/>
          <a:lstStyle/>
          <a:p>
            <a:endParaRPr/>
          </a:p>
        </p:txBody>
      </p:sp>
      <p:sp>
        <p:nvSpPr>
          <p:cNvPr id="25" name="object 25"/>
          <p:cNvSpPr/>
          <p:nvPr/>
        </p:nvSpPr>
        <p:spPr>
          <a:xfrm>
            <a:off x="879347" y="2211323"/>
            <a:ext cx="647700" cy="365760"/>
          </a:xfrm>
          <a:custGeom>
            <a:avLst/>
            <a:gdLst/>
            <a:ahLst/>
            <a:cxnLst/>
            <a:rect l="l" t="t" r="r" b="b"/>
            <a:pathLst>
              <a:path w="647700" h="365760">
                <a:moveTo>
                  <a:pt x="0" y="365760"/>
                </a:moveTo>
                <a:lnTo>
                  <a:pt x="647700" y="365760"/>
                </a:lnTo>
                <a:lnTo>
                  <a:pt x="647700" y="0"/>
                </a:lnTo>
                <a:lnTo>
                  <a:pt x="0" y="0"/>
                </a:lnTo>
                <a:lnTo>
                  <a:pt x="0" y="365760"/>
                </a:lnTo>
                <a:close/>
              </a:path>
            </a:pathLst>
          </a:custGeom>
          <a:solidFill>
            <a:srgbClr val="7E7E7E"/>
          </a:solidFill>
        </p:spPr>
        <p:txBody>
          <a:bodyPr wrap="square" lIns="0" tIns="0" rIns="0" bIns="0" rtlCol="0"/>
          <a:lstStyle/>
          <a:p>
            <a:endParaRPr/>
          </a:p>
        </p:txBody>
      </p:sp>
      <p:sp>
        <p:nvSpPr>
          <p:cNvPr id="26" name="object 26"/>
          <p:cNvSpPr/>
          <p:nvPr/>
        </p:nvSpPr>
        <p:spPr>
          <a:xfrm>
            <a:off x="879347" y="2211323"/>
            <a:ext cx="647700" cy="365760"/>
          </a:xfrm>
          <a:custGeom>
            <a:avLst/>
            <a:gdLst/>
            <a:ahLst/>
            <a:cxnLst/>
            <a:rect l="l" t="t" r="r" b="b"/>
            <a:pathLst>
              <a:path w="647700" h="365760">
                <a:moveTo>
                  <a:pt x="0" y="365760"/>
                </a:moveTo>
                <a:lnTo>
                  <a:pt x="647700" y="365760"/>
                </a:lnTo>
                <a:lnTo>
                  <a:pt x="647700" y="0"/>
                </a:lnTo>
                <a:lnTo>
                  <a:pt x="0" y="0"/>
                </a:lnTo>
                <a:lnTo>
                  <a:pt x="0" y="365760"/>
                </a:lnTo>
                <a:close/>
              </a:path>
            </a:pathLst>
          </a:custGeom>
          <a:ln w="9144">
            <a:solidFill>
              <a:srgbClr val="7E7E7E"/>
            </a:solidFill>
          </a:ln>
        </p:spPr>
        <p:txBody>
          <a:bodyPr wrap="square" lIns="0" tIns="0" rIns="0" bIns="0" rtlCol="0"/>
          <a:lstStyle/>
          <a:p>
            <a:endParaRPr/>
          </a:p>
        </p:txBody>
      </p:sp>
      <p:sp>
        <p:nvSpPr>
          <p:cNvPr id="27" name="object 27"/>
          <p:cNvSpPr txBox="1"/>
          <p:nvPr/>
        </p:nvSpPr>
        <p:spPr>
          <a:xfrm>
            <a:off x="3499103" y="2200655"/>
            <a:ext cx="962025" cy="375285"/>
          </a:xfrm>
          <a:prstGeom prst="rect">
            <a:avLst/>
          </a:prstGeom>
          <a:solidFill>
            <a:srgbClr val="7E7E7E"/>
          </a:solidFill>
        </p:spPr>
        <p:txBody>
          <a:bodyPr vert="horz" wrap="square" lIns="0" tIns="34290" rIns="0" bIns="0" rtlCol="0">
            <a:spAutoFit/>
          </a:bodyPr>
          <a:lstStyle/>
          <a:p>
            <a:pPr algn="ctr">
              <a:lnSpc>
                <a:spcPct val="100000"/>
              </a:lnSpc>
              <a:spcBef>
                <a:spcPts val="270"/>
              </a:spcBef>
            </a:pPr>
            <a:r>
              <a:rPr sz="1000" b="1" spc="-10">
                <a:solidFill>
                  <a:srgbClr val="FFFFFF"/>
                </a:solidFill>
                <a:latin typeface="Verdana"/>
                <a:cs typeface="Verdana"/>
              </a:rPr>
              <a:t>Hardening</a:t>
            </a:r>
            <a:endParaRPr sz="1000">
              <a:latin typeface="Verdana"/>
              <a:cs typeface="Verdana"/>
            </a:endParaRPr>
          </a:p>
          <a:p>
            <a:pPr algn="ctr">
              <a:lnSpc>
                <a:spcPct val="100000"/>
              </a:lnSpc>
            </a:pPr>
            <a:r>
              <a:rPr sz="1000" b="1" spc="-10">
                <a:solidFill>
                  <a:srgbClr val="FFFFFF"/>
                </a:solidFill>
                <a:latin typeface="Verdana"/>
                <a:cs typeface="Verdana"/>
              </a:rPr>
              <a:t>Sprint</a:t>
            </a:r>
            <a:endParaRPr sz="1000">
              <a:latin typeface="Verdana"/>
              <a:cs typeface="Verdana"/>
            </a:endParaRPr>
          </a:p>
        </p:txBody>
      </p:sp>
      <p:sp>
        <p:nvSpPr>
          <p:cNvPr id="28" name="object 28"/>
          <p:cNvSpPr/>
          <p:nvPr/>
        </p:nvSpPr>
        <p:spPr>
          <a:xfrm>
            <a:off x="4502403" y="1667255"/>
            <a:ext cx="127000" cy="4243070"/>
          </a:xfrm>
          <a:custGeom>
            <a:avLst/>
            <a:gdLst/>
            <a:ahLst/>
            <a:cxnLst/>
            <a:rect l="l" t="t" r="r" b="b"/>
            <a:pathLst>
              <a:path w="127000" h="4243070">
                <a:moveTo>
                  <a:pt x="69850" y="0"/>
                </a:moveTo>
                <a:lnTo>
                  <a:pt x="57150" y="0"/>
                </a:lnTo>
                <a:lnTo>
                  <a:pt x="57150" y="50800"/>
                </a:lnTo>
                <a:lnTo>
                  <a:pt x="69850" y="50800"/>
                </a:lnTo>
                <a:lnTo>
                  <a:pt x="69850" y="0"/>
                </a:lnTo>
                <a:close/>
              </a:path>
              <a:path w="127000" h="4243070">
                <a:moveTo>
                  <a:pt x="69850" y="88900"/>
                </a:moveTo>
                <a:lnTo>
                  <a:pt x="57150" y="88900"/>
                </a:lnTo>
                <a:lnTo>
                  <a:pt x="57150" y="139700"/>
                </a:lnTo>
                <a:lnTo>
                  <a:pt x="69850" y="139700"/>
                </a:lnTo>
                <a:lnTo>
                  <a:pt x="69850" y="88900"/>
                </a:lnTo>
                <a:close/>
              </a:path>
              <a:path w="127000" h="4243070">
                <a:moveTo>
                  <a:pt x="69850" y="177800"/>
                </a:moveTo>
                <a:lnTo>
                  <a:pt x="57150" y="177800"/>
                </a:lnTo>
                <a:lnTo>
                  <a:pt x="57150" y="228600"/>
                </a:lnTo>
                <a:lnTo>
                  <a:pt x="69850" y="228600"/>
                </a:lnTo>
                <a:lnTo>
                  <a:pt x="69850" y="177800"/>
                </a:lnTo>
                <a:close/>
              </a:path>
              <a:path w="127000" h="4243070">
                <a:moveTo>
                  <a:pt x="69850" y="266700"/>
                </a:moveTo>
                <a:lnTo>
                  <a:pt x="57150" y="266700"/>
                </a:lnTo>
                <a:lnTo>
                  <a:pt x="57150" y="317500"/>
                </a:lnTo>
                <a:lnTo>
                  <a:pt x="69850" y="317500"/>
                </a:lnTo>
                <a:lnTo>
                  <a:pt x="69850" y="266700"/>
                </a:lnTo>
                <a:close/>
              </a:path>
              <a:path w="127000" h="4243070">
                <a:moveTo>
                  <a:pt x="69850" y="355600"/>
                </a:moveTo>
                <a:lnTo>
                  <a:pt x="57150" y="355600"/>
                </a:lnTo>
                <a:lnTo>
                  <a:pt x="57150" y="406400"/>
                </a:lnTo>
                <a:lnTo>
                  <a:pt x="69850" y="406400"/>
                </a:lnTo>
                <a:lnTo>
                  <a:pt x="69850" y="355600"/>
                </a:lnTo>
                <a:close/>
              </a:path>
              <a:path w="127000" h="4243070">
                <a:moveTo>
                  <a:pt x="69850" y="444500"/>
                </a:moveTo>
                <a:lnTo>
                  <a:pt x="57150" y="444500"/>
                </a:lnTo>
                <a:lnTo>
                  <a:pt x="57150" y="495300"/>
                </a:lnTo>
                <a:lnTo>
                  <a:pt x="69850" y="495300"/>
                </a:lnTo>
                <a:lnTo>
                  <a:pt x="69850" y="444500"/>
                </a:lnTo>
                <a:close/>
              </a:path>
              <a:path w="127000" h="4243070">
                <a:moveTo>
                  <a:pt x="69850" y="533400"/>
                </a:moveTo>
                <a:lnTo>
                  <a:pt x="57150" y="533400"/>
                </a:lnTo>
                <a:lnTo>
                  <a:pt x="57150" y="584200"/>
                </a:lnTo>
                <a:lnTo>
                  <a:pt x="69850" y="584200"/>
                </a:lnTo>
                <a:lnTo>
                  <a:pt x="69850" y="533400"/>
                </a:lnTo>
                <a:close/>
              </a:path>
              <a:path w="127000" h="4243070">
                <a:moveTo>
                  <a:pt x="69850" y="622300"/>
                </a:moveTo>
                <a:lnTo>
                  <a:pt x="57150" y="622300"/>
                </a:lnTo>
                <a:lnTo>
                  <a:pt x="57150" y="673100"/>
                </a:lnTo>
                <a:lnTo>
                  <a:pt x="69850" y="673100"/>
                </a:lnTo>
                <a:lnTo>
                  <a:pt x="69850" y="622300"/>
                </a:lnTo>
                <a:close/>
              </a:path>
              <a:path w="127000" h="4243070">
                <a:moveTo>
                  <a:pt x="69850" y="711200"/>
                </a:moveTo>
                <a:lnTo>
                  <a:pt x="57150" y="711200"/>
                </a:lnTo>
                <a:lnTo>
                  <a:pt x="57150" y="762000"/>
                </a:lnTo>
                <a:lnTo>
                  <a:pt x="69850" y="762000"/>
                </a:lnTo>
                <a:lnTo>
                  <a:pt x="69850" y="711200"/>
                </a:lnTo>
                <a:close/>
              </a:path>
              <a:path w="127000" h="4243070">
                <a:moveTo>
                  <a:pt x="69850" y="800100"/>
                </a:moveTo>
                <a:lnTo>
                  <a:pt x="57150" y="800100"/>
                </a:lnTo>
                <a:lnTo>
                  <a:pt x="57150" y="850900"/>
                </a:lnTo>
                <a:lnTo>
                  <a:pt x="69850" y="850900"/>
                </a:lnTo>
                <a:lnTo>
                  <a:pt x="69850" y="800100"/>
                </a:lnTo>
                <a:close/>
              </a:path>
              <a:path w="127000" h="4243070">
                <a:moveTo>
                  <a:pt x="69850" y="889000"/>
                </a:moveTo>
                <a:lnTo>
                  <a:pt x="57150" y="889000"/>
                </a:lnTo>
                <a:lnTo>
                  <a:pt x="57150" y="939800"/>
                </a:lnTo>
                <a:lnTo>
                  <a:pt x="69850" y="939800"/>
                </a:lnTo>
                <a:lnTo>
                  <a:pt x="69850" y="889000"/>
                </a:lnTo>
                <a:close/>
              </a:path>
              <a:path w="127000" h="4243070">
                <a:moveTo>
                  <a:pt x="69850" y="977900"/>
                </a:moveTo>
                <a:lnTo>
                  <a:pt x="57150" y="977900"/>
                </a:lnTo>
                <a:lnTo>
                  <a:pt x="57150" y="1028700"/>
                </a:lnTo>
                <a:lnTo>
                  <a:pt x="69850" y="1028700"/>
                </a:lnTo>
                <a:lnTo>
                  <a:pt x="69850" y="977900"/>
                </a:lnTo>
                <a:close/>
              </a:path>
              <a:path w="127000" h="4243070">
                <a:moveTo>
                  <a:pt x="69850" y="1066800"/>
                </a:moveTo>
                <a:lnTo>
                  <a:pt x="57150" y="1066800"/>
                </a:lnTo>
                <a:lnTo>
                  <a:pt x="57150" y="1117600"/>
                </a:lnTo>
                <a:lnTo>
                  <a:pt x="69850" y="1117600"/>
                </a:lnTo>
                <a:lnTo>
                  <a:pt x="69850" y="1066800"/>
                </a:lnTo>
                <a:close/>
              </a:path>
              <a:path w="127000" h="4243070">
                <a:moveTo>
                  <a:pt x="69850" y="1155700"/>
                </a:moveTo>
                <a:lnTo>
                  <a:pt x="57150" y="1155700"/>
                </a:lnTo>
                <a:lnTo>
                  <a:pt x="57150" y="1206500"/>
                </a:lnTo>
                <a:lnTo>
                  <a:pt x="69850" y="1206500"/>
                </a:lnTo>
                <a:lnTo>
                  <a:pt x="69850" y="1155700"/>
                </a:lnTo>
                <a:close/>
              </a:path>
              <a:path w="127000" h="4243070">
                <a:moveTo>
                  <a:pt x="69850" y="1244600"/>
                </a:moveTo>
                <a:lnTo>
                  <a:pt x="57150" y="1244600"/>
                </a:lnTo>
                <a:lnTo>
                  <a:pt x="57150" y="1295400"/>
                </a:lnTo>
                <a:lnTo>
                  <a:pt x="69850" y="1295400"/>
                </a:lnTo>
                <a:lnTo>
                  <a:pt x="69850" y="1244600"/>
                </a:lnTo>
                <a:close/>
              </a:path>
              <a:path w="127000" h="4243070">
                <a:moveTo>
                  <a:pt x="69850" y="1333500"/>
                </a:moveTo>
                <a:lnTo>
                  <a:pt x="57150" y="1333500"/>
                </a:lnTo>
                <a:lnTo>
                  <a:pt x="57150" y="1384300"/>
                </a:lnTo>
                <a:lnTo>
                  <a:pt x="69850" y="1384300"/>
                </a:lnTo>
                <a:lnTo>
                  <a:pt x="69850" y="1333500"/>
                </a:lnTo>
                <a:close/>
              </a:path>
              <a:path w="127000" h="4243070">
                <a:moveTo>
                  <a:pt x="69850" y="1422400"/>
                </a:moveTo>
                <a:lnTo>
                  <a:pt x="57150" y="1422400"/>
                </a:lnTo>
                <a:lnTo>
                  <a:pt x="57150" y="1473200"/>
                </a:lnTo>
                <a:lnTo>
                  <a:pt x="69850" y="1473200"/>
                </a:lnTo>
                <a:lnTo>
                  <a:pt x="69850" y="1422400"/>
                </a:lnTo>
                <a:close/>
              </a:path>
              <a:path w="127000" h="4243070">
                <a:moveTo>
                  <a:pt x="69850" y="1511300"/>
                </a:moveTo>
                <a:lnTo>
                  <a:pt x="57150" y="1511300"/>
                </a:lnTo>
                <a:lnTo>
                  <a:pt x="57150" y="1562100"/>
                </a:lnTo>
                <a:lnTo>
                  <a:pt x="69850" y="1562100"/>
                </a:lnTo>
                <a:lnTo>
                  <a:pt x="69850" y="1511300"/>
                </a:lnTo>
                <a:close/>
              </a:path>
              <a:path w="127000" h="4243070">
                <a:moveTo>
                  <a:pt x="69850" y="1600200"/>
                </a:moveTo>
                <a:lnTo>
                  <a:pt x="57150" y="1600200"/>
                </a:lnTo>
                <a:lnTo>
                  <a:pt x="57150" y="1651000"/>
                </a:lnTo>
                <a:lnTo>
                  <a:pt x="69850" y="1651000"/>
                </a:lnTo>
                <a:lnTo>
                  <a:pt x="69850" y="1600200"/>
                </a:lnTo>
                <a:close/>
              </a:path>
              <a:path w="127000" h="4243070">
                <a:moveTo>
                  <a:pt x="69850" y="1689100"/>
                </a:moveTo>
                <a:lnTo>
                  <a:pt x="57150" y="1689100"/>
                </a:lnTo>
                <a:lnTo>
                  <a:pt x="57150" y="1739900"/>
                </a:lnTo>
                <a:lnTo>
                  <a:pt x="69850" y="1739900"/>
                </a:lnTo>
                <a:lnTo>
                  <a:pt x="69850" y="1689100"/>
                </a:lnTo>
                <a:close/>
              </a:path>
              <a:path w="127000" h="4243070">
                <a:moveTo>
                  <a:pt x="69850" y="1778000"/>
                </a:moveTo>
                <a:lnTo>
                  <a:pt x="57150" y="1778000"/>
                </a:lnTo>
                <a:lnTo>
                  <a:pt x="57150" y="1828800"/>
                </a:lnTo>
                <a:lnTo>
                  <a:pt x="69850" y="1828800"/>
                </a:lnTo>
                <a:lnTo>
                  <a:pt x="69850" y="1778000"/>
                </a:lnTo>
                <a:close/>
              </a:path>
              <a:path w="127000" h="4243070">
                <a:moveTo>
                  <a:pt x="69850" y="1866900"/>
                </a:moveTo>
                <a:lnTo>
                  <a:pt x="57150" y="1866900"/>
                </a:lnTo>
                <a:lnTo>
                  <a:pt x="57150" y="1917700"/>
                </a:lnTo>
                <a:lnTo>
                  <a:pt x="69850" y="1917700"/>
                </a:lnTo>
                <a:lnTo>
                  <a:pt x="69850" y="1866900"/>
                </a:lnTo>
                <a:close/>
              </a:path>
              <a:path w="127000" h="4243070">
                <a:moveTo>
                  <a:pt x="69850" y="1955800"/>
                </a:moveTo>
                <a:lnTo>
                  <a:pt x="57150" y="1955800"/>
                </a:lnTo>
                <a:lnTo>
                  <a:pt x="57150" y="2006600"/>
                </a:lnTo>
                <a:lnTo>
                  <a:pt x="69850" y="2006600"/>
                </a:lnTo>
                <a:lnTo>
                  <a:pt x="69850" y="1955800"/>
                </a:lnTo>
                <a:close/>
              </a:path>
              <a:path w="127000" h="4243070">
                <a:moveTo>
                  <a:pt x="69850" y="2044700"/>
                </a:moveTo>
                <a:lnTo>
                  <a:pt x="57150" y="2044700"/>
                </a:lnTo>
                <a:lnTo>
                  <a:pt x="57150" y="2095500"/>
                </a:lnTo>
                <a:lnTo>
                  <a:pt x="69850" y="2095500"/>
                </a:lnTo>
                <a:lnTo>
                  <a:pt x="69850" y="2044700"/>
                </a:lnTo>
                <a:close/>
              </a:path>
              <a:path w="127000" h="4243070">
                <a:moveTo>
                  <a:pt x="69850" y="2133600"/>
                </a:moveTo>
                <a:lnTo>
                  <a:pt x="57150" y="2133600"/>
                </a:lnTo>
                <a:lnTo>
                  <a:pt x="57150" y="2184400"/>
                </a:lnTo>
                <a:lnTo>
                  <a:pt x="69850" y="2184400"/>
                </a:lnTo>
                <a:lnTo>
                  <a:pt x="69850" y="2133600"/>
                </a:lnTo>
                <a:close/>
              </a:path>
              <a:path w="127000" h="4243070">
                <a:moveTo>
                  <a:pt x="69850" y="2222500"/>
                </a:moveTo>
                <a:lnTo>
                  <a:pt x="57150" y="2222500"/>
                </a:lnTo>
                <a:lnTo>
                  <a:pt x="57150" y="2273300"/>
                </a:lnTo>
                <a:lnTo>
                  <a:pt x="69850" y="2273300"/>
                </a:lnTo>
                <a:lnTo>
                  <a:pt x="69850" y="2222500"/>
                </a:lnTo>
                <a:close/>
              </a:path>
              <a:path w="127000" h="4243070">
                <a:moveTo>
                  <a:pt x="69850" y="2311400"/>
                </a:moveTo>
                <a:lnTo>
                  <a:pt x="57150" y="2311400"/>
                </a:lnTo>
                <a:lnTo>
                  <a:pt x="57150" y="2362200"/>
                </a:lnTo>
                <a:lnTo>
                  <a:pt x="69850" y="2362200"/>
                </a:lnTo>
                <a:lnTo>
                  <a:pt x="69850" y="2311400"/>
                </a:lnTo>
                <a:close/>
              </a:path>
              <a:path w="127000" h="4243070">
                <a:moveTo>
                  <a:pt x="69850" y="2400300"/>
                </a:moveTo>
                <a:lnTo>
                  <a:pt x="57150" y="2400300"/>
                </a:lnTo>
                <a:lnTo>
                  <a:pt x="57150" y="2451100"/>
                </a:lnTo>
                <a:lnTo>
                  <a:pt x="69850" y="2451100"/>
                </a:lnTo>
                <a:lnTo>
                  <a:pt x="69850" y="2400300"/>
                </a:lnTo>
                <a:close/>
              </a:path>
              <a:path w="127000" h="4243070">
                <a:moveTo>
                  <a:pt x="69850" y="2489200"/>
                </a:moveTo>
                <a:lnTo>
                  <a:pt x="57150" y="2489200"/>
                </a:lnTo>
                <a:lnTo>
                  <a:pt x="57150" y="2540000"/>
                </a:lnTo>
                <a:lnTo>
                  <a:pt x="69850" y="2540000"/>
                </a:lnTo>
                <a:lnTo>
                  <a:pt x="69850" y="2489200"/>
                </a:lnTo>
                <a:close/>
              </a:path>
              <a:path w="127000" h="4243070">
                <a:moveTo>
                  <a:pt x="69850" y="2578100"/>
                </a:moveTo>
                <a:lnTo>
                  <a:pt x="57150" y="2578100"/>
                </a:lnTo>
                <a:lnTo>
                  <a:pt x="57150" y="2628900"/>
                </a:lnTo>
                <a:lnTo>
                  <a:pt x="69850" y="2628900"/>
                </a:lnTo>
                <a:lnTo>
                  <a:pt x="69850" y="2578100"/>
                </a:lnTo>
                <a:close/>
              </a:path>
              <a:path w="127000" h="4243070">
                <a:moveTo>
                  <a:pt x="69850" y="2667000"/>
                </a:moveTo>
                <a:lnTo>
                  <a:pt x="57150" y="2667000"/>
                </a:lnTo>
                <a:lnTo>
                  <a:pt x="57150" y="2717800"/>
                </a:lnTo>
                <a:lnTo>
                  <a:pt x="69850" y="2717800"/>
                </a:lnTo>
                <a:lnTo>
                  <a:pt x="69850" y="2667000"/>
                </a:lnTo>
                <a:close/>
              </a:path>
              <a:path w="127000" h="4243070">
                <a:moveTo>
                  <a:pt x="69850" y="2755900"/>
                </a:moveTo>
                <a:lnTo>
                  <a:pt x="57150" y="2755900"/>
                </a:lnTo>
                <a:lnTo>
                  <a:pt x="57150" y="2806700"/>
                </a:lnTo>
                <a:lnTo>
                  <a:pt x="69850" y="2806700"/>
                </a:lnTo>
                <a:lnTo>
                  <a:pt x="69850" y="2755900"/>
                </a:lnTo>
                <a:close/>
              </a:path>
              <a:path w="127000" h="4243070">
                <a:moveTo>
                  <a:pt x="69850" y="2844800"/>
                </a:moveTo>
                <a:lnTo>
                  <a:pt x="57150" y="2844800"/>
                </a:lnTo>
                <a:lnTo>
                  <a:pt x="57150" y="2895600"/>
                </a:lnTo>
                <a:lnTo>
                  <a:pt x="69850" y="2895600"/>
                </a:lnTo>
                <a:lnTo>
                  <a:pt x="69850" y="2844800"/>
                </a:lnTo>
                <a:close/>
              </a:path>
              <a:path w="127000" h="4243070">
                <a:moveTo>
                  <a:pt x="69850" y="2933700"/>
                </a:moveTo>
                <a:lnTo>
                  <a:pt x="57150" y="2933700"/>
                </a:lnTo>
                <a:lnTo>
                  <a:pt x="57150" y="2984500"/>
                </a:lnTo>
                <a:lnTo>
                  <a:pt x="69850" y="2984500"/>
                </a:lnTo>
                <a:lnTo>
                  <a:pt x="69850" y="2933700"/>
                </a:lnTo>
                <a:close/>
              </a:path>
              <a:path w="127000" h="4243070">
                <a:moveTo>
                  <a:pt x="69850" y="3022600"/>
                </a:moveTo>
                <a:lnTo>
                  <a:pt x="57150" y="3022600"/>
                </a:lnTo>
                <a:lnTo>
                  <a:pt x="57150" y="3073400"/>
                </a:lnTo>
                <a:lnTo>
                  <a:pt x="69850" y="3073400"/>
                </a:lnTo>
                <a:lnTo>
                  <a:pt x="69850" y="3022600"/>
                </a:lnTo>
                <a:close/>
              </a:path>
              <a:path w="127000" h="4243070">
                <a:moveTo>
                  <a:pt x="69850" y="3111500"/>
                </a:moveTo>
                <a:lnTo>
                  <a:pt x="57150" y="3111500"/>
                </a:lnTo>
                <a:lnTo>
                  <a:pt x="57150" y="3162300"/>
                </a:lnTo>
                <a:lnTo>
                  <a:pt x="69850" y="3162300"/>
                </a:lnTo>
                <a:lnTo>
                  <a:pt x="69850" y="3111500"/>
                </a:lnTo>
                <a:close/>
              </a:path>
              <a:path w="127000" h="4243070">
                <a:moveTo>
                  <a:pt x="69850" y="3200400"/>
                </a:moveTo>
                <a:lnTo>
                  <a:pt x="57150" y="3200400"/>
                </a:lnTo>
                <a:lnTo>
                  <a:pt x="57150" y="3251200"/>
                </a:lnTo>
                <a:lnTo>
                  <a:pt x="69850" y="3251200"/>
                </a:lnTo>
                <a:lnTo>
                  <a:pt x="69850" y="3200400"/>
                </a:lnTo>
                <a:close/>
              </a:path>
              <a:path w="127000" h="4243070">
                <a:moveTo>
                  <a:pt x="69850" y="3289300"/>
                </a:moveTo>
                <a:lnTo>
                  <a:pt x="57150" y="3289300"/>
                </a:lnTo>
                <a:lnTo>
                  <a:pt x="57150" y="3340100"/>
                </a:lnTo>
                <a:lnTo>
                  <a:pt x="69850" y="3340100"/>
                </a:lnTo>
                <a:lnTo>
                  <a:pt x="69850" y="3289300"/>
                </a:lnTo>
                <a:close/>
              </a:path>
              <a:path w="127000" h="4243070">
                <a:moveTo>
                  <a:pt x="69850" y="3378200"/>
                </a:moveTo>
                <a:lnTo>
                  <a:pt x="57150" y="3378200"/>
                </a:lnTo>
                <a:lnTo>
                  <a:pt x="57150" y="3429000"/>
                </a:lnTo>
                <a:lnTo>
                  <a:pt x="69850" y="3429000"/>
                </a:lnTo>
                <a:lnTo>
                  <a:pt x="69850" y="3378200"/>
                </a:lnTo>
                <a:close/>
              </a:path>
              <a:path w="127000" h="4243070">
                <a:moveTo>
                  <a:pt x="69850" y="3467100"/>
                </a:moveTo>
                <a:lnTo>
                  <a:pt x="57150" y="3467100"/>
                </a:lnTo>
                <a:lnTo>
                  <a:pt x="57150" y="3517900"/>
                </a:lnTo>
                <a:lnTo>
                  <a:pt x="69850" y="3517900"/>
                </a:lnTo>
                <a:lnTo>
                  <a:pt x="69850" y="3467100"/>
                </a:lnTo>
                <a:close/>
              </a:path>
              <a:path w="127000" h="4243070">
                <a:moveTo>
                  <a:pt x="69850" y="3556000"/>
                </a:moveTo>
                <a:lnTo>
                  <a:pt x="57150" y="3556000"/>
                </a:lnTo>
                <a:lnTo>
                  <a:pt x="57150" y="3606800"/>
                </a:lnTo>
                <a:lnTo>
                  <a:pt x="69850" y="3606800"/>
                </a:lnTo>
                <a:lnTo>
                  <a:pt x="69850" y="3556000"/>
                </a:lnTo>
                <a:close/>
              </a:path>
              <a:path w="127000" h="4243070">
                <a:moveTo>
                  <a:pt x="69850" y="3644900"/>
                </a:moveTo>
                <a:lnTo>
                  <a:pt x="57150" y="3644900"/>
                </a:lnTo>
                <a:lnTo>
                  <a:pt x="57150" y="3695700"/>
                </a:lnTo>
                <a:lnTo>
                  <a:pt x="69850" y="3695700"/>
                </a:lnTo>
                <a:lnTo>
                  <a:pt x="69850" y="3644900"/>
                </a:lnTo>
                <a:close/>
              </a:path>
              <a:path w="127000" h="4243070">
                <a:moveTo>
                  <a:pt x="69850" y="3733800"/>
                </a:moveTo>
                <a:lnTo>
                  <a:pt x="57150" y="3733800"/>
                </a:lnTo>
                <a:lnTo>
                  <a:pt x="57150" y="3784600"/>
                </a:lnTo>
                <a:lnTo>
                  <a:pt x="69850" y="3784600"/>
                </a:lnTo>
                <a:lnTo>
                  <a:pt x="69850" y="3733800"/>
                </a:lnTo>
                <a:close/>
              </a:path>
              <a:path w="127000" h="4243070">
                <a:moveTo>
                  <a:pt x="69850" y="3822700"/>
                </a:moveTo>
                <a:lnTo>
                  <a:pt x="57150" y="3822700"/>
                </a:lnTo>
                <a:lnTo>
                  <a:pt x="57150" y="3873500"/>
                </a:lnTo>
                <a:lnTo>
                  <a:pt x="69850" y="3873500"/>
                </a:lnTo>
                <a:lnTo>
                  <a:pt x="69850" y="3822700"/>
                </a:lnTo>
                <a:close/>
              </a:path>
              <a:path w="127000" h="4243070">
                <a:moveTo>
                  <a:pt x="69850" y="3911600"/>
                </a:moveTo>
                <a:lnTo>
                  <a:pt x="57150" y="3911600"/>
                </a:lnTo>
                <a:lnTo>
                  <a:pt x="57150" y="3962400"/>
                </a:lnTo>
                <a:lnTo>
                  <a:pt x="69850" y="3962400"/>
                </a:lnTo>
                <a:lnTo>
                  <a:pt x="69850" y="3911600"/>
                </a:lnTo>
                <a:close/>
              </a:path>
              <a:path w="127000" h="4243070">
                <a:moveTo>
                  <a:pt x="69850" y="4000500"/>
                </a:moveTo>
                <a:lnTo>
                  <a:pt x="57150" y="4000500"/>
                </a:lnTo>
                <a:lnTo>
                  <a:pt x="57150" y="4051300"/>
                </a:lnTo>
                <a:lnTo>
                  <a:pt x="69850" y="4051300"/>
                </a:lnTo>
                <a:lnTo>
                  <a:pt x="69850" y="4000500"/>
                </a:lnTo>
                <a:close/>
              </a:path>
              <a:path w="127000" h="4243070">
                <a:moveTo>
                  <a:pt x="57150" y="4115460"/>
                </a:moveTo>
                <a:lnTo>
                  <a:pt x="0" y="4115460"/>
                </a:lnTo>
                <a:lnTo>
                  <a:pt x="63500" y="4242460"/>
                </a:lnTo>
                <a:lnTo>
                  <a:pt x="120650" y="4128160"/>
                </a:lnTo>
                <a:lnTo>
                  <a:pt x="57150" y="4128160"/>
                </a:lnTo>
                <a:lnTo>
                  <a:pt x="57150" y="4115460"/>
                </a:lnTo>
                <a:close/>
              </a:path>
              <a:path w="127000" h="4243070">
                <a:moveTo>
                  <a:pt x="69850" y="4089400"/>
                </a:moveTo>
                <a:lnTo>
                  <a:pt x="57150" y="4089400"/>
                </a:lnTo>
                <a:lnTo>
                  <a:pt x="57150" y="4128160"/>
                </a:lnTo>
                <a:lnTo>
                  <a:pt x="69850" y="4128160"/>
                </a:lnTo>
                <a:lnTo>
                  <a:pt x="69850" y="4089400"/>
                </a:lnTo>
                <a:close/>
              </a:path>
              <a:path w="127000" h="4243070">
                <a:moveTo>
                  <a:pt x="127000" y="4115460"/>
                </a:moveTo>
                <a:lnTo>
                  <a:pt x="69850" y="4115460"/>
                </a:lnTo>
                <a:lnTo>
                  <a:pt x="69850" y="4128160"/>
                </a:lnTo>
                <a:lnTo>
                  <a:pt x="120650" y="4128160"/>
                </a:lnTo>
                <a:lnTo>
                  <a:pt x="127000" y="4115460"/>
                </a:lnTo>
                <a:close/>
              </a:path>
            </a:pathLst>
          </a:custGeom>
          <a:solidFill>
            <a:srgbClr val="7E7E7E"/>
          </a:solidFill>
        </p:spPr>
        <p:txBody>
          <a:bodyPr wrap="square" lIns="0" tIns="0" rIns="0" bIns="0" rtlCol="0"/>
          <a:lstStyle/>
          <a:p>
            <a:endParaRPr/>
          </a:p>
        </p:txBody>
      </p:sp>
      <p:sp>
        <p:nvSpPr>
          <p:cNvPr id="29" name="object 29"/>
          <p:cNvSpPr/>
          <p:nvPr/>
        </p:nvSpPr>
        <p:spPr>
          <a:xfrm>
            <a:off x="746759" y="1740407"/>
            <a:ext cx="3857625" cy="381000"/>
          </a:xfrm>
          <a:custGeom>
            <a:avLst/>
            <a:gdLst/>
            <a:ahLst/>
            <a:cxnLst/>
            <a:rect l="l" t="t" r="r" b="b"/>
            <a:pathLst>
              <a:path w="3857625" h="381000">
                <a:moveTo>
                  <a:pt x="3857243" y="0"/>
                </a:moveTo>
                <a:lnTo>
                  <a:pt x="57099" y="0"/>
                </a:lnTo>
                <a:lnTo>
                  <a:pt x="0" y="381000"/>
                </a:lnTo>
                <a:lnTo>
                  <a:pt x="3800093" y="381000"/>
                </a:lnTo>
                <a:lnTo>
                  <a:pt x="3857243" y="0"/>
                </a:lnTo>
                <a:close/>
              </a:path>
            </a:pathLst>
          </a:custGeom>
          <a:solidFill>
            <a:srgbClr val="006FAC"/>
          </a:solidFill>
        </p:spPr>
        <p:txBody>
          <a:bodyPr wrap="square" lIns="0" tIns="0" rIns="0" bIns="0" rtlCol="0"/>
          <a:lstStyle/>
          <a:p>
            <a:endParaRPr/>
          </a:p>
        </p:txBody>
      </p:sp>
      <p:sp>
        <p:nvSpPr>
          <p:cNvPr id="30" name="object 30"/>
          <p:cNvSpPr txBox="1"/>
          <p:nvPr/>
        </p:nvSpPr>
        <p:spPr>
          <a:xfrm>
            <a:off x="1591183" y="1825497"/>
            <a:ext cx="2166620"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Configure </a:t>
            </a:r>
            <a:r>
              <a:rPr sz="1200" b="1">
                <a:solidFill>
                  <a:srgbClr val="FFFFFF"/>
                </a:solidFill>
                <a:latin typeface="Verdana"/>
                <a:cs typeface="Verdana"/>
              </a:rPr>
              <a:t>and</a:t>
            </a:r>
            <a:r>
              <a:rPr sz="1200" b="1" spc="-55">
                <a:solidFill>
                  <a:srgbClr val="FFFFFF"/>
                </a:solidFill>
                <a:latin typeface="Verdana"/>
                <a:cs typeface="Verdana"/>
              </a:rPr>
              <a:t> </a:t>
            </a:r>
            <a:r>
              <a:rPr sz="1200" b="1" spc="-5">
                <a:solidFill>
                  <a:srgbClr val="FFFFFF"/>
                </a:solidFill>
                <a:latin typeface="Verdana"/>
                <a:cs typeface="Verdana"/>
              </a:rPr>
              <a:t>Customize</a:t>
            </a:r>
            <a:endParaRPr sz="1200">
              <a:latin typeface="Verdana"/>
              <a:cs typeface="Verdana"/>
            </a:endParaRPr>
          </a:p>
        </p:txBody>
      </p:sp>
      <p:sp>
        <p:nvSpPr>
          <p:cNvPr id="31" name="object 31"/>
          <p:cNvSpPr/>
          <p:nvPr/>
        </p:nvSpPr>
        <p:spPr>
          <a:xfrm>
            <a:off x="591312" y="1136903"/>
            <a:ext cx="274320" cy="274320"/>
          </a:xfrm>
          <a:custGeom>
            <a:avLst/>
            <a:gdLst/>
            <a:ahLst/>
            <a:cxnLst/>
            <a:rect l="l" t="t" r="r" b="b"/>
            <a:pathLst>
              <a:path w="274319" h="274319">
                <a:moveTo>
                  <a:pt x="137159" y="0"/>
                </a:moveTo>
                <a:lnTo>
                  <a:pt x="93805" y="6998"/>
                </a:lnTo>
                <a:lnTo>
                  <a:pt x="56153" y="26481"/>
                </a:lnTo>
                <a:lnTo>
                  <a:pt x="26462" y="56180"/>
                </a:lnTo>
                <a:lnTo>
                  <a:pt x="6992" y="93829"/>
                </a:lnTo>
                <a:lnTo>
                  <a:pt x="0" y="137160"/>
                </a:lnTo>
                <a:lnTo>
                  <a:pt x="6992" y="180490"/>
                </a:lnTo>
                <a:lnTo>
                  <a:pt x="26462" y="218139"/>
                </a:lnTo>
                <a:lnTo>
                  <a:pt x="56153" y="247838"/>
                </a:lnTo>
                <a:lnTo>
                  <a:pt x="93805" y="267321"/>
                </a:lnTo>
                <a:lnTo>
                  <a:pt x="137159" y="274320"/>
                </a:lnTo>
                <a:lnTo>
                  <a:pt x="180514" y="267321"/>
                </a:lnTo>
                <a:lnTo>
                  <a:pt x="218166" y="247838"/>
                </a:lnTo>
                <a:lnTo>
                  <a:pt x="247857" y="218139"/>
                </a:lnTo>
                <a:lnTo>
                  <a:pt x="267327" y="180490"/>
                </a:lnTo>
                <a:lnTo>
                  <a:pt x="274319" y="137160"/>
                </a:lnTo>
                <a:lnTo>
                  <a:pt x="267327" y="93829"/>
                </a:lnTo>
                <a:lnTo>
                  <a:pt x="247857" y="56180"/>
                </a:lnTo>
                <a:lnTo>
                  <a:pt x="218166" y="26481"/>
                </a:lnTo>
                <a:lnTo>
                  <a:pt x="180514" y="6998"/>
                </a:lnTo>
                <a:lnTo>
                  <a:pt x="137159" y="0"/>
                </a:lnTo>
                <a:close/>
              </a:path>
            </a:pathLst>
          </a:custGeom>
          <a:solidFill>
            <a:srgbClr val="12ABDB"/>
          </a:solidFill>
        </p:spPr>
        <p:txBody>
          <a:bodyPr wrap="square" lIns="0" tIns="0" rIns="0" bIns="0" rtlCol="0"/>
          <a:lstStyle/>
          <a:p>
            <a:endParaRPr/>
          </a:p>
        </p:txBody>
      </p:sp>
      <p:sp>
        <p:nvSpPr>
          <p:cNvPr id="32" name="object 32"/>
          <p:cNvSpPr txBox="1"/>
          <p:nvPr/>
        </p:nvSpPr>
        <p:spPr>
          <a:xfrm>
            <a:off x="675538" y="1191005"/>
            <a:ext cx="10668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2</a:t>
            </a:r>
            <a:endParaRPr sz="900">
              <a:latin typeface="Verdana"/>
              <a:cs typeface="Verdana"/>
            </a:endParaRPr>
          </a:p>
        </p:txBody>
      </p:sp>
      <p:sp>
        <p:nvSpPr>
          <p:cNvPr id="33" name="object 33"/>
          <p:cNvSpPr txBox="1"/>
          <p:nvPr/>
        </p:nvSpPr>
        <p:spPr>
          <a:xfrm>
            <a:off x="912977" y="4168521"/>
            <a:ext cx="1744345" cy="39179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800">
                <a:latin typeface="Verdana"/>
                <a:cs typeface="Verdana"/>
              </a:rPr>
              <a:t>CRP (Conference Room</a:t>
            </a:r>
            <a:r>
              <a:rPr sz="800" spc="-60">
                <a:latin typeface="Verdana"/>
                <a:cs typeface="Verdana"/>
              </a:rPr>
              <a:t> </a:t>
            </a:r>
            <a:r>
              <a:rPr sz="800" spc="-5">
                <a:latin typeface="Verdana"/>
                <a:cs typeface="Verdana"/>
              </a:rPr>
              <a:t>Pilots)</a:t>
            </a:r>
            <a:endParaRPr sz="800">
              <a:latin typeface="Verdana"/>
              <a:cs typeface="Verdana"/>
            </a:endParaRPr>
          </a:p>
          <a:p>
            <a:pPr marL="184785" indent="-172720">
              <a:lnSpc>
                <a:spcPct val="100000"/>
              </a:lnSpc>
              <a:buClr>
                <a:srgbClr val="006FAC"/>
              </a:buClr>
              <a:buFont typeface="Wingdings"/>
              <a:buChar char=""/>
              <a:tabLst>
                <a:tab pos="185420" algn="l"/>
              </a:tabLst>
            </a:pPr>
            <a:r>
              <a:rPr sz="800">
                <a:latin typeface="Verdana"/>
                <a:cs typeface="Verdana"/>
              </a:rPr>
              <a:t>Integration</a:t>
            </a:r>
            <a:r>
              <a:rPr sz="800" spc="-25">
                <a:latin typeface="Verdana"/>
                <a:cs typeface="Verdana"/>
              </a:rPr>
              <a:t> </a:t>
            </a:r>
            <a:r>
              <a:rPr sz="800">
                <a:latin typeface="Verdana"/>
                <a:cs typeface="Verdana"/>
              </a:rPr>
              <a:t>Playbook</a:t>
            </a:r>
          </a:p>
          <a:p>
            <a:pPr marL="184785" indent="-172720">
              <a:lnSpc>
                <a:spcPct val="100000"/>
              </a:lnSpc>
              <a:buClr>
                <a:srgbClr val="006FAC"/>
              </a:buClr>
              <a:buFont typeface="Wingdings"/>
              <a:buChar char=""/>
              <a:tabLst>
                <a:tab pos="185420" algn="l"/>
              </a:tabLst>
            </a:pPr>
            <a:r>
              <a:rPr sz="800" spc="-5">
                <a:latin typeface="Verdana"/>
                <a:cs typeface="Verdana"/>
              </a:rPr>
              <a:t>Data Migration</a:t>
            </a:r>
            <a:r>
              <a:rPr sz="800" spc="-20">
                <a:latin typeface="Verdana"/>
                <a:cs typeface="Verdana"/>
              </a:rPr>
              <a:t> </a:t>
            </a:r>
            <a:r>
              <a:rPr sz="800">
                <a:latin typeface="Verdana"/>
                <a:cs typeface="Verdana"/>
              </a:rPr>
              <a:t>Playbook</a:t>
            </a:r>
          </a:p>
        </p:txBody>
      </p:sp>
      <p:sp>
        <p:nvSpPr>
          <p:cNvPr id="34" name="object 34"/>
          <p:cNvSpPr/>
          <p:nvPr/>
        </p:nvSpPr>
        <p:spPr>
          <a:xfrm>
            <a:off x="3367023" y="1667255"/>
            <a:ext cx="127000" cy="4252595"/>
          </a:xfrm>
          <a:custGeom>
            <a:avLst/>
            <a:gdLst/>
            <a:ahLst/>
            <a:cxnLst/>
            <a:rect l="l" t="t" r="r" b="b"/>
            <a:pathLst>
              <a:path w="127000" h="4252595">
                <a:moveTo>
                  <a:pt x="69850" y="0"/>
                </a:moveTo>
                <a:lnTo>
                  <a:pt x="57150" y="0"/>
                </a:lnTo>
                <a:lnTo>
                  <a:pt x="57150" y="50800"/>
                </a:lnTo>
                <a:lnTo>
                  <a:pt x="69850" y="50800"/>
                </a:lnTo>
                <a:lnTo>
                  <a:pt x="69850" y="0"/>
                </a:lnTo>
                <a:close/>
              </a:path>
              <a:path w="127000" h="4252595">
                <a:moveTo>
                  <a:pt x="69850" y="88900"/>
                </a:moveTo>
                <a:lnTo>
                  <a:pt x="57150" y="88900"/>
                </a:lnTo>
                <a:lnTo>
                  <a:pt x="57150" y="139700"/>
                </a:lnTo>
                <a:lnTo>
                  <a:pt x="69850" y="139700"/>
                </a:lnTo>
                <a:lnTo>
                  <a:pt x="69850" y="88900"/>
                </a:lnTo>
                <a:close/>
              </a:path>
              <a:path w="127000" h="4252595">
                <a:moveTo>
                  <a:pt x="69850" y="177800"/>
                </a:moveTo>
                <a:lnTo>
                  <a:pt x="57150" y="177800"/>
                </a:lnTo>
                <a:lnTo>
                  <a:pt x="57150" y="228600"/>
                </a:lnTo>
                <a:lnTo>
                  <a:pt x="69850" y="228600"/>
                </a:lnTo>
                <a:lnTo>
                  <a:pt x="69850" y="177800"/>
                </a:lnTo>
                <a:close/>
              </a:path>
              <a:path w="127000" h="4252595">
                <a:moveTo>
                  <a:pt x="69850" y="266700"/>
                </a:moveTo>
                <a:lnTo>
                  <a:pt x="57150" y="266700"/>
                </a:lnTo>
                <a:lnTo>
                  <a:pt x="57150" y="317500"/>
                </a:lnTo>
                <a:lnTo>
                  <a:pt x="69850" y="317500"/>
                </a:lnTo>
                <a:lnTo>
                  <a:pt x="69850" y="266700"/>
                </a:lnTo>
                <a:close/>
              </a:path>
              <a:path w="127000" h="4252595">
                <a:moveTo>
                  <a:pt x="69850" y="355600"/>
                </a:moveTo>
                <a:lnTo>
                  <a:pt x="57150" y="355600"/>
                </a:lnTo>
                <a:lnTo>
                  <a:pt x="57150" y="406400"/>
                </a:lnTo>
                <a:lnTo>
                  <a:pt x="69850" y="406400"/>
                </a:lnTo>
                <a:lnTo>
                  <a:pt x="69850" y="355600"/>
                </a:lnTo>
                <a:close/>
              </a:path>
              <a:path w="127000" h="4252595">
                <a:moveTo>
                  <a:pt x="69850" y="444500"/>
                </a:moveTo>
                <a:lnTo>
                  <a:pt x="57150" y="444500"/>
                </a:lnTo>
                <a:lnTo>
                  <a:pt x="57150" y="495300"/>
                </a:lnTo>
                <a:lnTo>
                  <a:pt x="69850" y="495300"/>
                </a:lnTo>
                <a:lnTo>
                  <a:pt x="69850" y="444500"/>
                </a:lnTo>
                <a:close/>
              </a:path>
              <a:path w="127000" h="4252595">
                <a:moveTo>
                  <a:pt x="69850" y="533400"/>
                </a:moveTo>
                <a:lnTo>
                  <a:pt x="57150" y="533400"/>
                </a:lnTo>
                <a:lnTo>
                  <a:pt x="57150" y="584200"/>
                </a:lnTo>
                <a:lnTo>
                  <a:pt x="69850" y="584200"/>
                </a:lnTo>
                <a:lnTo>
                  <a:pt x="69850" y="533400"/>
                </a:lnTo>
                <a:close/>
              </a:path>
              <a:path w="127000" h="4252595">
                <a:moveTo>
                  <a:pt x="69850" y="622300"/>
                </a:moveTo>
                <a:lnTo>
                  <a:pt x="57150" y="622300"/>
                </a:lnTo>
                <a:lnTo>
                  <a:pt x="57150" y="673100"/>
                </a:lnTo>
                <a:lnTo>
                  <a:pt x="69850" y="673100"/>
                </a:lnTo>
                <a:lnTo>
                  <a:pt x="69850" y="622300"/>
                </a:lnTo>
                <a:close/>
              </a:path>
              <a:path w="127000" h="4252595">
                <a:moveTo>
                  <a:pt x="69850" y="711200"/>
                </a:moveTo>
                <a:lnTo>
                  <a:pt x="57150" y="711200"/>
                </a:lnTo>
                <a:lnTo>
                  <a:pt x="57150" y="762000"/>
                </a:lnTo>
                <a:lnTo>
                  <a:pt x="69850" y="762000"/>
                </a:lnTo>
                <a:lnTo>
                  <a:pt x="69850" y="711200"/>
                </a:lnTo>
                <a:close/>
              </a:path>
              <a:path w="127000" h="4252595">
                <a:moveTo>
                  <a:pt x="69850" y="800100"/>
                </a:moveTo>
                <a:lnTo>
                  <a:pt x="57150" y="800100"/>
                </a:lnTo>
                <a:lnTo>
                  <a:pt x="57150" y="850900"/>
                </a:lnTo>
                <a:lnTo>
                  <a:pt x="69850" y="850900"/>
                </a:lnTo>
                <a:lnTo>
                  <a:pt x="69850" y="800100"/>
                </a:lnTo>
                <a:close/>
              </a:path>
              <a:path w="127000" h="4252595">
                <a:moveTo>
                  <a:pt x="69850" y="889000"/>
                </a:moveTo>
                <a:lnTo>
                  <a:pt x="57150" y="889000"/>
                </a:lnTo>
                <a:lnTo>
                  <a:pt x="57150" y="939800"/>
                </a:lnTo>
                <a:lnTo>
                  <a:pt x="69850" y="939800"/>
                </a:lnTo>
                <a:lnTo>
                  <a:pt x="69850" y="889000"/>
                </a:lnTo>
                <a:close/>
              </a:path>
              <a:path w="127000" h="4252595">
                <a:moveTo>
                  <a:pt x="69850" y="977900"/>
                </a:moveTo>
                <a:lnTo>
                  <a:pt x="57150" y="977900"/>
                </a:lnTo>
                <a:lnTo>
                  <a:pt x="57150" y="1028700"/>
                </a:lnTo>
                <a:lnTo>
                  <a:pt x="69850" y="1028700"/>
                </a:lnTo>
                <a:lnTo>
                  <a:pt x="69850" y="977900"/>
                </a:lnTo>
                <a:close/>
              </a:path>
              <a:path w="127000" h="4252595">
                <a:moveTo>
                  <a:pt x="69850" y="1066800"/>
                </a:moveTo>
                <a:lnTo>
                  <a:pt x="57150" y="1066800"/>
                </a:lnTo>
                <a:lnTo>
                  <a:pt x="57150" y="1117600"/>
                </a:lnTo>
                <a:lnTo>
                  <a:pt x="69850" y="1117600"/>
                </a:lnTo>
                <a:lnTo>
                  <a:pt x="69850" y="1066800"/>
                </a:lnTo>
                <a:close/>
              </a:path>
              <a:path w="127000" h="4252595">
                <a:moveTo>
                  <a:pt x="69850" y="1155700"/>
                </a:moveTo>
                <a:lnTo>
                  <a:pt x="57150" y="1155700"/>
                </a:lnTo>
                <a:lnTo>
                  <a:pt x="57150" y="1206500"/>
                </a:lnTo>
                <a:lnTo>
                  <a:pt x="69850" y="1206500"/>
                </a:lnTo>
                <a:lnTo>
                  <a:pt x="69850" y="1155700"/>
                </a:lnTo>
                <a:close/>
              </a:path>
              <a:path w="127000" h="4252595">
                <a:moveTo>
                  <a:pt x="69850" y="1244600"/>
                </a:moveTo>
                <a:lnTo>
                  <a:pt x="57150" y="1244600"/>
                </a:lnTo>
                <a:lnTo>
                  <a:pt x="57150" y="1295400"/>
                </a:lnTo>
                <a:lnTo>
                  <a:pt x="69850" y="1295400"/>
                </a:lnTo>
                <a:lnTo>
                  <a:pt x="69850" y="1244600"/>
                </a:lnTo>
                <a:close/>
              </a:path>
              <a:path w="127000" h="4252595">
                <a:moveTo>
                  <a:pt x="69850" y="1333500"/>
                </a:moveTo>
                <a:lnTo>
                  <a:pt x="57150" y="1333500"/>
                </a:lnTo>
                <a:lnTo>
                  <a:pt x="57150" y="1384300"/>
                </a:lnTo>
                <a:lnTo>
                  <a:pt x="69850" y="1384300"/>
                </a:lnTo>
                <a:lnTo>
                  <a:pt x="69850" y="1333500"/>
                </a:lnTo>
                <a:close/>
              </a:path>
              <a:path w="127000" h="4252595">
                <a:moveTo>
                  <a:pt x="69850" y="1422400"/>
                </a:moveTo>
                <a:lnTo>
                  <a:pt x="57150" y="1422400"/>
                </a:lnTo>
                <a:lnTo>
                  <a:pt x="57150" y="1473200"/>
                </a:lnTo>
                <a:lnTo>
                  <a:pt x="69850" y="1473200"/>
                </a:lnTo>
                <a:lnTo>
                  <a:pt x="69850" y="1422400"/>
                </a:lnTo>
                <a:close/>
              </a:path>
              <a:path w="127000" h="4252595">
                <a:moveTo>
                  <a:pt x="69850" y="1511300"/>
                </a:moveTo>
                <a:lnTo>
                  <a:pt x="57150" y="1511300"/>
                </a:lnTo>
                <a:lnTo>
                  <a:pt x="57150" y="1562100"/>
                </a:lnTo>
                <a:lnTo>
                  <a:pt x="69850" y="1562100"/>
                </a:lnTo>
                <a:lnTo>
                  <a:pt x="69850" y="1511300"/>
                </a:lnTo>
                <a:close/>
              </a:path>
              <a:path w="127000" h="4252595">
                <a:moveTo>
                  <a:pt x="69850" y="1600200"/>
                </a:moveTo>
                <a:lnTo>
                  <a:pt x="57150" y="1600200"/>
                </a:lnTo>
                <a:lnTo>
                  <a:pt x="57150" y="1651000"/>
                </a:lnTo>
                <a:lnTo>
                  <a:pt x="69850" y="1651000"/>
                </a:lnTo>
                <a:lnTo>
                  <a:pt x="69850" y="1600200"/>
                </a:lnTo>
                <a:close/>
              </a:path>
              <a:path w="127000" h="4252595">
                <a:moveTo>
                  <a:pt x="69850" y="1689100"/>
                </a:moveTo>
                <a:lnTo>
                  <a:pt x="57150" y="1689100"/>
                </a:lnTo>
                <a:lnTo>
                  <a:pt x="57150" y="1739900"/>
                </a:lnTo>
                <a:lnTo>
                  <a:pt x="69850" y="1739900"/>
                </a:lnTo>
                <a:lnTo>
                  <a:pt x="69850" y="1689100"/>
                </a:lnTo>
                <a:close/>
              </a:path>
              <a:path w="127000" h="4252595">
                <a:moveTo>
                  <a:pt x="69850" y="1778000"/>
                </a:moveTo>
                <a:lnTo>
                  <a:pt x="57150" y="1778000"/>
                </a:lnTo>
                <a:lnTo>
                  <a:pt x="57150" y="1828800"/>
                </a:lnTo>
                <a:lnTo>
                  <a:pt x="69850" y="1828800"/>
                </a:lnTo>
                <a:lnTo>
                  <a:pt x="69850" y="1778000"/>
                </a:lnTo>
                <a:close/>
              </a:path>
              <a:path w="127000" h="4252595">
                <a:moveTo>
                  <a:pt x="69850" y="1866900"/>
                </a:moveTo>
                <a:lnTo>
                  <a:pt x="57150" y="1866900"/>
                </a:lnTo>
                <a:lnTo>
                  <a:pt x="57150" y="1917700"/>
                </a:lnTo>
                <a:lnTo>
                  <a:pt x="69850" y="1917700"/>
                </a:lnTo>
                <a:lnTo>
                  <a:pt x="69850" y="1866900"/>
                </a:lnTo>
                <a:close/>
              </a:path>
              <a:path w="127000" h="4252595">
                <a:moveTo>
                  <a:pt x="69850" y="1955800"/>
                </a:moveTo>
                <a:lnTo>
                  <a:pt x="57150" y="1955800"/>
                </a:lnTo>
                <a:lnTo>
                  <a:pt x="57150" y="2006600"/>
                </a:lnTo>
                <a:lnTo>
                  <a:pt x="69850" y="2006600"/>
                </a:lnTo>
                <a:lnTo>
                  <a:pt x="69850" y="1955800"/>
                </a:lnTo>
                <a:close/>
              </a:path>
              <a:path w="127000" h="4252595">
                <a:moveTo>
                  <a:pt x="69850" y="2044700"/>
                </a:moveTo>
                <a:lnTo>
                  <a:pt x="57150" y="2044700"/>
                </a:lnTo>
                <a:lnTo>
                  <a:pt x="57150" y="2095500"/>
                </a:lnTo>
                <a:lnTo>
                  <a:pt x="69850" y="2095500"/>
                </a:lnTo>
                <a:lnTo>
                  <a:pt x="69850" y="2044700"/>
                </a:lnTo>
                <a:close/>
              </a:path>
              <a:path w="127000" h="4252595">
                <a:moveTo>
                  <a:pt x="69850" y="2133600"/>
                </a:moveTo>
                <a:lnTo>
                  <a:pt x="57150" y="2133600"/>
                </a:lnTo>
                <a:lnTo>
                  <a:pt x="57150" y="2184400"/>
                </a:lnTo>
                <a:lnTo>
                  <a:pt x="69850" y="2184400"/>
                </a:lnTo>
                <a:lnTo>
                  <a:pt x="69850" y="2133600"/>
                </a:lnTo>
                <a:close/>
              </a:path>
              <a:path w="127000" h="4252595">
                <a:moveTo>
                  <a:pt x="69850" y="2222500"/>
                </a:moveTo>
                <a:lnTo>
                  <a:pt x="57150" y="2222500"/>
                </a:lnTo>
                <a:lnTo>
                  <a:pt x="57150" y="2273300"/>
                </a:lnTo>
                <a:lnTo>
                  <a:pt x="69850" y="2273300"/>
                </a:lnTo>
                <a:lnTo>
                  <a:pt x="69850" y="2222500"/>
                </a:lnTo>
                <a:close/>
              </a:path>
              <a:path w="127000" h="4252595">
                <a:moveTo>
                  <a:pt x="69850" y="2311400"/>
                </a:moveTo>
                <a:lnTo>
                  <a:pt x="57150" y="2311400"/>
                </a:lnTo>
                <a:lnTo>
                  <a:pt x="57150" y="2362200"/>
                </a:lnTo>
                <a:lnTo>
                  <a:pt x="69850" y="2362200"/>
                </a:lnTo>
                <a:lnTo>
                  <a:pt x="69850" y="2311400"/>
                </a:lnTo>
                <a:close/>
              </a:path>
              <a:path w="127000" h="4252595">
                <a:moveTo>
                  <a:pt x="69850" y="2400300"/>
                </a:moveTo>
                <a:lnTo>
                  <a:pt x="57150" y="2400300"/>
                </a:lnTo>
                <a:lnTo>
                  <a:pt x="57150" y="2451100"/>
                </a:lnTo>
                <a:lnTo>
                  <a:pt x="69850" y="2451100"/>
                </a:lnTo>
                <a:lnTo>
                  <a:pt x="69850" y="2400300"/>
                </a:lnTo>
                <a:close/>
              </a:path>
              <a:path w="127000" h="4252595">
                <a:moveTo>
                  <a:pt x="69850" y="2489200"/>
                </a:moveTo>
                <a:lnTo>
                  <a:pt x="57150" y="2489200"/>
                </a:lnTo>
                <a:lnTo>
                  <a:pt x="57150" y="2540000"/>
                </a:lnTo>
                <a:lnTo>
                  <a:pt x="69850" y="2540000"/>
                </a:lnTo>
                <a:lnTo>
                  <a:pt x="69850" y="2489200"/>
                </a:lnTo>
                <a:close/>
              </a:path>
              <a:path w="127000" h="4252595">
                <a:moveTo>
                  <a:pt x="69850" y="2578100"/>
                </a:moveTo>
                <a:lnTo>
                  <a:pt x="57150" y="2578100"/>
                </a:lnTo>
                <a:lnTo>
                  <a:pt x="57150" y="2628900"/>
                </a:lnTo>
                <a:lnTo>
                  <a:pt x="69850" y="2628900"/>
                </a:lnTo>
                <a:lnTo>
                  <a:pt x="69850" y="2578100"/>
                </a:lnTo>
                <a:close/>
              </a:path>
              <a:path w="127000" h="4252595">
                <a:moveTo>
                  <a:pt x="69850" y="2667000"/>
                </a:moveTo>
                <a:lnTo>
                  <a:pt x="57150" y="2667000"/>
                </a:lnTo>
                <a:lnTo>
                  <a:pt x="57150" y="2717800"/>
                </a:lnTo>
                <a:lnTo>
                  <a:pt x="69850" y="2717800"/>
                </a:lnTo>
                <a:lnTo>
                  <a:pt x="69850" y="2667000"/>
                </a:lnTo>
                <a:close/>
              </a:path>
              <a:path w="127000" h="4252595">
                <a:moveTo>
                  <a:pt x="69850" y="2755900"/>
                </a:moveTo>
                <a:lnTo>
                  <a:pt x="57150" y="2755900"/>
                </a:lnTo>
                <a:lnTo>
                  <a:pt x="57150" y="2806700"/>
                </a:lnTo>
                <a:lnTo>
                  <a:pt x="69850" y="2806700"/>
                </a:lnTo>
                <a:lnTo>
                  <a:pt x="69850" y="2755900"/>
                </a:lnTo>
                <a:close/>
              </a:path>
              <a:path w="127000" h="4252595">
                <a:moveTo>
                  <a:pt x="69850" y="2844800"/>
                </a:moveTo>
                <a:lnTo>
                  <a:pt x="57150" y="2844800"/>
                </a:lnTo>
                <a:lnTo>
                  <a:pt x="57150" y="2895600"/>
                </a:lnTo>
                <a:lnTo>
                  <a:pt x="69850" y="2895600"/>
                </a:lnTo>
                <a:lnTo>
                  <a:pt x="69850" y="2844800"/>
                </a:lnTo>
                <a:close/>
              </a:path>
              <a:path w="127000" h="4252595">
                <a:moveTo>
                  <a:pt x="69850" y="2933700"/>
                </a:moveTo>
                <a:lnTo>
                  <a:pt x="57150" y="2933700"/>
                </a:lnTo>
                <a:lnTo>
                  <a:pt x="57150" y="2984500"/>
                </a:lnTo>
                <a:lnTo>
                  <a:pt x="69850" y="2984500"/>
                </a:lnTo>
                <a:lnTo>
                  <a:pt x="69850" y="2933700"/>
                </a:lnTo>
                <a:close/>
              </a:path>
              <a:path w="127000" h="4252595">
                <a:moveTo>
                  <a:pt x="69850" y="3022600"/>
                </a:moveTo>
                <a:lnTo>
                  <a:pt x="57150" y="3022600"/>
                </a:lnTo>
                <a:lnTo>
                  <a:pt x="57150" y="3073400"/>
                </a:lnTo>
                <a:lnTo>
                  <a:pt x="69850" y="3073400"/>
                </a:lnTo>
                <a:lnTo>
                  <a:pt x="69850" y="3022600"/>
                </a:lnTo>
                <a:close/>
              </a:path>
              <a:path w="127000" h="4252595">
                <a:moveTo>
                  <a:pt x="69850" y="3111500"/>
                </a:moveTo>
                <a:lnTo>
                  <a:pt x="57150" y="3111500"/>
                </a:lnTo>
                <a:lnTo>
                  <a:pt x="57150" y="3162300"/>
                </a:lnTo>
                <a:lnTo>
                  <a:pt x="69850" y="3162300"/>
                </a:lnTo>
                <a:lnTo>
                  <a:pt x="69850" y="3111500"/>
                </a:lnTo>
                <a:close/>
              </a:path>
              <a:path w="127000" h="4252595">
                <a:moveTo>
                  <a:pt x="69850" y="3200400"/>
                </a:moveTo>
                <a:lnTo>
                  <a:pt x="57150" y="3200400"/>
                </a:lnTo>
                <a:lnTo>
                  <a:pt x="57150" y="3251200"/>
                </a:lnTo>
                <a:lnTo>
                  <a:pt x="69850" y="3251200"/>
                </a:lnTo>
                <a:lnTo>
                  <a:pt x="69850" y="3200400"/>
                </a:lnTo>
                <a:close/>
              </a:path>
              <a:path w="127000" h="4252595">
                <a:moveTo>
                  <a:pt x="69850" y="3289300"/>
                </a:moveTo>
                <a:lnTo>
                  <a:pt x="57150" y="3289300"/>
                </a:lnTo>
                <a:lnTo>
                  <a:pt x="57150" y="3340100"/>
                </a:lnTo>
                <a:lnTo>
                  <a:pt x="69850" y="3340100"/>
                </a:lnTo>
                <a:lnTo>
                  <a:pt x="69850" y="3289300"/>
                </a:lnTo>
                <a:close/>
              </a:path>
              <a:path w="127000" h="4252595">
                <a:moveTo>
                  <a:pt x="69850" y="3378200"/>
                </a:moveTo>
                <a:lnTo>
                  <a:pt x="57150" y="3378200"/>
                </a:lnTo>
                <a:lnTo>
                  <a:pt x="57150" y="3429000"/>
                </a:lnTo>
                <a:lnTo>
                  <a:pt x="69850" y="3429000"/>
                </a:lnTo>
                <a:lnTo>
                  <a:pt x="69850" y="3378200"/>
                </a:lnTo>
                <a:close/>
              </a:path>
              <a:path w="127000" h="4252595">
                <a:moveTo>
                  <a:pt x="69850" y="3467100"/>
                </a:moveTo>
                <a:lnTo>
                  <a:pt x="57150" y="3467100"/>
                </a:lnTo>
                <a:lnTo>
                  <a:pt x="57150" y="3517900"/>
                </a:lnTo>
                <a:lnTo>
                  <a:pt x="69850" y="3517900"/>
                </a:lnTo>
                <a:lnTo>
                  <a:pt x="69850" y="3467100"/>
                </a:lnTo>
                <a:close/>
              </a:path>
              <a:path w="127000" h="4252595">
                <a:moveTo>
                  <a:pt x="69850" y="3556000"/>
                </a:moveTo>
                <a:lnTo>
                  <a:pt x="57150" y="3556000"/>
                </a:lnTo>
                <a:lnTo>
                  <a:pt x="57150" y="3606800"/>
                </a:lnTo>
                <a:lnTo>
                  <a:pt x="69850" y="3606800"/>
                </a:lnTo>
                <a:lnTo>
                  <a:pt x="69850" y="3556000"/>
                </a:lnTo>
                <a:close/>
              </a:path>
              <a:path w="127000" h="4252595">
                <a:moveTo>
                  <a:pt x="69850" y="3644900"/>
                </a:moveTo>
                <a:lnTo>
                  <a:pt x="57150" y="3644900"/>
                </a:lnTo>
                <a:lnTo>
                  <a:pt x="57150" y="3695700"/>
                </a:lnTo>
                <a:lnTo>
                  <a:pt x="69850" y="3695700"/>
                </a:lnTo>
                <a:lnTo>
                  <a:pt x="69850" y="3644900"/>
                </a:lnTo>
                <a:close/>
              </a:path>
              <a:path w="127000" h="4252595">
                <a:moveTo>
                  <a:pt x="69850" y="3733800"/>
                </a:moveTo>
                <a:lnTo>
                  <a:pt x="57150" y="3733800"/>
                </a:lnTo>
                <a:lnTo>
                  <a:pt x="57150" y="3784600"/>
                </a:lnTo>
                <a:lnTo>
                  <a:pt x="69850" y="3784600"/>
                </a:lnTo>
                <a:lnTo>
                  <a:pt x="69850" y="3733800"/>
                </a:lnTo>
                <a:close/>
              </a:path>
              <a:path w="127000" h="4252595">
                <a:moveTo>
                  <a:pt x="69850" y="3822700"/>
                </a:moveTo>
                <a:lnTo>
                  <a:pt x="57150" y="3822700"/>
                </a:lnTo>
                <a:lnTo>
                  <a:pt x="57150" y="3873500"/>
                </a:lnTo>
                <a:lnTo>
                  <a:pt x="69850" y="3873500"/>
                </a:lnTo>
                <a:lnTo>
                  <a:pt x="69850" y="3822700"/>
                </a:lnTo>
                <a:close/>
              </a:path>
              <a:path w="127000" h="4252595">
                <a:moveTo>
                  <a:pt x="69850" y="3911600"/>
                </a:moveTo>
                <a:lnTo>
                  <a:pt x="57150" y="3911600"/>
                </a:lnTo>
                <a:lnTo>
                  <a:pt x="57150" y="3962400"/>
                </a:lnTo>
                <a:lnTo>
                  <a:pt x="69850" y="3962400"/>
                </a:lnTo>
                <a:lnTo>
                  <a:pt x="69850" y="3911600"/>
                </a:lnTo>
                <a:close/>
              </a:path>
              <a:path w="127000" h="4252595">
                <a:moveTo>
                  <a:pt x="69850" y="4000500"/>
                </a:moveTo>
                <a:lnTo>
                  <a:pt x="57150" y="4000500"/>
                </a:lnTo>
                <a:lnTo>
                  <a:pt x="57150" y="4051300"/>
                </a:lnTo>
                <a:lnTo>
                  <a:pt x="69850" y="4051300"/>
                </a:lnTo>
                <a:lnTo>
                  <a:pt x="69850" y="4000500"/>
                </a:lnTo>
                <a:close/>
              </a:path>
              <a:path w="127000" h="4252595">
                <a:moveTo>
                  <a:pt x="57150" y="4125290"/>
                </a:moveTo>
                <a:lnTo>
                  <a:pt x="0" y="4125290"/>
                </a:lnTo>
                <a:lnTo>
                  <a:pt x="63500" y="4252290"/>
                </a:lnTo>
                <a:lnTo>
                  <a:pt x="120650" y="4137990"/>
                </a:lnTo>
                <a:lnTo>
                  <a:pt x="57150" y="4137990"/>
                </a:lnTo>
                <a:lnTo>
                  <a:pt x="57150" y="4125290"/>
                </a:lnTo>
                <a:close/>
              </a:path>
              <a:path w="127000" h="4252595">
                <a:moveTo>
                  <a:pt x="69850" y="4089400"/>
                </a:moveTo>
                <a:lnTo>
                  <a:pt x="57150" y="4089400"/>
                </a:lnTo>
                <a:lnTo>
                  <a:pt x="57150" y="4137990"/>
                </a:lnTo>
                <a:lnTo>
                  <a:pt x="69850" y="4137990"/>
                </a:lnTo>
                <a:lnTo>
                  <a:pt x="69850" y="4089400"/>
                </a:lnTo>
                <a:close/>
              </a:path>
              <a:path w="127000" h="4252595">
                <a:moveTo>
                  <a:pt x="127000" y="4125290"/>
                </a:moveTo>
                <a:lnTo>
                  <a:pt x="69850" y="4125290"/>
                </a:lnTo>
                <a:lnTo>
                  <a:pt x="69850" y="4137990"/>
                </a:lnTo>
                <a:lnTo>
                  <a:pt x="120650" y="4137990"/>
                </a:lnTo>
                <a:lnTo>
                  <a:pt x="127000" y="4125290"/>
                </a:lnTo>
                <a:close/>
              </a:path>
            </a:pathLst>
          </a:custGeom>
          <a:solidFill>
            <a:srgbClr val="7E7E7E"/>
          </a:solidFill>
        </p:spPr>
        <p:txBody>
          <a:bodyPr wrap="square" lIns="0" tIns="0" rIns="0" bIns="0" rtlCol="0"/>
          <a:lstStyle/>
          <a:p>
            <a:endParaRPr/>
          </a:p>
        </p:txBody>
      </p:sp>
      <p:sp>
        <p:nvSpPr>
          <p:cNvPr id="35" name="object 35"/>
          <p:cNvSpPr/>
          <p:nvPr/>
        </p:nvSpPr>
        <p:spPr>
          <a:xfrm>
            <a:off x="1560575" y="2211323"/>
            <a:ext cx="647700" cy="365760"/>
          </a:xfrm>
          <a:custGeom>
            <a:avLst/>
            <a:gdLst/>
            <a:ahLst/>
            <a:cxnLst/>
            <a:rect l="l" t="t" r="r" b="b"/>
            <a:pathLst>
              <a:path w="647700" h="365760">
                <a:moveTo>
                  <a:pt x="0" y="365760"/>
                </a:moveTo>
                <a:lnTo>
                  <a:pt x="647700" y="365760"/>
                </a:lnTo>
                <a:lnTo>
                  <a:pt x="647700" y="0"/>
                </a:lnTo>
                <a:lnTo>
                  <a:pt x="0" y="0"/>
                </a:lnTo>
                <a:lnTo>
                  <a:pt x="0" y="365760"/>
                </a:lnTo>
                <a:close/>
              </a:path>
            </a:pathLst>
          </a:custGeom>
          <a:solidFill>
            <a:srgbClr val="7E7E7E"/>
          </a:solidFill>
        </p:spPr>
        <p:txBody>
          <a:bodyPr wrap="square" lIns="0" tIns="0" rIns="0" bIns="0" rtlCol="0"/>
          <a:lstStyle/>
          <a:p>
            <a:endParaRPr/>
          </a:p>
        </p:txBody>
      </p:sp>
      <p:sp>
        <p:nvSpPr>
          <p:cNvPr id="36" name="object 36"/>
          <p:cNvSpPr/>
          <p:nvPr/>
        </p:nvSpPr>
        <p:spPr>
          <a:xfrm>
            <a:off x="1560575" y="2211323"/>
            <a:ext cx="647700" cy="365760"/>
          </a:xfrm>
          <a:custGeom>
            <a:avLst/>
            <a:gdLst/>
            <a:ahLst/>
            <a:cxnLst/>
            <a:rect l="l" t="t" r="r" b="b"/>
            <a:pathLst>
              <a:path w="647700" h="365760">
                <a:moveTo>
                  <a:pt x="0" y="365760"/>
                </a:moveTo>
                <a:lnTo>
                  <a:pt x="647700" y="365760"/>
                </a:lnTo>
                <a:lnTo>
                  <a:pt x="647700" y="0"/>
                </a:lnTo>
                <a:lnTo>
                  <a:pt x="0" y="0"/>
                </a:lnTo>
                <a:lnTo>
                  <a:pt x="0" y="365760"/>
                </a:lnTo>
                <a:close/>
              </a:path>
            </a:pathLst>
          </a:custGeom>
          <a:ln w="9144">
            <a:solidFill>
              <a:srgbClr val="7E7E7E"/>
            </a:solidFill>
          </a:ln>
        </p:spPr>
        <p:txBody>
          <a:bodyPr wrap="square" lIns="0" tIns="0" rIns="0" bIns="0" rtlCol="0"/>
          <a:lstStyle/>
          <a:p>
            <a:endParaRPr/>
          </a:p>
        </p:txBody>
      </p:sp>
      <p:sp>
        <p:nvSpPr>
          <p:cNvPr id="37" name="object 37"/>
          <p:cNvSpPr txBox="1"/>
          <p:nvPr/>
        </p:nvSpPr>
        <p:spPr>
          <a:xfrm>
            <a:off x="974547" y="2229992"/>
            <a:ext cx="1137285" cy="306070"/>
          </a:xfrm>
          <a:prstGeom prst="rect">
            <a:avLst/>
          </a:prstGeom>
        </p:spPr>
        <p:txBody>
          <a:bodyPr vert="horz" wrap="square" lIns="0" tIns="12065" rIns="0" bIns="0" rtlCol="0">
            <a:spAutoFit/>
          </a:bodyPr>
          <a:lstStyle/>
          <a:p>
            <a:pPr algn="ctr">
              <a:lnSpc>
                <a:spcPts val="1105"/>
              </a:lnSpc>
              <a:spcBef>
                <a:spcPts val="95"/>
              </a:spcBef>
              <a:tabLst>
                <a:tab pos="680085" algn="l"/>
              </a:tabLst>
            </a:pPr>
            <a:r>
              <a:rPr sz="1000" b="1" spc="-10">
                <a:solidFill>
                  <a:srgbClr val="FFFFFF"/>
                </a:solidFill>
                <a:latin typeface="Verdana"/>
                <a:cs typeface="Verdana"/>
              </a:rPr>
              <a:t>Spr</a:t>
            </a:r>
            <a:r>
              <a:rPr sz="1000" b="1" spc="-15">
                <a:solidFill>
                  <a:srgbClr val="FFFFFF"/>
                </a:solidFill>
                <a:latin typeface="Verdana"/>
                <a:cs typeface="Verdana"/>
              </a:rPr>
              <a:t>i</a:t>
            </a:r>
            <a:r>
              <a:rPr sz="1000" b="1" spc="-10">
                <a:solidFill>
                  <a:srgbClr val="FFFFFF"/>
                </a:solidFill>
                <a:latin typeface="Verdana"/>
                <a:cs typeface="Verdana"/>
              </a:rPr>
              <a:t>n</a:t>
            </a:r>
            <a:r>
              <a:rPr sz="1000" b="1" spc="-5">
                <a:solidFill>
                  <a:srgbClr val="FFFFFF"/>
                </a:solidFill>
                <a:latin typeface="Verdana"/>
                <a:cs typeface="Verdana"/>
              </a:rPr>
              <a:t>t</a:t>
            </a:r>
            <a:r>
              <a:rPr sz="1000" b="1">
                <a:solidFill>
                  <a:srgbClr val="FFFFFF"/>
                </a:solidFill>
                <a:latin typeface="Verdana"/>
                <a:cs typeface="Verdana"/>
              </a:rPr>
              <a:t>	</a:t>
            </a:r>
            <a:r>
              <a:rPr sz="1000" b="1" spc="-10">
                <a:solidFill>
                  <a:srgbClr val="FFFFFF"/>
                </a:solidFill>
                <a:latin typeface="Verdana"/>
                <a:cs typeface="Verdana"/>
              </a:rPr>
              <a:t>Spr</a:t>
            </a:r>
            <a:r>
              <a:rPr sz="1000" b="1" spc="-15">
                <a:solidFill>
                  <a:srgbClr val="FFFFFF"/>
                </a:solidFill>
                <a:latin typeface="Verdana"/>
                <a:cs typeface="Verdana"/>
              </a:rPr>
              <a:t>i</a:t>
            </a:r>
            <a:r>
              <a:rPr sz="1000" b="1" spc="-10">
                <a:solidFill>
                  <a:srgbClr val="FFFFFF"/>
                </a:solidFill>
                <a:latin typeface="Verdana"/>
                <a:cs typeface="Verdana"/>
              </a:rPr>
              <a:t>nt</a:t>
            </a:r>
            <a:endParaRPr sz="1000">
              <a:latin typeface="Verdana"/>
              <a:cs typeface="Verdana"/>
            </a:endParaRPr>
          </a:p>
          <a:p>
            <a:pPr marL="15240" algn="ctr">
              <a:lnSpc>
                <a:spcPts val="1105"/>
              </a:lnSpc>
            </a:pPr>
            <a:r>
              <a:rPr sz="1000" spc="-5">
                <a:latin typeface="Verdana"/>
                <a:cs typeface="Verdana"/>
              </a:rPr>
              <a:t>…</a:t>
            </a:r>
            <a:endParaRPr sz="1000">
              <a:latin typeface="Verdana"/>
              <a:cs typeface="Verdana"/>
            </a:endParaRPr>
          </a:p>
        </p:txBody>
      </p:sp>
      <p:sp>
        <p:nvSpPr>
          <p:cNvPr id="38" name="object 38"/>
          <p:cNvSpPr txBox="1"/>
          <p:nvPr/>
        </p:nvSpPr>
        <p:spPr>
          <a:xfrm>
            <a:off x="1145235" y="2382392"/>
            <a:ext cx="796290" cy="177800"/>
          </a:xfrm>
          <a:prstGeom prst="rect">
            <a:avLst/>
          </a:prstGeom>
        </p:spPr>
        <p:txBody>
          <a:bodyPr vert="horz" wrap="square" lIns="0" tIns="12065" rIns="0" bIns="0" rtlCol="0">
            <a:spAutoFit/>
          </a:bodyPr>
          <a:lstStyle/>
          <a:p>
            <a:pPr marL="12700">
              <a:lnSpc>
                <a:spcPct val="100000"/>
              </a:lnSpc>
              <a:spcBef>
                <a:spcPts val="95"/>
              </a:spcBef>
              <a:tabLst>
                <a:tab pos="692785" algn="l"/>
              </a:tabLst>
            </a:pPr>
            <a:r>
              <a:rPr sz="1000" b="1" spc="-5">
                <a:solidFill>
                  <a:srgbClr val="FFFFFF"/>
                </a:solidFill>
                <a:latin typeface="Verdana"/>
                <a:cs typeface="Verdana"/>
              </a:rPr>
              <a:t>1	2</a:t>
            </a:r>
            <a:endParaRPr sz="1000">
              <a:latin typeface="Verdana"/>
              <a:cs typeface="Verdana"/>
            </a:endParaRPr>
          </a:p>
        </p:txBody>
      </p:sp>
      <p:sp>
        <p:nvSpPr>
          <p:cNvPr id="39" name="object 39"/>
          <p:cNvSpPr txBox="1"/>
          <p:nvPr/>
        </p:nvSpPr>
        <p:spPr>
          <a:xfrm>
            <a:off x="2708148" y="2206751"/>
            <a:ext cx="657225" cy="375285"/>
          </a:xfrm>
          <a:prstGeom prst="rect">
            <a:avLst/>
          </a:prstGeom>
          <a:solidFill>
            <a:srgbClr val="7E7E7E"/>
          </a:solidFill>
        </p:spPr>
        <p:txBody>
          <a:bodyPr vert="horz" wrap="square" lIns="0" tIns="34925" rIns="0" bIns="0" rtlCol="0">
            <a:spAutoFit/>
          </a:bodyPr>
          <a:lstStyle/>
          <a:p>
            <a:pPr marL="274955" marR="106045" indent="-163195">
              <a:lnSpc>
                <a:spcPct val="100000"/>
              </a:lnSpc>
              <a:spcBef>
                <a:spcPts val="275"/>
              </a:spcBef>
            </a:pPr>
            <a:r>
              <a:rPr sz="1000" b="1" spc="-10">
                <a:solidFill>
                  <a:srgbClr val="FFFFFF"/>
                </a:solidFill>
                <a:latin typeface="Verdana"/>
                <a:cs typeface="Verdana"/>
              </a:rPr>
              <a:t>Spr</a:t>
            </a:r>
            <a:r>
              <a:rPr sz="1000" b="1" spc="-15">
                <a:solidFill>
                  <a:srgbClr val="FFFFFF"/>
                </a:solidFill>
                <a:latin typeface="Verdana"/>
                <a:cs typeface="Verdana"/>
              </a:rPr>
              <a:t>i</a:t>
            </a:r>
            <a:r>
              <a:rPr sz="1000" b="1" spc="-10">
                <a:solidFill>
                  <a:srgbClr val="FFFFFF"/>
                </a:solidFill>
                <a:latin typeface="Verdana"/>
                <a:cs typeface="Verdana"/>
              </a:rPr>
              <a:t>nt  </a:t>
            </a:r>
            <a:r>
              <a:rPr sz="1000" b="1" spc="-5">
                <a:solidFill>
                  <a:srgbClr val="FFFFFF"/>
                </a:solidFill>
                <a:latin typeface="Verdana"/>
                <a:cs typeface="Verdana"/>
              </a:rPr>
              <a:t>N</a:t>
            </a:r>
            <a:endParaRPr sz="1000">
              <a:latin typeface="Verdana"/>
              <a:cs typeface="Verdana"/>
            </a:endParaRPr>
          </a:p>
        </p:txBody>
      </p:sp>
      <p:graphicFrame>
        <p:nvGraphicFramePr>
          <p:cNvPr id="40" name="object 40"/>
          <p:cNvGraphicFramePr>
            <a:graphicFrameLocks noGrp="1"/>
          </p:cNvGraphicFramePr>
          <p:nvPr/>
        </p:nvGraphicFramePr>
        <p:xfrm>
          <a:off x="894588" y="2855976"/>
          <a:ext cx="3592830" cy="1092354"/>
        </p:xfrm>
        <a:graphic>
          <a:graphicData uri="http://schemas.openxmlformats.org/drawingml/2006/table">
            <a:tbl>
              <a:tblPr firstRow="1" bandRow="1">
                <a:tableStyleId>{2D5ABB26-0587-4C30-8999-92F81FD0307C}</a:tableStyleId>
              </a:tblPr>
              <a:tblGrid>
                <a:gridCol w="6223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633730">
                  <a:extLst>
                    <a:ext uri="{9D8B030D-6E8A-4147-A177-3AD203B41FA5}">
                      <a16:colId xmlns:a16="http://schemas.microsoft.com/office/drawing/2014/main" val="20002"/>
                    </a:ext>
                  </a:extLst>
                </a:gridCol>
                <a:gridCol w="643890">
                  <a:extLst>
                    <a:ext uri="{9D8B030D-6E8A-4147-A177-3AD203B41FA5}">
                      <a16:colId xmlns:a16="http://schemas.microsoft.com/office/drawing/2014/main" val="20003"/>
                    </a:ext>
                  </a:extLst>
                </a:gridCol>
                <a:gridCol w="1007110">
                  <a:extLst>
                    <a:ext uri="{9D8B030D-6E8A-4147-A177-3AD203B41FA5}">
                      <a16:colId xmlns:a16="http://schemas.microsoft.com/office/drawing/2014/main" val="20004"/>
                    </a:ext>
                  </a:extLst>
                </a:gridCol>
              </a:tblGrid>
              <a:tr h="151065">
                <a:tc>
                  <a:txBody>
                    <a:bodyPr/>
                    <a:lstStyle/>
                    <a:p>
                      <a:pPr marR="3810" algn="ctr">
                        <a:lnSpc>
                          <a:spcPts val="844"/>
                        </a:lnSpc>
                        <a:spcBef>
                          <a:spcPts val="240"/>
                        </a:spcBef>
                      </a:pPr>
                      <a:r>
                        <a:rPr sz="800">
                          <a:latin typeface="Verdana"/>
                          <a:cs typeface="Verdana"/>
                        </a:rPr>
                        <a:t>Configure</a:t>
                      </a:r>
                    </a:p>
                  </a:txBody>
                  <a:tcPr marL="0" marR="0" marT="30480" marB="0">
                    <a:lnR w="28575">
                      <a:solidFill>
                        <a:srgbClr val="D9D9D9"/>
                      </a:solidFill>
                      <a:prstDash val="solid"/>
                    </a:lnR>
                    <a:solidFill>
                      <a:srgbClr val="FFFFFF"/>
                    </a:solidFill>
                  </a:tcPr>
                </a:tc>
                <a:tc>
                  <a:txBody>
                    <a:bodyPr/>
                    <a:lstStyle/>
                    <a:p>
                      <a:pPr algn="ctr">
                        <a:lnSpc>
                          <a:spcPts val="844"/>
                        </a:lnSpc>
                        <a:spcBef>
                          <a:spcPts val="240"/>
                        </a:spcBef>
                      </a:pPr>
                      <a:r>
                        <a:rPr sz="800" spc="-5">
                          <a:latin typeface="Verdana"/>
                          <a:cs typeface="Verdana"/>
                        </a:rPr>
                        <a:t>Build</a:t>
                      </a:r>
                      <a:endParaRPr sz="800">
                        <a:latin typeface="Verdana"/>
                        <a:cs typeface="Verdana"/>
                      </a:endParaRPr>
                    </a:p>
                  </a:txBody>
                  <a:tcPr marL="0" marR="0" marT="30480" marB="0">
                    <a:lnL w="28575">
                      <a:solidFill>
                        <a:srgbClr val="D9D9D9"/>
                      </a:solidFill>
                      <a:prstDash val="solid"/>
                    </a:lnL>
                    <a:lnR w="28575">
                      <a:solidFill>
                        <a:srgbClr val="D9D9D9"/>
                      </a:solidFill>
                      <a:prstDash val="solid"/>
                    </a:lnR>
                    <a:solidFill>
                      <a:srgbClr val="FFFFFF"/>
                    </a:solidFill>
                  </a:tcPr>
                </a:tc>
                <a:tc>
                  <a:txBody>
                    <a:bodyPr/>
                    <a:lstStyle/>
                    <a:p>
                      <a:pPr marL="635" algn="ctr">
                        <a:lnSpc>
                          <a:spcPts val="844"/>
                        </a:lnSpc>
                        <a:spcBef>
                          <a:spcPts val="240"/>
                        </a:spcBef>
                      </a:pPr>
                      <a:r>
                        <a:rPr sz="800" spc="-5">
                          <a:latin typeface="Verdana"/>
                          <a:cs typeface="Verdana"/>
                        </a:rPr>
                        <a:t>Functional</a:t>
                      </a:r>
                      <a:endParaRPr sz="800">
                        <a:latin typeface="Verdana"/>
                        <a:cs typeface="Verdana"/>
                      </a:endParaRPr>
                    </a:p>
                  </a:txBody>
                  <a:tcPr marL="0" marR="0" marT="30480" marB="0">
                    <a:lnL w="28575">
                      <a:solidFill>
                        <a:srgbClr val="D9D9D9"/>
                      </a:solidFill>
                      <a:prstDash val="solid"/>
                    </a:lnL>
                    <a:lnR w="28575">
                      <a:solidFill>
                        <a:srgbClr val="D9D9D9"/>
                      </a:solidFill>
                      <a:prstDash val="solid"/>
                    </a:lnR>
                    <a:solidFill>
                      <a:srgbClr val="FFFFFF"/>
                    </a:solidFill>
                  </a:tcPr>
                </a:tc>
                <a:tc>
                  <a:txBody>
                    <a:bodyPr/>
                    <a:lstStyle/>
                    <a:p>
                      <a:pPr algn="ctr">
                        <a:lnSpc>
                          <a:spcPts val="844"/>
                        </a:lnSpc>
                        <a:spcBef>
                          <a:spcPts val="240"/>
                        </a:spcBef>
                      </a:pPr>
                      <a:r>
                        <a:rPr sz="800" spc="-5">
                          <a:latin typeface="Verdana"/>
                          <a:cs typeface="Verdana"/>
                        </a:rPr>
                        <a:t>Clean,</a:t>
                      </a:r>
                      <a:r>
                        <a:rPr sz="800" spc="-30">
                          <a:latin typeface="Verdana"/>
                          <a:cs typeface="Verdana"/>
                        </a:rPr>
                        <a:t> </a:t>
                      </a:r>
                      <a:r>
                        <a:rPr sz="800">
                          <a:latin typeface="Verdana"/>
                          <a:cs typeface="Verdana"/>
                        </a:rPr>
                        <a:t>De-</a:t>
                      </a:r>
                    </a:p>
                  </a:txBody>
                  <a:tcPr marL="0" marR="0" marT="30480" marB="0">
                    <a:lnL w="28575">
                      <a:solidFill>
                        <a:srgbClr val="D9D9D9"/>
                      </a:solidFill>
                      <a:prstDash val="solid"/>
                    </a:lnL>
                    <a:lnR w="53975">
                      <a:solidFill>
                        <a:srgbClr val="FFFFFF"/>
                      </a:solidFill>
                      <a:prstDash val="solid"/>
                    </a:lnR>
                    <a:solidFill>
                      <a:srgbClr val="FFFFFF"/>
                    </a:solidFill>
                  </a:tcPr>
                </a:tc>
                <a:tc>
                  <a:txBody>
                    <a:bodyPr/>
                    <a:lstStyle/>
                    <a:p>
                      <a:pPr marL="20320" algn="ctr">
                        <a:lnSpc>
                          <a:spcPts val="894"/>
                        </a:lnSpc>
                        <a:spcBef>
                          <a:spcPts val="190"/>
                        </a:spcBef>
                      </a:pPr>
                      <a:r>
                        <a:rPr sz="800" spc="-5">
                          <a:latin typeface="Verdana"/>
                          <a:cs typeface="Verdana"/>
                        </a:rPr>
                        <a:t>End to End</a:t>
                      </a:r>
                      <a:r>
                        <a:rPr sz="800" spc="-10">
                          <a:latin typeface="Verdana"/>
                          <a:cs typeface="Verdana"/>
                        </a:rPr>
                        <a:t> </a:t>
                      </a:r>
                      <a:r>
                        <a:rPr sz="800">
                          <a:latin typeface="Verdana"/>
                          <a:cs typeface="Verdana"/>
                        </a:rPr>
                        <a:t>Test</a:t>
                      </a:r>
                    </a:p>
                  </a:txBody>
                  <a:tcPr marL="0" marR="0" marT="24130" marB="0">
                    <a:lnL w="53975">
                      <a:solidFill>
                        <a:srgbClr val="FFFFFF"/>
                      </a:solidFill>
                      <a:prstDash val="solid"/>
                    </a:lnL>
                    <a:solidFill>
                      <a:srgbClr val="FFFFFF"/>
                    </a:solidFill>
                  </a:tcPr>
                </a:tc>
                <a:extLst>
                  <a:ext uri="{0D108BD9-81ED-4DB2-BD59-A6C34878D82A}">
                    <a16:rowId xmlns:a16="http://schemas.microsoft.com/office/drawing/2014/main" val="10000"/>
                  </a:ext>
                </a:extLst>
              </a:tr>
              <a:tr h="123539">
                <a:tc>
                  <a:txBody>
                    <a:bodyPr/>
                    <a:lstStyle/>
                    <a:p>
                      <a:pPr marR="5080" algn="ctr">
                        <a:lnSpc>
                          <a:spcPts val="860"/>
                        </a:lnSpc>
                        <a:spcBef>
                          <a:spcPts val="10"/>
                        </a:spcBef>
                      </a:pPr>
                      <a:r>
                        <a:rPr sz="800" spc="-5">
                          <a:latin typeface="Verdana"/>
                          <a:cs typeface="Verdana"/>
                        </a:rPr>
                        <a:t>and</a:t>
                      </a:r>
                      <a:endParaRPr sz="800">
                        <a:latin typeface="Verdana"/>
                        <a:cs typeface="Verdana"/>
                      </a:endParaRPr>
                    </a:p>
                  </a:txBody>
                  <a:tcPr marL="0" marR="0" marT="1270" marB="0">
                    <a:lnR w="28575">
                      <a:solidFill>
                        <a:srgbClr val="D9D9D9"/>
                      </a:solidFill>
                      <a:prstDash val="solid"/>
                    </a:lnR>
                    <a:solidFill>
                      <a:srgbClr val="FFFFFF"/>
                    </a:solidFill>
                  </a:tcPr>
                </a:tc>
                <a:tc>
                  <a:txBody>
                    <a:bodyPr/>
                    <a:lstStyle/>
                    <a:p>
                      <a:pPr algn="ctr">
                        <a:lnSpc>
                          <a:spcPts val="860"/>
                        </a:lnSpc>
                        <a:spcBef>
                          <a:spcPts val="10"/>
                        </a:spcBef>
                      </a:pPr>
                      <a:r>
                        <a:rPr sz="800">
                          <a:latin typeface="Verdana"/>
                          <a:cs typeface="Verdana"/>
                        </a:rPr>
                        <a:t>interfaces</a:t>
                      </a:r>
                    </a:p>
                  </a:txBody>
                  <a:tcPr marL="0" marR="0" marT="1270" marB="0">
                    <a:lnL w="28575">
                      <a:solidFill>
                        <a:srgbClr val="D9D9D9"/>
                      </a:solidFill>
                      <a:prstDash val="solid"/>
                    </a:lnL>
                    <a:lnR w="28575">
                      <a:solidFill>
                        <a:srgbClr val="D9D9D9"/>
                      </a:solidFill>
                      <a:prstDash val="solid"/>
                    </a:lnR>
                    <a:solidFill>
                      <a:srgbClr val="FFFFFF"/>
                    </a:solidFill>
                  </a:tcPr>
                </a:tc>
                <a:tc>
                  <a:txBody>
                    <a:bodyPr/>
                    <a:lstStyle/>
                    <a:p>
                      <a:pPr algn="ctr">
                        <a:lnSpc>
                          <a:spcPts val="860"/>
                        </a:lnSpc>
                        <a:spcBef>
                          <a:spcPts val="10"/>
                        </a:spcBef>
                      </a:pPr>
                      <a:r>
                        <a:rPr sz="800" spc="-5">
                          <a:latin typeface="Verdana"/>
                          <a:cs typeface="Verdana"/>
                        </a:rPr>
                        <a:t>and</a:t>
                      </a:r>
                      <a:endParaRPr sz="800">
                        <a:latin typeface="Verdana"/>
                        <a:cs typeface="Verdana"/>
                      </a:endParaRPr>
                    </a:p>
                  </a:txBody>
                  <a:tcPr marL="0" marR="0" marT="1270" marB="0">
                    <a:lnL w="28575">
                      <a:solidFill>
                        <a:srgbClr val="D9D9D9"/>
                      </a:solidFill>
                      <a:prstDash val="solid"/>
                    </a:lnL>
                    <a:lnR w="28575">
                      <a:solidFill>
                        <a:srgbClr val="D9D9D9"/>
                      </a:solidFill>
                      <a:prstDash val="solid"/>
                    </a:lnR>
                    <a:solidFill>
                      <a:srgbClr val="FFFFFF"/>
                    </a:solidFill>
                  </a:tcPr>
                </a:tc>
                <a:tc>
                  <a:txBody>
                    <a:bodyPr/>
                    <a:lstStyle/>
                    <a:p>
                      <a:pPr algn="ctr">
                        <a:lnSpc>
                          <a:spcPts val="860"/>
                        </a:lnSpc>
                        <a:spcBef>
                          <a:spcPts val="10"/>
                        </a:spcBef>
                      </a:pPr>
                      <a:r>
                        <a:rPr sz="800">
                          <a:latin typeface="Verdana"/>
                          <a:cs typeface="Verdana"/>
                        </a:rPr>
                        <a:t>Dup,</a:t>
                      </a:r>
                    </a:p>
                  </a:txBody>
                  <a:tcPr marL="0" marR="0" marT="1270" marB="0">
                    <a:lnL w="28575">
                      <a:solidFill>
                        <a:srgbClr val="D9D9D9"/>
                      </a:solidFill>
                      <a:prstDash val="solid"/>
                    </a:lnL>
                    <a:lnR w="53975">
                      <a:solidFill>
                        <a:srgbClr val="FFFFFF"/>
                      </a:solidFill>
                      <a:prstDash val="solid"/>
                    </a:lnR>
                    <a:solidFill>
                      <a:srgbClr val="FFFFFF"/>
                    </a:solidFill>
                  </a:tcPr>
                </a:tc>
                <a:tc>
                  <a:txBody>
                    <a:bodyPr/>
                    <a:lstStyle/>
                    <a:p>
                      <a:pPr marL="57150" algn="ctr">
                        <a:lnSpc>
                          <a:spcPts val="875"/>
                        </a:lnSpc>
                      </a:pPr>
                      <a:r>
                        <a:rPr sz="800">
                          <a:latin typeface="Verdana"/>
                          <a:cs typeface="Verdana"/>
                        </a:rPr>
                        <a:t>&amp;</a:t>
                      </a:r>
                      <a:r>
                        <a:rPr sz="800" spc="-5">
                          <a:latin typeface="Verdana"/>
                          <a:cs typeface="Verdana"/>
                        </a:rPr>
                        <a:t> </a:t>
                      </a:r>
                      <a:r>
                        <a:rPr sz="800">
                          <a:latin typeface="Verdana"/>
                          <a:cs typeface="Verdana"/>
                        </a:rPr>
                        <a:t>NRT</a:t>
                      </a:r>
                    </a:p>
                  </a:txBody>
                  <a:tcPr marL="0" marR="0" marT="0" marB="0">
                    <a:lnL w="53975">
                      <a:solidFill>
                        <a:srgbClr val="FFFFFF"/>
                      </a:solidFill>
                      <a:prstDash val="solid"/>
                    </a:lnL>
                    <a:solidFill>
                      <a:srgbClr val="FFFFFF"/>
                    </a:solidFill>
                  </a:tcPr>
                </a:tc>
                <a:extLst>
                  <a:ext uri="{0D108BD9-81ED-4DB2-BD59-A6C34878D82A}">
                    <a16:rowId xmlns:a16="http://schemas.microsoft.com/office/drawing/2014/main" val="10001"/>
                  </a:ext>
                </a:extLst>
              </a:tr>
              <a:tr h="55340">
                <a:tc rowSpan="2">
                  <a:txBody>
                    <a:bodyPr/>
                    <a:lstStyle/>
                    <a:p>
                      <a:pPr marL="39370">
                        <a:lnSpc>
                          <a:spcPts val="860"/>
                        </a:lnSpc>
                      </a:pPr>
                      <a:r>
                        <a:rPr sz="800" spc="-5">
                          <a:latin typeface="Verdana"/>
                          <a:cs typeface="Verdana"/>
                        </a:rPr>
                        <a:t>Customize</a:t>
                      </a:r>
                      <a:endParaRPr sz="800">
                        <a:latin typeface="Verdana"/>
                        <a:cs typeface="Verdana"/>
                      </a:endParaRPr>
                    </a:p>
                  </a:txBody>
                  <a:tcPr marL="0" marR="0" marT="0" marB="0">
                    <a:lnR w="28575">
                      <a:solidFill>
                        <a:srgbClr val="D9D9D9"/>
                      </a:solidFill>
                      <a:prstDash val="solid"/>
                    </a:lnR>
                    <a:solidFill>
                      <a:srgbClr val="FFFFFF"/>
                    </a:solidFill>
                  </a:tcPr>
                </a:tc>
                <a:tc rowSpan="2">
                  <a:txBody>
                    <a:bodyPr/>
                    <a:lstStyle/>
                    <a:p>
                      <a:pPr algn="ctr">
                        <a:lnSpc>
                          <a:spcPts val="860"/>
                        </a:lnSpc>
                      </a:pPr>
                      <a:r>
                        <a:rPr sz="800" spc="-5">
                          <a:latin typeface="Verdana"/>
                          <a:cs typeface="Verdana"/>
                        </a:rPr>
                        <a:t>and</a:t>
                      </a:r>
                      <a:endParaRPr sz="800">
                        <a:latin typeface="Verdana"/>
                        <a:cs typeface="Verdana"/>
                      </a:endParaRPr>
                    </a:p>
                  </a:txBody>
                  <a:tcPr marL="0" marR="0" marT="0" marB="0">
                    <a:lnL w="28575">
                      <a:solidFill>
                        <a:srgbClr val="D9D9D9"/>
                      </a:solidFill>
                      <a:prstDash val="solid"/>
                    </a:lnL>
                    <a:lnR w="28575">
                      <a:solidFill>
                        <a:srgbClr val="D9D9D9"/>
                      </a:solidFill>
                      <a:prstDash val="solid"/>
                    </a:lnR>
                    <a:solidFill>
                      <a:srgbClr val="FFFFFF"/>
                    </a:solidFill>
                  </a:tcPr>
                </a:tc>
                <a:tc rowSpan="2">
                  <a:txBody>
                    <a:bodyPr/>
                    <a:lstStyle/>
                    <a:p>
                      <a:pPr marL="31115">
                        <a:lnSpc>
                          <a:spcPts val="860"/>
                        </a:lnSpc>
                      </a:pPr>
                      <a:r>
                        <a:rPr sz="800">
                          <a:latin typeface="Verdana"/>
                          <a:cs typeface="Verdana"/>
                        </a:rPr>
                        <a:t>Integration</a:t>
                      </a:r>
                    </a:p>
                  </a:txBody>
                  <a:tcPr marL="0" marR="0" marT="0" marB="0">
                    <a:lnL w="28575">
                      <a:solidFill>
                        <a:srgbClr val="D9D9D9"/>
                      </a:solidFill>
                      <a:prstDash val="solid"/>
                    </a:lnL>
                    <a:lnR w="28575">
                      <a:solidFill>
                        <a:srgbClr val="D9D9D9"/>
                      </a:solidFill>
                      <a:prstDash val="solid"/>
                    </a:lnR>
                    <a:solidFill>
                      <a:srgbClr val="FFFFFF"/>
                    </a:solidFill>
                  </a:tcPr>
                </a:tc>
                <a:tc rowSpan="2">
                  <a:txBody>
                    <a:bodyPr/>
                    <a:lstStyle/>
                    <a:p>
                      <a:pPr marL="127000">
                        <a:lnSpc>
                          <a:spcPts val="860"/>
                        </a:lnSpc>
                      </a:pPr>
                      <a:r>
                        <a:rPr sz="800" spc="-5">
                          <a:latin typeface="Verdana"/>
                          <a:cs typeface="Verdana"/>
                        </a:rPr>
                        <a:t>Migrate</a:t>
                      </a:r>
                      <a:endParaRPr sz="800">
                        <a:latin typeface="Verdana"/>
                        <a:cs typeface="Verdana"/>
                      </a:endParaRPr>
                    </a:p>
                  </a:txBody>
                  <a:tcPr marL="0" marR="0" marT="0" marB="0">
                    <a:lnL w="28575">
                      <a:solidFill>
                        <a:srgbClr val="D9D9D9"/>
                      </a:solidFill>
                      <a:prstDash val="solid"/>
                    </a:lnL>
                    <a:lnR w="53975">
                      <a:solidFill>
                        <a:srgbClr val="FFFFFF"/>
                      </a:solidFill>
                      <a:prstDash val="solid"/>
                    </a:lnR>
                    <a:solidFill>
                      <a:srgbClr val="FFFFFF"/>
                    </a:solidFill>
                  </a:tcPr>
                </a:tc>
                <a:tc>
                  <a:txBody>
                    <a:bodyPr/>
                    <a:lstStyle/>
                    <a:p>
                      <a:pPr>
                        <a:lnSpc>
                          <a:spcPct val="100000"/>
                        </a:lnSpc>
                      </a:pPr>
                      <a:endParaRPr sz="200">
                        <a:latin typeface="Times New Roman"/>
                        <a:cs typeface="Times New Roman"/>
                      </a:endParaRPr>
                    </a:p>
                  </a:txBody>
                  <a:tcPr marL="0" marR="0" marT="0" marB="0">
                    <a:lnL w="53975">
                      <a:solidFill>
                        <a:srgbClr val="FFFFFF"/>
                      </a:solidFill>
                      <a:prstDash val="solid"/>
                    </a:lnL>
                    <a:lnB w="76200">
                      <a:solidFill>
                        <a:srgbClr val="FFFFFF"/>
                      </a:solidFill>
                      <a:prstDash val="solid"/>
                    </a:lnB>
                    <a:solidFill>
                      <a:srgbClr val="FFFFFF"/>
                    </a:solidFill>
                  </a:tcPr>
                </a:tc>
                <a:extLst>
                  <a:ext uri="{0D108BD9-81ED-4DB2-BD59-A6C34878D82A}">
                    <a16:rowId xmlns:a16="http://schemas.microsoft.com/office/drawing/2014/main" val="10002"/>
                  </a:ext>
                </a:extLst>
              </a:tr>
              <a:tr h="66579">
                <a:tc vMerge="1">
                  <a:txBody>
                    <a:bodyPr/>
                    <a:lstStyle/>
                    <a:p>
                      <a:endParaRPr/>
                    </a:p>
                  </a:txBody>
                  <a:tcPr marL="0" marR="0" marT="0" marB="0">
                    <a:lnR w="28575">
                      <a:solidFill>
                        <a:srgbClr val="D9D9D9"/>
                      </a:solidFill>
                      <a:prstDash val="solid"/>
                    </a:lnR>
                    <a:solidFill>
                      <a:srgbClr val="FFFFFF"/>
                    </a:solidFill>
                  </a:tcPr>
                </a:tc>
                <a:tc vMerge="1">
                  <a:txBody>
                    <a:bodyPr/>
                    <a:lstStyle/>
                    <a:p>
                      <a:endParaRPr/>
                    </a:p>
                  </a:txBody>
                  <a:tcPr marL="0" marR="0" marT="0" marB="0">
                    <a:lnL w="28575">
                      <a:solidFill>
                        <a:srgbClr val="D9D9D9"/>
                      </a:solidFill>
                      <a:prstDash val="solid"/>
                    </a:lnL>
                    <a:lnR w="28575">
                      <a:solidFill>
                        <a:srgbClr val="D9D9D9"/>
                      </a:solidFill>
                      <a:prstDash val="solid"/>
                    </a:lnR>
                    <a:solidFill>
                      <a:srgbClr val="FFFFFF"/>
                    </a:solidFill>
                  </a:tcPr>
                </a:tc>
                <a:tc vMerge="1">
                  <a:txBody>
                    <a:bodyPr/>
                    <a:lstStyle/>
                    <a:p>
                      <a:endParaRPr/>
                    </a:p>
                  </a:txBody>
                  <a:tcPr marL="0" marR="0" marT="0" marB="0">
                    <a:lnL w="28575">
                      <a:solidFill>
                        <a:srgbClr val="D9D9D9"/>
                      </a:solidFill>
                      <a:prstDash val="solid"/>
                    </a:lnL>
                    <a:lnR w="28575">
                      <a:solidFill>
                        <a:srgbClr val="D9D9D9"/>
                      </a:solidFill>
                      <a:prstDash val="solid"/>
                    </a:lnR>
                    <a:solidFill>
                      <a:srgbClr val="FFFFFF"/>
                    </a:solidFill>
                  </a:tcPr>
                </a:tc>
                <a:tc vMerge="1">
                  <a:txBody>
                    <a:bodyPr/>
                    <a:lstStyle/>
                    <a:p>
                      <a:endParaRPr/>
                    </a:p>
                  </a:txBody>
                  <a:tcPr marL="0" marR="0" marT="0" marB="0">
                    <a:lnL w="28575">
                      <a:solidFill>
                        <a:srgbClr val="D9D9D9"/>
                      </a:solidFill>
                      <a:prstDash val="solid"/>
                    </a:lnL>
                    <a:lnR w="53975">
                      <a:solidFill>
                        <a:srgbClr val="FFFFFF"/>
                      </a:solidFill>
                      <a:prstDash val="solid"/>
                    </a:lnR>
                    <a:solidFill>
                      <a:srgbClr val="FFFFFF"/>
                    </a:solidFill>
                  </a:tcPr>
                </a:tc>
                <a:tc rowSpan="3">
                  <a:txBody>
                    <a:bodyPr/>
                    <a:lstStyle/>
                    <a:p>
                      <a:pPr>
                        <a:lnSpc>
                          <a:spcPct val="100000"/>
                        </a:lnSpc>
                        <a:spcBef>
                          <a:spcPts val="30"/>
                        </a:spcBef>
                      </a:pPr>
                      <a:endParaRPr sz="800">
                        <a:latin typeface="Times New Roman"/>
                        <a:cs typeface="Times New Roman"/>
                      </a:endParaRPr>
                    </a:p>
                    <a:p>
                      <a:pPr marL="107950">
                        <a:lnSpc>
                          <a:spcPct val="100000"/>
                        </a:lnSpc>
                      </a:pPr>
                      <a:r>
                        <a:rPr sz="800">
                          <a:latin typeface="Verdana"/>
                          <a:cs typeface="Verdana"/>
                        </a:rPr>
                        <a:t>Deploy</a:t>
                      </a:r>
                      <a:r>
                        <a:rPr sz="800" spc="-40">
                          <a:latin typeface="Verdana"/>
                          <a:cs typeface="Verdana"/>
                        </a:rPr>
                        <a:t> </a:t>
                      </a:r>
                      <a:r>
                        <a:rPr sz="800">
                          <a:latin typeface="Verdana"/>
                          <a:cs typeface="Verdana"/>
                        </a:rPr>
                        <a:t>Package</a:t>
                      </a:r>
                    </a:p>
                  </a:txBody>
                  <a:tcPr marL="0" marR="0" marT="3810" marB="0">
                    <a:lnL w="53975">
                      <a:solidFill>
                        <a:srgbClr val="FFFFFF"/>
                      </a:solidFill>
                      <a:prstDash val="solid"/>
                    </a:lnL>
                    <a:lnT w="76200">
                      <a:solidFill>
                        <a:srgbClr val="FFFFFF"/>
                      </a:solidFill>
                      <a:prstDash val="solid"/>
                    </a:lnT>
                    <a:lnB w="76200">
                      <a:solidFill>
                        <a:srgbClr val="FFFFFF"/>
                      </a:solidFill>
                      <a:prstDash val="solid"/>
                    </a:lnB>
                    <a:solidFill>
                      <a:srgbClr val="FFFFFF"/>
                    </a:solidFill>
                  </a:tcPr>
                </a:tc>
                <a:extLst>
                  <a:ext uri="{0D108BD9-81ED-4DB2-BD59-A6C34878D82A}">
                    <a16:rowId xmlns:a16="http://schemas.microsoft.com/office/drawing/2014/main" val="10003"/>
                  </a:ext>
                </a:extLst>
              </a:tr>
              <a:tr h="181832">
                <a:tc>
                  <a:txBody>
                    <a:bodyPr/>
                    <a:lstStyle/>
                    <a:p>
                      <a:pPr marR="1905" algn="ctr">
                        <a:lnSpc>
                          <a:spcPct val="100000"/>
                        </a:lnSpc>
                      </a:pPr>
                      <a:r>
                        <a:rPr sz="800">
                          <a:latin typeface="Verdana"/>
                          <a:cs typeface="Verdana"/>
                        </a:rPr>
                        <a:t>Processes</a:t>
                      </a:r>
                    </a:p>
                  </a:txBody>
                  <a:tcPr marL="0" marR="0" marT="0" marB="0">
                    <a:lnR w="28575">
                      <a:solidFill>
                        <a:srgbClr val="D9D9D9"/>
                      </a:solidFill>
                      <a:prstDash val="solid"/>
                    </a:lnR>
                    <a:lnB w="76200">
                      <a:solidFill>
                        <a:srgbClr val="FFFFFF"/>
                      </a:solidFill>
                      <a:prstDash val="solid"/>
                    </a:lnB>
                    <a:solidFill>
                      <a:srgbClr val="FFFFFF"/>
                    </a:solidFill>
                  </a:tcPr>
                </a:tc>
                <a:tc>
                  <a:txBody>
                    <a:bodyPr/>
                    <a:lstStyle/>
                    <a:p>
                      <a:pPr algn="ctr">
                        <a:lnSpc>
                          <a:spcPct val="100000"/>
                        </a:lnSpc>
                      </a:pPr>
                      <a:r>
                        <a:rPr sz="800">
                          <a:latin typeface="Verdana"/>
                          <a:cs typeface="Verdana"/>
                        </a:rPr>
                        <a:t>Integrations</a:t>
                      </a:r>
                    </a:p>
                  </a:txBody>
                  <a:tcPr marL="0" marR="0" marT="0" marB="0">
                    <a:lnL w="28575">
                      <a:solidFill>
                        <a:srgbClr val="D9D9D9"/>
                      </a:solidFill>
                      <a:prstDash val="solid"/>
                    </a:lnL>
                    <a:lnR w="28575">
                      <a:solidFill>
                        <a:srgbClr val="D9D9D9"/>
                      </a:solidFill>
                      <a:prstDash val="solid"/>
                    </a:lnR>
                    <a:lnB w="76200">
                      <a:solidFill>
                        <a:srgbClr val="FFFFFF"/>
                      </a:solidFill>
                      <a:prstDash val="solid"/>
                    </a:lnB>
                    <a:solidFill>
                      <a:srgbClr val="FFFFFF"/>
                    </a:solidFill>
                  </a:tcPr>
                </a:tc>
                <a:tc>
                  <a:txBody>
                    <a:bodyPr/>
                    <a:lstStyle/>
                    <a:p>
                      <a:pPr algn="ctr">
                        <a:lnSpc>
                          <a:spcPct val="100000"/>
                        </a:lnSpc>
                      </a:pPr>
                      <a:r>
                        <a:rPr sz="800">
                          <a:latin typeface="Verdana"/>
                          <a:cs typeface="Verdana"/>
                        </a:rPr>
                        <a:t>Test</a:t>
                      </a:r>
                    </a:p>
                  </a:txBody>
                  <a:tcPr marL="0" marR="0" marT="0" marB="0">
                    <a:lnL w="28575">
                      <a:solidFill>
                        <a:srgbClr val="D9D9D9"/>
                      </a:solidFill>
                      <a:prstDash val="solid"/>
                    </a:lnL>
                    <a:lnR w="28575">
                      <a:solidFill>
                        <a:srgbClr val="D9D9D9"/>
                      </a:solidFill>
                      <a:prstDash val="solid"/>
                    </a:lnR>
                    <a:lnB w="76200">
                      <a:solidFill>
                        <a:srgbClr val="FFFFFF"/>
                      </a:solidFill>
                      <a:prstDash val="solid"/>
                    </a:lnB>
                    <a:solidFill>
                      <a:srgbClr val="FFFFFF"/>
                    </a:solidFill>
                  </a:tcPr>
                </a:tc>
                <a:tc>
                  <a:txBody>
                    <a:bodyPr/>
                    <a:lstStyle/>
                    <a:p>
                      <a:pPr algn="ctr">
                        <a:lnSpc>
                          <a:spcPct val="100000"/>
                        </a:lnSpc>
                      </a:pPr>
                      <a:r>
                        <a:rPr sz="800" spc="-5">
                          <a:latin typeface="Verdana"/>
                          <a:cs typeface="Verdana"/>
                        </a:rPr>
                        <a:t>Data</a:t>
                      </a:r>
                      <a:endParaRPr sz="800">
                        <a:latin typeface="Verdana"/>
                        <a:cs typeface="Verdana"/>
                      </a:endParaRPr>
                    </a:p>
                  </a:txBody>
                  <a:tcPr marL="0" marR="0" marT="0" marB="0">
                    <a:lnL w="28575">
                      <a:solidFill>
                        <a:srgbClr val="D9D9D9"/>
                      </a:solidFill>
                      <a:prstDash val="solid"/>
                    </a:lnL>
                    <a:lnR w="53975">
                      <a:solidFill>
                        <a:srgbClr val="FFFFFF"/>
                      </a:solidFill>
                      <a:prstDash val="solid"/>
                    </a:lnR>
                    <a:lnB w="76200">
                      <a:solidFill>
                        <a:srgbClr val="FFFFFF"/>
                      </a:solidFill>
                      <a:prstDash val="solid"/>
                    </a:lnB>
                    <a:solidFill>
                      <a:srgbClr val="FFFFFF"/>
                    </a:solidFill>
                  </a:tcPr>
                </a:tc>
                <a:tc vMerge="1">
                  <a:txBody>
                    <a:bodyPr/>
                    <a:lstStyle/>
                    <a:p>
                      <a:endParaRPr/>
                    </a:p>
                  </a:txBody>
                  <a:tcPr marL="0" marR="0" marT="3810" marB="0">
                    <a:lnL w="53975">
                      <a:solidFill>
                        <a:srgbClr val="FFFFFF"/>
                      </a:solidFill>
                      <a:prstDash val="solid"/>
                    </a:lnL>
                    <a:lnT w="76200">
                      <a:solidFill>
                        <a:srgbClr val="FFFFFF"/>
                      </a:solidFill>
                      <a:prstDash val="solid"/>
                    </a:lnT>
                    <a:lnB w="76200">
                      <a:solidFill>
                        <a:srgbClr val="FFFFFF"/>
                      </a:solidFill>
                      <a:prstDash val="solid"/>
                    </a:lnB>
                    <a:solidFill>
                      <a:srgbClr val="FFFFFF"/>
                    </a:solidFill>
                  </a:tcPr>
                </a:tc>
                <a:extLst>
                  <a:ext uri="{0D108BD9-81ED-4DB2-BD59-A6C34878D82A}">
                    <a16:rowId xmlns:a16="http://schemas.microsoft.com/office/drawing/2014/main" val="10004"/>
                  </a:ext>
                </a:extLst>
              </a:tr>
              <a:tr h="112013">
                <a:tc rowSpan="2">
                  <a:txBody>
                    <a:bodyPr/>
                    <a:lstStyle/>
                    <a:p>
                      <a:pPr marL="135890">
                        <a:lnSpc>
                          <a:spcPts val="860"/>
                        </a:lnSpc>
                        <a:spcBef>
                          <a:spcPts val="204"/>
                        </a:spcBef>
                      </a:pPr>
                      <a:r>
                        <a:rPr sz="800">
                          <a:latin typeface="Verdana"/>
                          <a:cs typeface="Verdana"/>
                        </a:rPr>
                        <a:t>Create</a:t>
                      </a:r>
                    </a:p>
                  </a:txBody>
                  <a:tcPr marL="0" marR="0" marT="26034" marB="0">
                    <a:lnR w="28575">
                      <a:solidFill>
                        <a:srgbClr val="D9D9D9"/>
                      </a:solidFill>
                      <a:prstDash val="solid"/>
                    </a:lnR>
                    <a:lnT w="76200">
                      <a:solidFill>
                        <a:srgbClr val="FFFFFF"/>
                      </a:solidFill>
                      <a:prstDash val="solid"/>
                    </a:lnT>
                    <a:solidFill>
                      <a:srgbClr val="FFFFFF"/>
                    </a:solidFill>
                  </a:tcPr>
                </a:tc>
                <a:tc rowSpan="3" gridSpan="3">
                  <a:txBody>
                    <a:bodyPr/>
                    <a:lstStyle/>
                    <a:p>
                      <a:pPr>
                        <a:lnSpc>
                          <a:spcPct val="100000"/>
                        </a:lnSpc>
                      </a:pPr>
                      <a:endParaRPr sz="1100">
                        <a:latin typeface="Times New Roman"/>
                        <a:cs typeface="Times New Roman"/>
                      </a:endParaRPr>
                    </a:p>
                  </a:txBody>
                  <a:tcPr marL="0" marR="0" marT="0" marB="0">
                    <a:lnL w="28575">
                      <a:solidFill>
                        <a:srgbClr val="D9D9D9"/>
                      </a:solidFill>
                      <a:prstDash val="solid"/>
                    </a:lnL>
                    <a:lnR w="53975">
                      <a:solidFill>
                        <a:srgbClr val="FFFFFF"/>
                      </a:solidFill>
                      <a:prstDash val="solid"/>
                    </a:lnR>
                    <a:lnT w="76200">
                      <a:solidFill>
                        <a:srgbClr val="FFFFFF"/>
                      </a:solidFill>
                      <a:prstDash val="solid"/>
                    </a:lnT>
                  </a:tcPr>
                </a:tc>
                <a:tc rowSpan="3" hMerge="1">
                  <a:txBody>
                    <a:bodyPr/>
                    <a:lstStyle/>
                    <a:p>
                      <a:endParaRPr/>
                    </a:p>
                  </a:txBody>
                  <a:tcPr marL="0" marR="0" marT="0" marB="0"/>
                </a:tc>
                <a:tc rowSpan="3" hMerge="1">
                  <a:txBody>
                    <a:bodyPr/>
                    <a:lstStyle/>
                    <a:p>
                      <a:endParaRPr/>
                    </a:p>
                  </a:txBody>
                  <a:tcPr marL="0" marR="0" marT="0" marB="0"/>
                </a:tc>
                <a:tc vMerge="1">
                  <a:txBody>
                    <a:bodyPr/>
                    <a:lstStyle/>
                    <a:p>
                      <a:endParaRPr/>
                    </a:p>
                  </a:txBody>
                  <a:tcPr marL="0" marR="0" marT="3810" marB="0">
                    <a:lnL w="53975">
                      <a:solidFill>
                        <a:srgbClr val="FFFFFF"/>
                      </a:solidFill>
                      <a:prstDash val="solid"/>
                    </a:lnL>
                    <a:lnT w="76200">
                      <a:solidFill>
                        <a:srgbClr val="FFFFFF"/>
                      </a:solidFill>
                      <a:prstDash val="solid"/>
                    </a:lnT>
                    <a:lnB w="76200">
                      <a:solidFill>
                        <a:srgbClr val="FFFFFF"/>
                      </a:solidFill>
                      <a:prstDash val="solid"/>
                    </a:lnB>
                    <a:solidFill>
                      <a:srgbClr val="FFFFFF"/>
                    </a:solidFill>
                  </a:tcPr>
                </a:tc>
                <a:extLst>
                  <a:ext uri="{0D108BD9-81ED-4DB2-BD59-A6C34878D82A}">
                    <a16:rowId xmlns:a16="http://schemas.microsoft.com/office/drawing/2014/main" val="10005"/>
                  </a:ext>
                </a:extLst>
              </a:tr>
              <a:tr h="36226">
                <a:tc vMerge="1">
                  <a:txBody>
                    <a:bodyPr/>
                    <a:lstStyle/>
                    <a:p>
                      <a:endParaRPr/>
                    </a:p>
                  </a:txBody>
                  <a:tcPr marL="0" marR="0" marT="26034" marB="0">
                    <a:lnR w="28575">
                      <a:solidFill>
                        <a:srgbClr val="D9D9D9"/>
                      </a:solidFill>
                      <a:prstDash val="solid"/>
                    </a:lnR>
                    <a:lnT w="76200">
                      <a:solidFill>
                        <a:srgbClr val="FFFFFF"/>
                      </a:solidFill>
                      <a:prstDash val="solid"/>
                    </a:lnT>
                    <a:solidFill>
                      <a:srgbClr val="FFFFFF"/>
                    </a:solidFill>
                  </a:tcPr>
                </a:tc>
                <a:tc gridSpan="3" vMerge="1">
                  <a:txBody>
                    <a:bodyPr/>
                    <a:lstStyle/>
                    <a:p>
                      <a:endParaRPr/>
                    </a:p>
                  </a:txBody>
                  <a:tcPr marL="0" marR="0" marT="0" marB="0">
                    <a:lnL w="28575">
                      <a:solidFill>
                        <a:srgbClr val="D9D9D9"/>
                      </a:solidFill>
                      <a:prstDash val="solid"/>
                    </a:lnL>
                    <a:lnR w="53975">
                      <a:solidFill>
                        <a:srgbClr val="FFFFFF"/>
                      </a:solidFill>
                      <a:prstDash val="solid"/>
                    </a:lnR>
                    <a:lnT w="76200">
                      <a:solidFill>
                        <a:srgbClr val="FFFFFF"/>
                      </a:solidFill>
                      <a:prstDash val="solid"/>
                    </a:lnT>
                  </a:tcPr>
                </a:tc>
                <a:tc hMerge="1" vMerge="1">
                  <a:txBody>
                    <a:bodyPr/>
                    <a:lstStyle/>
                    <a:p>
                      <a:endParaRPr/>
                    </a:p>
                  </a:txBody>
                  <a:tcPr marL="0" marR="0" marT="0" marB="0"/>
                </a:tc>
                <a:tc hMerge="1" vMerge="1">
                  <a:txBody>
                    <a:bodyPr/>
                    <a:lstStyle/>
                    <a:p>
                      <a:endParaRPr/>
                    </a:p>
                  </a:txBody>
                  <a:tcPr marL="0" marR="0" marT="0" marB="0"/>
                </a:tc>
                <a:tc>
                  <a:txBody>
                    <a:bodyPr/>
                    <a:lstStyle/>
                    <a:p>
                      <a:pPr>
                        <a:lnSpc>
                          <a:spcPct val="100000"/>
                        </a:lnSpc>
                      </a:pPr>
                      <a:endParaRPr sz="100">
                        <a:latin typeface="Times New Roman"/>
                        <a:cs typeface="Times New Roman"/>
                      </a:endParaRPr>
                    </a:p>
                  </a:txBody>
                  <a:tcPr marL="0" marR="0" marT="0" marB="0">
                    <a:lnL w="53975">
                      <a:solidFill>
                        <a:srgbClr val="FFFFFF"/>
                      </a:solidFill>
                      <a:prstDash val="solid"/>
                    </a:lnL>
                    <a:lnT w="76200">
                      <a:solidFill>
                        <a:srgbClr val="FFFFFF"/>
                      </a:solidFill>
                      <a:prstDash val="solid"/>
                    </a:lnT>
                    <a:solidFill>
                      <a:srgbClr val="FFFFFF"/>
                    </a:solidFill>
                  </a:tcPr>
                </a:tc>
                <a:extLst>
                  <a:ext uri="{0D108BD9-81ED-4DB2-BD59-A6C34878D82A}">
                    <a16:rowId xmlns:a16="http://schemas.microsoft.com/office/drawing/2014/main" val="10006"/>
                  </a:ext>
                </a:extLst>
              </a:tr>
              <a:tr h="339439">
                <a:tc>
                  <a:txBody>
                    <a:bodyPr/>
                    <a:lstStyle/>
                    <a:p>
                      <a:pPr marL="3175" marR="6985" indent="-1905" algn="ctr">
                        <a:lnSpc>
                          <a:spcPct val="100000"/>
                        </a:lnSpc>
                      </a:pPr>
                      <a:r>
                        <a:rPr sz="800">
                          <a:latin typeface="Verdana"/>
                          <a:cs typeface="Verdana"/>
                        </a:rPr>
                        <a:t>Reports  </a:t>
                      </a:r>
                      <a:r>
                        <a:rPr sz="800" spc="-5">
                          <a:latin typeface="Verdana"/>
                          <a:cs typeface="Verdana"/>
                        </a:rPr>
                        <a:t>and  </a:t>
                      </a:r>
                      <a:r>
                        <a:rPr sz="800">
                          <a:latin typeface="Verdana"/>
                          <a:cs typeface="Verdana"/>
                        </a:rPr>
                        <a:t>D</a:t>
                      </a:r>
                      <a:r>
                        <a:rPr sz="800" spc="-5">
                          <a:latin typeface="Verdana"/>
                          <a:cs typeface="Verdana"/>
                        </a:rPr>
                        <a:t>a</a:t>
                      </a:r>
                      <a:r>
                        <a:rPr sz="800">
                          <a:latin typeface="Verdana"/>
                          <a:cs typeface="Verdana"/>
                        </a:rPr>
                        <a:t>s</a:t>
                      </a:r>
                      <a:r>
                        <a:rPr sz="800" spc="-5">
                          <a:latin typeface="Verdana"/>
                          <a:cs typeface="Verdana"/>
                        </a:rPr>
                        <a:t>h</a:t>
                      </a:r>
                      <a:r>
                        <a:rPr sz="800">
                          <a:latin typeface="Verdana"/>
                          <a:cs typeface="Verdana"/>
                        </a:rPr>
                        <a:t>bo</a:t>
                      </a:r>
                      <a:r>
                        <a:rPr sz="800" spc="-5">
                          <a:latin typeface="Verdana"/>
                          <a:cs typeface="Verdana"/>
                        </a:rPr>
                        <a:t>a</a:t>
                      </a:r>
                      <a:r>
                        <a:rPr sz="800">
                          <a:latin typeface="Verdana"/>
                          <a:cs typeface="Verdana"/>
                        </a:rPr>
                        <a:t>r</a:t>
                      </a:r>
                      <a:r>
                        <a:rPr sz="800" spc="-10">
                          <a:latin typeface="Verdana"/>
                          <a:cs typeface="Verdana"/>
                        </a:rPr>
                        <a:t>d</a:t>
                      </a:r>
                      <a:r>
                        <a:rPr sz="800">
                          <a:latin typeface="Verdana"/>
                          <a:cs typeface="Verdana"/>
                        </a:rPr>
                        <a:t>s</a:t>
                      </a:r>
                    </a:p>
                  </a:txBody>
                  <a:tcPr marL="0" marR="0" marT="0" marB="0">
                    <a:lnR w="28575">
                      <a:solidFill>
                        <a:srgbClr val="D9D9D9"/>
                      </a:solidFill>
                      <a:prstDash val="solid"/>
                    </a:lnR>
                    <a:solidFill>
                      <a:srgbClr val="FFFFFF"/>
                    </a:solidFill>
                  </a:tcPr>
                </a:tc>
                <a:tc gridSpan="3" vMerge="1">
                  <a:txBody>
                    <a:bodyPr/>
                    <a:lstStyle/>
                    <a:p>
                      <a:endParaRPr/>
                    </a:p>
                  </a:txBody>
                  <a:tcPr marL="0" marR="0" marT="0" marB="0">
                    <a:lnL w="28575">
                      <a:solidFill>
                        <a:srgbClr val="D9D9D9"/>
                      </a:solidFill>
                      <a:prstDash val="solid"/>
                    </a:lnL>
                    <a:lnR w="53975">
                      <a:solidFill>
                        <a:srgbClr val="FFFFFF"/>
                      </a:solidFill>
                      <a:prstDash val="solid"/>
                    </a:lnR>
                    <a:lnT w="76200">
                      <a:solidFill>
                        <a:srgbClr val="FFFFFF"/>
                      </a:solidFill>
                      <a:prstDash val="solid"/>
                    </a:lnT>
                  </a:tcPr>
                </a:tc>
                <a:tc hMerge="1" vMerge="1">
                  <a:txBody>
                    <a:bodyPr/>
                    <a:lstStyle/>
                    <a:p>
                      <a:endParaRPr/>
                    </a:p>
                  </a:txBody>
                  <a:tcPr marL="0" marR="0" marT="0" marB="0"/>
                </a:tc>
                <a:tc hMerge="1" vMerge="1">
                  <a:txBody>
                    <a:bodyPr/>
                    <a:lstStyle/>
                    <a:p>
                      <a:endParaRPr/>
                    </a:p>
                  </a:txBody>
                  <a:tcPr marL="0" marR="0" marT="0" marB="0"/>
                </a:tc>
                <a:tc>
                  <a:txBody>
                    <a:bodyPr/>
                    <a:lstStyle/>
                    <a:p>
                      <a:pPr marL="339090" marR="93345" indent="-219710">
                        <a:lnSpc>
                          <a:spcPct val="100000"/>
                        </a:lnSpc>
                        <a:spcBef>
                          <a:spcPts val="270"/>
                        </a:spcBef>
                      </a:pPr>
                      <a:r>
                        <a:rPr sz="800">
                          <a:latin typeface="Verdana"/>
                          <a:cs typeface="Verdana"/>
                        </a:rPr>
                        <a:t>Create</a:t>
                      </a:r>
                      <a:r>
                        <a:rPr sz="800" spc="-85">
                          <a:latin typeface="Verdana"/>
                          <a:cs typeface="Verdana"/>
                        </a:rPr>
                        <a:t> </a:t>
                      </a:r>
                      <a:r>
                        <a:rPr sz="800" spc="-5">
                          <a:latin typeface="Verdana"/>
                          <a:cs typeface="Verdana"/>
                        </a:rPr>
                        <a:t>Training  Guides</a:t>
                      </a:r>
                      <a:endParaRPr sz="800">
                        <a:latin typeface="Verdana"/>
                        <a:cs typeface="Verdana"/>
                      </a:endParaRPr>
                    </a:p>
                  </a:txBody>
                  <a:tcPr marL="0" marR="0" marT="34290" marB="0">
                    <a:lnL w="53975">
                      <a:solidFill>
                        <a:srgbClr val="FFFFFF"/>
                      </a:solidFill>
                      <a:prstDash val="solid"/>
                    </a:lnL>
                    <a:solidFill>
                      <a:srgbClr val="FFFFFF"/>
                    </a:solidFill>
                  </a:tcPr>
                </a:tc>
                <a:extLst>
                  <a:ext uri="{0D108BD9-81ED-4DB2-BD59-A6C34878D82A}">
                    <a16:rowId xmlns:a16="http://schemas.microsoft.com/office/drawing/2014/main" val="10007"/>
                  </a:ext>
                </a:extLst>
              </a:tr>
            </a:tbl>
          </a:graphicData>
        </a:graphic>
      </p:graphicFrame>
      <p:sp>
        <p:nvSpPr>
          <p:cNvPr id="41" name="object 41"/>
          <p:cNvSpPr txBox="1"/>
          <p:nvPr/>
        </p:nvSpPr>
        <p:spPr>
          <a:xfrm>
            <a:off x="380187" y="5992469"/>
            <a:ext cx="721360" cy="482600"/>
          </a:xfrm>
          <a:prstGeom prst="rect">
            <a:avLst/>
          </a:prstGeom>
        </p:spPr>
        <p:txBody>
          <a:bodyPr vert="horz" wrap="square" lIns="0" tIns="12065" rIns="0" bIns="0" rtlCol="0">
            <a:spAutoFit/>
          </a:bodyPr>
          <a:lstStyle/>
          <a:p>
            <a:pPr marL="80645" marR="5080" indent="-68580">
              <a:lnSpc>
                <a:spcPct val="100000"/>
              </a:lnSpc>
              <a:spcBef>
                <a:spcPts val="95"/>
              </a:spcBef>
            </a:pPr>
            <a:r>
              <a:rPr sz="1000" b="1" spc="-5">
                <a:solidFill>
                  <a:srgbClr val="12ABDB"/>
                </a:solidFill>
                <a:latin typeface="Verdana"/>
                <a:cs typeface="Verdana"/>
              </a:rPr>
              <a:t>Pr</a:t>
            </a:r>
            <a:r>
              <a:rPr sz="1000" b="1" spc="-15">
                <a:solidFill>
                  <a:srgbClr val="12ABDB"/>
                </a:solidFill>
                <a:latin typeface="Verdana"/>
                <a:cs typeface="Verdana"/>
              </a:rPr>
              <a:t>i</a:t>
            </a:r>
            <a:r>
              <a:rPr sz="1000" b="1" spc="-5">
                <a:solidFill>
                  <a:srgbClr val="12ABDB"/>
                </a:solidFill>
                <a:latin typeface="Verdana"/>
                <a:cs typeface="Verdana"/>
              </a:rPr>
              <a:t>o</a:t>
            </a:r>
            <a:r>
              <a:rPr sz="1000" b="1" spc="-10">
                <a:solidFill>
                  <a:srgbClr val="12ABDB"/>
                </a:solidFill>
                <a:latin typeface="Verdana"/>
                <a:cs typeface="Verdana"/>
              </a:rPr>
              <a:t>r</a:t>
            </a:r>
            <a:r>
              <a:rPr sz="1000" b="1" spc="-5">
                <a:solidFill>
                  <a:srgbClr val="12ABDB"/>
                </a:solidFill>
                <a:latin typeface="Verdana"/>
                <a:cs typeface="Verdana"/>
              </a:rPr>
              <a:t>ti</a:t>
            </a:r>
            <a:r>
              <a:rPr sz="1000" b="1" spc="-10">
                <a:solidFill>
                  <a:srgbClr val="12ABDB"/>
                </a:solidFill>
                <a:latin typeface="Verdana"/>
                <a:cs typeface="Verdana"/>
              </a:rPr>
              <a:t>sed  </a:t>
            </a:r>
            <a:r>
              <a:rPr sz="1000" b="1" spc="-5">
                <a:solidFill>
                  <a:srgbClr val="12ABDB"/>
                </a:solidFill>
                <a:latin typeface="Verdana"/>
                <a:cs typeface="Verdana"/>
              </a:rPr>
              <a:t>Product  </a:t>
            </a:r>
            <a:r>
              <a:rPr sz="1000" b="1" spc="-10">
                <a:solidFill>
                  <a:srgbClr val="12ABDB"/>
                </a:solidFill>
                <a:latin typeface="Verdana"/>
                <a:cs typeface="Verdana"/>
              </a:rPr>
              <a:t>Backlog</a:t>
            </a:r>
            <a:endParaRPr sz="1000">
              <a:latin typeface="Verdana"/>
              <a:cs typeface="Verdana"/>
            </a:endParaRPr>
          </a:p>
        </p:txBody>
      </p:sp>
      <p:sp>
        <p:nvSpPr>
          <p:cNvPr id="42" name="object 42"/>
          <p:cNvSpPr txBox="1"/>
          <p:nvPr/>
        </p:nvSpPr>
        <p:spPr>
          <a:xfrm>
            <a:off x="4110990" y="5992469"/>
            <a:ext cx="835025" cy="330200"/>
          </a:xfrm>
          <a:prstGeom prst="rect">
            <a:avLst/>
          </a:prstGeom>
        </p:spPr>
        <p:txBody>
          <a:bodyPr vert="horz" wrap="square" lIns="0" tIns="12065" rIns="0" bIns="0" rtlCol="0">
            <a:spAutoFit/>
          </a:bodyPr>
          <a:lstStyle/>
          <a:p>
            <a:pPr marL="12700" marR="5080" indent="62230">
              <a:lnSpc>
                <a:spcPct val="100000"/>
              </a:lnSpc>
              <a:spcBef>
                <a:spcPts val="95"/>
              </a:spcBef>
            </a:pPr>
            <a:r>
              <a:rPr sz="1000" b="1" spc="-10">
                <a:solidFill>
                  <a:srgbClr val="12ABDB"/>
                </a:solidFill>
                <a:latin typeface="Verdana"/>
                <a:cs typeface="Verdana"/>
              </a:rPr>
              <a:t>Ready for  </a:t>
            </a:r>
            <a:r>
              <a:rPr sz="1000" b="1" spc="-15">
                <a:solidFill>
                  <a:srgbClr val="12ABDB"/>
                </a:solidFill>
                <a:latin typeface="Verdana"/>
                <a:cs typeface="Verdana"/>
              </a:rPr>
              <a:t>A</a:t>
            </a:r>
            <a:r>
              <a:rPr sz="1000" b="1" spc="-10">
                <a:solidFill>
                  <a:srgbClr val="12ABDB"/>
                </a:solidFill>
                <a:latin typeface="Verdana"/>
                <a:cs typeface="Verdana"/>
              </a:rPr>
              <a:t>c</a:t>
            </a:r>
            <a:r>
              <a:rPr sz="1000" b="1" spc="-5">
                <a:solidFill>
                  <a:srgbClr val="12ABDB"/>
                </a:solidFill>
                <a:latin typeface="Verdana"/>
                <a:cs typeface="Verdana"/>
              </a:rPr>
              <a:t>c</a:t>
            </a:r>
            <a:r>
              <a:rPr sz="1000" b="1" spc="-10">
                <a:solidFill>
                  <a:srgbClr val="12ABDB"/>
                </a:solidFill>
                <a:latin typeface="Verdana"/>
                <a:cs typeface="Verdana"/>
              </a:rPr>
              <a:t>eptance</a:t>
            </a:r>
            <a:endParaRPr sz="1000">
              <a:latin typeface="Verdana"/>
              <a:cs typeface="Verdana"/>
            </a:endParaRPr>
          </a:p>
        </p:txBody>
      </p:sp>
      <p:sp>
        <p:nvSpPr>
          <p:cNvPr id="43" name="object 43"/>
          <p:cNvSpPr txBox="1"/>
          <p:nvPr/>
        </p:nvSpPr>
        <p:spPr>
          <a:xfrm>
            <a:off x="3152013" y="5992469"/>
            <a:ext cx="712470" cy="482600"/>
          </a:xfrm>
          <a:prstGeom prst="rect">
            <a:avLst/>
          </a:prstGeom>
        </p:spPr>
        <p:txBody>
          <a:bodyPr vert="horz" wrap="square" lIns="0" tIns="12065" rIns="0" bIns="0" rtlCol="0">
            <a:spAutoFit/>
          </a:bodyPr>
          <a:lstStyle/>
          <a:p>
            <a:pPr marL="12700" marR="5080" indent="-635" algn="ctr">
              <a:lnSpc>
                <a:spcPct val="100000"/>
              </a:lnSpc>
              <a:spcBef>
                <a:spcPts val="95"/>
              </a:spcBef>
            </a:pPr>
            <a:r>
              <a:rPr sz="1000" b="1" spc="-10">
                <a:solidFill>
                  <a:srgbClr val="12ABDB"/>
                </a:solidFill>
                <a:latin typeface="Verdana"/>
                <a:cs typeface="Verdana"/>
              </a:rPr>
              <a:t>Release  Ready</a:t>
            </a:r>
            <a:r>
              <a:rPr sz="1000" b="1" spc="-60">
                <a:solidFill>
                  <a:srgbClr val="12ABDB"/>
                </a:solidFill>
                <a:latin typeface="Verdana"/>
                <a:cs typeface="Verdana"/>
              </a:rPr>
              <a:t> </a:t>
            </a:r>
            <a:r>
              <a:rPr sz="1000" b="1" spc="-10">
                <a:solidFill>
                  <a:srgbClr val="12ABDB"/>
                </a:solidFill>
                <a:latin typeface="Verdana"/>
                <a:cs typeface="Verdana"/>
              </a:rPr>
              <a:t>for  Final</a:t>
            </a:r>
            <a:r>
              <a:rPr sz="1000" b="1" spc="-40">
                <a:solidFill>
                  <a:srgbClr val="12ABDB"/>
                </a:solidFill>
                <a:latin typeface="Verdana"/>
                <a:cs typeface="Verdana"/>
              </a:rPr>
              <a:t> </a:t>
            </a:r>
            <a:r>
              <a:rPr sz="1000" b="1" spc="-5">
                <a:solidFill>
                  <a:srgbClr val="12ABDB"/>
                </a:solidFill>
                <a:latin typeface="Verdana"/>
                <a:cs typeface="Verdana"/>
              </a:rPr>
              <a:t>QA</a:t>
            </a:r>
            <a:endParaRPr sz="1000">
              <a:latin typeface="Verdana"/>
              <a:cs typeface="Verdana"/>
            </a:endParaRPr>
          </a:p>
        </p:txBody>
      </p:sp>
      <p:sp>
        <p:nvSpPr>
          <p:cNvPr id="44" name="object 44"/>
          <p:cNvSpPr/>
          <p:nvPr/>
        </p:nvSpPr>
        <p:spPr>
          <a:xfrm>
            <a:off x="370827" y="5097398"/>
            <a:ext cx="286385" cy="357505"/>
          </a:xfrm>
          <a:custGeom>
            <a:avLst/>
            <a:gdLst/>
            <a:ahLst/>
            <a:cxnLst/>
            <a:rect l="l" t="t" r="r" b="b"/>
            <a:pathLst>
              <a:path w="286384" h="357504">
                <a:moveTo>
                  <a:pt x="130860" y="34925"/>
                </a:moveTo>
                <a:lnTo>
                  <a:pt x="19265" y="96519"/>
                </a:lnTo>
                <a:lnTo>
                  <a:pt x="118516" y="276225"/>
                </a:lnTo>
                <a:lnTo>
                  <a:pt x="62712" y="307085"/>
                </a:lnTo>
                <a:lnTo>
                  <a:pt x="235940" y="356997"/>
                </a:lnTo>
                <a:lnTo>
                  <a:pt x="277022" y="214629"/>
                </a:lnTo>
                <a:lnTo>
                  <a:pt x="230124" y="214629"/>
                </a:lnTo>
                <a:lnTo>
                  <a:pt x="130860" y="34925"/>
                </a:lnTo>
                <a:close/>
              </a:path>
              <a:path w="286384" h="357504">
                <a:moveTo>
                  <a:pt x="285927" y="183769"/>
                </a:moveTo>
                <a:lnTo>
                  <a:pt x="230124" y="214629"/>
                </a:lnTo>
                <a:lnTo>
                  <a:pt x="277022" y="214629"/>
                </a:lnTo>
                <a:lnTo>
                  <a:pt x="285927" y="183769"/>
                </a:lnTo>
                <a:close/>
              </a:path>
              <a:path w="286384" h="357504">
                <a:moveTo>
                  <a:pt x="119316" y="13969"/>
                </a:moveTo>
                <a:lnTo>
                  <a:pt x="7708" y="75564"/>
                </a:lnTo>
                <a:lnTo>
                  <a:pt x="15405" y="89534"/>
                </a:lnTo>
                <a:lnTo>
                  <a:pt x="127012" y="27939"/>
                </a:lnTo>
                <a:lnTo>
                  <a:pt x="119316" y="13969"/>
                </a:lnTo>
                <a:close/>
              </a:path>
              <a:path w="286384" h="357504">
                <a:moveTo>
                  <a:pt x="111607" y="0"/>
                </a:moveTo>
                <a:lnTo>
                  <a:pt x="0" y="61594"/>
                </a:lnTo>
                <a:lnTo>
                  <a:pt x="3848" y="68580"/>
                </a:lnTo>
                <a:lnTo>
                  <a:pt x="115455" y="6984"/>
                </a:lnTo>
                <a:lnTo>
                  <a:pt x="111607" y="0"/>
                </a:lnTo>
                <a:close/>
              </a:path>
            </a:pathLst>
          </a:custGeom>
          <a:solidFill>
            <a:srgbClr val="12ABDB"/>
          </a:solidFill>
        </p:spPr>
        <p:txBody>
          <a:bodyPr wrap="square" lIns="0" tIns="0" rIns="0" bIns="0" rtlCol="0"/>
          <a:lstStyle/>
          <a:p>
            <a:endParaRPr/>
          </a:p>
        </p:txBody>
      </p:sp>
      <p:sp>
        <p:nvSpPr>
          <p:cNvPr id="45" name="object 45"/>
          <p:cNvSpPr/>
          <p:nvPr/>
        </p:nvSpPr>
        <p:spPr>
          <a:xfrm>
            <a:off x="172212" y="4812791"/>
            <a:ext cx="274320" cy="274320"/>
          </a:xfrm>
          <a:custGeom>
            <a:avLst/>
            <a:gdLst/>
            <a:ahLst/>
            <a:cxnLst/>
            <a:rect l="l" t="t" r="r" b="b"/>
            <a:pathLst>
              <a:path w="274320" h="274320">
                <a:moveTo>
                  <a:pt x="137160" y="0"/>
                </a:moveTo>
                <a:lnTo>
                  <a:pt x="93805" y="6998"/>
                </a:lnTo>
                <a:lnTo>
                  <a:pt x="56153" y="26481"/>
                </a:lnTo>
                <a:lnTo>
                  <a:pt x="26462" y="56180"/>
                </a:lnTo>
                <a:lnTo>
                  <a:pt x="6992" y="93829"/>
                </a:lnTo>
                <a:lnTo>
                  <a:pt x="0" y="137159"/>
                </a:lnTo>
                <a:lnTo>
                  <a:pt x="6992" y="180490"/>
                </a:lnTo>
                <a:lnTo>
                  <a:pt x="26462" y="218139"/>
                </a:lnTo>
                <a:lnTo>
                  <a:pt x="56153" y="247838"/>
                </a:lnTo>
                <a:lnTo>
                  <a:pt x="93805" y="267321"/>
                </a:lnTo>
                <a:lnTo>
                  <a:pt x="137160" y="274319"/>
                </a:lnTo>
                <a:lnTo>
                  <a:pt x="180514" y="267321"/>
                </a:lnTo>
                <a:lnTo>
                  <a:pt x="218166" y="247838"/>
                </a:lnTo>
                <a:lnTo>
                  <a:pt x="247857" y="218139"/>
                </a:lnTo>
                <a:lnTo>
                  <a:pt x="267327" y="180490"/>
                </a:lnTo>
                <a:lnTo>
                  <a:pt x="274319" y="137159"/>
                </a:lnTo>
                <a:lnTo>
                  <a:pt x="267327" y="93829"/>
                </a:lnTo>
                <a:lnTo>
                  <a:pt x="247857" y="56180"/>
                </a:lnTo>
                <a:lnTo>
                  <a:pt x="218166" y="26481"/>
                </a:lnTo>
                <a:lnTo>
                  <a:pt x="180514" y="6998"/>
                </a:lnTo>
                <a:lnTo>
                  <a:pt x="137160" y="0"/>
                </a:lnTo>
                <a:close/>
              </a:path>
            </a:pathLst>
          </a:custGeom>
          <a:solidFill>
            <a:srgbClr val="12ABDB"/>
          </a:solidFill>
        </p:spPr>
        <p:txBody>
          <a:bodyPr wrap="square" lIns="0" tIns="0" rIns="0" bIns="0" rtlCol="0"/>
          <a:lstStyle/>
          <a:p>
            <a:endParaRPr/>
          </a:p>
        </p:txBody>
      </p:sp>
      <p:sp>
        <p:nvSpPr>
          <p:cNvPr id="46" name="object 46"/>
          <p:cNvSpPr txBox="1"/>
          <p:nvPr/>
        </p:nvSpPr>
        <p:spPr>
          <a:xfrm>
            <a:off x="256438" y="4868671"/>
            <a:ext cx="10668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1</a:t>
            </a:r>
            <a:endParaRPr sz="900">
              <a:latin typeface="Verdana"/>
              <a:cs typeface="Verdana"/>
            </a:endParaRPr>
          </a:p>
        </p:txBody>
      </p:sp>
      <p:sp>
        <p:nvSpPr>
          <p:cNvPr id="47" name="object 47"/>
          <p:cNvSpPr/>
          <p:nvPr/>
        </p:nvSpPr>
        <p:spPr>
          <a:xfrm>
            <a:off x="1931109" y="5322298"/>
            <a:ext cx="688340" cy="457834"/>
          </a:xfrm>
          <a:custGeom>
            <a:avLst/>
            <a:gdLst/>
            <a:ahLst/>
            <a:cxnLst/>
            <a:rect l="l" t="t" r="r" b="b"/>
            <a:pathLst>
              <a:path w="688339" h="457835">
                <a:moveTo>
                  <a:pt x="310343" y="0"/>
                </a:moveTo>
                <a:lnTo>
                  <a:pt x="264720" y="4970"/>
                </a:lnTo>
                <a:lnTo>
                  <a:pt x="223817" y="15910"/>
                </a:lnTo>
                <a:lnTo>
                  <a:pt x="185559" y="32387"/>
                </a:lnTo>
                <a:lnTo>
                  <a:pt x="150186" y="53975"/>
                </a:lnTo>
                <a:lnTo>
                  <a:pt x="117939" y="80251"/>
                </a:lnTo>
                <a:lnTo>
                  <a:pt x="89060" y="110791"/>
                </a:lnTo>
                <a:lnTo>
                  <a:pt x="63789" y="145170"/>
                </a:lnTo>
                <a:lnTo>
                  <a:pt x="42368" y="182963"/>
                </a:lnTo>
                <a:lnTo>
                  <a:pt x="25037" y="223748"/>
                </a:lnTo>
                <a:lnTo>
                  <a:pt x="12038" y="267098"/>
                </a:lnTo>
                <a:lnTo>
                  <a:pt x="3612" y="312590"/>
                </a:lnTo>
                <a:lnTo>
                  <a:pt x="0" y="359800"/>
                </a:lnTo>
                <a:lnTo>
                  <a:pt x="1442" y="408303"/>
                </a:lnTo>
                <a:lnTo>
                  <a:pt x="8180" y="457674"/>
                </a:lnTo>
                <a:lnTo>
                  <a:pt x="102668" y="439679"/>
                </a:lnTo>
                <a:lnTo>
                  <a:pt x="96390" y="385649"/>
                </a:lnTo>
                <a:lnTo>
                  <a:pt x="97982" y="332971"/>
                </a:lnTo>
                <a:lnTo>
                  <a:pt x="107053" y="282772"/>
                </a:lnTo>
                <a:lnTo>
                  <a:pt x="123216" y="236179"/>
                </a:lnTo>
                <a:lnTo>
                  <a:pt x="146081" y="194319"/>
                </a:lnTo>
                <a:lnTo>
                  <a:pt x="175260" y="158318"/>
                </a:lnTo>
                <a:lnTo>
                  <a:pt x="210364" y="129303"/>
                </a:lnTo>
                <a:lnTo>
                  <a:pt x="249473" y="108988"/>
                </a:lnTo>
                <a:lnTo>
                  <a:pt x="290307" y="98177"/>
                </a:lnTo>
                <a:lnTo>
                  <a:pt x="331922" y="96504"/>
                </a:lnTo>
                <a:lnTo>
                  <a:pt x="544250" y="96504"/>
                </a:lnTo>
                <a:lnTo>
                  <a:pt x="522882" y="76568"/>
                </a:lnTo>
                <a:lnTo>
                  <a:pt x="484239" y="48849"/>
                </a:lnTo>
                <a:lnTo>
                  <a:pt x="443127" y="26997"/>
                </a:lnTo>
                <a:lnTo>
                  <a:pt x="400083" y="11348"/>
                </a:lnTo>
                <a:lnTo>
                  <a:pt x="355643" y="2237"/>
                </a:lnTo>
                <a:lnTo>
                  <a:pt x="310343" y="0"/>
                </a:lnTo>
                <a:close/>
              </a:path>
              <a:path w="688339" h="457835">
                <a:moveTo>
                  <a:pt x="544250" y="96504"/>
                </a:moveTo>
                <a:lnTo>
                  <a:pt x="331922" y="96504"/>
                </a:lnTo>
                <a:lnTo>
                  <a:pt x="373370" y="103606"/>
                </a:lnTo>
                <a:lnTo>
                  <a:pt x="413706" y="119116"/>
                </a:lnTo>
                <a:lnTo>
                  <a:pt x="451984" y="142671"/>
                </a:lnTo>
                <a:lnTo>
                  <a:pt x="487257" y="173906"/>
                </a:lnTo>
                <a:lnTo>
                  <a:pt x="518581" y="212455"/>
                </a:lnTo>
                <a:lnTo>
                  <a:pt x="545009" y="257954"/>
                </a:lnTo>
                <a:lnTo>
                  <a:pt x="499162" y="266679"/>
                </a:lnTo>
                <a:lnTo>
                  <a:pt x="622479" y="340682"/>
                </a:lnTo>
                <a:lnTo>
                  <a:pt x="682909" y="239412"/>
                </a:lnTo>
                <a:lnTo>
                  <a:pt x="642037" y="239412"/>
                </a:lnTo>
                <a:lnTo>
                  <a:pt x="618634" y="191576"/>
                </a:lnTo>
                <a:lnTo>
                  <a:pt x="590616" y="148267"/>
                </a:lnTo>
                <a:lnTo>
                  <a:pt x="558520" y="109819"/>
                </a:lnTo>
                <a:lnTo>
                  <a:pt x="544250" y="96504"/>
                </a:lnTo>
                <a:close/>
              </a:path>
              <a:path w="688339" h="457835">
                <a:moveTo>
                  <a:pt x="688138" y="230649"/>
                </a:moveTo>
                <a:lnTo>
                  <a:pt x="642037" y="239412"/>
                </a:lnTo>
                <a:lnTo>
                  <a:pt x="682909" y="239412"/>
                </a:lnTo>
                <a:lnTo>
                  <a:pt x="688138" y="230649"/>
                </a:lnTo>
                <a:close/>
              </a:path>
            </a:pathLst>
          </a:custGeom>
          <a:solidFill>
            <a:srgbClr val="12ABDB"/>
          </a:solidFill>
        </p:spPr>
        <p:txBody>
          <a:bodyPr wrap="square" lIns="0" tIns="0" rIns="0" bIns="0" rtlCol="0"/>
          <a:lstStyle/>
          <a:p>
            <a:endParaRPr/>
          </a:p>
        </p:txBody>
      </p:sp>
      <p:sp>
        <p:nvSpPr>
          <p:cNvPr id="48" name="object 48"/>
          <p:cNvSpPr txBox="1"/>
          <p:nvPr/>
        </p:nvSpPr>
        <p:spPr>
          <a:xfrm>
            <a:off x="2407411" y="4865370"/>
            <a:ext cx="975994" cy="39179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800">
                <a:latin typeface="Verdana"/>
                <a:cs typeface="Verdana"/>
              </a:rPr>
              <a:t>Sprint</a:t>
            </a:r>
            <a:r>
              <a:rPr sz="800" spc="-25">
                <a:latin typeface="Verdana"/>
                <a:cs typeface="Verdana"/>
              </a:rPr>
              <a:t> </a:t>
            </a:r>
            <a:r>
              <a:rPr sz="800">
                <a:latin typeface="Verdana"/>
                <a:cs typeface="Verdana"/>
              </a:rPr>
              <a:t>Demos</a:t>
            </a:r>
          </a:p>
          <a:p>
            <a:pPr marL="184785" indent="-172720">
              <a:lnSpc>
                <a:spcPct val="100000"/>
              </a:lnSpc>
              <a:spcBef>
                <a:spcPts val="5"/>
              </a:spcBef>
              <a:buClr>
                <a:srgbClr val="006FAC"/>
              </a:buClr>
              <a:buFont typeface="Wingdings"/>
              <a:buChar char=""/>
              <a:tabLst>
                <a:tab pos="185420" algn="l"/>
              </a:tabLst>
            </a:pPr>
            <a:r>
              <a:rPr sz="800">
                <a:latin typeface="Verdana"/>
                <a:cs typeface="Verdana"/>
              </a:rPr>
              <a:t>Sprint</a:t>
            </a:r>
            <a:r>
              <a:rPr sz="800" spc="-55">
                <a:latin typeface="Verdana"/>
                <a:cs typeface="Verdana"/>
              </a:rPr>
              <a:t> </a:t>
            </a:r>
            <a:r>
              <a:rPr sz="800" spc="-5">
                <a:latin typeface="Verdana"/>
                <a:cs typeface="Verdana"/>
              </a:rPr>
              <a:t>Planning</a:t>
            </a:r>
            <a:endParaRPr sz="800">
              <a:latin typeface="Verdana"/>
              <a:cs typeface="Verdana"/>
            </a:endParaRPr>
          </a:p>
          <a:p>
            <a:pPr marL="184785" indent="-172720">
              <a:lnSpc>
                <a:spcPct val="100000"/>
              </a:lnSpc>
              <a:buClr>
                <a:srgbClr val="006FAC"/>
              </a:buClr>
              <a:buFont typeface="Wingdings"/>
              <a:buChar char=""/>
              <a:tabLst>
                <a:tab pos="185420" algn="l"/>
              </a:tabLst>
            </a:pPr>
            <a:r>
              <a:rPr sz="800">
                <a:latin typeface="Verdana"/>
                <a:cs typeface="Verdana"/>
              </a:rPr>
              <a:t>Retrospectives</a:t>
            </a:r>
          </a:p>
        </p:txBody>
      </p:sp>
      <p:sp>
        <p:nvSpPr>
          <p:cNvPr id="49" name="object 49"/>
          <p:cNvSpPr/>
          <p:nvPr/>
        </p:nvSpPr>
        <p:spPr>
          <a:xfrm>
            <a:off x="972311" y="5667755"/>
            <a:ext cx="2452370" cy="142240"/>
          </a:xfrm>
          <a:custGeom>
            <a:avLst/>
            <a:gdLst/>
            <a:ahLst/>
            <a:cxnLst/>
            <a:rect l="l" t="t" r="r" b="b"/>
            <a:pathLst>
              <a:path w="2452370" h="142239">
                <a:moveTo>
                  <a:pt x="4432" y="35433"/>
                </a:moveTo>
                <a:lnTo>
                  <a:pt x="0" y="35433"/>
                </a:lnTo>
                <a:lnTo>
                  <a:pt x="0" y="106299"/>
                </a:lnTo>
                <a:lnTo>
                  <a:pt x="4432" y="106299"/>
                </a:lnTo>
                <a:lnTo>
                  <a:pt x="4432" y="35433"/>
                </a:lnTo>
                <a:close/>
              </a:path>
              <a:path w="2452370" h="142239">
                <a:moveTo>
                  <a:pt x="17716" y="35433"/>
                </a:moveTo>
                <a:lnTo>
                  <a:pt x="8851" y="35433"/>
                </a:lnTo>
                <a:lnTo>
                  <a:pt x="8851" y="106299"/>
                </a:lnTo>
                <a:lnTo>
                  <a:pt x="17716" y="106299"/>
                </a:lnTo>
                <a:lnTo>
                  <a:pt x="17716" y="35433"/>
                </a:lnTo>
                <a:close/>
              </a:path>
              <a:path w="2452370" h="142239">
                <a:moveTo>
                  <a:pt x="2381250" y="0"/>
                </a:moveTo>
                <a:lnTo>
                  <a:pt x="2381250" y="35433"/>
                </a:lnTo>
                <a:lnTo>
                  <a:pt x="22148" y="35433"/>
                </a:lnTo>
                <a:lnTo>
                  <a:pt x="22148" y="106299"/>
                </a:lnTo>
                <a:lnTo>
                  <a:pt x="2381250" y="106299"/>
                </a:lnTo>
                <a:lnTo>
                  <a:pt x="2381250" y="141732"/>
                </a:lnTo>
                <a:lnTo>
                  <a:pt x="2452116" y="70866"/>
                </a:lnTo>
                <a:lnTo>
                  <a:pt x="2381250" y="0"/>
                </a:lnTo>
                <a:close/>
              </a:path>
            </a:pathLst>
          </a:custGeom>
          <a:solidFill>
            <a:srgbClr val="12ABDB"/>
          </a:solidFill>
        </p:spPr>
        <p:txBody>
          <a:bodyPr wrap="square" lIns="0" tIns="0" rIns="0" bIns="0" rtlCol="0"/>
          <a:lstStyle/>
          <a:p>
            <a:endParaRPr/>
          </a:p>
        </p:txBody>
      </p:sp>
      <p:sp>
        <p:nvSpPr>
          <p:cNvPr id="50" name="object 50"/>
          <p:cNvSpPr txBox="1"/>
          <p:nvPr/>
        </p:nvSpPr>
        <p:spPr>
          <a:xfrm>
            <a:off x="827938" y="4865370"/>
            <a:ext cx="1459230" cy="391795"/>
          </a:xfrm>
          <a:prstGeom prst="rect">
            <a:avLst/>
          </a:prstGeom>
        </p:spPr>
        <p:txBody>
          <a:bodyPr vert="horz" wrap="square" lIns="0" tIns="12700" rIns="0" bIns="0" rtlCol="0">
            <a:spAutoFit/>
          </a:bodyPr>
          <a:lstStyle/>
          <a:p>
            <a:pPr marL="184785" indent="-172720">
              <a:lnSpc>
                <a:spcPct val="100000"/>
              </a:lnSpc>
              <a:spcBef>
                <a:spcPts val="100"/>
              </a:spcBef>
              <a:buClr>
                <a:srgbClr val="006FAC"/>
              </a:buClr>
              <a:buFont typeface="Wingdings"/>
              <a:buChar char=""/>
              <a:tabLst>
                <a:tab pos="185420" algn="l"/>
              </a:tabLst>
            </a:pPr>
            <a:r>
              <a:rPr sz="800">
                <a:latin typeface="Verdana"/>
                <a:cs typeface="Verdana"/>
              </a:rPr>
              <a:t>User</a:t>
            </a:r>
            <a:r>
              <a:rPr sz="800" spc="-20">
                <a:latin typeface="Verdana"/>
                <a:cs typeface="Verdana"/>
              </a:rPr>
              <a:t> </a:t>
            </a:r>
            <a:r>
              <a:rPr sz="800">
                <a:latin typeface="Verdana"/>
                <a:cs typeface="Verdana"/>
              </a:rPr>
              <a:t>Feedback</a:t>
            </a:r>
          </a:p>
          <a:p>
            <a:pPr marL="184785" indent="-172720">
              <a:lnSpc>
                <a:spcPct val="100000"/>
              </a:lnSpc>
              <a:spcBef>
                <a:spcPts val="5"/>
              </a:spcBef>
              <a:buClr>
                <a:srgbClr val="006FAC"/>
              </a:buClr>
              <a:buFont typeface="Wingdings"/>
              <a:buChar char=""/>
              <a:tabLst>
                <a:tab pos="185420" algn="l"/>
              </a:tabLst>
            </a:pPr>
            <a:r>
              <a:rPr sz="800">
                <a:latin typeface="Verdana"/>
                <a:cs typeface="Verdana"/>
              </a:rPr>
              <a:t>Interim User</a:t>
            </a:r>
            <a:r>
              <a:rPr sz="800" spc="-85">
                <a:latin typeface="Verdana"/>
                <a:cs typeface="Verdana"/>
              </a:rPr>
              <a:t> </a:t>
            </a:r>
            <a:r>
              <a:rPr sz="800">
                <a:latin typeface="Verdana"/>
                <a:cs typeface="Verdana"/>
              </a:rPr>
              <a:t>Acceptance</a:t>
            </a:r>
          </a:p>
          <a:p>
            <a:pPr marL="184785" indent="-172720">
              <a:lnSpc>
                <a:spcPct val="100000"/>
              </a:lnSpc>
              <a:buClr>
                <a:srgbClr val="006FAC"/>
              </a:buClr>
              <a:buFont typeface="Wingdings"/>
              <a:buChar char=""/>
              <a:tabLst>
                <a:tab pos="185420" algn="l"/>
              </a:tabLst>
            </a:pPr>
            <a:r>
              <a:rPr sz="800">
                <a:latin typeface="Verdana"/>
                <a:cs typeface="Verdana"/>
              </a:rPr>
              <a:t>Groom Product</a:t>
            </a:r>
            <a:r>
              <a:rPr sz="800" spc="-70">
                <a:latin typeface="Verdana"/>
                <a:cs typeface="Verdana"/>
              </a:rPr>
              <a:t> </a:t>
            </a:r>
            <a:r>
              <a:rPr sz="800">
                <a:latin typeface="Verdana"/>
                <a:cs typeface="Verdana"/>
              </a:rPr>
              <a:t>backlog</a:t>
            </a:r>
          </a:p>
        </p:txBody>
      </p:sp>
      <p:sp>
        <p:nvSpPr>
          <p:cNvPr id="51" name="object 51"/>
          <p:cNvSpPr/>
          <p:nvPr/>
        </p:nvSpPr>
        <p:spPr>
          <a:xfrm>
            <a:off x="4798821" y="5063363"/>
            <a:ext cx="278130" cy="387985"/>
          </a:xfrm>
          <a:custGeom>
            <a:avLst/>
            <a:gdLst/>
            <a:ahLst/>
            <a:cxnLst/>
            <a:rect l="l" t="t" r="r" b="b"/>
            <a:pathLst>
              <a:path w="278129" h="387985">
                <a:moveTo>
                  <a:pt x="3048" y="332994"/>
                </a:moveTo>
                <a:lnTo>
                  <a:pt x="0" y="339217"/>
                </a:lnTo>
                <a:lnTo>
                  <a:pt x="98551" y="387477"/>
                </a:lnTo>
                <a:lnTo>
                  <a:pt x="101473" y="381381"/>
                </a:lnTo>
                <a:lnTo>
                  <a:pt x="3048" y="332994"/>
                </a:lnTo>
                <a:close/>
              </a:path>
              <a:path w="278129" h="387985">
                <a:moveTo>
                  <a:pt x="12191" y="314578"/>
                </a:moveTo>
                <a:lnTo>
                  <a:pt x="6095" y="326898"/>
                </a:lnTo>
                <a:lnTo>
                  <a:pt x="104520" y="375284"/>
                </a:lnTo>
                <a:lnTo>
                  <a:pt x="110616" y="362966"/>
                </a:lnTo>
                <a:lnTo>
                  <a:pt x="12191" y="314578"/>
                </a:lnTo>
                <a:close/>
              </a:path>
              <a:path w="278129" h="387985">
                <a:moveTo>
                  <a:pt x="227711" y="0"/>
                </a:moveTo>
                <a:lnTo>
                  <a:pt x="80899" y="50037"/>
                </a:lnTo>
                <a:lnTo>
                  <a:pt x="130175" y="74294"/>
                </a:lnTo>
                <a:lnTo>
                  <a:pt x="15112" y="308483"/>
                </a:lnTo>
                <a:lnTo>
                  <a:pt x="113537" y="356743"/>
                </a:lnTo>
                <a:lnTo>
                  <a:pt x="228600" y="122555"/>
                </a:lnTo>
                <a:lnTo>
                  <a:pt x="269481" y="122555"/>
                </a:lnTo>
                <a:lnTo>
                  <a:pt x="227711" y="0"/>
                </a:lnTo>
                <a:close/>
              </a:path>
              <a:path w="278129" h="387985">
                <a:moveTo>
                  <a:pt x="269481" y="122555"/>
                </a:moveTo>
                <a:lnTo>
                  <a:pt x="228600" y="122555"/>
                </a:lnTo>
                <a:lnTo>
                  <a:pt x="277749" y="146812"/>
                </a:lnTo>
                <a:lnTo>
                  <a:pt x="269481" y="122555"/>
                </a:lnTo>
                <a:close/>
              </a:path>
            </a:pathLst>
          </a:custGeom>
          <a:solidFill>
            <a:srgbClr val="12ABDB"/>
          </a:solidFill>
        </p:spPr>
        <p:txBody>
          <a:bodyPr wrap="square" lIns="0" tIns="0" rIns="0" bIns="0" rtlCol="0"/>
          <a:lstStyle/>
          <a:p>
            <a:endParaRPr/>
          </a:p>
        </p:txBody>
      </p:sp>
      <p:sp>
        <p:nvSpPr>
          <p:cNvPr id="52" name="object 52"/>
          <p:cNvSpPr/>
          <p:nvPr/>
        </p:nvSpPr>
        <p:spPr>
          <a:xfrm>
            <a:off x="4832603" y="4756403"/>
            <a:ext cx="274320" cy="274320"/>
          </a:xfrm>
          <a:custGeom>
            <a:avLst/>
            <a:gdLst/>
            <a:ahLst/>
            <a:cxnLst/>
            <a:rect l="l" t="t" r="r" b="b"/>
            <a:pathLst>
              <a:path w="274320" h="274320">
                <a:moveTo>
                  <a:pt x="137160" y="0"/>
                </a:moveTo>
                <a:lnTo>
                  <a:pt x="93829" y="6998"/>
                </a:lnTo>
                <a:lnTo>
                  <a:pt x="56180" y="26481"/>
                </a:lnTo>
                <a:lnTo>
                  <a:pt x="26481" y="56180"/>
                </a:lnTo>
                <a:lnTo>
                  <a:pt x="6998" y="93829"/>
                </a:lnTo>
                <a:lnTo>
                  <a:pt x="0" y="137160"/>
                </a:lnTo>
                <a:lnTo>
                  <a:pt x="6998" y="180490"/>
                </a:lnTo>
                <a:lnTo>
                  <a:pt x="26481" y="218139"/>
                </a:lnTo>
                <a:lnTo>
                  <a:pt x="56180" y="247838"/>
                </a:lnTo>
                <a:lnTo>
                  <a:pt x="93829" y="267321"/>
                </a:lnTo>
                <a:lnTo>
                  <a:pt x="137160" y="274320"/>
                </a:lnTo>
                <a:lnTo>
                  <a:pt x="180490" y="267321"/>
                </a:lnTo>
                <a:lnTo>
                  <a:pt x="218139" y="247838"/>
                </a:lnTo>
                <a:lnTo>
                  <a:pt x="247838" y="218139"/>
                </a:lnTo>
                <a:lnTo>
                  <a:pt x="267321" y="180490"/>
                </a:lnTo>
                <a:lnTo>
                  <a:pt x="274320" y="137160"/>
                </a:lnTo>
                <a:lnTo>
                  <a:pt x="267321" y="93829"/>
                </a:lnTo>
                <a:lnTo>
                  <a:pt x="247838" y="56180"/>
                </a:lnTo>
                <a:lnTo>
                  <a:pt x="218139" y="26481"/>
                </a:lnTo>
                <a:lnTo>
                  <a:pt x="180490" y="6998"/>
                </a:lnTo>
                <a:lnTo>
                  <a:pt x="137160" y="0"/>
                </a:lnTo>
                <a:close/>
              </a:path>
            </a:pathLst>
          </a:custGeom>
          <a:solidFill>
            <a:srgbClr val="12ABDB"/>
          </a:solidFill>
        </p:spPr>
        <p:txBody>
          <a:bodyPr wrap="square" lIns="0" tIns="0" rIns="0" bIns="0" rtlCol="0"/>
          <a:lstStyle/>
          <a:p>
            <a:endParaRPr/>
          </a:p>
        </p:txBody>
      </p:sp>
      <p:sp>
        <p:nvSpPr>
          <p:cNvPr id="53" name="object 53"/>
          <p:cNvSpPr txBox="1"/>
          <p:nvPr/>
        </p:nvSpPr>
        <p:spPr>
          <a:xfrm>
            <a:off x="4917185" y="4811979"/>
            <a:ext cx="107314" cy="163195"/>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3</a:t>
            </a:r>
            <a:endParaRPr sz="900">
              <a:latin typeface="Verdana"/>
              <a:cs typeface="Verdana"/>
            </a:endParaRPr>
          </a:p>
        </p:txBody>
      </p:sp>
      <p:sp>
        <p:nvSpPr>
          <p:cNvPr id="54" name="object 54"/>
          <p:cNvSpPr/>
          <p:nvPr/>
        </p:nvSpPr>
        <p:spPr>
          <a:xfrm>
            <a:off x="3493008" y="5297423"/>
            <a:ext cx="139065" cy="334010"/>
          </a:xfrm>
          <a:custGeom>
            <a:avLst/>
            <a:gdLst/>
            <a:ahLst/>
            <a:cxnLst/>
            <a:rect l="l" t="t" r="r" b="b"/>
            <a:pathLst>
              <a:path w="139064" h="334010">
                <a:moveTo>
                  <a:pt x="0" y="0"/>
                </a:moveTo>
                <a:lnTo>
                  <a:pt x="0" y="333756"/>
                </a:lnTo>
                <a:lnTo>
                  <a:pt x="100202" y="268478"/>
                </a:lnTo>
                <a:lnTo>
                  <a:pt x="117574" y="255577"/>
                </a:lnTo>
                <a:lnTo>
                  <a:pt x="129539" y="239760"/>
                </a:lnTo>
                <a:lnTo>
                  <a:pt x="136457" y="221061"/>
                </a:lnTo>
                <a:lnTo>
                  <a:pt x="138683" y="199516"/>
                </a:lnTo>
                <a:lnTo>
                  <a:pt x="138683" y="34543"/>
                </a:lnTo>
                <a:lnTo>
                  <a:pt x="0" y="0"/>
                </a:lnTo>
                <a:close/>
              </a:path>
            </a:pathLst>
          </a:custGeom>
          <a:solidFill>
            <a:srgbClr val="0071AB"/>
          </a:solidFill>
        </p:spPr>
        <p:txBody>
          <a:bodyPr wrap="square" lIns="0" tIns="0" rIns="0" bIns="0" rtlCol="0"/>
          <a:lstStyle/>
          <a:p>
            <a:endParaRPr/>
          </a:p>
        </p:txBody>
      </p:sp>
      <p:sp>
        <p:nvSpPr>
          <p:cNvPr id="55" name="object 55"/>
          <p:cNvSpPr/>
          <p:nvPr/>
        </p:nvSpPr>
        <p:spPr>
          <a:xfrm>
            <a:off x="3493008" y="5332476"/>
            <a:ext cx="139065" cy="299085"/>
          </a:xfrm>
          <a:custGeom>
            <a:avLst/>
            <a:gdLst/>
            <a:ahLst/>
            <a:cxnLst/>
            <a:rect l="l" t="t" r="r" b="b"/>
            <a:pathLst>
              <a:path w="139064" h="299085">
                <a:moveTo>
                  <a:pt x="138683" y="0"/>
                </a:moveTo>
                <a:lnTo>
                  <a:pt x="0" y="53593"/>
                </a:lnTo>
                <a:lnTo>
                  <a:pt x="0" y="298704"/>
                </a:lnTo>
                <a:lnTo>
                  <a:pt x="104012" y="233553"/>
                </a:lnTo>
                <a:lnTo>
                  <a:pt x="130016" y="205374"/>
                </a:lnTo>
                <a:lnTo>
                  <a:pt x="138683" y="168529"/>
                </a:lnTo>
                <a:lnTo>
                  <a:pt x="138683" y="0"/>
                </a:lnTo>
                <a:close/>
              </a:path>
            </a:pathLst>
          </a:custGeom>
          <a:solidFill>
            <a:srgbClr val="9AE0F7"/>
          </a:solidFill>
        </p:spPr>
        <p:txBody>
          <a:bodyPr wrap="square" lIns="0" tIns="0" rIns="0" bIns="0" rtlCol="0"/>
          <a:lstStyle/>
          <a:p>
            <a:endParaRPr/>
          </a:p>
        </p:txBody>
      </p:sp>
      <p:sp>
        <p:nvSpPr>
          <p:cNvPr id="56" name="object 56"/>
          <p:cNvSpPr/>
          <p:nvPr/>
        </p:nvSpPr>
        <p:spPr>
          <a:xfrm>
            <a:off x="3340608" y="5297423"/>
            <a:ext cx="152400" cy="334010"/>
          </a:xfrm>
          <a:custGeom>
            <a:avLst/>
            <a:gdLst/>
            <a:ahLst/>
            <a:cxnLst/>
            <a:rect l="l" t="t" r="r" b="b"/>
            <a:pathLst>
              <a:path w="152400" h="334010">
                <a:moveTo>
                  <a:pt x="152400" y="0"/>
                </a:moveTo>
                <a:lnTo>
                  <a:pt x="0" y="42163"/>
                </a:lnTo>
                <a:lnTo>
                  <a:pt x="0" y="252729"/>
                </a:lnTo>
                <a:lnTo>
                  <a:pt x="152400" y="333756"/>
                </a:lnTo>
                <a:lnTo>
                  <a:pt x="152400" y="0"/>
                </a:lnTo>
                <a:close/>
              </a:path>
            </a:pathLst>
          </a:custGeom>
          <a:solidFill>
            <a:srgbClr val="9AE0F7"/>
          </a:solidFill>
        </p:spPr>
        <p:txBody>
          <a:bodyPr wrap="square" lIns="0" tIns="0" rIns="0" bIns="0" rtlCol="0"/>
          <a:lstStyle/>
          <a:p>
            <a:endParaRPr/>
          </a:p>
        </p:txBody>
      </p:sp>
      <p:sp>
        <p:nvSpPr>
          <p:cNvPr id="57" name="object 57"/>
          <p:cNvSpPr/>
          <p:nvPr/>
        </p:nvSpPr>
        <p:spPr>
          <a:xfrm>
            <a:off x="3340608" y="5337047"/>
            <a:ext cx="152400" cy="294640"/>
          </a:xfrm>
          <a:custGeom>
            <a:avLst/>
            <a:gdLst/>
            <a:ahLst/>
            <a:cxnLst/>
            <a:rect l="l" t="t" r="r" b="b"/>
            <a:pathLst>
              <a:path w="152400" h="294639">
                <a:moveTo>
                  <a:pt x="0" y="0"/>
                </a:moveTo>
                <a:lnTo>
                  <a:pt x="0" y="213359"/>
                </a:lnTo>
                <a:lnTo>
                  <a:pt x="152400" y="294131"/>
                </a:lnTo>
                <a:lnTo>
                  <a:pt x="152400" y="48513"/>
                </a:lnTo>
                <a:lnTo>
                  <a:pt x="0" y="0"/>
                </a:lnTo>
                <a:close/>
              </a:path>
            </a:pathLst>
          </a:custGeom>
          <a:solidFill>
            <a:srgbClr val="0071AB"/>
          </a:solidFill>
        </p:spPr>
        <p:txBody>
          <a:bodyPr wrap="square" lIns="0" tIns="0" rIns="0" bIns="0" rtlCol="0"/>
          <a:lstStyle/>
          <a:p>
            <a:endParaRPr/>
          </a:p>
        </p:txBody>
      </p:sp>
      <p:sp>
        <p:nvSpPr>
          <p:cNvPr id="58" name="object 58"/>
          <p:cNvSpPr/>
          <p:nvPr/>
        </p:nvSpPr>
        <p:spPr>
          <a:xfrm>
            <a:off x="3259835" y="5332476"/>
            <a:ext cx="444690" cy="153924"/>
          </a:xfrm>
          <a:prstGeom prst="rect">
            <a:avLst/>
          </a:prstGeom>
          <a:blipFill>
            <a:blip r:embed="rId3" cstate="print"/>
            <a:stretch>
              <a:fillRect/>
            </a:stretch>
          </a:blipFill>
        </p:spPr>
        <p:txBody>
          <a:bodyPr wrap="square" lIns="0" tIns="0" rIns="0" bIns="0" rtlCol="0"/>
          <a:lstStyle/>
          <a:p>
            <a:endParaRPr/>
          </a:p>
        </p:txBody>
      </p:sp>
      <p:sp>
        <p:nvSpPr>
          <p:cNvPr id="59" name="object 59"/>
          <p:cNvSpPr/>
          <p:nvPr/>
        </p:nvSpPr>
        <p:spPr>
          <a:xfrm>
            <a:off x="4467986" y="5242040"/>
            <a:ext cx="278765" cy="278765"/>
          </a:xfrm>
          <a:custGeom>
            <a:avLst/>
            <a:gdLst/>
            <a:ahLst/>
            <a:cxnLst/>
            <a:rect l="l" t="t" r="r" b="b"/>
            <a:pathLst>
              <a:path w="278764" h="278764">
                <a:moveTo>
                  <a:pt x="150765" y="193813"/>
                </a:moveTo>
                <a:lnTo>
                  <a:pt x="64388" y="193813"/>
                </a:lnTo>
                <a:lnTo>
                  <a:pt x="75311" y="197496"/>
                </a:lnTo>
                <a:lnTo>
                  <a:pt x="115697" y="278141"/>
                </a:lnTo>
                <a:lnTo>
                  <a:pt x="122936" y="274585"/>
                </a:lnTo>
                <a:lnTo>
                  <a:pt x="173609" y="249185"/>
                </a:lnTo>
                <a:lnTo>
                  <a:pt x="180848" y="245629"/>
                </a:lnTo>
                <a:lnTo>
                  <a:pt x="184403" y="234580"/>
                </a:lnTo>
                <a:lnTo>
                  <a:pt x="162560" y="227214"/>
                </a:lnTo>
                <a:lnTo>
                  <a:pt x="158876" y="219848"/>
                </a:lnTo>
                <a:lnTo>
                  <a:pt x="155193" y="212609"/>
                </a:lnTo>
                <a:lnTo>
                  <a:pt x="151159" y="201122"/>
                </a:lnTo>
                <a:lnTo>
                  <a:pt x="150765" y="193813"/>
                </a:lnTo>
                <a:close/>
              </a:path>
              <a:path w="278764" h="278764">
                <a:moveTo>
                  <a:pt x="24384" y="168032"/>
                </a:moveTo>
                <a:lnTo>
                  <a:pt x="17145" y="171715"/>
                </a:lnTo>
                <a:lnTo>
                  <a:pt x="7778" y="179544"/>
                </a:lnTo>
                <a:lnTo>
                  <a:pt x="1841" y="190813"/>
                </a:lnTo>
                <a:lnTo>
                  <a:pt x="0" y="203487"/>
                </a:lnTo>
                <a:lnTo>
                  <a:pt x="2921" y="215530"/>
                </a:lnTo>
                <a:lnTo>
                  <a:pt x="10241" y="223881"/>
                </a:lnTo>
                <a:lnTo>
                  <a:pt x="20240" y="227468"/>
                </a:lnTo>
                <a:lnTo>
                  <a:pt x="31549" y="226960"/>
                </a:lnTo>
                <a:lnTo>
                  <a:pt x="42799" y="223023"/>
                </a:lnTo>
                <a:lnTo>
                  <a:pt x="50037" y="219340"/>
                </a:lnTo>
                <a:lnTo>
                  <a:pt x="57276" y="215784"/>
                </a:lnTo>
                <a:lnTo>
                  <a:pt x="60833" y="204735"/>
                </a:lnTo>
                <a:lnTo>
                  <a:pt x="64388" y="193813"/>
                </a:lnTo>
                <a:lnTo>
                  <a:pt x="150765" y="193813"/>
                </a:lnTo>
                <a:lnTo>
                  <a:pt x="150542" y="189670"/>
                </a:lnTo>
                <a:lnTo>
                  <a:pt x="153997" y="179623"/>
                </a:lnTo>
                <a:lnTo>
                  <a:pt x="162178" y="172350"/>
                </a:lnTo>
                <a:lnTo>
                  <a:pt x="164348" y="171842"/>
                </a:lnTo>
                <a:lnTo>
                  <a:pt x="53466" y="171842"/>
                </a:lnTo>
                <a:lnTo>
                  <a:pt x="53090" y="171715"/>
                </a:lnTo>
                <a:lnTo>
                  <a:pt x="35305" y="171715"/>
                </a:lnTo>
                <a:lnTo>
                  <a:pt x="24384" y="168032"/>
                </a:lnTo>
                <a:close/>
              </a:path>
              <a:path w="278764" h="278764">
                <a:moveTo>
                  <a:pt x="269370" y="169564"/>
                </a:moveTo>
                <a:lnTo>
                  <a:pt x="174077" y="169564"/>
                </a:lnTo>
                <a:lnTo>
                  <a:pt x="186690" y="171588"/>
                </a:lnTo>
                <a:lnTo>
                  <a:pt x="197969" y="177708"/>
                </a:lnTo>
                <a:lnTo>
                  <a:pt x="205866" y="187209"/>
                </a:lnTo>
                <a:lnTo>
                  <a:pt x="209550" y="194575"/>
                </a:lnTo>
                <a:lnTo>
                  <a:pt x="205993" y="205497"/>
                </a:lnTo>
                <a:lnTo>
                  <a:pt x="209550" y="212863"/>
                </a:lnTo>
                <a:lnTo>
                  <a:pt x="202437" y="216419"/>
                </a:lnTo>
                <a:lnTo>
                  <a:pt x="205993" y="223785"/>
                </a:lnTo>
                <a:lnTo>
                  <a:pt x="216915" y="227468"/>
                </a:lnTo>
                <a:lnTo>
                  <a:pt x="224218" y="223881"/>
                </a:lnTo>
                <a:lnTo>
                  <a:pt x="274827" y="198512"/>
                </a:lnTo>
                <a:lnTo>
                  <a:pt x="278384" y="187590"/>
                </a:lnTo>
                <a:lnTo>
                  <a:pt x="269370" y="169564"/>
                </a:lnTo>
                <a:close/>
              </a:path>
              <a:path w="278764" h="278764">
                <a:moveTo>
                  <a:pt x="131834" y="58685"/>
                </a:moveTo>
                <a:lnTo>
                  <a:pt x="96265" y="58685"/>
                </a:lnTo>
                <a:lnTo>
                  <a:pt x="97726" y="64708"/>
                </a:lnTo>
                <a:lnTo>
                  <a:pt x="96805" y="71052"/>
                </a:lnTo>
                <a:lnTo>
                  <a:pt x="93837" y="76706"/>
                </a:lnTo>
                <a:lnTo>
                  <a:pt x="89153" y="80656"/>
                </a:lnTo>
                <a:lnTo>
                  <a:pt x="31368" y="109612"/>
                </a:lnTo>
                <a:lnTo>
                  <a:pt x="57023" y="160920"/>
                </a:lnTo>
                <a:lnTo>
                  <a:pt x="53466" y="171842"/>
                </a:lnTo>
                <a:lnTo>
                  <a:pt x="164348" y="171842"/>
                </a:lnTo>
                <a:lnTo>
                  <a:pt x="174077" y="169564"/>
                </a:lnTo>
                <a:lnTo>
                  <a:pt x="269370" y="169564"/>
                </a:lnTo>
                <a:lnTo>
                  <a:pt x="256666" y="144156"/>
                </a:lnTo>
                <a:lnTo>
                  <a:pt x="186562" y="144156"/>
                </a:lnTo>
                <a:lnTo>
                  <a:pt x="176593" y="140569"/>
                </a:lnTo>
                <a:lnTo>
                  <a:pt x="169290" y="132218"/>
                </a:lnTo>
                <a:lnTo>
                  <a:pt x="166369" y="120229"/>
                </a:lnTo>
                <a:lnTo>
                  <a:pt x="168211" y="107549"/>
                </a:lnTo>
                <a:lnTo>
                  <a:pt x="174148" y="96250"/>
                </a:lnTo>
                <a:lnTo>
                  <a:pt x="183514" y="88403"/>
                </a:lnTo>
                <a:lnTo>
                  <a:pt x="190753" y="84847"/>
                </a:lnTo>
                <a:lnTo>
                  <a:pt x="221036" y="84847"/>
                </a:lnTo>
                <a:lnTo>
                  <a:pt x="223392" y="77608"/>
                </a:lnTo>
                <a:lnTo>
                  <a:pt x="219710" y="70369"/>
                </a:lnTo>
                <a:lnTo>
                  <a:pt x="213978" y="58939"/>
                </a:lnTo>
                <a:lnTo>
                  <a:pt x="132587" y="58939"/>
                </a:lnTo>
                <a:lnTo>
                  <a:pt x="131834" y="58685"/>
                </a:lnTo>
                <a:close/>
              </a:path>
              <a:path w="278764" h="278764">
                <a:moveTo>
                  <a:pt x="42545" y="168159"/>
                </a:moveTo>
                <a:lnTo>
                  <a:pt x="35305" y="171715"/>
                </a:lnTo>
                <a:lnTo>
                  <a:pt x="53090" y="171715"/>
                </a:lnTo>
                <a:lnTo>
                  <a:pt x="42545" y="168159"/>
                </a:lnTo>
                <a:close/>
              </a:path>
              <a:path w="278764" h="278764">
                <a:moveTo>
                  <a:pt x="230759" y="110628"/>
                </a:moveTo>
                <a:lnTo>
                  <a:pt x="229129" y="113006"/>
                </a:lnTo>
                <a:lnTo>
                  <a:pt x="225821" y="118788"/>
                </a:lnTo>
                <a:lnTo>
                  <a:pt x="223204" y="125952"/>
                </a:lnTo>
                <a:lnTo>
                  <a:pt x="223647" y="132472"/>
                </a:lnTo>
                <a:lnTo>
                  <a:pt x="216408" y="136155"/>
                </a:lnTo>
                <a:lnTo>
                  <a:pt x="209168" y="139711"/>
                </a:lnTo>
                <a:lnTo>
                  <a:pt x="197865" y="143648"/>
                </a:lnTo>
                <a:lnTo>
                  <a:pt x="186562" y="144156"/>
                </a:lnTo>
                <a:lnTo>
                  <a:pt x="256666" y="144156"/>
                </a:lnTo>
                <a:lnTo>
                  <a:pt x="245363" y="121550"/>
                </a:lnTo>
                <a:lnTo>
                  <a:pt x="241680" y="114311"/>
                </a:lnTo>
                <a:lnTo>
                  <a:pt x="230759" y="110628"/>
                </a:lnTo>
                <a:close/>
              </a:path>
              <a:path w="278764" h="278764">
                <a:moveTo>
                  <a:pt x="221036" y="84847"/>
                </a:moveTo>
                <a:lnTo>
                  <a:pt x="190753" y="84847"/>
                </a:lnTo>
                <a:lnTo>
                  <a:pt x="212598" y="92213"/>
                </a:lnTo>
                <a:lnTo>
                  <a:pt x="219837" y="88530"/>
                </a:lnTo>
                <a:lnTo>
                  <a:pt x="221036" y="84847"/>
                </a:lnTo>
                <a:close/>
              </a:path>
              <a:path w="278764" h="278764">
                <a:moveTo>
                  <a:pt x="121664" y="55002"/>
                </a:moveTo>
                <a:lnTo>
                  <a:pt x="85471" y="55002"/>
                </a:lnTo>
                <a:lnTo>
                  <a:pt x="89026" y="62368"/>
                </a:lnTo>
                <a:lnTo>
                  <a:pt x="96265" y="58685"/>
                </a:lnTo>
                <a:lnTo>
                  <a:pt x="131834" y="58685"/>
                </a:lnTo>
                <a:lnTo>
                  <a:pt x="121665" y="55256"/>
                </a:lnTo>
                <a:lnTo>
                  <a:pt x="121664" y="55002"/>
                </a:lnTo>
                <a:close/>
              </a:path>
              <a:path w="278764" h="278764">
                <a:moveTo>
                  <a:pt x="197612" y="26300"/>
                </a:moveTo>
                <a:lnTo>
                  <a:pt x="132587" y="58939"/>
                </a:lnTo>
                <a:lnTo>
                  <a:pt x="213978" y="58939"/>
                </a:lnTo>
                <a:lnTo>
                  <a:pt x="197612" y="26300"/>
                </a:lnTo>
                <a:close/>
              </a:path>
              <a:path w="278764" h="278764">
                <a:moveTo>
                  <a:pt x="89229" y="0"/>
                </a:moveTo>
                <a:lnTo>
                  <a:pt x="77850" y="3821"/>
                </a:lnTo>
                <a:lnTo>
                  <a:pt x="69615" y="11092"/>
                </a:lnTo>
                <a:lnTo>
                  <a:pt x="66166" y="21125"/>
                </a:lnTo>
                <a:lnTo>
                  <a:pt x="66813" y="32539"/>
                </a:lnTo>
                <a:lnTo>
                  <a:pt x="70865" y="43953"/>
                </a:lnTo>
                <a:lnTo>
                  <a:pt x="78232" y="58685"/>
                </a:lnTo>
                <a:lnTo>
                  <a:pt x="85471" y="55002"/>
                </a:lnTo>
                <a:lnTo>
                  <a:pt x="121664" y="55002"/>
                </a:lnTo>
                <a:lnTo>
                  <a:pt x="121538" y="36968"/>
                </a:lnTo>
                <a:lnTo>
                  <a:pt x="125095" y="26046"/>
                </a:lnTo>
                <a:lnTo>
                  <a:pt x="121412" y="18680"/>
                </a:lnTo>
                <a:lnTo>
                  <a:pt x="112033" y="6072"/>
                </a:lnTo>
                <a:lnTo>
                  <a:pt x="100964" y="297"/>
                </a:lnTo>
                <a:lnTo>
                  <a:pt x="89229" y="0"/>
                </a:lnTo>
                <a:close/>
              </a:path>
            </a:pathLst>
          </a:custGeom>
          <a:solidFill>
            <a:srgbClr val="7E7E7E"/>
          </a:solidFill>
        </p:spPr>
        <p:txBody>
          <a:bodyPr wrap="square" lIns="0" tIns="0" rIns="0" bIns="0" rtlCol="0"/>
          <a:lstStyle/>
          <a:p>
            <a:endParaRPr/>
          </a:p>
        </p:txBody>
      </p:sp>
      <p:sp>
        <p:nvSpPr>
          <p:cNvPr id="60" name="object 60"/>
          <p:cNvSpPr/>
          <p:nvPr/>
        </p:nvSpPr>
        <p:spPr>
          <a:xfrm>
            <a:off x="4209081" y="5380089"/>
            <a:ext cx="280670" cy="278765"/>
          </a:xfrm>
          <a:custGeom>
            <a:avLst/>
            <a:gdLst/>
            <a:ahLst/>
            <a:cxnLst/>
            <a:rect l="l" t="t" r="r" b="b"/>
            <a:pathLst>
              <a:path w="280670" h="278764">
                <a:moveTo>
                  <a:pt x="147828" y="197496"/>
                </a:moveTo>
                <a:lnTo>
                  <a:pt x="59007" y="197496"/>
                </a:lnTo>
                <a:lnTo>
                  <a:pt x="69929" y="201179"/>
                </a:lnTo>
                <a:lnTo>
                  <a:pt x="73485" y="208507"/>
                </a:lnTo>
                <a:lnTo>
                  <a:pt x="106505" y="274471"/>
                </a:lnTo>
                <a:lnTo>
                  <a:pt x="117427" y="278180"/>
                </a:lnTo>
                <a:lnTo>
                  <a:pt x="182578" y="245591"/>
                </a:lnTo>
                <a:lnTo>
                  <a:pt x="175212" y="230936"/>
                </a:lnTo>
                <a:lnTo>
                  <a:pt x="153368" y="223519"/>
                </a:lnTo>
                <a:lnTo>
                  <a:pt x="149685" y="216191"/>
                </a:lnTo>
                <a:lnTo>
                  <a:pt x="146837" y="204187"/>
                </a:lnTo>
                <a:lnTo>
                  <a:pt x="147828" y="197496"/>
                </a:lnTo>
                <a:close/>
              </a:path>
              <a:path w="280670" h="278764">
                <a:moveTo>
                  <a:pt x="29765" y="170842"/>
                </a:moveTo>
                <a:lnTo>
                  <a:pt x="21713" y="171682"/>
                </a:lnTo>
                <a:lnTo>
                  <a:pt x="11636" y="175271"/>
                </a:lnTo>
                <a:lnTo>
                  <a:pt x="3454" y="182544"/>
                </a:lnTo>
                <a:lnTo>
                  <a:pt x="0" y="192586"/>
                </a:lnTo>
                <a:lnTo>
                  <a:pt x="617" y="204027"/>
                </a:lnTo>
                <a:lnTo>
                  <a:pt x="4651" y="215492"/>
                </a:lnTo>
                <a:lnTo>
                  <a:pt x="10842" y="224432"/>
                </a:lnTo>
                <a:lnTo>
                  <a:pt x="18367" y="229265"/>
                </a:lnTo>
                <a:lnTo>
                  <a:pt x="27225" y="229994"/>
                </a:lnTo>
                <a:lnTo>
                  <a:pt x="37417" y="226618"/>
                </a:lnTo>
                <a:lnTo>
                  <a:pt x="59134" y="215759"/>
                </a:lnTo>
                <a:lnTo>
                  <a:pt x="55451" y="208418"/>
                </a:lnTo>
                <a:lnTo>
                  <a:pt x="62690" y="204862"/>
                </a:lnTo>
                <a:lnTo>
                  <a:pt x="59007" y="197496"/>
                </a:lnTo>
                <a:lnTo>
                  <a:pt x="147828" y="197496"/>
                </a:lnTo>
                <a:lnTo>
                  <a:pt x="148717" y="191499"/>
                </a:lnTo>
                <a:lnTo>
                  <a:pt x="154668" y="180197"/>
                </a:lnTo>
                <a:lnTo>
                  <a:pt x="160245" y="175525"/>
                </a:lnTo>
                <a:lnTo>
                  <a:pt x="47958" y="175525"/>
                </a:lnTo>
                <a:lnTo>
                  <a:pt x="37036" y="171842"/>
                </a:lnTo>
                <a:lnTo>
                  <a:pt x="35103" y="171360"/>
                </a:lnTo>
                <a:lnTo>
                  <a:pt x="29765" y="170842"/>
                </a:lnTo>
                <a:close/>
              </a:path>
              <a:path w="280670" h="278764">
                <a:moveTo>
                  <a:pt x="271085" y="169564"/>
                </a:moveTo>
                <a:lnTo>
                  <a:pt x="175914" y="169564"/>
                </a:lnTo>
                <a:lnTo>
                  <a:pt x="188483" y="171588"/>
                </a:lnTo>
                <a:lnTo>
                  <a:pt x="199719" y="177708"/>
                </a:lnTo>
                <a:lnTo>
                  <a:pt x="207597" y="187209"/>
                </a:lnTo>
                <a:lnTo>
                  <a:pt x="211280" y="194575"/>
                </a:lnTo>
                <a:lnTo>
                  <a:pt x="204168" y="216458"/>
                </a:lnTo>
                <a:lnTo>
                  <a:pt x="207851" y="223785"/>
                </a:lnTo>
                <a:lnTo>
                  <a:pt x="206484" y="225892"/>
                </a:lnTo>
                <a:lnTo>
                  <a:pt x="210534" y="226997"/>
                </a:lnTo>
                <a:lnTo>
                  <a:pt x="215941" y="227423"/>
                </a:lnTo>
                <a:lnTo>
                  <a:pt x="218646" y="227494"/>
                </a:lnTo>
                <a:lnTo>
                  <a:pt x="276558" y="198512"/>
                </a:lnTo>
                <a:lnTo>
                  <a:pt x="280114" y="187590"/>
                </a:lnTo>
                <a:lnTo>
                  <a:pt x="271085" y="169564"/>
                </a:lnTo>
                <a:close/>
              </a:path>
              <a:path w="280670" h="278764">
                <a:moveTo>
                  <a:pt x="122183" y="55002"/>
                </a:moveTo>
                <a:lnTo>
                  <a:pt x="87201" y="55002"/>
                </a:lnTo>
                <a:lnTo>
                  <a:pt x="90884" y="62368"/>
                </a:lnTo>
                <a:lnTo>
                  <a:pt x="94440" y="69734"/>
                </a:lnTo>
                <a:lnTo>
                  <a:pt x="90884" y="80656"/>
                </a:lnTo>
                <a:lnTo>
                  <a:pt x="40338" y="106056"/>
                </a:lnTo>
                <a:lnTo>
                  <a:pt x="33099" y="109612"/>
                </a:lnTo>
                <a:lnTo>
                  <a:pt x="25860" y="113295"/>
                </a:lnTo>
                <a:lnTo>
                  <a:pt x="29677" y="120804"/>
                </a:lnTo>
                <a:lnTo>
                  <a:pt x="51514" y="164603"/>
                </a:lnTo>
                <a:lnTo>
                  <a:pt x="55197" y="171842"/>
                </a:lnTo>
                <a:lnTo>
                  <a:pt x="47958" y="175525"/>
                </a:lnTo>
                <a:lnTo>
                  <a:pt x="160245" y="175525"/>
                </a:lnTo>
                <a:lnTo>
                  <a:pt x="164036" y="172350"/>
                </a:lnTo>
                <a:lnTo>
                  <a:pt x="175914" y="169564"/>
                </a:lnTo>
                <a:lnTo>
                  <a:pt x="271085" y="169564"/>
                </a:lnTo>
                <a:lnTo>
                  <a:pt x="259661" y="146756"/>
                </a:lnTo>
                <a:lnTo>
                  <a:pt x="193542" y="146756"/>
                </a:lnTo>
                <a:lnTo>
                  <a:pt x="184721" y="145998"/>
                </a:lnTo>
                <a:lnTo>
                  <a:pt x="177210" y="141144"/>
                </a:lnTo>
                <a:lnTo>
                  <a:pt x="171021" y="132218"/>
                </a:lnTo>
                <a:lnTo>
                  <a:pt x="166969" y="120804"/>
                </a:lnTo>
                <a:lnTo>
                  <a:pt x="166322" y="109390"/>
                </a:lnTo>
                <a:lnTo>
                  <a:pt x="169771" y="99357"/>
                </a:lnTo>
                <a:lnTo>
                  <a:pt x="178006" y="92086"/>
                </a:lnTo>
                <a:lnTo>
                  <a:pt x="192484" y="84847"/>
                </a:lnTo>
                <a:lnTo>
                  <a:pt x="220836" y="84847"/>
                </a:lnTo>
                <a:lnTo>
                  <a:pt x="221980" y="82673"/>
                </a:lnTo>
                <a:lnTo>
                  <a:pt x="222900" y="76336"/>
                </a:lnTo>
                <a:lnTo>
                  <a:pt x="221440" y="70369"/>
                </a:lnTo>
                <a:lnTo>
                  <a:pt x="215705" y="58939"/>
                </a:lnTo>
                <a:lnTo>
                  <a:pt x="134318" y="58939"/>
                </a:lnTo>
                <a:lnTo>
                  <a:pt x="123396" y="55256"/>
                </a:lnTo>
                <a:lnTo>
                  <a:pt x="122183" y="55002"/>
                </a:lnTo>
                <a:close/>
              </a:path>
              <a:path w="280670" h="278764">
                <a:moveTo>
                  <a:pt x="232489" y="110628"/>
                </a:moveTo>
                <a:lnTo>
                  <a:pt x="227693" y="114563"/>
                </a:lnTo>
                <a:lnTo>
                  <a:pt x="223962" y="120534"/>
                </a:lnTo>
                <a:lnTo>
                  <a:pt x="220862" y="128006"/>
                </a:lnTo>
                <a:lnTo>
                  <a:pt x="218138" y="136155"/>
                </a:lnTo>
                <a:lnTo>
                  <a:pt x="203660" y="143394"/>
                </a:lnTo>
                <a:lnTo>
                  <a:pt x="193542" y="146756"/>
                </a:lnTo>
                <a:lnTo>
                  <a:pt x="259661" y="146756"/>
                </a:lnTo>
                <a:lnTo>
                  <a:pt x="245192" y="117867"/>
                </a:lnTo>
                <a:lnTo>
                  <a:pt x="236172" y="117867"/>
                </a:lnTo>
                <a:lnTo>
                  <a:pt x="232489" y="110628"/>
                </a:lnTo>
                <a:close/>
              </a:path>
              <a:path w="280670" h="278764">
                <a:moveTo>
                  <a:pt x="243411" y="114311"/>
                </a:moveTo>
                <a:lnTo>
                  <a:pt x="236172" y="117867"/>
                </a:lnTo>
                <a:lnTo>
                  <a:pt x="245192" y="117867"/>
                </a:lnTo>
                <a:lnTo>
                  <a:pt x="243411" y="114311"/>
                </a:lnTo>
                <a:close/>
              </a:path>
              <a:path w="280670" h="278764">
                <a:moveTo>
                  <a:pt x="218756" y="88530"/>
                </a:moveTo>
                <a:lnTo>
                  <a:pt x="203406" y="88530"/>
                </a:lnTo>
                <a:lnTo>
                  <a:pt x="214328" y="92213"/>
                </a:lnTo>
                <a:lnTo>
                  <a:pt x="218756" y="88530"/>
                </a:lnTo>
                <a:close/>
              </a:path>
              <a:path w="280670" h="278764">
                <a:moveTo>
                  <a:pt x="220836" y="84847"/>
                </a:moveTo>
                <a:lnTo>
                  <a:pt x="192484" y="84847"/>
                </a:lnTo>
                <a:lnTo>
                  <a:pt x="196167" y="92086"/>
                </a:lnTo>
                <a:lnTo>
                  <a:pt x="203406" y="88530"/>
                </a:lnTo>
                <a:lnTo>
                  <a:pt x="218756" y="88530"/>
                </a:lnTo>
                <a:lnTo>
                  <a:pt x="219011" y="88318"/>
                </a:lnTo>
                <a:lnTo>
                  <a:pt x="220836" y="84847"/>
                </a:lnTo>
                <a:close/>
              </a:path>
              <a:path w="280670" h="278764">
                <a:moveTo>
                  <a:pt x="199469" y="26300"/>
                </a:moveTo>
                <a:lnTo>
                  <a:pt x="192230" y="29983"/>
                </a:lnTo>
                <a:lnTo>
                  <a:pt x="184991" y="33539"/>
                </a:lnTo>
                <a:lnTo>
                  <a:pt x="134318" y="58939"/>
                </a:lnTo>
                <a:lnTo>
                  <a:pt x="215705" y="58939"/>
                </a:lnTo>
                <a:lnTo>
                  <a:pt x="202964" y="33539"/>
                </a:lnTo>
                <a:lnTo>
                  <a:pt x="199469" y="26300"/>
                </a:lnTo>
                <a:close/>
              </a:path>
              <a:path w="280670" h="278764">
                <a:moveTo>
                  <a:pt x="90961" y="0"/>
                </a:moveTo>
                <a:lnTo>
                  <a:pt x="79581" y="3821"/>
                </a:lnTo>
                <a:lnTo>
                  <a:pt x="69697" y="10632"/>
                </a:lnTo>
                <a:lnTo>
                  <a:pt x="62896" y="20204"/>
                </a:lnTo>
                <a:lnTo>
                  <a:pt x="60882" y="32539"/>
                </a:lnTo>
                <a:lnTo>
                  <a:pt x="65357" y="47636"/>
                </a:lnTo>
                <a:lnTo>
                  <a:pt x="69040" y="55002"/>
                </a:lnTo>
                <a:lnTo>
                  <a:pt x="79962" y="58685"/>
                </a:lnTo>
                <a:lnTo>
                  <a:pt x="87201" y="55002"/>
                </a:lnTo>
                <a:lnTo>
                  <a:pt x="122183" y="55002"/>
                </a:lnTo>
                <a:lnTo>
                  <a:pt x="119304" y="54399"/>
                </a:lnTo>
                <a:lnTo>
                  <a:pt x="117903" y="48779"/>
                </a:lnTo>
                <a:lnTo>
                  <a:pt x="119217" y="41826"/>
                </a:lnTo>
                <a:lnTo>
                  <a:pt x="123269" y="36968"/>
                </a:lnTo>
                <a:lnTo>
                  <a:pt x="126952" y="26046"/>
                </a:lnTo>
                <a:lnTo>
                  <a:pt x="123269" y="18680"/>
                </a:lnTo>
                <a:lnTo>
                  <a:pt x="113817" y="6072"/>
                </a:lnTo>
                <a:lnTo>
                  <a:pt x="102711" y="297"/>
                </a:lnTo>
                <a:lnTo>
                  <a:pt x="90961" y="0"/>
                </a:lnTo>
                <a:close/>
              </a:path>
            </a:pathLst>
          </a:custGeom>
          <a:solidFill>
            <a:srgbClr val="7E7E7E"/>
          </a:solidFill>
        </p:spPr>
        <p:txBody>
          <a:bodyPr wrap="square" lIns="0" tIns="0" rIns="0" bIns="0" rtlCol="0"/>
          <a:lstStyle/>
          <a:p>
            <a:endParaRPr/>
          </a:p>
        </p:txBody>
      </p:sp>
      <p:sp>
        <p:nvSpPr>
          <p:cNvPr id="61" name="object 61"/>
          <p:cNvSpPr txBox="1"/>
          <p:nvPr/>
        </p:nvSpPr>
        <p:spPr>
          <a:xfrm>
            <a:off x="8741664" y="4585715"/>
            <a:ext cx="3182620" cy="1903730"/>
          </a:xfrm>
          <a:prstGeom prst="rect">
            <a:avLst/>
          </a:prstGeom>
          <a:solidFill>
            <a:srgbClr val="F1F1F1"/>
          </a:solidFill>
        </p:spPr>
        <p:txBody>
          <a:bodyPr vert="horz" wrap="square" lIns="0" tIns="45720" rIns="0" bIns="0" rtlCol="0">
            <a:spAutoFit/>
          </a:bodyPr>
          <a:lstStyle/>
          <a:p>
            <a:pPr marL="271145" indent="-179070">
              <a:lnSpc>
                <a:spcPct val="100000"/>
              </a:lnSpc>
              <a:spcBef>
                <a:spcPts val="360"/>
              </a:spcBef>
              <a:buClr>
                <a:srgbClr val="006FAC"/>
              </a:buClr>
              <a:buFont typeface="Wingdings"/>
              <a:buChar char=""/>
              <a:tabLst>
                <a:tab pos="271780" algn="l"/>
              </a:tabLst>
            </a:pPr>
            <a:r>
              <a:rPr sz="1200" spc="-5">
                <a:latin typeface="Verdana"/>
                <a:cs typeface="Verdana"/>
              </a:rPr>
              <a:t>JIRA</a:t>
            </a:r>
            <a:endParaRPr sz="1200">
              <a:latin typeface="Verdana"/>
              <a:cs typeface="Verdana"/>
            </a:endParaRPr>
          </a:p>
          <a:p>
            <a:pPr marL="271145" indent="-179070">
              <a:lnSpc>
                <a:spcPct val="100000"/>
              </a:lnSpc>
              <a:spcBef>
                <a:spcPts val="204"/>
              </a:spcBef>
              <a:buClr>
                <a:srgbClr val="006FAC"/>
              </a:buClr>
              <a:buFont typeface="Wingdings"/>
              <a:buChar char=""/>
              <a:tabLst>
                <a:tab pos="271780" algn="l"/>
              </a:tabLst>
            </a:pPr>
            <a:r>
              <a:rPr sz="1200" spc="-5">
                <a:latin typeface="Verdana"/>
                <a:cs typeface="Verdana"/>
              </a:rPr>
              <a:t>Confluence</a:t>
            </a:r>
            <a:endParaRPr sz="1200">
              <a:latin typeface="Verdana"/>
              <a:cs typeface="Verdana"/>
            </a:endParaRPr>
          </a:p>
          <a:p>
            <a:pPr marL="271145" indent="-179070">
              <a:lnSpc>
                <a:spcPct val="100000"/>
              </a:lnSpc>
              <a:spcBef>
                <a:spcPts val="204"/>
              </a:spcBef>
              <a:buClr>
                <a:srgbClr val="006FAC"/>
              </a:buClr>
              <a:buFont typeface="Wingdings"/>
              <a:buChar char=""/>
              <a:tabLst>
                <a:tab pos="271780" algn="l"/>
              </a:tabLst>
            </a:pPr>
            <a:r>
              <a:rPr sz="1200" spc="-5">
                <a:latin typeface="Verdana"/>
                <a:cs typeface="Verdana"/>
              </a:rPr>
              <a:t>Visual Studio</a:t>
            </a:r>
            <a:r>
              <a:rPr sz="1200" spc="35">
                <a:latin typeface="Verdana"/>
                <a:cs typeface="Verdana"/>
              </a:rPr>
              <a:t> </a:t>
            </a:r>
            <a:r>
              <a:rPr sz="1200" spc="-5">
                <a:latin typeface="Verdana"/>
                <a:cs typeface="Verdana"/>
              </a:rPr>
              <a:t>Code</a:t>
            </a:r>
            <a:endParaRPr sz="1200">
              <a:latin typeface="Verdana"/>
              <a:cs typeface="Verdana"/>
            </a:endParaRPr>
          </a:p>
          <a:p>
            <a:pPr marL="271145" indent="-179070">
              <a:lnSpc>
                <a:spcPct val="100000"/>
              </a:lnSpc>
              <a:spcBef>
                <a:spcPts val="190"/>
              </a:spcBef>
              <a:buClr>
                <a:srgbClr val="006FAC"/>
              </a:buClr>
              <a:buFont typeface="Wingdings"/>
              <a:buChar char=""/>
              <a:tabLst>
                <a:tab pos="271780" algn="l"/>
              </a:tabLst>
            </a:pPr>
            <a:r>
              <a:rPr sz="1200" spc="-5">
                <a:latin typeface="Verdana"/>
                <a:cs typeface="Verdana"/>
              </a:rPr>
              <a:t>BitBucket/GitHub</a:t>
            </a:r>
            <a:endParaRPr sz="1200">
              <a:latin typeface="Verdana"/>
              <a:cs typeface="Verdana"/>
            </a:endParaRPr>
          </a:p>
          <a:p>
            <a:pPr marL="271145" marR="1128395" indent="-178435">
              <a:lnSpc>
                <a:spcPct val="100000"/>
              </a:lnSpc>
              <a:spcBef>
                <a:spcPts val="204"/>
              </a:spcBef>
              <a:buClr>
                <a:srgbClr val="006FAC"/>
              </a:buClr>
              <a:buFont typeface="Wingdings"/>
              <a:buChar char=""/>
              <a:tabLst>
                <a:tab pos="271780" algn="l"/>
              </a:tabLst>
            </a:pPr>
            <a:r>
              <a:rPr sz="1200" spc="-5">
                <a:latin typeface="Verdana"/>
                <a:cs typeface="Verdana"/>
              </a:rPr>
              <a:t>Devops </a:t>
            </a:r>
            <a:r>
              <a:rPr sz="1200" spc="-25">
                <a:latin typeface="Verdana"/>
                <a:cs typeface="Verdana"/>
              </a:rPr>
              <a:t>Tooling  </a:t>
            </a:r>
            <a:r>
              <a:rPr sz="1200" spc="-5">
                <a:latin typeface="Verdana"/>
                <a:cs typeface="Verdana"/>
              </a:rPr>
              <a:t>(AN</a:t>
            </a:r>
            <a:r>
              <a:rPr sz="1200" spc="5">
                <a:latin typeface="Verdana"/>
                <a:cs typeface="Verdana"/>
              </a:rPr>
              <a:t>T</a:t>
            </a:r>
            <a:r>
              <a:rPr sz="1200" spc="-5">
                <a:latin typeface="Verdana"/>
                <a:cs typeface="Verdana"/>
              </a:rPr>
              <a:t>/</a:t>
            </a:r>
            <a:r>
              <a:rPr sz="1200" spc="-10">
                <a:latin typeface="Verdana"/>
                <a:cs typeface="Verdana"/>
              </a:rPr>
              <a:t>J</a:t>
            </a:r>
            <a:r>
              <a:rPr sz="1200">
                <a:latin typeface="Verdana"/>
                <a:cs typeface="Verdana"/>
              </a:rPr>
              <a:t>e</a:t>
            </a:r>
            <a:r>
              <a:rPr sz="1200" spc="-5">
                <a:latin typeface="Verdana"/>
                <a:cs typeface="Verdana"/>
              </a:rPr>
              <a:t>n</a:t>
            </a:r>
            <a:r>
              <a:rPr sz="1200">
                <a:latin typeface="Verdana"/>
                <a:cs typeface="Verdana"/>
              </a:rPr>
              <a:t>k</a:t>
            </a:r>
            <a:r>
              <a:rPr sz="1200" spc="-5">
                <a:latin typeface="Verdana"/>
                <a:cs typeface="Verdana"/>
              </a:rPr>
              <a:t>in</a:t>
            </a:r>
            <a:r>
              <a:rPr sz="1200">
                <a:latin typeface="Verdana"/>
                <a:cs typeface="Verdana"/>
              </a:rPr>
              <a:t>s</a:t>
            </a:r>
            <a:r>
              <a:rPr sz="1200" spc="-10">
                <a:latin typeface="Verdana"/>
                <a:cs typeface="Verdana"/>
              </a:rPr>
              <a:t>/</a:t>
            </a:r>
            <a:r>
              <a:rPr sz="1200">
                <a:latin typeface="Verdana"/>
                <a:cs typeface="Verdana"/>
              </a:rPr>
              <a:t>Ba</a:t>
            </a:r>
            <a:r>
              <a:rPr sz="1200" spc="-5">
                <a:latin typeface="Verdana"/>
                <a:cs typeface="Verdana"/>
              </a:rPr>
              <a:t>mb</a:t>
            </a:r>
            <a:r>
              <a:rPr sz="1200">
                <a:latin typeface="Verdana"/>
                <a:cs typeface="Verdana"/>
              </a:rPr>
              <a:t>oo)</a:t>
            </a:r>
          </a:p>
        </p:txBody>
      </p:sp>
      <p:sp>
        <p:nvSpPr>
          <p:cNvPr id="62" name="object 62"/>
          <p:cNvSpPr/>
          <p:nvPr/>
        </p:nvSpPr>
        <p:spPr>
          <a:xfrm>
            <a:off x="8741664" y="4219955"/>
            <a:ext cx="3182620" cy="381000"/>
          </a:xfrm>
          <a:custGeom>
            <a:avLst/>
            <a:gdLst/>
            <a:ahLst/>
            <a:cxnLst/>
            <a:rect l="l" t="t" r="r" b="b"/>
            <a:pathLst>
              <a:path w="3182620" h="381000">
                <a:moveTo>
                  <a:pt x="3182111" y="0"/>
                </a:moveTo>
                <a:lnTo>
                  <a:pt x="63500" y="0"/>
                </a:lnTo>
                <a:lnTo>
                  <a:pt x="38790" y="4992"/>
                </a:lnTo>
                <a:lnTo>
                  <a:pt x="18605" y="18605"/>
                </a:lnTo>
                <a:lnTo>
                  <a:pt x="4992" y="38790"/>
                </a:lnTo>
                <a:lnTo>
                  <a:pt x="0" y="63500"/>
                </a:lnTo>
                <a:lnTo>
                  <a:pt x="0" y="381000"/>
                </a:lnTo>
                <a:lnTo>
                  <a:pt x="3118611" y="381000"/>
                </a:lnTo>
                <a:lnTo>
                  <a:pt x="3143321" y="376007"/>
                </a:lnTo>
                <a:lnTo>
                  <a:pt x="3163506" y="362394"/>
                </a:lnTo>
                <a:lnTo>
                  <a:pt x="3177119" y="342209"/>
                </a:lnTo>
                <a:lnTo>
                  <a:pt x="3182111" y="317500"/>
                </a:lnTo>
                <a:lnTo>
                  <a:pt x="3182111" y="0"/>
                </a:lnTo>
                <a:close/>
              </a:path>
            </a:pathLst>
          </a:custGeom>
          <a:solidFill>
            <a:srgbClr val="421F5D"/>
          </a:solidFill>
        </p:spPr>
        <p:txBody>
          <a:bodyPr wrap="square" lIns="0" tIns="0" rIns="0" bIns="0" rtlCol="0"/>
          <a:lstStyle/>
          <a:p>
            <a:endParaRPr/>
          </a:p>
        </p:txBody>
      </p:sp>
      <p:sp>
        <p:nvSpPr>
          <p:cNvPr id="64" name="object 6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5" name="object 6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7</a:t>
            </a:fld>
            <a:endParaRPr/>
          </a:p>
        </p:txBody>
      </p:sp>
      <p:sp>
        <p:nvSpPr>
          <p:cNvPr id="66" name="object 50">
            <a:extLst>
              <a:ext uri="{FF2B5EF4-FFF2-40B4-BE49-F238E27FC236}">
                <a16:creationId xmlns:a16="http://schemas.microsoft.com/office/drawing/2014/main" id="{7184FCDF-5F5C-492F-A42F-8270C4FB86A3}"/>
              </a:ext>
            </a:extLst>
          </p:cNvPr>
          <p:cNvSpPr txBox="1"/>
          <p:nvPr/>
        </p:nvSpPr>
        <p:spPr>
          <a:xfrm>
            <a:off x="6253225" y="4310882"/>
            <a:ext cx="5805424" cy="197490"/>
          </a:xfrm>
          <a:prstGeom prst="rect">
            <a:avLst/>
          </a:prstGeom>
        </p:spPr>
        <p:txBody>
          <a:bodyPr vert="horz" wrap="square" lIns="0" tIns="12700" rIns="0" bIns="0" rtlCol="0">
            <a:spAutoFit/>
          </a:bodyPr>
          <a:lstStyle/>
          <a:p>
            <a:pPr marL="12700">
              <a:lnSpc>
                <a:spcPct val="100000"/>
              </a:lnSpc>
              <a:spcBef>
                <a:spcPts val="100"/>
              </a:spcBef>
              <a:tabLst>
                <a:tab pos="3208020" algn="l"/>
              </a:tabLst>
            </a:pPr>
            <a:r>
              <a:rPr sz="1200" b="1" spc="-5">
                <a:solidFill>
                  <a:srgbClr val="FFFFFF"/>
                </a:solidFill>
                <a:latin typeface="Verdana"/>
                <a:cs typeface="Verdana"/>
              </a:rPr>
              <a:t>Activities	</a:t>
            </a:r>
            <a:r>
              <a:rPr sz="1200" b="1">
                <a:solidFill>
                  <a:srgbClr val="FFFFFF"/>
                </a:solidFill>
                <a:latin typeface="Verdana"/>
                <a:cs typeface="Verdana"/>
              </a:rPr>
              <a:t>ALM</a:t>
            </a:r>
            <a:r>
              <a:rPr sz="1200" b="1" spc="-80">
                <a:solidFill>
                  <a:srgbClr val="FFFFFF"/>
                </a:solidFill>
                <a:latin typeface="Verdana"/>
                <a:cs typeface="Verdana"/>
              </a:rPr>
              <a:t> </a:t>
            </a:r>
            <a:r>
              <a:rPr sz="1200" b="1">
                <a:solidFill>
                  <a:srgbClr val="FFFFFF"/>
                </a:solidFill>
                <a:latin typeface="Verdana"/>
                <a:cs typeface="Verdana"/>
              </a:rPr>
              <a:t>Tools</a:t>
            </a:r>
            <a:r>
              <a:rPr lang="it-IT" sz="1200" b="1">
                <a:solidFill>
                  <a:srgbClr val="FFFFFF"/>
                </a:solidFill>
                <a:latin typeface="Verdana"/>
                <a:cs typeface="Verdana"/>
              </a:rPr>
              <a:t> (</a:t>
            </a:r>
            <a:r>
              <a:rPr lang="it-IT" sz="1200" b="1" err="1">
                <a:solidFill>
                  <a:srgbClr val="FFFFFF"/>
                </a:solidFill>
                <a:latin typeface="Verdana"/>
                <a:cs typeface="Verdana"/>
              </a:rPr>
              <a:t>examples</a:t>
            </a:r>
            <a:r>
              <a:rPr lang="it-IT" sz="1200" b="1">
                <a:solidFill>
                  <a:srgbClr val="FFFFFF"/>
                </a:solidFill>
                <a:latin typeface="Verdana"/>
                <a:cs typeface="Verdana"/>
              </a:rPr>
              <a:t>) </a:t>
            </a:r>
            <a:endParaRPr sz="1200">
              <a:latin typeface="Verdana"/>
              <a:cs typeface="Verdana"/>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240655" cy="422275"/>
          </a:xfrm>
          <a:prstGeom prst="rect">
            <a:avLst/>
          </a:prstGeom>
        </p:spPr>
        <p:txBody>
          <a:bodyPr vert="horz" wrap="square" lIns="0" tIns="12700" rIns="0" bIns="0" rtlCol="0">
            <a:spAutoFit/>
          </a:bodyPr>
          <a:lstStyle/>
          <a:p>
            <a:pPr marL="12700">
              <a:lnSpc>
                <a:spcPct val="100000"/>
              </a:lnSpc>
              <a:spcBef>
                <a:spcPts val="100"/>
              </a:spcBef>
            </a:pPr>
            <a:r>
              <a:rPr sz="2600"/>
              <a:t>Methodology </a:t>
            </a:r>
            <a:r>
              <a:rPr sz="2600" spc="-5"/>
              <a:t>Phase </a:t>
            </a:r>
            <a:r>
              <a:rPr sz="2600"/>
              <a:t>3 –</a:t>
            </a:r>
            <a:r>
              <a:rPr sz="2600" spc="-95"/>
              <a:t> </a:t>
            </a:r>
            <a:r>
              <a:rPr sz="2600"/>
              <a:t>Closure</a:t>
            </a:r>
          </a:p>
        </p:txBody>
      </p:sp>
      <p:sp>
        <p:nvSpPr>
          <p:cNvPr id="3" name="object 3"/>
          <p:cNvSpPr/>
          <p:nvPr/>
        </p:nvSpPr>
        <p:spPr>
          <a:xfrm>
            <a:off x="5263896" y="1057655"/>
            <a:ext cx="114300" cy="5400040"/>
          </a:xfrm>
          <a:custGeom>
            <a:avLst/>
            <a:gdLst/>
            <a:ahLst/>
            <a:cxnLst/>
            <a:rect l="l" t="t" r="r" b="b"/>
            <a:pathLst>
              <a:path w="114300" h="5400040">
                <a:moveTo>
                  <a:pt x="38100" y="110465"/>
                </a:moveTo>
                <a:lnTo>
                  <a:pt x="38100" y="5399976"/>
                </a:lnTo>
                <a:lnTo>
                  <a:pt x="76200" y="5399976"/>
                </a:lnTo>
                <a:lnTo>
                  <a:pt x="76200" y="114300"/>
                </a:lnTo>
                <a:lnTo>
                  <a:pt x="57150" y="114300"/>
                </a:lnTo>
                <a:lnTo>
                  <a:pt x="38100" y="110465"/>
                </a:lnTo>
                <a:close/>
              </a:path>
              <a:path w="114300" h="5400040">
                <a:moveTo>
                  <a:pt x="76200" y="57150"/>
                </a:moveTo>
                <a:lnTo>
                  <a:pt x="38100" y="57150"/>
                </a:lnTo>
                <a:lnTo>
                  <a:pt x="38100" y="110465"/>
                </a:lnTo>
                <a:lnTo>
                  <a:pt x="57150" y="114300"/>
                </a:lnTo>
                <a:lnTo>
                  <a:pt x="76200" y="110465"/>
                </a:lnTo>
                <a:lnTo>
                  <a:pt x="76200" y="57150"/>
                </a:lnTo>
                <a:close/>
              </a:path>
              <a:path w="114300" h="5400040">
                <a:moveTo>
                  <a:pt x="76200" y="110465"/>
                </a:moveTo>
                <a:lnTo>
                  <a:pt x="57150" y="114300"/>
                </a:lnTo>
                <a:lnTo>
                  <a:pt x="76200" y="114300"/>
                </a:lnTo>
                <a:lnTo>
                  <a:pt x="76200" y="110465"/>
                </a:lnTo>
                <a:close/>
              </a:path>
              <a:path w="114300" h="5400040">
                <a:moveTo>
                  <a:pt x="57150" y="0"/>
                </a:moveTo>
                <a:lnTo>
                  <a:pt x="34879" y="4482"/>
                </a:lnTo>
                <a:lnTo>
                  <a:pt x="16716" y="16716"/>
                </a:lnTo>
                <a:lnTo>
                  <a:pt x="4482" y="34879"/>
                </a:lnTo>
                <a:lnTo>
                  <a:pt x="0" y="57150"/>
                </a:lnTo>
                <a:lnTo>
                  <a:pt x="4482" y="79420"/>
                </a:lnTo>
                <a:lnTo>
                  <a:pt x="16716" y="97583"/>
                </a:lnTo>
                <a:lnTo>
                  <a:pt x="34879" y="109817"/>
                </a:lnTo>
                <a:lnTo>
                  <a:pt x="38100" y="110465"/>
                </a:lnTo>
                <a:lnTo>
                  <a:pt x="38100" y="57150"/>
                </a:lnTo>
                <a:lnTo>
                  <a:pt x="114300" y="57150"/>
                </a:lnTo>
                <a:lnTo>
                  <a:pt x="109817" y="34879"/>
                </a:lnTo>
                <a:lnTo>
                  <a:pt x="97583" y="16716"/>
                </a:lnTo>
                <a:lnTo>
                  <a:pt x="79420" y="4482"/>
                </a:lnTo>
                <a:lnTo>
                  <a:pt x="57150" y="0"/>
                </a:lnTo>
                <a:close/>
              </a:path>
              <a:path w="114300" h="5400040">
                <a:moveTo>
                  <a:pt x="114300" y="57150"/>
                </a:moveTo>
                <a:lnTo>
                  <a:pt x="76200" y="57150"/>
                </a:lnTo>
                <a:lnTo>
                  <a:pt x="76200" y="110465"/>
                </a:lnTo>
                <a:lnTo>
                  <a:pt x="79420" y="109817"/>
                </a:lnTo>
                <a:lnTo>
                  <a:pt x="97583" y="97583"/>
                </a:lnTo>
                <a:lnTo>
                  <a:pt x="109817" y="79420"/>
                </a:lnTo>
                <a:lnTo>
                  <a:pt x="114300" y="57150"/>
                </a:lnTo>
                <a:close/>
              </a:path>
            </a:pathLst>
          </a:custGeom>
          <a:solidFill>
            <a:srgbClr val="909090"/>
          </a:solidFill>
        </p:spPr>
        <p:txBody>
          <a:bodyPr wrap="square" lIns="0" tIns="0" rIns="0" bIns="0" rtlCol="0"/>
          <a:lstStyle/>
          <a:p>
            <a:endParaRPr/>
          </a:p>
        </p:txBody>
      </p:sp>
      <p:sp>
        <p:nvSpPr>
          <p:cNvPr id="4" name="object 4"/>
          <p:cNvSpPr txBox="1"/>
          <p:nvPr/>
        </p:nvSpPr>
        <p:spPr>
          <a:xfrm>
            <a:off x="5509259" y="4585715"/>
            <a:ext cx="3182620" cy="1903730"/>
          </a:xfrm>
          <a:prstGeom prst="rect">
            <a:avLst/>
          </a:prstGeom>
          <a:solidFill>
            <a:srgbClr val="F1F1F1"/>
          </a:solidFill>
        </p:spPr>
        <p:txBody>
          <a:bodyPr vert="horz" wrap="square" lIns="0" tIns="45720" rIns="0" bIns="0" rtlCol="0">
            <a:spAutoFit/>
          </a:bodyPr>
          <a:lstStyle/>
          <a:p>
            <a:pPr marL="269875" indent="-178435">
              <a:lnSpc>
                <a:spcPct val="100000"/>
              </a:lnSpc>
              <a:spcBef>
                <a:spcPts val="360"/>
              </a:spcBef>
              <a:buClr>
                <a:srgbClr val="006FAC"/>
              </a:buClr>
              <a:buFont typeface="Wingdings"/>
              <a:buChar char=""/>
              <a:tabLst>
                <a:tab pos="270510" algn="l"/>
              </a:tabLst>
            </a:pPr>
            <a:r>
              <a:rPr sz="1200" spc="-5">
                <a:latin typeface="Verdana"/>
                <a:cs typeface="Verdana"/>
              </a:rPr>
              <a:t>User</a:t>
            </a:r>
            <a:r>
              <a:rPr sz="1200" spc="-15">
                <a:latin typeface="Verdana"/>
                <a:cs typeface="Verdana"/>
              </a:rPr>
              <a:t> </a:t>
            </a:r>
            <a:r>
              <a:rPr sz="1200" spc="-5">
                <a:latin typeface="Verdana"/>
                <a:cs typeface="Verdana"/>
              </a:rPr>
              <a:t>Acceptance</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Production</a:t>
            </a:r>
            <a:r>
              <a:rPr sz="1200" spc="5">
                <a:latin typeface="Verdana"/>
                <a:cs typeface="Verdana"/>
              </a:rPr>
              <a:t> </a:t>
            </a:r>
            <a:r>
              <a:rPr sz="1200" spc="-10">
                <a:latin typeface="Verdana"/>
                <a:cs typeface="Verdana"/>
              </a:rPr>
              <a:t>Release</a:t>
            </a:r>
            <a:endParaRPr sz="1200">
              <a:latin typeface="Verdana"/>
              <a:cs typeface="Verdana"/>
            </a:endParaRPr>
          </a:p>
          <a:p>
            <a:pPr marL="269875" indent="-178435">
              <a:lnSpc>
                <a:spcPct val="100000"/>
              </a:lnSpc>
              <a:spcBef>
                <a:spcPts val="204"/>
              </a:spcBef>
              <a:buClr>
                <a:srgbClr val="006FAC"/>
              </a:buClr>
              <a:buFont typeface="Wingdings"/>
              <a:buChar char=""/>
              <a:tabLst>
                <a:tab pos="270510" algn="l"/>
              </a:tabLst>
            </a:pPr>
            <a:r>
              <a:rPr sz="1200" spc="-5">
                <a:latin typeface="Verdana"/>
                <a:cs typeface="Verdana"/>
              </a:rPr>
              <a:t>User</a:t>
            </a:r>
            <a:r>
              <a:rPr sz="1200" spc="-15">
                <a:latin typeface="Verdana"/>
                <a:cs typeface="Verdana"/>
              </a:rPr>
              <a:t> </a:t>
            </a:r>
            <a:r>
              <a:rPr sz="1200" spc="-25">
                <a:latin typeface="Verdana"/>
                <a:cs typeface="Verdana"/>
              </a:rPr>
              <a:t>Training</a:t>
            </a:r>
            <a:endParaRPr sz="1200">
              <a:latin typeface="Verdana"/>
              <a:cs typeface="Verdana"/>
            </a:endParaRPr>
          </a:p>
          <a:p>
            <a:pPr marL="269875" indent="-178435">
              <a:lnSpc>
                <a:spcPct val="100000"/>
              </a:lnSpc>
              <a:spcBef>
                <a:spcPts val="190"/>
              </a:spcBef>
              <a:buClr>
                <a:srgbClr val="006FAC"/>
              </a:buClr>
              <a:buFont typeface="Wingdings"/>
              <a:buChar char=""/>
              <a:tabLst>
                <a:tab pos="270510" algn="l"/>
              </a:tabLst>
            </a:pPr>
            <a:r>
              <a:rPr sz="1200" spc="-10">
                <a:latin typeface="Verdana"/>
                <a:cs typeface="Verdana"/>
              </a:rPr>
              <a:t>Operational</a:t>
            </a:r>
            <a:r>
              <a:rPr sz="1200" spc="10">
                <a:latin typeface="Verdana"/>
                <a:cs typeface="Verdana"/>
              </a:rPr>
              <a:t> </a:t>
            </a:r>
            <a:r>
              <a:rPr sz="1200" spc="-10">
                <a:latin typeface="Verdana"/>
                <a:cs typeface="Verdana"/>
              </a:rPr>
              <a:t>Handover</a:t>
            </a:r>
            <a:endParaRPr sz="1200">
              <a:latin typeface="Verdana"/>
              <a:cs typeface="Verdana"/>
            </a:endParaRPr>
          </a:p>
        </p:txBody>
      </p:sp>
      <p:sp>
        <p:nvSpPr>
          <p:cNvPr id="5" name="object 5"/>
          <p:cNvSpPr/>
          <p:nvPr/>
        </p:nvSpPr>
        <p:spPr>
          <a:xfrm>
            <a:off x="5509259" y="4219955"/>
            <a:ext cx="3182620" cy="381000"/>
          </a:xfrm>
          <a:custGeom>
            <a:avLst/>
            <a:gdLst/>
            <a:ahLst/>
            <a:cxnLst/>
            <a:rect l="l" t="t" r="r" b="b"/>
            <a:pathLst>
              <a:path w="3182620" h="381000">
                <a:moveTo>
                  <a:pt x="3182112" y="0"/>
                </a:moveTo>
                <a:lnTo>
                  <a:pt x="63500" y="0"/>
                </a:lnTo>
                <a:lnTo>
                  <a:pt x="38790" y="4992"/>
                </a:lnTo>
                <a:lnTo>
                  <a:pt x="18605" y="18605"/>
                </a:lnTo>
                <a:lnTo>
                  <a:pt x="4992" y="38790"/>
                </a:lnTo>
                <a:lnTo>
                  <a:pt x="0" y="63500"/>
                </a:lnTo>
                <a:lnTo>
                  <a:pt x="0" y="381000"/>
                </a:lnTo>
                <a:lnTo>
                  <a:pt x="3118612" y="381000"/>
                </a:lnTo>
                <a:lnTo>
                  <a:pt x="3143321" y="376007"/>
                </a:lnTo>
                <a:lnTo>
                  <a:pt x="3163506" y="362394"/>
                </a:lnTo>
                <a:lnTo>
                  <a:pt x="3177119" y="342209"/>
                </a:lnTo>
                <a:lnTo>
                  <a:pt x="3182112" y="317500"/>
                </a:lnTo>
                <a:lnTo>
                  <a:pt x="3182112" y="0"/>
                </a:lnTo>
                <a:close/>
              </a:path>
            </a:pathLst>
          </a:custGeom>
          <a:solidFill>
            <a:srgbClr val="421F5D"/>
          </a:solidFill>
        </p:spPr>
        <p:txBody>
          <a:bodyPr wrap="square" lIns="0" tIns="0" rIns="0" bIns="0" rtlCol="0"/>
          <a:lstStyle/>
          <a:p>
            <a:endParaRPr/>
          </a:p>
        </p:txBody>
      </p:sp>
      <p:sp>
        <p:nvSpPr>
          <p:cNvPr id="6" name="object 6"/>
          <p:cNvSpPr txBox="1"/>
          <p:nvPr/>
        </p:nvSpPr>
        <p:spPr>
          <a:xfrm>
            <a:off x="5509259" y="1481327"/>
            <a:ext cx="6414770" cy="2661285"/>
          </a:xfrm>
          <a:prstGeom prst="rect">
            <a:avLst/>
          </a:prstGeom>
          <a:solidFill>
            <a:srgbClr val="F1F1F1"/>
          </a:solidFill>
        </p:spPr>
        <p:txBody>
          <a:bodyPr vert="horz" wrap="square" lIns="0" tIns="44450" rIns="0" bIns="0" rtlCol="0">
            <a:spAutoFit/>
          </a:bodyPr>
          <a:lstStyle/>
          <a:p>
            <a:pPr marL="92075" marR="128905">
              <a:lnSpc>
                <a:spcPct val="100000"/>
              </a:lnSpc>
              <a:spcBef>
                <a:spcPts val="350"/>
              </a:spcBef>
            </a:pPr>
            <a:r>
              <a:rPr sz="1200" spc="-15">
                <a:latin typeface="Verdana"/>
                <a:cs typeface="Verdana"/>
              </a:rPr>
              <a:t>Closure </a:t>
            </a:r>
            <a:r>
              <a:rPr sz="1200" spc="-10">
                <a:latin typeface="Verdana"/>
                <a:cs typeface="Verdana"/>
              </a:rPr>
              <a:t>is </a:t>
            </a:r>
            <a:r>
              <a:rPr sz="1200" spc="-15">
                <a:latin typeface="Verdana"/>
                <a:cs typeface="Verdana"/>
              </a:rPr>
              <a:t>last phase </a:t>
            </a:r>
            <a:r>
              <a:rPr sz="1200" spc="-5">
                <a:latin typeface="Verdana"/>
                <a:cs typeface="Verdana"/>
              </a:rPr>
              <a:t>of </a:t>
            </a:r>
            <a:r>
              <a:rPr sz="1200" spc="-20">
                <a:latin typeface="Verdana"/>
                <a:cs typeface="Verdana"/>
              </a:rPr>
              <a:t>implementation </a:t>
            </a:r>
            <a:r>
              <a:rPr sz="1200" spc="-15">
                <a:latin typeface="Verdana"/>
                <a:cs typeface="Verdana"/>
              </a:rPr>
              <a:t>method that encompasses final  acceptance test </a:t>
            </a:r>
            <a:r>
              <a:rPr sz="1200" spc="-10">
                <a:latin typeface="Verdana"/>
                <a:cs typeface="Verdana"/>
              </a:rPr>
              <a:t>from </a:t>
            </a:r>
            <a:r>
              <a:rPr sz="1200" spc="-15">
                <a:latin typeface="Verdana"/>
                <a:cs typeface="Verdana"/>
              </a:rPr>
              <a:t>users, </a:t>
            </a:r>
            <a:r>
              <a:rPr sz="1200" spc="-20">
                <a:latin typeface="Verdana"/>
                <a:cs typeface="Verdana"/>
              </a:rPr>
              <a:t>adjustments </a:t>
            </a:r>
            <a:r>
              <a:rPr sz="1200" spc="-15">
                <a:latin typeface="Verdana"/>
                <a:cs typeface="Verdana"/>
              </a:rPr>
              <a:t>and fixes </a:t>
            </a:r>
            <a:r>
              <a:rPr sz="1200" spc="-20">
                <a:latin typeface="Verdana"/>
                <a:cs typeface="Verdana"/>
              </a:rPr>
              <a:t>emanating </a:t>
            </a:r>
            <a:r>
              <a:rPr sz="1200" spc="-10">
                <a:latin typeface="Verdana"/>
                <a:cs typeface="Verdana"/>
              </a:rPr>
              <a:t>from it </a:t>
            </a:r>
            <a:r>
              <a:rPr sz="1200" spc="-15">
                <a:latin typeface="Verdana"/>
                <a:cs typeface="Verdana"/>
              </a:rPr>
              <a:t>and final  production release. </a:t>
            </a:r>
            <a:r>
              <a:rPr sz="1200" spc="-25">
                <a:latin typeface="Verdana"/>
                <a:cs typeface="Verdana"/>
              </a:rPr>
              <a:t>Key </a:t>
            </a:r>
            <a:r>
              <a:rPr sz="1200" spc="-10">
                <a:latin typeface="Verdana"/>
                <a:cs typeface="Verdana"/>
              </a:rPr>
              <a:t>User </a:t>
            </a:r>
            <a:r>
              <a:rPr sz="1200" spc="-20">
                <a:latin typeface="Verdana"/>
                <a:cs typeface="Verdana"/>
              </a:rPr>
              <a:t>trainings </a:t>
            </a:r>
            <a:r>
              <a:rPr sz="1200" spc="-40">
                <a:latin typeface="Verdana"/>
                <a:cs typeface="Verdana"/>
              </a:rPr>
              <a:t>(Train </a:t>
            </a:r>
            <a:r>
              <a:rPr sz="1200" spc="-15">
                <a:latin typeface="Verdana"/>
                <a:cs typeface="Verdana"/>
              </a:rPr>
              <a:t>the </a:t>
            </a:r>
            <a:r>
              <a:rPr sz="1200" spc="-30">
                <a:latin typeface="Verdana"/>
                <a:cs typeface="Verdana"/>
              </a:rPr>
              <a:t>Trainer) </a:t>
            </a:r>
            <a:r>
              <a:rPr sz="1200" spc="-10">
                <a:latin typeface="Verdana"/>
                <a:cs typeface="Verdana"/>
              </a:rPr>
              <a:t>are </a:t>
            </a:r>
            <a:r>
              <a:rPr sz="1200" spc="-15">
                <a:latin typeface="Verdana"/>
                <a:cs typeface="Verdana"/>
              </a:rPr>
              <a:t>conducted </a:t>
            </a:r>
            <a:r>
              <a:rPr sz="1200" spc="-10">
                <a:latin typeface="Verdana"/>
                <a:cs typeface="Verdana"/>
              </a:rPr>
              <a:t>for  </a:t>
            </a:r>
            <a:r>
              <a:rPr sz="1200" spc="-15">
                <a:latin typeface="Verdana"/>
                <a:cs typeface="Verdana"/>
              </a:rPr>
              <a:t>Process Owners and other key users </a:t>
            </a:r>
            <a:r>
              <a:rPr sz="1200" spc="-10">
                <a:latin typeface="Verdana"/>
                <a:cs typeface="Verdana"/>
              </a:rPr>
              <a:t>of </a:t>
            </a:r>
            <a:r>
              <a:rPr sz="1200" spc="-15">
                <a:latin typeface="Verdana"/>
                <a:cs typeface="Verdana"/>
              </a:rPr>
              <a:t>system. System </a:t>
            </a:r>
            <a:r>
              <a:rPr sz="1200" spc="-10">
                <a:latin typeface="Verdana"/>
                <a:cs typeface="Verdana"/>
              </a:rPr>
              <a:t>is </a:t>
            </a:r>
            <a:r>
              <a:rPr sz="1200" spc="-20">
                <a:latin typeface="Verdana"/>
                <a:cs typeface="Verdana"/>
              </a:rPr>
              <a:t>moved </a:t>
            </a:r>
            <a:r>
              <a:rPr sz="1200" spc="-10">
                <a:latin typeface="Verdana"/>
                <a:cs typeface="Verdana"/>
              </a:rPr>
              <a:t>from </a:t>
            </a:r>
            <a:r>
              <a:rPr sz="1200" spc="-45">
                <a:latin typeface="Verdana"/>
                <a:cs typeface="Verdana"/>
              </a:rPr>
              <a:t>Test </a:t>
            </a:r>
            <a:r>
              <a:rPr sz="1200" spc="-10">
                <a:latin typeface="Verdana"/>
                <a:cs typeface="Verdana"/>
              </a:rPr>
              <a:t>or </a:t>
            </a:r>
            <a:r>
              <a:rPr sz="1200" spc="-5">
                <a:latin typeface="Verdana"/>
                <a:cs typeface="Verdana"/>
              </a:rPr>
              <a:t>QA  </a:t>
            </a:r>
            <a:r>
              <a:rPr sz="1200" spc="-20">
                <a:latin typeface="Verdana"/>
                <a:cs typeface="Verdana"/>
              </a:rPr>
              <a:t>Sandbox </a:t>
            </a:r>
            <a:r>
              <a:rPr sz="1200" spc="-10">
                <a:latin typeface="Verdana"/>
                <a:cs typeface="Verdana"/>
              </a:rPr>
              <a:t>to </a:t>
            </a:r>
            <a:r>
              <a:rPr sz="1200" spc="-15">
                <a:latin typeface="Verdana"/>
                <a:cs typeface="Verdana"/>
              </a:rPr>
              <a:t>Production </a:t>
            </a:r>
            <a:r>
              <a:rPr sz="1200" spc="-20">
                <a:latin typeface="Verdana"/>
                <a:cs typeface="Verdana"/>
              </a:rPr>
              <a:t>Sandbox </a:t>
            </a:r>
            <a:r>
              <a:rPr sz="1200" spc="-15">
                <a:latin typeface="Verdana"/>
                <a:cs typeface="Verdana"/>
              </a:rPr>
              <a:t>and </a:t>
            </a:r>
            <a:r>
              <a:rPr sz="1200" spc="-10">
                <a:latin typeface="Verdana"/>
                <a:cs typeface="Verdana"/>
              </a:rPr>
              <a:t>is </a:t>
            </a:r>
            <a:r>
              <a:rPr sz="1200" spc="-15">
                <a:latin typeface="Verdana"/>
                <a:cs typeface="Verdana"/>
              </a:rPr>
              <a:t>handed </a:t>
            </a:r>
            <a:r>
              <a:rPr sz="1200" spc="-20">
                <a:latin typeface="Verdana"/>
                <a:cs typeface="Verdana"/>
              </a:rPr>
              <a:t>over </a:t>
            </a:r>
            <a:r>
              <a:rPr sz="1200" spc="-10">
                <a:latin typeface="Verdana"/>
                <a:cs typeface="Verdana"/>
              </a:rPr>
              <a:t>to </a:t>
            </a:r>
            <a:r>
              <a:rPr sz="1200" spc="-20">
                <a:latin typeface="Verdana"/>
                <a:cs typeface="Verdana"/>
              </a:rPr>
              <a:t>operation </a:t>
            </a:r>
            <a:r>
              <a:rPr sz="1200" spc="-15">
                <a:latin typeface="Verdana"/>
                <a:cs typeface="Verdana"/>
              </a:rPr>
              <a:t>team </a:t>
            </a:r>
            <a:r>
              <a:rPr sz="1200" spc="-10">
                <a:latin typeface="Verdana"/>
                <a:cs typeface="Verdana"/>
              </a:rPr>
              <a:t>for  </a:t>
            </a:r>
            <a:r>
              <a:rPr sz="1200" spc="-20">
                <a:latin typeface="Verdana"/>
                <a:cs typeface="Verdana"/>
              </a:rPr>
              <a:t>managing </a:t>
            </a:r>
            <a:r>
              <a:rPr sz="1200" spc="-15">
                <a:latin typeface="Verdana"/>
                <a:cs typeface="Verdana"/>
              </a:rPr>
              <a:t>its </a:t>
            </a:r>
            <a:r>
              <a:rPr sz="1200" spc="-20">
                <a:latin typeface="Verdana"/>
                <a:cs typeface="Verdana"/>
              </a:rPr>
              <a:t>lifecycle </a:t>
            </a:r>
            <a:r>
              <a:rPr sz="1200" spc="-15">
                <a:latin typeface="Verdana"/>
                <a:cs typeface="Verdana"/>
              </a:rPr>
              <a:t>through </a:t>
            </a:r>
            <a:r>
              <a:rPr sz="1200" spc="-20">
                <a:latin typeface="Verdana"/>
                <a:cs typeface="Verdana"/>
              </a:rPr>
              <a:t>Application </a:t>
            </a:r>
            <a:r>
              <a:rPr sz="1200" spc="-15">
                <a:latin typeface="Verdana"/>
                <a:cs typeface="Verdana"/>
              </a:rPr>
              <a:t>management</a:t>
            </a:r>
            <a:r>
              <a:rPr sz="1200" spc="175">
                <a:latin typeface="Verdana"/>
                <a:cs typeface="Verdana"/>
              </a:rPr>
              <a:t> </a:t>
            </a:r>
            <a:r>
              <a:rPr sz="1200" spc="-15">
                <a:latin typeface="Verdana"/>
                <a:cs typeface="Verdana"/>
              </a:rPr>
              <a:t>process</a:t>
            </a:r>
            <a:endParaRPr sz="1200">
              <a:latin typeface="Verdana"/>
              <a:cs typeface="Verdana"/>
            </a:endParaRPr>
          </a:p>
        </p:txBody>
      </p:sp>
      <p:sp>
        <p:nvSpPr>
          <p:cNvPr id="7" name="object 7"/>
          <p:cNvSpPr/>
          <p:nvPr/>
        </p:nvSpPr>
        <p:spPr>
          <a:xfrm>
            <a:off x="5509259" y="1114044"/>
            <a:ext cx="6414770" cy="381000"/>
          </a:xfrm>
          <a:custGeom>
            <a:avLst/>
            <a:gdLst/>
            <a:ahLst/>
            <a:cxnLst/>
            <a:rect l="l" t="t" r="r" b="b"/>
            <a:pathLst>
              <a:path w="6414770" h="381000">
                <a:moveTo>
                  <a:pt x="6414516" y="0"/>
                </a:moveTo>
                <a:lnTo>
                  <a:pt x="63500" y="0"/>
                </a:lnTo>
                <a:lnTo>
                  <a:pt x="38790" y="4992"/>
                </a:lnTo>
                <a:lnTo>
                  <a:pt x="18605" y="18605"/>
                </a:lnTo>
                <a:lnTo>
                  <a:pt x="4992" y="38790"/>
                </a:lnTo>
                <a:lnTo>
                  <a:pt x="0" y="63500"/>
                </a:lnTo>
                <a:lnTo>
                  <a:pt x="0" y="381000"/>
                </a:lnTo>
                <a:lnTo>
                  <a:pt x="6351016" y="381000"/>
                </a:lnTo>
                <a:lnTo>
                  <a:pt x="6375725" y="376007"/>
                </a:lnTo>
                <a:lnTo>
                  <a:pt x="6395910" y="362394"/>
                </a:lnTo>
                <a:lnTo>
                  <a:pt x="6409523" y="342209"/>
                </a:lnTo>
                <a:lnTo>
                  <a:pt x="6414516" y="317500"/>
                </a:lnTo>
                <a:lnTo>
                  <a:pt x="6414516" y="0"/>
                </a:lnTo>
                <a:close/>
              </a:path>
            </a:pathLst>
          </a:custGeom>
          <a:solidFill>
            <a:srgbClr val="006FAC"/>
          </a:solidFill>
        </p:spPr>
        <p:txBody>
          <a:bodyPr wrap="square" lIns="0" tIns="0" rIns="0" bIns="0" rtlCol="0"/>
          <a:lstStyle/>
          <a:p>
            <a:endParaRPr/>
          </a:p>
        </p:txBody>
      </p:sp>
      <p:sp>
        <p:nvSpPr>
          <p:cNvPr id="8" name="object 8"/>
          <p:cNvSpPr txBox="1"/>
          <p:nvPr/>
        </p:nvSpPr>
        <p:spPr>
          <a:xfrm>
            <a:off x="8384540" y="1199134"/>
            <a:ext cx="66738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FFFFFF"/>
                </a:solidFill>
                <a:latin typeface="Verdana"/>
                <a:cs typeface="Verdana"/>
              </a:rPr>
              <a:t>C</a:t>
            </a:r>
            <a:r>
              <a:rPr sz="1200" b="1">
                <a:solidFill>
                  <a:srgbClr val="FFFFFF"/>
                </a:solidFill>
                <a:latin typeface="Verdana"/>
                <a:cs typeface="Verdana"/>
              </a:rPr>
              <a:t>los</a:t>
            </a:r>
            <a:r>
              <a:rPr sz="1200" b="1" spc="-5">
                <a:solidFill>
                  <a:srgbClr val="FFFFFF"/>
                </a:solidFill>
                <a:latin typeface="Verdana"/>
                <a:cs typeface="Verdana"/>
              </a:rPr>
              <a:t>ure</a:t>
            </a:r>
            <a:endParaRPr sz="1200">
              <a:latin typeface="Verdana"/>
              <a:cs typeface="Verdana"/>
            </a:endParaRPr>
          </a:p>
        </p:txBody>
      </p:sp>
      <p:sp>
        <p:nvSpPr>
          <p:cNvPr id="9" name="object 9"/>
          <p:cNvSpPr/>
          <p:nvPr/>
        </p:nvSpPr>
        <p:spPr>
          <a:xfrm>
            <a:off x="795805" y="5234928"/>
            <a:ext cx="278765" cy="278765"/>
          </a:xfrm>
          <a:custGeom>
            <a:avLst/>
            <a:gdLst/>
            <a:ahLst/>
            <a:cxnLst/>
            <a:rect l="l" t="t" r="r" b="b"/>
            <a:pathLst>
              <a:path w="278765" h="278764">
                <a:moveTo>
                  <a:pt x="150760" y="193940"/>
                </a:moveTo>
                <a:lnTo>
                  <a:pt x="64428" y="193940"/>
                </a:lnTo>
                <a:lnTo>
                  <a:pt x="75325" y="197623"/>
                </a:lnTo>
                <a:lnTo>
                  <a:pt x="78995" y="204989"/>
                </a:lnTo>
                <a:lnTo>
                  <a:pt x="112015" y="270902"/>
                </a:lnTo>
                <a:lnTo>
                  <a:pt x="115673" y="278268"/>
                </a:lnTo>
                <a:lnTo>
                  <a:pt x="180773" y="245629"/>
                </a:lnTo>
                <a:lnTo>
                  <a:pt x="184329" y="234707"/>
                </a:lnTo>
                <a:lnTo>
                  <a:pt x="173432" y="231024"/>
                </a:lnTo>
                <a:lnTo>
                  <a:pt x="162536" y="227214"/>
                </a:lnTo>
                <a:lnTo>
                  <a:pt x="158865" y="219975"/>
                </a:lnTo>
                <a:lnTo>
                  <a:pt x="155195" y="212609"/>
                </a:lnTo>
                <a:lnTo>
                  <a:pt x="151161" y="201195"/>
                </a:lnTo>
                <a:lnTo>
                  <a:pt x="150760" y="193940"/>
                </a:lnTo>
                <a:close/>
              </a:path>
              <a:path w="278765" h="278764">
                <a:moveTo>
                  <a:pt x="269370" y="169671"/>
                </a:moveTo>
                <a:lnTo>
                  <a:pt x="174101" y="169671"/>
                </a:lnTo>
                <a:lnTo>
                  <a:pt x="186690" y="171652"/>
                </a:lnTo>
                <a:lnTo>
                  <a:pt x="197942" y="177728"/>
                </a:lnTo>
                <a:lnTo>
                  <a:pt x="205817" y="187209"/>
                </a:lnTo>
                <a:lnTo>
                  <a:pt x="209488" y="194575"/>
                </a:lnTo>
                <a:lnTo>
                  <a:pt x="205919" y="205497"/>
                </a:lnTo>
                <a:lnTo>
                  <a:pt x="209589" y="212863"/>
                </a:lnTo>
                <a:lnTo>
                  <a:pt x="202363" y="216546"/>
                </a:lnTo>
                <a:lnTo>
                  <a:pt x="206033" y="223785"/>
                </a:lnTo>
                <a:lnTo>
                  <a:pt x="216930" y="227595"/>
                </a:lnTo>
                <a:lnTo>
                  <a:pt x="224220" y="223881"/>
                </a:lnTo>
                <a:lnTo>
                  <a:pt x="274778" y="198512"/>
                </a:lnTo>
                <a:lnTo>
                  <a:pt x="278347" y="187590"/>
                </a:lnTo>
                <a:lnTo>
                  <a:pt x="269370" y="169671"/>
                </a:lnTo>
                <a:close/>
              </a:path>
              <a:path w="278765" h="278764">
                <a:moveTo>
                  <a:pt x="24385" y="168159"/>
                </a:moveTo>
                <a:lnTo>
                  <a:pt x="17159" y="171715"/>
                </a:lnTo>
                <a:lnTo>
                  <a:pt x="7797" y="179562"/>
                </a:lnTo>
                <a:lnTo>
                  <a:pt x="1855" y="190861"/>
                </a:lnTo>
                <a:lnTo>
                  <a:pt x="0" y="203541"/>
                </a:lnTo>
                <a:lnTo>
                  <a:pt x="2897" y="215530"/>
                </a:lnTo>
                <a:lnTo>
                  <a:pt x="10200" y="223881"/>
                </a:lnTo>
                <a:lnTo>
                  <a:pt x="20196" y="227468"/>
                </a:lnTo>
                <a:lnTo>
                  <a:pt x="31527" y="226960"/>
                </a:lnTo>
                <a:lnTo>
                  <a:pt x="42838" y="223023"/>
                </a:lnTo>
                <a:lnTo>
                  <a:pt x="50064" y="219467"/>
                </a:lnTo>
                <a:lnTo>
                  <a:pt x="57303" y="215784"/>
                </a:lnTo>
                <a:lnTo>
                  <a:pt x="64428" y="193940"/>
                </a:lnTo>
                <a:lnTo>
                  <a:pt x="150760" y="193940"/>
                </a:lnTo>
                <a:lnTo>
                  <a:pt x="150529" y="189781"/>
                </a:lnTo>
                <a:lnTo>
                  <a:pt x="153986" y="179748"/>
                </a:lnTo>
                <a:lnTo>
                  <a:pt x="162218" y="172477"/>
                </a:lnTo>
                <a:lnTo>
                  <a:pt x="164369" y="171969"/>
                </a:lnTo>
                <a:lnTo>
                  <a:pt x="53417" y="171969"/>
                </a:lnTo>
                <a:lnTo>
                  <a:pt x="53054" y="171842"/>
                </a:lnTo>
                <a:lnTo>
                  <a:pt x="35294" y="171842"/>
                </a:lnTo>
                <a:lnTo>
                  <a:pt x="24385" y="168159"/>
                </a:lnTo>
                <a:close/>
              </a:path>
              <a:path w="278765" h="278764">
                <a:moveTo>
                  <a:pt x="132175" y="58812"/>
                </a:moveTo>
                <a:lnTo>
                  <a:pt x="96292" y="58812"/>
                </a:lnTo>
                <a:lnTo>
                  <a:pt x="97744" y="64833"/>
                </a:lnTo>
                <a:lnTo>
                  <a:pt x="96816" y="71163"/>
                </a:lnTo>
                <a:lnTo>
                  <a:pt x="93846" y="76779"/>
                </a:lnTo>
                <a:lnTo>
                  <a:pt x="89168" y="80656"/>
                </a:lnTo>
                <a:lnTo>
                  <a:pt x="31307" y="109612"/>
                </a:lnTo>
                <a:lnTo>
                  <a:pt x="34977" y="116978"/>
                </a:lnTo>
                <a:lnTo>
                  <a:pt x="56986" y="160920"/>
                </a:lnTo>
                <a:lnTo>
                  <a:pt x="53417" y="171969"/>
                </a:lnTo>
                <a:lnTo>
                  <a:pt x="164369" y="171969"/>
                </a:lnTo>
                <a:lnTo>
                  <a:pt x="174101" y="169671"/>
                </a:lnTo>
                <a:lnTo>
                  <a:pt x="269370" y="169671"/>
                </a:lnTo>
                <a:lnTo>
                  <a:pt x="256612" y="144204"/>
                </a:lnTo>
                <a:lnTo>
                  <a:pt x="186534" y="144204"/>
                </a:lnTo>
                <a:lnTo>
                  <a:pt x="176543" y="140622"/>
                </a:lnTo>
                <a:lnTo>
                  <a:pt x="169241" y="132218"/>
                </a:lnTo>
                <a:lnTo>
                  <a:pt x="166337" y="120249"/>
                </a:lnTo>
                <a:lnTo>
                  <a:pt x="168189" y="107612"/>
                </a:lnTo>
                <a:lnTo>
                  <a:pt x="174129" y="96357"/>
                </a:lnTo>
                <a:lnTo>
                  <a:pt x="183491" y="88530"/>
                </a:lnTo>
                <a:lnTo>
                  <a:pt x="190730" y="84847"/>
                </a:lnTo>
                <a:lnTo>
                  <a:pt x="221002" y="84847"/>
                </a:lnTo>
                <a:lnTo>
                  <a:pt x="223318" y="77735"/>
                </a:lnTo>
                <a:lnTo>
                  <a:pt x="219660" y="70369"/>
                </a:lnTo>
                <a:lnTo>
                  <a:pt x="213945" y="58939"/>
                </a:lnTo>
                <a:lnTo>
                  <a:pt x="132551" y="58939"/>
                </a:lnTo>
                <a:lnTo>
                  <a:pt x="132175" y="58812"/>
                </a:lnTo>
                <a:close/>
              </a:path>
              <a:path w="278765" h="278764">
                <a:moveTo>
                  <a:pt x="42521" y="168159"/>
                </a:moveTo>
                <a:lnTo>
                  <a:pt x="35294" y="171842"/>
                </a:lnTo>
                <a:lnTo>
                  <a:pt x="53054" y="171842"/>
                </a:lnTo>
                <a:lnTo>
                  <a:pt x="42521" y="168159"/>
                </a:lnTo>
                <a:close/>
              </a:path>
              <a:path w="278765" h="278764">
                <a:moveTo>
                  <a:pt x="230760" y="110628"/>
                </a:moveTo>
                <a:lnTo>
                  <a:pt x="229131" y="113024"/>
                </a:lnTo>
                <a:lnTo>
                  <a:pt x="225821" y="118836"/>
                </a:lnTo>
                <a:lnTo>
                  <a:pt x="223200" y="126005"/>
                </a:lnTo>
                <a:lnTo>
                  <a:pt x="223635" y="132472"/>
                </a:lnTo>
                <a:lnTo>
                  <a:pt x="216409" y="136155"/>
                </a:lnTo>
                <a:lnTo>
                  <a:pt x="209170" y="139711"/>
                </a:lnTo>
                <a:lnTo>
                  <a:pt x="197861" y="143666"/>
                </a:lnTo>
                <a:lnTo>
                  <a:pt x="186534" y="144204"/>
                </a:lnTo>
                <a:lnTo>
                  <a:pt x="256612" y="144204"/>
                </a:lnTo>
                <a:lnTo>
                  <a:pt x="245327" y="121677"/>
                </a:lnTo>
                <a:lnTo>
                  <a:pt x="241669" y="114311"/>
                </a:lnTo>
                <a:lnTo>
                  <a:pt x="230760" y="110628"/>
                </a:lnTo>
                <a:close/>
              </a:path>
              <a:path w="278765" h="278764">
                <a:moveTo>
                  <a:pt x="221002" y="84847"/>
                </a:moveTo>
                <a:lnTo>
                  <a:pt x="190730" y="84847"/>
                </a:lnTo>
                <a:lnTo>
                  <a:pt x="212523" y="92213"/>
                </a:lnTo>
                <a:lnTo>
                  <a:pt x="219762" y="88657"/>
                </a:lnTo>
                <a:lnTo>
                  <a:pt x="221002" y="84847"/>
                </a:lnTo>
                <a:close/>
              </a:path>
              <a:path w="278765" h="278764">
                <a:moveTo>
                  <a:pt x="121654" y="55129"/>
                </a:moveTo>
                <a:lnTo>
                  <a:pt x="85396" y="55129"/>
                </a:lnTo>
                <a:lnTo>
                  <a:pt x="89053" y="62368"/>
                </a:lnTo>
                <a:lnTo>
                  <a:pt x="96292" y="58812"/>
                </a:lnTo>
                <a:lnTo>
                  <a:pt x="132175" y="58812"/>
                </a:lnTo>
                <a:lnTo>
                  <a:pt x="121654" y="55256"/>
                </a:lnTo>
                <a:close/>
              </a:path>
              <a:path w="278765" h="278764">
                <a:moveTo>
                  <a:pt x="197638" y="26427"/>
                </a:moveTo>
                <a:lnTo>
                  <a:pt x="190412" y="29983"/>
                </a:lnTo>
                <a:lnTo>
                  <a:pt x="183186" y="33666"/>
                </a:lnTo>
                <a:lnTo>
                  <a:pt x="132551" y="58939"/>
                </a:lnTo>
                <a:lnTo>
                  <a:pt x="213945" y="58939"/>
                </a:lnTo>
                <a:lnTo>
                  <a:pt x="201309" y="33666"/>
                </a:lnTo>
                <a:lnTo>
                  <a:pt x="197638" y="26427"/>
                </a:lnTo>
                <a:close/>
              </a:path>
              <a:path w="278765" h="278764">
                <a:moveTo>
                  <a:pt x="89208" y="0"/>
                </a:moveTo>
                <a:lnTo>
                  <a:pt x="77839" y="3821"/>
                </a:lnTo>
                <a:lnTo>
                  <a:pt x="69609" y="11094"/>
                </a:lnTo>
                <a:lnTo>
                  <a:pt x="66155" y="21141"/>
                </a:lnTo>
                <a:lnTo>
                  <a:pt x="66788" y="32593"/>
                </a:lnTo>
                <a:lnTo>
                  <a:pt x="70816" y="44080"/>
                </a:lnTo>
                <a:lnTo>
                  <a:pt x="74487" y="51446"/>
                </a:lnTo>
                <a:lnTo>
                  <a:pt x="78157" y="58685"/>
                </a:lnTo>
                <a:lnTo>
                  <a:pt x="85396" y="55129"/>
                </a:lnTo>
                <a:lnTo>
                  <a:pt x="121654" y="55129"/>
                </a:lnTo>
                <a:lnTo>
                  <a:pt x="121553" y="36968"/>
                </a:lnTo>
                <a:lnTo>
                  <a:pt x="125109" y="26046"/>
                </a:lnTo>
                <a:lnTo>
                  <a:pt x="121451" y="18680"/>
                </a:lnTo>
                <a:lnTo>
                  <a:pt x="112026" y="6072"/>
                </a:lnTo>
                <a:lnTo>
                  <a:pt x="100941" y="297"/>
                </a:lnTo>
                <a:lnTo>
                  <a:pt x="89208" y="0"/>
                </a:lnTo>
                <a:close/>
              </a:path>
            </a:pathLst>
          </a:custGeom>
          <a:solidFill>
            <a:srgbClr val="7E7E7E"/>
          </a:solidFill>
        </p:spPr>
        <p:txBody>
          <a:bodyPr wrap="square" lIns="0" tIns="0" rIns="0" bIns="0" rtlCol="0"/>
          <a:lstStyle/>
          <a:p>
            <a:endParaRPr/>
          </a:p>
        </p:txBody>
      </p:sp>
      <p:sp>
        <p:nvSpPr>
          <p:cNvPr id="10" name="object 10"/>
          <p:cNvSpPr/>
          <p:nvPr/>
        </p:nvSpPr>
        <p:spPr>
          <a:xfrm>
            <a:off x="536887" y="5373084"/>
            <a:ext cx="280670" cy="278130"/>
          </a:xfrm>
          <a:custGeom>
            <a:avLst/>
            <a:gdLst/>
            <a:ahLst/>
            <a:cxnLst/>
            <a:rect l="l" t="t" r="r" b="b"/>
            <a:pathLst>
              <a:path w="280669" h="278129">
                <a:moveTo>
                  <a:pt x="147810" y="197389"/>
                </a:moveTo>
                <a:lnTo>
                  <a:pt x="58958" y="197389"/>
                </a:lnTo>
                <a:lnTo>
                  <a:pt x="69854" y="201072"/>
                </a:lnTo>
                <a:lnTo>
                  <a:pt x="106545" y="274415"/>
                </a:lnTo>
                <a:lnTo>
                  <a:pt x="117441" y="278123"/>
                </a:lnTo>
                <a:lnTo>
                  <a:pt x="182529" y="245548"/>
                </a:lnTo>
                <a:lnTo>
                  <a:pt x="175201" y="230892"/>
                </a:lnTo>
                <a:lnTo>
                  <a:pt x="153395" y="223475"/>
                </a:lnTo>
                <a:lnTo>
                  <a:pt x="149725" y="216147"/>
                </a:lnTo>
                <a:lnTo>
                  <a:pt x="146822" y="204126"/>
                </a:lnTo>
                <a:lnTo>
                  <a:pt x="147810" y="197389"/>
                </a:lnTo>
                <a:close/>
              </a:path>
              <a:path w="280669" h="278129">
                <a:moveTo>
                  <a:pt x="29794" y="170799"/>
                </a:moveTo>
                <a:lnTo>
                  <a:pt x="21754" y="171682"/>
                </a:lnTo>
                <a:lnTo>
                  <a:pt x="11688" y="175291"/>
                </a:lnTo>
                <a:lnTo>
                  <a:pt x="3456" y="182562"/>
                </a:lnTo>
                <a:lnTo>
                  <a:pt x="0" y="192597"/>
                </a:lnTo>
                <a:lnTo>
                  <a:pt x="632" y="204014"/>
                </a:lnTo>
                <a:lnTo>
                  <a:pt x="4665" y="215436"/>
                </a:lnTo>
                <a:lnTo>
                  <a:pt x="10838" y="224375"/>
                </a:lnTo>
                <a:lnTo>
                  <a:pt x="18345" y="229209"/>
                </a:lnTo>
                <a:lnTo>
                  <a:pt x="27188" y="229938"/>
                </a:lnTo>
                <a:lnTo>
                  <a:pt x="37368" y="226561"/>
                </a:lnTo>
                <a:lnTo>
                  <a:pt x="59059" y="215703"/>
                </a:lnTo>
                <a:lnTo>
                  <a:pt x="55402" y="208311"/>
                </a:lnTo>
                <a:lnTo>
                  <a:pt x="62628" y="204755"/>
                </a:lnTo>
                <a:lnTo>
                  <a:pt x="58958" y="197389"/>
                </a:lnTo>
                <a:lnTo>
                  <a:pt x="147810" y="197389"/>
                </a:lnTo>
                <a:lnTo>
                  <a:pt x="148678" y="191463"/>
                </a:lnTo>
                <a:lnTo>
                  <a:pt x="154623" y="180198"/>
                </a:lnTo>
                <a:lnTo>
                  <a:pt x="160341" y="175418"/>
                </a:lnTo>
                <a:lnTo>
                  <a:pt x="47959" y="175418"/>
                </a:lnTo>
                <a:lnTo>
                  <a:pt x="37050" y="171735"/>
                </a:lnTo>
                <a:lnTo>
                  <a:pt x="35122" y="171273"/>
                </a:lnTo>
                <a:lnTo>
                  <a:pt x="29794" y="170799"/>
                </a:lnTo>
                <a:close/>
              </a:path>
              <a:path w="280669" h="278129">
                <a:moveTo>
                  <a:pt x="271140" y="169566"/>
                </a:moveTo>
                <a:lnTo>
                  <a:pt x="175864" y="169566"/>
                </a:lnTo>
                <a:lnTo>
                  <a:pt x="188453" y="171561"/>
                </a:lnTo>
                <a:lnTo>
                  <a:pt x="199709" y="177674"/>
                </a:lnTo>
                <a:lnTo>
                  <a:pt x="207586" y="187229"/>
                </a:lnTo>
                <a:lnTo>
                  <a:pt x="211256" y="194468"/>
                </a:lnTo>
                <a:lnTo>
                  <a:pt x="207687" y="205517"/>
                </a:lnTo>
                <a:lnTo>
                  <a:pt x="204119" y="216401"/>
                </a:lnTo>
                <a:lnTo>
                  <a:pt x="207789" y="223729"/>
                </a:lnTo>
                <a:lnTo>
                  <a:pt x="206445" y="225835"/>
                </a:lnTo>
                <a:lnTo>
                  <a:pt x="210534" y="226941"/>
                </a:lnTo>
                <a:lnTo>
                  <a:pt x="215977" y="227367"/>
                </a:lnTo>
                <a:lnTo>
                  <a:pt x="218698" y="227437"/>
                </a:lnTo>
                <a:lnTo>
                  <a:pt x="276547" y="198532"/>
                </a:lnTo>
                <a:lnTo>
                  <a:pt x="280115" y="187483"/>
                </a:lnTo>
                <a:lnTo>
                  <a:pt x="271140" y="169566"/>
                </a:lnTo>
                <a:close/>
              </a:path>
              <a:path w="280669" h="278129">
                <a:moveTo>
                  <a:pt x="122762" y="55022"/>
                </a:moveTo>
                <a:lnTo>
                  <a:pt x="87152" y="55022"/>
                </a:lnTo>
                <a:lnTo>
                  <a:pt x="90822" y="62388"/>
                </a:lnTo>
                <a:lnTo>
                  <a:pt x="94492" y="69627"/>
                </a:lnTo>
                <a:lnTo>
                  <a:pt x="90924" y="80549"/>
                </a:lnTo>
                <a:lnTo>
                  <a:pt x="33075" y="109632"/>
                </a:lnTo>
                <a:lnTo>
                  <a:pt x="25836" y="113188"/>
                </a:lnTo>
                <a:lnTo>
                  <a:pt x="29578" y="120697"/>
                </a:lnTo>
                <a:lnTo>
                  <a:pt x="51515" y="164496"/>
                </a:lnTo>
                <a:lnTo>
                  <a:pt x="55186" y="171862"/>
                </a:lnTo>
                <a:lnTo>
                  <a:pt x="47959" y="175418"/>
                </a:lnTo>
                <a:lnTo>
                  <a:pt x="160341" y="175418"/>
                </a:lnTo>
                <a:lnTo>
                  <a:pt x="163987" y="172370"/>
                </a:lnTo>
                <a:lnTo>
                  <a:pt x="175864" y="169566"/>
                </a:lnTo>
                <a:lnTo>
                  <a:pt x="271140" y="169566"/>
                </a:lnTo>
                <a:lnTo>
                  <a:pt x="259668" y="146667"/>
                </a:lnTo>
                <a:lnTo>
                  <a:pt x="193525" y="146667"/>
                </a:lnTo>
                <a:lnTo>
                  <a:pt x="184683" y="145938"/>
                </a:lnTo>
                <a:lnTo>
                  <a:pt x="177177" y="141091"/>
                </a:lnTo>
                <a:lnTo>
                  <a:pt x="171010" y="132111"/>
                </a:lnTo>
                <a:lnTo>
                  <a:pt x="166976" y="120697"/>
                </a:lnTo>
                <a:lnTo>
                  <a:pt x="166344" y="109283"/>
                </a:lnTo>
                <a:lnTo>
                  <a:pt x="169801" y="99250"/>
                </a:lnTo>
                <a:lnTo>
                  <a:pt x="178033" y="91979"/>
                </a:lnTo>
                <a:lnTo>
                  <a:pt x="192485" y="84740"/>
                </a:lnTo>
                <a:lnTo>
                  <a:pt x="220831" y="84740"/>
                </a:lnTo>
                <a:lnTo>
                  <a:pt x="221940" y="82629"/>
                </a:lnTo>
                <a:lnTo>
                  <a:pt x="222867" y="76285"/>
                </a:lnTo>
                <a:lnTo>
                  <a:pt x="221416" y="70262"/>
                </a:lnTo>
                <a:lnTo>
                  <a:pt x="215685" y="58832"/>
                </a:lnTo>
                <a:lnTo>
                  <a:pt x="134319" y="58832"/>
                </a:lnTo>
                <a:lnTo>
                  <a:pt x="123423" y="55149"/>
                </a:lnTo>
                <a:lnTo>
                  <a:pt x="122762" y="55022"/>
                </a:lnTo>
                <a:close/>
              </a:path>
              <a:path w="280669" h="278129">
                <a:moveTo>
                  <a:pt x="232529" y="110521"/>
                </a:moveTo>
                <a:lnTo>
                  <a:pt x="227737" y="114528"/>
                </a:lnTo>
                <a:lnTo>
                  <a:pt x="223985" y="120554"/>
                </a:lnTo>
                <a:lnTo>
                  <a:pt x="220899" y="127970"/>
                </a:lnTo>
                <a:lnTo>
                  <a:pt x="218165" y="136048"/>
                </a:lnTo>
                <a:lnTo>
                  <a:pt x="203700" y="143287"/>
                </a:lnTo>
                <a:lnTo>
                  <a:pt x="193525" y="146667"/>
                </a:lnTo>
                <a:lnTo>
                  <a:pt x="259668" y="146667"/>
                </a:lnTo>
                <a:lnTo>
                  <a:pt x="245260" y="117887"/>
                </a:lnTo>
                <a:lnTo>
                  <a:pt x="236199" y="117887"/>
                </a:lnTo>
                <a:lnTo>
                  <a:pt x="232529" y="110521"/>
                </a:lnTo>
                <a:close/>
              </a:path>
              <a:path w="280669" h="278129">
                <a:moveTo>
                  <a:pt x="243425" y="114204"/>
                </a:moveTo>
                <a:lnTo>
                  <a:pt x="236199" y="117887"/>
                </a:lnTo>
                <a:lnTo>
                  <a:pt x="245260" y="117887"/>
                </a:lnTo>
                <a:lnTo>
                  <a:pt x="243425" y="114204"/>
                </a:lnTo>
                <a:close/>
              </a:path>
              <a:path w="280669" h="278129">
                <a:moveTo>
                  <a:pt x="218803" y="88423"/>
                </a:moveTo>
                <a:lnTo>
                  <a:pt x="203395" y="88423"/>
                </a:lnTo>
                <a:lnTo>
                  <a:pt x="214291" y="92233"/>
                </a:lnTo>
                <a:lnTo>
                  <a:pt x="218803" y="88423"/>
                </a:lnTo>
                <a:close/>
              </a:path>
              <a:path w="280669" h="278129">
                <a:moveTo>
                  <a:pt x="220831" y="84740"/>
                </a:moveTo>
                <a:lnTo>
                  <a:pt x="192485" y="84740"/>
                </a:lnTo>
                <a:lnTo>
                  <a:pt x="196156" y="92106"/>
                </a:lnTo>
                <a:lnTo>
                  <a:pt x="203395" y="88423"/>
                </a:lnTo>
                <a:lnTo>
                  <a:pt x="218803" y="88423"/>
                </a:lnTo>
                <a:lnTo>
                  <a:pt x="218969" y="88282"/>
                </a:lnTo>
                <a:lnTo>
                  <a:pt x="220831" y="84740"/>
                </a:lnTo>
                <a:close/>
              </a:path>
              <a:path w="280669" h="278129">
                <a:moveTo>
                  <a:pt x="199407" y="26320"/>
                </a:moveTo>
                <a:lnTo>
                  <a:pt x="134319" y="58832"/>
                </a:lnTo>
                <a:lnTo>
                  <a:pt x="215685" y="58832"/>
                </a:lnTo>
                <a:lnTo>
                  <a:pt x="203014" y="33559"/>
                </a:lnTo>
                <a:lnTo>
                  <a:pt x="199407" y="26320"/>
                </a:lnTo>
                <a:close/>
              </a:path>
              <a:path w="280669" h="278129">
                <a:moveTo>
                  <a:pt x="90976" y="0"/>
                </a:moveTo>
                <a:lnTo>
                  <a:pt x="79608" y="3841"/>
                </a:lnTo>
                <a:lnTo>
                  <a:pt x="69730" y="10632"/>
                </a:lnTo>
                <a:lnTo>
                  <a:pt x="62930" y="20161"/>
                </a:lnTo>
                <a:lnTo>
                  <a:pt x="60906" y="32452"/>
                </a:lnTo>
                <a:lnTo>
                  <a:pt x="65358" y="47529"/>
                </a:lnTo>
                <a:lnTo>
                  <a:pt x="69029" y="54895"/>
                </a:lnTo>
                <a:lnTo>
                  <a:pt x="79925" y="58578"/>
                </a:lnTo>
                <a:lnTo>
                  <a:pt x="87152" y="55022"/>
                </a:lnTo>
                <a:lnTo>
                  <a:pt x="122762" y="55022"/>
                </a:lnTo>
                <a:lnTo>
                  <a:pt x="119335" y="54363"/>
                </a:lnTo>
                <a:lnTo>
                  <a:pt x="117943" y="48768"/>
                </a:lnTo>
                <a:lnTo>
                  <a:pt x="119265" y="41790"/>
                </a:lnTo>
                <a:lnTo>
                  <a:pt x="123321" y="36861"/>
                </a:lnTo>
                <a:lnTo>
                  <a:pt x="126877" y="25939"/>
                </a:lnTo>
                <a:lnTo>
                  <a:pt x="123207" y="18573"/>
                </a:lnTo>
                <a:lnTo>
                  <a:pt x="113789" y="5984"/>
                </a:lnTo>
                <a:lnTo>
                  <a:pt x="102708" y="254"/>
                </a:lnTo>
                <a:lnTo>
                  <a:pt x="90976" y="0"/>
                </a:lnTo>
                <a:close/>
              </a:path>
            </a:pathLst>
          </a:custGeom>
          <a:solidFill>
            <a:srgbClr val="7E7E7E"/>
          </a:solidFill>
        </p:spPr>
        <p:txBody>
          <a:bodyPr wrap="square" lIns="0" tIns="0" rIns="0" bIns="0" rtlCol="0"/>
          <a:lstStyle/>
          <a:p>
            <a:endParaRPr/>
          </a:p>
        </p:txBody>
      </p:sp>
      <p:sp>
        <p:nvSpPr>
          <p:cNvPr id="11" name="object 11"/>
          <p:cNvSpPr/>
          <p:nvPr/>
        </p:nvSpPr>
        <p:spPr>
          <a:xfrm>
            <a:off x="848867" y="2927604"/>
            <a:ext cx="1838325" cy="1262380"/>
          </a:xfrm>
          <a:custGeom>
            <a:avLst/>
            <a:gdLst/>
            <a:ahLst/>
            <a:cxnLst/>
            <a:rect l="l" t="t" r="r" b="b"/>
            <a:pathLst>
              <a:path w="1838325" h="1262379">
                <a:moveTo>
                  <a:pt x="1837944" y="0"/>
                </a:moveTo>
                <a:lnTo>
                  <a:pt x="57010" y="0"/>
                </a:lnTo>
                <a:lnTo>
                  <a:pt x="0" y="1261872"/>
                </a:lnTo>
                <a:lnTo>
                  <a:pt x="1780920" y="1261872"/>
                </a:lnTo>
                <a:lnTo>
                  <a:pt x="1837944" y="0"/>
                </a:lnTo>
                <a:close/>
              </a:path>
            </a:pathLst>
          </a:custGeom>
          <a:solidFill>
            <a:srgbClr val="D9D9D9"/>
          </a:solidFill>
        </p:spPr>
        <p:txBody>
          <a:bodyPr wrap="square" lIns="0" tIns="0" rIns="0" bIns="0" rtlCol="0"/>
          <a:lstStyle/>
          <a:p>
            <a:endParaRPr/>
          </a:p>
        </p:txBody>
      </p:sp>
      <p:sp>
        <p:nvSpPr>
          <p:cNvPr id="12" name="object 12"/>
          <p:cNvSpPr/>
          <p:nvPr/>
        </p:nvSpPr>
        <p:spPr>
          <a:xfrm>
            <a:off x="1033272" y="1447800"/>
            <a:ext cx="1658620" cy="480059"/>
          </a:xfrm>
          <a:custGeom>
            <a:avLst/>
            <a:gdLst/>
            <a:ahLst/>
            <a:cxnLst/>
            <a:rect l="l" t="t" r="r" b="b"/>
            <a:pathLst>
              <a:path w="1658620" h="480060">
                <a:moveTo>
                  <a:pt x="1658112" y="0"/>
                </a:moveTo>
                <a:lnTo>
                  <a:pt x="81965" y="0"/>
                </a:lnTo>
                <a:lnTo>
                  <a:pt x="0" y="480060"/>
                </a:lnTo>
                <a:lnTo>
                  <a:pt x="1576197" y="480060"/>
                </a:lnTo>
                <a:lnTo>
                  <a:pt x="1658112" y="0"/>
                </a:lnTo>
                <a:close/>
              </a:path>
            </a:pathLst>
          </a:custGeom>
          <a:solidFill>
            <a:srgbClr val="D9D9D9"/>
          </a:solidFill>
        </p:spPr>
        <p:txBody>
          <a:bodyPr wrap="square" lIns="0" tIns="0" rIns="0" bIns="0" rtlCol="0"/>
          <a:lstStyle/>
          <a:p>
            <a:endParaRPr/>
          </a:p>
        </p:txBody>
      </p:sp>
      <p:sp>
        <p:nvSpPr>
          <p:cNvPr id="13" name="object 13"/>
          <p:cNvSpPr txBox="1"/>
          <p:nvPr/>
        </p:nvSpPr>
        <p:spPr>
          <a:xfrm>
            <a:off x="1528952" y="1582039"/>
            <a:ext cx="667385" cy="208279"/>
          </a:xfrm>
          <a:prstGeom prst="rect">
            <a:avLst/>
          </a:prstGeom>
        </p:spPr>
        <p:txBody>
          <a:bodyPr vert="horz" wrap="square" lIns="0" tIns="12700" rIns="0" bIns="0" rtlCol="0">
            <a:spAutoFit/>
          </a:bodyPr>
          <a:lstStyle/>
          <a:p>
            <a:pPr marL="12700">
              <a:lnSpc>
                <a:spcPct val="100000"/>
              </a:lnSpc>
              <a:spcBef>
                <a:spcPts val="100"/>
              </a:spcBef>
            </a:pPr>
            <a:r>
              <a:rPr sz="1200" b="1" spc="-5">
                <a:solidFill>
                  <a:srgbClr val="253046"/>
                </a:solidFill>
                <a:latin typeface="Verdana"/>
                <a:cs typeface="Verdana"/>
              </a:rPr>
              <a:t>C</a:t>
            </a:r>
            <a:r>
              <a:rPr sz="1200" b="1">
                <a:solidFill>
                  <a:srgbClr val="253046"/>
                </a:solidFill>
                <a:latin typeface="Verdana"/>
                <a:cs typeface="Verdana"/>
              </a:rPr>
              <a:t>los</a:t>
            </a:r>
            <a:r>
              <a:rPr sz="1200" b="1" spc="-5">
                <a:solidFill>
                  <a:srgbClr val="253046"/>
                </a:solidFill>
                <a:latin typeface="Verdana"/>
                <a:cs typeface="Verdana"/>
              </a:rPr>
              <a:t>ure</a:t>
            </a:r>
            <a:endParaRPr sz="1200">
              <a:latin typeface="Verdana"/>
              <a:cs typeface="Verdana"/>
            </a:endParaRPr>
          </a:p>
        </p:txBody>
      </p:sp>
      <p:sp>
        <p:nvSpPr>
          <p:cNvPr id="14" name="object 14"/>
          <p:cNvSpPr/>
          <p:nvPr/>
        </p:nvSpPr>
        <p:spPr>
          <a:xfrm>
            <a:off x="745744" y="1350263"/>
            <a:ext cx="127000" cy="4425315"/>
          </a:xfrm>
          <a:custGeom>
            <a:avLst/>
            <a:gdLst/>
            <a:ahLst/>
            <a:cxnLst/>
            <a:rect l="l" t="t" r="r" b="b"/>
            <a:pathLst>
              <a:path w="127000" h="4425315">
                <a:moveTo>
                  <a:pt x="69850" y="0"/>
                </a:moveTo>
                <a:lnTo>
                  <a:pt x="57150" y="0"/>
                </a:lnTo>
                <a:lnTo>
                  <a:pt x="57150" y="50800"/>
                </a:lnTo>
                <a:lnTo>
                  <a:pt x="69850" y="50800"/>
                </a:lnTo>
                <a:lnTo>
                  <a:pt x="69850" y="0"/>
                </a:lnTo>
                <a:close/>
              </a:path>
              <a:path w="127000" h="4425315">
                <a:moveTo>
                  <a:pt x="69850" y="88900"/>
                </a:moveTo>
                <a:lnTo>
                  <a:pt x="57150" y="88900"/>
                </a:lnTo>
                <a:lnTo>
                  <a:pt x="57150" y="139700"/>
                </a:lnTo>
                <a:lnTo>
                  <a:pt x="69850" y="139700"/>
                </a:lnTo>
                <a:lnTo>
                  <a:pt x="69850" y="88900"/>
                </a:lnTo>
                <a:close/>
              </a:path>
              <a:path w="127000" h="4425315">
                <a:moveTo>
                  <a:pt x="69850" y="177800"/>
                </a:moveTo>
                <a:lnTo>
                  <a:pt x="57150" y="177800"/>
                </a:lnTo>
                <a:lnTo>
                  <a:pt x="57150" y="228600"/>
                </a:lnTo>
                <a:lnTo>
                  <a:pt x="69850" y="228600"/>
                </a:lnTo>
                <a:lnTo>
                  <a:pt x="69850" y="177800"/>
                </a:lnTo>
                <a:close/>
              </a:path>
              <a:path w="127000" h="4425315">
                <a:moveTo>
                  <a:pt x="69850" y="266700"/>
                </a:moveTo>
                <a:lnTo>
                  <a:pt x="57150" y="266700"/>
                </a:lnTo>
                <a:lnTo>
                  <a:pt x="57150" y="317500"/>
                </a:lnTo>
                <a:lnTo>
                  <a:pt x="69850" y="317500"/>
                </a:lnTo>
                <a:lnTo>
                  <a:pt x="69850" y="266700"/>
                </a:lnTo>
                <a:close/>
              </a:path>
              <a:path w="127000" h="4425315">
                <a:moveTo>
                  <a:pt x="69850" y="355600"/>
                </a:moveTo>
                <a:lnTo>
                  <a:pt x="57150" y="355600"/>
                </a:lnTo>
                <a:lnTo>
                  <a:pt x="57150" y="406400"/>
                </a:lnTo>
                <a:lnTo>
                  <a:pt x="69850" y="406400"/>
                </a:lnTo>
                <a:lnTo>
                  <a:pt x="69850" y="355600"/>
                </a:lnTo>
                <a:close/>
              </a:path>
              <a:path w="127000" h="4425315">
                <a:moveTo>
                  <a:pt x="69850" y="444500"/>
                </a:moveTo>
                <a:lnTo>
                  <a:pt x="57150" y="444500"/>
                </a:lnTo>
                <a:lnTo>
                  <a:pt x="57150" y="495300"/>
                </a:lnTo>
                <a:lnTo>
                  <a:pt x="69850" y="495300"/>
                </a:lnTo>
                <a:lnTo>
                  <a:pt x="69850" y="444500"/>
                </a:lnTo>
                <a:close/>
              </a:path>
              <a:path w="127000" h="4425315">
                <a:moveTo>
                  <a:pt x="69850" y="533400"/>
                </a:moveTo>
                <a:lnTo>
                  <a:pt x="57150" y="533400"/>
                </a:lnTo>
                <a:lnTo>
                  <a:pt x="57150" y="584200"/>
                </a:lnTo>
                <a:lnTo>
                  <a:pt x="69850" y="584200"/>
                </a:lnTo>
                <a:lnTo>
                  <a:pt x="69850" y="533400"/>
                </a:lnTo>
                <a:close/>
              </a:path>
              <a:path w="127000" h="4425315">
                <a:moveTo>
                  <a:pt x="69850" y="622300"/>
                </a:moveTo>
                <a:lnTo>
                  <a:pt x="57150" y="622300"/>
                </a:lnTo>
                <a:lnTo>
                  <a:pt x="57150" y="673100"/>
                </a:lnTo>
                <a:lnTo>
                  <a:pt x="69850" y="673100"/>
                </a:lnTo>
                <a:lnTo>
                  <a:pt x="69850" y="622300"/>
                </a:lnTo>
                <a:close/>
              </a:path>
              <a:path w="127000" h="4425315">
                <a:moveTo>
                  <a:pt x="69850" y="711200"/>
                </a:moveTo>
                <a:lnTo>
                  <a:pt x="57150" y="711200"/>
                </a:lnTo>
                <a:lnTo>
                  <a:pt x="57150" y="762000"/>
                </a:lnTo>
                <a:lnTo>
                  <a:pt x="69850" y="762000"/>
                </a:lnTo>
                <a:lnTo>
                  <a:pt x="69850" y="711200"/>
                </a:lnTo>
                <a:close/>
              </a:path>
              <a:path w="127000" h="4425315">
                <a:moveTo>
                  <a:pt x="69850" y="800100"/>
                </a:moveTo>
                <a:lnTo>
                  <a:pt x="57150" y="800100"/>
                </a:lnTo>
                <a:lnTo>
                  <a:pt x="57150" y="850900"/>
                </a:lnTo>
                <a:lnTo>
                  <a:pt x="69850" y="850900"/>
                </a:lnTo>
                <a:lnTo>
                  <a:pt x="69850" y="800100"/>
                </a:lnTo>
                <a:close/>
              </a:path>
              <a:path w="127000" h="4425315">
                <a:moveTo>
                  <a:pt x="69850" y="889000"/>
                </a:moveTo>
                <a:lnTo>
                  <a:pt x="57150" y="889000"/>
                </a:lnTo>
                <a:lnTo>
                  <a:pt x="57150" y="939800"/>
                </a:lnTo>
                <a:lnTo>
                  <a:pt x="69850" y="939800"/>
                </a:lnTo>
                <a:lnTo>
                  <a:pt x="69850" y="889000"/>
                </a:lnTo>
                <a:close/>
              </a:path>
              <a:path w="127000" h="4425315">
                <a:moveTo>
                  <a:pt x="69850" y="977900"/>
                </a:moveTo>
                <a:lnTo>
                  <a:pt x="57150" y="977900"/>
                </a:lnTo>
                <a:lnTo>
                  <a:pt x="57150" y="1028700"/>
                </a:lnTo>
                <a:lnTo>
                  <a:pt x="69850" y="1028700"/>
                </a:lnTo>
                <a:lnTo>
                  <a:pt x="69850" y="977900"/>
                </a:lnTo>
                <a:close/>
              </a:path>
              <a:path w="127000" h="4425315">
                <a:moveTo>
                  <a:pt x="69850" y="1066800"/>
                </a:moveTo>
                <a:lnTo>
                  <a:pt x="57150" y="1066800"/>
                </a:lnTo>
                <a:lnTo>
                  <a:pt x="57150" y="1117600"/>
                </a:lnTo>
                <a:lnTo>
                  <a:pt x="69850" y="1117600"/>
                </a:lnTo>
                <a:lnTo>
                  <a:pt x="69850" y="1066800"/>
                </a:lnTo>
                <a:close/>
              </a:path>
              <a:path w="127000" h="4425315">
                <a:moveTo>
                  <a:pt x="69850" y="1155700"/>
                </a:moveTo>
                <a:lnTo>
                  <a:pt x="57150" y="1155700"/>
                </a:lnTo>
                <a:lnTo>
                  <a:pt x="57150" y="1206500"/>
                </a:lnTo>
                <a:lnTo>
                  <a:pt x="69850" y="1206500"/>
                </a:lnTo>
                <a:lnTo>
                  <a:pt x="69850" y="1155700"/>
                </a:lnTo>
                <a:close/>
              </a:path>
              <a:path w="127000" h="4425315">
                <a:moveTo>
                  <a:pt x="69850" y="1244600"/>
                </a:moveTo>
                <a:lnTo>
                  <a:pt x="57150" y="1244600"/>
                </a:lnTo>
                <a:lnTo>
                  <a:pt x="57150" y="1295400"/>
                </a:lnTo>
                <a:lnTo>
                  <a:pt x="69850" y="1295400"/>
                </a:lnTo>
                <a:lnTo>
                  <a:pt x="69850" y="1244600"/>
                </a:lnTo>
                <a:close/>
              </a:path>
              <a:path w="127000" h="4425315">
                <a:moveTo>
                  <a:pt x="69850" y="1333500"/>
                </a:moveTo>
                <a:lnTo>
                  <a:pt x="57150" y="1333500"/>
                </a:lnTo>
                <a:lnTo>
                  <a:pt x="57150" y="1384300"/>
                </a:lnTo>
                <a:lnTo>
                  <a:pt x="69850" y="1384300"/>
                </a:lnTo>
                <a:lnTo>
                  <a:pt x="69850" y="1333500"/>
                </a:lnTo>
                <a:close/>
              </a:path>
              <a:path w="127000" h="4425315">
                <a:moveTo>
                  <a:pt x="69850" y="1422400"/>
                </a:moveTo>
                <a:lnTo>
                  <a:pt x="57150" y="1422400"/>
                </a:lnTo>
                <a:lnTo>
                  <a:pt x="57150" y="1473200"/>
                </a:lnTo>
                <a:lnTo>
                  <a:pt x="69850" y="1473200"/>
                </a:lnTo>
                <a:lnTo>
                  <a:pt x="69850" y="1422400"/>
                </a:lnTo>
                <a:close/>
              </a:path>
              <a:path w="127000" h="4425315">
                <a:moveTo>
                  <a:pt x="69850" y="1511300"/>
                </a:moveTo>
                <a:lnTo>
                  <a:pt x="57150" y="1511300"/>
                </a:lnTo>
                <a:lnTo>
                  <a:pt x="57150" y="1562100"/>
                </a:lnTo>
                <a:lnTo>
                  <a:pt x="69850" y="1562100"/>
                </a:lnTo>
                <a:lnTo>
                  <a:pt x="69850" y="1511300"/>
                </a:lnTo>
                <a:close/>
              </a:path>
              <a:path w="127000" h="4425315">
                <a:moveTo>
                  <a:pt x="69850" y="1600200"/>
                </a:moveTo>
                <a:lnTo>
                  <a:pt x="57150" y="1600200"/>
                </a:lnTo>
                <a:lnTo>
                  <a:pt x="57150" y="1651000"/>
                </a:lnTo>
                <a:lnTo>
                  <a:pt x="69850" y="1651000"/>
                </a:lnTo>
                <a:lnTo>
                  <a:pt x="69850" y="1600200"/>
                </a:lnTo>
                <a:close/>
              </a:path>
              <a:path w="127000" h="4425315">
                <a:moveTo>
                  <a:pt x="69850" y="1689100"/>
                </a:moveTo>
                <a:lnTo>
                  <a:pt x="57150" y="1689100"/>
                </a:lnTo>
                <a:lnTo>
                  <a:pt x="57150" y="1739900"/>
                </a:lnTo>
                <a:lnTo>
                  <a:pt x="69850" y="1739900"/>
                </a:lnTo>
                <a:lnTo>
                  <a:pt x="69850" y="1689100"/>
                </a:lnTo>
                <a:close/>
              </a:path>
              <a:path w="127000" h="4425315">
                <a:moveTo>
                  <a:pt x="69850" y="1778000"/>
                </a:moveTo>
                <a:lnTo>
                  <a:pt x="57150" y="1778000"/>
                </a:lnTo>
                <a:lnTo>
                  <a:pt x="57150" y="1828800"/>
                </a:lnTo>
                <a:lnTo>
                  <a:pt x="69850" y="1828800"/>
                </a:lnTo>
                <a:lnTo>
                  <a:pt x="69850" y="1778000"/>
                </a:lnTo>
                <a:close/>
              </a:path>
              <a:path w="127000" h="4425315">
                <a:moveTo>
                  <a:pt x="69850" y="1866900"/>
                </a:moveTo>
                <a:lnTo>
                  <a:pt x="57150" y="1866900"/>
                </a:lnTo>
                <a:lnTo>
                  <a:pt x="57150" y="1917700"/>
                </a:lnTo>
                <a:lnTo>
                  <a:pt x="69850" y="1917700"/>
                </a:lnTo>
                <a:lnTo>
                  <a:pt x="69850" y="1866900"/>
                </a:lnTo>
                <a:close/>
              </a:path>
              <a:path w="127000" h="4425315">
                <a:moveTo>
                  <a:pt x="69850" y="1955800"/>
                </a:moveTo>
                <a:lnTo>
                  <a:pt x="57150" y="1955800"/>
                </a:lnTo>
                <a:lnTo>
                  <a:pt x="57150" y="2006600"/>
                </a:lnTo>
                <a:lnTo>
                  <a:pt x="69850" y="2006600"/>
                </a:lnTo>
                <a:lnTo>
                  <a:pt x="69850" y="1955800"/>
                </a:lnTo>
                <a:close/>
              </a:path>
              <a:path w="127000" h="4425315">
                <a:moveTo>
                  <a:pt x="69850" y="2044700"/>
                </a:moveTo>
                <a:lnTo>
                  <a:pt x="57150" y="2044700"/>
                </a:lnTo>
                <a:lnTo>
                  <a:pt x="57150" y="2095500"/>
                </a:lnTo>
                <a:lnTo>
                  <a:pt x="69850" y="2095500"/>
                </a:lnTo>
                <a:lnTo>
                  <a:pt x="69850" y="2044700"/>
                </a:lnTo>
                <a:close/>
              </a:path>
              <a:path w="127000" h="4425315">
                <a:moveTo>
                  <a:pt x="69850" y="2133600"/>
                </a:moveTo>
                <a:lnTo>
                  <a:pt x="57150" y="2133600"/>
                </a:lnTo>
                <a:lnTo>
                  <a:pt x="57150" y="2184400"/>
                </a:lnTo>
                <a:lnTo>
                  <a:pt x="69850" y="2184400"/>
                </a:lnTo>
                <a:lnTo>
                  <a:pt x="69850" y="2133600"/>
                </a:lnTo>
                <a:close/>
              </a:path>
              <a:path w="127000" h="4425315">
                <a:moveTo>
                  <a:pt x="69850" y="2222500"/>
                </a:moveTo>
                <a:lnTo>
                  <a:pt x="57150" y="2222500"/>
                </a:lnTo>
                <a:lnTo>
                  <a:pt x="57150" y="2273300"/>
                </a:lnTo>
                <a:lnTo>
                  <a:pt x="69850" y="2273300"/>
                </a:lnTo>
                <a:lnTo>
                  <a:pt x="69850" y="2222500"/>
                </a:lnTo>
                <a:close/>
              </a:path>
              <a:path w="127000" h="4425315">
                <a:moveTo>
                  <a:pt x="69850" y="2311400"/>
                </a:moveTo>
                <a:lnTo>
                  <a:pt x="57150" y="2311400"/>
                </a:lnTo>
                <a:lnTo>
                  <a:pt x="57150" y="2362200"/>
                </a:lnTo>
                <a:lnTo>
                  <a:pt x="69850" y="2362200"/>
                </a:lnTo>
                <a:lnTo>
                  <a:pt x="69850" y="2311400"/>
                </a:lnTo>
                <a:close/>
              </a:path>
              <a:path w="127000" h="4425315">
                <a:moveTo>
                  <a:pt x="69850" y="2400300"/>
                </a:moveTo>
                <a:lnTo>
                  <a:pt x="57150" y="2400300"/>
                </a:lnTo>
                <a:lnTo>
                  <a:pt x="57150" y="2451100"/>
                </a:lnTo>
                <a:lnTo>
                  <a:pt x="69850" y="2451100"/>
                </a:lnTo>
                <a:lnTo>
                  <a:pt x="69850" y="2400300"/>
                </a:lnTo>
                <a:close/>
              </a:path>
              <a:path w="127000" h="4425315">
                <a:moveTo>
                  <a:pt x="69850" y="2489200"/>
                </a:moveTo>
                <a:lnTo>
                  <a:pt x="57150" y="2489200"/>
                </a:lnTo>
                <a:lnTo>
                  <a:pt x="57150" y="2540000"/>
                </a:lnTo>
                <a:lnTo>
                  <a:pt x="69850" y="2540000"/>
                </a:lnTo>
                <a:lnTo>
                  <a:pt x="69850" y="2489200"/>
                </a:lnTo>
                <a:close/>
              </a:path>
              <a:path w="127000" h="4425315">
                <a:moveTo>
                  <a:pt x="69850" y="2578100"/>
                </a:moveTo>
                <a:lnTo>
                  <a:pt x="57150" y="2578100"/>
                </a:lnTo>
                <a:lnTo>
                  <a:pt x="57150" y="2628900"/>
                </a:lnTo>
                <a:lnTo>
                  <a:pt x="69850" y="2628900"/>
                </a:lnTo>
                <a:lnTo>
                  <a:pt x="69850" y="2578100"/>
                </a:lnTo>
                <a:close/>
              </a:path>
              <a:path w="127000" h="4425315">
                <a:moveTo>
                  <a:pt x="69850" y="2667000"/>
                </a:moveTo>
                <a:lnTo>
                  <a:pt x="57150" y="2667000"/>
                </a:lnTo>
                <a:lnTo>
                  <a:pt x="57150" y="2717800"/>
                </a:lnTo>
                <a:lnTo>
                  <a:pt x="69850" y="2717800"/>
                </a:lnTo>
                <a:lnTo>
                  <a:pt x="69850" y="2667000"/>
                </a:lnTo>
                <a:close/>
              </a:path>
              <a:path w="127000" h="4425315">
                <a:moveTo>
                  <a:pt x="69850" y="2755900"/>
                </a:moveTo>
                <a:lnTo>
                  <a:pt x="57150" y="2755900"/>
                </a:lnTo>
                <a:lnTo>
                  <a:pt x="57150" y="2806700"/>
                </a:lnTo>
                <a:lnTo>
                  <a:pt x="69850" y="2806700"/>
                </a:lnTo>
                <a:lnTo>
                  <a:pt x="69850" y="2755900"/>
                </a:lnTo>
                <a:close/>
              </a:path>
              <a:path w="127000" h="4425315">
                <a:moveTo>
                  <a:pt x="69850" y="2844800"/>
                </a:moveTo>
                <a:lnTo>
                  <a:pt x="57150" y="2844800"/>
                </a:lnTo>
                <a:lnTo>
                  <a:pt x="57150" y="2895600"/>
                </a:lnTo>
                <a:lnTo>
                  <a:pt x="69850" y="2895600"/>
                </a:lnTo>
                <a:lnTo>
                  <a:pt x="69850" y="2844800"/>
                </a:lnTo>
                <a:close/>
              </a:path>
              <a:path w="127000" h="4425315">
                <a:moveTo>
                  <a:pt x="69850" y="2933700"/>
                </a:moveTo>
                <a:lnTo>
                  <a:pt x="57150" y="2933700"/>
                </a:lnTo>
                <a:lnTo>
                  <a:pt x="57150" y="2984500"/>
                </a:lnTo>
                <a:lnTo>
                  <a:pt x="69850" y="2984500"/>
                </a:lnTo>
                <a:lnTo>
                  <a:pt x="69850" y="2933700"/>
                </a:lnTo>
                <a:close/>
              </a:path>
              <a:path w="127000" h="4425315">
                <a:moveTo>
                  <a:pt x="69850" y="3022600"/>
                </a:moveTo>
                <a:lnTo>
                  <a:pt x="57150" y="3022600"/>
                </a:lnTo>
                <a:lnTo>
                  <a:pt x="57150" y="3073400"/>
                </a:lnTo>
                <a:lnTo>
                  <a:pt x="69850" y="3073400"/>
                </a:lnTo>
                <a:lnTo>
                  <a:pt x="69850" y="3022600"/>
                </a:lnTo>
                <a:close/>
              </a:path>
              <a:path w="127000" h="4425315">
                <a:moveTo>
                  <a:pt x="69850" y="3111500"/>
                </a:moveTo>
                <a:lnTo>
                  <a:pt x="57150" y="3111500"/>
                </a:lnTo>
                <a:lnTo>
                  <a:pt x="57150" y="3162300"/>
                </a:lnTo>
                <a:lnTo>
                  <a:pt x="69850" y="3162300"/>
                </a:lnTo>
                <a:lnTo>
                  <a:pt x="69850" y="3111500"/>
                </a:lnTo>
                <a:close/>
              </a:path>
              <a:path w="127000" h="4425315">
                <a:moveTo>
                  <a:pt x="69850" y="3200400"/>
                </a:moveTo>
                <a:lnTo>
                  <a:pt x="57150" y="3200400"/>
                </a:lnTo>
                <a:lnTo>
                  <a:pt x="57150" y="3251200"/>
                </a:lnTo>
                <a:lnTo>
                  <a:pt x="69850" y="3251200"/>
                </a:lnTo>
                <a:lnTo>
                  <a:pt x="69850" y="3200400"/>
                </a:lnTo>
                <a:close/>
              </a:path>
              <a:path w="127000" h="4425315">
                <a:moveTo>
                  <a:pt x="69850" y="3289300"/>
                </a:moveTo>
                <a:lnTo>
                  <a:pt x="57150" y="3289300"/>
                </a:lnTo>
                <a:lnTo>
                  <a:pt x="57150" y="3340100"/>
                </a:lnTo>
                <a:lnTo>
                  <a:pt x="69850" y="3340100"/>
                </a:lnTo>
                <a:lnTo>
                  <a:pt x="69850" y="3289300"/>
                </a:lnTo>
                <a:close/>
              </a:path>
              <a:path w="127000" h="4425315">
                <a:moveTo>
                  <a:pt x="69850" y="3378200"/>
                </a:moveTo>
                <a:lnTo>
                  <a:pt x="57150" y="3378200"/>
                </a:lnTo>
                <a:lnTo>
                  <a:pt x="57150" y="3429000"/>
                </a:lnTo>
                <a:lnTo>
                  <a:pt x="69850" y="3429000"/>
                </a:lnTo>
                <a:lnTo>
                  <a:pt x="69850" y="3378200"/>
                </a:lnTo>
                <a:close/>
              </a:path>
              <a:path w="127000" h="4425315">
                <a:moveTo>
                  <a:pt x="69850" y="3467100"/>
                </a:moveTo>
                <a:lnTo>
                  <a:pt x="57150" y="3467100"/>
                </a:lnTo>
                <a:lnTo>
                  <a:pt x="57150" y="3517900"/>
                </a:lnTo>
                <a:lnTo>
                  <a:pt x="69850" y="3517900"/>
                </a:lnTo>
                <a:lnTo>
                  <a:pt x="69850" y="3467100"/>
                </a:lnTo>
                <a:close/>
              </a:path>
              <a:path w="127000" h="4425315">
                <a:moveTo>
                  <a:pt x="69850" y="3556000"/>
                </a:moveTo>
                <a:lnTo>
                  <a:pt x="57150" y="3556000"/>
                </a:lnTo>
                <a:lnTo>
                  <a:pt x="57150" y="3606800"/>
                </a:lnTo>
                <a:lnTo>
                  <a:pt x="69850" y="3606800"/>
                </a:lnTo>
                <a:lnTo>
                  <a:pt x="69850" y="3556000"/>
                </a:lnTo>
                <a:close/>
              </a:path>
              <a:path w="127000" h="4425315">
                <a:moveTo>
                  <a:pt x="69850" y="3644900"/>
                </a:moveTo>
                <a:lnTo>
                  <a:pt x="57150" y="3644900"/>
                </a:lnTo>
                <a:lnTo>
                  <a:pt x="57150" y="3695700"/>
                </a:lnTo>
                <a:lnTo>
                  <a:pt x="69850" y="3695700"/>
                </a:lnTo>
                <a:lnTo>
                  <a:pt x="69850" y="3644900"/>
                </a:lnTo>
                <a:close/>
              </a:path>
              <a:path w="127000" h="4425315">
                <a:moveTo>
                  <a:pt x="69850" y="3733800"/>
                </a:moveTo>
                <a:lnTo>
                  <a:pt x="57150" y="3733800"/>
                </a:lnTo>
                <a:lnTo>
                  <a:pt x="57150" y="3784600"/>
                </a:lnTo>
                <a:lnTo>
                  <a:pt x="69850" y="3784600"/>
                </a:lnTo>
                <a:lnTo>
                  <a:pt x="69850" y="3733800"/>
                </a:lnTo>
                <a:close/>
              </a:path>
              <a:path w="127000" h="4425315">
                <a:moveTo>
                  <a:pt x="69850" y="3822700"/>
                </a:moveTo>
                <a:lnTo>
                  <a:pt x="57150" y="3822700"/>
                </a:lnTo>
                <a:lnTo>
                  <a:pt x="57150" y="3873500"/>
                </a:lnTo>
                <a:lnTo>
                  <a:pt x="69850" y="3873500"/>
                </a:lnTo>
                <a:lnTo>
                  <a:pt x="69850" y="3822700"/>
                </a:lnTo>
                <a:close/>
              </a:path>
              <a:path w="127000" h="4425315">
                <a:moveTo>
                  <a:pt x="69850" y="3911600"/>
                </a:moveTo>
                <a:lnTo>
                  <a:pt x="57150" y="3911600"/>
                </a:lnTo>
                <a:lnTo>
                  <a:pt x="57150" y="3962400"/>
                </a:lnTo>
                <a:lnTo>
                  <a:pt x="69850" y="3962400"/>
                </a:lnTo>
                <a:lnTo>
                  <a:pt x="69850" y="3911600"/>
                </a:lnTo>
                <a:close/>
              </a:path>
              <a:path w="127000" h="4425315">
                <a:moveTo>
                  <a:pt x="69850" y="4000500"/>
                </a:moveTo>
                <a:lnTo>
                  <a:pt x="57150" y="4000500"/>
                </a:lnTo>
                <a:lnTo>
                  <a:pt x="57150" y="4051300"/>
                </a:lnTo>
                <a:lnTo>
                  <a:pt x="69850" y="4051300"/>
                </a:lnTo>
                <a:lnTo>
                  <a:pt x="69850" y="4000500"/>
                </a:lnTo>
                <a:close/>
              </a:path>
              <a:path w="127000" h="4425315">
                <a:moveTo>
                  <a:pt x="69850" y="4089400"/>
                </a:moveTo>
                <a:lnTo>
                  <a:pt x="57150" y="4089400"/>
                </a:lnTo>
                <a:lnTo>
                  <a:pt x="57150" y="4140200"/>
                </a:lnTo>
                <a:lnTo>
                  <a:pt x="69850" y="4140200"/>
                </a:lnTo>
                <a:lnTo>
                  <a:pt x="69850" y="4089400"/>
                </a:lnTo>
                <a:close/>
              </a:path>
              <a:path w="127000" h="4425315">
                <a:moveTo>
                  <a:pt x="69850" y="4178300"/>
                </a:moveTo>
                <a:lnTo>
                  <a:pt x="57150" y="4178300"/>
                </a:lnTo>
                <a:lnTo>
                  <a:pt x="57150" y="4229100"/>
                </a:lnTo>
                <a:lnTo>
                  <a:pt x="69850" y="4229100"/>
                </a:lnTo>
                <a:lnTo>
                  <a:pt x="69850" y="4178300"/>
                </a:lnTo>
                <a:close/>
              </a:path>
              <a:path w="127000" h="4425315">
                <a:moveTo>
                  <a:pt x="57150" y="4298315"/>
                </a:moveTo>
                <a:lnTo>
                  <a:pt x="0" y="4298315"/>
                </a:lnTo>
                <a:lnTo>
                  <a:pt x="63500" y="4425315"/>
                </a:lnTo>
                <a:lnTo>
                  <a:pt x="120643" y="4311027"/>
                </a:lnTo>
                <a:lnTo>
                  <a:pt x="57150" y="4311027"/>
                </a:lnTo>
                <a:lnTo>
                  <a:pt x="57150" y="4298315"/>
                </a:lnTo>
                <a:close/>
              </a:path>
              <a:path w="127000" h="4425315">
                <a:moveTo>
                  <a:pt x="69850" y="4267200"/>
                </a:moveTo>
                <a:lnTo>
                  <a:pt x="57150" y="4267200"/>
                </a:lnTo>
                <a:lnTo>
                  <a:pt x="57150" y="4311027"/>
                </a:lnTo>
                <a:lnTo>
                  <a:pt x="69850" y="4311027"/>
                </a:lnTo>
                <a:lnTo>
                  <a:pt x="69850" y="4267200"/>
                </a:lnTo>
                <a:close/>
              </a:path>
              <a:path w="127000" h="4425315">
                <a:moveTo>
                  <a:pt x="127000" y="4298315"/>
                </a:moveTo>
                <a:lnTo>
                  <a:pt x="69850" y="4298315"/>
                </a:lnTo>
                <a:lnTo>
                  <a:pt x="69850" y="4311027"/>
                </a:lnTo>
                <a:lnTo>
                  <a:pt x="120643" y="4311027"/>
                </a:lnTo>
                <a:lnTo>
                  <a:pt x="127000" y="4298315"/>
                </a:lnTo>
                <a:close/>
              </a:path>
            </a:pathLst>
          </a:custGeom>
          <a:solidFill>
            <a:srgbClr val="7E7E7E"/>
          </a:solidFill>
        </p:spPr>
        <p:txBody>
          <a:bodyPr wrap="square" lIns="0" tIns="0" rIns="0" bIns="0" rtlCol="0"/>
          <a:lstStyle/>
          <a:p>
            <a:endParaRPr/>
          </a:p>
        </p:txBody>
      </p:sp>
      <p:sp>
        <p:nvSpPr>
          <p:cNvPr id="15" name="object 15"/>
          <p:cNvSpPr/>
          <p:nvPr/>
        </p:nvSpPr>
        <p:spPr>
          <a:xfrm>
            <a:off x="2781300" y="2343911"/>
            <a:ext cx="1516380" cy="1762125"/>
          </a:xfrm>
          <a:custGeom>
            <a:avLst/>
            <a:gdLst/>
            <a:ahLst/>
            <a:cxnLst/>
            <a:rect l="l" t="t" r="r" b="b"/>
            <a:pathLst>
              <a:path w="1516379" h="1762125">
                <a:moveTo>
                  <a:pt x="758189" y="0"/>
                </a:moveTo>
                <a:lnTo>
                  <a:pt x="0" y="0"/>
                </a:lnTo>
                <a:lnTo>
                  <a:pt x="0" y="1761744"/>
                </a:lnTo>
                <a:lnTo>
                  <a:pt x="758189" y="1761744"/>
                </a:lnTo>
                <a:lnTo>
                  <a:pt x="1516379" y="880872"/>
                </a:lnTo>
                <a:lnTo>
                  <a:pt x="758189" y="0"/>
                </a:lnTo>
                <a:close/>
              </a:path>
            </a:pathLst>
          </a:custGeom>
          <a:solidFill>
            <a:srgbClr val="D9D9D9"/>
          </a:solidFill>
        </p:spPr>
        <p:txBody>
          <a:bodyPr wrap="square" lIns="0" tIns="0" rIns="0" bIns="0" rtlCol="0"/>
          <a:lstStyle/>
          <a:p>
            <a:endParaRPr/>
          </a:p>
        </p:txBody>
      </p:sp>
      <p:sp>
        <p:nvSpPr>
          <p:cNvPr id="16" name="object 16"/>
          <p:cNvSpPr txBox="1"/>
          <p:nvPr/>
        </p:nvSpPr>
        <p:spPr>
          <a:xfrm>
            <a:off x="3035554" y="3028314"/>
            <a:ext cx="628015" cy="391795"/>
          </a:xfrm>
          <a:prstGeom prst="rect">
            <a:avLst/>
          </a:prstGeom>
        </p:spPr>
        <p:txBody>
          <a:bodyPr vert="horz" wrap="square" lIns="0" tIns="13335" rIns="0" bIns="0" rtlCol="0">
            <a:spAutoFit/>
          </a:bodyPr>
          <a:lstStyle/>
          <a:p>
            <a:pPr marL="27305" marR="5080" indent="-15240" algn="just">
              <a:lnSpc>
                <a:spcPct val="100000"/>
              </a:lnSpc>
              <a:spcBef>
                <a:spcPts val="105"/>
              </a:spcBef>
            </a:pPr>
            <a:r>
              <a:rPr sz="800" b="1" spc="-5">
                <a:latin typeface="Verdana"/>
                <a:cs typeface="Verdana"/>
              </a:rPr>
              <a:t>H</a:t>
            </a:r>
            <a:r>
              <a:rPr sz="800" b="1">
                <a:latin typeface="Verdana"/>
                <a:cs typeface="Verdana"/>
              </a:rPr>
              <a:t>y</a:t>
            </a:r>
            <a:r>
              <a:rPr sz="800" b="1" spc="-5">
                <a:latin typeface="Verdana"/>
                <a:cs typeface="Verdana"/>
              </a:rPr>
              <a:t>p</a:t>
            </a:r>
            <a:r>
              <a:rPr sz="800" b="1" spc="5">
                <a:latin typeface="Verdana"/>
                <a:cs typeface="Verdana"/>
              </a:rPr>
              <a:t>e</a:t>
            </a:r>
            <a:r>
              <a:rPr sz="800" b="1" spc="-5">
                <a:latin typeface="Verdana"/>
                <a:cs typeface="Verdana"/>
              </a:rPr>
              <a:t>r</a:t>
            </a:r>
            <a:r>
              <a:rPr sz="800" b="1" spc="-10">
                <a:latin typeface="Verdana"/>
                <a:cs typeface="Verdana"/>
              </a:rPr>
              <a:t>C</a:t>
            </a:r>
            <a:r>
              <a:rPr sz="800" b="1">
                <a:latin typeface="Verdana"/>
                <a:cs typeface="Verdana"/>
              </a:rPr>
              <a:t>a</a:t>
            </a:r>
            <a:r>
              <a:rPr sz="800" b="1" spc="-5">
                <a:latin typeface="Verdana"/>
                <a:cs typeface="Verdana"/>
              </a:rPr>
              <a:t>r</a:t>
            </a:r>
            <a:r>
              <a:rPr sz="800" b="1">
                <a:latin typeface="Verdana"/>
                <a:cs typeface="Verdana"/>
              </a:rPr>
              <a:t>e  Short Run  Long</a:t>
            </a:r>
            <a:r>
              <a:rPr sz="800" b="1" spc="-45">
                <a:latin typeface="Verdana"/>
                <a:cs typeface="Verdana"/>
              </a:rPr>
              <a:t> </a:t>
            </a:r>
            <a:r>
              <a:rPr sz="800" b="1">
                <a:latin typeface="Verdana"/>
                <a:cs typeface="Verdana"/>
              </a:rPr>
              <a:t>Run</a:t>
            </a:r>
            <a:endParaRPr sz="800">
              <a:latin typeface="Verdana"/>
              <a:cs typeface="Verdana"/>
            </a:endParaRPr>
          </a:p>
        </p:txBody>
      </p:sp>
      <p:sp>
        <p:nvSpPr>
          <p:cNvPr id="17" name="object 17"/>
          <p:cNvSpPr/>
          <p:nvPr/>
        </p:nvSpPr>
        <p:spPr>
          <a:xfrm>
            <a:off x="952500" y="3110483"/>
            <a:ext cx="756285" cy="433070"/>
          </a:xfrm>
          <a:custGeom>
            <a:avLst/>
            <a:gdLst/>
            <a:ahLst/>
            <a:cxnLst/>
            <a:rect l="l" t="t" r="r" b="b"/>
            <a:pathLst>
              <a:path w="756285" h="433070">
                <a:moveTo>
                  <a:pt x="0" y="432815"/>
                </a:moveTo>
                <a:lnTo>
                  <a:pt x="755904" y="432815"/>
                </a:lnTo>
                <a:lnTo>
                  <a:pt x="755904" y="0"/>
                </a:lnTo>
                <a:lnTo>
                  <a:pt x="0" y="0"/>
                </a:lnTo>
                <a:lnTo>
                  <a:pt x="0" y="432815"/>
                </a:lnTo>
                <a:close/>
              </a:path>
            </a:pathLst>
          </a:custGeom>
          <a:solidFill>
            <a:srgbClr val="FFFFFF"/>
          </a:solidFill>
        </p:spPr>
        <p:txBody>
          <a:bodyPr wrap="square" lIns="0" tIns="0" rIns="0" bIns="0" rtlCol="0"/>
          <a:lstStyle/>
          <a:p>
            <a:endParaRPr/>
          </a:p>
        </p:txBody>
      </p:sp>
      <p:sp>
        <p:nvSpPr>
          <p:cNvPr id="18" name="object 18"/>
          <p:cNvSpPr txBox="1"/>
          <p:nvPr/>
        </p:nvSpPr>
        <p:spPr>
          <a:xfrm>
            <a:off x="1027277" y="3191382"/>
            <a:ext cx="605790" cy="269875"/>
          </a:xfrm>
          <a:prstGeom prst="rect">
            <a:avLst/>
          </a:prstGeom>
        </p:spPr>
        <p:txBody>
          <a:bodyPr vert="horz" wrap="square" lIns="0" tIns="13335" rIns="0" bIns="0" rtlCol="0">
            <a:spAutoFit/>
          </a:bodyPr>
          <a:lstStyle/>
          <a:p>
            <a:pPr marL="12700" marR="5080" indent="173355">
              <a:lnSpc>
                <a:spcPct val="100000"/>
              </a:lnSpc>
              <a:spcBef>
                <a:spcPts val="105"/>
              </a:spcBef>
            </a:pPr>
            <a:r>
              <a:rPr sz="800">
                <a:latin typeface="Verdana"/>
                <a:cs typeface="Verdana"/>
              </a:rPr>
              <a:t>User  Accep</a:t>
            </a:r>
            <a:r>
              <a:rPr sz="800" spc="-5">
                <a:latin typeface="Verdana"/>
                <a:cs typeface="Verdana"/>
              </a:rPr>
              <a:t>tan</a:t>
            </a:r>
            <a:r>
              <a:rPr sz="800">
                <a:latin typeface="Verdana"/>
                <a:cs typeface="Verdana"/>
              </a:rPr>
              <a:t>ce</a:t>
            </a:r>
          </a:p>
        </p:txBody>
      </p:sp>
      <p:sp>
        <p:nvSpPr>
          <p:cNvPr id="19" name="object 19"/>
          <p:cNvSpPr/>
          <p:nvPr/>
        </p:nvSpPr>
        <p:spPr>
          <a:xfrm>
            <a:off x="1783079" y="3115055"/>
            <a:ext cx="756285" cy="431800"/>
          </a:xfrm>
          <a:custGeom>
            <a:avLst/>
            <a:gdLst/>
            <a:ahLst/>
            <a:cxnLst/>
            <a:rect l="l" t="t" r="r" b="b"/>
            <a:pathLst>
              <a:path w="756285" h="431800">
                <a:moveTo>
                  <a:pt x="0" y="431291"/>
                </a:moveTo>
                <a:lnTo>
                  <a:pt x="755904" y="431291"/>
                </a:lnTo>
                <a:lnTo>
                  <a:pt x="755904" y="0"/>
                </a:lnTo>
                <a:lnTo>
                  <a:pt x="0" y="0"/>
                </a:lnTo>
                <a:lnTo>
                  <a:pt x="0" y="431291"/>
                </a:lnTo>
                <a:close/>
              </a:path>
            </a:pathLst>
          </a:custGeom>
          <a:solidFill>
            <a:srgbClr val="FFFFFF"/>
          </a:solidFill>
        </p:spPr>
        <p:txBody>
          <a:bodyPr wrap="square" lIns="0" tIns="0" rIns="0" bIns="0" rtlCol="0"/>
          <a:lstStyle/>
          <a:p>
            <a:endParaRPr/>
          </a:p>
        </p:txBody>
      </p:sp>
      <p:sp>
        <p:nvSpPr>
          <p:cNvPr id="20" name="object 20"/>
          <p:cNvSpPr txBox="1"/>
          <p:nvPr/>
        </p:nvSpPr>
        <p:spPr>
          <a:xfrm>
            <a:off x="1803273" y="3195574"/>
            <a:ext cx="716915" cy="269875"/>
          </a:xfrm>
          <a:prstGeom prst="rect">
            <a:avLst/>
          </a:prstGeom>
        </p:spPr>
        <p:txBody>
          <a:bodyPr vert="horz" wrap="square" lIns="0" tIns="13335" rIns="0" bIns="0" rtlCol="0">
            <a:spAutoFit/>
          </a:bodyPr>
          <a:lstStyle/>
          <a:p>
            <a:pPr marL="151130" marR="5080" indent="-139065">
              <a:lnSpc>
                <a:spcPct val="100000"/>
              </a:lnSpc>
              <a:spcBef>
                <a:spcPts val="105"/>
              </a:spcBef>
            </a:pPr>
            <a:r>
              <a:rPr sz="800" spc="-5">
                <a:latin typeface="Verdana"/>
                <a:cs typeface="Verdana"/>
              </a:rPr>
              <a:t>TTT/Key</a:t>
            </a:r>
            <a:r>
              <a:rPr sz="800" spc="-75">
                <a:latin typeface="Verdana"/>
                <a:cs typeface="Verdana"/>
              </a:rPr>
              <a:t> </a:t>
            </a:r>
            <a:r>
              <a:rPr sz="800">
                <a:latin typeface="Verdana"/>
                <a:cs typeface="Verdana"/>
              </a:rPr>
              <a:t>User  </a:t>
            </a:r>
            <a:r>
              <a:rPr sz="800" spc="-5">
                <a:latin typeface="Verdana"/>
                <a:cs typeface="Verdana"/>
              </a:rPr>
              <a:t>Training</a:t>
            </a:r>
            <a:endParaRPr sz="800">
              <a:latin typeface="Verdana"/>
              <a:cs typeface="Verdana"/>
            </a:endParaRPr>
          </a:p>
        </p:txBody>
      </p:sp>
      <p:sp>
        <p:nvSpPr>
          <p:cNvPr id="21" name="object 21"/>
          <p:cNvSpPr/>
          <p:nvPr/>
        </p:nvSpPr>
        <p:spPr>
          <a:xfrm>
            <a:off x="952500" y="3649979"/>
            <a:ext cx="756285" cy="433070"/>
          </a:xfrm>
          <a:custGeom>
            <a:avLst/>
            <a:gdLst/>
            <a:ahLst/>
            <a:cxnLst/>
            <a:rect l="l" t="t" r="r" b="b"/>
            <a:pathLst>
              <a:path w="756285" h="433070">
                <a:moveTo>
                  <a:pt x="0" y="432816"/>
                </a:moveTo>
                <a:lnTo>
                  <a:pt x="755904" y="432816"/>
                </a:lnTo>
                <a:lnTo>
                  <a:pt x="755904" y="0"/>
                </a:lnTo>
                <a:lnTo>
                  <a:pt x="0" y="0"/>
                </a:lnTo>
                <a:lnTo>
                  <a:pt x="0" y="432816"/>
                </a:lnTo>
                <a:close/>
              </a:path>
            </a:pathLst>
          </a:custGeom>
          <a:solidFill>
            <a:srgbClr val="FFFFFF"/>
          </a:solidFill>
        </p:spPr>
        <p:txBody>
          <a:bodyPr wrap="square" lIns="0" tIns="0" rIns="0" bIns="0" rtlCol="0"/>
          <a:lstStyle/>
          <a:p>
            <a:endParaRPr/>
          </a:p>
        </p:txBody>
      </p:sp>
      <p:sp>
        <p:nvSpPr>
          <p:cNvPr id="22" name="object 22"/>
          <p:cNvSpPr txBox="1"/>
          <p:nvPr/>
        </p:nvSpPr>
        <p:spPr>
          <a:xfrm>
            <a:off x="1046784" y="3731133"/>
            <a:ext cx="568325" cy="269875"/>
          </a:xfrm>
          <a:prstGeom prst="rect">
            <a:avLst/>
          </a:prstGeom>
        </p:spPr>
        <p:txBody>
          <a:bodyPr vert="horz" wrap="square" lIns="0" tIns="12700" rIns="0" bIns="0" rtlCol="0">
            <a:spAutoFit/>
          </a:bodyPr>
          <a:lstStyle/>
          <a:p>
            <a:pPr marL="85725" marR="5080" indent="-73660">
              <a:lnSpc>
                <a:spcPct val="100000"/>
              </a:lnSpc>
              <a:spcBef>
                <a:spcPts val="100"/>
              </a:spcBef>
            </a:pPr>
            <a:r>
              <a:rPr sz="800" spc="-5">
                <a:latin typeface="Verdana"/>
                <a:cs typeface="Verdana"/>
              </a:rPr>
              <a:t>P</a:t>
            </a:r>
            <a:r>
              <a:rPr sz="800">
                <a:latin typeface="Verdana"/>
                <a:cs typeface="Verdana"/>
              </a:rPr>
              <a:t>rod</a:t>
            </a:r>
            <a:r>
              <a:rPr sz="800" spc="-5">
                <a:latin typeface="Verdana"/>
                <a:cs typeface="Verdana"/>
              </a:rPr>
              <a:t>u</a:t>
            </a:r>
            <a:r>
              <a:rPr sz="800">
                <a:latin typeface="Verdana"/>
                <a:cs typeface="Verdana"/>
              </a:rPr>
              <a:t>c</a:t>
            </a:r>
            <a:r>
              <a:rPr sz="800" spc="-5">
                <a:latin typeface="Verdana"/>
                <a:cs typeface="Verdana"/>
              </a:rPr>
              <a:t>ti</a:t>
            </a:r>
            <a:r>
              <a:rPr sz="800">
                <a:latin typeface="Verdana"/>
                <a:cs typeface="Verdana"/>
              </a:rPr>
              <a:t>on  Release</a:t>
            </a:r>
          </a:p>
        </p:txBody>
      </p:sp>
      <p:sp>
        <p:nvSpPr>
          <p:cNvPr id="23" name="object 23"/>
          <p:cNvSpPr/>
          <p:nvPr/>
        </p:nvSpPr>
        <p:spPr>
          <a:xfrm>
            <a:off x="1783079" y="3653028"/>
            <a:ext cx="756285" cy="431800"/>
          </a:xfrm>
          <a:custGeom>
            <a:avLst/>
            <a:gdLst/>
            <a:ahLst/>
            <a:cxnLst/>
            <a:rect l="l" t="t" r="r" b="b"/>
            <a:pathLst>
              <a:path w="756285" h="431800">
                <a:moveTo>
                  <a:pt x="0" y="431292"/>
                </a:moveTo>
                <a:lnTo>
                  <a:pt x="755904" y="431292"/>
                </a:lnTo>
                <a:lnTo>
                  <a:pt x="755904" y="0"/>
                </a:lnTo>
                <a:lnTo>
                  <a:pt x="0" y="0"/>
                </a:lnTo>
                <a:lnTo>
                  <a:pt x="0" y="431292"/>
                </a:lnTo>
                <a:close/>
              </a:path>
            </a:pathLst>
          </a:custGeom>
          <a:solidFill>
            <a:srgbClr val="FFFFFF"/>
          </a:solidFill>
        </p:spPr>
        <p:txBody>
          <a:bodyPr wrap="square" lIns="0" tIns="0" rIns="0" bIns="0" rtlCol="0"/>
          <a:lstStyle/>
          <a:p>
            <a:endParaRPr/>
          </a:p>
        </p:txBody>
      </p:sp>
      <p:sp>
        <p:nvSpPr>
          <p:cNvPr id="24" name="object 24"/>
          <p:cNvSpPr txBox="1"/>
          <p:nvPr/>
        </p:nvSpPr>
        <p:spPr>
          <a:xfrm>
            <a:off x="1852422" y="3733038"/>
            <a:ext cx="618490" cy="269875"/>
          </a:xfrm>
          <a:prstGeom prst="rect">
            <a:avLst/>
          </a:prstGeom>
        </p:spPr>
        <p:txBody>
          <a:bodyPr vert="horz" wrap="square" lIns="0" tIns="12700" rIns="0" bIns="0" rtlCol="0">
            <a:spAutoFit/>
          </a:bodyPr>
          <a:lstStyle/>
          <a:p>
            <a:pPr marL="62865" marR="5080" indent="-50800">
              <a:lnSpc>
                <a:spcPct val="100000"/>
              </a:lnSpc>
              <a:spcBef>
                <a:spcPts val="100"/>
              </a:spcBef>
            </a:pPr>
            <a:r>
              <a:rPr sz="800">
                <a:latin typeface="Verdana"/>
                <a:cs typeface="Verdana"/>
              </a:rPr>
              <a:t>Ope</a:t>
            </a:r>
            <a:r>
              <a:rPr sz="800" spc="5">
                <a:latin typeface="Verdana"/>
                <a:cs typeface="Verdana"/>
              </a:rPr>
              <a:t>r</a:t>
            </a:r>
            <a:r>
              <a:rPr sz="800" spc="-5">
                <a:latin typeface="Verdana"/>
                <a:cs typeface="Verdana"/>
              </a:rPr>
              <a:t>ati</a:t>
            </a:r>
            <a:r>
              <a:rPr sz="800">
                <a:latin typeface="Verdana"/>
                <a:cs typeface="Verdana"/>
              </a:rPr>
              <a:t>o</a:t>
            </a:r>
            <a:r>
              <a:rPr sz="800" spc="-5">
                <a:latin typeface="Verdana"/>
                <a:cs typeface="Verdana"/>
              </a:rPr>
              <a:t>na</a:t>
            </a:r>
            <a:r>
              <a:rPr sz="800">
                <a:latin typeface="Verdana"/>
                <a:cs typeface="Verdana"/>
              </a:rPr>
              <a:t>l  Handover</a:t>
            </a:r>
          </a:p>
        </p:txBody>
      </p:sp>
      <p:sp>
        <p:nvSpPr>
          <p:cNvPr id="25" name="object 25"/>
          <p:cNvSpPr/>
          <p:nvPr/>
        </p:nvSpPr>
        <p:spPr>
          <a:xfrm>
            <a:off x="1071372" y="1984248"/>
            <a:ext cx="1620520" cy="403860"/>
          </a:xfrm>
          <a:custGeom>
            <a:avLst/>
            <a:gdLst/>
            <a:ahLst/>
            <a:cxnLst/>
            <a:rect l="l" t="t" r="r" b="b"/>
            <a:pathLst>
              <a:path w="1620520" h="403860">
                <a:moveTo>
                  <a:pt x="1620011" y="0"/>
                </a:moveTo>
                <a:lnTo>
                  <a:pt x="43776" y="0"/>
                </a:lnTo>
                <a:lnTo>
                  <a:pt x="0" y="403860"/>
                </a:lnTo>
                <a:lnTo>
                  <a:pt x="1576197" y="403860"/>
                </a:lnTo>
                <a:lnTo>
                  <a:pt x="1620011" y="0"/>
                </a:lnTo>
                <a:close/>
              </a:path>
            </a:pathLst>
          </a:custGeom>
          <a:solidFill>
            <a:srgbClr val="006FAC"/>
          </a:solidFill>
        </p:spPr>
        <p:txBody>
          <a:bodyPr wrap="square" lIns="0" tIns="0" rIns="0" bIns="0" rtlCol="0"/>
          <a:lstStyle/>
          <a:p>
            <a:endParaRPr/>
          </a:p>
        </p:txBody>
      </p:sp>
      <p:sp>
        <p:nvSpPr>
          <p:cNvPr id="26" name="object 26"/>
          <p:cNvSpPr txBox="1"/>
          <p:nvPr/>
        </p:nvSpPr>
        <p:spPr>
          <a:xfrm>
            <a:off x="1332738" y="1989582"/>
            <a:ext cx="1096645" cy="391160"/>
          </a:xfrm>
          <a:prstGeom prst="rect">
            <a:avLst/>
          </a:prstGeom>
        </p:spPr>
        <p:txBody>
          <a:bodyPr vert="horz" wrap="square" lIns="0" tIns="12700" rIns="0" bIns="0" rtlCol="0">
            <a:spAutoFit/>
          </a:bodyPr>
          <a:lstStyle/>
          <a:p>
            <a:pPr marL="253365" marR="5080" indent="-241300">
              <a:lnSpc>
                <a:spcPct val="100000"/>
              </a:lnSpc>
              <a:spcBef>
                <a:spcPts val="100"/>
              </a:spcBef>
            </a:pPr>
            <a:r>
              <a:rPr sz="1200" b="1" spc="-5">
                <a:solidFill>
                  <a:srgbClr val="FFFFFF"/>
                </a:solidFill>
                <a:latin typeface="Verdana"/>
                <a:cs typeface="Verdana"/>
              </a:rPr>
              <a:t>Validate</a:t>
            </a:r>
            <a:r>
              <a:rPr sz="1200" b="1" spc="-65">
                <a:solidFill>
                  <a:srgbClr val="FFFFFF"/>
                </a:solidFill>
                <a:latin typeface="Verdana"/>
                <a:cs typeface="Verdana"/>
              </a:rPr>
              <a:t> </a:t>
            </a:r>
            <a:r>
              <a:rPr sz="1200" b="1">
                <a:solidFill>
                  <a:srgbClr val="FFFFFF"/>
                </a:solidFill>
                <a:latin typeface="Verdana"/>
                <a:cs typeface="Verdana"/>
              </a:rPr>
              <a:t>and  </a:t>
            </a:r>
            <a:r>
              <a:rPr sz="1200" b="1" spc="-5">
                <a:solidFill>
                  <a:srgbClr val="FFFFFF"/>
                </a:solidFill>
                <a:latin typeface="Verdana"/>
                <a:cs typeface="Verdana"/>
              </a:rPr>
              <a:t>Deploy</a:t>
            </a:r>
            <a:endParaRPr sz="1200">
              <a:latin typeface="Verdana"/>
              <a:cs typeface="Verdana"/>
            </a:endParaRPr>
          </a:p>
        </p:txBody>
      </p:sp>
      <p:sp>
        <p:nvSpPr>
          <p:cNvPr id="27" name="object 27"/>
          <p:cNvSpPr/>
          <p:nvPr/>
        </p:nvSpPr>
        <p:spPr>
          <a:xfrm>
            <a:off x="2640076" y="1443227"/>
            <a:ext cx="127000" cy="4418330"/>
          </a:xfrm>
          <a:custGeom>
            <a:avLst/>
            <a:gdLst/>
            <a:ahLst/>
            <a:cxnLst/>
            <a:rect l="l" t="t" r="r" b="b"/>
            <a:pathLst>
              <a:path w="127000" h="4418330">
                <a:moveTo>
                  <a:pt x="69850" y="0"/>
                </a:moveTo>
                <a:lnTo>
                  <a:pt x="57150" y="0"/>
                </a:lnTo>
                <a:lnTo>
                  <a:pt x="57150" y="50800"/>
                </a:lnTo>
                <a:lnTo>
                  <a:pt x="69850" y="50800"/>
                </a:lnTo>
                <a:lnTo>
                  <a:pt x="69850" y="0"/>
                </a:lnTo>
                <a:close/>
              </a:path>
              <a:path w="127000" h="4418330">
                <a:moveTo>
                  <a:pt x="69850" y="88900"/>
                </a:moveTo>
                <a:lnTo>
                  <a:pt x="57150" y="88900"/>
                </a:lnTo>
                <a:lnTo>
                  <a:pt x="57150" y="139700"/>
                </a:lnTo>
                <a:lnTo>
                  <a:pt x="69850" y="139700"/>
                </a:lnTo>
                <a:lnTo>
                  <a:pt x="69850" y="88900"/>
                </a:lnTo>
                <a:close/>
              </a:path>
              <a:path w="127000" h="4418330">
                <a:moveTo>
                  <a:pt x="69850" y="177800"/>
                </a:moveTo>
                <a:lnTo>
                  <a:pt x="57150" y="177800"/>
                </a:lnTo>
                <a:lnTo>
                  <a:pt x="57150" y="228600"/>
                </a:lnTo>
                <a:lnTo>
                  <a:pt x="69850" y="228600"/>
                </a:lnTo>
                <a:lnTo>
                  <a:pt x="69850" y="177800"/>
                </a:lnTo>
                <a:close/>
              </a:path>
              <a:path w="127000" h="4418330">
                <a:moveTo>
                  <a:pt x="69850" y="266700"/>
                </a:moveTo>
                <a:lnTo>
                  <a:pt x="57150" y="266700"/>
                </a:lnTo>
                <a:lnTo>
                  <a:pt x="57150" y="317500"/>
                </a:lnTo>
                <a:lnTo>
                  <a:pt x="69850" y="317500"/>
                </a:lnTo>
                <a:lnTo>
                  <a:pt x="69850" y="266700"/>
                </a:lnTo>
                <a:close/>
              </a:path>
              <a:path w="127000" h="4418330">
                <a:moveTo>
                  <a:pt x="69850" y="355600"/>
                </a:moveTo>
                <a:lnTo>
                  <a:pt x="57150" y="355600"/>
                </a:lnTo>
                <a:lnTo>
                  <a:pt x="57150" y="406400"/>
                </a:lnTo>
                <a:lnTo>
                  <a:pt x="69850" y="406400"/>
                </a:lnTo>
                <a:lnTo>
                  <a:pt x="69850" y="355600"/>
                </a:lnTo>
                <a:close/>
              </a:path>
              <a:path w="127000" h="4418330">
                <a:moveTo>
                  <a:pt x="69850" y="444500"/>
                </a:moveTo>
                <a:lnTo>
                  <a:pt x="57150" y="444500"/>
                </a:lnTo>
                <a:lnTo>
                  <a:pt x="57150" y="495300"/>
                </a:lnTo>
                <a:lnTo>
                  <a:pt x="69850" y="495300"/>
                </a:lnTo>
                <a:lnTo>
                  <a:pt x="69850" y="444500"/>
                </a:lnTo>
                <a:close/>
              </a:path>
              <a:path w="127000" h="4418330">
                <a:moveTo>
                  <a:pt x="69850" y="533400"/>
                </a:moveTo>
                <a:lnTo>
                  <a:pt x="57150" y="533400"/>
                </a:lnTo>
                <a:lnTo>
                  <a:pt x="57150" y="584200"/>
                </a:lnTo>
                <a:lnTo>
                  <a:pt x="69850" y="584200"/>
                </a:lnTo>
                <a:lnTo>
                  <a:pt x="69850" y="533400"/>
                </a:lnTo>
                <a:close/>
              </a:path>
              <a:path w="127000" h="4418330">
                <a:moveTo>
                  <a:pt x="69850" y="622300"/>
                </a:moveTo>
                <a:lnTo>
                  <a:pt x="57150" y="622300"/>
                </a:lnTo>
                <a:lnTo>
                  <a:pt x="57150" y="673100"/>
                </a:lnTo>
                <a:lnTo>
                  <a:pt x="69850" y="673100"/>
                </a:lnTo>
                <a:lnTo>
                  <a:pt x="69850" y="622300"/>
                </a:lnTo>
                <a:close/>
              </a:path>
              <a:path w="127000" h="4418330">
                <a:moveTo>
                  <a:pt x="69850" y="711200"/>
                </a:moveTo>
                <a:lnTo>
                  <a:pt x="57150" y="711200"/>
                </a:lnTo>
                <a:lnTo>
                  <a:pt x="57150" y="762000"/>
                </a:lnTo>
                <a:lnTo>
                  <a:pt x="69850" y="762000"/>
                </a:lnTo>
                <a:lnTo>
                  <a:pt x="69850" y="711200"/>
                </a:lnTo>
                <a:close/>
              </a:path>
              <a:path w="127000" h="4418330">
                <a:moveTo>
                  <a:pt x="69850" y="800100"/>
                </a:moveTo>
                <a:lnTo>
                  <a:pt x="57150" y="800100"/>
                </a:lnTo>
                <a:lnTo>
                  <a:pt x="57150" y="850900"/>
                </a:lnTo>
                <a:lnTo>
                  <a:pt x="69850" y="850900"/>
                </a:lnTo>
                <a:lnTo>
                  <a:pt x="69850" y="800100"/>
                </a:lnTo>
                <a:close/>
              </a:path>
              <a:path w="127000" h="4418330">
                <a:moveTo>
                  <a:pt x="69850" y="889000"/>
                </a:moveTo>
                <a:lnTo>
                  <a:pt x="57150" y="889000"/>
                </a:lnTo>
                <a:lnTo>
                  <a:pt x="57150" y="939800"/>
                </a:lnTo>
                <a:lnTo>
                  <a:pt x="69850" y="939800"/>
                </a:lnTo>
                <a:lnTo>
                  <a:pt x="69850" y="889000"/>
                </a:lnTo>
                <a:close/>
              </a:path>
              <a:path w="127000" h="4418330">
                <a:moveTo>
                  <a:pt x="69850" y="977900"/>
                </a:moveTo>
                <a:lnTo>
                  <a:pt x="57150" y="977900"/>
                </a:lnTo>
                <a:lnTo>
                  <a:pt x="57150" y="1028700"/>
                </a:lnTo>
                <a:lnTo>
                  <a:pt x="69850" y="1028700"/>
                </a:lnTo>
                <a:lnTo>
                  <a:pt x="69850" y="977900"/>
                </a:lnTo>
                <a:close/>
              </a:path>
              <a:path w="127000" h="4418330">
                <a:moveTo>
                  <a:pt x="69850" y="1066800"/>
                </a:moveTo>
                <a:lnTo>
                  <a:pt x="57150" y="1066800"/>
                </a:lnTo>
                <a:lnTo>
                  <a:pt x="57150" y="1117600"/>
                </a:lnTo>
                <a:lnTo>
                  <a:pt x="69850" y="1117600"/>
                </a:lnTo>
                <a:lnTo>
                  <a:pt x="69850" y="1066800"/>
                </a:lnTo>
                <a:close/>
              </a:path>
              <a:path w="127000" h="4418330">
                <a:moveTo>
                  <a:pt x="69850" y="1155700"/>
                </a:moveTo>
                <a:lnTo>
                  <a:pt x="57150" y="1155700"/>
                </a:lnTo>
                <a:lnTo>
                  <a:pt x="57150" y="1206500"/>
                </a:lnTo>
                <a:lnTo>
                  <a:pt x="69850" y="1206500"/>
                </a:lnTo>
                <a:lnTo>
                  <a:pt x="69850" y="1155700"/>
                </a:lnTo>
                <a:close/>
              </a:path>
              <a:path w="127000" h="4418330">
                <a:moveTo>
                  <a:pt x="69850" y="1244600"/>
                </a:moveTo>
                <a:lnTo>
                  <a:pt x="57150" y="1244600"/>
                </a:lnTo>
                <a:lnTo>
                  <a:pt x="57150" y="1295400"/>
                </a:lnTo>
                <a:lnTo>
                  <a:pt x="69850" y="1295400"/>
                </a:lnTo>
                <a:lnTo>
                  <a:pt x="69850" y="1244600"/>
                </a:lnTo>
                <a:close/>
              </a:path>
              <a:path w="127000" h="4418330">
                <a:moveTo>
                  <a:pt x="69850" y="1333500"/>
                </a:moveTo>
                <a:lnTo>
                  <a:pt x="57150" y="1333500"/>
                </a:lnTo>
                <a:lnTo>
                  <a:pt x="57150" y="1384300"/>
                </a:lnTo>
                <a:lnTo>
                  <a:pt x="69850" y="1384300"/>
                </a:lnTo>
                <a:lnTo>
                  <a:pt x="69850" y="1333500"/>
                </a:lnTo>
                <a:close/>
              </a:path>
              <a:path w="127000" h="4418330">
                <a:moveTo>
                  <a:pt x="69850" y="1422400"/>
                </a:moveTo>
                <a:lnTo>
                  <a:pt x="57150" y="1422400"/>
                </a:lnTo>
                <a:lnTo>
                  <a:pt x="57150" y="1473200"/>
                </a:lnTo>
                <a:lnTo>
                  <a:pt x="69850" y="1473200"/>
                </a:lnTo>
                <a:lnTo>
                  <a:pt x="69850" y="1422400"/>
                </a:lnTo>
                <a:close/>
              </a:path>
              <a:path w="127000" h="4418330">
                <a:moveTo>
                  <a:pt x="69850" y="1511300"/>
                </a:moveTo>
                <a:lnTo>
                  <a:pt x="57150" y="1511300"/>
                </a:lnTo>
                <a:lnTo>
                  <a:pt x="57150" y="1562100"/>
                </a:lnTo>
                <a:lnTo>
                  <a:pt x="69850" y="1562100"/>
                </a:lnTo>
                <a:lnTo>
                  <a:pt x="69850" y="1511300"/>
                </a:lnTo>
                <a:close/>
              </a:path>
              <a:path w="127000" h="4418330">
                <a:moveTo>
                  <a:pt x="69850" y="1600200"/>
                </a:moveTo>
                <a:lnTo>
                  <a:pt x="57150" y="1600200"/>
                </a:lnTo>
                <a:lnTo>
                  <a:pt x="57150" y="1651000"/>
                </a:lnTo>
                <a:lnTo>
                  <a:pt x="69850" y="1651000"/>
                </a:lnTo>
                <a:lnTo>
                  <a:pt x="69850" y="1600200"/>
                </a:lnTo>
                <a:close/>
              </a:path>
              <a:path w="127000" h="4418330">
                <a:moveTo>
                  <a:pt x="69850" y="1689100"/>
                </a:moveTo>
                <a:lnTo>
                  <a:pt x="57150" y="1689100"/>
                </a:lnTo>
                <a:lnTo>
                  <a:pt x="57150" y="1739900"/>
                </a:lnTo>
                <a:lnTo>
                  <a:pt x="69850" y="1739900"/>
                </a:lnTo>
                <a:lnTo>
                  <a:pt x="69850" y="1689100"/>
                </a:lnTo>
                <a:close/>
              </a:path>
              <a:path w="127000" h="4418330">
                <a:moveTo>
                  <a:pt x="69850" y="1778000"/>
                </a:moveTo>
                <a:lnTo>
                  <a:pt x="57150" y="1778000"/>
                </a:lnTo>
                <a:lnTo>
                  <a:pt x="57150" y="1828800"/>
                </a:lnTo>
                <a:lnTo>
                  <a:pt x="69850" y="1828800"/>
                </a:lnTo>
                <a:lnTo>
                  <a:pt x="69850" y="1778000"/>
                </a:lnTo>
                <a:close/>
              </a:path>
              <a:path w="127000" h="4418330">
                <a:moveTo>
                  <a:pt x="69850" y="1866900"/>
                </a:moveTo>
                <a:lnTo>
                  <a:pt x="57150" y="1866900"/>
                </a:lnTo>
                <a:lnTo>
                  <a:pt x="57150" y="1917700"/>
                </a:lnTo>
                <a:lnTo>
                  <a:pt x="69850" y="1917700"/>
                </a:lnTo>
                <a:lnTo>
                  <a:pt x="69850" y="1866900"/>
                </a:lnTo>
                <a:close/>
              </a:path>
              <a:path w="127000" h="4418330">
                <a:moveTo>
                  <a:pt x="69850" y="1955800"/>
                </a:moveTo>
                <a:lnTo>
                  <a:pt x="57150" y="1955800"/>
                </a:lnTo>
                <a:lnTo>
                  <a:pt x="57150" y="2006600"/>
                </a:lnTo>
                <a:lnTo>
                  <a:pt x="69850" y="2006600"/>
                </a:lnTo>
                <a:lnTo>
                  <a:pt x="69850" y="1955800"/>
                </a:lnTo>
                <a:close/>
              </a:path>
              <a:path w="127000" h="4418330">
                <a:moveTo>
                  <a:pt x="69850" y="2044700"/>
                </a:moveTo>
                <a:lnTo>
                  <a:pt x="57150" y="2044700"/>
                </a:lnTo>
                <a:lnTo>
                  <a:pt x="57150" y="2095500"/>
                </a:lnTo>
                <a:lnTo>
                  <a:pt x="69850" y="2095500"/>
                </a:lnTo>
                <a:lnTo>
                  <a:pt x="69850" y="2044700"/>
                </a:lnTo>
                <a:close/>
              </a:path>
              <a:path w="127000" h="4418330">
                <a:moveTo>
                  <a:pt x="69850" y="2133600"/>
                </a:moveTo>
                <a:lnTo>
                  <a:pt x="57150" y="2133600"/>
                </a:lnTo>
                <a:lnTo>
                  <a:pt x="57150" y="2184400"/>
                </a:lnTo>
                <a:lnTo>
                  <a:pt x="69850" y="2184400"/>
                </a:lnTo>
                <a:lnTo>
                  <a:pt x="69850" y="2133600"/>
                </a:lnTo>
                <a:close/>
              </a:path>
              <a:path w="127000" h="4418330">
                <a:moveTo>
                  <a:pt x="69850" y="2222500"/>
                </a:moveTo>
                <a:lnTo>
                  <a:pt x="57150" y="2222500"/>
                </a:lnTo>
                <a:lnTo>
                  <a:pt x="57150" y="2273300"/>
                </a:lnTo>
                <a:lnTo>
                  <a:pt x="69850" y="2273300"/>
                </a:lnTo>
                <a:lnTo>
                  <a:pt x="69850" y="2222500"/>
                </a:lnTo>
                <a:close/>
              </a:path>
              <a:path w="127000" h="4418330">
                <a:moveTo>
                  <a:pt x="69850" y="2311400"/>
                </a:moveTo>
                <a:lnTo>
                  <a:pt x="57150" y="2311400"/>
                </a:lnTo>
                <a:lnTo>
                  <a:pt x="57150" y="2362200"/>
                </a:lnTo>
                <a:lnTo>
                  <a:pt x="69850" y="2362200"/>
                </a:lnTo>
                <a:lnTo>
                  <a:pt x="69850" y="2311400"/>
                </a:lnTo>
                <a:close/>
              </a:path>
              <a:path w="127000" h="4418330">
                <a:moveTo>
                  <a:pt x="69850" y="2400300"/>
                </a:moveTo>
                <a:lnTo>
                  <a:pt x="57150" y="2400300"/>
                </a:lnTo>
                <a:lnTo>
                  <a:pt x="57150" y="2451100"/>
                </a:lnTo>
                <a:lnTo>
                  <a:pt x="69850" y="2451100"/>
                </a:lnTo>
                <a:lnTo>
                  <a:pt x="69850" y="2400300"/>
                </a:lnTo>
                <a:close/>
              </a:path>
              <a:path w="127000" h="4418330">
                <a:moveTo>
                  <a:pt x="69850" y="2489200"/>
                </a:moveTo>
                <a:lnTo>
                  <a:pt x="57150" y="2489200"/>
                </a:lnTo>
                <a:lnTo>
                  <a:pt x="57150" y="2540000"/>
                </a:lnTo>
                <a:lnTo>
                  <a:pt x="69850" y="2540000"/>
                </a:lnTo>
                <a:lnTo>
                  <a:pt x="69850" y="2489200"/>
                </a:lnTo>
                <a:close/>
              </a:path>
              <a:path w="127000" h="4418330">
                <a:moveTo>
                  <a:pt x="69850" y="2578100"/>
                </a:moveTo>
                <a:lnTo>
                  <a:pt x="57150" y="2578100"/>
                </a:lnTo>
                <a:lnTo>
                  <a:pt x="57150" y="2628900"/>
                </a:lnTo>
                <a:lnTo>
                  <a:pt x="69850" y="2628900"/>
                </a:lnTo>
                <a:lnTo>
                  <a:pt x="69850" y="2578100"/>
                </a:lnTo>
                <a:close/>
              </a:path>
              <a:path w="127000" h="4418330">
                <a:moveTo>
                  <a:pt x="69850" y="2667000"/>
                </a:moveTo>
                <a:lnTo>
                  <a:pt x="57150" y="2667000"/>
                </a:lnTo>
                <a:lnTo>
                  <a:pt x="57150" y="2717800"/>
                </a:lnTo>
                <a:lnTo>
                  <a:pt x="69850" y="2717800"/>
                </a:lnTo>
                <a:lnTo>
                  <a:pt x="69850" y="2667000"/>
                </a:lnTo>
                <a:close/>
              </a:path>
              <a:path w="127000" h="4418330">
                <a:moveTo>
                  <a:pt x="69850" y="2755900"/>
                </a:moveTo>
                <a:lnTo>
                  <a:pt x="57150" y="2755900"/>
                </a:lnTo>
                <a:lnTo>
                  <a:pt x="57150" y="2806700"/>
                </a:lnTo>
                <a:lnTo>
                  <a:pt x="69850" y="2806700"/>
                </a:lnTo>
                <a:lnTo>
                  <a:pt x="69850" y="2755900"/>
                </a:lnTo>
                <a:close/>
              </a:path>
              <a:path w="127000" h="4418330">
                <a:moveTo>
                  <a:pt x="69850" y="2844800"/>
                </a:moveTo>
                <a:lnTo>
                  <a:pt x="57150" y="2844800"/>
                </a:lnTo>
                <a:lnTo>
                  <a:pt x="57150" y="2895600"/>
                </a:lnTo>
                <a:lnTo>
                  <a:pt x="69850" y="2895600"/>
                </a:lnTo>
                <a:lnTo>
                  <a:pt x="69850" y="2844800"/>
                </a:lnTo>
                <a:close/>
              </a:path>
              <a:path w="127000" h="4418330">
                <a:moveTo>
                  <a:pt x="69850" y="2933700"/>
                </a:moveTo>
                <a:lnTo>
                  <a:pt x="57150" y="2933700"/>
                </a:lnTo>
                <a:lnTo>
                  <a:pt x="57150" y="2984500"/>
                </a:lnTo>
                <a:lnTo>
                  <a:pt x="69850" y="2984500"/>
                </a:lnTo>
                <a:lnTo>
                  <a:pt x="69850" y="2933700"/>
                </a:lnTo>
                <a:close/>
              </a:path>
              <a:path w="127000" h="4418330">
                <a:moveTo>
                  <a:pt x="69850" y="3022600"/>
                </a:moveTo>
                <a:lnTo>
                  <a:pt x="57150" y="3022600"/>
                </a:lnTo>
                <a:lnTo>
                  <a:pt x="57150" y="3073400"/>
                </a:lnTo>
                <a:lnTo>
                  <a:pt x="69850" y="3073400"/>
                </a:lnTo>
                <a:lnTo>
                  <a:pt x="69850" y="3022600"/>
                </a:lnTo>
                <a:close/>
              </a:path>
              <a:path w="127000" h="4418330">
                <a:moveTo>
                  <a:pt x="69850" y="3111500"/>
                </a:moveTo>
                <a:lnTo>
                  <a:pt x="57150" y="3111500"/>
                </a:lnTo>
                <a:lnTo>
                  <a:pt x="57150" y="3162300"/>
                </a:lnTo>
                <a:lnTo>
                  <a:pt x="69850" y="3162300"/>
                </a:lnTo>
                <a:lnTo>
                  <a:pt x="69850" y="3111500"/>
                </a:lnTo>
                <a:close/>
              </a:path>
              <a:path w="127000" h="4418330">
                <a:moveTo>
                  <a:pt x="69850" y="3200400"/>
                </a:moveTo>
                <a:lnTo>
                  <a:pt x="57150" y="3200400"/>
                </a:lnTo>
                <a:lnTo>
                  <a:pt x="57150" y="3251200"/>
                </a:lnTo>
                <a:lnTo>
                  <a:pt x="69850" y="3251200"/>
                </a:lnTo>
                <a:lnTo>
                  <a:pt x="69850" y="3200400"/>
                </a:lnTo>
                <a:close/>
              </a:path>
              <a:path w="127000" h="4418330">
                <a:moveTo>
                  <a:pt x="69850" y="3289300"/>
                </a:moveTo>
                <a:lnTo>
                  <a:pt x="57150" y="3289300"/>
                </a:lnTo>
                <a:lnTo>
                  <a:pt x="57150" y="3340100"/>
                </a:lnTo>
                <a:lnTo>
                  <a:pt x="69850" y="3340100"/>
                </a:lnTo>
                <a:lnTo>
                  <a:pt x="69850" y="3289300"/>
                </a:lnTo>
                <a:close/>
              </a:path>
              <a:path w="127000" h="4418330">
                <a:moveTo>
                  <a:pt x="69850" y="3378200"/>
                </a:moveTo>
                <a:lnTo>
                  <a:pt x="57150" y="3378200"/>
                </a:lnTo>
                <a:lnTo>
                  <a:pt x="57150" y="3429000"/>
                </a:lnTo>
                <a:lnTo>
                  <a:pt x="69850" y="3429000"/>
                </a:lnTo>
                <a:lnTo>
                  <a:pt x="69850" y="3378200"/>
                </a:lnTo>
                <a:close/>
              </a:path>
              <a:path w="127000" h="4418330">
                <a:moveTo>
                  <a:pt x="69850" y="3467100"/>
                </a:moveTo>
                <a:lnTo>
                  <a:pt x="57150" y="3467100"/>
                </a:lnTo>
                <a:lnTo>
                  <a:pt x="57150" y="3517900"/>
                </a:lnTo>
                <a:lnTo>
                  <a:pt x="69850" y="3517900"/>
                </a:lnTo>
                <a:lnTo>
                  <a:pt x="69850" y="3467100"/>
                </a:lnTo>
                <a:close/>
              </a:path>
              <a:path w="127000" h="4418330">
                <a:moveTo>
                  <a:pt x="69850" y="3556000"/>
                </a:moveTo>
                <a:lnTo>
                  <a:pt x="57150" y="3556000"/>
                </a:lnTo>
                <a:lnTo>
                  <a:pt x="57150" y="3606800"/>
                </a:lnTo>
                <a:lnTo>
                  <a:pt x="69850" y="3606800"/>
                </a:lnTo>
                <a:lnTo>
                  <a:pt x="69850" y="3556000"/>
                </a:lnTo>
                <a:close/>
              </a:path>
              <a:path w="127000" h="4418330">
                <a:moveTo>
                  <a:pt x="69850" y="3644900"/>
                </a:moveTo>
                <a:lnTo>
                  <a:pt x="57150" y="3644900"/>
                </a:lnTo>
                <a:lnTo>
                  <a:pt x="57150" y="3695700"/>
                </a:lnTo>
                <a:lnTo>
                  <a:pt x="69850" y="3695700"/>
                </a:lnTo>
                <a:lnTo>
                  <a:pt x="69850" y="3644900"/>
                </a:lnTo>
                <a:close/>
              </a:path>
              <a:path w="127000" h="4418330">
                <a:moveTo>
                  <a:pt x="69850" y="3733800"/>
                </a:moveTo>
                <a:lnTo>
                  <a:pt x="57150" y="3733800"/>
                </a:lnTo>
                <a:lnTo>
                  <a:pt x="57150" y="3784600"/>
                </a:lnTo>
                <a:lnTo>
                  <a:pt x="69850" y="3784600"/>
                </a:lnTo>
                <a:lnTo>
                  <a:pt x="69850" y="3733800"/>
                </a:lnTo>
                <a:close/>
              </a:path>
              <a:path w="127000" h="4418330">
                <a:moveTo>
                  <a:pt x="69850" y="3822700"/>
                </a:moveTo>
                <a:lnTo>
                  <a:pt x="57150" y="3822700"/>
                </a:lnTo>
                <a:lnTo>
                  <a:pt x="57150" y="3873500"/>
                </a:lnTo>
                <a:lnTo>
                  <a:pt x="69850" y="3873500"/>
                </a:lnTo>
                <a:lnTo>
                  <a:pt x="69850" y="3822700"/>
                </a:lnTo>
                <a:close/>
              </a:path>
              <a:path w="127000" h="4418330">
                <a:moveTo>
                  <a:pt x="69850" y="3911600"/>
                </a:moveTo>
                <a:lnTo>
                  <a:pt x="57150" y="3911600"/>
                </a:lnTo>
                <a:lnTo>
                  <a:pt x="57150" y="3962400"/>
                </a:lnTo>
                <a:lnTo>
                  <a:pt x="69850" y="3962400"/>
                </a:lnTo>
                <a:lnTo>
                  <a:pt x="69850" y="3911600"/>
                </a:lnTo>
                <a:close/>
              </a:path>
              <a:path w="127000" h="4418330">
                <a:moveTo>
                  <a:pt x="69850" y="4000500"/>
                </a:moveTo>
                <a:lnTo>
                  <a:pt x="57150" y="4000500"/>
                </a:lnTo>
                <a:lnTo>
                  <a:pt x="57150" y="4051300"/>
                </a:lnTo>
                <a:lnTo>
                  <a:pt x="69850" y="4051300"/>
                </a:lnTo>
                <a:lnTo>
                  <a:pt x="69850" y="4000500"/>
                </a:lnTo>
                <a:close/>
              </a:path>
              <a:path w="127000" h="4418330">
                <a:moveTo>
                  <a:pt x="69850" y="4089400"/>
                </a:moveTo>
                <a:lnTo>
                  <a:pt x="57150" y="4089400"/>
                </a:lnTo>
                <a:lnTo>
                  <a:pt x="57150" y="4140200"/>
                </a:lnTo>
                <a:lnTo>
                  <a:pt x="69850" y="4140200"/>
                </a:lnTo>
                <a:lnTo>
                  <a:pt x="69850" y="4089400"/>
                </a:lnTo>
                <a:close/>
              </a:path>
              <a:path w="127000" h="4418330">
                <a:moveTo>
                  <a:pt x="69850" y="4178300"/>
                </a:moveTo>
                <a:lnTo>
                  <a:pt x="57150" y="4178300"/>
                </a:lnTo>
                <a:lnTo>
                  <a:pt x="57150" y="4229100"/>
                </a:lnTo>
                <a:lnTo>
                  <a:pt x="69850" y="4229100"/>
                </a:lnTo>
                <a:lnTo>
                  <a:pt x="69850" y="4178300"/>
                </a:lnTo>
                <a:close/>
              </a:path>
              <a:path w="127000" h="4418330">
                <a:moveTo>
                  <a:pt x="57150" y="4291164"/>
                </a:moveTo>
                <a:lnTo>
                  <a:pt x="0" y="4291164"/>
                </a:lnTo>
                <a:lnTo>
                  <a:pt x="63500" y="4418164"/>
                </a:lnTo>
                <a:lnTo>
                  <a:pt x="120650" y="4303864"/>
                </a:lnTo>
                <a:lnTo>
                  <a:pt x="57150" y="4303864"/>
                </a:lnTo>
                <a:lnTo>
                  <a:pt x="57150" y="4291164"/>
                </a:lnTo>
                <a:close/>
              </a:path>
              <a:path w="127000" h="4418330">
                <a:moveTo>
                  <a:pt x="69850" y="4267200"/>
                </a:moveTo>
                <a:lnTo>
                  <a:pt x="57150" y="4267200"/>
                </a:lnTo>
                <a:lnTo>
                  <a:pt x="57150" y="4303864"/>
                </a:lnTo>
                <a:lnTo>
                  <a:pt x="69850" y="4303864"/>
                </a:lnTo>
                <a:lnTo>
                  <a:pt x="69850" y="4267200"/>
                </a:lnTo>
                <a:close/>
              </a:path>
              <a:path w="127000" h="4418330">
                <a:moveTo>
                  <a:pt x="127000" y="4291164"/>
                </a:moveTo>
                <a:lnTo>
                  <a:pt x="69850" y="4291164"/>
                </a:lnTo>
                <a:lnTo>
                  <a:pt x="69850" y="4303864"/>
                </a:lnTo>
                <a:lnTo>
                  <a:pt x="120650" y="4303864"/>
                </a:lnTo>
                <a:lnTo>
                  <a:pt x="127000" y="4291164"/>
                </a:lnTo>
                <a:close/>
              </a:path>
            </a:pathLst>
          </a:custGeom>
          <a:solidFill>
            <a:srgbClr val="7E7E7E"/>
          </a:solidFill>
        </p:spPr>
        <p:txBody>
          <a:bodyPr wrap="square" lIns="0" tIns="0" rIns="0" bIns="0" rtlCol="0"/>
          <a:lstStyle/>
          <a:p>
            <a:endParaRPr/>
          </a:p>
        </p:txBody>
      </p:sp>
      <p:sp>
        <p:nvSpPr>
          <p:cNvPr id="28" name="object 28"/>
          <p:cNvSpPr txBox="1"/>
          <p:nvPr/>
        </p:nvSpPr>
        <p:spPr>
          <a:xfrm>
            <a:off x="391464" y="5851347"/>
            <a:ext cx="835025" cy="482600"/>
          </a:xfrm>
          <a:prstGeom prst="rect">
            <a:avLst/>
          </a:prstGeom>
        </p:spPr>
        <p:txBody>
          <a:bodyPr vert="horz" wrap="square" lIns="0" tIns="12065" rIns="0" bIns="0" rtlCol="0">
            <a:spAutoFit/>
          </a:bodyPr>
          <a:lstStyle/>
          <a:p>
            <a:pPr marL="42545" algn="ctr">
              <a:lnSpc>
                <a:spcPct val="100000"/>
              </a:lnSpc>
              <a:spcBef>
                <a:spcPts val="95"/>
              </a:spcBef>
            </a:pPr>
            <a:r>
              <a:rPr sz="1000" b="1" spc="-10">
                <a:solidFill>
                  <a:srgbClr val="12ABDB"/>
                </a:solidFill>
                <a:latin typeface="Verdana"/>
                <a:cs typeface="Verdana"/>
              </a:rPr>
              <a:t>MS4</a:t>
            </a:r>
            <a:endParaRPr sz="1000">
              <a:latin typeface="Verdana"/>
              <a:cs typeface="Verdana"/>
            </a:endParaRPr>
          </a:p>
          <a:p>
            <a:pPr marL="12065" marR="5080" indent="41275" algn="ctr">
              <a:lnSpc>
                <a:spcPct val="100000"/>
              </a:lnSpc>
            </a:pPr>
            <a:r>
              <a:rPr sz="1000" b="1" spc="-10">
                <a:solidFill>
                  <a:srgbClr val="12ABDB"/>
                </a:solidFill>
                <a:latin typeface="Verdana"/>
                <a:cs typeface="Verdana"/>
              </a:rPr>
              <a:t>Ready for  </a:t>
            </a:r>
            <a:r>
              <a:rPr sz="1000" b="1" spc="-15">
                <a:solidFill>
                  <a:srgbClr val="12ABDB"/>
                </a:solidFill>
                <a:latin typeface="Verdana"/>
                <a:cs typeface="Verdana"/>
              </a:rPr>
              <a:t>A</a:t>
            </a:r>
            <a:r>
              <a:rPr sz="1000" b="1" spc="-10">
                <a:solidFill>
                  <a:srgbClr val="12ABDB"/>
                </a:solidFill>
                <a:latin typeface="Verdana"/>
                <a:cs typeface="Verdana"/>
              </a:rPr>
              <a:t>c</a:t>
            </a:r>
            <a:r>
              <a:rPr sz="1000" b="1" spc="-5">
                <a:solidFill>
                  <a:srgbClr val="12ABDB"/>
                </a:solidFill>
                <a:latin typeface="Verdana"/>
                <a:cs typeface="Verdana"/>
              </a:rPr>
              <a:t>c</a:t>
            </a:r>
            <a:r>
              <a:rPr sz="1000" b="1" spc="-10">
                <a:solidFill>
                  <a:srgbClr val="12ABDB"/>
                </a:solidFill>
                <a:latin typeface="Verdana"/>
                <a:cs typeface="Verdana"/>
              </a:rPr>
              <a:t>eptance</a:t>
            </a:r>
            <a:endParaRPr sz="1000">
              <a:latin typeface="Verdana"/>
              <a:cs typeface="Verdana"/>
            </a:endParaRPr>
          </a:p>
        </p:txBody>
      </p:sp>
      <p:sp>
        <p:nvSpPr>
          <p:cNvPr id="29" name="object 29"/>
          <p:cNvSpPr txBox="1"/>
          <p:nvPr/>
        </p:nvSpPr>
        <p:spPr>
          <a:xfrm>
            <a:off x="2322702" y="5851347"/>
            <a:ext cx="856615" cy="482600"/>
          </a:xfrm>
          <a:prstGeom prst="rect">
            <a:avLst/>
          </a:prstGeom>
        </p:spPr>
        <p:txBody>
          <a:bodyPr vert="horz" wrap="square" lIns="0" tIns="12065" rIns="0" bIns="0" rtlCol="0">
            <a:spAutoFit/>
          </a:bodyPr>
          <a:lstStyle/>
          <a:p>
            <a:pPr marL="42545" algn="ctr">
              <a:lnSpc>
                <a:spcPct val="100000"/>
              </a:lnSpc>
              <a:spcBef>
                <a:spcPts val="95"/>
              </a:spcBef>
            </a:pPr>
            <a:r>
              <a:rPr sz="1000" b="1" spc="-10">
                <a:solidFill>
                  <a:srgbClr val="12ABDB"/>
                </a:solidFill>
                <a:latin typeface="Verdana"/>
                <a:cs typeface="Verdana"/>
              </a:rPr>
              <a:t>MS5</a:t>
            </a:r>
            <a:endParaRPr sz="1000">
              <a:latin typeface="Verdana"/>
              <a:cs typeface="Verdana"/>
            </a:endParaRPr>
          </a:p>
          <a:p>
            <a:pPr marL="12700" marR="5080" algn="ctr">
              <a:lnSpc>
                <a:spcPct val="100000"/>
              </a:lnSpc>
            </a:pPr>
            <a:r>
              <a:rPr sz="1000" b="1" spc="-5">
                <a:solidFill>
                  <a:srgbClr val="12ABDB"/>
                </a:solidFill>
                <a:latin typeface="Verdana"/>
                <a:cs typeface="Verdana"/>
              </a:rPr>
              <a:t>O</a:t>
            </a:r>
            <a:r>
              <a:rPr sz="1000" b="1" spc="-10">
                <a:solidFill>
                  <a:srgbClr val="12ABDB"/>
                </a:solidFill>
                <a:latin typeface="Verdana"/>
                <a:cs typeface="Verdana"/>
              </a:rPr>
              <a:t>pe</a:t>
            </a:r>
            <a:r>
              <a:rPr sz="1000" b="1" spc="-15">
                <a:solidFill>
                  <a:srgbClr val="12ABDB"/>
                </a:solidFill>
                <a:latin typeface="Verdana"/>
                <a:cs typeface="Verdana"/>
              </a:rPr>
              <a:t>r</a:t>
            </a:r>
            <a:r>
              <a:rPr sz="1000" b="1" spc="-10">
                <a:solidFill>
                  <a:srgbClr val="12ABDB"/>
                </a:solidFill>
                <a:latin typeface="Verdana"/>
                <a:cs typeface="Verdana"/>
              </a:rPr>
              <a:t>a</a:t>
            </a:r>
            <a:r>
              <a:rPr sz="1000" b="1" spc="-5">
                <a:solidFill>
                  <a:srgbClr val="12ABDB"/>
                </a:solidFill>
                <a:latin typeface="Verdana"/>
                <a:cs typeface="Verdana"/>
              </a:rPr>
              <a:t>ti</a:t>
            </a:r>
            <a:r>
              <a:rPr sz="1000" b="1" spc="-10">
                <a:solidFill>
                  <a:srgbClr val="12ABDB"/>
                </a:solidFill>
                <a:latin typeface="Verdana"/>
                <a:cs typeface="Verdana"/>
              </a:rPr>
              <a:t>on</a:t>
            </a:r>
            <a:r>
              <a:rPr sz="1000" b="1" spc="-15">
                <a:solidFill>
                  <a:srgbClr val="12ABDB"/>
                </a:solidFill>
                <a:latin typeface="Verdana"/>
                <a:cs typeface="Verdana"/>
              </a:rPr>
              <a:t>a</a:t>
            </a:r>
            <a:r>
              <a:rPr sz="1000" b="1" spc="-5">
                <a:solidFill>
                  <a:srgbClr val="12ABDB"/>
                </a:solidFill>
                <a:latin typeface="Verdana"/>
                <a:cs typeface="Verdana"/>
              </a:rPr>
              <a:t>l  </a:t>
            </a:r>
            <a:r>
              <a:rPr sz="1000" b="1" spc="-10">
                <a:solidFill>
                  <a:srgbClr val="12ABDB"/>
                </a:solidFill>
                <a:latin typeface="Verdana"/>
                <a:cs typeface="Verdana"/>
              </a:rPr>
              <a:t>Release</a:t>
            </a:r>
            <a:endParaRPr sz="1000">
              <a:latin typeface="Verdana"/>
              <a:cs typeface="Verdana"/>
            </a:endParaRPr>
          </a:p>
        </p:txBody>
      </p:sp>
      <p:sp>
        <p:nvSpPr>
          <p:cNvPr id="30" name="object 30"/>
          <p:cNvSpPr/>
          <p:nvPr/>
        </p:nvSpPr>
        <p:spPr>
          <a:xfrm>
            <a:off x="3948684" y="2758439"/>
            <a:ext cx="1243965" cy="958850"/>
          </a:xfrm>
          <a:custGeom>
            <a:avLst/>
            <a:gdLst/>
            <a:ahLst/>
            <a:cxnLst/>
            <a:rect l="l" t="t" r="r" b="b"/>
            <a:pathLst>
              <a:path w="1243964" h="958850">
                <a:moveTo>
                  <a:pt x="0" y="958596"/>
                </a:moveTo>
                <a:lnTo>
                  <a:pt x="1243584" y="958596"/>
                </a:lnTo>
                <a:lnTo>
                  <a:pt x="1243584" y="0"/>
                </a:lnTo>
                <a:lnTo>
                  <a:pt x="0" y="0"/>
                </a:lnTo>
                <a:lnTo>
                  <a:pt x="0" y="958596"/>
                </a:lnTo>
                <a:close/>
              </a:path>
            </a:pathLst>
          </a:custGeom>
          <a:solidFill>
            <a:srgbClr val="CDEFFA">
              <a:alpha val="94117"/>
            </a:srgbClr>
          </a:solidFill>
        </p:spPr>
        <p:txBody>
          <a:bodyPr wrap="square" lIns="0" tIns="0" rIns="0" bIns="0" rtlCol="0"/>
          <a:lstStyle/>
          <a:p>
            <a:endParaRPr/>
          </a:p>
        </p:txBody>
      </p:sp>
      <p:sp>
        <p:nvSpPr>
          <p:cNvPr id="31" name="object 31"/>
          <p:cNvSpPr txBox="1"/>
          <p:nvPr/>
        </p:nvSpPr>
        <p:spPr>
          <a:xfrm>
            <a:off x="3948684" y="2785363"/>
            <a:ext cx="1243965" cy="177800"/>
          </a:xfrm>
          <a:prstGeom prst="rect">
            <a:avLst/>
          </a:prstGeom>
        </p:spPr>
        <p:txBody>
          <a:bodyPr vert="horz" wrap="square" lIns="0" tIns="12065" rIns="0" bIns="0" rtlCol="0">
            <a:spAutoFit/>
          </a:bodyPr>
          <a:lstStyle/>
          <a:p>
            <a:pPr marL="315595">
              <a:lnSpc>
                <a:spcPct val="100000"/>
              </a:lnSpc>
              <a:spcBef>
                <a:spcPts val="95"/>
              </a:spcBef>
            </a:pPr>
            <a:r>
              <a:rPr sz="1000" b="1" spc="-10">
                <a:latin typeface="Verdana"/>
                <a:cs typeface="Verdana"/>
              </a:rPr>
              <a:t>Maintain</a:t>
            </a:r>
            <a:endParaRPr sz="1000">
              <a:latin typeface="Verdana"/>
              <a:cs typeface="Verdana"/>
            </a:endParaRPr>
          </a:p>
        </p:txBody>
      </p:sp>
      <p:sp>
        <p:nvSpPr>
          <p:cNvPr id="32" name="object 32"/>
          <p:cNvSpPr/>
          <p:nvPr/>
        </p:nvSpPr>
        <p:spPr>
          <a:xfrm>
            <a:off x="4152900" y="3015995"/>
            <a:ext cx="835151" cy="620267"/>
          </a:xfrm>
          <a:prstGeom prst="rect">
            <a:avLst/>
          </a:prstGeom>
          <a:blipFill>
            <a:blip r:embed="rId2" cstate="print"/>
            <a:stretch>
              <a:fillRect/>
            </a:stretch>
          </a:blipFill>
        </p:spPr>
        <p:txBody>
          <a:bodyPr wrap="square" lIns="0" tIns="0" rIns="0" bIns="0" rtlCol="0"/>
          <a:lstStyle/>
          <a:p>
            <a:endParaRPr/>
          </a:p>
        </p:txBody>
      </p:sp>
      <p:sp>
        <p:nvSpPr>
          <p:cNvPr id="33" name="object 33"/>
          <p:cNvSpPr/>
          <p:nvPr/>
        </p:nvSpPr>
        <p:spPr>
          <a:xfrm>
            <a:off x="454647" y="4892166"/>
            <a:ext cx="391795" cy="362585"/>
          </a:xfrm>
          <a:custGeom>
            <a:avLst/>
            <a:gdLst/>
            <a:ahLst/>
            <a:cxnLst/>
            <a:rect l="l" t="t" r="r" b="b"/>
            <a:pathLst>
              <a:path w="391794" h="362585">
                <a:moveTo>
                  <a:pt x="92671" y="21335"/>
                </a:moveTo>
                <a:lnTo>
                  <a:pt x="24320" y="99186"/>
                </a:lnTo>
                <a:lnTo>
                  <a:pt x="279336" y="323087"/>
                </a:lnTo>
                <a:lnTo>
                  <a:pt x="245160" y="362076"/>
                </a:lnTo>
                <a:lnTo>
                  <a:pt x="391350" y="352551"/>
                </a:lnTo>
                <a:lnTo>
                  <a:pt x="384403" y="245363"/>
                </a:lnTo>
                <a:lnTo>
                  <a:pt x="347700" y="245363"/>
                </a:lnTo>
                <a:lnTo>
                  <a:pt x="92671" y="21335"/>
                </a:lnTo>
                <a:close/>
              </a:path>
              <a:path w="391794" h="362585">
                <a:moveTo>
                  <a:pt x="381876" y="206374"/>
                </a:moveTo>
                <a:lnTo>
                  <a:pt x="347700" y="245363"/>
                </a:lnTo>
                <a:lnTo>
                  <a:pt x="384403" y="245363"/>
                </a:lnTo>
                <a:lnTo>
                  <a:pt x="381876" y="206374"/>
                </a:lnTo>
                <a:close/>
              </a:path>
              <a:path w="391794" h="362585">
                <a:moveTo>
                  <a:pt x="78079" y="8508"/>
                </a:moveTo>
                <a:lnTo>
                  <a:pt x="9728" y="86359"/>
                </a:lnTo>
                <a:lnTo>
                  <a:pt x="19456" y="94868"/>
                </a:lnTo>
                <a:lnTo>
                  <a:pt x="87807" y="17017"/>
                </a:lnTo>
                <a:lnTo>
                  <a:pt x="78079" y="8508"/>
                </a:lnTo>
                <a:close/>
              </a:path>
              <a:path w="391794" h="362585">
                <a:moveTo>
                  <a:pt x="68351" y="0"/>
                </a:moveTo>
                <a:lnTo>
                  <a:pt x="0" y="77723"/>
                </a:lnTo>
                <a:lnTo>
                  <a:pt x="4864" y="82041"/>
                </a:lnTo>
                <a:lnTo>
                  <a:pt x="73215" y="4190"/>
                </a:lnTo>
                <a:lnTo>
                  <a:pt x="68351" y="0"/>
                </a:lnTo>
                <a:close/>
              </a:path>
            </a:pathLst>
          </a:custGeom>
          <a:solidFill>
            <a:srgbClr val="12ABDB"/>
          </a:solidFill>
        </p:spPr>
        <p:txBody>
          <a:bodyPr wrap="square" lIns="0" tIns="0" rIns="0" bIns="0" rtlCol="0"/>
          <a:lstStyle/>
          <a:p>
            <a:endParaRPr/>
          </a:p>
        </p:txBody>
      </p:sp>
      <p:sp>
        <p:nvSpPr>
          <p:cNvPr id="34" name="object 34"/>
          <p:cNvSpPr/>
          <p:nvPr/>
        </p:nvSpPr>
        <p:spPr>
          <a:xfrm>
            <a:off x="3078226" y="4510151"/>
            <a:ext cx="356870" cy="716915"/>
          </a:xfrm>
          <a:custGeom>
            <a:avLst/>
            <a:gdLst/>
            <a:ahLst/>
            <a:cxnLst/>
            <a:rect l="l" t="t" r="r" b="b"/>
            <a:pathLst>
              <a:path w="356870" h="716914">
                <a:moveTo>
                  <a:pt x="2412" y="671194"/>
                </a:moveTo>
                <a:lnTo>
                  <a:pt x="0" y="679576"/>
                </a:lnTo>
                <a:lnTo>
                  <a:pt x="134493" y="716534"/>
                </a:lnTo>
                <a:lnTo>
                  <a:pt x="136779" y="708151"/>
                </a:lnTo>
                <a:lnTo>
                  <a:pt x="2412" y="671194"/>
                </a:lnTo>
                <a:close/>
              </a:path>
              <a:path w="356870" h="716914">
                <a:moveTo>
                  <a:pt x="9271" y="646049"/>
                </a:moveTo>
                <a:lnTo>
                  <a:pt x="4699" y="662813"/>
                </a:lnTo>
                <a:lnTo>
                  <a:pt x="139065" y="699769"/>
                </a:lnTo>
                <a:lnTo>
                  <a:pt x="143763" y="682879"/>
                </a:lnTo>
                <a:lnTo>
                  <a:pt x="9271" y="646049"/>
                </a:lnTo>
                <a:close/>
              </a:path>
              <a:path w="356870" h="716914">
                <a:moveTo>
                  <a:pt x="258952" y="0"/>
                </a:moveTo>
                <a:lnTo>
                  <a:pt x="87630" y="97536"/>
                </a:lnTo>
                <a:lnTo>
                  <a:pt x="154812" y="115950"/>
                </a:lnTo>
                <a:lnTo>
                  <a:pt x="11556" y="637540"/>
                </a:lnTo>
                <a:lnTo>
                  <a:pt x="146050" y="674497"/>
                </a:lnTo>
                <a:lnTo>
                  <a:pt x="289306" y="152907"/>
                </a:lnTo>
                <a:lnTo>
                  <a:pt x="346005" y="152907"/>
                </a:lnTo>
                <a:lnTo>
                  <a:pt x="258952" y="0"/>
                </a:lnTo>
                <a:close/>
              </a:path>
              <a:path w="356870" h="716914">
                <a:moveTo>
                  <a:pt x="346005" y="152907"/>
                </a:moveTo>
                <a:lnTo>
                  <a:pt x="289306" y="152907"/>
                </a:lnTo>
                <a:lnTo>
                  <a:pt x="356488" y="171323"/>
                </a:lnTo>
                <a:lnTo>
                  <a:pt x="346005" y="152907"/>
                </a:lnTo>
                <a:close/>
              </a:path>
            </a:pathLst>
          </a:custGeom>
          <a:solidFill>
            <a:srgbClr val="12ABDB"/>
          </a:solidFill>
        </p:spPr>
        <p:txBody>
          <a:bodyPr wrap="square" lIns="0" tIns="0" rIns="0" bIns="0" rtlCol="0"/>
          <a:lstStyle/>
          <a:p>
            <a:endParaRPr/>
          </a:p>
        </p:txBody>
      </p:sp>
      <p:sp>
        <p:nvSpPr>
          <p:cNvPr id="35" name="object 35"/>
          <p:cNvSpPr/>
          <p:nvPr/>
        </p:nvSpPr>
        <p:spPr>
          <a:xfrm>
            <a:off x="2278379" y="5105400"/>
            <a:ext cx="859536" cy="579119"/>
          </a:xfrm>
          <a:prstGeom prst="rect">
            <a:avLst/>
          </a:prstGeom>
          <a:blipFill>
            <a:blip r:embed="rId3" cstate="print"/>
            <a:stretch>
              <a:fillRect/>
            </a:stretch>
          </a:blipFill>
        </p:spPr>
        <p:txBody>
          <a:bodyPr wrap="square" lIns="0" tIns="0" rIns="0" bIns="0" rtlCol="0"/>
          <a:lstStyle/>
          <a:p>
            <a:endParaRPr/>
          </a:p>
        </p:txBody>
      </p:sp>
      <p:sp>
        <p:nvSpPr>
          <p:cNvPr id="36" name="object 36"/>
          <p:cNvSpPr/>
          <p:nvPr/>
        </p:nvSpPr>
        <p:spPr>
          <a:xfrm>
            <a:off x="591312" y="1136903"/>
            <a:ext cx="274320" cy="274320"/>
          </a:xfrm>
          <a:custGeom>
            <a:avLst/>
            <a:gdLst/>
            <a:ahLst/>
            <a:cxnLst/>
            <a:rect l="l" t="t" r="r" b="b"/>
            <a:pathLst>
              <a:path w="274319" h="274319">
                <a:moveTo>
                  <a:pt x="137159" y="0"/>
                </a:moveTo>
                <a:lnTo>
                  <a:pt x="93805" y="6998"/>
                </a:lnTo>
                <a:lnTo>
                  <a:pt x="56153" y="26481"/>
                </a:lnTo>
                <a:lnTo>
                  <a:pt x="26462" y="56180"/>
                </a:lnTo>
                <a:lnTo>
                  <a:pt x="6992" y="93829"/>
                </a:lnTo>
                <a:lnTo>
                  <a:pt x="0" y="137160"/>
                </a:lnTo>
                <a:lnTo>
                  <a:pt x="6992" y="180490"/>
                </a:lnTo>
                <a:lnTo>
                  <a:pt x="26462" y="218139"/>
                </a:lnTo>
                <a:lnTo>
                  <a:pt x="56153" y="247838"/>
                </a:lnTo>
                <a:lnTo>
                  <a:pt x="93805" y="267321"/>
                </a:lnTo>
                <a:lnTo>
                  <a:pt x="137159" y="274320"/>
                </a:lnTo>
                <a:lnTo>
                  <a:pt x="180514" y="267321"/>
                </a:lnTo>
                <a:lnTo>
                  <a:pt x="218166" y="247838"/>
                </a:lnTo>
                <a:lnTo>
                  <a:pt x="247857" y="218139"/>
                </a:lnTo>
                <a:lnTo>
                  <a:pt x="267327" y="180490"/>
                </a:lnTo>
                <a:lnTo>
                  <a:pt x="274319" y="137160"/>
                </a:lnTo>
                <a:lnTo>
                  <a:pt x="267327" y="93829"/>
                </a:lnTo>
                <a:lnTo>
                  <a:pt x="247857" y="56180"/>
                </a:lnTo>
                <a:lnTo>
                  <a:pt x="218166" y="26481"/>
                </a:lnTo>
                <a:lnTo>
                  <a:pt x="180514" y="6998"/>
                </a:lnTo>
                <a:lnTo>
                  <a:pt x="137159" y="0"/>
                </a:lnTo>
                <a:close/>
              </a:path>
            </a:pathLst>
          </a:custGeom>
          <a:solidFill>
            <a:srgbClr val="12ABDB"/>
          </a:solidFill>
        </p:spPr>
        <p:txBody>
          <a:bodyPr wrap="square" lIns="0" tIns="0" rIns="0" bIns="0" rtlCol="0"/>
          <a:lstStyle/>
          <a:p>
            <a:endParaRPr/>
          </a:p>
        </p:txBody>
      </p:sp>
      <p:sp>
        <p:nvSpPr>
          <p:cNvPr id="37" name="object 37"/>
          <p:cNvSpPr txBox="1"/>
          <p:nvPr/>
        </p:nvSpPr>
        <p:spPr>
          <a:xfrm>
            <a:off x="675538" y="1191005"/>
            <a:ext cx="10668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3</a:t>
            </a:r>
            <a:endParaRPr sz="900">
              <a:latin typeface="Verdana"/>
              <a:cs typeface="Verdana"/>
            </a:endParaRPr>
          </a:p>
        </p:txBody>
      </p:sp>
      <p:sp>
        <p:nvSpPr>
          <p:cNvPr id="38" name="object 38"/>
          <p:cNvSpPr/>
          <p:nvPr/>
        </p:nvSpPr>
        <p:spPr>
          <a:xfrm>
            <a:off x="172212" y="4655820"/>
            <a:ext cx="274320" cy="274320"/>
          </a:xfrm>
          <a:custGeom>
            <a:avLst/>
            <a:gdLst/>
            <a:ahLst/>
            <a:cxnLst/>
            <a:rect l="l" t="t" r="r" b="b"/>
            <a:pathLst>
              <a:path w="274320" h="274320">
                <a:moveTo>
                  <a:pt x="137160" y="0"/>
                </a:moveTo>
                <a:lnTo>
                  <a:pt x="93805" y="6998"/>
                </a:lnTo>
                <a:lnTo>
                  <a:pt x="56153" y="26481"/>
                </a:lnTo>
                <a:lnTo>
                  <a:pt x="26462" y="56180"/>
                </a:lnTo>
                <a:lnTo>
                  <a:pt x="6992" y="93829"/>
                </a:lnTo>
                <a:lnTo>
                  <a:pt x="0" y="137159"/>
                </a:lnTo>
                <a:lnTo>
                  <a:pt x="6992" y="180490"/>
                </a:lnTo>
                <a:lnTo>
                  <a:pt x="26462" y="218139"/>
                </a:lnTo>
                <a:lnTo>
                  <a:pt x="56153" y="247838"/>
                </a:lnTo>
                <a:lnTo>
                  <a:pt x="93805" y="267321"/>
                </a:lnTo>
                <a:lnTo>
                  <a:pt x="137160" y="274319"/>
                </a:lnTo>
                <a:lnTo>
                  <a:pt x="180514" y="267321"/>
                </a:lnTo>
                <a:lnTo>
                  <a:pt x="218166" y="247838"/>
                </a:lnTo>
                <a:lnTo>
                  <a:pt x="247857" y="218139"/>
                </a:lnTo>
                <a:lnTo>
                  <a:pt x="267327" y="180490"/>
                </a:lnTo>
                <a:lnTo>
                  <a:pt x="274319" y="137159"/>
                </a:lnTo>
                <a:lnTo>
                  <a:pt x="267327" y="93829"/>
                </a:lnTo>
                <a:lnTo>
                  <a:pt x="247857" y="56180"/>
                </a:lnTo>
                <a:lnTo>
                  <a:pt x="218166" y="26481"/>
                </a:lnTo>
                <a:lnTo>
                  <a:pt x="180514" y="6998"/>
                </a:lnTo>
                <a:lnTo>
                  <a:pt x="137160" y="0"/>
                </a:lnTo>
                <a:close/>
              </a:path>
            </a:pathLst>
          </a:custGeom>
          <a:solidFill>
            <a:srgbClr val="12ABDB"/>
          </a:solidFill>
        </p:spPr>
        <p:txBody>
          <a:bodyPr wrap="square" lIns="0" tIns="0" rIns="0" bIns="0" rtlCol="0"/>
          <a:lstStyle/>
          <a:p>
            <a:endParaRPr/>
          </a:p>
        </p:txBody>
      </p:sp>
      <p:sp>
        <p:nvSpPr>
          <p:cNvPr id="39" name="object 39"/>
          <p:cNvSpPr txBox="1"/>
          <p:nvPr/>
        </p:nvSpPr>
        <p:spPr>
          <a:xfrm>
            <a:off x="256438" y="4710810"/>
            <a:ext cx="106680"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FFFFFF"/>
                </a:solidFill>
                <a:latin typeface="Verdana"/>
                <a:cs typeface="Verdana"/>
              </a:rPr>
              <a:t>2</a:t>
            </a:r>
            <a:endParaRPr sz="900">
              <a:latin typeface="Verdana"/>
              <a:cs typeface="Verdana"/>
            </a:endParaRPr>
          </a:p>
        </p:txBody>
      </p:sp>
      <p:sp>
        <p:nvSpPr>
          <p:cNvPr id="40" name="object 40"/>
          <p:cNvSpPr txBox="1"/>
          <p:nvPr/>
        </p:nvSpPr>
        <p:spPr>
          <a:xfrm>
            <a:off x="8741664" y="4585715"/>
            <a:ext cx="3182620" cy="1903730"/>
          </a:xfrm>
          <a:prstGeom prst="rect">
            <a:avLst/>
          </a:prstGeom>
          <a:solidFill>
            <a:srgbClr val="F1F1F1"/>
          </a:solidFill>
        </p:spPr>
        <p:txBody>
          <a:bodyPr vert="horz" wrap="square" lIns="0" tIns="45720" rIns="0" bIns="0" rtlCol="0">
            <a:spAutoFit/>
          </a:bodyPr>
          <a:lstStyle/>
          <a:p>
            <a:pPr marL="271145" indent="-179070">
              <a:lnSpc>
                <a:spcPct val="100000"/>
              </a:lnSpc>
              <a:spcBef>
                <a:spcPts val="360"/>
              </a:spcBef>
              <a:buClr>
                <a:srgbClr val="006FAC"/>
              </a:buClr>
              <a:buFont typeface="Wingdings"/>
              <a:buChar char=""/>
              <a:tabLst>
                <a:tab pos="271780" algn="l"/>
              </a:tabLst>
            </a:pPr>
            <a:r>
              <a:rPr sz="1200" spc="-5">
                <a:latin typeface="Verdana"/>
                <a:cs typeface="Verdana"/>
              </a:rPr>
              <a:t>JIRA</a:t>
            </a:r>
            <a:endParaRPr sz="1200">
              <a:latin typeface="Verdana"/>
              <a:cs typeface="Verdana"/>
            </a:endParaRPr>
          </a:p>
          <a:p>
            <a:pPr marL="271145" indent="-179070">
              <a:lnSpc>
                <a:spcPct val="100000"/>
              </a:lnSpc>
              <a:spcBef>
                <a:spcPts val="204"/>
              </a:spcBef>
              <a:buClr>
                <a:srgbClr val="006FAC"/>
              </a:buClr>
              <a:buFont typeface="Wingdings"/>
              <a:buChar char=""/>
              <a:tabLst>
                <a:tab pos="271780" algn="l"/>
              </a:tabLst>
            </a:pPr>
            <a:r>
              <a:rPr sz="1200" spc="-5">
                <a:latin typeface="Verdana"/>
                <a:cs typeface="Verdana"/>
              </a:rPr>
              <a:t>Confluence</a:t>
            </a:r>
            <a:endParaRPr sz="1200">
              <a:latin typeface="Verdana"/>
              <a:cs typeface="Verdana"/>
            </a:endParaRPr>
          </a:p>
          <a:p>
            <a:pPr marL="271145" indent="-179070">
              <a:lnSpc>
                <a:spcPct val="100000"/>
              </a:lnSpc>
              <a:spcBef>
                <a:spcPts val="204"/>
              </a:spcBef>
              <a:buClr>
                <a:srgbClr val="006FAC"/>
              </a:buClr>
              <a:buFont typeface="Wingdings"/>
              <a:buChar char=""/>
              <a:tabLst>
                <a:tab pos="271780" algn="l"/>
              </a:tabLst>
            </a:pPr>
            <a:r>
              <a:rPr sz="1200" spc="-5">
                <a:latin typeface="Verdana"/>
                <a:cs typeface="Verdana"/>
              </a:rPr>
              <a:t>Devops</a:t>
            </a:r>
            <a:r>
              <a:rPr sz="1200" spc="-10">
                <a:latin typeface="Verdana"/>
                <a:cs typeface="Verdana"/>
              </a:rPr>
              <a:t> </a:t>
            </a:r>
            <a:r>
              <a:rPr sz="1200" spc="-25">
                <a:latin typeface="Verdana"/>
                <a:cs typeface="Verdana"/>
              </a:rPr>
              <a:t>Tooling</a:t>
            </a:r>
            <a:endParaRPr sz="1200">
              <a:latin typeface="Verdana"/>
              <a:cs typeface="Verdana"/>
            </a:endParaRPr>
          </a:p>
          <a:p>
            <a:pPr marL="271145">
              <a:lnSpc>
                <a:spcPct val="100000"/>
              </a:lnSpc>
            </a:pPr>
            <a:r>
              <a:rPr sz="1200" spc="-5">
                <a:latin typeface="Verdana"/>
                <a:cs typeface="Verdana"/>
              </a:rPr>
              <a:t>(ANT/Jenkins/Bamboo)</a:t>
            </a:r>
            <a:endParaRPr sz="1200">
              <a:latin typeface="Verdana"/>
              <a:cs typeface="Verdana"/>
            </a:endParaRPr>
          </a:p>
        </p:txBody>
      </p:sp>
      <p:sp>
        <p:nvSpPr>
          <p:cNvPr id="41" name="object 41"/>
          <p:cNvSpPr/>
          <p:nvPr/>
        </p:nvSpPr>
        <p:spPr>
          <a:xfrm>
            <a:off x="8741664" y="4219955"/>
            <a:ext cx="3182620" cy="381000"/>
          </a:xfrm>
          <a:custGeom>
            <a:avLst/>
            <a:gdLst/>
            <a:ahLst/>
            <a:cxnLst/>
            <a:rect l="l" t="t" r="r" b="b"/>
            <a:pathLst>
              <a:path w="3182620" h="381000">
                <a:moveTo>
                  <a:pt x="3182111" y="0"/>
                </a:moveTo>
                <a:lnTo>
                  <a:pt x="63500" y="0"/>
                </a:lnTo>
                <a:lnTo>
                  <a:pt x="38790" y="4992"/>
                </a:lnTo>
                <a:lnTo>
                  <a:pt x="18605" y="18605"/>
                </a:lnTo>
                <a:lnTo>
                  <a:pt x="4992" y="38790"/>
                </a:lnTo>
                <a:lnTo>
                  <a:pt x="0" y="63500"/>
                </a:lnTo>
                <a:lnTo>
                  <a:pt x="0" y="381000"/>
                </a:lnTo>
                <a:lnTo>
                  <a:pt x="3118611" y="381000"/>
                </a:lnTo>
                <a:lnTo>
                  <a:pt x="3143321" y="376007"/>
                </a:lnTo>
                <a:lnTo>
                  <a:pt x="3163506" y="362394"/>
                </a:lnTo>
                <a:lnTo>
                  <a:pt x="3177119" y="342209"/>
                </a:lnTo>
                <a:lnTo>
                  <a:pt x="3182111" y="317500"/>
                </a:lnTo>
                <a:lnTo>
                  <a:pt x="3182111" y="0"/>
                </a:lnTo>
                <a:close/>
              </a:path>
            </a:pathLst>
          </a:custGeom>
          <a:solidFill>
            <a:srgbClr val="421F5D"/>
          </a:solidFill>
        </p:spPr>
        <p:txBody>
          <a:bodyPr wrap="square" lIns="0" tIns="0" rIns="0" bIns="0" rtlCol="0"/>
          <a:lstStyle/>
          <a:p>
            <a:endParaRPr/>
          </a:p>
        </p:txBody>
      </p:sp>
      <p:sp>
        <p:nvSpPr>
          <p:cNvPr id="43" name="object 4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4" name="object 4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8</a:t>
            </a:fld>
            <a:endParaRPr/>
          </a:p>
        </p:txBody>
      </p:sp>
      <p:sp>
        <p:nvSpPr>
          <p:cNvPr id="46" name="object 50">
            <a:extLst>
              <a:ext uri="{FF2B5EF4-FFF2-40B4-BE49-F238E27FC236}">
                <a16:creationId xmlns:a16="http://schemas.microsoft.com/office/drawing/2014/main" id="{F2EBA445-C1C8-4900-AD02-07F58548B53E}"/>
              </a:ext>
            </a:extLst>
          </p:cNvPr>
          <p:cNvSpPr txBox="1"/>
          <p:nvPr/>
        </p:nvSpPr>
        <p:spPr>
          <a:xfrm>
            <a:off x="6253225" y="4310882"/>
            <a:ext cx="5805424" cy="197490"/>
          </a:xfrm>
          <a:prstGeom prst="rect">
            <a:avLst/>
          </a:prstGeom>
        </p:spPr>
        <p:txBody>
          <a:bodyPr vert="horz" wrap="square" lIns="0" tIns="12700" rIns="0" bIns="0" rtlCol="0">
            <a:spAutoFit/>
          </a:bodyPr>
          <a:lstStyle/>
          <a:p>
            <a:pPr marL="12700">
              <a:lnSpc>
                <a:spcPct val="100000"/>
              </a:lnSpc>
              <a:spcBef>
                <a:spcPts val="100"/>
              </a:spcBef>
              <a:tabLst>
                <a:tab pos="3208020" algn="l"/>
              </a:tabLst>
            </a:pPr>
            <a:r>
              <a:rPr sz="1200" b="1" spc="-5">
                <a:solidFill>
                  <a:srgbClr val="FFFFFF"/>
                </a:solidFill>
                <a:latin typeface="Verdana"/>
                <a:cs typeface="Verdana"/>
              </a:rPr>
              <a:t>Activities	</a:t>
            </a:r>
            <a:r>
              <a:rPr sz="1200" b="1">
                <a:solidFill>
                  <a:srgbClr val="FFFFFF"/>
                </a:solidFill>
                <a:latin typeface="Verdana"/>
                <a:cs typeface="Verdana"/>
              </a:rPr>
              <a:t>ALM</a:t>
            </a:r>
            <a:r>
              <a:rPr sz="1200" b="1" spc="-80">
                <a:solidFill>
                  <a:srgbClr val="FFFFFF"/>
                </a:solidFill>
                <a:latin typeface="Verdana"/>
                <a:cs typeface="Verdana"/>
              </a:rPr>
              <a:t> </a:t>
            </a:r>
            <a:r>
              <a:rPr sz="1200" b="1">
                <a:solidFill>
                  <a:srgbClr val="FFFFFF"/>
                </a:solidFill>
                <a:latin typeface="Verdana"/>
                <a:cs typeface="Verdana"/>
              </a:rPr>
              <a:t>Tools</a:t>
            </a:r>
            <a:r>
              <a:rPr lang="it-IT" sz="1200" b="1">
                <a:solidFill>
                  <a:srgbClr val="FFFFFF"/>
                </a:solidFill>
                <a:latin typeface="Verdana"/>
                <a:cs typeface="Verdana"/>
              </a:rPr>
              <a:t> (</a:t>
            </a:r>
            <a:r>
              <a:rPr lang="it-IT" sz="1200" b="1" err="1">
                <a:solidFill>
                  <a:srgbClr val="FFFFFF"/>
                </a:solidFill>
                <a:latin typeface="Verdana"/>
                <a:cs typeface="Verdana"/>
              </a:rPr>
              <a:t>examples</a:t>
            </a:r>
            <a:r>
              <a:rPr lang="it-IT" sz="1200" b="1">
                <a:solidFill>
                  <a:srgbClr val="FFFFFF"/>
                </a:solidFill>
                <a:latin typeface="Verdana"/>
                <a:cs typeface="Verdana"/>
              </a:rPr>
              <a:t>) </a:t>
            </a:r>
            <a:endParaRPr sz="1200">
              <a:latin typeface="Verdana"/>
              <a:cs typeface="Verdana"/>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9091930" cy="422275"/>
          </a:xfrm>
          <a:prstGeom prst="rect">
            <a:avLst/>
          </a:prstGeom>
        </p:spPr>
        <p:txBody>
          <a:bodyPr vert="horz" wrap="square" lIns="0" tIns="12700" rIns="0" bIns="0" rtlCol="0">
            <a:spAutoFit/>
          </a:bodyPr>
          <a:lstStyle/>
          <a:p>
            <a:pPr marL="12700">
              <a:lnSpc>
                <a:spcPct val="100000"/>
              </a:lnSpc>
              <a:spcBef>
                <a:spcPts val="100"/>
              </a:spcBef>
            </a:pPr>
            <a:r>
              <a:rPr sz="2600"/>
              <a:t>Definition of “Done” – DoD - Pillars of </a:t>
            </a:r>
            <a:r>
              <a:rPr sz="2600" spc="-40"/>
              <a:t>Testing</a:t>
            </a:r>
            <a:r>
              <a:rPr sz="2600" spc="-200"/>
              <a:t> </a:t>
            </a:r>
            <a:r>
              <a:rPr sz="2600" spc="-5"/>
              <a:t>Strategy</a:t>
            </a:r>
            <a:endParaRPr sz="2600"/>
          </a:p>
        </p:txBody>
      </p:sp>
      <p:sp>
        <p:nvSpPr>
          <p:cNvPr id="6" name="object 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 name="object 7"/>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69</a:t>
            </a:fld>
            <a:endParaRPr/>
          </a:p>
        </p:txBody>
      </p:sp>
      <p:sp>
        <p:nvSpPr>
          <p:cNvPr id="3" name="object 3"/>
          <p:cNvSpPr txBox="1"/>
          <p:nvPr/>
        </p:nvSpPr>
        <p:spPr>
          <a:xfrm>
            <a:off x="306120" y="1643329"/>
            <a:ext cx="11374755" cy="2417445"/>
          </a:xfrm>
          <a:prstGeom prst="rect">
            <a:avLst/>
          </a:prstGeom>
        </p:spPr>
        <p:txBody>
          <a:bodyPr vert="horz" wrap="square" lIns="0" tIns="12700" rIns="0" bIns="0" rtlCol="0">
            <a:spAutoFit/>
          </a:bodyPr>
          <a:lstStyle/>
          <a:p>
            <a:pPr marL="195580" indent="-182880">
              <a:lnSpc>
                <a:spcPct val="100000"/>
              </a:lnSpc>
              <a:spcBef>
                <a:spcPts val="100"/>
              </a:spcBef>
              <a:buClr>
                <a:srgbClr val="006FAC"/>
              </a:buClr>
              <a:buFont typeface="Wingdings"/>
              <a:buChar char=""/>
              <a:tabLst>
                <a:tab pos="195580" algn="l"/>
              </a:tabLst>
            </a:pPr>
            <a:r>
              <a:rPr sz="1500" spc="-20">
                <a:latin typeface="Verdana"/>
                <a:cs typeface="Verdana"/>
              </a:rPr>
              <a:t>Define </a:t>
            </a:r>
            <a:r>
              <a:rPr sz="1500" spc="-15">
                <a:latin typeface="Verdana"/>
                <a:cs typeface="Verdana"/>
              </a:rPr>
              <a:t>when you consider backlog </a:t>
            </a:r>
            <a:r>
              <a:rPr sz="1500" spc="-20">
                <a:latin typeface="Verdana"/>
                <a:cs typeface="Verdana"/>
              </a:rPr>
              <a:t>item </a:t>
            </a:r>
            <a:r>
              <a:rPr sz="1500" spc="-15">
                <a:latin typeface="Verdana"/>
                <a:cs typeface="Verdana"/>
              </a:rPr>
              <a:t>done. </a:t>
            </a:r>
            <a:r>
              <a:rPr sz="1500" spc="-20">
                <a:latin typeface="Verdana"/>
                <a:cs typeface="Verdana"/>
              </a:rPr>
              <a:t>Definition </a:t>
            </a:r>
            <a:r>
              <a:rPr sz="1500" spc="-10">
                <a:latin typeface="Verdana"/>
                <a:cs typeface="Verdana"/>
              </a:rPr>
              <a:t>must be </a:t>
            </a:r>
            <a:r>
              <a:rPr sz="1500" spc="-20">
                <a:latin typeface="Verdana"/>
                <a:cs typeface="Verdana"/>
              </a:rPr>
              <a:t>clearly </a:t>
            </a:r>
            <a:r>
              <a:rPr sz="1500" spc="-15">
                <a:latin typeface="Verdana"/>
                <a:cs typeface="Verdana"/>
              </a:rPr>
              <a:t>understood </a:t>
            </a:r>
            <a:r>
              <a:rPr sz="1500" spc="-10">
                <a:latin typeface="Verdana"/>
                <a:cs typeface="Verdana"/>
              </a:rPr>
              <a:t>by </a:t>
            </a:r>
            <a:r>
              <a:rPr sz="1500" spc="-15">
                <a:latin typeface="Verdana"/>
                <a:cs typeface="Verdana"/>
              </a:rPr>
              <a:t>all </a:t>
            </a:r>
            <a:r>
              <a:rPr sz="1500" spc="-25">
                <a:latin typeface="Verdana"/>
                <a:cs typeface="Verdana"/>
              </a:rPr>
              <a:t>involved </a:t>
            </a:r>
            <a:r>
              <a:rPr sz="1500" spc="-15">
                <a:latin typeface="Verdana"/>
                <a:cs typeface="Verdana"/>
              </a:rPr>
              <a:t>in the project.</a:t>
            </a:r>
            <a:r>
              <a:rPr sz="1500" spc="320">
                <a:latin typeface="Verdana"/>
                <a:cs typeface="Verdana"/>
              </a:rPr>
              <a:t> </a:t>
            </a:r>
            <a:r>
              <a:rPr sz="1500" spc="-15">
                <a:latin typeface="Verdana"/>
                <a:cs typeface="Verdana"/>
              </a:rPr>
              <a:t>See</a:t>
            </a:r>
            <a:endParaRPr sz="1500">
              <a:latin typeface="Verdana"/>
              <a:cs typeface="Verdana"/>
            </a:endParaRPr>
          </a:p>
          <a:p>
            <a:pPr marL="194945">
              <a:lnSpc>
                <a:spcPct val="100000"/>
              </a:lnSpc>
              <a:spcBef>
                <a:spcPts val="5"/>
              </a:spcBef>
            </a:pPr>
            <a:r>
              <a:rPr sz="1500" spc="-20">
                <a:latin typeface="Verdana"/>
                <a:cs typeface="Verdana"/>
              </a:rPr>
              <a:t>examples below </a:t>
            </a:r>
            <a:r>
              <a:rPr sz="1500" spc="-10">
                <a:latin typeface="Verdana"/>
                <a:cs typeface="Verdana"/>
              </a:rPr>
              <a:t>for </a:t>
            </a:r>
            <a:r>
              <a:rPr sz="1500" spc="-15">
                <a:latin typeface="Verdana"/>
                <a:cs typeface="Verdana"/>
              </a:rPr>
              <a:t>recommended</a:t>
            </a:r>
            <a:r>
              <a:rPr sz="1500" spc="25">
                <a:latin typeface="Verdana"/>
                <a:cs typeface="Verdana"/>
              </a:rPr>
              <a:t> </a:t>
            </a:r>
            <a:r>
              <a:rPr sz="1500" spc="-15">
                <a:latin typeface="Verdana"/>
                <a:cs typeface="Verdana"/>
              </a:rPr>
              <a:t>definitions.</a:t>
            </a:r>
            <a:endParaRPr sz="1500">
              <a:latin typeface="Verdana"/>
              <a:cs typeface="Verdana"/>
            </a:endParaRPr>
          </a:p>
          <a:p>
            <a:pPr marL="194945" marR="198120" indent="-182880">
              <a:lnSpc>
                <a:spcPct val="100000"/>
              </a:lnSpc>
              <a:spcBef>
                <a:spcPts val="800"/>
              </a:spcBef>
              <a:buClr>
                <a:srgbClr val="006FAC"/>
              </a:buClr>
              <a:buFont typeface="Wingdings"/>
              <a:buChar char=""/>
              <a:tabLst>
                <a:tab pos="195580" algn="l"/>
              </a:tabLst>
            </a:pPr>
            <a:r>
              <a:rPr sz="1500" spc="-15">
                <a:latin typeface="Verdana"/>
                <a:cs typeface="Verdana"/>
              </a:rPr>
              <a:t>Ensure that the </a:t>
            </a:r>
            <a:r>
              <a:rPr sz="1500" spc="-20">
                <a:latin typeface="Verdana"/>
                <a:cs typeface="Verdana"/>
              </a:rPr>
              <a:t>estimates </a:t>
            </a:r>
            <a:r>
              <a:rPr sz="1500" spc="-15">
                <a:latin typeface="Verdana"/>
                <a:cs typeface="Verdana"/>
              </a:rPr>
              <a:t>in the backlog </a:t>
            </a:r>
            <a:r>
              <a:rPr sz="1500" spc="-20">
                <a:latin typeface="Verdana"/>
                <a:cs typeface="Verdana"/>
              </a:rPr>
              <a:t>include </a:t>
            </a:r>
            <a:r>
              <a:rPr sz="1500" spc="-15">
                <a:latin typeface="Verdana"/>
                <a:cs typeface="Verdana"/>
              </a:rPr>
              <a:t>all </a:t>
            </a:r>
            <a:r>
              <a:rPr sz="1500" spc="-20">
                <a:latin typeface="Verdana"/>
                <a:cs typeface="Verdana"/>
              </a:rPr>
              <a:t>activities required </a:t>
            </a:r>
            <a:r>
              <a:rPr sz="1500" spc="-10">
                <a:latin typeface="Verdana"/>
                <a:cs typeface="Verdana"/>
              </a:rPr>
              <a:t>for </a:t>
            </a:r>
            <a:r>
              <a:rPr sz="1500" spc="-20">
                <a:latin typeface="Verdana"/>
                <a:cs typeface="Verdana"/>
              </a:rPr>
              <a:t>completion </a:t>
            </a:r>
            <a:r>
              <a:rPr sz="1500" spc="-10">
                <a:latin typeface="Verdana"/>
                <a:cs typeface="Verdana"/>
              </a:rPr>
              <a:t>of </a:t>
            </a:r>
            <a:r>
              <a:rPr sz="1500" spc="-20">
                <a:latin typeface="Verdana"/>
                <a:cs typeface="Verdana"/>
              </a:rPr>
              <a:t>sprint </a:t>
            </a:r>
            <a:r>
              <a:rPr sz="1500" spc="-10">
                <a:latin typeface="Verdana"/>
                <a:cs typeface="Verdana"/>
              </a:rPr>
              <a:t>and for </a:t>
            </a:r>
            <a:r>
              <a:rPr sz="1500" spc="-20">
                <a:latin typeface="Verdana"/>
                <a:cs typeface="Verdana"/>
              </a:rPr>
              <a:t>completion </a:t>
            </a:r>
            <a:r>
              <a:rPr sz="1500" spc="-10">
                <a:latin typeface="Verdana"/>
                <a:cs typeface="Verdana"/>
              </a:rPr>
              <a:t>of  </a:t>
            </a:r>
            <a:r>
              <a:rPr sz="1500" spc="-20">
                <a:latin typeface="Verdana"/>
                <a:cs typeface="Verdana"/>
              </a:rPr>
              <a:t>release.</a:t>
            </a:r>
            <a:endParaRPr sz="1500">
              <a:latin typeface="Verdana"/>
              <a:cs typeface="Verdana"/>
            </a:endParaRPr>
          </a:p>
          <a:p>
            <a:pPr marL="195580" indent="-182880">
              <a:lnSpc>
                <a:spcPct val="100000"/>
              </a:lnSpc>
              <a:spcBef>
                <a:spcPts val="795"/>
              </a:spcBef>
              <a:buClr>
                <a:srgbClr val="006FAC"/>
              </a:buClr>
              <a:buFont typeface="Wingdings"/>
              <a:buChar char=""/>
              <a:tabLst>
                <a:tab pos="195580" algn="l"/>
              </a:tabLst>
            </a:pPr>
            <a:r>
              <a:rPr sz="1500" spc="-20">
                <a:latin typeface="Verdana"/>
                <a:cs typeface="Verdana"/>
              </a:rPr>
              <a:t>Quality checklist</a:t>
            </a:r>
            <a:r>
              <a:rPr sz="1500" spc="65">
                <a:latin typeface="Verdana"/>
                <a:cs typeface="Verdana"/>
              </a:rPr>
              <a:t> </a:t>
            </a:r>
            <a:r>
              <a:rPr sz="1500" spc="-15">
                <a:latin typeface="Verdana"/>
                <a:cs typeface="Verdana"/>
              </a:rPr>
              <a:t>passed</a:t>
            </a:r>
            <a:endParaRPr sz="1500">
              <a:latin typeface="Verdana"/>
              <a:cs typeface="Verdana"/>
            </a:endParaRPr>
          </a:p>
          <a:p>
            <a:pPr marL="195580" indent="-182880">
              <a:lnSpc>
                <a:spcPct val="100000"/>
              </a:lnSpc>
              <a:spcBef>
                <a:spcPts val="805"/>
              </a:spcBef>
              <a:buClr>
                <a:srgbClr val="006FAC"/>
              </a:buClr>
              <a:buFont typeface="Wingdings"/>
              <a:buChar char=""/>
              <a:tabLst>
                <a:tab pos="195580" algn="l"/>
              </a:tabLst>
            </a:pPr>
            <a:r>
              <a:rPr sz="1500" spc="-15">
                <a:latin typeface="Verdana"/>
                <a:cs typeface="Verdana"/>
              </a:rPr>
              <a:t>Product Owner is</a:t>
            </a:r>
            <a:r>
              <a:rPr sz="1500" spc="-10">
                <a:latin typeface="Verdana"/>
                <a:cs typeface="Verdana"/>
              </a:rPr>
              <a:t> OK</a:t>
            </a:r>
            <a:endParaRPr sz="1500">
              <a:latin typeface="Verdana"/>
              <a:cs typeface="Verdana"/>
            </a:endParaRPr>
          </a:p>
          <a:p>
            <a:pPr>
              <a:lnSpc>
                <a:spcPct val="100000"/>
              </a:lnSpc>
            </a:pPr>
            <a:endParaRPr sz="1800">
              <a:latin typeface="Times New Roman"/>
              <a:cs typeface="Times New Roman"/>
            </a:endParaRPr>
          </a:p>
          <a:p>
            <a:pPr>
              <a:lnSpc>
                <a:spcPct val="100000"/>
              </a:lnSpc>
              <a:spcBef>
                <a:spcPts val="30"/>
              </a:spcBef>
            </a:pPr>
            <a:endParaRPr sz="1500">
              <a:latin typeface="Times New Roman"/>
              <a:cs typeface="Times New Roman"/>
            </a:endParaRPr>
          </a:p>
          <a:p>
            <a:pPr marL="205104" algn="ctr">
              <a:lnSpc>
                <a:spcPct val="100000"/>
              </a:lnSpc>
            </a:pPr>
            <a:r>
              <a:rPr sz="1500" b="1" spc="-5">
                <a:solidFill>
                  <a:srgbClr val="7E7E7E"/>
                </a:solidFill>
                <a:latin typeface="Verdana"/>
                <a:cs typeface="Verdana"/>
              </a:rPr>
              <a:t>For example, “done” might</a:t>
            </a:r>
            <a:r>
              <a:rPr sz="1500" b="1" spc="-10">
                <a:solidFill>
                  <a:srgbClr val="7E7E7E"/>
                </a:solidFill>
                <a:latin typeface="Verdana"/>
                <a:cs typeface="Verdana"/>
              </a:rPr>
              <a:t> </a:t>
            </a:r>
            <a:r>
              <a:rPr sz="1500" b="1" spc="-5">
                <a:solidFill>
                  <a:srgbClr val="7E7E7E"/>
                </a:solidFill>
                <a:latin typeface="Verdana"/>
                <a:cs typeface="Verdana"/>
              </a:rPr>
              <a:t>be:</a:t>
            </a:r>
            <a:endParaRPr sz="1500">
              <a:latin typeface="Verdana"/>
              <a:cs typeface="Verdana"/>
            </a:endParaRPr>
          </a:p>
        </p:txBody>
      </p:sp>
      <p:graphicFrame>
        <p:nvGraphicFramePr>
          <p:cNvPr id="4" name="object 4"/>
          <p:cNvGraphicFramePr>
            <a:graphicFrameLocks noGrp="1"/>
          </p:cNvGraphicFramePr>
          <p:nvPr/>
        </p:nvGraphicFramePr>
        <p:xfrm>
          <a:off x="237490" y="4229100"/>
          <a:ext cx="11704320" cy="2254249"/>
        </p:xfrm>
        <a:graphic>
          <a:graphicData uri="http://schemas.openxmlformats.org/drawingml/2006/table">
            <a:tbl>
              <a:tblPr firstRow="1" bandRow="1">
                <a:tableStyleId>{2D5ABB26-0587-4C30-8999-92F81FD0307C}</a:tableStyleId>
              </a:tblPr>
              <a:tblGrid>
                <a:gridCol w="4099560">
                  <a:extLst>
                    <a:ext uri="{9D8B030D-6E8A-4147-A177-3AD203B41FA5}">
                      <a16:colId xmlns:a16="http://schemas.microsoft.com/office/drawing/2014/main" val="20000"/>
                    </a:ext>
                  </a:extLst>
                </a:gridCol>
                <a:gridCol w="3703320">
                  <a:extLst>
                    <a:ext uri="{9D8B030D-6E8A-4147-A177-3AD203B41FA5}">
                      <a16:colId xmlns:a16="http://schemas.microsoft.com/office/drawing/2014/main" val="20001"/>
                    </a:ext>
                  </a:extLst>
                </a:gridCol>
                <a:gridCol w="3901440">
                  <a:extLst>
                    <a:ext uri="{9D8B030D-6E8A-4147-A177-3AD203B41FA5}">
                      <a16:colId xmlns:a16="http://schemas.microsoft.com/office/drawing/2014/main" val="20002"/>
                    </a:ext>
                  </a:extLst>
                </a:gridCol>
              </a:tblGrid>
              <a:tr h="395477">
                <a:tc>
                  <a:txBody>
                    <a:bodyPr/>
                    <a:lstStyle/>
                    <a:p>
                      <a:pPr marL="90805">
                        <a:lnSpc>
                          <a:spcPct val="100000"/>
                        </a:lnSpc>
                        <a:spcBef>
                          <a:spcPts val="715"/>
                        </a:spcBef>
                      </a:pPr>
                      <a:r>
                        <a:rPr sz="1400" b="1" spc="-5">
                          <a:solidFill>
                            <a:srgbClr val="FFFFFF"/>
                          </a:solidFill>
                          <a:latin typeface="Verdana"/>
                          <a:cs typeface="Verdana"/>
                        </a:rPr>
                        <a:t>Engineering</a:t>
                      </a:r>
                      <a:endParaRPr sz="1400">
                        <a:latin typeface="Verdana"/>
                        <a:cs typeface="Verdana"/>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92075">
                        <a:lnSpc>
                          <a:spcPct val="100000"/>
                        </a:lnSpc>
                        <a:spcBef>
                          <a:spcPts val="715"/>
                        </a:spcBef>
                      </a:pPr>
                      <a:r>
                        <a:rPr sz="1400" b="1">
                          <a:solidFill>
                            <a:srgbClr val="FFFFFF"/>
                          </a:solidFill>
                          <a:latin typeface="Verdana"/>
                          <a:cs typeface="Verdana"/>
                        </a:rPr>
                        <a:t>Testing</a:t>
                      </a:r>
                      <a:endParaRPr sz="1400">
                        <a:latin typeface="Verdana"/>
                        <a:cs typeface="Verdana"/>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92075">
                        <a:lnSpc>
                          <a:spcPct val="100000"/>
                        </a:lnSpc>
                        <a:spcBef>
                          <a:spcPts val="715"/>
                        </a:spcBef>
                      </a:pPr>
                      <a:r>
                        <a:rPr sz="1400" b="1" spc="-5">
                          <a:solidFill>
                            <a:srgbClr val="FFFFFF"/>
                          </a:solidFill>
                          <a:latin typeface="Verdana"/>
                          <a:cs typeface="Verdana"/>
                        </a:rPr>
                        <a:t>Documentation</a:t>
                      </a:r>
                      <a:endParaRPr sz="1400">
                        <a:latin typeface="Verdana"/>
                        <a:cs typeface="Verdana"/>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extLst>
                  <a:ext uri="{0D108BD9-81ED-4DB2-BD59-A6C34878D82A}">
                    <a16:rowId xmlns:a16="http://schemas.microsoft.com/office/drawing/2014/main" val="10000"/>
                  </a:ext>
                </a:extLst>
              </a:tr>
              <a:tr h="395478">
                <a:tc>
                  <a:txBody>
                    <a:bodyPr/>
                    <a:lstStyle/>
                    <a:p>
                      <a:pPr marL="90805">
                        <a:lnSpc>
                          <a:spcPct val="100000"/>
                        </a:lnSpc>
                        <a:spcBef>
                          <a:spcPts val="715"/>
                        </a:spcBef>
                      </a:pPr>
                      <a:r>
                        <a:rPr sz="1400" spc="-10">
                          <a:latin typeface="Verdana"/>
                          <a:cs typeface="Verdana"/>
                        </a:rPr>
                        <a:t>Working</a:t>
                      </a:r>
                      <a:r>
                        <a:rPr sz="1400" spc="-30">
                          <a:latin typeface="Verdana"/>
                          <a:cs typeface="Verdana"/>
                        </a:rPr>
                        <a:t> </a:t>
                      </a:r>
                      <a:r>
                        <a:rPr sz="1400">
                          <a:latin typeface="Verdana"/>
                          <a:cs typeface="Verdana"/>
                        </a:rPr>
                        <a:t>Software</a:t>
                      </a: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2075">
                        <a:lnSpc>
                          <a:spcPct val="100000"/>
                        </a:lnSpc>
                        <a:spcBef>
                          <a:spcPts val="715"/>
                        </a:spcBef>
                      </a:pPr>
                      <a:r>
                        <a:rPr sz="1400" spc="-30">
                          <a:latin typeface="Verdana"/>
                          <a:cs typeface="Verdana"/>
                        </a:rPr>
                        <a:t>Tests</a:t>
                      </a:r>
                      <a:r>
                        <a:rPr sz="1400" spc="-25">
                          <a:latin typeface="Verdana"/>
                          <a:cs typeface="Verdana"/>
                        </a:rPr>
                        <a:t> </a:t>
                      </a:r>
                      <a:r>
                        <a:rPr sz="1400" spc="-5">
                          <a:latin typeface="Verdana"/>
                          <a:cs typeface="Verdana"/>
                        </a:rPr>
                        <a:t>automated</a:t>
                      </a:r>
                      <a:endParaRPr sz="1400">
                        <a:latin typeface="Verdana"/>
                        <a:cs typeface="Verdana"/>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2075">
                        <a:lnSpc>
                          <a:spcPct val="100000"/>
                        </a:lnSpc>
                        <a:spcBef>
                          <a:spcPts val="715"/>
                        </a:spcBef>
                      </a:pPr>
                      <a:r>
                        <a:rPr sz="1400" spc="-5">
                          <a:latin typeface="Verdana"/>
                          <a:cs typeface="Verdana"/>
                        </a:rPr>
                        <a:t>Release </a:t>
                      </a:r>
                      <a:r>
                        <a:rPr sz="1400">
                          <a:latin typeface="Verdana"/>
                          <a:cs typeface="Verdana"/>
                        </a:rPr>
                        <a:t>notes</a:t>
                      </a:r>
                      <a:r>
                        <a:rPr sz="1400" spc="-45">
                          <a:latin typeface="Verdana"/>
                          <a:cs typeface="Verdana"/>
                        </a:rPr>
                        <a:t> </a:t>
                      </a:r>
                      <a:r>
                        <a:rPr sz="1400">
                          <a:latin typeface="Verdana"/>
                          <a:cs typeface="Verdana"/>
                        </a:rPr>
                        <a:t>created</a:t>
                      </a: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1"/>
                  </a:ext>
                </a:extLst>
              </a:tr>
              <a:tr h="395478">
                <a:tc>
                  <a:txBody>
                    <a:bodyPr/>
                    <a:lstStyle/>
                    <a:p>
                      <a:pPr marL="90805">
                        <a:lnSpc>
                          <a:spcPct val="100000"/>
                        </a:lnSpc>
                        <a:spcBef>
                          <a:spcPts val="720"/>
                        </a:spcBef>
                      </a:pPr>
                      <a:r>
                        <a:rPr sz="1400">
                          <a:latin typeface="Verdana"/>
                          <a:cs typeface="Verdana"/>
                        </a:rPr>
                        <a:t>Unit </a:t>
                      </a:r>
                      <a:r>
                        <a:rPr sz="1400" spc="-15">
                          <a:latin typeface="Verdana"/>
                          <a:cs typeface="Verdana"/>
                        </a:rPr>
                        <a:t>Tested/Code</a:t>
                      </a:r>
                      <a:r>
                        <a:rPr sz="1400" spc="-55">
                          <a:latin typeface="Verdana"/>
                          <a:cs typeface="Verdana"/>
                        </a:rPr>
                        <a:t> </a:t>
                      </a:r>
                      <a:r>
                        <a:rPr sz="1400">
                          <a:latin typeface="Verdana"/>
                          <a:cs typeface="Verdana"/>
                        </a:rPr>
                        <a:t>reviewed</a:t>
                      </a: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2075">
                        <a:lnSpc>
                          <a:spcPct val="100000"/>
                        </a:lnSpc>
                        <a:spcBef>
                          <a:spcPts val="720"/>
                        </a:spcBef>
                      </a:pPr>
                      <a:r>
                        <a:rPr sz="1400">
                          <a:latin typeface="Verdana"/>
                          <a:cs typeface="Verdana"/>
                        </a:rPr>
                        <a:t>Meets acceptance </a:t>
                      </a:r>
                      <a:r>
                        <a:rPr sz="1400" spc="-5">
                          <a:latin typeface="Verdana"/>
                          <a:cs typeface="Verdana"/>
                        </a:rPr>
                        <a:t>test</a:t>
                      </a:r>
                      <a:r>
                        <a:rPr sz="1400" spc="-95">
                          <a:latin typeface="Verdana"/>
                          <a:cs typeface="Verdana"/>
                        </a:rPr>
                        <a:t> </a:t>
                      </a:r>
                      <a:r>
                        <a:rPr sz="1400">
                          <a:latin typeface="Verdana"/>
                          <a:cs typeface="Verdana"/>
                        </a:rPr>
                        <a:t>criteria</a:t>
                      </a: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2075">
                        <a:lnSpc>
                          <a:spcPct val="100000"/>
                        </a:lnSpc>
                        <a:spcBef>
                          <a:spcPts val="720"/>
                        </a:spcBef>
                      </a:pPr>
                      <a:r>
                        <a:rPr sz="1400">
                          <a:latin typeface="Verdana"/>
                          <a:cs typeface="Verdana"/>
                        </a:rPr>
                        <a:t>Design Documentation</a:t>
                      </a:r>
                      <a:r>
                        <a:rPr sz="1400" spc="-80">
                          <a:latin typeface="Verdana"/>
                          <a:cs typeface="Verdana"/>
                        </a:rPr>
                        <a:t> </a:t>
                      </a:r>
                      <a:r>
                        <a:rPr sz="1400">
                          <a:latin typeface="Verdana"/>
                          <a:cs typeface="Verdana"/>
                        </a:rPr>
                        <a:t>created</a:t>
                      </a: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2"/>
                  </a:ext>
                </a:extLst>
              </a:tr>
              <a:tr h="672338">
                <a:tc>
                  <a:txBody>
                    <a:bodyPr/>
                    <a:lstStyle/>
                    <a:p>
                      <a:pPr marL="90805" marR="129539">
                        <a:lnSpc>
                          <a:spcPct val="100000"/>
                        </a:lnSpc>
                        <a:spcBef>
                          <a:spcPts val="969"/>
                        </a:spcBef>
                      </a:pPr>
                      <a:r>
                        <a:rPr sz="1400">
                          <a:latin typeface="Verdana"/>
                          <a:cs typeface="Verdana"/>
                        </a:rPr>
                        <a:t>Code </a:t>
                      </a:r>
                      <a:r>
                        <a:rPr sz="1400" spc="-5">
                          <a:latin typeface="Verdana"/>
                          <a:cs typeface="Verdana"/>
                        </a:rPr>
                        <a:t>integrated </a:t>
                      </a:r>
                      <a:r>
                        <a:rPr sz="1400">
                          <a:latin typeface="Verdana"/>
                          <a:cs typeface="Verdana"/>
                        </a:rPr>
                        <a:t>into </a:t>
                      </a:r>
                      <a:r>
                        <a:rPr sz="1400" spc="-5">
                          <a:latin typeface="Verdana"/>
                          <a:cs typeface="Verdana"/>
                        </a:rPr>
                        <a:t>CI </a:t>
                      </a:r>
                      <a:r>
                        <a:rPr sz="1400">
                          <a:latin typeface="Verdana"/>
                          <a:cs typeface="Verdana"/>
                        </a:rPr>
                        <a:t>and </a:t>
                      </a:r>
                      <a:r>
                        <a:rPr sz="1400" spc="-5">
                          <a:latin typeface="Verdana"/>
                          <a:cs typeface="Verdana"/>
                        </a:rPr>
                        <a:t>quality </a:t>
                      </a:r>
                      <a:r>
                        <a:rPr sz="1400">
                          <a:latin typeface="Verdana"/>
                          <a:cs typeface="Verdana"/>
                        </a:rPr>
                        <a:t>metrics  meet</a:t>
                      </a:r>
                      <a:r>
                        <a:rPr sz="1400" spc="-15">
                          <a:latin typeface="Verdana"/>
                          <a:cs typeface="Verdana"/>
                        </a:rPr>
                        <a:t> </a:t>
                      </a:r>
                      <a:r>
                        <a:rPr sz="1400">
                          <a:latin typeface="Verdana"/>
                          <a:cs typeface="Verdana"/>
                        </a:rPr>
                        <a:t>standards</a:t>
                      </a:r>
                    </a:p>
                  </a:txBody>
                  <a:tcPr marL="0" marR="0" marT="12318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2075" marR="484505">
                        <a:lnSpc>
                          <a:spcPct val="100000"/>
                        </a:lnSpc>
                        <a:spcBef>
                          <a:spcPts val="969"/>
                        </a:spcBef>
                      </a:pPr>
                      <a:r>
                        <a:rPr sz="1400" spc="-5">
                          <a:latin typeface="Verdana"/>
                          <a:cs typeface="Verdana"/>
                        </a:rPr>
                        <a:t>Reviewed </a:t>
                      </a:r>
                      <a:r>
                        <a:rPr sz="1400">
                          <a:latin typeface="Verdana"/>
                          <a:cs typeface="Verdana"/>
                        </a:rPr>
                        <a:t>and accepted </a:t>
                      </a:r>
                      <a:r>
                        <a:rPr sz="1400" spc="-5">
                          <a:latin typeface="Verdana"/>
                          <a:cs typeface="Verdana"/>
                        </a:rPr>
                        <a:t>by</a:t>
                      </a:r>
                      <a:r>
                        <a:rPr sz="1400" spc="-95">
                          <a:latin typeface="Verdana"/>
                          <a:cs typeface="Verdana"/>
                        </a:rPr>
                        <a:t> </a:t>
                      </a:r>
                      <a:r>
                        <a:rPr sz="1400">
                          <a:latin typeface="Verdana"/>
                          <a:cs typeface="Verdana"/>
                        </a:rPr>
                        <a:t>Product  </a:t>
                      </a:r>
                      <a:r>
                        <a:rPr sz="1400" spc="-5">
                          <a:latin typeface="Verdana"/>
                          <a:cs typeface="Verdana"/>
                        </a:rPr>
                        <a:t>Owner</a:t>
                      </a:r>
                      <a:endParaRPr sz="1400">
                        <a:latin typeface="Verdana"/>
                        <a:cs typeface="Verdana"/>
                      </a:endParaRPr>
                    </a:p>
                  </a:txBody>
                  <a:tcPr marL="0" marR="0" marT="12318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3"/>
                  </a:ext>
                </a:extLst>
              </a:tr>
              <a:tr h="395478">
                <a:tc>
                  <a:txBody>
                    <a:bodyPr/>
                    <a:lstStyle/>
                    <a:p>
                      <a:pPr marL="90805">
                        <a:lnSpc>
                          <a:spcPct val="100000"/>
                        </a:lnSpc>
                        <a:spcBef>
                          <a:spcPts val="720"/>
                        </a:spcBef>
                      </a:pPr>
                      <a:r>
                        <a:rPr sz="1400" spc="5">
                          <a:latin typeface="Verdana"/>
                          <a:cs typeface="Verdana"/>
                        </a:rPr>
                        <a:t>All </a:t>
                      </a:r>
                      <a:r>
                        <a:rPr sz="1400">
                          <a:latin typeface="Verdana"/>
                          <a:cs typeface="Verdana"/>
                        </a:rPr>
                        <a:t>defects identified in </a:t>
                      </a:r>
                      <a:r>
                        <a:rPr sz="1400" spc="-5">
                          <a:latin typeface="Verdana"/>
                          <a:cs typeface="Verdana"/>
                        </a:rPr>
                        <a:t>the </a:t>
                      </a:r>
                      <a:r>
                        <a:rPr sz="1400">
                          <a:latin typeface="Verdana"/>
                          <a:cs typeface="Verdana"/>
                        </a:rPr>
                        <a:t>sprint</a:t>
                      </a:r>
                      <a:r>
                        <a:rPr sz="1400" spc="-155">
                          <a:latin typeface="Verdana"/>
                          <a:cs typeface="Verdana"/>
                        </a:rPr>
                        <a:t> </a:t>
                      </a:r>
                      <a:r>
                        <a:rPr sz="1400">
                          <a:latin typeface="Verdana"/>
                          <a:cs typeface="Verdana"/>
                        </a:rPr>
                        <a:t>resolved</a:t>
                      </a:r>
                    </a:p>
                  </a:txBody>
                  <a:tcPr marL="0" marR="0" marT="914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pPr>
                      <a:endParaRPr sz="1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4"/>
                  </a:ext>
                </a:extLst>
              </a:tr>
            </a:tbl>
          </a:graphicData>
        </a:graphic>
      </p:graphicFrame>
      <p:sp>
        <p:nvSpPr>
          <p:cNvPr id="5" name="object 5"/>
          <p:cNvSpPr txBox="1"/>
          <p:nvPr/>
        </p:nvSpPr>
        <p:spPr>
          <a:xfrm>
            <a:off x="252984" y="1132332"/>
            <a:ext cx="11686540" cy="365760"/>
          </a:xfrm>
          <a:prstGeom prst="rect">
            <a:avLst/>
          </a:prstGeom>
          <a:solidFill>
            <a:srgbClr val="421F5D"/>
          </a:solidFill>
        </p:spPr>
        <p:txBody>
          <a:bodyPr vert="horz" wrap="square" lIns="0" tIns="74930" rIns="0" bIns="0" rtlCol="0">
            <a:spAutoFit/>
          </a:bodyPr>
          <a:lstStyle/>
          <a:p>
            <a:pPr algn="ctr">
              <a:lnSpc>
                <a:spcPct val="100000"/>
              </a:lnSpc>
              <a:spcBef>
                <a:spcPts val="590"/>
              </a:spcBef>
            </a:pPr>
            <a:r>
              <a:rPr sz="1400" b="1">
                <a:solidFill>
                  <a:srgbClr val="FFFFFF"/>
                </a:solidFill>
                <a:latin typeface="Verdana"/>
                <a:cs typeface="Verdana"/>
              </a:rPr>
              <a:t>The </a:t>
            </a:r>
            <a:r>
              <a:rPr sz="1400" b="1" spc="-5">
                <a:solidFill>
                  <a:srgbClr val="FFFFFF"/>
                </a:solidFill>
                <a:latin typeface="Verdana"/>
                <a:cs typeface="Verdana"/>
              </a:rPr>
              <a:t>team </a:t>
            </a:r>
            <a:r>
              <a:rPr sz="1400" b="1">
                <a:solidFill>
                  <a:srgbClr val="FFFFFF"/>
                </a:solidFill>
                <a:latin typeface="Verdana"/>
                <a:cs typeface="Verdana"/>
              </a:rPr>
              <a:t>will </a:t>
            </a:r>
            <a:r>
              <a:rPr sz="1400" b="1" spc="-5">
                <a:solidFill>
                  <a:srgbClr val="FFFFFF"/>
                </a:solidFill>
                <a:latin typeface="Verdana"/>
                <a:cs typeface="Verdana"/>
              </a:rPr>
              <a:t>only </a:t>
            </a:r>
            <a:r>
              <a:rPr sz="1400" b="1">
                <a:solidFill>
                  <a:srgbClr val="FFFFFF"/>
                </a:solidFill>
                <a:latin typeface="Verdana"/>
                <a:cs typeface="Verdana"/>
              </a:rPr>
              <a:t>deliver </a:t>
            </a:r>
            <a:r>
              <a:rPr sz="1400" b="1" spc="-5">
                <a:solidFill>
                  <a:srgbClr val="FFFFFF"/>
                </a:solidFill>
                <a:latin typeface="Verdana"/>
                <a:cs typeface="Verdana"/>
              </a:rPr>
              <a:t>products that satisfy the </a:t>
            </a:r>
            <a:r>
              <a:rPr sz="1400" b="1">
                <a:solidFill>
                  <a:srgbClr val="FFFFFF"/>
                </a:solidFill>
                <a:latin typeface="Verdana"/>
                <a:cs typeface="Verdana"/>
              </a:rPr>
              <a:t>following</a:t>
            </a:r>
            <a:r>
              <a:rPr sz="1400" b="1" spc="-135">
                <a:solidFill>
                  <a:srgbClr val="FFFFFF"/>
                </a:solidFill>
                <a:latin typeface="Verdana"/>
                <a:cs typeface="Verdana"/>
              </a:rPr>
              <a:t> </a:t>
            </a:r>
            <a:r>
              <a:rPr sz="1400" b="1" spc="-5">
                <a:solidFill>
                  <a:srgbClr val="FFFFFF"/>
                </a:solidFill>
                <a:latin typeface="Verdana"/>
                <a:cs typeface="Verdana"/>
              </a:rPr>
              <a:t>criteria:</a:t>
            </a:r>
            <a:endParaRPr sz="1400">
              <a:latin typeface="Verdana"/>
              <a:cs typeface="Verdan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060950" cy="422275"/>
          </a:xfrm>
          <a:prstGeom prst="rect">
            <a:avLst/>
          </a:prstGeom>
        </p:spPr>
        <p:txBody>
          <a:bodyPr vert="horz" wrap="square" lIns="0" tIns="12700" rIns="0" bIns="0" rtlCol="0">
            <a:spAutoFit/>
          </a:bodyPr>
          <a:lstStyle/>
          <a:p>
            <a:pPr marL="12700">
              <a:lnSpc>
                <a:spcPct val="100000"/>
              </a:lnSpc>
              <a:spcBef>
                <a:spcPts val="100"/>
              </a:spcBef>
            </a:pPr>
            <a:r>
              <a:rPr sz="2600" spc="-5"/>
              <a:t>Summary </a:t>
            </a:r>
            <a:r>
              <a:rPr sz="2600"/>
              <a:t>of </a:t>
            </a:r>
            <a:r>
              <a:rPr sz="2600" spc="-5"/>
              <a:t>the project</a:t>
            </a:r>
            <a:r>
              <a:rPr sz="2600" spc="-60"/>
              <a:t> </a:t>
            </a:r>
            <a:r>
              <a:rPr sz="2600"/>
              <a:t>scope</a:t>
            </a:r>
          </a:p>
        </p:txBody>
      </p:sp>
      <p:sp>
        <p:nvSpPr>
          <p:cNvPr id="40" name="object 40"/>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1" name="object 41"/>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7</a:t>
            </a:fld>
            <a:endParaRPr sz="800">
              <a:latin typeface="Verdana"/>
              <a:cs typeface="Verdana"/>
            </a:endParaRPr>
          </a:p>
        </p:txBody>
      </p:sp>
      <p:grpSp>
        <p:nvGrpSpPr>
          <p:cNvPr id="42" name="Group 41">
            <a:extLst>
              <a:ext uri="{FF2B5EF4-FFF2-40B4-BE49-F238E27FC236}">
                <a16:creationId xmlns:a16="http://schemas.microsoft.com/office/drawing/2014/main" id="{0CB7C0D4-BCD9-42C8-8E0A-CF023DE0FE37}"/>
              </a:ext>
            </a:extLst>
          </p:cNvPr>
          <p:cNvGrpSpPr/>
          <p:nvPr/>
        </p:nvGrpSpPr>
        <p:grpSpPr>
          <a:xfrm>
            <a:off x="3577537" y="1107030"/>
            <a:ext cx="2498297" cy="2462501"/>
            <a:chOff x="4716992" y="1009916"/>
            <a:chExt cx="2851523" cy="2737519"/>
          </a:xfrm>
        </p:grpSpPr>
        <p:sp>
          <p:nvSpPr>
            <p:cNvPr id="43" name="Rectangle 42">
              <a:extLst>
                <a:ext uri="{FF2B5EF4-FFF2-40B4-BE49-F238E27FC236}">
                  <a16:creationId xmlns:a16="http://schemas.microsoft.com/office/drawing/2014/main" id="{A49BE6D1-C00D-4C23-90C4-203BA112F1A8}"/>
                </a:ext>
              </a:extLst>
            </p:cNvPr>
            <p:cNvSpPr/>
            <p:nvPr/>
          </p:nvSpPr>
          <p:spPr>
            <a:xfrm>
              <a:off x="4716992" y="1987776"/>
              <a:ext cx="2842424" cy="17596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algn="ctr">
                <a:spcBef>
                  <a:spcPts val="500"/>
                </a:spcBef>
                <a:buClr>
                  <a:schemeClr val="accent1"/>
                </a:buClr>
                <a:defRPr/>
              </a:pPr>
              <a:r>
                <a:rPr lang="en-US" sz="1200">
                  <a:solidFill>
                    <a:schemeClr val="tx1"/>
                  </a:solidFill>
                </a:rPr>
                <a:t>Strategic Plan and Sales Planning (Opportunity Management):</a:t>
              </a:r>
            </a:p>
            <a:p>
              <a:pPr marL="171450" indent="-171450">
                <a:spcBef>
                  <a:spcPts val="500"/>
                </a:spcBef>
                <a:buClr>
                  <a:schemeClr val="tx1"/>
                </a:buClr>
                <a:buFont typeface="Wingdings" panose="05000000000000000000" pitchFamily="2" charset="2"/>
                <a:buChar char="§"/>
                <a:defRPr/>
              </a:pPr>
              <a:r>
                <a:rPr lang="en-US" sz="1200">
                  <a:solidFill>
                    <a:schemeClr val="tx1"/>
                  </a:solidFill>
                </a:rPr>
                <a:t>Electric Powertrain (ePW)</a:t>
              </a:r>
            </a:p>
            <a:p>
              <a:pPr marL="171450" indent="-171450">
                <a:spcBef>
                  <a:spcPts val="500"/>
                </a:spcBef>
                <a:buClr>
                  <a:schemeClr val="tx1"/>
                </a:buClr>
                <a:buFont typeface="Wingdings" panose="05000000000000000000" pitchFamily="2" charset="2"/>
                <a:buChar char="§"/>
                <a:defRPr/>
              </a:pPr>
              <a:r>
                <a:rPr lang="en-US" sz="1200">
                  <a:solidFill>
                    <a:schemeClr val="tx1"/>
                  </a:solidFill>
                </a:rPr>
                <a:t>Powertrain (PW)</a:t>
              </a:r>
            </a:p>
            <a:p>
              <a:pPr marL="171450" indent="-171450">
                <a:spcBef>
                  <a:spcPts val="500"/>
                </a:spcBef>
                <a:buClr>
                  <a:schemeClr val="tx1"/>
                </a:buClr>
                <a:buFont typeface="Wingdings" panose="05000000000000000000" pitchFamily="2" charset="2"/>
                <a:buChar char="§"/>
                <a:defRPr/>
              </a:pPr>
              <a:r>
                <a:rPr lang="en-US" sz="1200">
                  <a:solidFill>
                    <a:schemeClr val="tx1"/>
                  </a:solidFill>
                </a:rPr>
                <a:t>Green Technology Solutions (GTS)</a:t>
              </a:r>
            </a:p>
          </p:txBody>
        </p:sp>
        <p:sp>
          <p:nvSpPr>
            <p:cNvPr id="44" name="Rounded Rectangle 9">
              <a:extLst>
                <a:ext uri="{FF2B5EF4-FFF2-40B4-BE49-F238E27FC236}">
                  <a16:creationId xmlns:a16="http://schemas.microsoft.com/office/drawing/2014/main" id="{4AE4F055-4990-4834-983E-4556251C4CEC}"/>
                </a:ext>
              </a:extLst>
            </p:cNvPr>
            <p:cNvSpPr/>
            <p:nvPr/>
          </p:nvSpPr>
          <p:spPr>
            <a:xfrm>
              <a:off x="4721541" y="1478690"/>
              <a:ext cx="2846974" cy="540000"/>
            </a:xfrm>
            <a:prstGeom prst="roundRect">
              <a:avLst>
                <a:gd name="adj" fmla="val 11033"/>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Wave 1: Salesforce Rollout to 3 BUs</a:t>
              </a:r>
            </a:p>
          </p:txBody>
        </p:sp>
        <p:sp>
          <p:nvSpPr>
            <p:cNvPr id="45" name="Oval 20">
              <a:extLst>
                <a:ext uri="{FF2B5EF4-FFF2-40B4-BE49-F238E27FC236}">
                  <a16:creationId xmlns:a16="http://schemas.microsoft.com/office/drawing/2014/main" id="{D8ECD021-FB36-404C-9621-419CFEECF954}"/>
                </a:ext>
              </a:extLst>
            </p:cNvPr>
            <p:cNvSpPr/>
            <p:nvPr/>
          </p:nvSpPr>
          <p:spPr>
            <a:xfrm>
              <a:off x="5893028" y="1009916"/>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2</a:t>
              </a:r>
            </a:p>
          </p:txBody>
        </p:sp>
      </p:grpSp>
      <p:grpSp>
        <p:nvGrpSpPr>
          <p:cNvPr id="46" name="Group 45">
            <a:extLst>
              <a:ext uri="{FF2B5EF4-FFF2-40B4-BE49-F238E27FC236}">
                <a16:creationId xmlns:a16="http://schemas.microsoft.com/office/drawing/2014/main" id="{29ACEEC6-1792-4F1A-B102-FDDA8701FC92}"/>
              </a:ext>
            </a:extLst>
          </p:cNvPr>
          <p:cNvGrpSpPr/>
          <p:nvPr/>
        </p:nvGrpSpPr>
        <p:grpSpPr>
          <a:xfrm>
            <a:off x="680821" y="1067946"/>
            <a:ext cx="2498297" cy="2497969"/>
            <a:chOff x="385547" y="938690"/>
            <a:chExt cx="2846974" cy="2776949"/>
          </a:xfrm>
        </p:grpSpPr>
        <p:sp>
          <p:nvSpPr>
            <p:cNvPr id="47" name="Rectangle 46">
              <a:extLst>
                <a:ext uri="{FF2B5EF4-FFF2-40B4-BE49-F238E27FC236}">
                  <a16:creationId xmlns:a16="http://schemas.microsoft.com/office/drawing/2014/main" id="{2D4CED89-8F83-4A5E-ABEA-D84EFC6EE26E}"/>
                </a:ext>
              </a:extLst>
            </p:cNvPr>
            <p:cNvSpPr/>
            <p:nvPr/>
          </p:nvSpPr>
          <p:spPr>
            <a:xfrm>
              <a:off x="385547" y="1955980"/>
              <a:ext cx="2842425" cy="17596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algn="ctr">
                <a:spcBef>
                  <a:spcPts val="500"/>
                </a:spcBef>
                <a:buClr>
                  <a:schemeClr val="accent1"/>
                </a:buClr>
                <a:defRPr/>
              </a:pPr>
              <a:r>
                <a:rPr lang="en-US" sz="1200">
                  <a:solidFill>
                    <a:schemeClr val="tx1"/>
                  </a:solidFill>
                </a:rPr>
                <a:t>Data Model and Performance optimization leveraging on Salesforce.com assessment deliverable </a:t>
              </a:r>
            </a:p>
          </p:txBody>
        </p:sp>
        <p:sp>
          <p:nvSpPr>
            <p:cNvPr id="48" name="Oval 20">
              <a:extLst>
                <a:ext uri="{FF2B5EF4-FFF2-40B4-BE49-F238E27FC236}">
                  <a16:creationId xmlns:a16="http://schemas.microsoft.com/office/drawing/2014/main" id="{79EF2710-B2EB-4170-9C3D-2BC98D9DF547}"/>
                </a:ext>
              </a:extLst>
            </p:cNvPr>
            <p:cNvSpPr/>
            <p:nvPr/>
          </p:nvSpPr>
          <p:spPr>
            <a:xfrm>
              <a:off x="1557034" y="938690"/>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1</a:t>
              </a:r>
            </a:p>
          </p:txBody>
        </p:sp>
        <p:sp>
          <p:nvSpPr>
            <p:cNvPr id="49" name="Rounded Rectangle 13">
              <a:extLst>
                <a:ext uri="{FF2B5EF4-FFF2-40B4-BE49-F238E27FC236}">
                  <a16:creationId xmlns:a16="http://schemas.microsoft.com/office/drawing/2014/main" id="{43FB0CD7-0C7E-4859-81E3-100ED6EB2917}"/>
                </a:ext>
              </a:extLst>
            </p:cNvPr>
            <p:cNvSpPr/>
            <p:nvPr/>
          </p:nvSpPr>
          <p:spPr>
            <a:xfrm>
              <a:off x="385547" y="1446895"/>
              <a:ext cx="2846974" cy="540000"/>
            </a:xfrm>
            <a:prstGeom prst="roundRect">
              <a:avLst>
                <a:gd name="adj" fmla="val 1103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Wave 1: Platform Optimization</a:t>
              </a:r>
            </a:p>
          </p:txBody>
        </p:sp>
      </p:grpSp>
      <p:grpSp>
        <p:nvGrpSpPr>
          <p:cNvPr id="50" name="Group 49">
            <a:extLst>
              <a:ext uri="{FF2B5EF4-FFF2-40B4-BE49-F238E27FC236}">
                <a16:creationId xmlns:a16="http://schemas.microsoft.com/office/drawing/2014/main" id="{2A8320E5-D1CD-4314-A720-3D4763129E9D}"/>
              </a:ext>
            </a:extLst>
          </p:cNvPr>
          <p:cNvGrpSpPr/>
          <p:nvPr/>
        </p:nvGrpSpPr>
        <p:grpSpPr>
          <a:xfrm>
            <a:off x="6426628" y="1076324"/>
            <a:ext cx="2498297" cy="2489591"/>
            <a:chOff x="8407828" y="979318"/>
            <a:chExt cx="2851524" cy="2736321"/>
          </a:xfrm>
        </p:grpSpPr>
        <p:sp>
          <p:nvSpPr>
            <p:cNvPr id="51" name="Rectangle 50">
              <a:extLst>
                <a:ext uri="{FF2B5EF4-FFF2-40B4-BE49-F238E27FC236}">
                  <a16:creationId xmlns:a16="http://schemas.microsoft.com/office/drawing/2014/main" id="{34E67767-D11A-45DA-B7E2-92E8EE4E5C48}"/>
                </a:ext>
              </a:extLst>
            </p:cNvPr>
            <p:cNvSpPr/>
            <p:nvPr/>
          </p:nvSpPr>
          <p:spPr>
            <a:xfrm>
              <a:off x="8407828" y="1986763"/>
              <a:ext cx="2851524" cy="1728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algn="ctr">
                <a:spcBef>
                  <a:spcPts val="500"/>
                </a:spcBef>
                <a:buClr>
                  <a:schemeClr val="accent1"/>
                </a:buClr>
                <a:defRPr/>
              </a:pPr>
              <a:r>
                <a:rPr lang="en-US" sz="1200">
                  <a:solidFill>
                    <a:schemeClr val="tx1"/>
                  </a:solidFill>
                </a:rPr>
                <a:t>Customer Data Management as core function of CRM Solution (e.g. Contacts management) for AL &amp; EL</a:t>
              </a:r>
              <a:endParaRPr lang="en-IN" sz="1200">
                <a:solidFill>
                  <a:schemeClr val="tx1"/>
                </a:solidFill>
              </a:endParaRPr>
            </a:p>
          </p:txBody>
        </p:sp>
        <p:sp>
          <p:nvSpPr>
            <p:cNvPr id="52" name="Oval 20">
              <a:extLst>
                <a:ext uri="{FF2B5EF4-FFF2-40B4-BE49-F238E27FC236}">
                  <a16:creationId xmlns:a16="http://schemas.microsoft.com/office/drawing/2014/main" id="{5A89AA75-02D7-448D-80DC-6953D6494D11}"/>
                </a:ext>
              </a:extLst>
            </p:cNvPr>
            <p:cNvSpPr/>
            <p:nvPr/>
          </p:nvSpPr>
          <p:spPr>
            <a:xfrm>
              <a:off x="9583865" y="979318"/>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421F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3</a:t>
              </a:r>
            </a:p>
          </p:txBody>
        </p:sp>
        <p:sp>
          <p:nvSpPr>
            <p:cNvPr id="53" name="Rounded Rectangle 16">
              <a:extLst>
                <a:ext uri="{FF2B5EF4-FFF2-40B4-BE49-F238E27FC236}">
                  <a16:creationId xmlns:a16="http://schemas.microsoft.com/office/drawing/2014/main" id="{C0E90206-F86C-4E50-98E6-2A2B8C864ACD}"/>
                </a:ext>
              </a:extLst>
            </p:cNvPr>
            <p:cNvSpPr/>
            <p:nvPr/>
          </p:nvSpPr>
          <p:spPr>
            <a:xfrm>
              <a:off x="8412378" y="1470212"/>
              <a:ext cx="2846974" cy="540000"/>
            </a:xfrm>
            <a:prstGeom prst="roundRect">
              <a:avLst>
                <a:gd name="adj" fmla="val 8671"/>
              </a:avLst>
            </a:prstGeom>
            <a:solidFill>
              <a:srgbClr val="421F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Wave 1: CRM Functionalities</a:t>
              </a:r>
            </a:p>
          </p:txBody>
        </p:sp>
      </p:grpSp>
      <p:grpSp>
        <p:nvGrpSpPr>
          <p:cNvPr id="54" name="Group 53">
            <a:extLst>
              <a:ext uri="{FF2B5EF4-FFF2-40B4-BE49-F238E27FC236}">
                <a16:creationId xmlns:a16="http://schemas.microsoft.com/office/drawing/2014/main" id="{C118AF7C-636D-4FD0-8F7C-B4DD9B60B5E7}"/>
              </a:ext>
            </a:extLst>
          </p:cNvPr>
          <p:cNvGrpSpPr/>
          <p:nvPr/>
        </p:nvGrpSpPr>
        <p:grpSpPr>
          <a:xfrm>
            <a:off x="9328986" y="1079621"/>
            <a:ext cx="2498297" cy="2486293"/>
            <a:chOff x="-1551443" y="3691397"/>
            <a:chExt cx="2846974" cy="2741229"/>
          </a:xfrm>
        </p:grpSpPr>
        <p:sp>
          <p:nvSpPr>
            <p:cNvPr id="55" name="Rectangle 54">
              <a:extLst>
                <a:ext uri="{FF2B5EF4-FFF2-40B4-BE49-F238E27FC236}">
                  <a16:creationId xmlns:a16="http://schemas.microsoft.com/office/drawing/2014/main" id="{39C3D23B-6403-4C0A-BEA5-24656F17F68A}"/>
                </a:ext>
              </a:extLst>
            </p:cNvPr>
            <p:cNvSpPr/>
            <p:nvPr/>
          </p:nvSpPr>
          <p:spPr>
            <a:xfrm>
              <a:off x="-1546895" y="4672967"/>
              <a:ext cx="2842426" cy="17596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algn="ctr">
                <a:spcBef>
                  <a:spcPts val="500"/>
                </a:spcBef>
                <a:buClr>
                  <a:schemeClr val="accent1"/>
                </a:buClr>
                <a:defRPr/>
              </a:pPr>
              <a:r>
                <a:rPr lang="en-US" sz="1200">
                  <a:solidFill>
                    <a:schemeClr val="tx1"/>
                  </a:solidFill>
                </a:rPr>
                <a:t>Integration with ERP Currently in use in F-CK Bus</a:t>
              </a:r>
            </a:p>
          </p:txBody>
        </p:sp>
        <p:sp>
          <p:nvSpPr>
            <p:cNvPr id="56" name="Oval 20">
              <a:extLst>
                <a:ext uri="{FF2B5EF4-FFF2-40B4-BE49-F238E27FC236}">
                  <a16:creationId xmlns:a16="http://schemas.microsoft.com/office/drawing/2014/main" id="{C13D82E5-48E3-4B9B-83EC-46401C2593D6}"/>
                </a:ext>
              </a:extLst>
            </p:cNvPr>
            <p:cNvSpPr/>
            <p:nvPr/>
          </p:nvSpPr>
          <p:spPr>
            <a:xfrm>
              <a:off x="-379956" y="3691397"/>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22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4</a:t>
              </a:r>
            </a:p>
          </p:txBody>
        </p:sp>
        <p:sp>
          <p:nvSpPr>
            <p:cNvPr id="57" name="Rounded Rectangle 19">
              <a:extLst>
                <a:ext uri="{FF2B5EF4-FFF2-40B4-BE49-F238E27FC236}">
                  <a16:creationId xmlns:a16="http://schemas.microsoft.com/office/drawing/2014/main" id="{E3E9FB6E-D9BA-4A80-ABAE-73BBFE7C331F}"/>
                </a:ext>
              </a:extLst>
            </p:cNvPr>
            <p:cNvSpPr/>
            <p:nvPr/>
          </p:nvSpPr>
          <p:spPr>
            <a:xfrm>
              <a:off x="-1551443" y="4163881"/>
              <a:ext cx="2846974" cy="540000"/>
            </a:xfrm>
            <a:prstGeom prst="roundRect">
              <a:avLst>
                <a:gd name="adj" fmla="val 8671"/>
              </a:avLst>
            </a:prstGeom>
            <a:solidFill>
              <a:srgbClr val="D22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a:t>Wave 1: Integration</a:t>
              </a:r>
            </a:p>
          </p:txBody>
        </p:sp>
      </p:grpSp>
      <p:grpSp>
        <p:nvGrpSpPr>
          <p:cNvPr id="58" name="Group 57">
            <a:extLst>
              <a:ext uri="{FF2B5EF4-FFF2-40B4-BE49-F238E27FC236}">
                <a16:creationId xmlns:a16="http://schemas.microsoft.com/office/drawing/2014/main" id="{0F0FCBBD-B718-403E-B9E1-5CB2CE041B10}"/>
              </a:ext>
            </a:extLst>
          </p:cNvPr>
          <p:cNvGrpSpPr/>
          <p:nvPr/>
        </p:nvGrpSpPr>
        <p:grpSpPr>
          <a:xfrm>
            <a:off x="2337913" y="3833020"/>
            <a:ext cx="2498297" cy="2538778"/>
            <a:chOff x="1867354" y="3715639"/>
            <a:chExt cx="2846974" cy="2822315"/>
          </a:xfrm>
        </p:grpSpPr>
        <p:sp>
          <p:nvSpPr>
            <p:cNvPr id="59" name="Rectangle 58">
              <a:extLst>
                <a:ext uri="{FF2B5EF4-FFF2-40B4-BE49-F238E27FC236}">
                  <a16:creationId xmlns:a16="http://schemas.microsoft.com/office/drawing/2014/main" id="{35F022BA-FE44-48FA-9F60-BB9520CFCA75}"/>
                </a:ext>
              </a:extLst>
            </p:cNvPr>
            <p:cNvSpPr/>
            <p:nvPr/>
          </p:nvSpPr>
          <p:spPr>
            <a:xfrm>
              <a:off x="1867354" y="4703881"/>
              <a:ext cx="2842426" cy="1834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marL="171450" indent="-171450">
                <a:spcBef>
                  <a:spcPts val="500"/>
                </a:spcBef>
                <a:buFont typeface="Wingdings" panose="05000000000000000000" pitchFamily="2" charset="2"/>
                <a:buChar char="§"/>
                <a:defRPr/>
              </a:pPr>
              <a:r>
                <a:rPr lang="en-US" sz="1200">
                  <a:solidFill>
                    <a:schemeClr val="tx1"/>
                  </a:solidFill>
                </a:rPr>
                <a:t>Ride Dynamics (RD)</a:t>
              </a:r>
            </a:p>
            <a:p>
              <a:pPr marL="171450" indent="-171450">
                <a:spcBef>
                  <a:spcPts val="500"/>
                </a:spcBef>
                <a:buFont typeface="Wingdings" panose="05000000000000000000" pitchFamily="2" charset="2"/>
                <a:buChar char="§"/>
                <a:defRPr/>
              </a:pPr>
              <a:r>
                <a:rPr lang="en-US" sz="1200">
                  <a:solidFill>
                    <a:schemeClr val="tx1"/>
                  </a:solidFill>
                </a:rPr>
                <a:t>Cabin Comfort (CC)</a:t>
              </a:r>
            </a:p>
            <a:p>
              <a:pPr marL="171450" indent="-171450">
                <a:spcBef>
                  <a:spcPts val="500"/>
                </a:spcBef>
                <a:buFont typeface="Wingdings" panose="05000000000000000000" pitchFamily="2" charset="2"/>
                <a:buChar char="§"/>
                <a:defRPr/>
              </a:pPr>
              <a:r>
                <a:rPr lang="en-US" sz="1200">
                  <a:solidFill>
                    <a:schemeClr val="tx1"/>
                  </a:solidFill>
                </a:rPr>
                <a:t>Thermal Solutions (TS) </a:t>
              </a:r>
            </a:p>
            <a:p>
              <a:pPr marL="171450" indent="-171450">
                <a:spcBef>
                  <a:spcPts val="500"/>
                </a:spcBef>
                <a:buFont typeface="Wingdings" panose="05000000000000000000" pitchFamily="2" charset="2"/>
                <a:buChar char="§"/>
                <a:defRPr/>
              </a:pPr>
              <a:r>
                <a:rPr lang="en-US" sz="1200">
                  <a:solidFill>
                    <a:schemeClr val="tx1"/>
                  </a:solidFill>
                </a:rPr>
                <a:t>Interior Experience (IE)</a:t>
              </a:r>
            </a:p>
          </p:txBody>
        </p:sp>
        <p:sp>
          <p:nvSpPr>
            <p:cNvPr id="60" name="Oval 20">
              <a:extLst>
                <a:ext uri="{FF2B5EF4-FFF2-40B4-BE49-F238E27FC236}">
                  <a16:creationId xmlns:a16="http://schemas.microsoft.com/office/drawing/2014/main" id="{E75F20B9-2C70-44A4-A16D-98AF86CF43C2}"/>
                </a:ext>
              </a:extLst>
            </p:cNvPr>
            <p:cNvSpPr/>
            <p:nvPr/>
          </p:nvSpPr>
          <p:spPr>
            <a:xfrm>
              <a:off x="3011001" y="3715639"/>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5</a:t>
              </a:r>
            </a:p>
          </p:txBody>
        </p:sp>
        <p:sp>
          <p:nvSpPr>
            <p:cNvPr id="61" name="Rounded Rectangle 13">
              <a:extLst>
                <a:ext uri="{FF2B5EF4-FFF2-40B4-BE49-F238E27FC236}">
                  <a16:creationId xmlns:a16="http://schemas.microsoft.com/office/drawing/2014/main" id="{996DB1E1-932C-463A-A95A-679474794324}"/>
                </a:ext>
              </a:extLst>
            </p:cNvPr>
            <p:cNvSpPr/>
            <p:nvPr/>
          </p:nvSpPr>
          <p:spPr>
            <a:xfrm>
              <a:off x="1867354" y="4199568"/>
              <a:ext cx="2846974" cy="540000"/>
            </a:xfrm>
            <a:prstGeom prst="roundRect">
              <a:avLst>
                <a:gd name="adj" fmla="val 11033"/>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Wave 2: Salesforce Rollout to 4 BUs</a:t>
              </a:r>
            </a:p>
          </p:txBody>
        </p:sp>
      </p:grpSp>
      <p:grpSp>
        <p:nvGrpSpPr>
          <p:cNvPr id="62" name="Group 61">
            <a:extLst>
              <a:ext uri="{FF2B5EF4-FFF2-40B4-BE49-F238E27FC236}">
                <a16:creationId xmlns:a16="http://schemas.microsoft.com/office/drawing/2014/main" id="{5AF38DB9-5B3E-4B5F-8F77-AD6C426C7070}"/>
              </a:ext>
            </a:extLst>
          </p:cNvPr>
          <p:cNvGrpSpPr/>
          <p:nvPr/>
        </p:nvGrpSpPr>
        <p:grpSpPr>
          <a:xfrm>
            <a:off x="5032811" y="3833020"/>
            <a:ext cx="2498297" cy="2500414"/>
            <a:chOff x="7716586" y="3715639"/>
            <a:chExt cx="2851522" cy="2779667"/>
          </a:xfrm>
        </p:grpSpPr>
        <p:sp>
          <p:nvSpPr>
            <p:cNvPr id="63" name="Rectangle 62">
              <a:extLst>
                <a:ext uri="{FF2B5EF4-FFF2-40B4-BE49-F238E27FC236}">
                  <a16:creationId xmlns:a16="http://schemas.microsoft.com/office/drawing/2014/main" id="{B4EB6EC8-FB6F-4F9C-9507-04C2BFB013A2}"/>
                </a:ext>
              </a:extLst>
            </p:cNvPr>
            <p:cNvSpPr/>
            <p:nvPr/>
          </p:nvSpPr>
          <p:spPr>
            <a:xfrm>
              <a:off x="7716586" y="4661233"/>
              <a:ext cx="2851522" cy="1834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marL="171450" indent="-171450">
                <a:spcBef>
                  <a:spcPts val="500"/>
                </a:spcBef>
                <a:buClr>
                  <a:schemeClr val="tx1"/>
                </a:buClr>
                <a:buFont typeface="Wingdings" panose="05000000000000000000" pitchFamily="2" charset="2"/>
                <a:buChar char="§"/>
                <a:defRPr/>
              </a:pPr>
              <a:endParaRPr lang="en-US" sz="1200">
                <a:solidFill>
                  <a:schemeClr val="tx1"/>
                </a:solidFill>
              </a:endParaRPr>
            </a:p>
            <a:p>
              <a:pPr marL="171450" indent="-171450">
                <a:spcBef>
                  <a:spcPts val="500"/>
                </a:spcBef>
                <a:buClr>
                  <a:schemeClr val="tx1"/>
                </a:buClr>
                <a:buFont typeface="Wingdings" panose="05000000000000000000" pitchFamily="2" charset="2"/>
                <a:buChar char="§"/>
                <a:defRPr/>
              </a:pPr>
              <a:r>
                <a:rPr lang="en-US" sz="1200">
                  <a:solidFill>
                    <a:schemeClr val="tx1"/>
                  </a:solidFill>
                </a:rPr>
                <a:t>RFQ Workflow Review and Rollout (AL and EL Only)</a:t>
              </a:r>
            </a:p>
            <a:p>
              <a:pPr marL="171450" indent="-171450">
                <a:spcBef>
                  <a:spcPts val="500"/>
                </a:spcBef>
                <a:buClr>
                  <a:schemeClr val="tx1"/>
                </a:buClr>
                <a:buFont typeface="Wingdings" panose="05000000000000000000" pitchFamily="2" charset="2"/>
                <a:buChar char="§"/>
                <a:defRPr/>
              </a:pPr>
              <a:r>
                <a:rPr lang="en-US" sz="1200">
                  <a:solidFill>
                    <a:schemeClr val="tx1"/>
                  </a:solidFill>
                </a:rPr>
                <a:t>Ok To Quote</a:t>
              </a:r>
              <a:endParaRPr lang="en-US" sz="1200">
                <a:solidFill>
                  <a:schemeClr val="tx1"/>
                </a:solidFill>
                <a:latin typeface="Calibri" panose="020F0502020204030204" pitchFamily="34" charset="0"/>
              </a:endParaRPr>
            </a:p>
            <a:p>
              <a:pPr marL="171450" indent="-171450">
                <a:spcBef>
                  <a:spcPts val="500"/>
                </a:spcBef>
                <a:buClr>
                  <a:schemeClr val="tx1"/>
                </a:buClr>
                <a:buFont typeface="Wingdings" panose="05000000000000000000" pitchFamily="2" charset="2"/>
                <a:buChar char="§"/>
                <a:defRPr/>
              </a:pPr>
              <a:r>
                <a:rPr lang="en-IN" sz="1200">
                  <a:solidFill>
                    <a:schemeClr val="tx1"/>
                  </a:solidFill>
                </a:rPr>
                <a:t>New processes design </a:t>
              </a:r>
            </a:p>
            <a:p>
              <a:pPr marL="171450" indent="-171450">
                <a:spcBef>
                  <a:spcPts val="500"/>
                </a:spcBef>
                <a:buClr>
                  <a:schemeClr val="tx1"/>
                </a:buClr>
                <a:buFont typeface="Wingdings" panose="05000000000000000000" pitchFamily="2" charset="2"/>
                <a:buChar char="§"/>
                <a:defRPr/>
              </a:pPr>
              <a:r>
                <a:rPr lang="en-IN" sz="1200">
                  <a:solidFill>
                    <a:schemeClr val="tx1"/>
                  </a:solidFill>
                </a:rPr>
                <a:t>Integrations with other tools </a:t>
              </a:r>
            </a:p>
            <a:p>
              <a:pPr algn="ctr">
                <a:spcBef>
                  <a:spcPts val="500"/>
                </a:spcBef>
                <a:buClr>
                  <a:schemeClr val="accent1"/>
                </a:buClr>
                <a:defRPr/>
              </a:pPr>
              <a:endParaRPr lang="en-IN" sz="1200">
                <a:solidFill>
                  <a:schemeClr val="tx1"/>
                </a:solidFill>
              </a:endParaRPr>
            </a:p>
          </p:txBody>
        </p:sp>
        <p:sp>
          <p:nvSpPr>
            <p:cNvPr id="64" name="Oval 20">
              <a:extLst>
                <a:ext uri="{FF2B5EF4-FFF2-40B4-BE49-F238E27FC236}">
                  <a16:creationId xmlns:a16="http://schemas.microsoft.com/office/drawing/2014/main" id="{8002F7B9-A235-42F0-A296-A613982EB7BA}"/>
                </a:ext>
              </a:extLst>
            </p:cNvPr>
            <p:cNvSpPr/>
            <p:nvPr/>
          </p:nvSpPr>
          <p:spPr>
            <a:xfrm>
              <a:off x="8892621" y="3715639"/>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6</a:t>
              </a:r>
            </a:p>
          </p:txBody>
        </p:sp>
        <p:sp>
          <p:nvSpPr>
            <p:cNvPr id="65" name="Rounded Rectangle 13">
              <a:extLst>
                <a:ext uri="{FF2B5EF4-FFF2-40B4-BE49-F238E27FC236}">
                  <a16:creationId xmlns:a16="http://schemas.microsoft.com/office/drawing/2014/main" id="{09F3D04E-3629-4509-8471-39DF258B04D6}"/>
                </a:ext>
              </a:extLst>
            </p:cNvPr>
            <p:cNvSpPr/>
            <p:nvPr/>
          </p:nvSpPr>
          <p:spPr>
            <a:xfrm>
              <a:off x="7721134" y="4193788"/>
              <a:ext cx="2846974" cy="540000"/>
            </a:xfrm>
            <a:prstGeom prst="roundRect">
              <a:avLst>
                <a:gd name="adj" fmla="val 11033"/>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Streams</a:t>
              </a:r>
            </a:p>
          </p:txBody>
        </p:sp>
      </p:grpSp>
      <p:grpSp>
        <p:nvGrpSpPr>
          <p:cNvPr id="66" name="Group 65">
            <a:extLst>
              <a:ext uri="{FF2B5EF4-FFF2-40B4-BE49-F238E27FC236}">
                <a16:creationId xmlns:a16="http://schemas.microsoft.com/office/drawing/2014/main" id="{67882017-FF39-42D0-8560-D8981CB73382}"/>
              </a:ext>
            </a:extLst>
          </p:cNvPr>
          <p:cNvGrpSpPr/>
          <p:nvPr/>
        </p:nvGrpSpPr>
        <p:grpSpPr>
          <a:xfrm>
            <a:off x="7685301" y="3833020"/>
            <a:ext cx="2498297" cy="2500414"/>
            <a:chOff x="7716586" y="3715639"/>
            <a:chExt cx="2851522" cy="2779667"/>
          </a:xfrm>
        </p:grpSpPr>
        <p:sp>
          <p:nvSpPr>
            <p:cNvPr id="67" name="Rectangle 66">
              <a:extLst>
                <a:ext uri="{FF2B5EF4-FFF2-40B4-BE49-F238E27FC236}">
                  <a16:creationId xmlns:a16="http://schemas.microsoft.com/office/drawing/2014/main" id="{760D5D1C-4B10-43D0-994F-4CD9D26A21B2}"/>
                </a:ext>
              </a:extLst>
            </p:cNvPr>
            <p:cNvSpPr/>
            <p:nvPr/>
          </p:nvSpPr>
          <p:spPr>
            <a:xfrm>
              <a:off x="7716586" y="4661233"/>
              <a:ext cx="2851522" cy="1834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algn="ctr">
                <a:spcBef>
                  <a:spcPts val="500"/>
                </a:spcBef>
                <a:buClr>
                  <a:schemeClr val="accent1"/>
                </a:buClr>
                <a:defRPr/>
              </a:pPr>
              <a:r>
                <a:rPr lang="it-IT" sz="1200">
                  <a:solidFill>
                    <a:schemeClr val="tx1"/>
                  </a:solidFill>
                </a:rPr>
                <a:t>1 </a:t>
              </a:r>
              <a:r>
                <a:rPr lang="it-IT" sz="1200" err="1">
                  <a:solidFill>
                    <a:schemeClr val="tx1"/>
                  </a:solidFill>
                </a:rPr>
                <a:t>year</a:t>
              </a:r>
              <a:r>
                <a:rPr lang="it-IT" sz="1200">
                  <a:solidFill>
                    <a:schemeClr val="tx1"/>
                  </a:solidFill>
                </a:rPr>
                <a:t> Application </a:t>
              </a:r>
              <a:r>
                <a:rPr lang="it-IT" sz="1200" err="1">
                  <a:solidFill>
                    <a:schemeClr val="tx1"/>
                  </a:solidFill>
                </a:rPr>
                <a:t>Maintenance</a:t>
              </a:r>
              <a:r>
                <a:rPr lang="it-IT" sz="1200">
                  <a:solidFill>
                    <a:schemeClr val="tx1"/>
                  </a:solidFill>
                </a:rPr>
                <a:t> Service on Salesforce.com</a:t>
              </a:r>
              <a:endParaRPr lang="en-IN" sz="1200">
                <a:solidFill>
                  <a:schemeClr val="tx1"/>
                </a:solidFill>
              </a:endParaRPr>
            </a:p>
            <a:p>
              <a:pPr algn="ctr">
                <a:spcBef>
                  <a:spcPts val="500"/>
                </a:spcBef>
                <a:buClr>
                  <a:schemeClr val="accent1"/>
                </a:buClr>
                <a:defRPr/>
              </a:pPr>
              <a:endParaRPr lang="en-IN" sz="1200">
                <a:solidFill>
                  <a:schemeClr val="tx1"/>
                </a:solidFill>
              </a:endParaRPr>
            </a:p>
          </p:txBody>
        </p:sp>
        <p:sp>
          <p:nvSpPr>
            <p:cNvPr id="68" name="Oval 20">
              <a:extLst>
                <a:ext uri="{FF2B5EF4-FFF2-40B4-BE49-F238E27FC236}">
                  <a16:creationId xmlns:a16="http://schemas.microsoft.com/office/drawing/2014/main" id="{78E7FD95-4E29-4643-B5DA-8659B2FB5F55}"/>
                </a:ext>
              </a:extLst>
            </p:cNvPr>
            <p:cNvSpPr/>
            <p:nvPr/>
          </p:nvSpPr>
          <p:spPr>
            <a:xfrm>
              <a:off x="8892621" y="3715639"/>
              <a:ext cx="504000"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a:t>7</a:t>
              </a:r>
            </a:p>
          </p:txBody>
        </p:sp>
        <p:sp>
          <p:nvSpPr>
            <p:cNvPr id="69" name="Rounded Rectangle 13">
              <a:extLst>
                <a:ext uri="{FF2B5EF4-FFF2-40B4-BE49-F238E27FC236}">
                  <a16:creationId xmlns:a16="http://schemas.microsoft.com/office/drawing/2014/main" id="{ADCBF322-F1AB-458C-A573-F675C8843D00}"/>
                </a:ext>
              </a:extLst>
            </p:cNvPr>
            <p:cNvSpPr/>
            <p:nvPr/>
          </p:nvSpPr>
          <p:spPr>
            <a:xfrm>
              <a:off x="7721134" y="4193788"/>
              <a:ext cx="2846974" cy="540000"/>
            </a:xfrm>
            <a:prstGeom prst="roundRect">
              <a:avLst>
                <a:gd name="adj" fmla="val 1103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AMS Service</a:t>
              </a:r>
            </a:p>
          </p:txBody>
        </p:sp>
      </p:grpSp>
      <p:sp>
        <p:nvSpPr>
          <p:cNvPr id="70" name="TextBox 69">
            <a:extLst>
              <a:ext uri="{FF2B5EF4-FFF2-40B4-BE49-F238E27FC236}">
                <a16:creationId xmlns:a16="http://schemas.microsoft.com/office/drawing/2014/main" id="{C2F4B65F-FDB0-4D20-8E54-4FA7DE6F4F31}"/>
              </a:ext>
            </a:extLst>
          </p:cNvPr>
          <p:cNvSpPr txBox="1"/>
          <p:nvPr/>
        </p:nvSpPr>
        <p:spPr>
          <a:xfrm>
            <a:off x="133350" y="4152900"/>
            <a:ext cx="400110" cy="2314575"/>
          </a:xfrm>
          <a:prstGeom prst="rect">
            <a:avLst/>
          </a:prstGeom>
          <a:noFill/>
        </p:spPr>
        <p:txBody>
          <a:bodyPr vert="vert270" wrap="square" rtlCol="0">
            <a:spAutoFit/>
          </a:bodyPr>
          <a:lstStyle/>
          <a:p>
            <a:pPr algn="ctr"/>
            <a:r>
              <a:rPr lang="it-IT" sz="1400" b="1" i="1">
                <a:solidFill>
                  <a:srgbClr val="0070C0"/>
                </a:solidFill>
              </a:rPr>
              <a:t>Optional</a:t>
            </a:r>
          </a:p>
        </p:txBody>
      </p:sp>
      <p:sp>
        <p:nvSpPr>
          <p:cNvPr id="71" name="TextBox 70">
            <a:extLst>
              <a:ext uri="{FF2B5EF4-FFF2-40B4-BE49-F238E27FC236}">
                <a16:creationId xmlns:a16="http://schemas.microsoft.com/office/drawing/2014/main" id="{A68E7E61-1D9F-4964-8213-3668385A61D7}"/>
              </a:ext>
            </a:extLst>
          </p:cNvPr>
          <p:cNvSpPr txBox="1"/>
          <p:nvPr/>
        </p:nvSpPr>
        <p:spPr>
          <a:xfrm>
            <a:off x="133350" y="1468632"/>
            <a:ext cx="400110" cy="2314575"/>
          </a:xfrm>
          <a:prstGeom prst="rect">
            <a:avLst/>
          </a:prstGeom>
          <a:noFill/>
        </p:spPr>
        <p:txBody>
          <a:bodyPr vert="vert270" wrap="square" rtlCol="0">
            <a:spAutoFit/>
          </a:bodyPr>
          <a:lstStyle/>
          <a:p>
            <a:pPr algn="ctr"/>
            <a:r>
              <a:rPr lang="it-IT" sz="1400" b="1" i="1" err="1">
                <a:solidFill>
                  <a:srgbClr val="0070C0"/>
                </a:solidFill>
              </a:rPr>
              <a:t>Committed</a:t>
            </a:r>
            <a:endParaRPr lang="it-IT" sz="1400" b="1" i="1">
              <a:solidFill>
                <a:srgbClr val="0070C0"/>
              </a:solidFill>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625465" cy="422275"/>
          </a:xfrm>
          <a:prstGeom prst="rect">
            <a:avLst/>
          </a:prstGeom>
        </p:spPr>
        <p:txBody>
          <a:bodyPr vert="horz" wrap="square" lIns="0" tIns="12700" rIns="0" bIns="0" rtlCol="0">
            <a:spAutoFit/>
          </a:bodyPr>
          <a:lstStyle/>
          <a:p>
            <a:pPr marL="12700">
              <a:lnSpc>
                <a:spcPct val="100000"/>
              </a:lnSpc>
              <a:spcBef>
                <a:spcPts val="100"/>
              </a:spcBef>
            </a:pPr>
            <a:r>
              <a:rPr sz="2600"/>
              <a:t>Conference </a:t>
            </a:r>
            <a:r>
              <a:rPr sz="2600" spc="-15"/>
              <a:t>Room </a:t>
            </a:r>
            <a:r>
              <a:rPr sz="2600"/>
              <a:t>Pilots</a:t>
            </a:r>
            <a:r>
              <a:rPr sz="2600" spc="-135"/>
              <a:t> </a:t>
            </a:r>
            <a:r>
              <a:rPr sz="2600"/>
              <a:t>Approach</a:t>
            </a:r>
          </a:p>
        </p:txBody>
      </p:sp>
      <p:sp>
        <p:nvSpPr>
          <p:cNvPr id="3" name="object 3"/>
          <p:cNvSpPr txBox="1"/>
          <p:nvPr/>
        </p:nvSpPr>
        <p:spPr>
          <a:xfrm>
            <a:off x="251459" y="1129283"/>
            <a:ext cx="11689080" cy="868680"/>
          </a:xfrm>
          <a:prstGeom prst="rect">
            <a:avLst/>
          </a:prstGeom>
          <a:solidFill>
            <a:srgbClr val="421F5D"/>
          </a:solidFill>
        </p:spPr>
        <p:txBody>
          <a:bodyPr vert="horz" wrap="square" lIns="0" tIns="67310" rIns="0" bIns="0" rtlCol="0">
            <a:spAutoFit/>
          </a:bodyPr>
          <a:lstStyle/>
          <a:p>
            <a:pPr marL="91440">
              <a:lnSpc>
                <a:spcPct val="100000"/>
              </a:lnSpc>
              <a:spcBef>
                <a:spcPts val="530"/>
              </a:spcBef>
            </a:pPr>
            <a:r>
              <a:rPr sz="1200" b="1" spc="-5">
                <a:solidFill>
                  <a:srgbClr val="FFFFFF"/>
                </a:solidFill>
                <a:latin typeface="Verdana"/>
                <a:cs typeface="Verdana"/>
              </a:rPr>
              <a:t>There </a:t>
            </a:r>
            <a:r>
              <a:rPr sz="1200" b="1">
                <a:solidFill>
                  <a:srgbClr val="FFFFFF"/>
                </a:solidFill>
                <a:latin typeface="Verdana"/>
                <a:cs typeface="Verdana"/>
              </a:rPr>
              <a:t>are at </a:t>
            </a:r>
            <a:r>
              <a:rPr sz="1200" b="1" spc="-5">
                <a:solidFill>
                  <a:srgbClr val="FFFFFF"/>
                </a:solidFill>
                <a:latin typeface="Verdana"/>
                <a:cs typeface="Verdana"/>
              </a:rPr>
              <a:t>least three CRPs which include several sessions (for each capability) that occur across project</a:t>
            </a:r>
            <a:r>
              <a:rPr sz="1200" b="1" spc="85">
                <a:solidFill>
                  <a:srgbClr val="FFFFFF"/>
                </a:solidFill>
                <a:latin typeface="Verdana"/>
                <a:cs typeface="Verdana"/>
              </a:rPr>
              <a:t> </a:t>
            </a:r>
            <a:r>
              <a:rPr sz="1200" b="1" spc="-5">
                <a:solidFill>
                  <a:srgbClr val="FFFFFF"/>
                </a:solidFill>
                <a:latin typeface="Verdana"/>
                <a:cs typeface="Verdana"/>
              </a:rPr>
              <a:t>phases</a:t>
            </a:r>
            <a:endParaRPr sz="1200">
              <a:latin typeface="Verdana"/>
              <a:cs typeface="Verdana"/>
            </a:endParaRPr>
          </a:p>
          <a:p>
            <a:pPr marL="91440">
              <a:lnSpc>
                <a:spcPct val="100000"/>
              </a:lnSpc>
            </a:pPr>
            <a:r>
              <a:rPr sz="1200" spc="-5">
                <a:solidFill>
                  <a:srgbClr val="FFFFFF"/>
                </a:solidFill>
                <a:latin typeface="Verdana"/>
                <a:cs typeface="Verdana"/>
              </a:rPr>
              <a:t>Capgemini proposes our Conference Room Pilot (CRP) approach </a:t>
            </a:r>
            <a:r>
              <a:rPr sz="1200">
                <a:solidFill>
                  <a:srgbClr val="FFFFFF"/>
                </a:solidFill>
                <a:latin typeface="Verdana"/>
                <a:cs typeface="Verdana"/>
              </a:rPr>
              <a:t>for </a:t>
            </a:r>
            <a:r>
              <a:rPr sz="1200" spc="-5">
                <a:solidFill>
                  <a:srgbClr val="FFFFFF"/>
                </a:solidFill>
                <a:latin typeface="Verdana"/>
                <a:cs typeface="Verdana"/>
              </a:rPr>
              <a:t>Marelli to engage the </a:t>
            </a:r>
            <a:r>
              <a:rPr sz="1200" spc="-10">
                <a:solidFill>
                  <a:srgbClr val="FFFFFF"/>
                </a:solidFill>
                <a:latin typeface="Verdana"/>
                <a:cs typeface="Verdana"/>
              </a:rPr>
              <a:t>audience </a:t>
            </a:r>
            <a:r>
              <a:rPr sz="1200" spc="-5">
                <a:solidFill>
                  <a:srgbClr val="FFFFFF"/>
                </a:solidFill>
                <a:latin typeface="Verdana"/>
                <a:cs typeface="Verdana"/>
              </a:rPr>
              <a:t>in </a:t>
            </a:r>
            <a:r>
              <a:rPr sz="1200">
                <a:solidFill>
                  <a:srgbClr val="FFFFFF"/>
                </a:solidFill>
                <a:latin typeface="Verdana"/>
                <a:cs typeface="Verdana"/>
              </a:rPr>
              <a:t>a </a:t>
            </a:r>
            <a:r>
              <a:rPr sz="1200" spc="-10">
                <a:solidFill>
                  <a:srgbClr val="FFFFFF"/>
                </a:solidFill>
                <a:latin typeface="Verdana"/>
                <a:cs typeface="Verdana"/>
              </a:rPr>
              <a:t>dialog </a:t>
            </a:r>
            <a:r>
              <a:rPr sz="1200">
                <a:solidFill>
                  <a:srgbClr val="FFFFFF"/>
                </a:solidFill>
                <a:latin typeface="Verdana"/>
                <a:cs typeface="Verdana"/>
              </a:rPr>
              <a:t>of </a:t>
            </a:r>
            <a:r>
              <a:rPr sz="1200" spc="-5">
                <a:solidFill>
                  <a:srgbClr val="FFFFFF"/>
                </a:solidFill>
                <a:latin typeface="Verdana"/>
                <a:cs typeface="Verdana"/>
              </a:rPr>
              <a:t>Salesforce </a:t>
            </a:r>
            <a:r>
              <a:rPr sz="1200" spc="5">
                <a:solidFill>
                  <a:srgbClr val="FFFFFF"/>
                </a:solidFill>
                <a:latin typeface="Verdana"/>
                <a:cs typeface="Verdana"/>
              </a:rPr>
              <a:t>standards,</a:t>
            </a:r>
            <a:r>
              <a:rPr sz="1200" spc="270">
                <a:solidFill>
                  <a:srgbClr val="FFFFFF"/>
                </a:solidFill>
                <a:latin typeface="Verdana"/>
                <a:cs typeface="Verdana"/>
              </a:rPr>
              <a:t> </a:t>
            </a:r>
            <a:r>
              <a:rPr sz="1200" spc="-5">
                <a:solidFill>
                  <a:srgbClr val="FFFFFF"/>
                </a:solidFill>
                <a:latin typeface="Verdana"/>
                <a:cs typeface="Verdana"/>
              </a:rPr>
              <a:t>industry</a:t>
            </a:r>
            <a:endParaRPr sz="1200">
              <a:latin typeface="Verdana"/>
              <a:cs typeface="Verdana"/>
            </a:endParaRPr>
          </a:p>
          <a:p>
            <a:pPr marL="91440" marR="325755">
              <a:lnSpc>
                <a:spcPct val="100000"/>
              </a:lnSpc>
            </a:pPr>
            <a:r>
              <a:rPr sz="1200" spc="-5">
                <a:solidFill>
                  <a:srgbClr val="FFFFFF"/>
                </a:solidFill>
                <a:latin typeface="Verdana"/>
                <a:cs typeface="Verdana"/>
              </a:rPr>
              <a:t>standards, leading </a:t>
            </a:r>
            <a:r>
              <a:rPr sz="1200" spc="-10">
                <a:solidFill>
                  <a:srgbClr val="FFFFFF"/>
                </a:solidFill>
                <a:latin typeface="Verdana"/>
                <a:cs typeface="Verdana"/>
              </a:rPr>
              <a:t>practices, </a:t>
            </a:r>
            <a:r>
              <a:rPr sz="1200" spc="-5">
                <a:solidFill>
                  <a:srgbClr val="FFFFFF"/>
                </a:solidFill>
                <a:latin typeface="Verdana"/>
                <a:cs typeface="Verdana"/>
              </a:rPr>
              <a:t>and </a:t>
            </a:r>
            <a:r>
              <a:rPr sz="1200" spc="-10">
                <a:solidFill>
                  <a:srgbClr val="FFFFFF"/>
                </a:solidFill>
                <a:latin typeface="Verdana"/>
                <a:cs typeface="Verdana"/>
              </a:rPr>
              <a:t>Marelli’s </a:t>
            </a:r>
            <a:r>
              <a:rPr sz="1200" spc="-5">
                <a:solidFill>
                  <a:srgbClr val="FFFFFF"/>
                </a:solidFill>
                <a:latin typeface="Verdana"/>
                <a:cs typeface="Verdana"/>
              </a:rPr>
              <a:t>obligations and differentiators. The CRP methodology uses visuals </a:t>
            </a:r>
            <a:r>
              <a:rPr sz="1200">
                <a:solidFill>
                  <a:srgbClr val="FFFFFF"/>
                </a:solidFill>
                <a:latin typeface="Verdana"/>
                <a:cs typeface="Verdana"/>
              </a:rPr>
              <a:t>of </a:t>
            </a:r>
            <a:r>
              <a:rPr sz="1200" spc="-5">
                <a:solidFill>
                  <a:srgbClr val="FFFFFF"/>
                </a:solidFill>
                <a:latin typeface="Verdana"/>
                <a:cs typeface="Verdana"/>
              </a:rPr>
              <a:t>both the </a:t>
            </a:r>
            <a:r>
              <a:rPr sz="1200" spc="15">
                <a:solidFill>
                  <a:srgbClr val="FFFFFF"/>
                </a:solidFill>
                <a:latin typeface="Verdana"/>
                <a:cs typeface="Verdana"/>
              </a:rPr>
              <a:t>user </a:t>
            </a:r>
            <a:r>
              <a:rPr sz="1200" spc="-5">
                <a:solidFill>
                  <a:srgbClr val="FFFFFF"/>
                </a:solidFill>
                <a:latin typeface="Verdana"/>
                <a:cs typeface="Verdana"/>
              </a:rPr>
              <a:t>journeys </a:t>
            </a:r>
            <a:r>
              <a:rPr sz="1200">
                <a:solidFill>
                  <a:srgbClr val="FFFFFF"/>
                </a:solidFill>
                <a:latin typeface="Verdana"/>
                <a:cs typeface="Verdana"/>
              </a:rPr>
              <a:t>or </a:t>
            </a:r>
            <a:r>
              <a:rPr sz="1200" spc="-5">
                <a:solidFill>
                  <a:srgbClr val="FFFFFF"/>
                </a:solidFill>
                <a:latin typeface="Verdana"/>
                <a:cs typeface="Verdana"/>
              </a:rPr>
              <a:t>business  </a:t>
            </a:r>
            <a:r>
              <a:rPr sz="1200">
                <a:solidFill>
                  <a:srgbClr val="FFFFFF"/>
                </a:solidFill>
                <a:latin typeface="Verdana"/>
                <a:cs typeface="Verdana"/>
              </a:rPr>
              <a:t>process </a:t>
            </a:r>
            <a:r>
              <a:rPr sz="1200" spc="-5">
                <a:solidFill>
                  <a:srgbClr val="FFFFFF"/>
                </a:solidFill>
                <a:latin typeface="Verdana"/>
                <a:cs typeface="Verdana"/>
              </a:rPr>
              <a:t>flows and </a:t>
            </a:r>
            <a:r>
              <a:rPr sz="1200">
                <a:solidFill>
                  <a:srgbClr val="FFFFFF"/>
                </a:solidFill>
                <a:latin typeface="Verdana"/>
                <a:cs typeface="Verdana"/>
              </a:rPr>
              <a:t>a </a:t>
            </a:r>
            <a:r>
              <a:rPr sz="1200" spc="-5">
                <a:solidFill>
                  <a:srgbClr val="FFFFFF"/>
                </a:solidFill>
                <a:latin typeface="Verdana"/>
                <a:cs typeface="Verdana"/>
              </a:rPr>
              <a:t>sandbox environment to engage discussion to drive understanding and</a:t>
            </a:r>
            <a:r>
              <a:rPr sz="1200" spc="180">
                <a:solidFill>
                  <a:srgbClr val="FFFFFF"/>
                </a:solidFill>
                <a:latin typeface="Verdana"/>
                <a:cs typeface="Verdana"/>
              </a:rPr>
              <a:t> </a:t>
            </a:r>
            <a:r>
              <a:rPr sz="1200" spc="-5">
                <a:solidFill>
                  <a:srgbClr val="FFFFFF"/>
                </a:solidFill>
                <a:latin typeface="Verdana"/>
                <a:cs typeface="Verdana"/>
              </a:rPr>
              <a:t>alignment</a:t>
            </a:r>
            <a:endParaRPr sz="1200">
              <a:latin typeface="Verdana"/>
              <a:cs typeface="Verdana"/>
            </a:endParaRPr>
          </a:p>
        </p:txBody>
      </p:sp>
      <p:sp>
        <p:nvSpPr>
          <p:cNvPr id="4" name="object 4"/>
          <p:cNvSpPr txBox="1"/>
          <p:nvPr/>
        </p:nvSpPr>
        <p:spPr>
          <a:xfrm>
            <a:off x="391769" y="3704945"/>
            <a:ext cx="1663064" cy="2563495"/>
          </a:xfrm>
          <a:prstGeom prst="rect">
            <a:avLst/>
          </a:prstGeom>
        </p:spPr>
        <p:txBody>
          <a:bodyPr vert="horz" wrap="square" lIns="0" tIns="50800" rIns="0" bIns="0" rtlCol="0">
            <a:spAutoFit/>
          </a:bodyPr>
          <a:lstStyle/>
          <a:p>
            <a:pPr marL="12700">
              <a:lnSpc>
                <a:spcPct val="100000"/>
              </a:lnSpc>
              <a:spcBef>
                <a:spcPts val="400"/>
              </a:spcBef>
            </a:pPr>
            <a:r>
              <a:rPr sz="800" b="1">
                <a:latin typeface="Verdana"/>
                <a:cs typeface="Verdana"/>
              </a:rPr>
              <a:t>Session</a:t>
            </a:r>
            <a:r>
              <a:rPr sz="800" b="1" spc="-35">
                <a:latin typeface="Verdana"/>
                <a:cs typeface="Verdana"/>
              </a:rPr>
              <a:t> </a:t>
            </a:r>
            <a:r>
              <a:rPr sz="800" b="1" spc="-5">
                <a:latin typeface="Verdana"/>
                <a:cs typeface="Verdana"/>
              </a:rPr>
              <a:t>A:</a:t>
            </a:r>
            <a:endParaRPr sz="800">
              <a:latin typeface="Verdana"/>
              <a:cs typeface="Verdana"/>
            </a:endParaRPr>
          </a:p>
          <a:p>
            <a:pPr marL="127000" marR="30480" indent="-114300">
              <a:lnSpc>
                <a:spcPct val="100000"/>
              </a:lnSpc>
              <a:spcBef>
                <a:spcPts val="300"/>
              </a:spcBef>
              <a:buClr>
                <a:srgbClr val="006FAC"/>
              </a:buClr>
              <a:buFont typeface="Wingdings"/>
              <a:buChar char=""/>
              <a:tabLst>
                <a:tab pos="127000" algn="l"/>
              </a:tabLst>
            </a:pPr>
            <a:r>
              <a:rPr sz="800">
                <a:latin typeface="Verdana"/>
                <a:cs typeface="Verdana"/>
              </a:rPr>
              <a:t>Understand </a:t>
            </a:r>
            <a:r>
              <a:rPr sz="800" spc="-5">
                <a:latin typeface="Verdana"/>
                <a:cs typeface="Verdana"/>
              </a:rPr>
              <a:t>Marelli </a:t>
            </a:r>
            <a:r>
              <a:rPr sz="800">
                <a:latin typeface="Verdana"/>
                <a:cs typeface="Verdana"/>
              </a:rPr>
              <a:t>out of</a:t>
            </a:r>
            <a:r>
              <a:rPr sz="800" spc="-45">
                <a:latin typeface="Verdana"/>
                <a:cs typeface="Verdana"/>
              </a:rPr>
              <a:t> </a:t>
            </a:r>
            <a:r>
              <a:rPr sz="800" spc="-5">
                <a:latin typeface="Verdana"/>
                <a:cs typeface="Verdana"/>
              </a:rPr>
              <a:t>the  </a:t>
            </a:r>
            <a:r>
              <a:rPr sz="800">
                <a:latin typeface="Verdana"/>
                <a:cs typeface="Verdana"/>
              </a:rPr>
              <a:t>box capabilities through  </a:t>
            </a:r>
            <a:r>
              <a:rPr sz="800" spc="-5">
                <a:latin typeface="Verdana"/>
                <a:cs typeface="Verdana"/>
              </a:rPr>
              <a:t>Marelli</a:t>
            </a:r>
            <a:r>
              <a:rPr sz="800" spc="5">
                <a:latin typeface="Verdana"/>
                <a:cs typeface="Verdana"/>
              </a:rPr>
              <a:t> </a:t>
            </a:r>
            <a:r>
              <a:rPr sz="800">
                <a:latin typeface="Verdana"/>
                <a:cs typeface="Verdana"/>
              </a:rPr>
              <a:t>Experts</a:t>
            </a:r>
          </a:p>
          <a:p>
            <a:pPr marL="127000" marR="330200" indent="-114300">
              <a:lnSpc>
                <a:spcPct val="100000"/>
              </a:lnSpc>
              <a:spcBef>
                <a:spcPts val="300"/>
              </a:spcBef>
              <a:buClr>
                <a:srgbClr val="006FAC"/>
              </a:buClr>
              <a:buFont typeface="Wingdings"/>
              <a:buChar char=""/>
              <a:tabLst>
                <a:tab pos="127000" algn="l"/>
              </a:tabLst>
            </a:pPr>
            <a:r>
              <a:rPr sz="800">
                <a:latin typeface="Verdana"/>
                <a:cs typeface="Verdana"/>
              </a:rPr>
              <a:t>Understand business  </a:t>
            </a:r>
            <a:r>
              <a:rPr sz="800" spc="-5">
                <a:latin typeface="Verdana"/>
                <a:cs typeface="Verdana"/>
              </a:rPr>
              <a:t>objectives </a:t>
            </a:r>
            <a:r>
              <a:rPr sz="800">
                <a:latin typeface="Verdana"/>
                <a:cs typeface="Verdana"/>
              </a:rPr>
              <a:t>by</a:t>
            </a:r>
            <a:r>
              <a:rPr sz="800" spc="-65">
                <a:latin typeface="Verdana"/>
                <a:cs typeface="Verdana"/>
              </a:rPr>
              <a:t> </a:t>
            </a:r>
            <a:r>
              <a:rPr sz="800">
                <a:latin typeface="Verdana"/>
                <a:cs typeface="Verdana"/>
              </a:rPr>
              <a:t>capability</a:t>
            </a:r>
          </a:p>
          <a:p>
            <a:pPr marL="12700">
              <a:lnSpc>
                <a:spcPct val="100000"/>
              </a:lnSpc>
              <a:spcBef>
                <a:spcPts val="300"/>
              </a:spcBef>
            </a:pPr>
            <a:r>
              <a:rPr sz="800" b="1">
                <a:latin typeface="Verdana"/>
                <a:cs typeface="Verdana"/>
              </a:rPr>
              <a:t>Session</a:t>
            </a:r>
            <a:r>
              <a:rPr sz="800" b="1" spc="-35">
                <a:latin typeface="Verdana"/>
                <a:cs typeface="Verdana"/>
              </a:rPr>
              <a:t> </a:t>
            </a:r>
            <a:r>
              <a:rPr sz="800" b="1">
                <a:latin typeface="Verdana"/>
                <a:cs typeface="Verdana"/>
              </a:rPr>
              <a:t>B:</a:t>
            </a:r>
            <a:endParaRPr sz="800">
              <a:latin typeface="Verdana"/>
              <a:cs typeface="Verdana"/>
            </a:endParaRPr>
          </a:p>
          <a:p>
            <a:pPr marL="127000" marR="5080" indent="-114300">
              <a:lnSpc>
                <a:spcPct val="100000"/>
              </a:lnSpc>
              <a:spcBef>
                <a:spcPts val="300"/>
              </a:spcBef>
              <a:buClr>
                <a:srgbClr val="006FAC"/>
              </a:buClr>
              <a:buFont typeface="Wingdings"/>
              <a:buChar char=""/>
              <a:tabLst>
                <a:tab pos="127000" algn="l"/>
              </a:tabLst>
            </a:pPr>
            <a:r>
              <a:rPr sz="800">
                <a:latin typeface="Verdana"/>
                <a:cs typeface="Verdana"/>
              </a:rPr>
              <a:t>Review Business Processes  </a:t>
            </a:r>
            <a:r>
              <a:rPr sz="800" spc="-5">
                <a:latin typeface="Verdana"/>
                <a:cs typeface="Verdana"/>
              </a:rPr>
              <a:t>and </a:t>
            </a:r>
            <a:r>
              <a:rPr sz="800">
                <a:latin typeface="Verdana"/>
                <a:cs typeface="Verdana"/>
              </a:rPr>
              <a:t>Use Cases </a:t>
            </a:r>
            <a:r>
              <a:rPr sz="800" spc="-5">
                <a:latin typeface="Verdana"/>
                <a:cs typeface="Verdana"/>
              </a:rPr>
              <a:t>against Marelli  application Capabilities</a:t>
            </a:r>
            <a:endParaRPr sz="800">
              <a:latin typeface="Verdana"/>
              <a:cs typeface="Verdana"/>
            </a:endParaRPr>
          </a:p>
          <a:p>
            <a:pPr marL="12700">
              <a:lnSpc>
                <a:spcPct val="100000"/>
              </a:lnSpc>
              <a:spcBef>
                <a:spcPts val="300"/>
              </a:spcBef>
            </a:pPr>
            <a:r>
              <a:rPr sz="800" b="1">
                <a:latin typeface="Verdana"/>
                <a:cs typeface="Verdana"/>
              </a:rPr>
              <a:t>Session</a:t>
            </a:r>
            <a:r>
              <a:rPr sz="800" b="1" spc="-35">
                <a:latin typeface="Verdana"/>
                <a:cs typeface="Verdana"/>
              </a:rPr>
              <a:t> </a:t>
            </a:r>
            <a:r>
              <a:rPr sz="800" b="1" spc="-5">
                <a:latin typeface="Verdana"/>
                <a:cs typeface="Verdana"/>
              </a:rPr>
              <a:t>C:</a:t>
            </a:r>
            <a:endParaRPr sz="800">
              <a:latin typeface="Verdana"/>
              <a:cs typeface="Verdana"/>
            </a:endParaRPr>
          </a:p>
          <a:p>
            <a:pPr marL="127000" marR="201295" indent="-114300">
              <a:lnSpc>
                <a:spcPct val="100000"/>
              </a:lnSpc>
              <a:spcBef>
                <a:spcPts val="300"/>
              </a:spcBef>
              <a:buClr>
                <a:srgbClr val="006FAC"/>
              </a:buClr>
              <a:buFont typeface="Wingdings"/>
              <a:buChar char=""/>
              <a:tabLst>
                <a:tab pos="127000" algn="l"/>
              </a:tabLst>
            </a:pPr>
            <a:r>
              <a:rPr sz="800">
                <a:latin typeface="Verdana"/>
                <a:cs typeface="Verdana"/>
              </a:rPr>
              <a:t>Identify GAP Solution</a:t>
            </a:r>
            <a:r>
              <a:rPr sz="800" spc="-45">
                <a:latin typeface="Verdana"/>
                <a:cs typeface="Verdana"/>
              </a:rPr>
              <a:t> </a:t>
            </a:r>
            <a:r>
              <a:rPr sz="800" spc="-5">
                <a:latin typeface="Verdana"/>
                <a:cs typeface="Verdana"/>
              </a:rPr>
              <a:t>and  timeline</a:t>
            </a:r>
            <a:endParaRPr sz="800">
              <a:latin typeface="Verdana"/>
              <a:cs typeface="Verdana"/>
            </a:endParaRPr>
          </a:p>
          <a:p>
            <a:pPr marL="12700">
              <a:lnSpc>
                <a:spcPct val="100000"/>
              </a:lnSpc>
              <a:spcBef>
                <a:spcPts val="300"/>
              </a:spcBef>
            </a:pPr>
            <a:r>
              <a:rPr sz="800" b="1">
                <a:latin typeface="Verdana"/>
                <a:cs typeface="Verdana"/>
              </a:rPr>
              <a:t>Session</a:t>
            </a:r>
            <a:r>
              <a:rPr sz="800" b="1" spc="-35">
                <a:latin typeface="Verdana"/>
                <a:cs typeface="Verdana"/>
              </a:rPr>
              <a:t> </a:t>
            </a:r>
            <a:r>
              <a:rPr sz="800" b="1">
                <a:latin typeface="Verdana"/>
                <a:cs typeface="Verdana"/>
              </a:rPr>
              <a:t>D:</a:t>
            </a:r>
            <a:endParaRPr sz="800">
              <a:latin typeface="Verdana"/>
              <a:cs typeface="Verdana"/>
            </a:endParaRPr>
          </a:p>
          <a:p>
            <a:pPr marL="127000" marR="47625" indent="-114300">
              <a:lnSpc>
                <a:spcPct val="100000"/>
              </a:lnSpc>
              <a:spcBef>
                <a:spcPts val="300"/>
              </a:spcBef>
              <a:buClr>
                <a:srgbClr val="006FAC"/>
              </a:buClr>
              <a:buFont typeface="Wingdings"/>
              <a:buChar char=""/>
              <a:tabLst>
                <a:tab pos="127000" algn="l"/>
              </a:tabLst>
            </a:pPr>
            <a:r>
              <a:rPr sz="800">
                <a:latin typeface="Verdana"/>
                <a:cs typeface="Verdana"/>
              </a:rPr>
              <a:t>Lock Release Scope-  </a:t>
            </a:r>
            <a:r>
              <a:rPr sz="800" spc="-5">
                <a:latin typeface="Verdana"/>
                <a:cs typeface="Verdana"/>
              </a:rPr>
              <a:t>Requirements, </a:t>
            </a:r>
            <a:r>
              <a:rPr sz="800">
                <a:latin typeface="Verdana"/>
                <a:cs typeface="Verdana"/>
              </a:rPr>
              <a:t>Interfaces,  Conversions,</a:t>
            </a:r>
            <a:r>
              <a:rPr sz="800" spc="-45">
                <a:latin typeface="Verdana"/>
                <a:cs typeface="Verdana"/>
              </a:rPr>
              <a:t> </a:t>
            </a:r>
            <a:r>
              <a:rPr sz="800" spc="-5">
                <a:latin typeface="Verdana"/>
                <a:cs typeface="Verdana"/>
              </a:rPr>
              <a:t>Enhancements,  </a:t>
            </a:r>
            <a:r>
              <a:rPr sz="800">
                <a:latin typeface="Verdana"/>
                <a:cs typeface="Verdana"/>
              </a:rPr>
              <a:t>Workflows</a:t>
            </a:r>
          </a:p>
        </p:txBody>
      </p:sp>
      <p:sp>
        <p:nvSpPr>
          <p:cNvPr id="5" name="object 5"/>
          <p:cNvSpPr txBox="1"/>
          <p:nvPr/>
        </p:nvSpPr>
        <p:spPr>
          <a:xfrm>
            <a:off x="2245867" y="3704945"/>
            <a:ext cx="1668145" cy="1679575"/>
          </a:xfrm>
          <a:prstGeom prst="rect">
            <a:avLst/>
          </a:prstGeom>
        </p:spPr>
        <p:txBody>
          <a:bodyPr vert="horz" wrap="square" lIns="0" tIns="50800" rIns="0" bIns="0" rtlCol="0">
            <a:spAutoFit/>
          </a:bodyPr>
          <a:lstStyle/>
          <a:p>
            <a:pPr marL="12700">
              <a:lnSpc>
                <a:spcPct val="100000"/>
              </a:lnSpc>
              <a:spcBef>
                <a:spcPts val="400"/>
              </a:spcBef>
            </a:pPr>
            <a:r>
              <a:rPr sz="800" b="1">
                <a:latin typeface="Verdana"/>
                <a:cs typeface="Verdana"/>
              </a:rPr>
              <a:t>Session</a:t>
            </a:r>
            <a:r>
              <a:rPr sz="800" b="1" spc="-35">
                <a:latin typeface="Verdana"/>
                <a:cs typeface="Verdana"/>
              </a:rPr>
              <a:t> </a:t>
            </a:r>
            <a:r>
              <a:rPr sz="800" b="1" spc="-5">
                <a:latin typeface="Verdana"/>
                <a:cs typeface="Verdana"/>
              </a:rPr>
              <a:t>A:</a:t>
            </a:r>
            <a:endParaRPr sz="800">
              <a:latin typeface="Verdana"/>
              <a:cs typeface="Verdana"/>
            </a:endParaRPr>
          </a:p>
          <a:p>
            <a:pPr marL="127000" marR="5080" indent="-114300">
              <a:lnSpc>
                <a:spcPct val="100000"/>
              </a:lnSpc>
              <a:spcBef>
                <a:spcPts val="300"/>
              </a:spcBef>
              <a:buClr>
                <a:srgbClr val="006FAC"/>
              </a:buClr>
              <a:buFont typeface="Wingdings"/>
              <a:buChar char=""/>
              <a:tabLst>
                <a:tab pos="127000" algn="l"/>
              </a:tabLst>
            </a:pPr>
            <a:r>
              <a:rPr sz="800">
                <a:latin typeface="Verdana"/>
                <a:cs typeface="Verdana"/>
              </a:rPr>
              <a:t>Review configured</a:t>
            </a:r>
            <a:r>
              <a:rPr sz="800" spc="-45">
                <a:latin typeface="Verdana"/>
                <a:cs typeface="Verdana"/>
              </a:rPr>
              <a:t> </a:t>
            </a:r>
            <a:r>
              <a:rPr sz="800" spc="-5">
                <a:latin typeface="Verdana"/>
                <a:cs typeface="Verdana"/>
              </a:rPr>
              <a:t>application  </a:t>
            </a:r>
            <a:r>
              <a:rPr sz="800">
                <a:latin typeface="Verdana"/>
                <a:cs typeface="Verdana"/>
              </a:rPr>
              <a:t>design </a:t>
            </a:r>
            <a:r>
              <a:rPr sz="800" spc="-5">
                <a:latin typeface="Verdana"/>
                <a:cs typeface="Verdana"/>
              </a:rPr>
              <a:t>against </a:t>
            </a:r>
            <a:r>
              <a:rPr sz="800">
                <a:latin typeface="Verdana"/>
                <a:cs typeface="Verdana"/>
              </a:rPr>
              <a:t>business  process enhancements. </a:t>
            </a:r>
            <a:r>
              <a:rPr sz="800" spc="-5">
                <a:latin typeface="Verdana"/>
                <a:cs typeface="Verdana"/>
              </a:rPr>
              <a:t>Take  </a:t>
            </a:r>
            <a:r>
              <a:rPr sz="800">
                <a:latin typeface="Verdana"/>
                <a:cs typeface="Verdana"/>
              </a:rPr>
              <a:t>feedback </a:t>
            </a:r>
            <a:r>
              <a:rPr sz="800" spc="-5">
                <a:latin typeface="Verdana"/>
                <a:cs typeface="Verdana"/>
              </a:rPr>
              <a:t>and </a:t>
            </a:r>
            <a:r>
              <a:rPr sz="800">
                <a:latin typeface="Verdana"/>
                <a:cs typeface="Verdana"/>
              </a:rPr>
              <a:t>make </a:t>
            </a:r>
            <a:r>
              <a:rPr sz="800" spc="-5">
                <a:latin typeface="Verdana"/>
                <a:cs typeface="Verdana"/>
              </a:rPr>
              <a:t>real-time  </a:t>
            </a:r>
            <a:r>
              <a:rPr sz="800">
                <a:latin typeface="Verdana"/>
                <a:cs typeface="Verdana"/>
              </a:rPr>
              <a:t>design</a:t>
            </a:r>
            <a:r>
              <a:rPr sz="800" spc="-5">
                <a:latin typeface="Verdana"/>
                <a:cs typeface="Verdana"/>
              </a:rPr>
              <a:t> </a:t>
            </a:r>
            <a:r>
              <a:rPr sz="800">
                <a:latin typeface="Verdana"/>
                <a:cs typeface="Verdana"/>
              </a:rPr>
              <a:t>changes</a:t>
            </a:r>
          </a:p>
          <a:p>
            <a:pPr marL="12700">
              <a:lnSpc>
                <a:spcPct val="100000"/>
              </a:lnSpc>
              <a:spcBef>
                <a:spcPts val="300"/>
              </a:spcBef>
            </a:pPr>
            <a:r>
              <a:rPr sz="800" b="1">
                <a:latin typeface="Verdana"/>
                <a:cs typeface="Verdana"/>
              </a:rPr>
              <a:t>Session</a:t>
            </a:r>
            <a:r>
              <a:rPr sz="800" b="1" spc="-35">
                <a:latin typeface="Verdana"/>
                <a:cs typeface="Verdana"/>
              </a:rPr>
              <a:t> </a:t>
            </a:r>
            <a:r>
              <a:rPr sz="800" b="1">
                <a:latin typeface="Verdana"/>
                <a:cs typeface="Verdana"/>
              </a:rPr>
              <a:t>B:</a:t>
            </a:r>
            <a:endParaRPr sz="800">
              <a:latin typeface="Verdana"/>
              <a:cs typeface="Verdana"/>
            </a:endParaRPr>
          </a:p>
          <a:p>
            <a:pPr marL="127000" marR="81280" indent="-114300">
              <a:lnSpc>
                <a:spcPct val="100000"/>
              </a:lnSpc>
              <a:spcBef>
                <a:spcPts val="300"/>
              </a:spcBef>
              <a:buClr>
                <a:srgbClr val="006FAC"/>
              </a:buClr>
              <a:buFont typeface="Wingdings"/>
              <a:buChar char=""/>
              <a:tabLst>
                <a:tab pos="127000" algn="l"/>
              </a:tabLst>
            </a:pPr>
            <a:r>
              <a:rPr sz="800">
                <a:latin typeface="Verdana"/>
                <a:cs typeface="Verdana"/>
              </a:rPr>
              <a:t>Review </a:t>
            </a:r>
            <a:r>
              <a:rPr sz="800" spc="-5">
                <a:latin typeface="Verdana"/>
                <a:cs typeface="Verdana"/>
              </a:rPr>
              <a:t>full </a:t>
            </a:r>
            <a:r>
              <a:rPr sz="800">
                <a:latin typeface="Verdana"/>
                <a:cs typeface="Verdana"/>
              </a:rPr>
              <a:t>capability</a:t>
            </a:r>
            <a:r>
              <a:rPr sz="800" spc="-35">
                <a:latin typeface="Verdana"/>
                <a:cs typeface="Verdana"/>
              </a:rPr>
              <a:t> </a:t>
            </a:r>
            <a:r>
              <a:rPr sz="800">
                <a:latin typeface="Verdana"/>
                <a:cs typeface="Verdana"/>
              </a:rPr>
              <a:t>design  </a:t>
            </a:r>
            <a:r>
              <a:rPr sz="800" spc="-5">
                <a:latin typeface="Verdana"/>
                <a:cs typeface="Verdana"/>
              </a:rPr>
              <a:t>in the application. Take  </a:t>
            </a:r>
            <a:r>
              <a:rPr sz="800">
                <a:latin typeface="Verdana"/>
                <a:cs typeface="Verdana"/>
              </a:rPr>
              <a:t>feedback </a:t>
            </a:r>
            <a:r>
              <a:rPr sz="800" spc="-5">
                <a:latin typeface="Verdana"/>
                <a:cs typeface="Verdana"/>
              </a:rPr>
              <a:t>and</a:t>
            </a:r>
            <a:r>
              <a:rPr sz="800" spc="-35">
                <a:latin typeface="Verdana"/>
                <a:cs typeface="Verdana"/>
              </a:rPr>
              <a:t> </a:t>
            </a:r>
            <a:r>
              <a:rPr sz="800">
                <a:latin typeface="Verdana"/>
                <a:cs typeface="Verdana"/>
              </a:rPr>
              <a:t>make</a:t>
            </a:r>
          </a:p>
          <a:p>
            <a:pPr marL="127000">
              <a:lnSpc>
                <a:spcPct val="100000"/>
              </a:lnSpc>
            </a:pPr>
            <a:r>
              <a:rPr sz="800" spc="-5">
                <a:latin typeface="Verdana"/>
                <a:cs typeface="Verdana"/>
              </a:rPr>
              <a:t>real-time </a:t>
            </a:r>
            <a:r>
              <a:rPr sz="800">
                <a:latin typeface="Verdana"/>
                <a:cs typeface="Verdana"/>
              </a:rPr>
              <a:t>design</a:t>
            </a:r>
            <a:r>
              <a:rPr sz="800" spc="-60">
                <a:latin typeface="Verdana"/>
                <a:cs typeface="Verdana"/>
              </a:rPr>
              <a:t> </a:t>
            </a:r>
            <a:r>
              <a:rPr sz="800">
                <a:latin typeface="Verdana"/>
                <a:cs typeface="Verdana"/>
              </a:rPr>
              <a:t>changes</a:t>
            </a:r>
          </a:p>
          <a:p>
            <a:pPr marL="127000" indent="-114300">
              <a:lnSpc>
                <a:spcPct val="100000"/>
              </a:lnSpc>
              <a:spcBef>
                <a:spcPts val="300"/>
              </a:spcBef>
              <a:buClr>
                <a:srgbClr val="006FAC"/>
              </a:buClr>
              <a:buFont typeface="Wingdings"/>
              <a:buChar char=""/>
              <a:tabLst>
                <a:tab pos="127000" algn="l"/>
              </a:tabLst>
            </a:pPr>
            <a:r>
              <a:rPr sz="800">
                <a:latin typeface="Verdana"/>
                <a:cs typeface="Verdana"/>
              </a:rPr>
              <a:t>Sign off on design</a:t>
            </a:r>
          </a:p>
        </p:txBody>
      </p:sp>
      <p:sp>
        <p:nvSpPr>
          <p:cNvPr id="6" name="object 6"/>
          <p:cNvSpPr txBox="1"/>
          <p:nvPr/>
        </p:nvSpPr>
        <p:spPr>
          <a:xfrm>
            <a:off x="4101846" y="3704945"/>
            <a:ext cx="1684020" cy="833119"/>
          </a:xfrm>
          <a:prstGeom prst="rect">
            <a:avLst/>
          </a:prstGeom>
        </p:spPr>
        <p:txBody>
          <a:bodyPr vert="horz" wrap="square" lIns="0" tIns="50800" rIns="0" bIns="0" rtlCol="0">
            <a:spAutoFit/>
          </a:bodyPr>
          <a:lstStyle/>
          <a:p>
            <a:pPr marL="12700">
              <a:lnSpc>
                <a:spcPct val="100000"/>
              </a:lnSpc>
              <a:spcBef>
                <a:spcPts val="400"/>
              </a:spcBef>
            </a:pPr>
            <a:r>
              <a:rPr sz="800" b="1">
                <a:latin typeface="Verdana"/>
                <a:cs typeface="Verdana"/>
              </a:rPr>
              <a:t>Session</a:t>
            </a:r>
            <a:r>
              <a:rPr sz="800" b="1" spc="-35">
                <a:latin typeface="Verdana"/>
                <a:cs typeface="Verdana"/>
              </a:rPr>
              <a:t> </a:t>
            </a:r>
            <a:r>
              <a:rPr sz="800" b="1" spc="-5">
                <a:latin typeface="Verdana"/>
                <a:cs typeface="Verdana"/>
              </a:rPr>
              <a:t>A:</a:t>
            </a:r>
            <a:endParaRPr sz="800">
              <a:latin typeface="Verdana"/>
              <a:cs typeface="Verdana"/>
            </a:endParaRPr>
          </a:p>
          <a:p>
            <a:pPr marL="127000" marR="5080" indent="-114300">
              <a:lnSpc>
                <a:spcPct val="100000"/>
              </a:lnSpc>
              <a:spcBef>
                <a:spcPts val="300"/>
              </a:spcBef>
              <a:buClr>
                <a:srgbClr val="006FAC"/>
              </a:buClr>
              <a:buFont typeface="Wingdings"/>
              <a:buChar char=""/>
              <a:tabLst>
                <a:tab pos="127000" algn="l"/>
              </a:tabLst>
            </a:pPr>
            <a:r>
              <a:rPr sz="800">
                <a:latin typeface="Verdana"/>
                <a:cs typeface="Verdana"/>
              </a:rPr>
              <a:t>Review configured </a:t>
            </a:r>
            <a:r>
              <a:rPr sz="800" spc="-5">
                <a:latin typeface="Verdana"/>
                <a:cs typeface="Verdana"/>
              </a:rPr>
              <a:t>and </a:t>
            </a:r>
            <a:r>
              <a:rPr sz="800">
                <a:latin typeface="Verdana"/>
                <a:cs typeface="Verdana"/>
              </a:rPr>
              <a:t>near-  working </a:t>
            </a:r>
            <a:r>
              <a:rPr sz="800" spc="-5">
                <a:latin typeface="Verdana"/>
                <a:cs typeface="Verdana"/>
              </a:rPr>
              <a:t>application. </a:t>
            </a:r>
            <a:r>
              <a:rPr sz="800">
                <a:latin typeface="Verdana"/>
                <a:cs typeface="Verdana"/>
              </a:rPr>
              <a:t>Any  </a:t>
            </a:r>
            <a:r>
              <a:rPr sz="800" spc="-5">
                <a:latin typeface="Verdana"/>
                <a:cs typeface="Verdana"/>
              </a:rPr>
              <a:t>iterative </a:t>
            </a:r>
            <a:r>
              <a:rPr sz="800">
                <a:latin typeface="Verdana"/>
                <a:cs typeface="Verdana"/>
              </a:rPr>
              <a:t>development  changes </a:t>
            </a:r>
            <a:r>
              <a:rPr sz="800" spc="-5">
                <a:latin typeface="Verdana"/>
                <a:cs typeface="Verdana"/>
              </a:rPr>
              <a:t>that </a:t>
            </a:r>
            <a:r>
              <a:rPr sz="800">
                <a:latin typeface="Verdana"/>
                <a:cs typeface="Verdana"/>
              </a:rPr>
              <a:t>can be</a:t>
            </a:r>
            <a:r>
              <a:rPr sz="800" spc="-70">
                <a:latin typeface="Verdana"/>
                <a:cs typeface="Verdana"/>
              </a:rPr>
              <a:t> </a:t>
            </a:r>
            <a:r>
              <a:rPr sz="800">
                <a:latin typeface="Verdana"/>
                <a:cs typeface="Verdana"/>
              </a:rPr>
              <a:t>absorbed  </a:t>
            </a:r>
            <a:r>
              <a:rPr sz="800" spc="-5">
                <a:latin typeface="Verdana"/>
                <a:cs typeface="Verdana"/>
              </a:rPr>
              <a:t>will </a:t>
            </a:r>
            <a:r>
              <a:rPr sz="800">
                <a:latin typeface="Verdana"/>
                <a:cs typeface="Verdana"/>
              </a:rPr>
              <a:t>be</a:t>
            </a:r>
            <a:r>
              <a:rPr sz="800" spc="10">
                <a:latin typeface="Verdana"/>
                <a:cs typeface="Verdana"/>
              </a:rPr>
              <a:t> </a:t>
            </a:r>
            <a:r>
              <a:rPr sz="800">
                <a:latin typeface="Verdana"/>
                <a:cs typeface="Verdana"/>
              </a:rPr>
              <a:t>done</a:t>
            </a:r>
          </a:p>
        </p:txBody>
      </p:sp>
      <p:sp>
        <p:nvSpPr>
          <p:cNvPr id="7" name="object 7"/>
          <p:cNvSpPr/>
          <p:nvPr/>
        </p:nvSpPr>
        <p:spPr>
          <a:xfrm>
            <a:off x="358140" y="3369564"/>
            <a:ext cx="1905000" cy="338455"/>
          </a:xfrm>
          <a:custGeom>
            <a:avLst/>
            <a:gdLst/>
            <a:ahLst/>
            <a:cxnLst/>
            <a:rect l="l" t="t" r="r" b="b"/>
            <a:pathLst>
              <a:path w="1905000" h="338454">
                <a:moveTo>
                  <a:pt x="1735836" y="0"/>
                </a:moveTo>
                <a:lnTo>
                  <a:pt x="0" y="0"/>
                </a:lnTo>
                <a:lnTo>
                  <a:pt x="169164" y="169163"/>
                </a:lnTo>
                <a:lnTo>
                  <a:pt x="0" y="338328"/>
                </a:lnTo>
                <a:lnTo>
                  <a:pt x="1735836" y="338328"/>
                </a:lnTo>
                <a:lnTo>
                  <a:pt x="1905000" y="169163"/>
                </a:lnTo>
                <a:lnTo>
                  <a:pt x="1735836" y="0"/>
                </a:lnTo>
                <a:close/>
              </a:path>
            </a:pathLst>
          </a:custGeom>
          <a:solidFill>
            <a:srgbClr val="09556C"/>
          </a:solidFill>
        </p:spPr>
        <p:txBody>
          <a:bodyPr wrap="square" lIns="0" tIns="0" rIns="0" bIns="0" rtlCol="0"/>
          <a:lstStyle/>
          <a:p>
            <a:endParaRPr/>
          </a:p>
        </p:txBody>
      </p:sp>
      <p:sp>
        <p:nvSpPr>
          <p:cNvPr id="8" name="object 8"/>
          <p:cNvSpPr txBox="1"/>
          <p:nvPr/>
        </p:nvSpPr>
        <p:spPr>
          <a:xfrm>
            <a:off x="766673" y="3451098"/>
            <a:ext cx="108712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Plan &amp;</a:t>
            </a:r>
            <a:r>
              <a:rPr sz="1000" b="1" spc="-65">
                <a:solidFill>
                  <a:srgbClr val="FFFFFF"/>
                </a:solidFill>
                <a:latin typeface="Verdana"/>
                <a:cs typeface="Verdana"/>
              </a:rPr>
              <a:t> </a:t>
            </a:r>
            <a:r>
              <a:rPr sz="1000" b="1" spc="-10">
                <a:solidFill>
                  <a:srgbClr val="FFFFFF"/>
                </a:solidFill>
                <a:latin typeface="Verdana"/>
                <a:cs typeface="Verdana"/>
              </a:rPr>
              <a:t>Analyze</a:t>
            </a:r>
            <a:endParaRPr sz="1000">
              <a:latin typeface="Verdana"/>
              <a:cs typeface="Verdana"/>
            </a:endParaRPr>
          </a:p>
        </p:txBody>
      </p:sp>
      <p:sp>
        <p:nvSpPr>
          <p:cNvPr id="9" name="object 9"/>
          <p:cNvSpPr/>
          <p:nvPr/>
        </p:nvSpPr>
        <p:spPr>
          <a:xfrm>
            <a:off x="2212848" y="3369564"/>
            <a:ext cx="1903730" cy="338455"/>
          </a:xfrm>
          <a:custGeom>
            <a:avLst/>
            <a:gdLst/>
            <a:ahLst/>
            <a:cxnLst/>
            <a:rect l="l" t="t" r="r" b="b"/>
            <a:pathLst>
              <a:path w="1903729" h="338454">
                <a:moveTo>
                  <a:pt x="1734312" y="0"/>
                </a:moveTo>
                <a:lnTo>
                  <a:pt x="0" y="0"/>
                </a:lnTo>
                <a:lnTo>
                  <a:pt x="169163" y="169163"/>
                </a:lnTo>
                <a:lnTo>
                  <a:pt x="0" y="338328"/>
                </a:lnTo>
                <a:lnTo>
                  <a:pt x="1734312" y="338328"/>
                </a:lnTo>
                <a:lnTo>
                  <a:pt x="1903476" y="169163"/>
                </a:lnTo>
                <a:lnTo>
                  <a:pt x="1734312" y="0"/>
                </a:lnTo>
                <a:close/>
              </a:path>
            </a:pathLst>
          </a:custGeom>
          <a:solidFill>
            <a:srgbClr val="09556C"/>
          </a:solidFill>
        </p:spPr>
        <p:txBody>
          <a:bodyPr wrap="square" lIns="0" tIns="0" rIns="0" bIns="0" rtlCol="0"/>
          <a:lstStyle/>
          <a:p>
            <a:endParaRPr/>
          </a:p>
        </p:txBody>
      </p:sp>
      <p:sp>
        <p:nvSpPr>
          <p:cNvPr id="10" name="object 10"/>
          <p:cNvSpPr txBox="1"/>
          <p:nvPr/>
        </p:nvSpPr>
        <p:spPr>
          <a:xfrm>
            <a:off x="2909061" y="3451098"/>
            <a:ext cx="51054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Des</a:t>
            </a:r>
            <a:r>
              <a:rPr sz="1000" b="1" spc="-15">
                <a:solidFill>
                  <a:srgbClr val="FFFFFF"/>
                </a:solidFill>
                <a:latin typeface="Verdana"/>
                <a:cs typeface="Verdana"/>
              </a:rPr>
              <a:t>i</a:t>
            </a:r>
            <a:r>
              <a:rPr sz="1000" b="1" spc="-10">
                <a:solidFill>
                  <a:srgbClr val="FFFFFF"/>
                </a:solidFill>
                <a:latin typeface="Verdana"/>
                <a:cs typeface="Verdana"/>
              </a:rPr>
              <a:t>gn</a:t>
            </a:r>
            <a:endParaRPr sz="1000">
              <a:latin typeface="Verdana"/>
              <a:cs typeface="Verdana"/>
            </a:endParaRPr>
          </a:p>
        </p:txBody>
      </p:sp>
      <p:sp>
        <p:nvSpPr>
          <p:cNvPr id="11" name="object 11"/>
          <p:cNvSpPr/>
          <p:nvPr/>
        </p:nvSpPr>
        <p:spPr>
          <a:xfrm>
            <a:off x="4067555" y="3369564"/>
            <a:ext cx="1905000" cy="338455"/>
          </a:xfrm>
          <a:custGeom>
            <a:avLst/>
            <a:gdLst/>
            <a:ahLst/>
            <a:cxnLst/>
            <a:rect l="l" t="t" r="r" b="b"/>
            <a:pathLst>
              <a:path w="1905000" h="338454">
                <a:moveTo>
                  <a:pt x="1735836" y="0"/>
                </a:moveTo>
                <a:lnTo>
                  <a:pt x="0" y="0"/>
                </a:lnTo>
                <a:lnTo>
                  <a:pt x="169164" y="169163"/>
                </a:lnTo>
                <a:lnTo>
                  <a:pt x="0" y="338328"/>
                </a:lnTo>
                <a:lnTo>
                  <a:pt x="1735836" y="338328"/>
                </a:lnTo>
                <a:lnTo>
                  <a:pt x="1905000" y="169163"/>
                </a:lnTo>
                <a:lnTo>
                  <a:pt x="1735836" y="0"/>
                </a:lnTo>
                <a:close/>
              </a:path>
            </a:pathLst>
          </a:custGeom>
          <a:solidFill>
            <a:srgbClr val="09556C"/>
          </a:solidFill>
        </p:spPr>
        <p:txBody>
          <a:bodyPr wrap="square" lIns="0" tIns="0" rIns="0" bIns="0" rtlCol="0"/>
          <a:lstStyle/>
          <a:p>
            <a:endParaRPr/>
          </a:p>
        </p:txBody>
      </p:sp>
      <p:sp>
        <p:nvSpPr>
          <p:cNvPr id="12" name="object 12"/>
          <p:cNvSpPr txBox="1"/>
          <p:nvPr/>
        </p:nvSpPr>
        <p:spPr>
          <a:xfrm>
            <a:off x="4537709" y="3451098"/>
            <a:ext cx="964565"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Development</a:t>
            </a:r>
            <a:endParaRPr sz="1000">
              <a:latin typeface="Verdana"/>
              <a:cs typeface="Verdana"/>
            </a:endParaRPr>
          </a:p>
        </p:txBody>
      </p:sp>
      <p:sp>
        <p:nvSpPr>
          <p:cNvPr id="13" name="object 13"/>
          <p:cNvSpPr/>
          <p:nvPr/>
        </p:nvSpPr>
        <p:spPr>
          <a:xfrm>
            <a:off x="358140" y="2668523"/>
            <a:ext cx="1841500" cy="287020"/>
          </a:xfrm>
          <a:custGeom>
            <a:avLst/>
            <a:gdLst/>
            <a:ahLst/>
            <a:cxnLst/>
            <a:rect l="l" t="t" r="r" b="b"/>
            <a:pathLst>
              <a:path w="1841500" h="287019">
                <a:moveTo>
                  <a:pt x="1793240" y="0"/>
                </a:moveTo>
                <a:lnTo>
                  <a:pt x="47752" y="0"/>
                </a:lnTo>
                <a:lnTo>
                  <a:pt x="29162" y="3746"/>
                </a:lnTo>
                <a:lnTo>
                  <a:pt x="13984" y="13970"/>
                </a:lnTo>
                <a:lnTo>
                  <a:pt x="3751" y="29146"/>
                </a:lnTo>
                <a:lnTo>
                  <a:pt x="0" y="47751"/>
                </a:lnTo>
                <a:lnTo>
                  <a:pt x="0" y="238760"/>
                </a:lnTo>
                <a:lnTo>
                  <a:pt x="3751" y="257365"/>
                </a:lnTo>
                <a:lnTo>
                  <a:pt x="13984" y="272541"/>
                </a:lnTo>
                <a:lnTo>
                  <a:pt x="29162" y="282765"/>
                </a:lnTo>
                <a:lnTo>
                  <a:pt x="47752" y="286512"/>
                </a:lnTo>
                <a:lnTo>
                  <a:pt x="1793240" y="286512"/>
                </a:lnTo>
                <a:lnTo>
                  <a:pt x="1811845" y="282765"/>
                </a:lnTo>
                <a:lnTo>
                  <a:pt x="1827022" y="272541"/>
                </a:lnTo>
                <a:lnTo>
                  <a:pt x="1837245" y="257365"/>
                </a:lnTo>
                <a:lnTo>
                  <a:pt x="1840992" y="238760"/>
                </a:lnTo>
                <a:lnTo>
                  <a:pt x="1840992" y="47751"/>
                </a:lnTo>
                <a:lnTo>
                  <a:pt x="1837245" y="29146"/>
                </a:lnTo>
                <a:lnTo>
                  <a:pt x="1827022" y="13970"/>
                </a:lnTo>
                <a:lnTo>
                  <a:pt x="1811845" y="3746"/>
                </a:lnTo>
                <a:lnTo>
                  <a:pt x="1793240" y="0"/>
                </a:lnTo>
                <a:close/>
              </a:path>
            </a:pathLst>
          </a:custGeom>
          <a:solidFill>
            <a:srgbClr val="12ABDB"/>
          </a:solidFill>
        </p:spPr>
        <p:txBody>
          <a:bodyPr wrap="square" lIns="0" tIns="0" rIns="0" bIns="0" rtlCol="0"/>
          <a:lstStyle/>
          <a:p>
            <a:endParaRPr/>
          </a:p>
        </p:txBody>
      </p:sp>
      <p:sp>
        <p:nvSpPr>
          <p:cNvPr id="14" name="object 14"/>
          <p:cNvSpPr txBox="1"/>
          <p:nvPr/>
        </p:nvSpPr>
        <p:spPr>
          <a:xfrm>
            <a:off x="483514" y="2723514"/>
            <a:ext cx="1564640" cy="523875"/>
          </a:xfrm>
          <a:prstGeom prst="rect">
            <a:avLst/>
          </a:prstGeom>
        </p:spPr>
        <p:txBody>
          <a:bodyPr vert="horz" wrap="square" lIns="0" tIns="12065" rIns="0" bIns="0" rtlCol="0">
            <a:spAutoFit/>
          </a:bodyPr>
          <a:lstStyle/>
          <a:p>
            <a:pPr marL="26670" algn="ctr">
              <a:lnSpc>
                <a:spcPct val="100000"/>
              </a:lnSpc>
              <a:spcBef>
                <a:spcPts val="95"/>
              </a:spcBef>
            </a:pPr>
            <a:r>
              <a:rPr sz="1000" b="1" spc="-5">
                <a:solidFill>
                  <a:srgbClr val="FFFFFF"/>
                </a:solidFill>
                <a:latin typeface="Verdana"/>
                <a:cs typeface="Verdana"/>
              </a:rPr>
              <a:t>Scope</a:t>
            </a:r>
            <a:r>
              <a:rPr sz="1000" b="1" spc="-10">
                <a:solidFill>
                  <a:srgbClr val="FFFFFF"/>
                </a:solidFill>
                <a:latin typeface="Verdana"/>
                <a:cs typeface="Verdana"/>
              </a:rPr>
              <a:t> </a:t>
            </a:r>
            <a:r>
              <a:rPr sz="1000" b="1" spc="-5">
                <a:solidFill>
                  <a:srgbClr val="FFFFFF"/>
                </a:solidFill>
                <a:latin typeface="Verdana"/>
                <a:cs typeface="Verdana"/>
              </a:rPr>
              <a:t>CRP</a:t>
            </a:r>
            <a:endParaRPr sz="1000">
              <a:latin typeface="Verdana"/>
              <a:cs typeface="Verdana"/>
            </a:endParaRPr>
          </a:p>
          <a:p>
            <a:pPr algn="ctr">
              <a:lnSpc>
                <a:spcPct val="100000"/>
              </a:lnSpc>
              <a:spcBef>
                <a:spcPts val="805"/>
              </a:spcBef>
            </a:pPr>
            <a:r>
              <a:rPr sz="800" b="1">
                <a:latin typeface="Verdana"/>
                <a:cs typeface="Verdana"/>
              </a:rPr>
              <a:t>Do the Requirements</a:t>
            </a:r>
            <a:r>
              <a:rPr sz="800" b="1" spc="-95">
                <a:latin typeface="Verdana"/>
                <a:cs typeface="Verdana"/>
              </a:rPr>
              <a:t> </a:t>
            </a:r>
            <a:r>
              <a:rPr sz="800" b="1">
                <a:latin typeface="Verdana"/>
                <a:cs typeface="Verdana"/>
              </a:rPr>
              <a:t>meet</a:t>
            </a:r>
            <a:endParaRPr sz="800">
              <a:latin typeface="Verdana"/>
              <a:cs typeface="Verdana"/>
            </a:endParaRPr>
          </a:p>
          <a:p>
            <a:pPr marL="635" algn="ctr">
              <a:lnSpc>
                <a:spcPct val="100000"/>
              </a:lnSpc>
            </a:pPr>
            <a:r>
              <a:rPr sz="800" b="1">
                <a:latin typeface="Verdana"/>
                <a:cs typeface="Verdana"/>
              </a:rPr>
              <a:t>the Business</a:t>
            </a:r>
            <a:r>
              <a:rPr sz="800" b="1" spc="-45">
                <a:latin typeface="Verdana"/>
                <a:cs typeface="Verdana"/>
              </a:rPr>
              <a:t> </a:t>
            </a:r>
            <a:r>
              <a:rPr sz="800" b="1">
                <a:latin typeface="Verdana"/>
                <a:cs typeface="Verdana"/>
              </a:rPr>
              <a:t>Objectives?</a:t>
            </a:r>
            <a:endParaRPr sz="800">
              <a:latin typeface="Verdana"/>
              <a:cs typeface="Verdana"/>
            </a:endParaRPr>
          </a:p>
        </p:txBody>
      </p:sp>
      <p:sp>
        <p:nvSpPr>
          <p:cNvPr id="15" name="object 15"/>
          <p:cNvSpPr/>
          <p:nvPr/>
        </p:nvSpPr>
        <p:spPr>
          <a:xfrm>
            <a:off x="2266188" y="2668523"/>
            <a:ext cx="1841500" cy="287020"/>
          </a:xfrm>
          <a:custGeom>
            <a:avLst/>
            <a:gdLst/>
            <a:ahLst/>
            <a:cxnLst/>
            <a:rect l="l" t="t" r="r" b="b"/>
            <a:pathLst>
              <a:path w="1841500" h="287019">
                <a:moveTo>
                  <a:pt x="1793239" y="0"/>
                </a:moveTo>
                <a:lnTo>
                  <a:pt x="47751" y="0"/>
                </a:lnTo>
                <a:lnTo>
                  <a:pt x="29146" y="3746"/>
                </a:lnTo>
                <a:lnTo>
                  <a:pt x="13969" y="13970"/>
                </a:lnTo>
                <a:lnTo>
                  <a:pt x="3746" y="29146"/>
                </a:lnTo>
                <a:lnTo>
                  <a:pt x="0" y="47751"/>
                </a:lnTo>
                <a:lnTo>
                  <a:pt x="0" y="238760"/>
                </a:lnTo>
                <a:lnTo>
                  <a:pt x="3746" y="257365"/>
                </a:lnTo>
                <a:lnTo>
                  <a:pt x="13969" y="272541"/>
                </a:lnTo>
                <a:lnTo>
                  <a:pt x="29146" y="282765"/>
                </a:lnTo>
                <a:lnTo>
                  <a:pt x="47751" y="286512"/>
                </a:lnTo>
                <a:lnTo>
                  <a:pt x="1793239" y="286512"/>
                </a:lnTo>
                <a:lnTo>
                  <a:pt x="1811845" y="282765"/>
                </a:lnTo>
                <a:lnTo>
                  <a:pt x="1827021" y="272541"/>
                </a:lnTo>
                <a:lnTo>
                  <a:pt x="1837245" y="257365"/>
                </a:lnTo>
                <a:lnTo>
                  <a:pt x="1840991" y="238760"/>
                </a:lnTo>
                <a:lnTo>
                  <a:pt x="1840991" y="47751"/>
                </a:lnTo>
                <a:lnTo>
                  <a:pt x="1837245" y="29146"/>
                </a:lnTo>
                <a:lnTo>
                  <a:pt x="1827022" y="13970"/>
                </a:lnTo>
                <a:lnTo>
                  <a:pt x="1811845" y="3746"/>
                </a:lnTo>
                <a:lnTo>
                  <a:pt x="1793239" y="0"/>
                </a:lnTo>
                <a:close/>
              </a:path>
            </a:pathLst>
          </a:custGeom>
          <a:solidFill>
            <a:srgbClr val="7E7E7E"/>
          </a:solidFill>
        </p:spPr>
        <p:txBody>
          <a:bodyPr wrap="square" lIns="0" tIns="0" rIns="0" bIns="0" rtlCol="0"/>
          <a:lstStyle/>
          <a:p>
            <a:endParaRPr/>
          </a:p>
        </p:txBody>
      </p:sp>
      <p:sp>
        <p:nvSpPr>
          <p:cNvPr id="16" name="object 16"/>
          <p:cNvSpPr txBox="1"/>
          <p:nvPr/>
        </p:nvSpPr>
        <p:spPr>
          <a:xfrm>
            <a:off x="2432685" y="2723514"/>
            <a:ext cx="1504950" cy="523875"/>
          </a:xfrm>
          <a:prstGeom prst="rect">
            <a:avLst/>
          </a:prstGeom>
        </p:spPr>
        <p:txBody>
          <a:bodyPr vert="horz" wrap="square" lIns="0" tIns="12065" rIns="0" bIns="0" rtlCol="0">
            <a:spAutoFit/>
          </a:bodyPr>
          <a:lstStyle/>
          <a:p>
            <a:pPr marL="5080" algn="ctr">
              <a:lnSpc>
                <a:spcPct val="100000"/>
              </a:lnSpc>
              <a:spcBef>
                <a:spcPts val="95"/>
              </a:spcBef>
            </a:pPr>
            <a:r>
              <a:rPr sz="1000" b="1" spc="-10">
                <a:solidFill>
                  <a:srgbClr val="FFFFFF"/>
                </a:solidFill>
                <a:latin typeface="Verdana"/>
                <a:cs typeface="Verdana"/>
              </a:rPr>
              <a:t>Design </a:t>
            </a:r>
            <a:r>
              <a:rPr sz="1000" b="1" spc="-5">
                <a:solidFill>
                  <a:srgbClr val="FFFFFF"/>
                </a:solidFill>
                <a:latin typeface="Verdana"/>
                <a:cs typeface="Verdana"/>
              </a:rPr>
              <a:t>CRP</a:t>
            </a:r>
            <a:endParaRPr sz="1000">
              <a:latin typeface="Verdana"/>
              <a:cs typeface="Verdana"/>
            </a:endParaRPr>
          </a:p>
          <a:p>
            <a:pPr algn="ctr">
              <a:lnSpc>
                <a:spcPct val="100000"/>
              </a:lnSpc>
              <a:spcBef>
                <a:spcPts val="805"/>
              </a:spcBef>
            </a:pPr>
            <a:r>
              <a:rPr sz="800" b="1">
                <a:latin typeface="Verdana"/>
                <a:cs typeface="Verdana"/>
              </a:rPr>
              <a:t>Does the Design meet</a:t>
            </a:r>
            <a:r>
              <a:rPr sz="800" b="1" spc="-105">
                <a:latin typeface="Verdana"/>
                <a:cs typeface="Verdana"/>
              </a:rPr>
              <a:t> </a:t>
            </a:r>
            <a:r>
              <a:rPr sz="800" b="1">
                <a:latin typeface="Verdana"/>
                <a:cs typeface="Verdana"/>
              </a:rPr>
              <a:t>the</a:t>
            </a:r>
            <a:endParaRPr sz="800">
              <a:latin typeface="Verdana"/>
              <a:cs typeface="Verdana"/>
            </a:endParaRPr>
          </a:p>
          <a:p>
            <a:pPr marL="3175" algn="ctr">
              <a:lnSpc>
                <a:spcPct val="100000"/>
              </a:lnSpc>
            </a:pPr>
            <a:r>
              <a:rPr sz="800" b="1">
                <a:latin typeface="Verdana"/>
                <a:cs typeface="Verdana"/>
              </a:rPr>
              <a:t>Business</a:t>
            </a:r>
            <a:r>
              <a:rPr sz="800" b="1" spc="-30">
                <a:latin typeface="Verdana"/>
                <a:cs typeface="Verdana"/>
              </a:rPr>
              <a:t> </a:t>
            </a:r>
            <a:r>
              <a:rPr sz="800" b="1">
                <a:latin typeface="Verdana"/>
                <a:cs typeface="Verdana"/>
              </a:rPr>
              <a:t>Objectives?</a:t>
            </a:r>
            <a:endParaRPr sz="800">
              <a:latin typeface="Verdana"/>
              <a:cs typeface="Verdana"/>
            </a:endParaRPr>
          </a:p>
        </p:txBody>
      </p:sp>
      <p:sp>
        <p:nvSpPr>
          <p:cNvPr id="17" name="object 17"/>
          <p:cNvSpPr/>
          <p:nvPr/>
        </p:nvSpPr>
        <p:spPr>
          <a:xfrm>
            <a:off x="4175759" y="2668523"/>
            <a:ext cx="1797050" cy="287020"/>
          </a:xfrm>
          <a:custGeom>
            <a:avLst/>
            <a:gdLst/>
            <a:ahLst/>
            <a:cxnLst/>
            <a:rect l="l" t="t" r="r" b="b"/>
            <a:pathLst>
              <a:path w="1797050" h="287019">
                <a:moveTo>
                  <a:pt x="1749043" y="0"/>
                </a:moveTo>
                <a:lnTo>
                  <a:pt x="47751" y="0"/>
                </a:lnTo>
                <a:lnTo>
                  <a:pt x="29146" y="3746"/>
                </a:lnTo>
                <a:lnTo>
                  <a:pt x="13970" y="13970"/>
                </a:lnTo>
                <a:lnTo>
                  <a:pt x="3746" y="29146"/>
                </a:lnTo>
                <a:lnTo>
                  <a:pt x="0" y="47751"/>
                </a:lnTo>
                <a:lnTo>
                  <a:pt x="0" y="238760"/>
                </a:lnTo>
                <a:lnTo>
                  <a:pt x="3746" y="257365"/>
                </a:lnTo>
                <a:lnTo>
                  <a:pt x="13970" y="272541"/>
                </a:lnTo>
                <a:lnTo>
                  <a:pt x="29146" y="282765"/>
                </a:lnTo>
                <a:lnTo>
                  <a:pt x="47751" y="286512"/>
                </a:lnTo>
                <a:lnTo>
                  <a:pt x="1749043" y="286512"/>
                </a:lnTo>
                <a:lnTo>
                  <a:pt x="1767649" y="282765"/>
                </a:lnTo>
                <a:lnTo>
                  <a:pt x="1782825" y="272541"/>
                </a:lnTo>
                <a:lnTo>
                  <a:pt x="1793049" y="257365"/>
                </a:lnTo>
                <a:lnTo>
                  <a:pt x="1796795" y="238760"/>
                </a:lnTo>
                <a:lnTo>
                  <a:pt x="1796795" y="47751"/>
                </a:lnTo>
                <a:lnTo>
                  <a:pt x="1793049" y="29146"/>
                </a:lnTo>
                <a:lnTo>
                  <a:pt x="1782826" y="13970"/>
                </a:lnTo>
                <a:lnTo>
                  <a:pt x="1767649" y="3746"/>
                </a:lnTo>
                <a:lnTo>
                  <a:pt x="1749043" y="0"/>
                </a:lnTo>
                <a:close/>
              </a:path>
            </a:pathLst>
          </a:custGeom>
          <a:solidFill>
            <a:srgbClr val="A6A6A6"/>
          </a:solidFill>
        </p:spPr>
        <p:txBody>
          <a:bodyPr wrap="square" lIns="0" tIns="0" rIns="0" bIns="0" rtlCol="0"/>
          <a:lstStyle/>
          <a:p>
            <a:endParaRPr/>
          </a:p>
        </p:txBody>
      </p:sp>
      <p:sp>
        <p:nvSpPr>
          <p:cNvPr id="18" name="object 18"/>
          <p:cNvSpPr txBox="1"/>
          <p:nvPr/>
        </p:nvSpPr>
        <p:spPr>
          <a:xfrm>
            <a:off x="4313046" y="2723514"/>
            <a:ext cx="1459230" cy="523875"/>
          </a:xfrm>
          <a:prstGeom prst="rect">
            <a:avLst/>
          </a:prstGeom>
        </p:spPr>
        <p:txBody>
          <a:bodyPr vert="horz" wrap="square" lIns="0" tIns="12065" rIns="0" bIns="0" rtlCol="0">
            <a:spAutoFit/>
          </a:bodyPr>
          <a:lstStyle/>
          <a:p>
            <a:pPr marL="61594" algn="ctr">
              <a:lnSpc>
                <a:spcPct val="100000"/>
              </a:lnSpc>
              <a:spcBef>
                <a:spcPts val="95"/>
              </a:spcBef>
            </a:pPr>
            <a:r>
              <a:rPr sz="1000" b="1" spc="-10">
                <a:solidFill>
                  <a:srgbClr val="FFFFFF"/>
                </a:solidFill>
                <a:latin typeface="Verdana"/>
                <a:cs typeface="Verdana"/>
              </a:rPr>
              <a:t>Build</a:t>
            </a:r>
            <a:r>
              <a:rPr sz="1000" b="1" spc="5">
                <a:solidFill>
                  <a:srgbClr val="FFFFFF"/>
                </a:solidFill>
                <a:latin typeface="Verdana"/>
                <a:cs typeface="Verdana"/>
              </a:rPr>
              <a:t> </a:t>
            </a:r>
            <a:r>
              <a:rPr sz="1000" b="1" spc="-5">
                <a:solidFill>
                  <a:srgbClr val="FFFFFF"/>
                </a:solidFill>
                <a:latin typeface="Verdana"/>
                <a:cs typeface="Verdana"/>
              </a:rPr>
              <a:t>CRP</a:t>
            </a:r>
            <a:endParaRPr sz="1000">
              <a:latin typeface="Verdana"/>
              <a:cs typeface="Verdana"/>
            </a:endParaRPr>
          </a:p>
          <a:p>
            <a:pPr algn="ctr">
              <a:lnSpc>
                <a:spcPct val="100000"/>
              </a:lnSpc>
              <a:spcBef>
                <a:spcPts val="805"/>
              </a:spcBef>
            </a:pPr>
            <a:r>
              <a:rPr sz="800" b="1">
                <a:latin typeface="Verdana"/>
                <a:cs typeface="Verdana"/>
              </a:rPr>
              <a:t>Does the Solution</a:t>
            </a:r>
            <a:r>
              <a:rPr sz="800" b="1" spc="-80">
                <a:latin typeface="Verdana"/>
                <a:cs typeface="Verdana"/>
              </a:rPr>
              <a:t> </a:t>
            </a:r>
            <a:r>
              <a:rPr sz="800" b="1">
                <a:latin typeface="Verdana"/>
                <a:cs typeface="Verdana"/>
              </a:rPr>
              <a:t>meet</a:t>
            </a:r>
            <a:endParaRPr sz="800">
              <a:latin typeface="Verdana"/>
              <a:cs typeface="Verdana"/>
            </a:endParaRPr>
          </a:p>
          <a:p>
            <a:pPr algn="ctr">
              <a:lnSpc>
                <a:spcPct val="100000"/>
              </a:lnSpc>
            </a:pPr>
            <a:r>
              <a:rPr sz="800" b="1">
                <a:latin typeface="Verdana"/>
                <a:cs typeface="Verdana"/>
              </a:rPr>
              <a:t>the Business</a:t>
            </a:r>
            <a:r>
              <a:rPr sz="800" b="1" spc="-55">
                <a:latin typeface="Verdana"/>
                <a:cs typeface="Verdana"/>
              </a:rPr>
              <a:t> </a:t>
            </a:r>
            <a:r>
              <a:rPr sz="800" b="1">
                <a:latin typeface="Verdana"/>
                <a:cs typeface="Verdana"/>
              </a:rPr>
              <a:t>Objectives?</a:t>
            </a:r>
            <a:endParaRPr sz="800">
              <a:latin typeface="Verdana"/>
              <a:cs typeface="Verdana"/>
            </a:endParaRPr>
          </a:p>
        </p:txBody>
      </p:sp>
      <p:sp>
        <p:nvSpPr>
          <p:cNvPr id="19" name="object 19"/>
          <p:cNvSpPr/>
          <p:nvPr/>
        </p:nvSpPr>
        <p:spPr>
          <a:xfrm>
            <a:off x="1609344" y="2121407"/>
            <a:ext cx="3154680" cy="287020"/>
          </a:xfrm>
          <a:custGeom>
            <a:avLst/>
            <a:gdLst/>
            <a:ahLst/>
            <a:cxnLst/>
            <a:rect l="l" t="t" r="r" b="b"/>
            <a:pathLst>
              <a:path w="3154679" h="287019">
                <a:moveTo>
                  <a:pt x="3106928" y="0"/>
                </a:moveTo>
                <a:lnTo>
                  <a:pt x="47751" y="0"/>
                </a:lnTo>
                <a:lnTo>
                  <a:pt x="29146" y="3746"/>
                </a:lnTo>
                <a:lnTo>
                  <a:pt x="13970" y="13970"/>
                </a:lnTo>
                <a:lnTo>
                  <a:pt x="3746" y="29146"/>
                </a:lnTo>
                <a:lnTo>
                  <a:pt x="0" y="47751"/>
                </a:lnTo>
                <a:lnTo>
                  <a:pt x="0" y="238759"/>
                </a:lnTo>
                <a:lnTo>
                  <a:pt x="3746" y="257365"/>
                </a:lnTo>
                <a:lnTo>
                  <a:pt x="13969" y="272541"/>
                </a:lnTo>
                <a:lnTo>
                  <a:pt x="29146" y="282765"/>
                </a:lnTo>
                <a:lnTo>
                  <a:pt x="47751" y="286512"/>
                </a:lnTo>
                <a:lnTo>
                  <a:pt x="3106928" y="286512"/>
                </a:lnTo>
                <a:lnTo>
                  <a:pt x="3125533" y="282765"/>
                </a:lnTo>
                <a:lnTo>
                  <a:pt x="3140710" y="272541"/>
                </a:lnTo>
                <a:lnTo>
                  <a:pt x="3150933" y="257365"/>
                </a:lnTo>
                <a:lnTo>
                  <a:pt x="3154680" y="238759"/>
                </a:lnTo>
                <a:lnTo>
                  <a:pt x="3154680" y="47751"/>
                </a:lnTo>
                <a:lnTo>
                  <a:pt x="3150933" y="29146"/>
                </a:lnTo>
                <a:lnTo>
                  <a:pt x="3140710" y="13970"/>
                </a:lnTo>
                <a:lnTo>
                  <a:pt x="3125533" y="3746"/>
                </a:lnTo>
                <a:lnTo>
                  <a:pt x="3106928" y="0"/>
                </a:lnTo>
                <a:close/>
              </a:path>
            </a:pathLst>
          </a:custGeom>
          <a:solidFill>
            <a:srgbClr val="006FAC"/>
          </a:solidFill>
        </p:spPr>
        <p:txBody>
          <a:bodyPr wrap="square" lIns="0" tIns="0" rIns="0" bIns="0" rtlCol="0"/>
          <a:lstStyle/>
          <a:p>
            <a:endParaRPr/>
          </a:p>
        </p:txBody>
      </p:sp>
      <p:sp>
        <p:nvSpPr>
          <p:cNvPr id="20" name="object 20"/>
          <p:cNvSpPr txBox="1"/>
          <p:nvPr/>
        </p:nvSpPr>
        <p:spPr>
          <a:xfrm>
            <a:off x="1936242" y="2176398"/>
            <a:ext cx="250190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Business Objectives and</a:t>
            </a:r>
            <a:r>
              <a:rPr sz="1000" b="1" spc="-15">
                <a:solidFill>
                  <a:srgbClr val="FFFFFF"/>
                </a:solidFill>
                <a:latin typeface="Verdana"/>
                <a:cs typeface="Verdana"/>
              </a:rPr>
              <a:t> </a:t>
            </a:r>
            <a:r>
              <a:rPr sz="1000" b="1" spc="-5">
                <a:solidFill>
                  <a:srgbClr val="FFFFFF"/>
                </a:solidFill>
                <a:latin typeface="Verdana"/>
                <a:cs typeface="Verdana"/>
              </a:rPr>
              <a:t>Processes</a:t>
            </a:r>
            <a:endParaRPr sz="1000">
              <a:latin typeface="Verdana"/>
              <a:cs typeface="Verdana"/>
            </a:endParaRPr>
          </a:p>
        </p:txBody>
      </p:sp>
      <p:sp>
        <p:nvSpPr>
          <p:cNvPr id="21" name="object 21"/>
          <p:cNvSpPr txBox="1"/>
          <p:nvPr/>
        </p:nvSpPr>
        <p:spPr>
          <a:xfrm>
            <a:off x="217789" y="4480334"/>
            <a:ext cx="149860" cy="861694"/>
          </a:xfrm>
          <a:prstGeom prst="rect">
            <a:avLst/>
          </a:prstGeom>
        </p:spPr>
        <p:txBody>
          <a:bodyPr vert="vert270" wrap="square" lIns="0" tIns="13335" rIns="0" bIns="0" rtlCol="0">
            <a:spAutoFit/>
          </a:bodyPr>
          <a:lstStyle/>
          <a:p>
            <a:pPr marL="12700">
              <a:lnSpc>
                <a:spcPct val="100000"/>
              </a:lnSpc>
              <a:spcBef>
                <a:spcPts val="105"/>
              </a:spcBef>
            </a:pPr>
            <a:r>
              <a:rPr sz="800" b="1" spc="-5">
                <a:latin typeface="Verdana"/>
                <a:cs typeface="Verdana"/>
              </a:rPr>
              <a:t>CRP</a:t>
            </a:r>
            <a:r>
              <a:rPr sz="800" b="1" spc="-55">
                <a:latin typeface="Verdana"/>
                <a:cs typeface="Verdana"/>
              </a:rPr>
              <a:t> </a:t>
            </a:r>
            <a:r>
              <a:rPr sz="800" b="1">
                <a:latin typeface="Verdana"/>
                <a:cs typeface="Verdana"/>
              </a:rPr>
              <a:t>Outcomes</a:t>
            </a:r>
            <a:endParaRPr sz="800">
              <a:latin typeface="Verdana"/>
              <a:cs typeface="Verdana"/>
            </a:endParaRPr>
          </a:p>
        </p:txBody>
      </p:sp>
      <p:sp>
        <p:nvSpPr>
          <p:cNvPr id="22" name="object 22"/>
          <p:cNvSpPr/>
          <p:nvPr/>
        </p:nvSpPr>
        <p:spPr>
          <a:xfrm>
            <a:off x="2179320" y="3744467"/>
            <a:ext cx="0" cy="2407285"/>
          </a:xfrm>
          <a:custGeom>
            <a:avLst/>
            <a:gdLst/>
            <a:ahLst/>
            <a:cxnLst/>
            <a:rect l="l" t="t" r="r" b="b"/>
            <a:pathLst>
              <a:path h="2407285">
                <a:moveTo>
                  <a:pt x="0" y="0"/>
                </a:moveTo>
                <a:lnTo>
                  <a:pt x="0" y="2406789"/>
                </a:lnTo>
              </a:path>
            </a:pathLst>
          </a:custGeom>
          <a:ln w="12192">
            <a:solidFill>
              <a:srgbClr val="767676"/>
            </a:solidFill>
            <a:prstDash val="sysDash"/>
          </a:ln>
        </p:spPr>
        <p:txBody>
          <a:bodyPr wrap="square" lIns="0" tIns="0" rIns="0" bIns="0" rtlCol="0"/>
          <a:lstStyle/>
          <a:p>
            <a:endParaRPr/>
          </a:p>
        </p:txBody>
      </p:sp>
      <p:sp>
        <p:nvSpPr>
          <p:cNvPr id="23" name="object 23"/>
          <p:cNvSpPr/>
          <p:nvPr/>
        </p:nvSpPr>
        <p:spPr>
          <a:xfrm>
            <a:off x="4035552" y="3744467"/>
            <a:ext cx="0" cy="2407285"/>
          </a:xfrm>
          <a:custGeom>
            <a:avLst/>
            <a:gdLst/>
            <a:ahLst/>
            <a:cxnLst/>
            <a:rect l="l" t="t" r="r" b="b"/>
            <a:pathLst>
              <a:path h="2407285">
                <a:moveTo>
                  <a:pt x="0" y="0"/>
                </a:moveTo>
                <a:lnTo>
                  <a:pt x="0" y="2406789"/>
                </a:lnTo>
              </a:path>
            </a:pathLst>
          </a:custGeom>
          <a:ln w="12192">
            <a:solidFill>
              <a:srgbClr val="7E7E7E"/>
            </a:solidFill>
            <a:prstDash val="sysDash"/>
          </a:ln>
        </p:spPr>
        <p:txBody>
          <a:bodyPr wrap="square" lIns="0" tIns="0" rIns="0" bIns="0" rtlCol="0"/>
          <a:lstStyle/>
          <a:p>
            <a:endParaRPr/>
          </a:p>
        </p:txBody>
      </p:sp>
      <p:sp>
        <p:nvSpPr>
          <p:cNvPr id="24" name="object 24"/>
          <p:cNvSpPr/>
          <p:nvPr/>
        </p:nvSpPr>
        <p:spPr>
          <a:xfrm>
            <a:off x="1272286" y="2226564"/>
            <a:ext cx="337820" cy="442595"/>
          </a:xfrm>
          <a:custGeom>
            <a:avLst/>
            <a:gdLst/>
            <a:ahLst/>
            <a:cxnLst/>
            <a:rect l="l" t="t" r="r" b="b"/>
            <a:pathLst>
              <a:path w="337819" h="442594">
                <a:moveTo>
                  <a:pt x="261111" y="31750"/>
                </a:moveTo>
                <a:lnTo>
                  <a:pt x="0" y="31750"/>
                </a:lnTo>
                <a:lnTo>
                  <a:pt x="0" y="442087"/>
                </a:lnTo>
                <a:lnTo>
                  <a:pt x="12700" y="442087"/>
                </a:lnTo>
                <a:lnTo>
                  <a:pt x="12700" y="44450"/>
                </a:lnTo>
                <a:lnTo>
                  <a:pt x="6350" y="44450"/>
                </a:lnTo>
                <a:lnTo>
                  <a:pt x="12700" y="38100"/>
                </a:lnTo>
                <a:lnTo>
                  <a:pt x="261111" y="38100"/>
                </a:lnTo>
                <a:lnTo>
                  <a:pt x="261111" y="31750"/>
                </a:lnTo>
                <a:close/>
              </a:path>
              <a:path w="337819" h="442594">
                <a:moveTo>
                  <a:pt x="261111" y="0"/>
                </a:moveTo>
                <a:lnTo>
                  <a:pt x="261111" y="76200"/>
                </a:lnTo>
                <a:lnTo>
                  <a:pt x="324611" y="44450"/>
                </a:lnTo>
                <a:lnTo>
                  <a:pt x="273811" y="44450"/>
                </a:lnTo>
                <a:lnTo>
                  <a:pt x="273811" y="31750"/>
                </a:lnTo>
                <a:lnTo>
                  <a:pt x="324611" y="31750"/>
                </a:lnTo>
                <a:lnTo>
                  <a:pt x="261111" y="0"/>
                </a:lnTo>
                <a:close/>
              </a:path>
              <a:path w="337819" h="442594">
                <a:moveTo>
                  <a:pt x="12700" y="38100"/>
                </a:moveTo>
                <a:lnTo>
                  <a:pt x="6350" y="44450"/>
                </a:lnTo>
                <a:lnTo>
                  <a:pt x="12700" y="44450"/>
                </a:lnTo>
                <a:lnTo>
                  <a:pt x="12700" y="38100"/>
                </a:lnTo>
                <a:close/>
              </a:path>
              <a:path w="337819" h="442594">
                <a:moveTo>
                  <a:pt x="261111" y="38100"/>
                </a:moveTo>
                <a:lnTo>
                  <a:pt x="12700" y="38100"/>
                </a:lnTo>
                <a:lnTo>
                  <a:pt x="12700" y="44450"/>
                </a:lnTo>
                <a:lnTo>
                  <a:pt x="261111" y="44450"/>
                </a:lnTo>
                <a:lnTo>
                  <a:pt x="261111" y="38100"/>
                </a:lnTo>
                <a:close/>
              </a:path>
              <a:path w="337819" h="442594">
                <a:moveTo>
                  <a:pt x="324611" y="31750"/>
                </a:moveTo>
                <a:lnTo>
                  <a:pt x="273811" y="31750"/>
                </a:lnTo>
                <a:lnTo>
                  <a:pt x="273811" y="44450"/>
                </a:lnTo>
                <a:lnTo>
                  <a:pt x="324611" y="44450"/>
                </a:lnTo>
                <a:lnTo>
                  <a:pt x="337311" y="38100"/>
                </a:lnTo>
                <a:lnTo>
                  <a:pt x="324611" y="31750"/>
                </a:lnTo>
                <a:close/>
              </a:path>
            </a:pathLst>
          </a:custGeom>
          <a:solidFill>
            <a:srgbClr val="767676"/>
          </a:solidFill>
        </p:spPr>
        <p:txBody>
          <a:bodyPr wrap="square" lIns="0" tIns="0" rIns="0" bIns="0" rtlCol="0"/>
          <a:lstStyle/>
          <a:p>
            <a:endParaRPr/>
          </a:p>
        </p:txBody>
      </p:sp>
      <p:sp>
        <p:nvSpPr>
          <p:cNvPr id="25" name="object 25"/>
          <p:cNvSpPr/>
          <p:nvPr/>
        </p:nvSpPr>
        <p:spPr>
          <a:xfrm>
            <a:off x="4764023" y="2226564"/>
            <a:ext cx="315595" cy="442595"/>
          </a:xfrm>
          <a:custGeom>
            <a:avLst/>
            <a:gdLst/>
            <a:ahLst/>
            <a:cxnLst/>
            <a:rect l="l" t="t" r="r" b="b"/>
            <a:pathLst>
              <a:path w="315595" h="442594">
                <a:moveTo>
                  <a:pt x="302895" y="38100"/>
                </a:moveTo>
                <a:lnTo>
                  <a:pt x="302895" y="442087"/>
                </a:lnTo>
                <a:lnTo>
                  <a:pt x="315595" y="442087"/>
                </a:lnTo>
                <a:lnTo>
                  <a:pt x="315595" y="44450"/>
                </a:lnTo>
                <a:lnTo>
                  <a:pt x="309245" y="44450"/>
                </a:lnTo>
                <a:lnTo>
                  <a:pt x="302895" y="38100"/>
                </a:lnTo>
                <a:close/>
              </a:path>
              <a:path w="315595" h="442594">
                <a:moveTo>
                  <a:pt x="76200" y="0"/>
                </a:moveTo>
                <a:lnTo>
                  <a:pt x="0" y="38100"/>
                </a:lnTo>
                <a:lnTo>
                  <a:pt x="76200" y="76200"/>
                </a:lnTo>
                <a:lnTo>
                  <a:pt x="76200" y="44450"/>
                </a:lnTo>
                <a:lnTo>
                  <a:pt x="63500" y="44450"/>
                </a:lnTo>
                <a:lnTo>
                  <a:pt x="63500" y="31750"/>
                </a:lnTo>
                <a:lnTo>
                  <a:pt x="76200" y="31750"/>
                </a:lnTo>
                <a:lnTo>
                  <a:pt x="76200" y="0"/>
                </a:lnTo>
                <a:close/>
              </a:path>
              <a:path w="315595" h="442594">
                <a:moveTo>
                  <a:pt x="76200" y="31750"/>
                </a:moveTo>
                <a:lnTo>
                  <a:pt x="63500" y="31750"/>
                </a:lnTo>
                <a:lnTo>
                  <a:pt x="63500" y="44450"/>
                </a:lnTo>
                <a:lnTo>
                  <a:pt x="76200" y="44450"/>
                </a:lnTo>
                <a:lnTo>
                  <a:pt x="76200" y="31750"/>
                </a:lnTo>
                <a:close/>
              </a:path>
              <a:path w="315595" h="442594">
                <a:moveTo>
                  <a:pt x="315595" y="31750"/>
                </a:moveTo>
                <a:lnTo>
                  <a:pt x="76200" y="31750"/>
                </a:lnTo>
                <a:lnTo>
                  <a:pt x="76200" y="44450"/>
                </a:lnTo>
                <a:lnTo>
                  <a:pt x="302895" y="44450"/>
                </a:lnTo>
                <a:lnTo>
                  <a:pt x="302895" y="38100"/>
                </a:lnTo>
                <a:lnTo>
                  <a:pt x="315595" y="38100"/>
                </a:lnTo>
                <a:lnTo>
                  <a:pt x="315595" y="31750"/>
                </a:lnTo>
                <a:close/>
              </a:path>
              <a:path w="315595" h="442594">
                <a:moveTo>
                  <a:pt x="315595" y="38100"/>
                </a:moveTo>
                <a:lnTo>
                  <a:pt x="302895" y="38100"/>
                </a:lnTo>
                <a:lnTo>
                  <a:pt x="309245" y="44450"/>
                </a:lnTo>
                <a:lnTo>
                  <a:pt x="315595" y="44450"/>
                </a:lnTo>
                <a:lnTo>
                  <a:pt x="315595" y="38100"/>
                </a:lnTo>
                <a:close/>
              </a:path>
            </a:pathLst>
          </a:custGeom>
          <a:solidFill>
            <a:srgbClr val="767676"/>
          </a:solidFill>
        </p:spPr>
        <p:txBody>
          <a:bodyPr wrap="square" lIns="0" tIns="0" rIns="0" bIns="0" rtlCol="0"/>
          <a:lstStyle/>
          <a:p>
            <a:endParaRPr/>
          </a:p>
        </p:txBody>
      </p:sp>
      <p:sp>
        <p:nvSpPr>
          <p:cNvPr id="26" name="object 26"/>
          <p:cNvSpPr/>
          <p:nvPr/>
        </p:nvSpPr>
        <p:spPr>
          <a:xfrm>
            <a:off x="3148583" y="2407920"/>
            <a:ext cx="76200" cy="261620"/>
          </a:xfrm>
          <a:custGeom>
            <a:avLst/>
            <a:gdLst/>
            <a:ahLst/>
            <a:cxnLst/>
            <a:rect l="l" t="t" r="r" b="b"/>
            <a:pathLst>
              <a:path w="76200" h="261619">
                <a:moveTo>
                  <a:pt x="44450" y="63500"/>
                </a:moveTo>
                <a:lnTo>
                  <a:pt x="31750" y="63500"/>
                </a:lnTo>
                <a:lnTo>
                  <a:pt x="31750" y="261112"/>
                </a:lnTo>
                <a:lnTo>
                  <a:pt x="44450" y="261112"/>
                </a:lnTo>
                <a:lnTo>
                  <a:pt x="44450" y="63500"/>
                </a:lnTo>
                <a:close/>
              </a:path>
              <a:path w="76200" h="261619">
                <a:moveTo>
                  <a:pt x="38100" y="0"/>
                </a:moveTo>
                <a:lnTo>
                  <a:pt x="0" y="76200"/>
                </a:lnTo>
                <a:lnTo>
                  <a:pt x="31750" y="76200"/>
                </a:lnTo>
                <a:lnTo>
                  <a:pt x="31750" y="63500"/>
                </a:lnTo>
                <a:lnTo>
                  <a:pt x="69850" y="63500"/>
                </a:lnTo>
                <a:lnTo>
                  <a:pt x="38100" y="0"/>
                </a:lnTo>
                <a:close/>
              </a:path>
              <a:path w="76200" h="261619">
                <a:moveTo>
                  <a:pt x="69850" y="63500"/>
                </a:moveTo>
                <a:lnTo>
                  <a:pt x="44450" y="63500"/>
                </a:lnTo>
                <a:lnTo>
                  <a:pt x="44450" y="76200"/>
                </a:lnTo>
                <a:lnTo>
                  <a:pt x="76200" y="76200"/>
                </a:lnTo>
                <a:lnTo>
                  <a:pt x="69850" y="63500"/>
                </a:lnTo>
                <a:close/>
              </a:path>
            </a:pathLst>
          </a:custGeom>
          <a:solidFill>
            <a:srgbClr val="767676"/>
          </a:solidFill>
        </p:spPr>
        <p:txBody>
          <a:bodyPr wrap="square" lIns="0" tIns="0" rIns="0" bIns="0" rtlCol="0"/>
          <a:lstStyle/>
          <a:p>
            <a:endParaRPr/>
          </a:p>
        </p:txBody>
      </p:sp>
      <p:sp>
        <p:nvSpPr>
          <p:cNvPr id="27" name="object 27"/>
          <p:cNvSpPr/>
          <p:nvPr/>
        </p:nvSpPr>
        <p:spPr>
          <a:xfrm>
            <a:off x="10837671" y="4917440"/>
            <a:ext cx="1078865" cy="1153160"/>
          </a:xfrm>
          <a:custGeom>
            <a:avLst/>
            <a:gdLst/>
            <a:ahLst/>
            <a:cxnLst/>
            <a:rect l="l" t="t" r="r" b="b"/>
            <a:pathLst>
              <a:path w="1078865" h="1153160">
                <a:moveTo>
                  <a:pt x="0" y="1153160"/>
                </a:moveTo>
                <a:lnTo>
                  <a:pt x="1078483" y="1153160"/>
                </a:lnTo>
                <a:lnTo>
                  <a:pt x="1078483" y="0"/>
                </a:lnTo>
                <a:lnTo>
                  <a:pt x="0" y="0"/>
                </a:lnTo>
                <a:lnTo>
                  <a:pt x="0" y="1153160"/>
                </a:lnTo>
                <a:close/>
              </a:path>
            </a:pathLst>
          </a:custGeom>
          <a:solidFill>
            <a:srgbClr val="D9D9D9"/>
          </a:solidFill>
        </p:spPr>
        <p:txBody>
          <a:bodyPr wrap="square" lIns="0" tIns="0" rIns="0" bIns="0" rtlCol="0"/>
          <a:lstStyle/>
          <a:p>
            <a:endParaRPr/>
          </a:p>
        </p:txBody>
      </p:sp>
      <p:sp>
        <p:nvSpPr>
          <p:cNvPr id="28" name="object 28"/>
          <p:cNvSpPr/>
          <p:nvPr/>
        </p:nvSpPr>
        <p:spPr>
          <a:xfrm>
            <a:off x="8913876" y="3778250"/>
            <a:ext cx="3002280" cy="1139190"/>
          </a:xfrm>
          <a:custGeom>
            <a:avLst/>
            <a:gdLst/>
            <a:ahLst/>
            <a:cxnLst/>
            <a:rect l="l" t="t" r="r" b="b"/>
            <a:pathLst>
              <a:path w="3002279" h="1139189">
                <a:moveTo>
                  <a:pt x="0" y="1139189"/>
                </a:moveTo>
                <a:lnTo>
                  <a:pt x="3002279" y="1139189"/>
                </a:lnTo>
                <a:lnTo>
                  <a:pt x="3002279" y="0"/>
                </a:lnTo>
                <a:lnTo>
                  <a:pt x="0" y="0"/>
                </a:lnTo>
                <a:lnTo>
                  <a:pt x="0" y="1139189"/>
                </a:lnTo>
                <a:close/>
              </a:path>
            </a:pathLst>
          </a:custGeom>
          <a:solidFill>
            <a:srgbClr val="D9D9D9"/>
          </a:solidFill>
        </p:spPr>
        <p:txBody>
          <a:bodyPr wrap="square" lIns="0" tIns="0" rIns="0" bIns="0" rtlCol="0"/>
          <a:lstStyle/>
          <a:p>
            <a:endParaRPr/>
          </a:p>
        </p:txBody>
      </p:sp>
      <p:sp>
        <p:nvSpPr>
          <p:cNvPr id="29" name="object 29"/>
          <p:cNvSpPr/>
          <p:nvPr/>
        </p:nvSpPr>
        <p:spPr>
          <a:xfrm>
            <a:off x="9974580" y="3006851"/>
            <a:ext cx="883919" cy="605155"/>
          </a:xfrm>
          <a:custGeom>
            <a:avLst/>
            <a:gdLst/>
            <a:ahLst/>
            <a:cxnLst/>
            <a:rect l="l" t="t" r="r" b="b"/>
            <a:pathLst>
              <a:path w="883920" h="605154">
                <a:moveTo>
                  <a:pt x="0" y="605028"/>
                </a:moveTo>
                <a:lnTo>
                  <a:pt x="883920" y="605028"/>
                </a:lnTo>
                <a:lnTo>
                  <a:pt x="883920" y="0"/>
                </a:lnTo>
                <a:lnTo>
                  <a:pt x="0" y="0"/>
                </a:lnTo>
                <a:lnTo>
                  <a:pt x="0" y="605028"/>
                </a:lnTo>
                <a:close/>
              </a:path>
            </a:pathLst>
          </a:custGeom>
          <a:ln w="12192">
            <a:solidFill>
              <a:srgbClr val="767676"/>
            </a:solidFill>
          </a:ln>
        </p:spPr>
        <p:txBody>
          <a:bodyPr wrap="square" lIns="0" tIns="0" rIns="0" bIns="0" rtlCol="0"/>
          <a:lstStyle/>
          <a:p>
            <a:endParaRPr/>
          </a:p>
        </p:txBody>
      </p:sp>
      <p:sp>
        <p:nvSpPr>
          <p:cNvPr id="30" name="object 30"/>
          <p:cNvSpPr/>
          <p:nvPr/>
        </p:nvSpPr>
        <p:spPr>
          <a:xfrm>
            <a:off x="9974580"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solidFill>
            <a:srgbClr val="FFFFFF"/>
          </a:solidFill>
        </p:spPr>
        <p:txBody>
          <a:bodyPr wrap="square" lIns="0" tIns="0" rIns="0" bIns="0" rtlCol="0"/>
          <a:lstStyle/>
          <a:p>
            <a:endParaRPr/>
          </a:p>
        </p:txBody>
      </p:sp>
      <p:sp>
        <p:nvSpPr>
          <p:cNvPr id="31" name="object 31"/>
          <p:cNvSpPr/>
          <p:nvPr/>
        </p:nvSpPr>
        <p:spPr>
          <a:xfrm>
            <a:off x="9974580"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ln w="12192">
            <a:solidFill>
              <a:srgbClr val="767676"/>
            </a:solidFill>
          </a:ln>
        </p:spPr>
        <p:txBody>
          <a:bodyPr wrap="square" lIns="0" tIns="0" rIns="0" bIns="0" rtlCol="0"/>
          <a:lstStyle/>
          <a:p>
            <a:endParaRPr/>
          </a:p>
        </p:txBody>
      </p:sp>
      <p:sp>
        <p:nvSpPr>
          <p:cNvPr id="32" name="object 32"/>
          <p:cNvSpPr/>
          <p:nvPr/>
        </p:nvSpPr>
        <p:spPr>
          <a:xfrm>
            <a:off x="10963656" y="5382767"/>
            <a:ext cx="883919" cy="603885"/>
          </a:xfrm>
          <a:custGeom>
            <a:avLst/>
            <a:gdLst/>
            <a:ahLst/>
            <a:cxnLst/>
            <a:rect l="l" t="t" r="r" b="b"/>
            <a:pathLst>
              <a:path w="883920" h="603885">
                <a:moveTo>
                  <a:pt x="0" y="603503"/>
                </a:moveTo>
                <a:lnTo>
                  <a:pt x="883920" y="603503"/>
                </a:lnTo>
                <a:lnTo>
                  <a:pt x="883920" y="0"/>
                </a:lnTo>
                <a:lnTo>
                  <a:pt x="0" y="0"/>
                </a:lnTo>
                <a:lnTo>
                  <a:pt x="0" y="603503"/>
                </a:lnTo>
                <a:close/>
              </a:path>
            </a:pathLst>
          </a:custGeom>
          <a:solidFill>
            <a:srgbClr val="FFFFFF"/>
          </a:solidFill>
        </p:spPr>
        <p:txBody>
          <a:bodyPr wrap="square" lIns="0" tIns="0" rIns="0" bIns="0" rtlCol="0"/>
          <a:lstStyle/>
          <a:p>
            <a:endParaRPr/>
          </a:p>
        </p:txBody>
      </p:sp>
      <p:sp>
        <p:nvSpPr>
          <p:cNvPr id="33" name="object 33"/>
          <p:cNvSpPr/>
          <p:nvPr/>
        </p:nvSpPr>
        <p:spPr>
          <a:xfrm>
            <a:off x="10963656" y="5382767"/>
            <a:ext cx="883919" cy="603885"/>
          </a:xfrm>
          <a:custGeom>
            <a:avLst/>
            <a:gdLst/>
            <a:ahLst/>
            <a:cxnLst/>
            <a:rect l="l" t="t" r="r" b="b"/>
            <a:pathLst>
              <a:path w="883920" h="603885">
                <a:moveTo>
                  <a:pt x="0" y="603503"/>
                </a:moveTo>
                <a:lnTo>
                  <a:pt x="883920" y="603503"/>
                </a:lnTo>
                <a:lnTo>
                  <a:pt x="883920" y="0"/>
                </a:lnTo>
                <a:lnTo>
                  <a:pt x="0" y="0"/>
                </a:lnTo>
                <a:lnTo>
                  <a:pt x="0" y="603503"/>
                </a:lnTo>
                <a:close/>
              </a:path>
            </a:pathLst>
          </a:custGeom>
          <a:ln w="12192">
            <a:solidFill>
              <a:srgbClr val="767676"/>
            </a:solidFill>
          </a:ln>
        </p:spPr>
        <p:txBody>
          <a:bodyPr wrap="square" lIns="0" tIns="0" rIns="0" bIns="0" rtlCol="0"/>
          <a:lstStyle/>
          <a:p>
            <a:endParaRPr/>
          </a:p>
        </p:txBody>
      </p:sp>
      <p:sp>
        <p:nvSpPr>
          <p:cNvPr id="34" name="object 34"/>
          <p:cNvSpPr/>
          <p:nvPr/>
        </p:nvSpPr>
        <p:spPr>
          <a:xfrm>
            <a:off x="10963656"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solidFill>
            <a:srgbClr val="FFFFFF"/>
          </a:solidFill>
        </p:spPr>
        <p:txBody>
          <a:bodyPr wrap="square" lIns="0" tIns="0" rIns="0" bIns="0" rtlCol="0"/>
          <a:lstStyle/>
          <a:p>
            <a:endParaRPr/>
          </a:p>
        </p:txBody>
      </p:sp>
      <p:sp>
        <p:nvSpPr>
          <p:cNvPr id="35" name="object 35"/>
          <p:cNvSpPr/>
          <p:nvPr/>
        </p:nvSpPr>
        <p:spPr>
          <a:xfrm>
            <a:off x="10963656"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ln w="12192">
            <a:solidFill>
              <a:srgbClr val="767676"/>
            </a:solidFill>
          </a:ln>
        </p:spPr>
        <p:txBody>
          <a:bodyPr wrap="square" lIns="0" tIns="0" rIns="0" bIns="0" rtlCol="0"/>
          <a:lstStyle/>
          <a:p>
            <a:endParaRPr/>
          </a:p>
        </p:txBody>
      </p:sp>
      <p:sp>
        <p:nvSpPr>
          <p:cNvPr id="36" name="object 36"/>
          <p:cNvSpPr/>
          <p:nvPr/>
        </p:nvSpPr>
        <p:spPr>
          <a:xfrm>
            <a:off x="8982456" y="3006851"/>
            <a:ext cx="883919" cy="605155"/>
          </a:xfrm>
          <a:custGeom>
            <a:avLst/>
            <a:gdLst/>
            <a:ahLst/>
            <a:cxnLst/>
            <a:rect l="l" t="t" r="r" b="b"/>
            <a:pathLst>
              <a:path w="883920" h="605154">
                <a:moveTo>
                  <a:pt x="0" y="605028"/>
                </a:moveTo>
                <a:lnTo>
                  <a:pt x="883920" y="605028"/>
                </a:lnTo>
                <a:lnTo>
                  <a:pt x="883920" y="0"/>
                </a:lnTo>
                <a:lnTo>
                  <a:pt x="0" y="0"/>
                </a:lnTo>
                <a:lnTo>
                  <a:pt x="0" y="605028"/>
                </a:lnTo>
                <a:close/>
              </a:path>
            </a:pathLst>
          </a:custGeom>
          <a:ln w="12192">
            <a:solidFill>
              <a:srgbClr val="767676"/>
            </a:solidFill>
          </a:ln>
        </p:spPr>
        <p:txBody>
          <a:bodyPr wrap="square" lIns="0" tIns="0" rIns="0" bIns="0" rtlCol="0"/>
          <a:lstStyle/>
          <a:p>
            <a:endParaRPr/>
          </a:p>
        </p:txBody>
      </p:sp>
      <p:sp>
        <p:nvSpPr>
          <p:cNvPr id="37" name="object 37"/>
          <p:cNvSpPr/>
          <p:nvPr/>
        </p:nvSpPr>
        <p:spPr>
          <a:xfrm>
            <a:off x="8982456"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solidFill>
            <a:srgbClr val="FFFFFF"/>
          </a:solidFill>
        </p:spPr>
        <p:txBody>
          <a:bodyPr wrap="square" lIns="0" tIns="0" rIns="0" bIns="0" rtlCol="0"/>
          <a:lstStyle/>
          <a:p>
            <a:endParaRPr/>
          </a:p>
        </p:txBody>
      </p:sp>
      <p:sp>
        <p:nvSpPr>
          <p:cNvPr id="38" name="object 38"/>
          <p:cNvSpPr/>
          <p:nvPr/>
        </p:nvSpPr>
        <p:spPr>
          <a:xfrm>
            <a:off x="8982456"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ln w="12192">
            <a:solidFill>
              <a:srgbClr val="767676"/>
            </a:solidFill>
          </a:ln>
        </p:spPr>
        <p:txBody>
          <a:bodyPr wrap="square" lIns="0" tIns="0" rIns="0" bIns="0" rtlCol="0"/>
          <a:lstStyle/>
          <a:p>
            <a:endParaRPr/>
          </a:p>
        </p:txBody>
      </p:sp>
      <p:sp>
        <p:nvSpPr>
          <p:cNvPr id="39" name="object 39"/>
          <p:cNvSpPr/>
          <p:nvPr/>
        </p:nvSpPr>
        <p:spPr>
          <a:xfrm>
            <a:off x="8982456" y="5382767"/>
            <a:ext cx="883919" cy="603885"/>
          </a:xfrm>
          <a:custGeom>
            <a:avLst/>
            <a:gdLst/>
            <a:ahLst/>
            <a:cxnLst/>
            <a:rect l="l" t="t" r="r" b="b"/>
            <a:pathLst>
              <a:path w="883920" h="603885">
                <a:moveTo>
                  <a:pt x="0" y="603503"/>
                </a:moveTo>
                <a:lnTo>
                  <a:pt x="883920" y="603503"/>
                </a:lnTo>
                <a:lnTo>
                  <a:pt x="883920" y="0"/>
                </a:lnTo>
                <a:lnTo>
                  <a:pt x="0" y="0"/>
                </a:lnTo>
                <a:lnTo>
                  <a:pt x="0" y="603503"/>
                </a:lnTo>
                <a:close/>
              </a:path>
            </a:pathLst>
          </a:custGeom>
          <a:ln w="12192">
            <a:solidFill>
              <a:srgbClr val="767676"/>
            </a:solidFill>
          </a:ln>
        </p:spPr>
        <p:txBody>
          <a:bodyPr wrap="square" lIns="0" tIns="0" rIns="0" bIns="0" rtlCol="0"/>
          <a:lstStyle/>
          <a:p>
            <a:endParaRPr/>
          </a:p>
        </p:txBody>
      </p:sp>
      <p:sp>
        <p:nvSpPr>
          <p:cNvPr id="40" name="object 40"/>
          <p:cNvSpPr/>
          <p:nvPr/>
        </p:nvSpPr>
        <p:spPr>
          <a:xfrm>
            <a:off x="7968995" y="3006851"/>
            <a:ext cx="885825" cy="605155"/>
          </a:xfrm>
          <a:custGeom>
            <a:avLst/>
            <a:gdLst/>
            <a:ahLst/>
            <a:cxnLst/>
            <a:rect l="l" t="t" r="r" b="b"/>
            <a:pathLst>
              <a:path w="885825" h="605154">
                <a:moveTo>
                  <a:pt x="0" y="605028"/>
                </a:moveTo>
                <a:lnTo>
                  <a:pt x="885444" y="605028"/>
                </a:lnTo>
                <a:lnTo>
                  <a:pt x="885444" y="0"/>
                </a:lnTo>
                <a:lnTo>
                  <a:pt x="0" y="0"/>
                </a:lnTo>
                <a:lnTo>
                  <a:pt x="0" y="605028"/>
                </a:lnTo>
                <a:close/>
              </a:path>
            </a:pathLst>
          </a:custGeom>
          <a:ln w="12192">
            <a:solidFill>
              <a:srgbClr val="767676"/>
            </a:solidFill>
          </a:ln>
        </p:spPr>
        <p:txBody>
          <a:bodyPr wrap="square" lIns="0" tIns="0" rIns="0" bIns="0" rtlCol="0"/>
          <a:lstStyle/>
          <a:p>
            <a:endParaRPr/>
          </a:p>
        </p:txBody>
      </p:sp>
      <p:sp>
        <p:nvSpPr>
          <p:cNvPr id="41" name="object 41"/>
          <p:cNvSpPr/>
          <p:nvPr/>
        </p:nvSpPr>
        <p:spPr>
          <a:xfrm>
            <a:off x="7968995" y="5382767"/>
            <a:ext cx="885825" cy="603885"/>
          </a:xfrm>
          <a:custGeom>
            <a:avLst/>
            <a:gdLst/>
            <a:ahLst/>
            <a:cxnLst/>
            <a:rect l="l" t="t" r="r" b="b"/>
            <a:pathLst>
              <a:path w="885825" h="603885">
                <a:moveTo>
                  <a:pt x="0" y="603503"/>
                </a:moveTo>
                <a:lnTo>
                  <a:pt x="885444" y="603503"/>
                </a:lnTo>
                <a:lnTo>
                  <a:pt x="885444" y="0"/>
                </a:lnTo>
                <a:lnTo>
                  <a:pt x="0" y="0"/>
                </a:lnTo>
                <a:lnTo>
                  <a:pt x="0" y="603503"/>
                </a:lnTo>
                <a:close/>
              </a:path>
            </a:pathLst>
          </a:custGeom>
          <a:ln w="12192">
            <a:solidFill>
              <a:srgbClr val="767676"/>
            </a:solidFill>
          </a:ln>
        </p:spPr>
        <p:txBody>
          <a:bodyPr wrap="square" lIns="0" tIns="0" rIns="0" bIns="0" rtlCol="0"/>
          <a:lstStyle/>
          <a:p>
            <a:endParaRPr/>
          </a:p>
        </p:txBody>
      </p:sp>
      <p:sp>
        <p:nvSpPr>
          <p:cNvPr id="42" name="object 42"/>
          <p:cNvSpPr/>
          <p:nvPr/>
        </p:nvSpPr>
        <p:spPr>
          <a:xfrm>
            <a:off x="7039356" y="4191000"/>
            <a:ext cx="883919" cy="603885"/>
          </a:xfrm>
          <a:custGeom>
            <a:avLst/>
            <a:gdLst/>
            <a:ahLst/>
            <a:cxnLst/>
            <a:rect l="l" t="t" r="r" b="b"/>
            <a:pathLst>
              <a:path w="883920" h="603885">
                <a:moveTo>
                  <a:pt x="0" y="603504"/>
                </a:moveTo>
                <a:lnTo>
                  <a:pt x="883920" y="603504"/>
                </a:lnTo>
                <a:lnTo>
                  <a:pt x="883920" y="0"/>
                </a:lnTo>
                <a:lnTo>
                  <a:pt x="0" y="0"/>
                </a:lnTo>
                <a:lnTo>
                  <a:pt x="0" y="603504"/>
                </a:lnTo>
                <a:close/>
              </a:path>
            </a:pathLst>
          </a:custGeom>
          <a:ln w="12192">
            <a:solidFill>
              <a:srgbClr val="767676"/>
            </a:solidFill>
          </a:ln>
        </p:spPr>
        <p:txBody>
          <a:bodyPr wrap="square" lIns="0" tIns="0" rIns="0" bIns="0" rtlCol="0"/>
          <a:lstStyle/>
          <a:p>
            <a:endParaRPr/>
          </a:p>
        </p:txBody>
      </p:sp>
      <p:sp>
        <p:nvSpPr>
          <p:cNvPr id="43" name="object 43"/>
          <p:cNvSpPr/>
          <p:nvPr/>
        </p:nvSpPr>
        <p:spPr>
          <a:xfrm>
            <a:off x="6109715" y="3006851"/>
            <a:ext cx="883919" cy="605155"/>
          </a:xfrm>
          <a:custGeom>
            <a:avLst/>
            <a:gdLst/>
            <a:ahLst/>
            <a:cxnLst/>
            <a:rect l="l" t="t" r="r" b="b"/>
            <a:pathLst>
              <a:path w="883920" h="605154">
                <a:moveTo>
                  <a:pt x="0" y="605028"/>
                </a:moveTo>
                <a:lnTo>
                  <a:pt x="883919" y="605028"/>
                </a:lnTo>
                <a:lnTo>
                  <a:pt x="883919" y="0"/>
                </a:lnTo>
                <a:lnTo>
                  <a:pt x="0" y="0"/>
                </a:lnTo>
                <a:lnTo>
                  <a:pt x="0" y="605028"/>
                </a:lnTo>
                <a:close/>
              </a:path>
            </a:pathLst>
          </a:custGeom>
          <a:ln w="12192">
            <a:solidFill>
              <a:srgbClr val="767676"/>
            </a:solidFill>
          </a:ln>
        </p:spPr>
        <p:txBody>
          <a:bodyPr wrap="square" lIns="0" tIns="0" rIns="0" bIns="0" rtlCol="0"/>
          <a:lstStyle/>
          <a:p>
            <a:endParaRPr/>
          </a:p>
        </p:txBody>
      </p:sp>
      <p:sp>
        <p:nvSpPr>
          <p:cNvPr id="44" name="object 44"/>
          <p:cNvSpPr/>
          <p:nvPr/>
        </p:nvSpPr>
        <p:spPr>
          <a:xfrm>
            <a:off x="6109715" y="5382767"/>
            <a:ext cx="883919" cy="603885"/>
          </a:xfrm>
          <a:custGeom>
            <a:avLst/>
            <a:gdLst/>
            <a:ahLst/>
            <a:cxnLst/>
            <a:rect l="l" t="t" r="r" b="b"/>
            <a:pathLst>
              <a:path w="883920" h="603885">
                <a:moveTo>
                  <a:pt x="0" y="603503"/>
                </a:moveTo>
                <a:lnTo>
                  <a:pt x="883919" y="603503"/>
                </a:lnTo>
                <a:lnTo>
                  <a:pt x="883919" y="0"/>
                </a:lnTo>
                <a:lnTo>
                  <a:pt x="0" y="0"/>
                </a:lnTo>
                <a:lnTo>
                  <a:pt x="0" y="603503"/>
                </a:lnTo>
                <a:close/>
              </a:path>
            </a:pathLst>
          </a:custGeom>
          <a:ln w="12192">
            <a:solidFill>
              <a:srgbClr val="767676"/>
            </a:solidFill>
          </a:ln>
        </p:spPr>
        <p:txBody>
          <a:bodyPr wrap="square" lIns="0" tIns="0" rIns="0" bIns="0" rtlCol="0"/>
          <a:lstStyle/>
          <a:p>
            <a:endParaRPr/>
          </a:p>
        </p:txBody>
      </p:sp>
      <p:sp>
        <p:nvSpPr>
          <p:cNvPr id="45" name="object 45"/>
          <p:cNvSpPr/>
          <p:nvPr/>
        </p:nvSpPr>
        <p:spPr>
          <a:xfrm>
            <a:off x="8031480" y="3083051"/>
            <a:ext cx="758951" cy="452627"/>
          </a:xfrm>
          <a:prstGeom prst="rect">
            <a:avLst/>
          </a:prstGeom>
          <a:blipFill>
            <a:blip r:embed="rId2" cstate="print"/>
            <a:stretch>
              <a:fillRect/>
            </a:stretch>
          </a:blipFill>
        </p:spPr>
        <p:txBody>
          <a:bodyPr wrap="square" lIns="0" tIns="0" rIns="0" bIns="0" rtlCol="0"/>
          <a:lstStyle/>
          <a:p>
            <a:endParaRPr/>
          </a:p>
        </p:txBody>
      </p:sp>
      <p:sp>
        <p:nvSpPr>
          <p:cNvPr id="46" name="object 46"/>
          <p:cNvSpPr/>
          <p:nvPr/>
        </p:nvSpPr>
        <p:spPr>
          <a:xfrm>
            <a:off x="8031480" y="5419344"/>
            <a:ext cx="758951" cy="452628"/>
          </a:xfrm>
          <a:prstGeom prst="rect">
            <a:avLst/>
          </a:prstGeom>
          <a:blipFill>
            <a:blip r:embed="rId3" cstate="print"/>
            <a:stretch>
              <a:fillRect/>
            </a:stretch>
          </a:blipFill>
        </p:spPr>
        <p:txBody>
          <a:bodyPr wrap="square" lIns="0" tIns="0" rIns="0" bIns="0" rtlCol="0"/>
          <a:lstStyle/>
          <a:p>
            <a:endParaRPr/>
          </a:p>
        </p:txBody>
      </p:sp>
      <p:sp>
        <p:nvSpPr>
          <p:cNvPr id="47" name="object 47"/>
          <p:cNvSpPr/>
          <p:nvPr/>
        </p:nvSpPr>
        <p:spPr>
          <a:xfrm>
            <a:off x="6172200" y="3083051"/>
            <a:ext cx="758951" cy="452627"/>
          </a:xfrm>
          <a:prstGeom prst="rect">
            <a:avLst/>
          </a:prstGeom>
          <a:blipFill>
            <a:blip r:embed="rId4" cstate="print"/>
            <a:stretch>
              <a:fillRect/>
            </a:stretch>
          </a:blipFill>
        </p:spPr>
        <p:txBody>
          <a:bodyPr wrap="square" lIns="0" tIns="0" rIns="0" bIns="0" rtlCol="0"/>
          <a:lstStyle/>
          <a:p>
            <a:endParaRPr/>
          </a:p>
        </p:txBody>
      </p:sp>
      <p:sp>
        <p:nvSpPr>
          <p:cNvPr id="48" name="object 48"/>
          <p:cNvSpPr/>
          <p:nvPr/>
        </p:nvSpPr>
        <p:spPr>
          <a:xfrm>
            <a:off x="6172200" y="5457444"/>
            <a:ext cx="758951" cy="454152"/>
          </a:xfrm>
          <a:prstGeom prst="rect">
            <a:avLst/>
          </a:prstGeom>
          <a:blipFill>
            <a:blip r:embed="rId5" cstate="print"/>
            <a:stretch>
              <a:fillRect/>
            </a:stretch>
          </a:blipFill>
        </p:spPr>
        <p:txBody>
          <a:bodyPr wrap="square" lIns="0" tIns="0" rIns="0" bIns="0" rtlCol="0"/>
          <a:lstStyle/>
          <a:p>
            <a:endParaRPr/>
          </a:p>
        </p:txBody>
      </p:sp>
      <p:sp>
        <p:nvSpPr>
          <p:cNvPr id="49" name="object 49"/>
          <p:cNvSpPr/>
          <p:nvPr/>
        </p:nvSpPr>
        <p:spPr>
          <a:xfrm>
            <a:off x="7094219" y="4256532"/>
            <a:ext cx="752235" cy="452627"/>
          </a:xfrm>
          <a:prstGeom prst="rect">
            <a:avLst/>
          </a:prstGeom>
          <a:blipFill>
            <a:blip r:embed="rId6" cstate="print"/>
            <a:stretch>
              <a:fillRect/>
            </a:stretch>
          </a:blipFill>
        </p:spPr>
        <p:txBody>
          <a:bodyPr wrap="square" lIns="0" tIns="0" rIns="0" bIns="0" rtlCol="0"/>
          <a:lstStyle/>
          <a:p>
            <a:endParaRPr/>
          </a:p>
        </p:txBody>
      </p:sp>
      <p:sp>
        <p:nvSpPr>
          <p:cNvPr id="50" name="object 50"/>
          <p:cNvSpPr/>
          <p:nvPr/>
        </p:nvSpPr>
        <p:spPr>
          <a:xfrm>
            <a:off x="9044940" y="3083051"/>
            <a:ext cx="758951" cy="452627"/>
          </a:xfrm>
          <a:prstGeom prst="rect">
            <a:avLst/>
          </a:prstGeom>
          <a:blipFill>
            <a:blip r:embed="rId7" cstate="print"/>
            <a:stretch>
              <a:fillRect/>
            </a:stretch>
          </a:blipFill>
        </p:spPr>
        <p:txBody>
          <a:bodyPr wrap="square" lIns="0" tIns="0" rIns="0" bIns="0" rtlCol="0"/>
          <a:lstStyle/>
          <a:p>
            <a:endParaRPr/>
          </a:p>
        </p:txBody>
      </p:sp>
      <p:sp>
        <p:nvSpPr>
          <p:cNvPr id="51" name="object 51"/>
          <p:cNvSpPr/>
          <p:nvPr/>
        </p:nvSpPr>
        <p:spPr>
          <a:xfrm>
            <a:off x="9044940" y="5448300"/>
            <a:ext cx="758951" cy="452628"/>
          </a:xfrm>
          <a:prstGeom prst="rect">
            <a:avLst/>
          </a:prstGeom>
          <a:blipFill>
            <a:blip r:embed="rId8" cstate="print"/>
            <a:stretch>
              <a:fillRect/>
            </a:stretch>
          </a:blipFill>
        </p:spPr>
        <p:txBody>
          <a:bodyPr wrap="square" lIns="0" tIns="0" rIns="0" bIns="0" rtlCol="0"/>
          <a:lstStyle/>
          <a:p>
            <a:endParaRPr/>
          </a:p>
        </p:txBody>
      </p:sp>
      <p:sp>
        <p:nvSpPr>
          <p:cNvPr id="52" name="object 52"/>
          <p:cNvSpPr/>
          <p:nvPr/>
        </p:nvSpPr>
        <p:spPr>
          <a:xfrm>
            <a:off x="9044940" y="4265676"/>
            <a:ext cx="758951" cy="452628"/>
          </a:xfrm>
          <a:prstGeom prst="rect">
            <a:avLst/>
          </a:prstGeom>
          <a:blipFill>
            <a:blip r:embed="rId9" cstate="print"/>
            <a:stretch>
              <a:fillRect/>
            </a:stretch>
          </a:blipFill>
        </p:spPr>
        <p:txBody>
          <a:bodyPr wrap="square" lIns="0" tIns="0" rIns="0" bIns="0" rtlCol="0"/>
          <a:lstStyle/>
          <a:p>
            <a:endParaRPr/>
          </a:p>
        </p:txBody>
      </p:sp>
      <p:sp>
        <p:nvSpPr>
          <p:cNvPr id="53" name="object 53"/>
          <p:cNvSpPr/>
          <p:nvPr/>
        </p:nvSpPr>
        <p:spPr>
          <a:xfrm>
            <a:off x="11026140" y="4265676"/>
            <a:ext cx="758951" cy="452628"/>
          </a:xfrm>
          <a:prstGeom prst="rect">
            <a:avLst/>
          </a:prstGeom>
          <a:blipFill>
            <a:blip r:embed="rId10" cstate="print"/>
            <a:stretch>
              <a:fillRect/>
            </a:stretch>
          </a:blipFill>
        </p:spPr>
        <p:txBody>
          <a:bodyPr wrap="square" lIns="0" tIns="0" rIns="0" bIns="0" rtlCol="0"/>
          <a:lstStyle/>
          <a:p>
            <a:endParaRPr/>
          </a:p>
        </p:txBody>
      </p:sp>
      <p:sp>
        <p:nvSpPr>
          <p:cNvPr id="54" name="object 54"/>
          <p:cNvSpPr/>
          <p:nvPr/>
        </p:nvSpPr>
        <p:spPr>
          <a:xfrm>
            <a:off x="10037064" y="3083051"/>
            <a:ext cx="758951" cy="452627"/>
          </a:xfrm>
          <a:prstGeom prst="rect">
            <a:avLst/>
          </a:prstGeom>
          <a:blipFill>
            <a:blip r:embed="rId11" cstate="print"/>
            <a:stretch>
              <a:fillRect/>
            </a:stretch>
          </a:blipFill>
        </p:spPr>
        <p:txBody>
          <a:bodyPr wrap="square" lIns="0" tIns="0" rIns="0" bIns="0" rtlCol="0"/>
          <a:lstStyle/>
          <a:p>
            <a:endParaRPr/>
          </a:p>
        </p:txBody>
      </p:sp>
      <p:sp>
        <p:nvSpPr>
          <p:cNvPr id="55" name="object 55"/>
          <p:cNvSpPr/>
          <p:nvPr/>
        </p:nvSpPr>
        <p:spPr>
          <a:xfrm>
            <a:off x="11026140" y="5452871"/>
            <a:ext cx="758951" cy="454151"/>
          </a:xfrm>
          <a:prstGeom prst="rect">
            <a:avLst/>
          </a:prstGeom>
          <a:blipFill>
            <a:blip r:embed="rId12" cstate="print"/>
            <a:stretch>
              <a:fillRect/>
            </a:stretch>
          </a:blipFill>
        </p:spPr>
        <p:txBody>
          <a:bodyPr wrap="square" lIns="0" tIns="0" rIns="0" bIns="0" rtlCol="0"/>
          <a:lstStyle/>
          <a:p>
            <a:endParaRPr/>
          </a:p>
        </p:txBody>
      </p:sp>
      <p:sp>
        <p:nvSpPr>
          <p:cNvPr id="56" name="object 56"/>
          <p:cNvSpPr/>
          <p:nvPr/>
        </p:nvSpPr>
        <p:spPr>
          <a:xfrm>
            <a:off x="10037064" y="4265676"/>
            <a:ext cx="758951" cy="452628"/>
          </a:xfrm>
          <a:prstGeom prst="rect">
            <a:avLst/>
          </a:prstGeom>
          <a:blipFill>
            <a:blip r:embed="rId13" cstate="print"/>
            <a:stretch>
              <a:fillRect/>
            </a:stretch>
          </a:blipFill>
        </p:spPr>
        <p:txBody>
          <a:bodyPr wrap="square" lIns="0" tIns="0" rIns="0" bIns="0" rtlCol="0"/>
          <a:lstStyle/>
          <a:p>
            <a:endParaRPr/>
          </a:p>
        </p:txBody>
      </p:sp>
      <p:sp>
        <p:nvSpPr>
          <p:cNvPr id="57" name="object 57"/>
          <p:cNvSpPr/>
          <p:nvPr/>
        </p:nvSpPr>
        <p:spPr>
          <a:xfrm>
            <a:off x="6109715" y="2269235"/>
            <a:ext cx="922019" cy="326390"/>
          </a:xfrm>
          <a:custGeom>
            <a:avLst/>
            <a:gdLst/>
            <a:ahLst/>
            <a:cxnLst/>
            <a:rect l="l" t="t" r="r" b="b"/>
            <a:pathLst>
              <a:path w="922020" h="326389">
                <a:moveTo>
                  <a:pt x="849757" y="0"/>
                </a:moveTo>
                <a:lnTo>
                  <a:pt x="0" y="0"/>
                </a:lnTo>
                <a:lnTo>
                  <a:pt x="0" y="326136"/>
                </a:lnTo>
                <a:lnTo>
                  <a:pt x="849757" y="326136"/>
                </a:lnTo>
                <a:lnTo>
                  <a:pt x="922019" y="162178"/>
                </a:lnTo>
                <a:lnTo>
                  <a:pt x="849757" y="0"/>
                </a:lnTo>
                <a:close/>
              </a:path>
            </a:pathLst>
          </a:custGeom>
          <a:solidFill>
            <a:srgbClr val="09556C"/>
          </a:solidFill>
        </p:spPr>
        <p:txBody>
          <a:bodyPr wrap="square" lIns="0" tIns="0" rIns="0" bIns="0" rtlCol="0"/>
          <a:lstStyle/>
          <a:p>
            <a:endParaRPr/>
          </a:p>
        </p:txBody>
      </p:sp>
      <p:sp>
        <p:nvSpPr>
          <p:cNvPr id="58" name="object 58"/>
          <p:cNvSpPr txBox="1"/>
          <p:nvPr/>
        </p:nvSpPr>
        <p:spPr>
          <a:xfrm>
            <a:off x="6264021" y="2268092"/>
            <a:ext cx="614045" cy="330200"/>
          </a:xfrm>
          <a:prstGeom prst="rect">
            <a:avLst/>
          </a:prstGeom>
        </p:spPr>
        <p:txBody>
          <a:bodyPr vert="horz" wrap="square" lIns="0" tIns="12065" rIns="0" bIns="0" rtlCol="0">
            <a:spAutoFit/>
          </a:bodyPr>
          <a:lstStyle/>
          <a:p>
            <a:pPr marL="12700" marR="5080" indent="118745">
              <a:lnSpc>
                <a:spcPct val="100000"/>
              </a:lnSpc>
              <a:spcBef>
                <a:spcPts val="95"/>
              </a:spcBef>
            </a:pPr>
            <a:r>
              <a:rPr sz="1000" b="1" spc="-10">
                <a:solidFill>
                  <a:srgbClr val="FFFFFF"/>
                </a:solidFill>
                <a:latin typeface="Verdana"/>
                <a:cs typeface="Verdana"/>
              </a:rPr>
              <a:t>As-is  </a:t>
            </a:r>
            <a:r>
              <a:rPr sz="1000" b="1" spc="-15">
                <a:solidFill>
                  <a:srgbClr val="FFFFFF"/>
                </a:solidFill>
                <a:latin typeface="Verdana"/>
                <a:cs typeface="Verdana"/>
              </a:rPr>
              <a:t>A</a:t>
            </a:r>
            <a:r>
              <a:rPr sz="1000" b="1" spc="-10">
                <a:solidFill>
                  <a:srgbClr val="FFFFFF"/>
                </a:solidFill>
                <a:latin typeface="Verdana"/>
                <a:cs typeface="Verdana"/>
              </a:rPr>
              <a:t>n</a:t>
            </a:r>
            <a:r>
              <a:rPr sz="1000" b="1" spc="-15">
                <a:solidFill>
                  <a:srgbClr val="FFFFFF"/>
                </a:solidFill>
                <a:latin typeface="Verdana"/>
                <a:cs typeface="Verdana"/>
              </a:rPr>
              <a:t>a</a:t>
            </a:r>
            <a:r>
              <a:rPr sz="1000" b="1" spc="-10">
                <a:solidFill>
                  <a:srgbClr val="FFFFFF"/>
                </a:solidFill>
                <a:latin typeface="Verdana"/>
                <a:cs typeface="Verdana"/>
              </a:rPr>
              <a:t>l</a:t>
            </a:r>
            <a:r>
              <a:rPr sz="1000" b="1" spc="-5">
                <a:solidFill>
                  <a:srgbClr val="FFFFFF"/>
                </a:solidFill>
                <a:latin typeface="Verdana"/>
                <a:cs typeface="Verdana"/>
              </a:rPr>
              <a:t>y</a:t>
            </a:r>
            <a:r>
              <a:rPr sz="1000" b="1" spc="-10">
                <a:solidFill>
                  <a:srgbClr val="FFFFFF"/>
                </a:solidFill>
                <a:latin typeface="Verdana"/>
                <a:cs typeface="Verdana"/>
              </a:rPr>
              <a:t>si</a:t>
            </a:r>
            <a:r>
              <a:rPr sz="1000" b="1" spc="-5">
                <a:solidFill>
                  <a:srgbClr val="FFFFFF"/>
                </a:solidFill>
                <a:latin typeface="Verdana"/>
                <a:cs typeface="Verdana"/>
              </a:rPr>
              <a:t>s</a:t>
            </a:r>
            <a:endParaRPr sz="1000">
              <a:latin typeface="Verdana"/>
              <a:cs typeface="Verdana"/>
            </a:endParaRPr>
          </a:p>
        </p:txBody>
      </p:sp>
      <p:sp>
        <p:nvSpPr>
          <p:cNvPr id="59" name="object 59"/>
          <p:cNvSpPr/>
          <p:nvPr/>
        </p:nvSpPr>
        <p:spPr>
          <a:xfrm>
            <a:off x="7039356" y="2269235"/>
            <a:ext cx="1815464" cy="326390"/>
          </a:xfrm>
          <a:custGeom>
            <a:avLst/>
            <a:gdLst/>
            <a:ahLst/>
            <a:cxnLst/>
            <a:rect l="l" t="t" r="r" b="b"/>
            <a:pathLst>
              <a:path w="1815465" h="326389">
                <a:moveTo>
                  <a:pt x="1740027" y="0"/>
                </a:moveTo>
                <a:lnTo>
                  <a:pt x="0" y="0"/>
                </a:lnTo>
                <a:lnTo>
                  <a:pt x="76073" y="162178"/>
                </a:lnTo>
                <a:lnTo>
                  <a:pt x="0" y="326136"/>
                </a:lnTo>
                <a:lnTo>
                  <a:pt x="1740027" y="326136"/>
                </a:lnTo>
                <a:lnTo>
                  <a:pt x="1815084" y="162178"/>
                </a:lnTo>
                <a:lnTo>
                  <a:pt x="1740027" y="0"/>
                </a:lnTo>
                <a:close/>
              </a:path>
            </a:pathLst>
          </a:custGeom>
          <a:solidFill>
            <a:srgbClr val="09556C"/>
          </a:solidFill>
        </p:spPr>
        <p:txBody>
          <a:bodyPr wrap="square" lIns="0" tIns="0" rIns="0" bIns="0" rtlCol="0"/>
          <a:lstStyle/>
          <a:p>
            <a:endParaRPr/>
          </a:p>
        </p:txBody>
      </p:sp>
      <p:sp>
        <p:nvSpPr>
          <p:cNvPr id="60" name="object 60"/>
          <p:cNvSpPr txBox="1"/>
          <p:nvPr/>
        </p:nvSpPr>
        <p:spPr>
          <a:xfrm>
            <a:off x="7467092" y="2344292"/>
            <a:ext cx="961390" cy="177800"/>
          </a:xfrm>
          <a:prstGeom prst="rect">
            <a:avLst/>
          </a:prstGeom>
        </p:spPr>
        <p:txBody>
          <a:bodyPr vert="horz" wrap="square" lIns="0" tIns="12065" rIns="0" bIns="0" rtlCol="0">
            <a:spAutoFit/>
          </a:bodyPr>
          <a:lstStyle/>
          <a:p>
            <a:pPr marL="12700">
              <a:lnSpc>
                <a:spcPct val="100000"/>
              </a:lnSpc>
              <a:spcBef>
                <a:spcPts val="95"/>
              </a:spcBef>
            </a:pPr>
            <a:r>
              <a:rPr sz="1000" b="1" spc="-5">
                <a:solidFill>
                  <a:srgbClr val="FFFFFF"/>
                </a:solidFill>
                <a:latin typeface="Verdana"/>
                <a:cs typeface="Verdana"/>
              </a:rPr>
              <a:t>To-be</a:t>
            </a:r>
            <a:r>
              <a:rPr sz="1000" b="1" spc="-60">
                <a:solidFill>
                  <a:srgbClr val="FFFFFF"/>
                </a:solidFill>
                <a:latin typeface="Verdana"/>
                <a:cs typeface="Verdana"/>
              </a:rPr>
              <a:t> </a:t>
            </a:r>
            <a:r>
              <a:rPr sz="1000" b="1" spc="-10">
                <a:solidFill>
                  <a:srgbClr val="FFFFFF"/>
                </a:solidFill>
                <a:latin typeface="Verdana"/>
                <a:cs typeface="Verdana"/>
              </a:rPr>
              <a:t>Design</a:t>
            </a:r>
            <a:endParaRPr sz="1000">
              <a:latin typeface="Verdana"/>
              <a:cs typeface="Verdana"/>
            </a:endParaRPr>
          </a:p>
        </p:txBody>
      </p:sp>
      <p:sp>
        <p:nvSpPr>
          <p:cNvPr id="61" name="object 61"/>
          <p:cNvSpPr/>
          <p:nvPr/>
        </p:nvSpPr>
        <p:spPr>
          <a:xfrm>
            <a:off x="8982456" y="2269235"/>
            <a:ext cx="2933700" cy="326390"/>
          </a:xfrm>
          <a:custGeom>
            <a:avLst/>
            <a:gdLst/>
            <a:ahLst/>
            <a:cxnLst/>
            <a:rect l="l" t="t" r="r" b="b"/>
            <a:pathLst>
              <a:path w="2933700" h="326389">
                <a:moveTo>
                  <a:pt x="2854071" y="0"/>
                </a:moveTo>
                <a:lnTo>
                  <a:pt x="0" y="0"/>
                </a:lnTo>
                <a:lnTo>
                  <a:pt x="79628" y="162178"/>
                </a:lnTo>
                <a:lnTo>
                  <a:pt x="0" y="326136"/>
                </a:lnTo>
                <a:lnTo>
                  <a:pt x="2854071" y="326136"/>
                </a:lnTo>
                <a:lnTo>
                  <a:pt x="2933700" y="162178"/>
                </a:lnTo>
                <a:lnTo>
                  <a:pt x="2854071" y="0"/>
                </a:lnTo>
                <a:close/>
              </a:path>
            </a:pathLst>
          </a:custGeom>
          <a:solidFill>
            <a:srgbClr val="09556C"/>
          </a:solidFill>
        </p:spPr>
        <p:txBody>
          <a:bodyPr wrap="square" lIns="0" tIns="0" rIns="0" bIns="0" rtlCol="0"/>
          <a:lstStyle/>
          <a:p>
            <a:endParaRPr/>
          </a:p>
        </p:txBody>
      </p:sp>
      <p:sp>
        <p:nvSpPr>
          <p:cNvPr id="62" name="object 62"/>
          <p:cNvSpPr txBox="1"/>
          <p:nvPr/>
        </p:nvSpPr>
        <p:spPr>
          <a:xfrm>
            <a:off x="9611614" y="2344292"/>
            <a:ext cx="1676400" cy="177800"/>
          </a:xfrm>
          <a:prstGeom prst="rect">
            <a:avLst/>
          </a:prstGeom>
        </p:spPr>
        <p:txBody>
          <a:bodyPr vert="horz" wrap="square" lIns="0" tIns="12065" rIns="0" bIns="0" rtlCol="0">
            <a:spAutoFit/>
          </a:bodyPr>
          <a:lstStyle/>
          <a:p>
            <a:pPr marL="12700">
              <a:lnSpc>
                <a:spcPct val="100000"/>
              </a:lnSpc>
              <a:spcBef>
                <a:spcPts val="95"/>
              </a:spcBef>
            </a:pPr>
            <a:r>
              <a:rPr sz="1000" b="1" spc="-10">
                <a:solidFill>
                  <a:srgbClr val="FFFFFF"/>
                </a:solidFill>
                <a:latin typeface="Verdana"/>
                <a:cs typeface="Verdana"/>
              </a:rPr>
              <a:t>Roadmap</a:t>
            </a:r>
            <a:r>
              <a:rPr sz="1000" b="1">
                <a:solidFill>
                  <a:srgbClr val="FFFFFF"/>
                </a:solidFill>
                <a:latin typeface="Verdana"/>
                <a:cs typeface="Verdana"/>
              </a:rPr>
              <a:t> </a:t>
            </a:r>
            <a:r>
              <a:rPr sz="1000" b="1" spc="-10">
                <a:solidFill>
                  <a:srgbClr val="FFFFFF"/>
                </a:solidFill>
                <a:latin typeface="Verdana"/>
                <a:cs typeface="Verdana"/>
              </a:rPr>
              <a:t>Development</a:t>
            </a:r>
            <a:endParaRPr sz="1000">
              <a:latin typeface="Verdana"/>
              <a:cs typeface="Verdana"/>
            </a:endParaRPr>
          </a:p>
        </p:txBody>
      </p:sp>
      <p:sp>
        <p:nvSpPr>
          <p:cNvPr id="63" name="object 63"/>
          <p:cNvSpPr/>
          <p:nvPr/>
        </p:nvSpPr>
        <p:spPr>
          <a:xfrm>
            <a:off x="6109715" y="2660904"/>
            <a:ext cx="883919" cy="326390"/>
          </a:xfrm>
          <a:custGeom>
            <a:avLst/>
            <a:gdLst/>
            <a:ahLst/>
            <a:cxnLst/>
            <a:rect l="l" t="t" r="r" b="b"/>
            <a:pathLst>
              <a:path w="883920" h="326389">
                <a:moveTo>
                  <a:pt x="829563" y="0"/>
                </a:moveTo>
                <a:lnTo>
                  <a:pt x="54356" y="0"/>
                </a:lnTo>
                <a:lnTo>
                  <a:pt x="33218" y="4278"/>
                </a:lnTo>
                <a:lnTo>
                  <a:pt x="15938" y="15938"/>
                </a:lnTo>
                <a:lnTo>
                  <a:pt x="4278" y="33218"/>
                </a:lnTo>
                <a:lnTo>
                  <a:pt x="0" y="54356"/>
                </a:lnTo>
                <a:lnTo>
                  <a:pt x="0" y="271780"/>
                </a:lnTo>
                <a:lnTo>
                  <a:pt x="4278" y="292917"/>
                </a:lnTo>
                <a:lnTo>
                  <a:pt x="15938" y="310197"/>
                </a:lnTo>
                <a:lnTo>
                  <a:pt x="33218" y="321857"/>
                </a:lnTo>
                <a:lnTo>
                  <a:pt x="54356" y="326136"/>
                </a:lnTo>
                <a:lnTo>
                  <a:pt x="829563" y="326136"/>
                </a:lnTo>
                <a:lnTo>
                  <a:pt x="850701" y="321857"/>
                </a:lnTo>
                <a:lnTo>
                  <a:pt x="867981" y="310197"/>
                </a:lnTo>
                <a:lnTo>
                  <a:pt x="879641" y="292917"/>
                </a:lnTo>
                <a:lnTo>
                  <a:pt x="883919" y="271780"/>
                </a:lnTo>
                <a:lnTo>
                  <a:pt x="883919" y="54356"/>
                </a:lnTo>
                <a:lnTo>
                  <a:pt x="879641" y="33218"/>
                </a:lnTo>
                <a:lnTo>
                  <a:pt x="867981" y="15938"/>
                </a:lnTo>
                <a:lnTo>
                  <a:pt x="850701" y="4278"/>
                </a:lnTo>
                <a:lnTo>
                  <a:pt x="829563" y="0"/>
                </a:lnTo>
                <a:close/>
              </a:path>
            </a:pathLst>
          </a:custGeom>
          <a:solidFill>
            <a:srgbClr val="CDEFFA"/>
          </a:solidFill>
        </p:spPr>
        <p:txBody>
          <a:bodyPr wrap="square" lIns="0" tIns="0" rIns="0" bIns="0" rtlCol="0"/>
          <a:lstStyle/>
          <a:p>
            <a:endParaRPr/>
          </a:p>
        </p:txBody>
      </p:sp>
      <p:sp>
        <p:nvSpPr>
          <p:cNvPr id="64" name="object 64"/>
          <p:cNvSpPr txBox="1"/>
          <p:nvPr/>
        </p:nvSpPr>
        <p:spPr>
          <a:xfrm>
            <a:off x="6164326" y="2749423"/>
            <a:ext cx="775970" cy="147955"/>
          </a:xfrm>
          <a:prstGeom prst="rect">
            <a:avLst/>
          </a:prstGeom>
        </p:spPr>
        <p:txBody>
          <a:bodyPr vert="horz" wrap="square" lIns="0" tIns="13335" rIns="0" bIns="0" rtlCol="0">
            <a:spAutoFit/>
          </a:bodyPr>
          <a:lstStyle/>
          <a:p>
            <a:pPr marL="12700">
              <a:lnSpc>
                <a:spcPct val="100000"/>
              </a:lnSpc>
              <a:spcBef>
                <a:spcPts val="105"/>
              </a:spcBef>
            </a:pPr>
            <a:r>
              <a:rPr sz="800" b="1">
                <a:latin typeface="Verdana"/>
                <a:cs typeface="Verdana"/>
              </a:rPr>
              <a:t>Best</a:t>
            </a:r>
            <a:r>
              <a:rPr sz="800" b="1" spc="-65">
                <a:latin typeface="Verdana"/>
                <a:cs typeface="Verdana"/>
              </a:rPr>
              <a:t> </a:t>
            </a:r>
            <a:r>
              <a:rPr sz="800" b="1">
                <a:latin typeface="Verdana"/>
                <a:cs typeface="Verdana"/>
              </a:rPr>
              <a:t>Practice</a:t>
            </a:r>
            <a:endParaRPr sz="800">
              <a:latin typeface="Verdana"/>
              <a:cs typeface="Verdana"/>
            </a:endParaRPr>
          </a:p>
        </p:txBody>
      </p:sp>
      <p:sp>
        <p:nvSpPr>
          <p:cNvPr id="65" name="object 65"/>
          <p:cNvSpPr/>
          <p:nvPr/>
        </p:nvSpPr>
        <p:spPr>
          <a:xfrm>
            <a:off x="7968995" y="2660904"/>
            <a:ext cx="885825" cy="326390"/>
          </a:xfrm>
          <a:custGeom>
            <a:avLst/>
            <a:gdLst/>
            <a:ahLst/>
            <a:cxnLst/>
            <a:rect l="l" t="t" r="r" b="b"/>
            <a:pathLst>
              <a:path w="885825" h="326389">
                <a:moveTo>
                  <a:pt x="831087"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31087" y="326136"/>
                </a:lnTo>
                <a:lnTo>
                  <a:pt x="852225" y="321857"/>
                </a:lnTo>
                <a:lnTo>
                  <a:pt x="869505" y="310197"/>
                </a:lnTo>
                <a:lnTo>
                  <a:pt x="881165" y="292917"/>
                </a:lnTo>
                <a:lnTo>
                  <a:pt x="885444" y="271780"/>
                </a:lnTo>
                <a:lnTo>
                  <a:pt x="885444" y="54356"/>
                </a:lnTo>
                <a:lnTo>
                  <a:pt x="881165" y="33218"/>
                </a:lnTo>
                <a:lnTo>
                  <a:pt x="869505" y="15938"/>
                </a:lnTo>
                <a:lnTo>
                  <a:pt x="852225" y="4278"/>
                </a:lnTo>
                <a:lnTo>
                  <a:pt x="831087" y="0"/>
                </a:lnTo>
                <a:close/>
              </a:path>
            </a:pathLst>
          </a:custGeom>
          <a:solidFill>
            <a:srgbClr val="CDEFFA"/>
          </a:solidFill>
        </p:spPr>
        <p:txBody>
          <a:bodyPr wrap="square" lIns="0" tIns="0" rIns="0" bIns="0" rtlCol="0"/>
          <a:lstStyle/>
          <a:p>
            <a:endParaRPr/>
          </a:p>
        </p:txBody>
      </p:sp>
      <p:sp>
        <p:nvSpPr>
          <p:cNvPr id="66" name="object 66"/>
          <p:cNvSpPr txBox="1"/>
          <p:nvPr/>
        </p:nvSpPr>
        <p:spPr>
          <a:xfrm>
            <a:off x="8098917" y="2688463"/>
            <a:ext cx="626745" cy="269875"/>
          </a:xfrm>
          <a:prstGeom prst="rect">
            <a:avLst/>
          </a:prstGeom>
        </p:spPr>
        <p:txBody>
          <a:bodyPr vert="horz" wrap="square" lIns="0" tIns="13335" rIns="0" bIns="0" rtlCol="0">
            <a:spAutoFit/>
          </a:bodyPr>
          <a:lstStyle/>
          <a:p>
            <a:pPr marL="45720" marR="5080" indent="-33655">
              <a:lnSpc>
                <a:spcPct val="100000"/>
              </a:lnSpc>
              <a:spcBef>
                <a:spcPts val="105"/>
              </a:spcBef>
            </a:pPr>
            <a:r>
              <a:rPr sz="800" b="1">
                <a:latin typeface="Verdana"/>
                <a:cs typeface="Verdana"/>
              </a:rPr>
              <a:t>Fun</a:t>
            </a:r>
            <a:r>
              <a:rPr sz="800" b="1" spc="-10">
                <a:latin typeface="Verdana"/>
                <a:cs typeface="Verdana"/>
              </a:rPr>
              <a:t>c</a:t>
            </a:r>
            <a:r>
              <a:rPr sz="800" b="1" spc="5">
                <a:latin typeface="Verdana"/>
                <a:cs typeface="Verdana"/>
              </a:rPr>
              <a:t>t</a:t>
            </a:r>
            <a:r>
              <a:rPr sz="800" b="1">
                <a:latin typeface="Verdana"/>
                <a:cs typeface="Verdana"/>
              </a:rPr>
              <a:t>ional  BluePrint</a:t>
            </a:r>
            <a:endParaRPr sz="800">
              <a:latin typeface="Verdana"/>
              <a:cs typeface="Verdana"/>
            </a:endParaRPr>
          </a:p>
        </p:txBody>
      </p:sp>
      <p:sp>
        <p:nvSpPr>
          <p:cNvPr id="67" name="object 67"/>
          <p:cNvSpPr/>
          <p:nvPr/>
        </p:nvSpPr>
        <p:spPr>
          <a:xfrm>
            <a:off x="8982456" y="2660904"/>
            <a:ext cx="883919" cy="326390"/>
          </a:xfrm>
          <a:custGeom>
            <a:avLst/>
            <a:gdLst/>
            <a:ahLst/>
            <a:cxnLst/>
            <a:rect l="l" t="t" r="r" b="b"/>
            <a:pathLst>
              <a:path w="883920" h="326389">
                <a:moveTo>
                  <a:pt x="829564"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29564" y="326136"/>
                </a:lnTo>
                <a:lnTo>
                  <a:pt x="850701" y="321857"/>
                </a:lnTo>
                <a:lnTo>
                  <a:pt x="867981" y="310197"/>
                </a:lnTo>
                <a:lnTo>
                  <a:pt x="879641" y="292917"/>
                </a:lnTo>
                <a:lnTo>
                  <a:pt x="883920" y="271780"/>
                </a:lnTo>
                <a:lnTo>
                  <a:pt x="883920" y="54356"/>
                </a:lnTo>
                <a:lnTo>
                  <a:pt x="879641" y="33218"/>
                </a:lnTo>
                <a:lnTo>
                  <a:pt x="867981" y="15938"/>
                </a:lnTo>
                <a:lnTo>
                  <a:pt x="850701" y="4278"/>
                </a:lnTo>
                <a:lnTo>
                  <a:pt x="829564" y="0"/>
                </a:lnTo>
                <a:close/>
              </a:path>
            </a:pathLst>
          </a:custGeom>
          <a:solidFill>
            <a:srgbClr val="CDEFFA"/>
          </a:solidFill>
        </p:spPr>
        <p:txBody>
          <a:bodyPr wrap="square" lIns="0" tIns="0" rIns="0" bIns="0" rtlCol="0"/>
          <a:lstStyle/>
          <a:p>
            <a:endParaRPr/>
          </a:p>
        </p:txBody>
      </p:sp>
      <p:sp>
        <p:nvSpPr>
          <p:cNvPr id="68" name="object 68"/>
          <p:cNvSpPr txBox="1"/>
          <p:nvPr/>
        </p:nvSpPr>
        <p:spPr>
          <a:xfrm>
            <a:off x="9270872" y="2749423"/>
            <a:ext cx="308610" cy="147955"/>
          </a:xfrm>
          <a:prstGeom prst="rect">
            <a:avLst/>
          </a:prstGeom>
        </p:spPr>
        <p:txBody>
          <a:bodyPr vert="horz" wrap="square" lIns="0" tIns="13335" rIns="0" bIns="0" rtlCol="0">
            <a:spAutoFit/>
          </a:bodyPr>
          <a:lstStyle/>
          <a:p>
            <a:pPr marL="12700">
              <a:lnSpc>
                <a:spcPct val="100000"/>
              </a:lnSpc>
              <a:spcBef>
                <a:spcPts val="105"/>
              </a:spcBef>
            </a:pPr>
            <a:r>
              <a:rPr sz="800" b="1" spc="-5">
                <a:latin typeface="Verdana"/>
                <a:cs typeface="Verdana"/>
              </a:rPr>
              <a:t>G</a:t>
            </a:r>
            <a:r>
              <a:rPr sz="800" b="1">
                <a:latin typeface="Verdana"/>
                <a:cs typeface="Verdana"/>
              </a:rPr>
              <a:t>a</a:t>
            </a:r>
            <a:r>
              <a:rPr sz="800" b="1" spc="-5">
                <a:latin typeface="Verdana"/>
                <a:cs typeface="Verdana"/>
              </a:rPr>
              <a:t>ps</a:t>
            </a:r>
            <a:endParaRPr sz="800">
              <a:latin typeface="Verdana"/>
              <a:cs typeface="Verdana"/>
            </a:endParaRPr>
          </a:p>
        </p:txBody>
      </p:sp>
      <p:sp>
        <p:nvSpPr>
          <p:cNvPr id="69" name="object 69"/>
          <p:cNvSpPr/>
          <p:nvPr/>
        </p:nvSpPr>
        <p:spPr>
          <a:xfrm>
            <a:off x="9974580" y="2660904"/>
            <a:ext cx="883919" cy="326390"/>
          </a:xfrm>
          <a:custGeom>
            <a:avLst/>
            <a:gdLst/>
            <a:ahLst/>
            <a:cxnLst/>
            <a:rect l="l" t="t" r="r" b="b"/>
            <a:pathLst>
              <a:path w="883920" h="326389">
                <a:moveTo>
                  <a:pt x="829564"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29564" y="326136"/>
                </a:lnTo>
                <a:lnTo>
                  <a:pt x="850701" y="321857"/>
                </a:lnTo>
                <a:lnTo>
                  <a:pt x="867981" y="310197"/>
                </a:lnTo>
                <a:lnTo>
                  <a:pt x="879641" y="292917"/>
                </a:lnTo>
                <a:lnTo>
                  <a:pt x="883920" y="271780"/>
                </a:lnTo>
                <a:lnTo>
                  <a:pt x="883920" y="54356"/>
                </a:lnTo>
                <a:lnTo>
                  <a:pt x="879641" y="33218"/>
                </a:lnTo>
                <a:lnTo>
                  <a:pt x="867981" y="15938"/>
                </a:lnTo>
                <a:lnTo>
                  <a:pt x="850701" y="4278"/>
                </a:lnTo>
                <a:lnTo>
                  <a:pt x="829564" y="0"/>
                </a:lnTo>
                <a:close/>
              </a:path>
            </a:pathLst>
          </a:custGeom>
          <a:solidFill>
            <a:srgbClr val="CDEFFA"/>
          </a:solidFill>
        </p:spPr>
        <p:txBody>
          <a:bodyPr wrap="square" lIns="0" tIns="0" rIns="0" bIns="0" rtlCol="0"/>
          <a:lstStyle/>
          <a:p>
            <a:endParaRPr/>
          </a:p>
        </p:txBody>
      </p:sp>
      <p:sp>
        <p:nvSpPr>
          <p:cNvPr id="70" name="object 70"/>
          <p:cNvSpPr txBox="1"/>
          <p:nvPr/>
        </p:nvSpPr>
        <p:spPr>
          <a:xfrm>
            <a:off x="10195306" y="2688463"/>
            <a:ext cx="442595" cy="269875"/>
          </a:xfrm>
          <a:prstGeom prst="rect">
            <a:avLst/>
          </a:prstGeom>
        </p:spPr>
        <p:txBody>
          <a:bodyPr vert="horz" wrap="square" lIns="0" tIns="13335" rIns="0" bIns="0" rtlCol="0">
            <a:spAutoFit/>
          </a:bodyPr>
          <a:lstStyle/>
          <a:p>
            <a:pPr marL="12700" marR="5080" indent="47625">
              <a:lnSpc>
                <a:spcPct val="100000"/>
              </a:lnSpc>
              <a:spcBef>
                <a:spcPts val="105"/>
              </a:spcBef>
            </a:pPr>
            <a:r>
              <a:rPr sz="800" b="1">
                <a:latin typeface="Verdana"/>
                <a:cs typeface="Verdana"/>
              </a:rPr>
              <a:t>Value  D</a:t>
            </a:r>
            <a:r>
              <a:rPr sz="800" b="1" spc="-5">
                <a:latin typeface="Verdana"/>
                <a:cs typeface="Verdana"/>
              </a:rPr>
              <a:t>r</a:t>
            </a:r>
            <a:r>
              <a:rPr sz="800" b="1">
                <a:latin typeface="Verdana"/>
                <a:cs typeface="Verdana"/>
              </a:rPr>
              <a:t>i</a:t>
            </a:r>
            <a:r>
              <a:rPr sz="800" b="1" spc="5">
                <a:latin typeface="Verdana"/>
                <a:cs typeface="Verdana"/>
              </a:rPr>
              <a:t>ve</a:t>
            </a:r>
            <a:r>
              <a:rPr sz="800" b="1" spc="-5">
                <a:latin typeface="Verdana"/>
                <a:cs typeface="Verdana"/>
              </a:rPr>
              <a:t>r</a:t>
            </a:r>
            <a:r>
              <a:rPr sz="800" b="1">
                <a:latin typeface="Verdana"/>
                <a:cs typeface="Verdana"/>
              </a:rPr>
              <a:t>s</a:t>
            </a:r>
            <a:endParaRPr sz="800">
              <a:latin typeface="Verdana"/>
              <a:cs typeface="Verdana"/>
            </a:endParaRPr>
          </a:p>
        </p:txBody>
      </p:sp>
      <p:sp>
        <p:nvSpPr>
          <p:cNvPr id="71" name="object 71"/>
          <p:cNvSpPr/>
          <p:nvPr/>
        </p:nvSpPr>
        <p:spPr>
          <a:xfrm>
            <a:off x="9974580" y="3834384"/>
            <a:ext cx="883919" cy="326390"/>
          </a:xfrm>
          <a:custGeom>
            <a:avLst/>
            <a:gdLst/>
            <a:ahLst/>
            <a:cxnLst/>
            <a:rect l="l" t="t" r="r" b="b"/>
            <a:pathLst>
              <a:path w="883920" h="326389">
                <a:moveTo>
                  <a:pt x="829564"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29564" y="326136"/>
                </a:lnTo>
                <a:lnTo>
                  <a:pt x="850701" y="321857"/>
                </a:lnTo>
                <a:lnTo>
                  <a:pt x="867981" y="310197"/>
                </a:lnTo>
                <a:lnTo>
                  <a:pt x="879641" y="292917"/>
                </a:lnTo>
                <a:lnTo>
                  <a:pt x="883920" y="271780"/>
                </a:lnTo>
                <a:lnTo>
                  <a:pt x="883920" y="54356"/>
                </a:lnTo>
                <a:lnTo>
                  <a:pt x="879641" y="33218"/>
                </a:lnTo>
                <a:lnTo>
                  <a:pt x="867981" y="15938"/>
                </a:lnTo>
                <a:lnTo>
                  <a:pt x="850701" y="4278"/>
                </a:lnTo>
                <a:lnTo>
                  <a:pt x="829564" y="0"/>
                </a:lnTo>
                <a:close/>
              </a:path>
            </a:pathLst>
          </a:custGeom>
          <a:solidFill>
            <a:srgbClr val="CDEFFA"/>
          </a:solidFill>
        </p:spPr>
        <p:txBody>
          <a:bodyPr wrap="square" lIns="0" tIns="0" rIns="0" bIns="0" rtlCol="0"/>
          <a:lstStyle/>
          <a:p>
            <a:endParaRPr/>
          </a:p>
        </p:txBody>
      </p:sp>
      <p:sp>
        <p:nvSpPr>
          <p:cNvPr id="72" name="object 72"/>
          <p:cNvSpPr txBox="1"/>
          <p:nvPr/>
        </p:nvSpPr>
        <p:spPr>
          <a:xfrm>
            <a:off x="10178795" y="3861561"/>
            <a:ext cx="489584" cy="269875"/>
          </a:xfrm>
          <a:prstGeom prst="rect">
            <a:avLst/>
          </a:prstGeom>
        </p:spPr>
        <p:txBody>
          <a:bodyPr vert="horz" wrap="square" lIns="0" tIns="12700" rIns="0" bIns="0" rtlCol="0">
            <a:spAutoFit/>
          </a:bodyPr>
          <a:lstStyle/>
          <a:p>
            <a:pPr marL="40640" marR="5080" indent="-41275">
              <a:lnSpc>
                <a:spcPct val="100000"/>
              </a:lnSpc>
              <a:spcBef>
                <a:spcPts val="100"/>
              </a:spcBef>
            </a:pPr>
            <a:r>
              <a:rPr sz="800" b="1">
                <a:latin typeface="Verdana"/>
                <a:cs typeface="Verdana"/>
              </a:rPr>
              <a:t>Solu</a:t>
            </a:r>
            <a:r>
              <a:rPr sz="800" b="1" spc="5">
                <a:latin typeface="Verdana"/>
                <a:cs typeface="Verdana"/>
              </a:rPr>
              <a:t>t</a:t>
            </a:r>
            <a:r>
              <a:rPr sz="800" b="1">
                <a:latin typeface="Verdana"/>
                <a:cs typeface="Verdana"/>
              </a:rPr>
              <a:t>ion  Design</a:t>
            </a:r>
            <a:endParaRPr sz="800">
              <a:latin typeface="Verdana"/>
              <a:cs typeface="Verdana"/>
            </a:endParaRPr>
          </a:p>
        </p:txBody>
      </p:sp>
      <p:sp>
        <p:nvSpPr>
          <p:cNvPr id="73" name="object 73"/>
          <p:cNvSpPr/>
          <p:nvPr/>
        </p:nvSpPr>
        <p:spPr>
          <a:xfrm>
            <a:off x="10963656" y="3834384"/>
            <a:ext cx="883919" cy="326390"/>
          </a:xfrm>
          <a:custGeom>
            <a:avLst/>
            <a:gdLst/>
            <a:ahLst/>
            <a:cxnLst/>
            <a:rect l="l" t="t" r="r" b="b"/>
            <a:pathLst>
              <a:path w="883920" h="326389">
                <a:moveTo>
                  <a:pt x="829564"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29564" y="326136"/>
                </a:lnTo>
                <a:lnTo>
                  <a:pt x="850701" y="321857"/>
                </a:lnTo>
                <a:lnTo>
                  <a:pt x="867981" y="310197"/>
                </a:lnTo>
                <a:lnTo>
                  <a:pt x="879641" y="292917"/>
                </a:lnTo>
                <a:lnTo>
                  <a:pt x="883920" y="271780"/>
                </a:lnTo>
                <a:lnTo>
                  <a:pt x="883920" y="54356"/>
                </a:lnTo>
                <a:lnTo>
                  <a:pt x="879641" y="33218"/>
                </a:lnTo>
                <a:lnTo>
                  <a:pt x="867981" y="15938"/>
                </a:lnTo>
                <a:lnTo>
                  <a:pt x="850701" y="4278"/>
                </a:lnTo>
                <a:lnTo>
                  <a:pt x="829564" y="0"/>
                </a:lnTo>
                <a:close/>
              </a:path>
            </a:pathLst>
          </a:custGeom>
          <a:solidFill>
            <a:srgbClr val="CDEFFA"/>
          </a:solidFill>
        </p:spPr>
        <p:txBody>
          <a:bodyPr wrap="square" lIns="0" tIns="0" rIns="0" bIns="0" rtlCol="0"/>
          <a:lstStyle/>
          <a:p>
            <a:endParaRPr/>
          </a:p>
        </p:txBody>
      </p:sp>
      <p:sp>
        <p:nvSpPr>
          <p:cNvPr id="74" name="object 74"/>
          <p:cNvSpPr txBox="1"/>
          <p:nvPr/>
        </p:nvSpPr>
        <p:spPr>
          <a:xfrm>
            <a:off x="11138661" y="3922521"/>
            <a:ext cx="550545" cy="147955"/>
          </a:xfrm>
          <a:prstGeom prst="rect">
            <a:avLst/>
          </a:prstGeom>
        </p:spPr>
        <p:txBody>
          <a:bodyPr vert="horz" wrap="square" lIns="0" tIns="12700" rIns="0" bIns="0" rtlCol="0">
            <a:spAutoFit/>
          </a:bodyPr>
          <a:lstStyle/>
          <a:p>
            <a:pPr>
              <a:lnSpc>
                <a:spcPct val="100000"/>
              </a:lnSpc>
              <a:spcBef>
                <a:spcPts val="100"/>
              </a:spcBef>
            </a:pPr>
            <a:r>
              <a:rPr sz="800" b="1" spc="-5">
                <a:latin typeface="Verdana"/>
                <a:cs typeface="Verdana"/>
              </a:rPr>
              <a:t>R</a:t>
            </a:r>
            <a:r>
              <a:rPr sz="800" b="1">
                <a:latin typeface="Verdana"/>
                <a:cs typeface="Verdana"/>
              </a:rPr>
              <a:t>oa</a:t>
            </a:r>
            <a:r>
              <a:rPr sz="800" b="1" spc="-5">
                <a:latin typeface="Verdana"/>
                <a:cs typeface="Verdana"/>
              </a:rPr>
              <a:t>d</a:t>
            </a:r>
            <a:r>
              <a:rPr sz="800" b="1">
                <a:latin typeface="Verdana"/>
                <a:cs typeface="Verdana"/>
              </a:rPr>
              <a:t>map</a:t>
            </a:r>
            <a:endParaRPr sz="800">
              <a:latin typeface="Verdana"/>
              <a:cs typeface="Verdana"/>
            </a:endParaRPr>
          </a:p>
        </p:txBody>
      </p:sp>
      <p:sp>
        <p:nvSpPr>
          <p:cNvPr id="75" name="object 75"/>
          <p:cNvSpPr/>
          <p:nvPr/>
        </p:nvSpPr>
        <p:spPr>
          <a:xfrm>
            <a:off x="8982456" y="3834384"/>
            <a:ext cx="883919" cy="326390"/>
          </a:xfrm>
          <a:custGeom>
            <a:avLst/>
            <a:gdLst/>
            <a:ahLst/>
            <a:cxnLst/>
            <a:rect l="l" t="t" r="r" b="b"/>
            <a:pathLst>
              <a:path w="883920" h="326389">
                <a:moveTo>
                  <a:pt x="829564"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29564" y="326136"/>
                </a:lnTo>
                <a:lnTo>
                  <a:pt x="850701" y="321857"/>
                </a:lnTo>
                <a:lnTo>
                  <a:pt x="867981" y="310197"/>
                </a:lnTo>
                <a:lnTo>
                  <a:pt x="879641" y="292917"/>
                </a:lnTo>
                <a:lnTo>
                  <a:pt x="883920" y="271780"/>
                </a:lnTo>
                <a:lnTo>
                  <a:pt x="883920" y="54356"/>
                </a:lnTo>
                <a:lnTo>
                  <a:pt x="879641" y="33218"/>
                </a:lnTo>
                <a:lnTo>
                  <a:pt x="867981" y="15938"/>
                </a:lnTo>
                <a:lnTo>
                  <a:pt x="850701" y="4278"/>
                </a:lnTo>
                <a:lnTo>
                  <a:pt x="829564" y="0"/>
                </a:lnTo>
                <a:close/>
              </a:path>
            </a:pathLst>
          </a:custGeom>
          <a:solidFill>
            <a:srgbClr val="CDEFFA"/>
          </a:solidFill>
        </p:spPr>
        <p:txBody>
          <a:bodyPr wrap="square" lIns="0" tIns="0" rIns="0" bIns="0" rtlCol="0"/>
          <a:lstStyle/>
          <a:p>
            <a:endParaRPr/>
          </a:p>
        </p:txBody>
      </p:sp>
      <p:sp>
        <p:nvSpPr>
          <p:cNvPr id="76" name="object 76"/>
          <p:cNvSpPr txBox="1"/>
          <p:nvPr/>
        </p:nvSpPr>
        <p:spPr>
          <a:xfrm>
            <a:off x="9048622" y="3922521"/>
            <a:ext cx="765175" cy="147955"/>
          </a:xfrm>
          <a:prstGeom prst="rect">
            <a:avLst/>
          </a:prstGeom>
        </p:spPr>
        <p:txBody>
          <a:bodyPr vert="horz" wrap="square" lIns="0" tIns="12700" rIns="0" bIns="0" rtlCol="0">
            <a:spAutoFit/>
          </a:bodyPr>
          <a:lstStyle/>
          <a:p>
            <a:pPr>
              <a:lnSpc>
                <a:spcPct val="100000"/>
              </a:lnSpc>
              <a:spcBef>
                <a:spcPts val="100"/>
              </a:spcBef>
            </a:pPr>
            <a:r>
              <a:rPr sz="800" b="1">
                <a:latin typeface="Verdana"/>
                <a:cs typeface="Verdana"/>
              </a:rPr>
              <a:t>Prioritisation</a:t>
            </a:r>
            <a:endParaRPr sz="800">
              <a:latin typeface="Verdana"/>
              <a:cs typeface="Verdana"/>
            </a:endParaRPr>
          </a:p>
        </p:txBody>
      </p:sp>
      <p:sp>
        <p:nvSpPr>
          <p:cNvPr id="77" name="object 77"/>
          <p:cNvSpPr/>
          <p:nvPr/>
        </p:nvSpPr>
        <p:spPr>
          <a:xfrm>
            <a:off x="7039356" y="3834384"/>
            <a:ext cx="883919" cy="326390"/>
          </a:xfrm>
          <a:custGeom>
            <a:avLst/>
            <a:gdLst/>
            <a:ahLst/>
            <a:cxnLst/>
            <a:rect l="l" t="t" r="r" b="b"/>
            <a:pathLst>
              <a:path w="883920" h="326389">
                <a:moveTo>
                  <a:pt x="829564" y="0"/>
                </a:moveTo>
                <a:lnTo>
                  <a:pt x="54355" y="0"/>
                </a:lnTo>
                <a:lnTo>
                  <a:pt x="33218" y="4278"/>
                </a:lnTo>
                <a:lnTo>
                  <a:pt x="15938" y="15938"/>
                </a:lnTo>
                <a:lnTo>
                  <a:pt x="4278" y="33218"/>
                </a:lnTo>
                <a:lnTo>
                  <a:pt x="0" y="54356"/>
                </a:lnTo>
                <a:lnTo>
                  <a:pt x="0" y="271780"/>
                </a:lnTo>
                <a:lnTo>
                  <a:pt x="4278" y="292917"/>
                </a:lnTo>
                <a:lnTo>
                  <a:pt x="15938" y="310197"/>
                </a:lnTo>
                <a:lnTo>
                  <a:pt x="33218" y="321857"/>
                </a:lnTo>
                <a:lnTo>
                  <a:pt x="54355" y="326136"/>
                </a:lnTo>
                <a:lnTo>
                  <a:pt x="829564" y="326136"/>
                </a:lnTo>
                <a:lnTo>
                  <a:pt x="850701" y="321857"/>
                </a:lnTo>
                <a:lnTo>
                  <a:pt x="867981" y="310197"/>
                </a:lnTo>
                <a:lnTo>
                  <a:pt x="879641" y="292917"/>
                </a:lnTo>
                <a:lnTo>
                  <a:pt x="883920" y="271780"/>
                </a:lnTo>
                <a:lnTo>
                  <a:pt x="883920" y="54356"/>
                </a:lnTo>
                <a:lnTo>
                  <a:pt x="879641" y="33218"/>
                </a:lnTo>
                <a:lnTo>
                  <a:pt x="867981" y="15938"/>
                </a:lnTo>
                <a:lnTo>
                  <a:pt x="850701" y="4278"/>
                </a:lnTo>
                <a:lnTo>
                  <a:pt x="829564" y="0"/>
                </a:lnTo>
                <a:close/>
              </a:path>
            </a:pathLst>
          </a:custGeom>
          <a:solidFill>
            <a:srgbClr val="CDEFFA"/>
          </a:solidFill>
        </p:spPr>
        <p:txBody>
          <a:bodyPr wrap="square" lIns="0" tIns="0" rIns="0" bIns="0" rtlCol="0"/>
          <a:lstStyle/>
          <a:p>
            <a:endParaRPr/>
          </a:p>
        </p:txBody>
      </p:sp>
      <p:sp>
        <p:nvSpPr>
          <p:cNvPr id="78" name="object 78"/>
          <p:cNvSpPr txBox="1"/>
          <p:nvPr/>
        </p:nvSpPr>
        <p:spPr>
          <a:xfrm>
            <a:off x="7133970" y="3861561"/>
            <a:ext cx="695325" cy="269875"/>
          </a:xfrm>
          <a:prstGeom prst="rect">
            <a:avLst/>
          </a:prstGeom>
        </p:spPr>
        <p:txBody>
          <a:bodyPr vert="horz" wrap="square" lIns="0" tIns="12700" rIns="0" bIns="0" rtlCol="0">
            <a:spAutoFit/>
          </a:bodyPr>
          <a:lstStyle/>
          <a:p>
            <a:pPr marL="12700" marR="5080" indent="170180">
              <a:lnSpc>
                <a:spcPct val="100000"/>
              </a:lnSpc>
              <a:spcBef>
                <a:spcPts val="100"/>
              </a:spcBef>
            </a:pPr>
            <a:r>
              <a:rPr sz="800" b="1" spc="-5">
                <a:latin typeface="Verdana"/>
                <a:cs typeface="Verdana"/>
              </a:rPr>
              <a:t>To-be  </a:t>
            </a:r>
            <a:r>
              <a:rPr sz="800" b="1" spc="-10">
                <a:latin typeface="Verdana"/>
                <a:cs typeface="Verdana"/>
              </a:rPr>
              <a:t>C</a:t>
            </a:r>
            <a:r>
              <a:rPr sz="800" b="1">
                <a:latin typeface="Verdana"/>
                <a:cs typeface="Verdana"/>
              </a:rPr>
              <a:t>a</a:t>
            </a:r>
            <a:r>
              <a:rPr sz="800" b="1" spc="-5">
                <a:latin typeface="Verdana"/>
                <a:cs typeface="Verdana"/>
              </a:rPr>
              <a:t>p</a:t>
            </a:r>
            <a:r>
              <a:rPr sz="800" b="1">
                <a:latin typeface="Verdana"/>
                <a:cs typeface="Verdana"/>
              </a:rPr>
              <a:t>a</a:t>
            </a:r>
            <a:r>
              <a:rPr sz="800" b="1" spc="-5">
                <a:latin typeface="Verdana"/>
                <a:cs typeface="Verdana"/>
              </a:rPr>
              <a:t>b</a:t>
            </a:r>
            <a:r>
              <a:rPr sz="800" b="1">
                <a:latin typeface="Verdana"/>
                <a:cs typeface="Verdana"/>
              </a:rPr>
              <a:t>ili</a:t>
            </a:r>
            <a:r>
              <a:rPr sz="800" b="1" spc="5">
                <a:latin typeface="Verdana"/>
                <a:cs typeface="Verdana"/>
              </a:rPr>
              <a:t>t</a:t>
            </a:r>
            <a:r>
              <a:rPr sz="800" b="1">
                <a:latin typeface="Verdana"/>
                <a:cs typeface="Verdana"/>
              </a:rPr>
              <a:t>i</a:t>
            </a:r>
            <a:r>
              <a:rPr sz="800" b="1" spc="5">
                <a:latin typeface="Verdana"/>
                <a:cs typeface="Verdana"/>
              </a:rPr>
              <a:t>e</a:t>
            </a:r>
            <a:r>
              <a:rPr sz="800" b="1">
                <a:latin typeface="Verdana"/>
                <a:cs typeface="Verdana"/>
              </a:rPr>
              <a:t>s</a:t>
            </a:r>
            <a:endParaRPr sz="800">
              <a:latin typeface="Verdana"/>
              <a:cs typeface="Verdana"/>
            </a:endParaRPr>
          </a:p>
        </p:txBody>
      </p:sp>
      <p:sp>
        <p:nvSpPr>
          <p:cNvPr id="79" name="object 79"/>
          <p:cNvSpPr/>
          <p:nvPr/>
        </p:nvSpPr>
        <p:spPr>
          <a:xfrm>
            <a:off x="6109715" y="5024628"/>
            <a:ext cx="883919" cy="327660"/>
          </a:xfrm>
          <a:custGeom>
            <a:avLst/>
            <a:gdLst/>
            <a:ahLst/>
            <a:cxnLst/>
            <a:rect l="l" t="t" r="r" b="b"/>
            <a:pathLst>
              <a:path w="883920" h="327660">
                <a:moveTo>
                  <a:pt x="829310" y="0"/>
                </a:moveTo>
                <a:lnTo>
                  <a:pt x="54610" y="0"/>
                </a:lnTo>
                <a:lnTo>
                  <a:pt x="33379" y="4300"/>
                </a:lnTo>
                <a:lnTo>
                  <a:pt x="16017" y="16017"/>
                </a:lnTo>
                <a:lnTo>
                  <a:pt x="4300" y="33379"/>
                </a:lnTo>
                <a:lnTo>
                  <a:pt x="0" y="54610"/>
                </a:lnTo>
                <a:lnTo>
                  <a:pt x="0" y="273050"/>
                </a:lnTo>
                <a:lnTo>
                  <a:pt x="4300" y="294280"/>
                </a:lnTo>
                <a:lnTo>
                  <a:pt x="16017" y="311642"/>
                </a:lnTo>
                <a:lnTo>
                  <a:pt x="33379" y="323359"/>
                </a:lnTo>
                <a:lnTo>
                  <a:pt x="54610" y="327660"/>
                </a:lnTo>
                <a:lnTo>
                  <a:pt x="829310" y="327660"/>
                </a:lnTo>
                <a:lnTo>
                  <a:pt x="850540" y="323359"/>
                </a:lnTo>
                <a:lnTo>
                  <a:pt x="867902" y="311642"/>
                </a:lnTo>
                <a:lnTo>
                  <a:pt x="879619" y="294280"/>
                </a:lnTo>
                <a:lnTo>
                  <a:pt x="883919" y="273050"/>
                </a:lnTo>
                <a:lnTo>
                  <a:pt x="883919" y="54610"/>
                </a:lnTo>
                <a:lnTo>
                  <a:pt x="879619" y="33379"/>
                </a:lnTo>
                <a:lnTo>
                  <a:pt x="867902" y="16017"/>
                </a:lnTo>
                <a:lnTo>
                  <a:pt x="850540" y="4300"/>
                </a:lnTo>
                <a:lnTo>
                  <a:pt x="829310" y="0"/>
                </a:lnTo>
                <a:close/>
              </a:path>
            </a:pathLst>
          </a:custGeom>
          <a:solidFill>
            <a:srgbClr val="CDEFFA"/>
          </a:solidFill>
        </p:spPr>
        <p:txBody>
          <a:bodyPr wrap="square" lIns="0" tIns="0" rIns="0" bIns="0" rtlCol="0"/>
          <a:lstStyle/>
          <a:p>
            <a:endParaRPr/>
          </a:p>
        </p:txBody>
      </p:sp>
      <p:sp>
        <p:nvSpPr>
          <p:cNvPr id="80" name="object 80"/>
          <p:cNvSpPr txBox="1"/>
          <p:nvPr/>
        </p:nvSpPr>
        <p:spPr>
          <a:xfrm>
            <a:off x="6203950" y="5053329"/>
            <a:ext cx="695325" cy="269875"/>
          </a:xfrm>
          <a:prstGeom prst="rect">
            <a:avLst/>
          </a:prstGeom>
        </p:spPr>
        <p:txBody>
          <a:bodyPr vert="horz" wrap="square" lIns="0" tIns="12700" rIns="0" bIns="0" rtlCol="0">
            <a:spAutoFit/>
          </a:bodyPr>
          <a:lstStyle/>
          <a:p>
            <a:pPr marL="12700" marR="5080" indent="193040">
              <a:lnSpc>
                <a:spcPct val="100000"/>
              </a:lnSpc>
              <a:spcBef>
                <a:spcPts val="100"/>
              </a:spcBef>
            </a:pPr>
            <a:r>
              <a:rPr sz="800" b="1">
                <a:latin typeface="Verdana"/>
                <a:cs typeface="Verdana"/>
              </a:rPr>
              <a:t>As-is  </a:t>
            </a:r>
            <a:r>
              <a:rPr sz="800" b="1" spc="-10">
                <a:latin typeface="Verdana"/>
                <a:cs typeface="Verdana"/>
              </a:rPr>
              <a:t>C</a:t>
            </a:r>
            <a:r>
              <a:rPr sz="800" b="1">
                <a:latin typeface="Verdana"/>
                <a:cs typeface="Verdana"/>
              </a:rPr>
              <a:t>a</a:t>
            </a:r>
            <a:r>
              <a:rPr sz="800" b="1" spc="-5">
                <a:latin typeface="Verdana"/>
                <a:cs typeface="Verdana"/>
              </a:rPr>
              <a:t>p</a:t>
            </a:r>
            <a:r>
              <a:rPr sz="800" b="1">
                <a:latin typeface="Verdana"/>
                <a:cs typeface="Verdana"/>
              </a:rPr>
              <a:t>a</a:t>
            </a:r>
            <a:r>
              <a:rPr sz="800" b="1" spc="-5">
                <a:latin typeface="Verdana"/>
                <a:cs typeface="Verdana"/>
              </a:rPr>
              <a:t>b</a:t>
            </a:r>
            <a:r>
              <a:rPr sz="800" b="1">
                <a:latin typeface="Verdana"/>
                <a:cs typeface="Verdana"/>
              </a:rPr>
              <a:t>ili</a:t>
            </a:r>
            <a:r>
              <a:rPr sz="800" b="1" spc="5">
                <a:latin typeface="Verdana"/>
                <a:cs typeface="Verdana"/>
              </a:rPr>
              <a:t>t</a:t>
            </a:r>
            <a:r>
              <a:rPr sz="800" b="1">
                <a:latin typeface="Verdana"/>
                <a:cs typeface="Verdana"/>
              </a:rPr>
              <a:t>i</a:t>
            </a:r>
            <a:r>
              <a:rPr sz="800" b="1" spc="5">
                <a:latin typeface="Verdana"/>
                <a:cs typeface="Verdana"/>
              </a:rPr>
              <a:t>e</a:t>
            </a:r>
            <a:r>
              <a:rPr sz="800" b="1">
                <a:latin typeface="Verdana"/>
                <a:cs typeface="Verdana"/>
              </a:rPr>
              <a:t>s</a:t>
            </a:r>
            <a:endParaRPr sz="800">
              <a:latin typeface="Verdana"/>
              <a:cs typeface="Verdana"/>
            </a:endParaRPr>
          </a:p>
        </p:txBody>
      </p:sp>
      <p:sp>
        <p:nvSpPr>
          <p:cNvPr id="81" name="object 81"/>
          <p:cNvSpPr/>
          <p:nvPr/>
        </p:nvSpPr>
        <p:spPr>
          <a:xfrm>
            <a:off x="7968995" y="5024628"/>
            <a:ext cx="885825" cy="327660"/>
          </a:xfrm>
          <a:custGeom>
            <a:avLst/>
            <a:gdLst/>
            <a:ahLst/>
            <a:cxnLst/>
            <a:rect l="l" t="t" r="r" b="b"/>
            <a:pathLst>
              <a:path w="885825" h="327660">
                <a:moveTo>
                  <a:pt x="830833" y="0"/>
                </a:moveTo>
                <a:lnTo>
                  <a:pt x="54609" y="0"/>
                </a:lnTo>
                <a:lnTo>
                  <a:pt x="33379" y="4300"/>
                </a:lnTo>
                <a:lnTo>
                  <a:pt x="16017" y="16017"/>
                </a:lnTo>
                <a:lnTo>
                  <a:pt x="4300" y="33379"/>
                </a:lnTo>
                <a:lnTo>
                  <a:pt x="0" y="54610"/>
                </a:lnTo>
                <a:lnTo>
                  <a:pt x="0" y="273050"/>
                </a:lnTo>
                <a:lnTo>
                  <a:pt x="4300" y="294280"/>
                </a:lnTo>
                <a:lnTo>
                  <a:pt x="16017" y="311642"/>
                </a:lnTo>
                <a:lnTo>
                  <a:pt x="33379" y="323359"/>
                </a:lnTo>
                <a:lnTo>
                  <a:pt x="54609" y="327660"/>
                </a:lnTo>
                <a:lnTo>
                  <a:pt x="830833" y="327660"/>
                </a:lnTo>
                <a:lnTo>
                  <a:pt x="852064" y="323359"/>
                </a:lnTo>
                <a:lnTo>
                  <a:pt x="869426" y="311642"/>
                </a:lnTo>
                <a:lnTo>
                  <a:pt x="881143" y="294280"/>
                </a:lnTo>
                <a:lnTo>
                  <a:pt x="885444" y="273050"/>
                </a:lnTo>
                <a:lnTo>
                  <a:pt x="885444" y="54610"/>
                </a:lnTo>
                <a:lnTo>
                  <a:pt x="881143" y="33379"/>
                </a:lnTo>
                <a:lnTo>
                  <a:pt x="869426" y="16017"/>
                </a:lnTo>
                <a:lnTo>
                  <a:pt x="852064" y="4300"/>
                </a:lnTo>
                <a:lnTo>
                  <a:pt x="830833" y="0"/>
                </a:lnTo>
                <a:close/>
              </a:path>
            </a:pathLst>
          </a:custGeom>
          <a:solidFill>
            <a:srgbClr val="CDEFFA"/>
          </a:solidFill>
        </p:spPr>
        <p:txBody>
          <a:bodyPr wrap="square" lIns="0" tIns="0" rIns="0" bIns="0" rtlCol="0"/>
          <a:lstStyle/>
          <a:p>
            <a:endParaRPr/>
          </a:p>
        </p:txBody>
      </p:sp>
      <p:sp>
        <p:nvSpPr>
          <p:cNvPr id="82" name="object 82"/>
          <p:cNvSpPr txBox="1"/>
          <p:nvPr/>
        </p:nvSpPr>
        <p:spPr>
          <a:xfrm>
            <a:off x="8051672" y="5114290"/>
            <a:ext cx="720090" cy="147955"/>
          </a:xfrm>
          <a:prstGeom prst="rect">
            <a:avLst/>
          </a:prstGeom>
        </p:spPr>
        <p:txBody>
          <a:bodyPr vert="horz" wrap="square" lIns="0" tIns="12700" rIns="0" bIns="0" rtlCol="0">
            <a:spAutoFit/>
          </a:bodyPr>
          <a:lstStyle/>
          <a:p>
            <a:pPr marL="12700">
              <a:lnSpc>
                <a:spcPct val="100000"/>
              </a:lnSpc>
              <a:spcBef>
                <a:spcPts val="100"/>
              </a:spcBef>
            </a:pPr>
            <a:r>
              <a:rPr sz="800" b="1">
                <a:latin typeface="Verdana"/>
                <a:cs typeface="Verdana"/>
              </a:rPr>
              <a:t>IT</a:t>
            </a:r>
            <a:r>
              <a:rPr sz="800" b="1" spc="-60">
                <a:latin typeface="Verdana"/>
                <a:cs typeface="Verdana"/>
              </a:rPr>
              <a:t> </a:t>
            </a:r>
            <a:r>
              <a:rPr sz="800" b="1">
                <a:latin typeface="Verdana"/>
                <a:cs typeface="Verdana"/>
              </a:rPr>
              <a:t>BluePrint</a:t>
            </a:r>
            <a:endParaRPr sz="800">
              <a:latin typeface="Verdana"/>
              <a:cs typeface="Verdana"/>
            </a:endParaRPr>
          </a:p>
        </p:txBody>
      </p:sp>
      <p:sp>
        <p:nvSpPr>
          <p:cNvPr id="83" name="object 83"/>
          <p:cNvSpPr/>
          <p:nvPr/>
        </p:nvSpPr>
        <p:spPr>
          <a:xfrm>
            <a:off x="8982456" y="5024628"/>
            <a:ext cx="883919" cy="327660"/>
          </a:xfrm>
          <a:custGeom>
            <a:avLst/>
            <a:gdLst/>
            <a:ahLst/>
            <a:cxnLst/>
            <a:rect l="l" t="t" r="r" b="b"/>
            <a:pathLst>
              <a:path w="883920" h="327660">
                <a:moveTo>
                  <a:pt x="829310" y="0"/>
                </a:moveTo>
                <a:lnTo>
                  <a:pt x="54610" y="0"/>
                </a:lnTo>
                <a:lnTo>
                  <a:pt x="33379" y="4300"/>
                </a:lnTo>
                <a:lnTo>
                  <a:pt x="16017" y="16017"/>
                </a:lnTo>
                <a:lnTo>
                  <a:pt x="4300" y="33379"/>
                </a:lnTo>
                <a:lnTo>
                  <a:pt x="0" y="54610"/>
                </a:lnTo>
                <a:lnTo>
                  <a:pt x="0" y="273050"/>
                </a:lnTo>
                <a:lnTo>
                  <a:pt x="4300" y="294280"/>
                </a:lnTo>
                <a:lnTo>
                  <a:pt x="16017" y="311642"/>
                </a:lnTo>
                <a:lnTo>
                  <a:pt x="33379" y="323359"/>
                </a:lnTo>
                <a:lnTo>
                  <a:pt x="54610" y="327660"/>
                </a:lnTo>
                <a:lnTo>
                  <a:pt x="829310" y="327660"/>
                </a:lnTo>
                <a:lnTo>
                  <a:pt x="850540" y="323359"/>
                </a:lnTo>
                <a:lnTo>
                  <a:pt x="867902" y="311642"/>
                </a:lnTo>
                <a:lnTo>
                  <a:pt x="879619" y="294280"/>
                </a:lnTo>
                <a:lnTo>
                  <a:pt x="883920" y="273050"/>
                </a:lnTo>
                <a:lnTo>
                  <a:pt x="883920" y="54610"/>
                </a:lnTo>
                <a:lnTo>
                  <a:pt x="879619" y="33379"/>
                </a:lnTo>
                <a:lnTo>
                  <a:pt x="867902" y="16017"/>
                </a:lnTo>
                <a:lnTo>
                  <a:pt x="850540" y="4300"/>
                </a:lnTo>
                <a:lnTo>
                  <a:pt x="829310" y="0"/>
                </a:lnTo>
                <a:close/>
              </a:path>
            </a:pathLst>
          </a:custGeom>
          <a:solidFill>
            <a:srgbClr val="CDEFFA"/>
          </a:solidFill>
        </p:spPr>
        <p:txBody>
          <a:bodyPr wrap="square" lIns="0" tIns="0" rIns="0" bIns="0" rtlCol="0"/>
          <a:lstStyle/>
          <a:p>
            <a:endParaRPr/>
          </a:p>
        </p:txBody>
      </p:sp>
      <p:sp>
        <p:nvSpPr>
          <p:cNvPr id="84" name="object 84"/>
          <p:cNvSpPr txBox="1"/>
          <p:nvPr/>
        </p:nvSpPr>
        <p:spPr>
          <a:xfrm>
            <a:off x="9270872" y="5114290"/>
            <a:ext cx="308610" cy="147955"/>
          </a:xfrm>
          <a:prstGeom prst="rect">
            <a:avLst/>
          </a:prstGeom>
        </p:spPr>
        <p:txBody>
          <a:bodyPr vert="horz" wrap="square" lIns="0" tIns="12700" rIns="0" bIns="0" rtlCol="0">
            <a:spAutoFit/>
          </a:bodyPr>
          <a:lstStyle/>
          <a:p>
            <a:pPr marL="12700">
              <a:lnSpc>
                <a:spcPct val="100000"/>
              </a:lnSpc>
              <a:spcBef>
                <a:spcPts val="100"/>
              </a:spcBef>
            </a:pPr>
            <a:r>
              <a:rPr sz="800" b="1" spc="-5">
                <a:latin typeface="Verdana"/>
                <a:cs typeface="Verdana"/>
              </a:rPr>
              <a:t>G</a:t>
            </a:r>
            <a:r>
              <a:rPr sz="800" b="1">
                <a:latin typeface="Verdana"/>
                <a:cs typeface="Verdana"/>
              </a:rPr>
              <a:t>a</a:t>
            </a:r>
            <a:r>
              <a:rPr sz="800" b="1" spc="-5">
                <a:latin typeface="Verdana"/>
                <a:cs typeface="Verdana"/>
              </a:rPr>
              <a:t>ps</a:t>
            </a:r>
            <a:endParaRPr sz="800">
              <a:latin typeface="Verdana"/>
              <a:cs typeface="Verdana"/>
            </a:endParaRPr>
          </a:p>
        </p:txBody>
      </p:sp>
      <p:sp>
        <p:nvSpPr>
          <p:cNvPr id="85" name="object 85"/>
          <p:cNvSpPr/>
          <p:nvPr/>
        </p:nvSpPr>
        <p:spPr>
          <a:xfrm>
            <a:off x="10963656" y="5024628"/>
            <a:ext cx="883919" cy="327660"/>
          </a:xfrm>
          <a:custGeom>
            <a:avLst/>
            <a:gdLst/>
            <a:ahLst/>
            <a:cxnLst/>
            <a:rect l="l" t="t" r="r" b="b"/>
            <a:pathLst>
              <a:path w="883920" h="327660">
                <a:moveTo>
                  <a:pt x="829310" y="0"/>
                </a:moveTo>
                <a:lnTo>
                  <a:pt x="54610" y="0"/>
                </a:lnTo>
                <a:lnTo>
                  <a:pt x="33379" y="4300"/>
                </a:lnTo>
                <a:lnTo>
                  <a:pt x="16017" y="16017"/>
                </a:lnTo>
                <a:lnTo>
                  <a:pt x="4300" y="33379"/>
                </a:lnTo>
                <a:lnTo>
                  <a:pt x="0" y="54610"/>
                </a:lnTo>
                <a:lnTo>
                  <a:pt x="0" y="273050"/>
                </a:lnTo>
                <a:lnTo>
                  <a:pt x="4300" y="294280"/>
                </a:lnTo>
                <a:lnTo>
                  <a:pt x="16017" y="311642"/>
                </a:lnTo>
                <a:lnTo>
                  <a:pt x="33379" y="323359"/>
                </a:lnTo>
                <a:lnTo>
                  <a:pt x="54610" y="327660"/>
                </a:lnTo>
                <a:lnTo>
                  <a:pt x="829310" y="327660"/>
                </a:lnTo>
                <a:lnTo>
                  <a:pt x="850540" y="323359"/>
                </a:lnTo>
                <a:lnTo>
                  <a:pt x="867902" y="311642"/>
                </a:lnTo>
                <a:lnTo>
                  <a:pt x="879619" y="294280"/>
                </a:lnTo>
                <a:lnTo>
                  <a:pt x="883920" y="273050"/>
                </a:lnTo>
                <a:lnTo>
                  <a:pt x="883920" y="54610"/>
                </a:lnTo>
                <a:lnTo>
                  <a:pt x="879619" y="33379"/>
                </a:lnTo>
                <a:lnTo>
                  <a:pt x="867902" y="16017"/>
                </a:lnTo>
                <a:lnTo>
                  <a:pt x="850540" y="4300"/>
                </a:lnTo>
                <a:lnTo>
                  <a:pt x="829310" y="0"/>
                </a:lnTo>
                <a:close/>
              </a:path>
            </a:pathLst>
          </a:custGeom>
          <a:solidFill>
            <a:srgbClr val="CDEFFA"/>
          </a:solidFill>
        </p:spPr>
        <p:txBody>
          <a:bodyPr wrap="square" lIns="0" tIns="0" rIns="0" bIns="0" rtlCol="0"/>
          <a:lstStyle/>
          <a:p>
            <a:endParaRPr/>
          </a:p>
        </p:txBody>
      </p:sp>
      <p:sp>
        <p:nvSpPr>
          <p:cNvPr id="86" name="object 86"/>
          <p:cNvSpPr txBox="1"/>
          <p:nvPr/>
        </p:nvSpPr>
        <p:spPr>
          <a:xfrm>
            <a:off x="10837671" y="5053329"/>
            <a:ext cx="1078865" cy="269875"/>
          </a:xfrm>
          <a:prstGeom prst="rect">
            <a:avLst/>
          </a:prstGeom>
        </p:spPr>
        <p:txBody>
          <a:bodyPr vert="horz" wrap="square" lIns="0" tIns="12700" rIns="0" bIns="0" rtlCol="0">
            <a:spAutoFit/>
          </a:bodyPr>
          <a:lstStyle/>
          <a:p>
            <a:pPr marL="443865" marR="219075" indent="-157480">
              <a:lnSpc>
                <a:spcPct val="100000"/>
              </a:lnSpc>
              <a:spcBef>
                <a:spcPts val="100"/>
              </a:spcBef>
            </a:pPr>
            <a:r>
              <a:rPr sz="800" b="1">
                <a:latin typeface="Verdana"/>
                <a:cs typeface="Verdana"/>
              </a:rPr>
              <a:t>Ex</a:t>
            </a:r>
            <a:r>
              <a:rPr sz="800" b="1" spc="5">
                <a:latin typeface="Verdana"/>
                <a:cs typeface="Verdana"/>
              </a:rPr>
              <a:t>e</a:t>
            </a:r>
            <a:r>
              <a:rPr sz="800" b="1" spc="-10">
                <a:latin typeface="Verdana"/>
                <a:cs typeface="Verdana"/>
              </a:rPr>
              <a:t>c</a:t>
            </a:r>
            <a:r>
              <a:rPr sz="800" b="1">
                <a:latin typeface="Verdana"/>
                <a:cs typeface="Verdana"/>
              </a:rPr>
              <a:t>u</a:t>
            </a:r>
            <a:r>
              <a:rPr sz="800" b="1" spc="5">
                <a:latin typeface="Verdana"/>
                <a:cs typeface="Verdana"/>
              </a:rPr>
              <a:t>t</a:t>
            </a:r>
            <a:r>
              <a:rPr sz="800" b="1">
                <a:latin typeface="Verdana"/>
                <a:cs typeface="Verdana"/>
              </a:rPr>
              <a:t>ion  Plan</a:t>
            </a:r>
            <a:endParaRPr sz="800">
              <a:latin typeface="Verdana"/>
              <a:cs typeface="Verdana"/>
            </a:endParaRPr>
          </a:p>
        </p:txBody>
      </p:sp>
      <p:sp>
        <p:nvSpPr>
          <p:cNvPr id="87" name="object 87"/>
          <p:cNvSpPr/>
          <p:nvPr/>
        </p:nvSpPr>
        <p:spPr>
          <a:xfrm>
            <a:off x="6542531" y="3612641"/>
            <a:ext cx="497840" cy="918844"/>
          </a:xfrm>
          <a:custGeom>
            <a:avLst/>
            <a:gdLst/>
            <a:ahLst/>
            <a:cxnLst/>
            <a:rect l="l" t="t" r="r" b="b"/>
            <a:pathLst>
              <a:path w="497840" h="918845">
                <a:moveTo>
                  <a:pt x="421132" y="842517"/>
                </a:moveTo>
                <a:lnTo>
                  <a:pt x="421132" y="918717"/>
                </a:lnTo>
                <a:lnTo>
                  <a:pt x="477520" y="890523"/>
                </a:lnTo>
                <a:lnTo>
                  <a:pt x="433832" y="890523"/>
                </a:lnTo>
                <a:lnTo>
                  <a:pt x="433832" y="870711"/>
                </a:lnTo>
                <a:lnTo>
                  <a:pt x="477520" y="870711"/>
                </a:lnTo>
                <a:lnTo>
                  <a:pt x="421132" y="842517"/>
                </a:lnTo>
                <a:close/>
              </a:path>
              <a:path w="497840" h="918845">
                <a:moveTo>
                  <a:pt x="19812" y="0"/>
                </a:moveTo>
                <a:lnTo>
                  <a:pt x="0" y="0"/>
                </a:lnTo>
                <a:lnTo>
                  <a:pt x="0" y="890523"/>
                </a:lnTo>
                <a:lnTo>
                  <a:pt x="421132" y="890523"/>
                </a:lnTo>
                <a:lnTo>
                  <a:pt x="421132" y="880617"/>
                </a:lnTo>
                <a:lnTo>
                  <a:pt x="19812" y="880617"/>
                </a:lnTo>
                <a:lnTo>
                  <a:pt x="9906" y="870711"/>
                </a:lnTo>
                <a:lnTo>
                  <a:pt x="19812" y="870711"/>
                </a:lnTo>
                <a:lnTo>
                  <a:pt x="19812" y="0"/>
                </a:lnTo>
                <a:close/>
              </a:path>
              <a:path w="497840" h="918845">
                <a:moveTo>
                  <a:pt x="477520" y="870711"/>
                </a:moveTo>
                <a:lnTo>
                  <a:pt x="433832" y="870711"/>
                </a:lnTo>
                <a:lnTo>
                  <a:pt x="433832" y="890523"/>
                </a:lnTo>
                <a:lnTo>
                  <a:pt x="477520" y="890523"/>
                </a:lnTo>
                <a:lnTo>
                  <a:pt x="497332" y="880617"/>
                </a:lnTo>
                <a:lnTo>
                  <a:pt x="477520" y="870711"/>
                </a:lnTo>
                <a:close/>
              </a:path>
              <a:path w="497840" h="918845">
                <a:moveTo>
                  <a:pt x="19812" y="870711"/>
                </a:moveTo>
                <a:lnTo>
                  <a:pt x="9906" y="870711"/>
                </a:lnTo>
                <a:lnTo>
                  <a:pt x="19812" y="880617"/>
                </a:lnTo>
                <a:lnTo>
                  <a:pt x="19812" y="870711"/>
                </a:lnTo>
                <a:close/>
              </a:path>
              <a:path w="497840" h="918845">
                <a:moveTo>
                  <a:pt x="421132" y="870711"/>
                </a:moveTo>
                <a:lnTo>
                  <a:pt x="19812" y="870711"/>
                </a:lnTo>
                <a:lnTo>
                  <a:pt x="19812" y="880617"/>
                </a:lnTo>
                <a:lnTo>
                  <a:pt x="421132" y="880617"/>
                </a:lnTo>
                <a:lnTo>
                  <a:pt x="421132" y="870711"/>
                </a:lnTo>
                <a:close/>
              </a:path>
            </a:pathLst>
          </a:custGeom>
          <a:solidFill>
            <a:srgbClr val="7E7E7E"/>
          </a:solidFill>
        </p:spPr>
        <p:txBody>
          <a:bodyPr wrap="square" lIns="0" tIns="0" rIns="0" bIns="0" rtlCol="0"/>
          <a:lstStyle/>
          <a:p>
            <a:endParaRPr/>
          </a:p>
        </p:txBody>
      </p:sp>
      <p:sp>
        <p:nvSpPr>
          <p:cNvPr id="88" name="object 88"/>
          <p:cNvSpPr/>
          <p:nvPr/>
        </p:nvSpPr>
        <p:spPr>
          <a:xfrm>
            <a:off x="7626095" y="2786633"/>
            <a:ext cx="344170" cy="1033144"/>
          </a:xfrm>
          <a:custGeom>
            <a:avLst/>
            <a:gdLst/>
            <a:ahLst/>
            <a:cxnLst/>
            <a:rect l="l" t="t" r="r" b="b"/>
            <a:pathLst>
              <a:path w="344170" h="1033145">
                <a:moveTo>
                  <a:pt x="267588" y="28193"/>
                </a:moveTo>
                <a:lnTo>
                  <a:pt x="0" y="28193"/>
                </a:lnTo>
                <a:lnTo>
                  <a:pt x="0" y="1033017"/>
                </a:lnTo>
                <a:lnTo>
                  <a:pt x="19811" y="1033017"/>
                </a:lnTo>
                <a:lnTo>
                  <a:pt x="19811" y="48005"/>
                </a:lnTo>
                <a:lnTo>
                  <a:pt x="9905" y="48005"/>
                </a:lnTo>
                <a:lnTo>
                  <a:pt x="19811" y="38100"/>
                </a:lnTo>
                <a:lnTo>
                  <a:pt x="267588" y="38100"/>
                </a:lnTo>
                <a:lnTo>
                  <a:pt x="267588" y="28193"/>
                </a:lnTo>
                <a:close/>
              </a:path>
              <a:path w="344170" h="1033145">
                <a:moveTo>
                  <a:pt x="267588" y="0"/>
                </a:moveTo>
                <a:lnTo>
                  <a:pt x="267588" y="76200"/>
                </a:lnTo>
                <a:lnTo>
                  <a:pt x="323976" y="48005"/>
                </a:lnTo>
                <a:lnTo>
                  <a:pt x="280288" y="48005"/>
                </a:lnTo>
                <a:lnTo>
                  <a:pt x="280288" y="28193"/>
                </a:lnTo>
                <a:lnTo>
                  <a:pt x="323976" y="28193"/>
                </a:lnTo>
                <a:lnTo>
                  <a:pt x="267588" y="0"/>
                </a:lnTo>
                <a:close/>
              </a:path>
              <a:path w="344170" h="1033145">
                <a:moveTo>
                  <a:pt x="19811" y="38100"/>
                </a:moveTo>
                <a:lnTo>
                  <a:pt x="9905" y="48005"/>
                </a:lnTo>
                <a:lnTo>
                  <a:pt x="19811" y="48005"/>
                </a:lnTo>
                <a:lnTo>
                  <a:pt x="19811" y="38100"/>
                </a:lnTo>
                <a:close/>
              </a:path>
              <a:path w="344170" h="1033145">
                <a:moveTo>
                  <a:pt x="267588" y="38100"/>
                </a:moveTo>
                <a:lnTo>
                  <a:pt x="19811" y="38100"/>
                </a:lnTo>
                <a:lnTo>
                  <a:pt x="19811" y="48005"/>
                </a:lnTo>
                <a:lnTo>
                  <a:pt x="267588" y="48005"/>
                </a:lnTo>
                <a:lnTo>
                  <a:pt x="267588" y="38100"/>
                </a:lnTo>
                <a:close/>
              </a:path>
              <a:path w="344170" h="1033145">
                <a:moveTo>
                  <a:pt x="323976" y="28193"/>
                </a:moveTo>
                <a:lnTo>
                  <a:pt x="280288" y="28193"/>
                </a:lnTo>
                <a:lnTo>
                  <a:pt x="280288" y="48005"/>
                </a:lnTo>
                <a:lnTo>
                  <a:pt x="323976" y="48005"/>
                </a:lnTo>
                <a:lnTo>
                  <a:pt x="343788" y="38100"/>
                </a:lnTo>
                <a:lnTo>
                  <a:pt x="323976" y="28193"/>
                </a:lnTo>
                <a:close/>
              </a:path>
            </a:pathLst>
          </a:custGeom>
          <a:solidFill>
            <a:srgbClr val="7E7E7E"/>
          </a:solidFill>
        </p:spPr>
        <p:txBody>
          <a:bodyPr wrap="square" lIns="0" tIns="0" rIns="0" bIns="0" rtlCol="0"/>
          <a:lstStyle/>
          <a:p>
            <a:endParaRPr/>
          </a:p>
        </p:txBody>
      </p:sp>
      <p:sp>
        <p:nvSpPr>
          <p:cNvPr id="89" name="object 89"/>
          <p:cNvSpPr/>
          <p:nvPr/>
        </p:nvSpPr>
        <p:spPr>
          <a:xfrm>
            <a:off x="8373618" y="3612641"/>
            <a:ext cx="76200" cy="1413510"/>
          </a:xfrm>
          <a:custGeom>
            <a:avLst/>
            <a:gdLst/>
            <a:ahLst/>
            <a:cxnLst/>
            <a:rect l="l" t="t" r="r" b="b"/>
            <a:pathLst>
              <a:path w="76200" h="1413510">
                <a:moveTo>
                  <a:pt x="28193" y="1337182"/>
                </a:moveTo>
                <a:lnTo>
                  <a:pt x="0" y="1337182"/>
                </a:lnTo>
                <a:lnTo>
                  <a:pt x="38100" y="1413382"/>
                </a:lnTo>
                <a:lnTo>
                  <a:pt x="69850" y="1349882"/>
                </a:lnTo>
                <a:lnTo>
                  <a:pt x="28193" y="1349882"/>
                </a:lnTo>
                <a:lnTo>
                  <a:pt x="28193" y="1337182"/>
                </a:lnTo>
                <a:close/>
              </a:path>
              <a:path w="76200" h="1413510">
                <a:moveTo>
                  <a:pt x="48005" y="0"/>
                </a:moveTo>
                <a:lnTo>
                  <a:pt x="28193" y="0"/>
                </a:lnTo>
                <a:lnTo>
                  <a:pt x="28193" y="1349882"/>
                </a:lnTo>
                <a:lnTo>
                  <a:pt x="48005" y="1349882"/>
                </a:lnTo>
                <a:lnTo>
                  <a:pt x="48005" y="0"/>
                </a:lnTo>
                <a:close/>
              </a:path>
              <a:path w="76200" h="1413510">
                <a:moveTo>
                  <a:pt x="76200" y="1337182"/>
                </a:moveTo>
                <a:lnTo>
                  <a:pt x="48005" y="1337182"/>
                </a:lnTo>
                <a:lnTo>
                  <a:pt x="48005" y="1349882"/>
                </a:lnTo>
                <a:lnTo>
                  <a:pt x="69850" y="1349882"/>
                </a:lnTo>
                <a:lnTo>
                  <a:pt x="76200" y="1337182"/>
                </a:lnTo>
                <a:close/>
              </a:path>
            </a:pathLst>
          </a:custGeom>
          <a:solidFill>
            <a:srgbClr val="7E7E7E"/>
          </a:solidFill>
        </p:spPr>
        <p:txBody>
          <a:bodyPr wrap="square" lIns="0" tIns="0" rIns="0" bIns="0" rtlCol="0"/>
          <a:lstStyle/>
          <a:p>
            <a:endParaRPr/>
          </a:p>
        </p:txBody>
      </p:sp>
      <p:sp>
        <p:nvSpPr>
          <p:cNvPr id="90" name="object 90"/>
          <p:cNvSpPr/>
          <p:nvPr/>
        </p:nvSpPr>
        <p:spPr>
          <a:xfrm>
            <a:off x="8855202" y="5150358"/>
            <a:ext cx="128397" cy="76200"/>
          </a:xfrm>
          <a:prstGeom prst="rect">
            <a:avLst/>
          </a:prstGeom>
          <a:blipFill>
            <a:blip r:embed="rId14" cstate="print"/>
            <a:stretch>
              <a:fillRect/>
            </a:stretch>
          </a:blipFill>
        </p:spPr>
        <p:txBody>
          <a:bodyPr wrap="square" lIns="0" tIns="0" rIns="0" bIns="0" rtlCol="0"/>
          <a:lstStyle/>
          <a:p>
            <a:endParaRPr/>
          </a:p>
        </p:txBody>
      </p:sp>
      <p:sp>
        <p:nvSpPr>
          <p:cNvPr id="91" name="object 91"/>
          <p:cNvSpPr/>
          <p:nvPr/>
        </p:nvSpPr>
        <p:spPr>
          <a:xfrm>
            <a:off x="9867138" y="3960114"/>
            <a:ext cx="106806" cy="76200"/>
          </a:xfrm>
          <a:prstGeom prst="rect">
            <a:avLst/>
          </a:prstGeom>
          <a:blipFill>
            <a:blip r:embed="rId15" cstate="print"/>
            <a:stretch>
              <a:fillRect/>
            </a:stretch>
          </a:blipFill>
        </p:spPr>
        <p:txBody>
          <a:bodyPr wrap="square" lIns="0" tIns="0" rIns="0" bIns="0" rtlCol="0"/>
          <a:lstStyle/>
          <a:p>
            <a:endParaRPr/>
          </a:p>
        </p:txBody>
      </p:sp>
      <p:sp>
        <p:nvSpPr>
          <p:cNvPr id="92" name="object 92"/>
          <p:cNvSpPr/>
          <p:nvPr/>
        </p:nvSpPr>
        <p:spPr>
          <a:xfrm>
            <a:off x="10859261" y="3960114"/>
            <a:ext cx="104775" cy="76200"/>
          </a:xfrm>
          <a:prstGeom prst="rect">
            <a:avLst/>
          </a:prstGeom>
          <a:blipFill>
            <a:blip r:embed="rId16" cstate="print"/>
            <a:stretch>
              <a:fillRect/>
            </a:stretch>
          </a:blipFill>
        </p:spPr>
        <p:txBody>
          <a:bodyPr wrap="square" lIns="0" tIns="0" rIns="0" bIns="0" rtlCol="0"/>
          <a:lstStyle/>
          <a:p>
            <a:endParaRPr/>
          </a:p>
        </p:txBody>
      </p:sp>
      <p:sp>
        <p:nvSpPr>
          <p:cNvPr id="93" name="object 93"/>
          <p:cNvSpPr/>
          <p:nvPr/>
        </p:nvSpPr>
        <p:spPr>
          <a:xfrm>
            <a:off x="8855202" y="2786633"/>
            <a:ext cx="128397" cy="76200"/>
          </a:xfrm>
          <a:prstGeom prst="rect">
            <a:avLst/>
          </a:prstGeom>
          <a:blipFill>
            <a:blip r:embed="rId14" cstate="print"/>
            <a:stretch>
              <a:fillRect/>
            </a:stretch>
          </a:blipFill>
        </p:spPr>
        <p:txBody>
          <a:bodyPr wrap="square" lIns="0" tIns="0" rIns="0" bIns="0" rtlCol="0"/>
          <a:lstStyle/>
          <a:p>
            <a:endParaRPr/>
          </a:p>
        </p:txBody>
      </p:sp>
      <p:sp>
        <p:nvSpPr>
          <p:cNvPr id="94" name="object 94"/>
          <p:cNvSpPr/>
          <p:nvPr/>
        </p:nvSpPr>
        <p:spPr>
          <a:xfrm>
            <a:off x="9387078" y="3612641"/>
            <a:ext cx="76200" cy="221869"/>
          </a:xfrm>
          <a:prstGeom prst="rect">
            <a:avLst/>
          </a:prstGeom>
          <a:blipFill>
            <a:blip r:embed="rId17" cstate="print"/>
            <a:stretch>
              <a:fillRect/>
            </a:stretch>
          </a:blipFill>
        </p:spPr>
        <p:txBody>
          <a:bodyPr wrap="square" lIns="0" tIns="0" rIns="0" bIns="0" rtlCol="0"/>
          <a:lstStyle/>
          <a:p>
            <a:endParaRPr/>
          </a:p>
        </p:txBody>
      </p:sp>
      <p:sp>
        <p:nvSpPr>
          <p:cNvPr id="95" name="object 95"/>
          <p:cNvSpPr/>
          <p:nvPr/>
        </p:nvSpPr>
        <p:spPr>
          <a:xfrm>
            <a:off x="10379202" y="3612641"/>
            <a:ext cx="76200" cy="221869"/>
          </a:xfrm>
          <a:prstGeom prst="rect">
            <a:avLst/>
          </a:prstGeom>
          <a:blipFill>
            <a:blip r:embed="rId17" cstate="print"/>
            <a:stretch>
              <a:fillRect/>
            </a:stretch>
          </a:blipFill>
        </p:spPr>
        <p:txBody>
          <a:bodyPr wrap="square" lIns="0" tIns="0" rIns="0" bIns="0" rtlCol="0"/>
          <a:lstStyle/>
          <a:p>
            <a:endParaRPr/>
          </a:p>
        </p:txBody>
      </p:sp>
      <p:sp>
        <p:nvSpPr>
          <p:cNvPr id="96" name="object 96"/>
          <p:cNvSpPr/>
          <p:nvPr/>
        </p:nvSpPr>
        <p:spPr>
          <a:xfrm>
            <a:off x="11368278" y="4795265"/>
            <a:ext cx="76200" cy="230758"/>
          </a:xfrm>
          <a:prstGeom prst="rect">
            <a:avLst/>
          </a:prstGeom>
          <a:blipFill>
            <a:blip r:embed="rId18" cstate="print"/>
            <a:stretch>
              <a:fillRect/>
            </a:stretch>
          </a:blipFill>
        </p:spPr>
        <p:txBody>
          <a:bodyPr wrap="square" lIns="0" tIns="0" rIns="0" bIns="0" rtlCol="0"/>
          <a:lstStyle/>
          <a:p>
            <a:endParaRPr/>
          </a:p>
        </p:txBody>
      </p:sp>
      <p:sp>
        <p:nvSpPr>
          <p:cNvPr id="97" name="object 97"/>
          <p:cNvSpPr/>
          <p:nvPr/>
        </p:nvSpPr>
        <p:spPr>
          <a:xfrm>
            <a:off x="6542531" y="4455414"/>
            <a:ext cx="497840" cy="570865"/>
          </a:xfrm>
          <a:custGeom>
            <a:avLst/>
            <a:gdLst/>
            <a:ahLst/>
            <a:cxnLst/>
            <a:rect l="l" t="t" r="r" b="b"/>
            <a:pathLst>
              <a:path w="497840" h="570864">
                <a:moveTo>
                  <a:pt x="421132" y="28193"/>
                </a:moveTo>
                <a:lnTo>
                  <a:pt x="0" y="28193"/>
                </a:lnTo>
                <a:lnTo>
                  <a:pt x="0" y="570865"/>
                </a:lnTo>
                <a:lnTo>
                  <a:pt x="19812" y="570865"/>
                </a:lnTo>
                <a:lnTo>
                  <a:pt x="19812" y="48006"/>
                </a:lnTo>
                <a:lnTo>
                  <a:pt x="9906" y="48006"/>
                </a:lnTo>
                <a:lnTo>
                  <a:pt x="19812" y="38100"/>
                </a:lnTo>
                <a:lnTo>
                  <a:pt x="421132" y="38100"/>
                </a:lnTo>
                <a:lnTo>
                  <a:pt x="421132" y="28193"/>
                </a:lnTo>
                <a:close/>
              </a:path>
              <a:path w="497840" h="570864">
                <a:moveTo>
                  <a:pt x="421132" y="0"/>
                </a:moveTo>
                <a:lnTo>
                  <a:pt x="421132" y="76200"/>
                </a:lnTo>
                <a:lnTo>
                  <a:pt x="477520" y="48006"/>
                </a:lnTo>
                <a:lnTo>
                  <a:pt x="433832" y="48006"/>
                </a:lnTo>
                <a:lnTo>
                  <a:pt x="433832" y="28193"/>
                </a:lnTo>
                <a:lnTo>
                  <a:pt x="477520" y="28193"/>
                </a:lnTo>
                <a:lnTo>
                  <a:pt x="421132" y="0"/>
                </a:lnTo>
                <a:close/>
              </a:path>
              <a:path w="497840" h="570864">
                <a:moveTo>
                  <a:pt x="19812" y="38100"/>
                </a:moveTo>
                <a:lnTo>
                  <a:pt x="9906" y="48006"/>
                </a:lnTo>
                <a:lnTo>
                  <a:pt x="19812" y="48006"/>
                </a:lnTo>
                <a:lnTo>
                  <a:pt x="19812" y="38100"/>
                </a:lnTo>
                <a:close/>
              </a:path>
              <a:path w="497840" h="570864">
                <a:moveTo>
                  <a:pt x="421132" y="38100"/>
                </a:moveTo>
                <a:lnTo>
                  <a:pt x="19812" y="38100"/>
                </a:lnTo>
                <a:lnTo>
                  <a:pt x="19812" y="48006"/>
                </a:lnTo>
                <a:lnTo>
                  <a:pt x="421132" y="48006"/>
                </a:lnTo>
                <a:lnTo>
                  <a:pt x="421132" y="38100"/>
                </a:lnTo>
                <a:close/>
              </a:path>
              <a:path w="497840" h="570864">
                <a:moveTo>
                  <a:pt x="477520" y="28193"/>
                </a:moveTo>
                <a:lnTo>
                  <a:pt x="433832" y="28193"/>
                </a:lnTo>
                <a:lnTo>
                  <a:pt x="433832" y="48006"/>
                </a:lnTo>
                <a:lnTo>
                  <a:pt x="477520" y="48006"/>
                </a:lnTo>
                <a:lnTo>
                  <a:pt x="497332" y="38100"/>
                </a:lnTo>
                <a:lnTo>
                  <a:pt x="477520" y="28193"/>
                </a:lnTo>
                <a:close/>
              </a:path>
            </a:pathLst>
          </a:custGeom>
          <a:solidFill>
            <a:srgbClr val="7E7E7E"/>
          </a:solidFill>
        </p:spPr>
        <p:txBody>
          <a:bodyPr wrap="square" lIns="0" tIns="0" rIns="0" bIns="0" rtlCol="0"/>
          <a:lstStyle/>
          <a:p>
            <a:endParaRPr/>
          </a:p>
        </p:txBody>
      </p:sp>
      <p:sp>
        <p:nvSpPr>
          <p:cNvPr id="98" name="object 98"/>
          <p:cNvSpPr/>
          <p:nvPr/>
        </p:nvSpPr>
        <p:spPr>
          <a:xfrm>
            <a:off x="9387078" y="4795265"/>
            <a:ext cx="76200" cy="230758"/>
          </a:xfrm>
          <a:prstGeom prst="rect">
            <a:avLst/>
          </a:prstGeom>
          <a:blipFill>
            <a:blip r:embed="rId19" cstate="print"/>
            <a:stretch>
              <a:fillRect/>
            </a:stretch>
          </a:blipFill>
        </p:spPr>
        <p:txBody>
          <a:bodyPr wrap="square" lIns="0" tIns="0" rIns="0" bIns="0" rtlCol="0"/>
          <a:lstStyle/>
          <a:p>
            <a:endParaRPr/>
          </a:p>
        </p:txBody>
      </p:sp>
      <p:sp>
        <p:nvSpPr>
          <p:cNvPr id="99" name="object 99"/>
          <p:cNvSpPr/>
          <p:nvPr/>
        </p:nvSpPr>
        <p:spPr>
          <a:xfrm>
            <a:off x="2314955" y="5469635"/>
            <a:ext cx="3657600" cy="599440"/>
          </a:xfrm>
          <a:custGeom>
            <a:avLst/>
            <a:gdLst/>
            <a:ahLst/>
            <a:cxnLst/>
            <a:rect l="l" t="t" r="r" b="b"/>
            <a:pathLst>
              <a:path w="3657600" h="599439">
                <a:moveTo>
                  <a:pt x="3557778" y="0"/>
                </a:moveTo>
                <a:lnTo>
                  <a:pt x="99821" y="0"/>
                </a:lnTo>
                <a:lnTo>
                  <a:pt x="60971" y="7846"/>
                </a:lnTo>
                <a:lnTo>
                  <a:pt x="29241" y="29241"/>
                </a:lnTo>
                <a:lnTo>
                  <a:pt x="7846" y="60971"/>
                </a:lnTo>
                <a:lnTo>
                  <a:pt x="0" y="99822"/>
                </a:lnTo>
                <a:lnTo>
                  <a:pt x="0" y="499109"/>
                </a:lnTo>
                <a:lnTo>
                  <a:pt x="7846" y="537965"/>
                </a:lnTo>
                <a:lnTo>
                  <a:pt x="29241" y="569695"/>
                </a:lnTo>
                <a:lnTo>
                  <a:pt x="60971" y="591087"/>
                </a:lnTo>
                <a:lnTo>
                  <a:pt x="99821" y="598932"/>
                </a:lnTo>
                <a:lnTo>
                  <a:pt x="3557778" y="598932"/>
                </a:lnTo>
                <a:lnTo>
                  <a:pt x="3596628" y="591087"/>
                </a:lnTo>
                <a:lnTo>
                  <a:pt x="3628358" y="569695"/>
                </a:lnTo>
                <a:lnTo>
                  <a:pt x="3649753" y="537965"/>
                </a:lnTo>
                <a:lnTo>
                  <a:pt x="3657600" y="499109"/>
                </a:lnTo>
                <a:lnTo>
                  <a:pt x="3657600" y="99822"/>
                </a:lnTo>
                <a:lnTo>
                  <a:pt x="3649753" y="60971"/>
                </a:lnTo>
                <a:lnTo>
                  <a:pt x="3628358" y="29241"/>
                </a:lnTo>
                <a:lnTo>
                  <a:pt x="3596628" y="7846"/>
                </a:lnTo>
                <a:lnTo>
                  <a:pt x="3557778" y="0"/>
                </a:lnTo>
                <a:close/>
              </a:path>
            </a:pathLst>
          </a:custGeom>
          <a:solidFill>
            <a:srgbClr val="3A3A3A"/>
          </a:solidFill>
        </p:spPr>
        <p:txBody>
          <a:bodyPr wrap="square" lIns="0" tIns="0" rIns="0" bIns="0" rtlCol="0"/>
          <a:lstStyle/>
          <a:p>
            <a:endParaRPr/>
          </a:p>
        </p:txBody>
      </p:sp>
      <p:sp>
        <p:nvSpPr>
          <p:cNvPr id="100" name="object 100"/>
          <p:cNvSpPr txBox="1"/>
          <p:nvPr/>
        </p:nvSpPr>
        <p:spPr>
          <a:xfrm>
            <a:off x="2484501" y="5529478"/>
            <a:ext cx="3319145" cy="482600"/>
          </a:xfrm>
          <a:prstGeom prst="rect">
            <a:avLst/>
          </a:prstGeom>
        </p:spPr>
        <p:txBody>
          <a:bodyPr vert="horz" wrap="square" lIns="0" tIns="12065" rIns="0" bIns="0" rtlCol="0">
            <a:spAutoFit/>
          </a:bodyPr>
          <a:lstStyle/>
          <a:p>
            <a:pPr marL="12700" marR="5080" algn="ctr">
              <a:lnSpc>
                <a:spcPct val="100000"/>
              </a:lnSpc>
              <a:spcBef>
                <a:spcPts val="95"/>
              </a:spcBef>
            </a:pPr>
            <a:r>
              <a:rPr sz="1000" b="1" spc="-10">
                <a:solidFill>
                  <a:srgbClr val="FFFFFF"/>
                </a:solidFill>
                <a:latin typeface="Verdana"/>
                <a:cs typeface="Verdana"/>
              </a:rPr>
              <a:t>Continuously review requirements against </a:t>
            </a:r>
            <a:r>
              <a:rPr sz="1000" b="1" spc="-5">
                <a:solidFill>
                  <a:srgbClr val="FFFFFF"/>
                </a:solidFill>
                <a:latin typeface="Verdana"/>
                <a:cs typeface="Verdana"/>
              </a:rPr>
              <a:t>the  </a:t>
            </a:r>
            <a:r>
              <a:rPr sz="1000" b="1" spc="-10">
                <a:solidFill>
                  <a:srgbClr val="FFFFFF"/>
                </a:solidFill>
                <a:latin typeface="Verdana"/>
                <a:cs typeface="Verdana"/>
              </a:rPr>
              <a:t>original </a:t>
            </a:r>
            <a:r>
              <a:rPr sz="1000" b="1" spc="-5">
                <a:solidFill>
                  <a:srgbClr val="FFFFFF"/>
                </a:solidFill>
                <a:latin typeface="Verdana"/>
                <a:cs typeface="Verdana"/>
              </a:rPr>
              <a:t>estimate to </a:t>
            </a:r>
            <a:r>
              <a:rPr sz="1000" b="1" spc="-10">
                <a:solidFill>
                  <a:srgbClr val="FFFFFF"/>
                </a:solidFill>
                <a:latin typeface="Verdana"/>
                <a:cs typeface="Verdana"/>
              </a:rPr>
              <a:t>ensure planned capacity  and planned effort are </a:t>
            </a:r>
            <a:r>
              <a:rPr sz="1000" b="1" spc="-5">
                <a:solidFill>
                  <a:srgbClr val="FFFFFF"/>
                </a:solidFill>
                <a:latin typeface="Verdana"/>
                <a:cs typeface="Verdana"/>
              </a:rPr>
              <a:t>in</a:t>
            </a:r>
            <a:r>
              <a:rPr sz="1000" b="1" spc="60">
                <a:solidFill>
                  <a:srgbClr val="FFFFFF"/>
                </a:solidFill>
                <a:latin typeface="Verdana"/>
                <a:cs typeface="Verdana"/>
              </a:rPr>
              <a:t> </a:t>
            </a:r>
            <a:r>
              <a:rPr sz="1000" b="1" spc="-10">
                <a:solidFill>
                  <a:srgbClr val="FFFFFF"/>
                </a:solidFill>
                <a:latin typeface="Verdana"/>
                <a:cs typeface="Verdana"/>
              </a:rPr>
              <a:t>line</a:t>
            </a:r>
            <a:endParaRPr sz="1000">
              <a:latin typeface="Verdana"/>
              <a:cs typeface="Verdana"/>
            </a:endParaRPr>
          </a:p>
        </p:txBody>
      </p:sp>
      <p:sp>
        <p:nvSpPr>
          <p:cNvPr id="101" name="object 101"/>
          <p:cNvSpPr/>
          <p:nvPr/>
        </p:nvSpPr>
        <p:spPr>
          <a:xfrm>
            <a:off x="2402585" y="6085332"/>
            <a:ext cx="3481704" cy="114300"/>
          </a:xfrm>
          <a:custGeom>
            <a:avLst/>
            <a:gdLst/>
            <a:ahLst/>
            <a:cxnLst/>
            <a:rect l="l" t="t" r="r" b="b"/>
            <a:pathLst>
              <a:path w="3481704" h="114300">
                <a:moveTo>
                  <a:pt x="3367278" y="0"/>
                </a:moveTo>
                <a:lnTo>
                  <a:pt x="3367278" y="114300"/>
                </a:lnTo>
                <a:lnTo>
                  <a:pt x="3443478" y="76200"/>
                </a:lnTo>
                <a:lnTo>
                  <a:pt x="3386328" y="76200"/>
                </a:lnTo>
                <a:lnTo>
                  <a:pt x="3386328" y="38100"/>
                </a:lnTo>
                <a:lnTo>
                  <a:pt x="3443478" y="38100"/>
                </a:lnTo>
                <a:lnTo>
                  <a:pt x="3367278" y="0"/>
                </a:lnTo>
                <a:close/>
              </a:path>
              <a:path w="3481704" h="114300">
                <a:moveTo>
                  <a:pt x="3367278" y="38100"/>
                </a:moveTo>
                <a:lnTo>
                  <a:pt x="0" y="38100"/>
                </a:lnTo>
                <a:lnTo>
                  <a:pt x="0" y="76200"/>
                </a:lnTo>
                <a:lnTo>
                  <a:pt x="3367278" y="76200"/>
                </a:lnTo>
                <a:lnTo>
                  <a:pt x="3367278" y="38100"/>
                </a:lnTo>
                <a:close/>
              </a:path>
              <a:path w="3481704" h="114300">
                <a:moveTo>
                  <a:pt x="3443478" y="38100"/>
                </a:moveTo>
                <a:lnTo>
                  <a:pt x="3386328" y="38100"/>
                </a:lnTo>
                <a:lnTo>
                  <a:pt x="3386328" y="76200"/>
                </a:lnTo>
                <a:lnTo>
                  <a:pt x="3443478" y="76200"/>
                </a:lnTo>
                <a:lnTo>
                  <a:pt x="3481578" y="57150"/>
                </a:lnTo>
                <a:lnTo>
                  <a:pt x="3443478" y="38100"/>
                </a:lnTo>
                <a:close/>
              </a:path>
            </a:pathLst>
          </a:custGeom>
          <a:solidFill>
            <a:srgbClr val="767676"/>
          </a:solidFill>
        </p:spPr>
        <p:txBody>
          <a:bodyPr wrap="square" lIns="0" tIns="0" rIns="0" bIns="0" rtlCol="0"/>
          <a:lstStyle/>
          <a:p>
            <a:endParaRPr/>
          </a:p>
        </p:txBody>
      </p:sp>
      <p:sp>
        <p:nvSpPr>
          <p:cNvPr id="102" name="object 10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03" name="object 103"/>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0</a:t>
            </a:fld>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214680" y="6638645"/>
            <a:ext cx="1945639"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5" name="object 5"/>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69</a:t>
            </a:r>
            <a:endParaRPr sz="800">
              <a:latin typeface="Verdana"/>
              <a:cs typeface="Verdana"/>
            </a:endParaRPr>
          </a:p>
        </p:txBody>
      </p:sp>
      <p:sp>
        <p:nvSpPr>
          <p:cNvPr id="7" name="object 7"/>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8" name="object 8"/>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9" name="object 9"/>
          <p:cNvSpPr txBox="1"/>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latin typeface="Verdana"/>
                <a:cs typeface="Verdana"/>
              </a:rPr>
              <a:t>06.1</a:t>
            </a:r>
            <a:endParaRPr sz="4400">
              <a:latin typeface="Verdana"/>
              <a:cs typeface="Verdana"/>
            </a:endParaRPr>
          </a:p>
        </p:txBody>
      </p:sp>
      <p:sp>
        <p:nvSpPr>
          <p:cNvPr id="10" name="object 10"/>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11" name="object 11"/>
          <p:cNvSpPr txBox="1"/>
          <p:nvPr/>
        </p:nvSpPr>
        <p:spPr>
          <a:xfrm>
            <a:off x="540207" y="2902153"/>
            <a:ext cx="1897380" cy="3314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Project</a:t>
            </a:r>
            <a:r>
              <a:rPr sz="2000" b="1" spc="-70">
                <a:solidFill>
                  <a:srgbClr val="FFFFFF"/>
                </a:solidFill>
                <a:latin typeface="Verdana"/>
                <a:cs typeface="Verdana"/>
              </a:rPr>
              <a:t> </a:t>
            </a:r>
            <a:r>
              <a:rPr sz="2000" b="1">
                <a:solidFill>
                  <a:srgbClr val="FFFFFF"/>
                </a:solidFill>
                <a:latin typeface="Verdana"/>
                <a:cs typeface="Verdana"/>
              </a:rPr>
              <a:t>Tools</a:t>
            </a:r>
            <a:endParaRPr sz="2000">
              <a:latin typeface="Verdana"/>
              <a:cs typeface="Verdana"/>
            </a:endParaRPr>
          </a:p>
        </p:txBody>
      </p:sp>
      <p:pic>
        <p:nvPicPr>
          <p:cNvPr id="12" name="Picture 11">
            <a:extLst>
              <a:ext uri="{FF2B5EF4-FFF2-40B4-BE49-F238E27FC236}">
                <a16:creationId xmlns:a16="http://schemas.microsoft.com/office/drawing/2014/main" id="{D04AEE8D-6E76-4116-B766-0D75F66B1C22}"/>
              </a:ext>
            </a:extLst>
          </p:cNvPr>
          <p:cNvPicPr>
            <a:picLocks noChangeAspect="1"/>
          </p:cNvPicPr>
          <p:nvPr/>
        </p:nvPicPr>
        <p:blipFill>
          <a:blip r:embed="rId3">
            <a:alphaModFix/>
          </a:blip>
          <a:stretch>
            <a:fillRect/>
          </a:stretch>
        </p:blipFill>
        <p:spPr>
          <a:xfrm>
            <a:off x="6173969" y="1628775"/>
            <a:ext cx="5094106" cy="2828925"/>
          </a:xfrm>
          <a:prstGeom prst="rect">
            <a:avLst/>
          </a:prstGeo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1459" y="1129283"/>
            <a:ext cx="11689080" cy="365760"/>
          </a:xfrm>
          <a:prstGeom prst="rect">
            <a:avLst/>
          </a:prstGeom>
          <a:solidFill>
            <a:srgbClr val="421F5D"/>
          </a:solidFill>
        </p:spPr>
        <p:txBody>
          <a:bodyPr vert="horz" wrap="square" lIns="0" tIns="90170" rIns="0" bIns="0" rtlCol="0">
            <a:spAutoFit/>
          </a:bodyPr>
          <a:lstStyle/>
          <a:p>
            <a:pPr marL="1102360">
              <a:lnSpc>
                <a:spcPct val="100000"/>
              </a:lnSpc>
              <a:spcBef>
                <a:spcPts val="710"/>
              </a:spcBef>
            </a:pPr>
            <a:r>
              <a:rPr sz="1200" b="1" spc="-5">
                <a:solidFill>
                  <a:srgbClr val="FFFFFF"/>
                </a:solidFill>
                <a:latin typeface="Verdana"/>
                <a:cs typeface="Verdana"/>
              </a:rPr>
              <a:t>Combining </a:t>
            </a:r>
            <a:r>
              <a:rPr sz="1200" b="1">
                <a:solidFill>
                  <a:srgbClr val="FFFFFF"/>
                </a:solidFill>
                <a:latin typeface="Verdana"/>
                <a:cs typeface="Verdana"/>
              </a:rPr>
              <a:t>our </a:t>
            </a:r>
            <a:r>
              <a:rPr sz="1200" b="1" spc="-5">
                <a:solidFill>
                  <a:srgbClr val="FFFFFF"/>
                </a:solidFill>
                <a:latin typeface="Verdana"/>
                <a:cs typeface="Verdana"/>
              </a:rPr>
              <a:t>Salesforce testing capabilities, </a:t>
            </a:r>
            <a:r>
              <a:rPr sz="1200" b="1">
                <a:solidFill>
                  <a:srgbClr val="FFFFFF"/>
                </a:solidFill>
                <a:latin typeface="Verdana"/>
                <a:cs typeface="Verdana"/>
              </a:rPr>
              <a:t>we </a:t>
            </a:r>
            <a:r>
              <a:rPr sz="1200" b="1" spc="-5">
                <a:solidFill>
                  <a:srgbClr val="FFFFFF"/>
                </a:solidFill>
                <a:latin typeface="Verdana"/>
                <a:cs typeface="Verdana"/>
              </a:rPr>
              <a:t>outlined the following framework for testing Marelli</a:t>
            </a:r>
            <a:r>
              <a:rPr sz="1200" b="1" spc="145">
                <a:solidFill>
                  <a:srgbClr val="FFFFFF"/>
                </a:solidFill>
                <a:latin typeface="Verdana"/>
                <a:cs typeface="Verdana"/>
              </a:rPr>
              <a:t> </a:t>
            </a:r>
            <a:r>
              <a:rPr sz="1200" b="1" spc="-5">
                <a:solidFill>
                  <a:srgbClr val="FFFFFF"/>
                </a:solidFill>
                <a:latin typeface="Verdana"/>
                <a:cs typeface="Verdana"/>
              </a:rPr>
              <a:t>solution</a:t>
            </a:r>
            <a:endParaRPr sz="1200">
              <a:latin typeface="Verdana"/>
              <a:cs typeface="Verdana"/>
            </a:endParaRPr>
          </a:p>
        </p:txBody>
      </p:sp>
      <p:sp>
        <p:nvSpPr>
          <p:cNvPr id="3" name="object 3"/>
          <p:cNvSpPr/>
          <p:nvPr/>
        </p:nvSpPr>
        <p:spPr>
          <a:xfrm>
            <a:off x="359602" y="1906655"/>
            <a:ext cx="6433251" cy="4052105"/>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6944868" y="1731264"/>
            <a:ext cx="4968240" cy="485140"/>
          </a:xfrm>
          <a:custGeom>
            <a:avLst/>
            <a:gdLst/>
            <a:ahLst/>
            <a:cxnLst/>
            <a:rect l="l" t="t" r="r" b="b"/>
            <a:pathLst>
              <a:path w="4968240" h="485139">
                <a:moveTo>
                  <a:pt x="4887467" y="0"/>
                </a:moveTo>
                <a:lnTo>
                  <a:pt x="80772" y="0"/>
                </a:lnTo>
                <a:lnTo>
                  <a:pt x="49345" y="6351"/>
                </a:lnTo>
                <a:lnTo>
                  <a:pt x="23669" y="23669"/>
                </a:lnTo>
                <a:lnTo>
                  <a:pt x="6351" y="49345"/>
                </a:lnTo>
                <a:lnTo>
                  <a:pt x="0" y="80772"/>
                </a:lnTo>
                <a:lnTo>
                  <a:pt x="0" y="484632"/>
                </a:lnTo>
                <a:lnTo>
                  <a:pt x="4968239" y="484632"/>
                </a:lnTo>
                <a:lnTo>
                  <a:pt x="4968239" y="80772"/>
                </a:lnTo>
                <a:lnTo>
                  <a:pt x="4961888" y="49345"/>
                </a:lnTo>
                <a:lnTo>
                  <a:pt x="4944570" y="23669"/>
                </a:lnTo>
                <a:lnTo>
                  <a:pt x="4918894" y="6351"/>
                </a:lnTo>
                <a:lnTo>
                  <a:pt x="4887467" y="0"/>
                </a:lnTo>
                <a:close/>
              </a:path>
            </a:pathLst>
          </a:custGeom>
          <a:solidFill>
            <a:srgbClr val="006FAC"/>
          </a:solidFill>
        </p:spPr>
        <p:txBody>
          <a:bodyPr wrap="square" lIns="0" tIns="0" rIns="0" bIns="0" rtlCol="0"/>
          <a:lstStyle/>
          <a:p>
            <a:endParaRPr/>
          </a:p>
        </p:txBody>
      </p:sp>
      <p:sp>
        <p:nvSpPr>
          <p:cNvPr id="5" name="object 5"/>
          <p:cNvSpPr txBox="1"/>
          <p:nvPr/>
        </p:nvSpPr>
        <p:spPr>
          <a:xfrm>
            <a:off x="7271384" y="1787397"/>
            <a:ext cx="4316095" cy="391160"/>
          </a:xfrm>
          <a:prstGeom prst="rect">
            <a:avLst/>
          </a:prstGeom>
        </p:spPr>
        <p:txBody>
          <a:bodyPr vert="horz" wrap="square" lIns="0" tIns="12700" rIns="0" bIns="0" rtlCol="0">
            <a:spAutoFit/>
          </a:bodyPr>
          <a:lstStyle/>
          <a:p>
            <a:pPr marL="733425" marR="5080" indent="-721360">
              <a:lnSpc>
                <a:spcPct val="100000"/>
              </a:lnSpc>
              <a:spcBef>
                <a:spcPts val="100"/>
              </a:spcBef>
            </a:pPr>
            <a:r>
              <a:rPr sz="1200" b="1" spc="-5">
                <a:solidFill>
                  <a:srgbClr val="FFFFFF"/>
                </a:solidFill>
                <a:latin typeface="Verdana"/>
                <a:cs typeface="Verdana"/>
              </a:rPr>
              <a:t>The Salesforce Testing Framework will ensure the  following structural components:</a:t>
            </a:r>
            <a:endParaRPr sz="1200">
              <a:latin typeface="Verdana"/>
              <a:cs typeface="Verdana"/>
            </a:endParaRPr>
          </a:p>
        </p:txBody>
      </p:sp>
      <p:sp>
        <p:nvSpPr>
          <p:cNvPr id="8" name="object 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9" name="object 9"/>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2</a:t>
            </a:fld>
            <a:endParaRPr/>
          </a:p>
        </p:txBody>
      </p:sp>
      <p:sp>
        <p:nvSpPr>
          <p:cNvPr id="6" name="object 6"/>
          <p:cNvSpPr txBox="1"/>
          <p:nvPr/>
        </p:nvSpPr>
        <p:spPr>
          <a:xfrm>
            <a:off x="6944868" y="2231135"/>
            <a:ext cx="4968240" cy="4258310"/>
          </a:xfrm>
          <a:prstGeom prst="rect">
            <a:avLst/>
          </a:prstGeom>
          <a:solidFill>
            <a:srgbClr val="F7F7F7"/>
          </a:solidFill>
        </p:spPr>
        <p:txBody>
          <a:bodyPr vert="horz" wrap="square" lIns="0" tIns="83820" rIns="0" bIns="0" rtlCol="0">
            <a:spAutoFit/>
          </a:bodyPr>
          <a:lstStyle/>
          <a:p>
            <a:pPr marL="264795" marR="132080" indent="-172720">
              <a:lnSpc>
                <a:spcPct val="100000"/>
              </a:lnSpc>
              <a:spcBef>
                <a:spcPts val="660"/>
              </a:spcBef>
              <a:buClr>
                <a:srgbClr val="006FAC"/>
              </a:buClr>
              <a:buFont typeface="Wingdings"/>
              <a:buChar char=""/>
              <a:tabLst>
                <a:tab pos="265430" algn="l"/>
              </a:tabLst>
            </a:pPr>
            <a:r>
              <a:rPr sz="1200" b="1" spc="-5">
                <a:latin typeface="Verdana"/>
                <a:cs typeface="Verdana"/>
              </a:rPr>
              <a:t>Solution Definition: </a:t>
            </a:r>
            <a:r>
              <a:rPr sz="1200" spc="-5">
                <a:latin typeface="Verdana"/>
                <a:cs typeface="Verdana"/>
              </a:rPr>
              <a:t>Business formulates the purpose </a:t>
            </a:r>
            <a:r>
              <a:rPr sz="1200">
                <a:latin typeface="Verdana"/>
                <a:cs typeface="Verdana"/>
              </a:rPr>
              <a:t>and  </a:t>
            </a:r>
            <a:r>
              <a:rPr sz="1200" spc="-5">
                <a:latin typeface="Verdana"/>
                <a:cs typeface="Verdana"/>
              </a:rPr>
              <a:t>business </a:t>
            </a:r>
            <a:r>
              <a:rPr sz="1200">
                <a:latin typeface="Verdana"/>
                <a:cs typeface="Verdana"/>
              </a:rPr>
              <a:t>scope of </a:t>
            </a:r>
            <a:r>
              <a:rPr sz="1200" spc="-5">
                <a:latin typeface="Verdana"/>
                <a:cs typeface="Verdana"/>
              </a:rPr>
              <a:t>the solution. This will be the </a:t>
            </a:r>
            <a:r>
              <a:rPr sz="1200" spc="-10">
                <a:latin typeface="Verdana"/>
                <a:cs typeface="Verdana"/>
              </a:rPr>
              <a:t>foundation  </a:t>
            </a:r>
            <a:r>
              <a:rPr sz="1200">
                <a:latin typeface="Verdana"/>
                <a:cs typeface="Verdana"/>
              </a:rPr>
              <a:t>of </a:t>
            </a:r>
            <a:r>
              <a:rPr sz="1200" spc="-5">
                <a:latin typeface="Verdana"/>
                <a:cs typeface="Verdana"/>
              </a:rPr>
              <a:t>the </a:t>
            </a:r>
            <a:r>
              <a:rPr sz="1200" spc="-10">
                <a:latin typeface="Verdana"/>
                <a:cs typeface="Verdana"/>
              </a:rPr>
              <a:t>implementation </a:t>
            </a:r>
            <a:r>
              <a:rPr sz="1200" spc="-5">
                <a:latin typeface="Verdana"/>
                <a:cs typeface="Verdana"/>
              </a:rPr>
              <a:t>effort, </a:t>
            </a:r>
            <a:r>
              <a:rPr sz="1200">
                <a:latin typeface="Verdana"/>
                <a:cs typeface="Verdana"/>
              </a:rPr>
              <a:t>as </a:t>
            </a:r>
            <a:r>
              <a:rPr sz="1200" spc="-5">
                <a:latin typeface="Verdana"/>
                <a:cs typeface="Verdana"/>
              </a:rPr>
              <a:t>well </a:t>
            </a:r>
            <a:r>
              <a:rPr sz="1200">
                <a:latin typeface="Verdana"/>
                <a:cs typeface="Verdana"/>
              </a:rPr>
              <a:t>as </a:t>
            </a:r>
            <a:r>
              <a:rPr sz="1200" spc="-5">
                <a:latin typeface="Verdana"/>
                <a:cs typeface="Verdana"/>
              </a:rPr>
              <a:t>the</a:t>
            </a:r>
            <a:r>
              <a:rPr sz="1200" spc="50">
                <a:latin typeface="Verdana"/>
                <a:cs typeface="Verdana"/>
              </a:rPr>
              <a:t> </a:t>
            </a:r>
            <a:r>
              <a:rPr sz="1200" spc="-5">
                <a:latin typeface="Verdana"/>
                <a:cs typeface="Verdana"/>
              </a:rPr>
              <a:t>testing</a:t>
            </a:r>
            <a:endParaRPr sz="1200">
              <a:latin typeface="Verdana"/>
              <a:cs typeface="Verdana"/>
            </a:endParaRPr>
          </a:p>
          <a:p>
            <a:pPr>
              <a:lnSpc>
                <a:spcPct val="100000"/>
              </a:lnSpc>
              <a:spcBef>
                <a:spcPts val="35"/>
              </a:spcBef>
              <a:buClr>
                <a:srgbClr val="006FAC"/>
              </a:buClr>
              <a:buFont typeface="Wingdings"/>
              <a:buChar char=""/>
            </a:pPr>
            <a:endParaRPr sz="1550">
              <a:latin typeface="Times New Roman"/>
              <a:cs typeface="Times New Roman"/>
            </a:endParaRPr>
          </a:p>
          <a:p>
            <a:pPr marL="264795" marR="173990" indent="-172720">
              <a:lnSpc>
                <a:spcPct val="100000"/>
              </a:lnSpc>
              <a:buClr>
                <a:srgbClr val="006FAC"/>
              </a:buClr>
              <a:buFont typeface="Wingdings"/>
              <a:buChar char=""/>
              <a:tabLst>
                <a:tab pos="265430" algn="l"/>
              </a:tabLst>
            </a:pPr>
            <a:r>
              <a:rPr sz="1200" b="1" spc="-5">
                <a:latin typeface="Verdana"/>
                <a:cs typeface="Verdana"/>
              </a:rPr>
              <a:t>Test Strategy: </a:t>
            </a:r>
            <a:r>
              <a:rPr sz="1200" spc="-35">
                <a:latin typeface="Verdana"/>
                <a:cs typeface="Verdana"/>
              </a:rPr>
              <a:t>Test </a:t>
            </a:r>
            <a:r>
              <a:rPr sz="1200" spc="-10">
                <a:latin typeface="Verdana"/>
                <a:cs typeface="Verdana"/>
              </a:rPr>
              <a:t>strategy </a:t>
            </a:r>
            <a:r>
              <a:rPr sz="1200" spc="-5">
                <a:latin typeface="Verdana"/>
                <a:cs typeface="Verdana"/>
              </a:rPr>
              <a:t>consists </a:t>
            </a:r>
            <a:r>
              <a:rPr sz="1200">
                <a:latin typeface="Verdana"/>
                <a:cs typeface="Verdana"/>
              </a:rPr>
              <a:t>of 2 </a:t>
            </a:r>
            <a:r>
              <a:rPr sz="1200" spc="-10">
                <a:latin typeface="Verdana"/>
                <a:cs typeface="Verdana"/>
              </a:rPr>
              <a:t>activities </a:t>
            </a:r>
            <a:r>
              <a:rPr sz="1200">
                <a:latin typeface="Verdana"/>
                <a:cs typeface="Verdana"/>
              </a:rPr>
              <a:t>– </a:t>
            </a:r>
            <a:r>
              <a:rPr sz="1200" spc="-5">
                <a:latin typeface="Verdana"/>
                <a:cs typeface="Verdana"/>
              </a:rPr>
              <a:t>Risk  Assessment and </a:t>
            </a:r>
            <a:r>
              <a:rPr sz="1200" spc="-35">
                <a:latin typeface="Verdana"/>
                <a:cs typeface="Verdana"/>
              </a:rPr>
              <a:t>Test</a:t>
            </a:r>
            <a:r>
              <a:rPr sz="1200" spc="10">
                <a:latin typeface="Verdana"/>
                <a:cs typeface="Verdana"/>
              </a:rPr>
              <a:t> </a:t>
            </a:r>
            <a:r>
              <a:rPr sz="1200" spc="-5">
                <a:latin typeface="Verdana"/>
                <a:cs typeface="Verdana"/>
              </a:rPr>
              <a:t>Effort</a:t>
            </a:r>
            <a:endParaRPr sz="1200">
              <a:latin typeface="Verdana"/>
              <a:cs typeface="Verdana"/>
            </a:endParaRPr>
          </a:p>
          <a:p>
            <a:pPr>
              <a:lnSpc>
                <a:spcPct val="100000"/>
              </a:lnSpc>
              <a:spcBef>
                <a:spcPts val="50"/>
              </a:spcBef>
              <a:buClr>
                <a:srgbClr val="006FAC"/>
              </a:buClr>
              <a:buFont typeface="Wingdings"/>
              <a:buChar char=""/>
            </a:pPr>
            <a:endParaRPr sz="1550">
              <a:latin typeface="Times New Roman"/>
              <a:cs typeface="Times New Roman"/>
            </a:endParaRPr>
          </a:p>
          <a:p>
            <a:pPr marL="264795" marR="129539" indent="-172720">
              <a:lnSpc>
                <a:spcPct val="100000"/>
              </a:lnSpc>
              <a:buClr>
                <a:srgbClr val="006FAC"/>
              </a:buClr>
              <a:buFont typeface="Wingdings"/>
              <a:buChar char=""/>
              <a:tabLst>
                <a:tab pos="265430" algn="l"/>
              </a:tabLst>
            </a:pPr>
            <a:r>
              <a:rPr sz="1200" b="1" spc="-5">
                <a:latin typeface="Verdana"/>
                <a:cs typeface="Verdana"/>
              </a:rPr>
              <a:t>Test Design: </a:t>
            </a:r>
            <a:r>
              <a:rPr sz="1200" spc="-5">
                <a:latin typeface="Verdana"/>
                <a:cs typeface="Verdana"/>
              </a:rPr>
              <a:t>Guided by the specified test </a:t>
            </a:r>
            <a:r>
              <a:rPr sz="1200" spc="-20">
                <a:latin typeface="Verdana"/>
                <a:cs typeface="Verdana"/>
              </a:rPr>
              <a:t>strategy,  </a:t>
            </a:r>
            <a:r>
              <a:rPr sz="1200" spc="-5">
                <a:latin typeface="Verdana"/>
                <a:cs typeface="Verdana"/>
              </a:rPr>
              <a:t>concrete tests will be defined to match both the nature and  criticality </a:t>
            </a:r>
            <a:r>
              <a:rPr sz="1200">
                <a:latin typeface="Verdana"/>
                <a:cs typeface="Verdana"/>
              </a:rPr>
              <a:t>of each area. </a:t>
            </a:r>
            <a:r>
              <a:rPr sz="1200" spc="-65">
                <a:latin typeface="Verdana"/>
                <a:cs typeface="Verdana"/>
              </a:rPr>
              <a:t>To </a:t>
            </a:r>
            <a:r>
              <a:rPr sz="1200" spc="-5">
                <a:latin typeface="Verdana"/>
                <a:cs typeface="Verdana"/>
              </a:rPr>
              <a:t>get started </a:t>
            </a:r>
            <a:r>
              <a:rPr sz="1200" spc="-20">
                <a:latin typeface="Verdana"/>
                <a:cs typeface="Verdana"/>
              </a:rPr>
              <a:t>quickly, </a:t>
            </a:r>
            <a:r>
              <a:rPr sz="1200" spc="-5">
                <a:latin typeface="Verdana"/>
                <a:cs typeface="Verdana"/>
              </a:rPr>
              <a:t>the  framework contains templates and other assets, </a:t>
            </a:r>
            <a:r>
              <a:rPr sz="1200" spc="-10">
                <a:latin typeface="Verdana"/>
                <a:cs typeface="Verdana"/>
              </a:rPr>
              <a:t>like </a:t>
            </a:r>
            <a:r>
              <a:rPr sz="1200" spc="-5">
                <a:latin typeface="Verdana"/>
                <a:cs typeface="Verdana"/>
              </a:rPr>
              <a:t>test  </a:t>
            </a:r>
            <a:r>
              <a:rPr sz="1200">
                <a:latin typeface="Verdana"/>
                <a:cs typeface="Verdana"/>
              </a:rPr>
              <a:t>scenarios </a:t>
            </a:r>
            <a:r>
              <a:rPr sz="1200" spc="-5">
                <a:latin typeface="Verdana"/>
                <a:cs typeface="Verdana"/>
              </a:rPr>
              <a:t>(test cases) </a:t>
            </a:r>
            <a:r>
              <a:rPr sz="1200">
                <a:latin typeface="Verdana"/>
                <a:cs typeface="Verdana"/>
              </a:rPr>
              <a:t>for </a:t>
            </a:r>
            <a:r>
              <a:rPr sz="1200" spc="-5">
                <a:latin typeface="Verdana"/>
                <a:cs typeface="Verdana"/>
              </a:rPr>
              <a:t>standard</a:t>
            </a:r>
            <a:r>
              <a:rPr sz="1200" spc="50">
                <a:latin typeface="Verdana"/>
                <a:cs typeface="Verdana"/>
              </a:rPr>
              <a:t> </a:t>
            </a:r>
            <a:r>
              <a:rPr sz="1200">
                <a:latin typeface="Verdana"/>
                <a:cs typeface="Verdana"/>
              </a:rPr>
              <a:t>processes</a:t>
            </a:r>
          </a:p>
          <a:p>
            <a:pPr>
              <a:lnSpc>
                <a:spcPct val="100000"/>
              </a:lnSpc>
              <a:spcBef>
                <a:spcPts val="50"/>
              </a:spcBef>
              <a:buClr>
                <a:srgbClr val="006FAC"/>
              </a:buClr>
              <a:buFont typeface="Wingdings"/>
              <a:buChar char=""/>
            </a:pPr>
            <a:endParaRPr sz="1550">
              <a:latin typeface="Times New Roman"/>
              <a:cs typeface="Times New Roman"/>
            </a:endParaRPr>
          </a:p>
          <a:p>
            <a:pPr marL="265430" indent="-172720">
              <a:lnSpc>
                <a:spcPct val="100000"/>
              </a:lnSpc>
              <a:buClr>
                <a:srgbClr val="006FAC"/>
              </a:buClr>
              <a:buFont typeface="Wingdings"/>
              <a:buChar char=""/>
              <a:tabLst>
                <a:tab pos="265430" algn="l"/>
              </a:tabLst>
            </a:pPr>
            <a:r>
              <a:rPr sz="1200" b="1" spc="-5">
                <a:latin typeface="Verdana"/>
                <a:cs typeface="Verdana"/>
              </a:rPr>
              <a:t>Test Execution: </a:t>
            </a:r>
            <a:r>
              <a:rPr sz="1200" spc="-10">
                <a:latin typeface="Verdana"/>
                <a:cs typeface="Verdana"/>
              </a:rPr>
              <a:t>Execution </a:t>
            </a:r>
            <a:r>
              <a:rPr sz="1200">
                <a:latin typeface="Verdana"/>
                <a:cs typeface="Verdana"/>
              </a:rPr>
              <a:t>of </a:t>
            </a:r>
            <a:r>
              <a:rPr sz="1200" spc="-5">
                <a:latin typeface="Verdana"/>
                <a:cs typeface="Verdana"/>
              </a:rPr>
              <a:t>designed tests is part </a:t>
            </a:r>
            <a:r>
              <a:rPr sz="1200">
                <a:latin typeface="Verdana"/>
                <a:cs typeface="Verdana"/>
              </a:rPr>
              <a:t>of</a:t>
            </a:r>
            <a:r>
              <a:rPr sz="1200" spc="95">
                <a:latin typeface="Verdana"/>
                <a:cs typeface="Verdana"/>
              </a:rPr>
              <a:t> </a:t>
            </a:r>
            <a:r>
              <a:rPr sz="1200" spc="-5">
                <a:latin typeface="Verdana"/>
                <a:cs typeface="Verdana"/>
              </a:rPr>
              <a:t>the</a:t>
            </a:r>
            <a:endParaRPr sz="1200">
              <a:latin typeface="Verdana"/>
              <a:cs typeface="Verdana"/>
            </a:endParaRPr>
          </a:p>
          <a:p>
            <a:pPr marL="264795">
              <a:lnSpc>
                <a:spcPct val="100000"/>
              </a:lnSpc>
            </a:pPr>
            <a:r>
              <a:rPr sz="1200" spc="-5">
                <a:latin typeface="Verdana"/>
                <a:cs typeface="Verdana"/>
              </a:rPr>
              <a:t>implementation </a:t>
            </a:r>
            <a:r>
              <a:rPr sz="1200">
                <a:latin typeface="Verdana"/>
                <a:cs typeface="Verdana"/>
              </a:rPr>
              <a:t>as </a:t>
            </a:r>
            <a:r>
              <a:rPr sz="1200" spc="-5">
                <a:latin typeface="Verdana"/>
                <a:cs typeface="Verdana"/>
              </a:rPr>
              <a:t>well as the release</a:t>
            </a:r>
            <a:r>
              <a:rPr sz="1200" spc="15">
                <a:latin typeface="Verdana"/>
                <a:cs typeface="Verdana"/>
              </a:rPr>
              <a:t> </a:t>
            </a:r>
            <a:r>
              <a:rPr sz="1200">
                <a:latin typeface="Verdana"/>
                <a:cs typeface="Verdana"/>
              </a:rPr>
              <a:t>process.</a:t>
            </a:r>
          </a:p>
          <a:p>
            <a:pPr>
              <a:lnSpc>
                <a:spcPct val="100000"/>
              </a:lnSpc>
              <a:spcBef>
                <a:spcPts val="45"/>
              </a:spcBef>
            </a:pPr>
            <a:endParaRPr sz="1550">
              <a:latin typeface="Times New Roman"/>
              <a:cs typeface="Times New Roman"/>
            </a:endParaRPr>
          </a:p>
          <a:p>
            <a:pPr marL="264795" marR="176530" indent="-172720">
              <a:lnSpc>
                <a:spcPct val="100000"/>
              </a:lnSpc>
              <a:buClr>
                <a:srgbClr val="006FAC"/>
              </a:buClr>
              <a:buFont typeface="Wingdings"/>
              <a:buChar char=""/>
              <a:tabLst>
                <a:tab pos="265430" algn="l"/>
              </a:tabLst>
            </a:pPr>
            <a:r>
              <a:rPr sz="1200" b="1" spc="-5">
                <a:latin typeface="Verdana"/>
                <a:cs typeface="Verdana"/>
              </a:rPr>
              <a:t>Test Reporting: </a:t>
            </a:r>
            <a:r>
              <a:rPr sz="1200" spc="-5">
                <a:latin typeface="Verdana"/>
                <a:cs typeface="Verdana"/>
              </a:rPr>
              <a:t>Contains templates </a:t>
            </a:r>
            <a:r>
              <a:rPr sz="1200">
                <a:latin typeface="Verdana"/>
                <a:cs typeface="Verdana"/>
              </a:rPr>
              <a:t>for </a:t>
            </a:r>
            <a:r>
              <a:rPr sz="1200" spc="-5">
                <a:latin typeface="Verdana"/>
                <a:cs typeface="Verdana"/>
              </a:rPr>
              <a:t>reporting the test  to the business and Salesforce </a:t>
            </a:r>
            <a:r>
              <a:rPr sz="1200" spc="-10">
                <a:latin typeface="Verdana"/>
                <a:cs typeface="Verdana"/>
              </a:rPr>
              <a:t>administrators, </a:t>
            </a:r>
            <a:r>
              <a:rPr sz="1200" spc="-5">
                <a:latin typeface="Verdana"/>
                <a:cs typeface="Verdana"/>
              </a:rPr>
              <a:t>and  addresses aspects </a:t>
            </a:r>
            <a:r>
              <a:rPr sz="1200" spc="-10">
                <a:latin typeface="Verdana"/>
                <a:cs typeface="Verdana"/>
              </a:rPr>
              <a:t>like </a:t>
            </a:r>
            <a:r>
              <a:rPr sz="1200" spc="-5">
                <a:latin typeface="Verdana"/>
                <a:cs typeface="Verdana"/>
              </a:rPr>
              <a:t>product risks, defects and test  results. Metrics </a:t>
            </a:r>
            <a:r>
              <a:rPr sz="1200">
                <a:latin typeface="Verdana"/>
                <a:cs typeface="Verdana"/>
              </a:rPr>
              <a:t>are </a:t>
            </a:r>
            <a:r>
              <a:rPr sz="1200" spc="-5">
                <a:latin typeface="Verdana"/>
                <a:cs typeface="Verdana"/>
              </a:rPr>
              <a:t>collected and presented </a:t>
            </a:r>
            <a:r>
              <a:rPr sz="1200">
                <a:latin typeface="Verdana"/>
                <a:cs typeface="Verdana"/>
              </a:rPr>
              <a:t>as </a:t>
            </a:r>
            <a:r>
              <a:rPr sz="1200" spc="-5">
                <a:latin typeface="Verdana"/>
                <a:cs typeface="Verdana"/>
              </a:rPr>
              <a:t>part </a:t>
            </a:r>
            <a:r>
              <a:rPr sz="1200">
                <a:latin typeface="Verdana"/>
                <a:cs typeface="Verdana"/>
              </a:rPr>
              <a:t>of </a:t>
            </a:r>
            <a:r>
              <a:rPr sz="1200" spc="-5">
                <a:latin typeface="Verdana"/>
                <a:cs typeface="Verdana"/>
              </a:rPr>
              <a:t>the  test reporting</a:t>
            </a:r>
            <a:endParaRPr sz="1200">
              <a:latin typeface="Verdana"/>
              <a:cs typeface="Verdana"/>
            </a:endParaRPr>
          </a:p>
        </p:txBody>
      </p:sp>
      <p:sp>
        <p:nvSpPr>
          <p:cNvPr id="7" name="object 7"/>
          <p:cNvSpPr txBox="1">
            <a:spLocks noGrp="1"/>
          </p:cNvSpPr>
          <p:nvPr>
            <p:ph type="title"/>
          </p:nvPr>
        </p:nvSpPr>
        <p:spPr>
          <a:xfrm>
            <a:off x="214680" y="181737"/>
            <a:ext cx="8832215" cy="696595"/>
          </a:xfrm>
          <a:prstGeom prst="rect">
            <a:avLst/>
          </a:prstGeom>
        </p:spPr>
        <p:txBody>
          <a:bodyPr vert="horz" wrap="square" lIns="0" tIns="12700" rIns="0" bIns="0" rtlCol="0">
            <a:spAutoFit/>
          </a:bodyPr>
          <a:lstStyle/>
          <a:p>
            <a:pPr marL="12700">
              <a:lnSpc>
                <a:spcPts val="3000"/>
              </a:lnSpc>
              <a:spcBef>
                <a:spcPts val="100"/>
              </a:spcBef>
            </a:pPr>
            <a:r>
              <a:rPr sz="2600" spc="-5"/>
              <a:t>Development </a:t>
            </a:r>
            <a:r>
              <a:rPr sz="2600"/>
              <a:t>– Salesforce </a:t>
            </a:r>
            <a:r>
              <a:rPr sz="2600" spc="-40"/>
              <a:t>Testing</a:t>
            </a:r>
            <a:r>
              <a:rPr sz="2600" spc="-80"/>
              <a:t> </a:t>
            </a:r>
            <a:r>
              <a:rPr sz="2600" spc="-5"/>
              <a:t>Framework</a:t>
            </a:r>
            <a:endParaRPr sz="2600"/>
          </a:p>
          <a:p>
            <a:pPr marL="12700">
              <a:lnSpc>
                <a:spcPts val="2280"/>
              </a:lnSpc>
            </a:pPr>
            <a:r>
              <a:rPr sz="2000">
                <a:solidFill>
                  <a:srgbClr val="12ABDB"/>
                </a:solidFill>
              </a:rPr>
              <a:t>A Structured </a:t>
            </a:r>
            <a:r>
              <a:rPr sz="2000" spc="-5">
                <a:solidFill>
                  <a:srgbClr val="12ABDB"/>
                </a:solidFill>
              </a:rPr>
              <a:t>Approach to </a:t>
            </a:r>
            <a:r>
              <a:rPr sz="2000">
                <a:solidFill>
                  <a:srgbClr val="12ABDB"/>
                </a:solidFill>
              </a:rPr>
              <a:t>Ensure </a:t>
            </a:r>
            <a:r>
              <a:rPr sz="2000" spc="-5">
                <a:solidFill>
                  <a:srgbClr val="12ABDB"/>
                </a:solidFill>
              </a:rPr>
              <a:t>High </a:t>
            </a:r>
            <a:r>
              <a:rPr sz="2000" spc="-10">
                <a:solidFill>
                  <a:srgbClr val="12ABDB"/>
                </a:solidFill>
              </a:rPr>
              <a:t>Quality </a:t>
            </a:r>
            <a:r>
              <a:rPr sz="2000">
                <a:solidFill>
                  <a:srgbClr val="12ABDB"/>
                </a:solidFill>
              </a:rPr>
              <a:t>and </a:t>
            </a:r>
            <a:r>
              <a:rPr sz="2000" spc="-5">
                <a:solidFill>
                  <a:srgbClr val="12ABDB"/>
                </a:solidFill>
              </a:rPr>
              <a:t>Continuous</a:t>
            </a:r>
            <a:r>
              <a:rPr sz="2000" spc="-175">
                <a:solidFill>
                  <a:srgbClr val="12ABDB"/>
                </a:solidFill>
              </a:rPr>
              <a:t> </a:t>
            </a:r>
            <a:r>
              <a:rPr sz="2000" spc="-5">
                <a:solidFill>
                  <a:srgbClr val="12ABDB"/>
                </a:solidFill>
              </a:rPr>
              <a:t>Agility</a:t>
            </a:r>
            <a:endParaRPr sz="2000"/>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181737"/>
            <a:ext cx="8091120" cy="692497"/>
          </a:xfrm>
          <a:prstGeom prst="rect">
            <a:avLst/>
          </a:prstGeom>
        </p:spPr>
        <p:txBody>
          <a:bodyPr vert="horz" wrap="square" lIns="0" tIns="12700" rIns="0" bIns="0" rtlCol="0">
            <a:spAutoFit/>
          </a:bodyPr>
          <a:lstStyle/>
          <a:p>
            <a:pPr marL="12700">
              <a:lnSpc>
                <a:spcPts val="3000"/>
              </a:lnSpc>
              <a:spcBef>
                <a:spcPts val="100"/>
              </a:spcBef>
            </a:pPr>
            <a:r>
              <a:rPr sz="2600" spc="-5"/>
              <a:t>Development </a:t>
            </a:r>
            <a:r>
              <a:rPr sz="2600"/>
              <a:t>– Salesforce</a:t>
            </a:r>
            <a:r>
              <a:rPr sz="2600" spc="-105"/>
              <a:t> </a:t>
            </a:r>
            <a:r>
              <a:rPr sz="2600" spc="-5"/>
              <a:t>DevOps</a:t>
            </a:r>
            <a:endParaRPr sz="2600"/>
          </a:p>
          <a:p>
            <a:pPr marL="12700">
              <a:lnSpc>
                <a:spcPts val="2280"/>
              </a:lnSpc>
            </a:pPr>
            <a:r>
              <a:rPr sz="2000" spc="-20">
                <a:solidFill>
                  <a:srgbClr val="12ABDB"/>
                </a:solidFill>
              </a:rPr>
              <a:t>Transforming </a:t>
            </a:r>
            <a:r>
              <a:rPr sz="2000" spc="-5">
                <a:solidFill>
                  <a:srgbClr val="12ABDB"/>
                </a:solidFill>
              </a:rPr>
              <a:t>Delivery through</a:t>
            </a:r>
            <a:r>
              <a:rPr sz="2000" spc="-45">
                <a:solidFill>
                  <a:srgbClr val="12ABDB"/>
                </a:solidFill>
              </a:rPr>
              <a:t> </a:t>
            </a:r>
            <a:r>
              <a:rPr sz="2000">
                <a:solidFill>
                  <a:srgbClr val="12ABDB"/>
                </a:solidFill>
              </a:rPr>
              <a:t>DevOps</a:t>
            </a:r>
            <a:r>
              <a:rPr lang="it-IT" sz="2000">
                <a:solidFill>
                  <a:srgbClr val="12ABDB"/>
                </a:solidFill>
              </a:rPr>
              <a:t> (illustrative)</a:t>
            </a:r>
            <a:endParaRPr sz="2000"/>
          </a:p>
        </p:txBody>
      </p:sp>
      <p:sp>
        <p:nvSpPr>
          <p:cNvPr id="3" name="object 3"/>
          <p:cNvSpPr/>
          <p:nvPr/>
        </p:nvSpPr>
        <p:spPr>
          <a:xfrm>
            <a:off x="3871721" y="1664970"/>
            <a:ext cx="7789545" cy="4514215"/>
          </a:xfrm>
          <a:custGeom>
            <a:avLst/>
            <a:gdLst/>
            <a:ahLst/>
            <a:cxnLst/>
            <a:rect l="l" t="t" r="r" b="b"/>
            <a:pathLst>
              <a:path w="7789545" h="4514215">
                <a:moveTo>
                  <a:pt x="0" y="4514088"/>
                </a:moveTo>
                <a:lnTo>
                  <a:pt x="7789164" y="4514088"/>
                </a:lnTo>
                <a:lnTo>
                  <a:pt x="7789164" y="0"/>
                </a:lnTo>
                <a:lnTo>
                  <a:pt x="0" y="0"/>
                </a:lnTo>
                <a:lnTo>
                  <a:pt x="0" y="4514088"/>
                </a:lnTo>
                <a:close/>
              </a:path>
            </a:pathLst>
          </a:custGeom>
          <a:ln w="19812">
            <a:solidFill>
              <a:srgbClr val="767676"/>
            </a:solidFill>
            <a:prstDash val="sysDash"/>
          </a:ln>
        </p:spPr>
        <p:txBody>
          <a:bodyPr wrap="square" lIns="0" tIns="0" rIns="0" bIns="0" rtlCol="0"/>
          <a:lstStyle/>
          <a:p>
            <a:endParaRPr/>
          </a:p>
        </p:txBody>
      </p:sp>
      <p:sp>
        <p:nvSpPr>
          <p:cNvPr id="4" name="object 4"/>
          <p:cNvSpPr/>
          <p:nvPr/>
        </p:nvSpPr>
        <p:spPr>
          <a:xfrm>
            <a:off x="5918453" y="2298954"/>
            <a:ext cx="504825" cy="3721735"/>
          </a:xfrm>
          <a:custGeom>
            <a:avLst/>
            <a:gdLst/>
            <a:ahLst/>
            <a:cxnLst/>
            <a:rect l="l" t="t" r="r" b="b"/>
            <a:pathLst>
              <a:path w="504825" h="3721735">
                <a:moveTo>
                  <a:pt x="0" y="3721608"/>
                </a:moveTo>
                <a:lnTo>
                  <a:pt x="504444" y="3721608"/>
                </a:lnTo>
                <a:lnTo>
                  <a:pt x="504444" y="0"/>
                </a:lnTo>
                <a:lnTo>
                  <a:pt x="0" y="0"/>
                </a:lnTo>
                <a:lnTo>
                  <a:pt x="0" y="3721608"/>
                </a:lnTo>
                <a:close/>
              </a:path>
            </a:pathLst>
          </a:custGeom>
          <a:ln w="19811">
            <a:solidFill>
              <a:srgbClr val="7E7E7E"/>
            </a:solidFill>
            <a:prstDash val="sysDash"/>
          </a:ln>
        </p:spPr>
        <p:txBody>
          <a:bodyPr wrap="square" lIns="0" tIns="0" rIns="0" bIns="0" rtlCol="0"/>
          <a:lstStyle/>
          <a:p>
            <a:endParaRPr/>
          </a:p>
        </p:txBody>
      </p:sp>
      <p:sp>
        <p:nvSpPr>
          <p:cNvPr id="5" name="object 5"/>
          <p:cNvSpPr/>
          <p:nvPr/>
        </p:nvSpPr>
        <p:spPr>
          <a:xfrm>
            <a:off x="10183368" y="2238755"/>
            <a:ext cx="1297305" cy="3763010"/>
          </a:xfrm>
          <a:custGeom>
            <a:avLst/>
            <a:gdLst/>
            <a:ahLst/>
            <a:cxnLst/>
            <a:rect l="l" t="t" r="r" b="b"/>
            <a:pathLst>
              <a:path w="1297304" h="3763010">
                <a:moveTo>
                  <a:pt x="0" y="3762755"/>
                </a:moveTo>
                <a:lnTo>
                  <a:pt x="1296924" y="3762755"/>
                </a:lnTo>
                <a:lnTo>
                  <a:pt x="1296924" y="0"/>
                </a:lnTo>
                <a:lnTo>
                  <a:pt x="0" y="0"/>
                </a:lnTo>
                <a:lnTo>
                  <a:pt x="0" y="3762755"/>
                </a:lnTo>
                <a:close/>
              </a:path>
            </a:pathLst>
          </a:custGeom>
          <a:solidFill>
            <a:srgbClr val="F1F1F1"/>
          </a:solidFill>
        </p:spPr>
        <p:txBody>
          <a:bodyPr wrap="square" lIns="0" tIns="0" rIns="0" bIns="0" rtlCol="0"/>
          <a:lstStyle/>
          <a:p>
            <a:endParaRPr/>
          </a:p>
        </p:txBody>
      </p:sp>
      <p:sp>
        <p:nvSpPr>
          <p:cNvPr id="6" name="object 6"/>
          <p:cNvSpPr txBox="1"/>
          <p:nvPr/>
        </p:nvSpPr>
        <p:spPr>
          <a:xfrm>
            <a:off x="10319004" y="3707891"/>
            <a:ext cx="643255" cy="582295"/>
          </a:xfrm>
          <a:prstGeom prst="rect">
            <a:avLst/>
          </a:prstGeom>
          <a:solidFill>
            <a:srgbClr val="D9D9D9"/>
          </a:solidFill>
        </p:spPr>
        <p:txBody>
          <a:bodyPr vert="horz" wrap="square" lIns="0" tIns="3175" rIns="0" bIns="0" rtlCol="0">
            <a:spAutoFit/>
          </a:bodyPr>
          <a:lstStyle/>
          <a:p>
            <a:pPr>
              <a:lnSpc>
                <a:spcPct val="100000"/>
              </a:lnSpc>
              <a:spcBef>
                <a:spcPts val="25"/>
              </a:spcBef>
            </a:pPr>
            <a:endParaRPr sz="1450">
              <a:latin typeface="Times New Roman"/>
              <a:cs typeface="Times New Roman"/>
            </a:endParaRPr>
          </a:p>
          <a:p>
            <a:pPr marL="113030">
              <a:lnSpc>
                <a:spcPct val="100000"/>
              </a:lnSpc>
            </a:pPr>
            <a:r>
              <a:rPr sz="1000" b="1" spc="-10">
                <a:latin typeface="Verdana"/>
                <a:cs typeface="Verdana"/>
              </a:rPr>
              <a:t>APP </a:t>
            </a:r>
            <a:r>
              <a:rPr sz="1000" b="1" spc="-5">
                <a:latin typeface="Verdana"/>
                <a:cs typeface="Verdana"/>
              </a:rPr>
              <a:t>3</a:t>
            </a:r>
            <a:endParaRPr sz="1000">
              <a:latin typeface="Verdana"/>
              <a:cs typeface="Verdana"/>
            </a:endParaRPr>
          </a:p>
        </p:txBody>
      </p:sp>
      <p:sp>
        <p:nvSpPr>
          <p:cNvPr id="7" name="object 7"/>
          <p:cNvSpPr txBox="1"/>
          <p:nvPr/>
        </p:nvSpPr>
        <p:spPr>
          <a:xfrm>
            <a:off x="10319004" y="3046476"/>
            <a:ext cx="643255" cy="584200"/>
          </a:xfrm>
          <a:prstGeom prst="rect">
            <a:avLst/>
          </a:prstGeom>
          <a:solidFill>
            <a:srgbClr val="D9D9D9"/>
          </a:solidFill>
        </p:spPr>
        <p:txBody>
          <a:bodyPr vert="horz" wrap="square" lIns="0" tIns="3810" rIns="0" bIns="0" rtlCol="0">
            <a:spAutoFit/>
          </a:bodyPr>
          <a:lstStyle/>
          <a:p>
            <a:pPr>
              <a:lnSpc>
                <a:spcPct val="100000"/>
              </a:lnSpc>
              <a:spcBef>
                <a:spcPts val="30"/>
              </a:spcBef>
            </a:pPr>
            <a:endParaRPr sz="1450">
              <a:latin typeface="Times New Roman"/>
              <a:cs typeface="Times New Roman"/>
            </a:endParaRPr>
          </a:p>
          <a:p>
            <a:pPr marL="113030">
              <a:lnSpc>
                <a:spcPct val="100000"/>
              </a:lnSpc>
            </a:pPr>
            <a:r>
              <a:rPr sz="1000" b="1" spc="-10">
                <a:latin typeface="Verdana"/>
                <a:cs typeface="Verdana"/>
              </a:rPr>
              <a:t>APP </a:t>
            </a:r>
            <a:r>
              <a:rPr sz="1000" b="1" spc="-5">
                <a:latin typeface="Verdana"/>
                <a:cs typeface="Verdana"/>
              </a:rPr>
              <a:t>2</a:t>
            </a:r>
            <a:endParaRPr sz="1000">
              <a:latin typeface="Verdana"/>
              <a:cs typeface="Verdana"/>
            </a:endParaRPr>
          </a:p>
        </p:txBody>
      </p:sp>
      <p:sp>
        <p:nvSpPr>
          <p:cNvPr id="8" name="object 8"/>
          <p:cNvSpPr txBox="1"/>
          <p:nvPr/>
        </p:nvSpPr>
        <p:spPr>
          <a:xfrm>
            <a:off x="10319004" y="4387596"/>
            <a:ext cx="643255" cy="584200"/>
          </a:xfrm>
          <a:prstGeom prst="rect">
            <a:avLst/>
          </a:prstGeom>
          <a:solidFill>
            <a:srgbClr val="D9D9D9"/>
          </a:solidFill>
        </p:spPr>
        <p:txBody>
          <a:bodyPr vert="horz" wrap="square" lIns="0" tIns="3810" rIns="0" bIns="0" rtlCol="0">
            <a:spAutoFit/>
          </a:bodyPr>
          <a:lstStyle/>
          <a:p>
            <a:pPr>
              <a:lnSpc>
                <a:spcPct val="100000"/>
              </a:lnSpc>
              <a:spcBef>
                <a:spcPts val="30"/>
              </a:spcBef>
            </a:pPr>
            <a:endParaRPr sz="1450">
              <a:latin typeface="Times New Roman"/>
              <a:cs typeface="Times New Roman"/>
            </a:endParaRPr>
          </a:p>
          <a:p>
            <a:pPr marL="113030">
              <a:lnSpc>
                <a:spcPct val="100000"/>
              </a:lnSpc>
              <a:spcBef>
                <a:spcPts val="5"/>
              </a:spcBef>
            </a:pPr>
            <a:r>
              <a:rPr sz="1000" b="1" spc="-10">
                <a:latin typeface="Verdana"/>
                <a:cs typeface="Verdana"/>
              </a:rPr>
              <a:t>APP </a:t>
            </a:r>
            <a:r>
              <a:rPr sz="1000" b="1" spc="-5">
                <a:latin typeface="Verdana"/>
                <a:cs typeface="Verdana"/>
              </a:rPr>
              <a:t>4</a:t>
            </a:r>
            <a:endParaRPr sz="1000">
              <a:latin typeface="Verdana"/>
              <a:cs typeface="Verdana"/>
            </a:endParaRPr>
          </a:p>
        </p:txBody>
      </p:sp>
      <p:sp>
        <p:nvSpPr>
          <p:cNvPr id="9" name="object 9"/>
          <p:cNvSpPr txBox="1"/>
          <p:nvPr/>
        </p:nvSpPr>
        <p:spPr>
          <a:xfrm>
            <a:off x="10328147" y="5253228"/>
            <a:ext cx="624840" cy="544195"/>
          </a:xfrm>
          <a:prstGeom prst="rect">
            <a:avLst/>
          </a:prstGeom>
          <a:solidFill>
            <a:srgbClr val="D9D9D9"/>
          </a:solidFill>
        </p:spPr>
        <p:txBody>
          <a:bodyPr vert="horz" wrap="square" lIns="0" tIns="6985" rIns="0" bIns="0" rtlCol="0">
            <a:spAutoFit/>
          </a:bodyPr>
          <a:lstStyle/>
          <a:p>
            <a:pPr>
              <a:lnSpc>
                <a:spcPct val="100000"/>
              </a:lnSpc>
              <a:spcBef>
                <a:spcPts val="55"/>
              </a:spcBef>
            </a:pPr>
            <a:endParaRPr sz="1300">
              <a:latin typeface="Times New Roman"/>
              <a:cs typeface="Times New Roman"/>
            </a:endParaRPr>
          </a:p>
          <a:p>
            <a:pPr marL="95250">
              <a:lnSpc>
                <a:spcPct val="100000"/>
              </a:lnSpc>
            </a:pPr>
            <a:r>
              <a:rPr sz="1000" b="1" spc="-10">
                <a:latin typeface="Verdana"/>
                <a:cs typeface="Verdana"/>
              </a:rPr>
              <a:t>APP</a:t>
            </a:r>
            <a:r>
              <a:rPr sz="1000" b="1" spc="-15">
                <a:latin typeface="Verdana"/>
                <a:cs typeface="Verdana"/>
              </a:rPr>
              <a:t> </a:t>
            </a:r>
            <a:r>
              <a:rPr sz="1000" b="1" spc="-5">
                <a:latin typeface="Verdana"/>
                <a:cs typeface="Verdana"/>
              </a:rPr>
              <a:t>N</a:t>
            </a:r>
            <a:endParaRPr sz="1000">
              <a:latin typeface="Verdana"/>
              <a:cs typeface="Verdana"/>
            </a:endParaRPr>
          </a:p>
        </p:txBody>
      </p:sp>
      <p:sp>
        <p:nvSpPr>
          <p:cNvPr id="10" name="object 10"/>
          <p:cNvSpPr txBox="1"/>
          <p:nvPr/>
        </p:nvSpPr>
        <p:spPr>
          <a:xfrm>
            <a:off x="10319004" y="2375916"/>
            <a:ext cx="643255" cy="582295"/>
          </a:xfrm>
          <a:prstGeom prst="rect">
            <a:avLst/>
          </a:prstGeom>
          <a:solidFill>
            <a:srgbClr val="006FAC"/>
          </a:solidFill>
        </p:spPr>
        <p:txBody>
          <a:bodyPr vert="horz" wrap="square" lIns="0" tIns="3175" rIns="0" bIns="0" rtlCol="0">
            <a:spAutoFit/>
          </a:bodyPr>
          <a:lstStyle/>
          <a:p>
            <a:pPr>
              <a:lnSpc>
                <a:spcPct val="100000"/>
              </a:lnSpc>
              <a:spcBef>
                <a:spcPts val="25"/>
              </a:spcBef>
            </a:pPr>
            <a:endParaRPr sz="1450">
              <a:latin typeface="Times New Roman"/>
              <a:cs typeface="Times New Roman"/>
            </a:endParaRPr>
          </a:p>
          <a:p>
            <a:pPr marL="113030">
              <a:lnSpc>
                <a:spcPct val="100000"/>
              </a:lnSpc>
            </a:pPr>
            <a:r>
              <a:rPr sz="1000" b="1" spc="-10">
                <a:solidFill>
                  <a:srgbClr val="FFFFFF"/>
                </a:solidFill>
                <a:latin typeface="Verdana"/>
                <a:cs typeface="Verdana"/>
              </a:rPr>
              <a:t>APP </a:t>
            </a:r>
            <a:r>
              <a:rPr sz="1000" b="1" spc="-5">
                <a:solidFill>
                  <a:srgbClr val="FFFFFF"/>
                </a:solidFill>
                <a:latin typeface="Verdana"/>
                <a:cs typeface="Verdana"/>
              </a:rPr>
              <a:t>1</a:t>
            </a:r>
            <a:endParaRPr sz="1000">
              <a:latin typeface="Verdana"/>
              <a:cs typeface="Verdana"/>
            </a:endParaRPr>
          </a:p>
        </p:txBody>
      </p:sp>
      <p:sp>
        <p:nvSpPr>
          <p:cNvPr id="11" name="object 11"/>
          <p:cNvSpPr/>
          <p:nvPr/>
        </p:nvSpPr>
        <p:spPr>
          <a:xfrm>
            <a:off x="1258824" y="1664207"/>
            <a:ext cx="471170" cy="1949450"/>
          </a:xfrm>
          <a:custGeom>
            <a:avLst/>
            <a:gdLst/>
            <a:ahLst/>
            <a:cxnLst/>
            <a:rect l="l" t="t" r="r" b="b"/>
            <a:pathLst>
              <a:path w="471169" h="1949450">
                <a:moveTo>
                  <a:pt x="0" y="1949195"/>
                </a:moveTo>
                <a:lnTo>
                  <a:pt x="470915" y="1949195"/>
                </a:lnTo>
                <a:lnTo>
                  <a:pt x="470915" y="0"/>
                </a:lnTo>
                <a:lnTo>
                  <a:pt x="0" y="0"/>
                </a:lnTo>
                <a:lnTo>
                  <a:pt x="0" y="1949195"/>
                </a:lnTo>
                <a:close/>
              </a:path>
            </a:pathLst>
          </a:custGeom>
          <a:solidFill>
            <a:srgbClr val="7E7E7E"/>
          </a:solidFill>
        </p:spPr>
        <p:txBody>
          <a:bodyPr wrap="square" lIns="0" tIns="0" rIns="0" bIns="0" rtlCol="0"/>
          <a:lstStyle/>
          <a:p>
            <a:endParaRPr/>
          </a:p>
        </p:txBody>
      </p:sp>
      <p:sp>
        <p:nvSpPr>
          <p:cNvPr id="12" name="object 12"/>
          <p:cNvSpPr txBox="1"/>
          <p:nvPr/>
        </p:nvSpPr>
        <p:spPr>
          <a:xfrm>
            <a:off x="1405464" y="1888211"/>
            <a:ext cx="179705" cy="1504950"/>
          </a:xfrm>
          <a:prstGeom prst="rect">
            <a:avLst/>
          </a:prstGeom>
        </p:spPr>
        <p:txBody>
          <a:bodyPr vert="vert270" wrap="square" lIns="0" tIns="12700" rIns="0" bIns="0" rtlCol="0">
            <a:spAutoFit/>
          </a:bodyPr>
          <a:lstStyle/>
          <a:p>
            <a:pPr marL="12700">
              <a:lnSpc>
                <a:spcPct val="100000"/>
              </a:lnSpc>
              <a:spcBef>
                <a:spcPts val="100"/>
              </a:spcBef>
            </a:pPr>
            <a:r>
              <a:rPr sz="1000" b="1" spc="-10">
                <a:solidFill>
                  <a:srgbClr val="FFFFFF"/>
                </a:solidFill>
                <a:latin typeface="Verdana"/>
                <a:cs typeface="Verdana"/>
              </a:rPr>
              <a:t>Project </a:t>
            </a:r>
            <a:r>
              <a:rPr sz="1000" b="1" spc="-5">
                <a:solidFill>
                  <a:srgbClr val="FFFFFF"/>
                </a:solidFill>
                <a:latin typeface="Verdana"/>
                <a:cs typeface="Verdana"/>
              </a:rPr>
              <a:t>/ DEV</a:t>
            </a:r>
            <a:r>
              <a:rPr sz="1000" b="1" spc="-30">
                <a:solidFill>
                  <a:srgbClr val="FFFFFF"/>
                </a:solidFill>
                <a:latin typeface="Verdana"/>
                <a:cs typeface="Verdana"/>
              </a:rPr>
              <a:t> </a:t>
            </a:r>
            <a:r>
              <a:rPr sz="1000" b="1" spc="-10">
                <a:solidFill>
                  <a:srgbClr val="FFFFFF"/>
                </a:solidFill>
                <a:latin typeface="Verdana"/>
                <a:cs typeface="Verdana"/>
              </a:rPr>
              <a:t>Teams</a:t>
            </a:r>
            <a:endParaRPr sz="1000">
              <a:latin typeface="Verdana"/>
              <a:cs typeface="Verdana"/>
            </a:endParaRPr>
          </a:p>
        </p:txBody>
      </p:sp>
      <p:sp>
        <p:nvSpPr>
          <p:cNvPr id="13" name="object 13"/>
          <p:cNvSpPr/>
          <p:nvPr/>
        </p:nvSpPr>
        <p:spPr>
          <a:xfrm>
            <a:off x="1729739" y="1664207"/>
            <a:ext cx="739140" cy="1949450"/>
          </a:xfrm>
          <a:custGeom>
            <a:avLst/>
            <a:gdLst/>
            <a:ahLst/>
            <a:cxnLst/>
            <a:rect l="l" t="t" r="r" b="b"/>
            <a:pathLst>
              <a:path w="739139" h="1949450">
                <a:moveTo>
                  <a:pt x="0" y="1949195"/>
                </a:moveTo>
                <a:lnTo>
                  <a:pt x="739139" y="1949195"/>
                </a:lnTo>
                <a:lnTo>
                  <a:pt x="739139" y="0"/>
                </a:lnTo>
                <a:lnTo>
                  <a:pt x="0" y="0"/>
                </a:lnTo>
                <a:lnTo>
                  <a:pt x="0" y="1949195"/>
                </a:lnTo>
                <a:close/>
              </a:path>
            </a:pathLst>
          </a:custGeom>
          <a:solidFill>
            <a:srgbClr val="D9D9D9"/>
          </a:solidFill>
        </p:spPr>
        <p:txBody>
          <a:bodyPr wrap="square" lIns="0" tIns="0" rIns="0" bIns="0" rtlCol="0"/>
          <a:lstStyle/>
          <a:p>
            <a:endParaRPr/>
          </a:p>
        </p:txBody>
      </p:sp>
      <p:sp>
        <p:nvSpPr>
          <p:cNvPr id="14" name="object 14"/>
          <p:cNvSpPr/>
          <p:nvPr/>
        </p:nvSpPr>
        <p:spPr>
          <a:xfrm>
            <a:off x="1862327" y="1722120"/>
            <a:ext cx="508000" cy="147955"/>
          </a:xfrm>
          <a:custGeom>
            <a:avLst/>
            <a:gdLst/>
            <a:ahLst/>
            <a:cxnLst/>
            <a:rect l="l" t="t" r="r" b="b"/>
            <a:pathLst>
              <a:path w="508000" h="147955">
                <a:moveTo>
                  <a:pt x="0" y="147827"/>
                </a:moveTo>
                <a:lnTo>
                  <a:pt x="507492" y="147827"/>
                </a:lnTo>
                <a:lnTo>
                  <a:pt x="507492" y="0"/>
                </a:lnTo>
                <a:lnTo>
                  <a:pt x="0" y="0"/>
                </a:lnTo>
                <a:lnTo>
                  <a:pt x="0" y="147827"/>
                </a:lnTo>
                <a:close/>
              </a:path>
            </a:pathLst>
          </a:custGeom>
          <a:solidFill>
            <a:srgbClr val="12ABDB"/>
          </a:solidFill>
        </p:spPr>
        <p:txBody>
          <a:bodyPr wrap="square" lIns="0" tIns="0" rIns="0" bIns="0" rtlCol="0"/>
          <a:lstStyle/>
          <a:p>
            <a:endParaRPr/>
          </a:p>
        </p:txBody>
      </p:sp>
      <p:sp>
        <p:nvSpPr>
          <p:cNvPr id="15" name="object 15"/>
          <p:cNvSpPr txBox="1"/>
          <p:nvPr/>
        </p:nvSpPr>
        <p:spPr>
          <a:xfrm>
            <a:off x="1862327" y="1738376"/>
            <a:ext cx="508000" cy="116839"/>
          </a:xfrm>
          <a:prstGeom prst="rect">
            <a:avLst/>
          </a:prstGeom>
        </p:spPr>
        <p:txBody>
          <a:bodyPr vert="horz" wrap="square" lIns="0" tIns="12700" rIns="0" bIns="0" rtlCol="0">
            <a:spAutoFit/>
          </a:bodyPr>
          <a:lstStyle/>
          <a:p>
            <a:pPr marL="127635">
              <a:lnSpc>
                <a:spcPct val="100000"/>
              </a:lnSpc>
              <a:spcBef>
                <a:spcPts val="100"/>
              </a:spcBef>
            </a:pPr>
            <a:r>
              <a:rPr sz="600" b="1">
                <a:solidFill>
                  <a:srgbClr val="FFFFFF"/>
                </a:solidFill>
                <a:latin typeface="Verdana"/>
                <a:cs typeface="Verdana"/>
              </a:rPr>
              <a:t>APP</a:t>
            </a:r>
            <a:r>
              <a:rPr sz="600" b="1" spc="-40">
                <a:solidFill>
                  <a:srgbClr val="FFFFFF"/>
                </a:solidFill>
                <a:latin typeface="Verdana"/>
                <a:cs typeface="Verdana"/>
              </a:rPr>
              <a:t> </a:t>
            </a:r>
            <a:r>
              <a:rPr sz="600" b="1">
                <a:solidFill>
                  <a:srgbClr val="FFFFFF"/>
                </a:solidFill>
                <a:latin typeface="Verdana"/>
                <a:cs typeface="Verdana"/>
              </a:rPr>
              <a:t>1</a:t>
            </a:r>
            <a:endParaRPr sz="600">
              <a:latin typeface="Verdana"/>
              <a:cs typeface="Verdana"/>
            </a:endParaRPr>
          </a:p>
        </p:txBody>
      </p:sp>
      <p:sp>
        <p:nvSpPr>
          <p:cNvPr id="16" name="object 16"/>
          <p:cNvSpPr/>
          <p:nvPr/>
        </p:nvSpPr>
        <p:spPr>
          <a:xfrm>
            <a:off x="1862327" y="1927860"/>
            <a:ext cx="508000" cy="147955"/>
          </a:xfrm>
          <a:custGeom>
            <a:avLst/>
            <a:gdLst/>
            <a:ahLst/>
            <a:cxnLst/>
            <a:rect l="l" t="t" r="r" b="b"/>
            <a:pathLst>
              <a:path w="508000" h="147955">
                <a:moveTo>
                  <a:pt x="0" y="147827"/>
                </a:moveTo>
                <a:lnTo>
                  <a:pt x="507492" y="147827"/>
                </a:lnTo>
                <a:lnTo>
                  <a:pt x="507492" y="0"/>
                </a:lnTo>
                <a:lnTo>
                  <a:pt x="0" y="0"/>
                </a:lnTo>
                <a:lnTo>
                  <a:pt x="0" y="147827"/>
                </a:lnTo>
                <a:close/>
              </a:path>
            </a:pathLst>
          </a:custGeom>
          <a:solidFill>
            <a:srgbClr val="CDEFFA"/>
          </a:solidFill>
        </p:spPr>
        <p:txBody>
          <a:bodyPr wrap="square" lIns="0" tIns="0" rIns="0" bIns="0" rtlCol="0"/>
          <a:lstStyle/>
          <a:p>
            <a:endParaRPr/>
          </a:p>
        </p:txBody>
      </p:sp>
      <p:sp>
        <p:nvSpPr>
          <p:cNvPr id="17" name="object 17"/>
          <p:cNvSpPr txBox="1"/>
          <p:nvPr/>
        </p:nvSpPr>
        <p:spPr>
          <a:xfrm>
            <a:off x="1862327" y="1943861"/>
            <a:ext cx="508000" cy="116839"/>
          </a:xfrm>
          <a:prstGeom prst="rect">
            <a:avLst/>
          </a:prstGeom>
        </p:spPr>
        <p:txBody>
          <a:bodyPr vert="horz" wrap="square" lIns="0" tIns="12700" rIns="0" bIns="0" rtlCol="0">
            <a:spAutoFit/>
          </a:bodyPr>
          <a:lstStyle/>
          <a:p>
            <a:pPr marL="127635">
              <a:lnSpc>
                <a:spcPct val="100000"/>
              </a:lnSpc>
              <a:spcBef>
                <a:spcPts val="100"/>
              </a:spcBef>
            </a:pPr>
            <a:r>
              <a:rPr sz="600" b="1">
                <a:solidFill>
                  <a:srgbClr val="16091F"/>
                </a:solidFill>
                <a:latin typeface="Verdana"/>
                <a:cs typeface="Verdana"/>
              </a:rPr>
              <a:t>APP</a:t>
            </a:r>
            <a:r>
              <a:rPr sz="600" b="1" spc="-40">
                <a:solidFill>
                  <a:srgbClr val="16091F"/>
                </a:solidFill>
                <a:latin typeface="Verdana"/>
                <a:cs typeface="Verdana"/>
              </a:rPr>
              <a:t> </a:t>
            </a:r>
            <a:r>
              <a:rPr sz="600" b="1">
                <a:solidFill>
                  <a:srgbClr val="16091F"/>
                </a:solidFill>
                <a:latin typeface="Verdana"/>
                <a:cs typeface="Verdana"/>
              </a:rPr>
              <a:t>2</a:t>
            </a:r>
            <a:endParaRPr sz="600">
              <a:latin typeface="Verdana"/>
              <a:cs typeface="Verdana"/>
            </a:endParaRPr>
          </a:p>
        </p:txBody>
      </p:sp>
      <p:sp>
        <p:nvSpPr>
          <p:cNvPr id="18" name="object 18"/>
          <p:cNvSpPr/>
          <p:nvPr/>
        </p:nvSpPr>
        <p:spPr>
          <a:xfrm>
            <a:off x="1862327" y="2127504"/>
            <a:ext cx="508000" cy="147955"/>
          </a:xfrm>
          <a:custGeom>
            <a:avLst/>
            <a:gdLst/>
            <a:ahLst/>
            <a:cxnLst/>
            <a:rect l="l" t="t" r="r" b="b"/>
            <a:pathLst>
              <a:path w="508000" h="147955">
                <a:moveTo>
                  <a:pt x="0" y="147827"/>
                </a:moveTo>
                <a:lnTo>
                  <a:pt x="507492" y="147827"/>
                </a:lnTo>
                <a:lnTo>
                  <a:pt x="507492" y="0"/>
                </a:lnTo>
                <a:lnTo>
                  <a:pt x="0" y="0"/>
                </a:lnTo>
                <a:lnTo>
                  <a:pt x="0" y="147827"/>
                </a:lnTo>
                <a:close/>
              </a:path>
            </a:pathLst>
          </a:custGeom>
          <a:solidFill>
            <a:srgbClr val="CDEFFA"/>
          </a:solidFill>
        </p:spPr>
        <p:txBody>
          <a:bodyPr wrap="square" lIns="0" tIns="0" rIns="0" bIns="0" rtlCol="0"/>
          <a:lstStyle/>
          <a:p>
            <a:endParaRPr/>
          </a:p>
        </p:txBody>
      </p:sp>
      <p:sp>
        <p:nvSpPr>
          <p:cNvPr id="19" name="object 19"/>
          <p:cNvSpPr txBox="1"/>
          <p:nvPr/>
        </p:nvSpPr>
        <p:spPr>
          <a:xfrm>
            <a:off x="1862327" y="2143505"/>
            <a:ext cx="508000" cy="116839"/>
          </a:xfrm>
          <a:prstGeom prst="rect">
            <a:avLst/>
          </a:prstGeom>
        </p:spPr>
        <p:txBody>
          <a:bodyPr vert="horz" wrap="square" lIns="0" tIns="12700" rIns="0" bIns="0" rtlCol="0">
            <a:spAutoFit/>
          </a:bodyPr>
          <a:lstStyle/>
          <a:p>
            <a:pPr marL="127635">
              <a:lnSpc>
                <a:spcPct val="100000"/>
              </a:lnSpc>
              <a:spcBef>
                <a:spcPts val="100"/>
              </a:spcBef>
            </a:pPr>
            <a:r>
              <a:rPr sz="600" b="1">
                <a:solidFill>
                  <a:srgbClr val="16091F"/>
                </a:solidFill>
                <a:latin typeface="Verdana"/>
                <a:cs typeface="Verdana"/>
              </a:rPr>
              <a:t>APP</a:t>
            </a:r>
            <a:r>
              <a:rPr sz="600" b="1" spc="-40">
                <a:solidFill>
                  <a:srgbClr val="16091F"/>
                </a:solidFill>
                <a:latin typeface="Verdana"/>
                <a:cs typeface="Verdana"/>
              </a:rPr>
              <a:t> </a:t>
            </a:r>
            <a:r>
              <a:rPr sz="600" b="1">
                <a:solidFill>
                  <a:srgbClr val="16091F"/>
                </a:solidFill>
                <a:latin typeface="Verdana"/>
                <a:cs typeface="Verdana"/>
              </a:rPr>
              <a:t>3</a:t>
            </a:r>
            <a:endParaRPr sz="600">
              <a:latin typeface="Verdana"/>
              <a:cs typeface="Verdana"/>
            </a:endParaRPr>
          </a:p>
        </p:txBody>
      </p:sp>
      <p:sp>
        <p:nvSpPr>
          <p:cNvPr id="20" name="object 20"/>
          <p:cNvSpPr/>
          <p:nvPr/>
        </p:nvSpPr>
        <p:spPr>
          <a:xfrm>
            <a:off x="1862327" y="2327148"/>
            <a:ext cx="508000" cy="147955"/>
          </a:xfrm>
          <a:custGeom>
            <a:avLst/>
            <a:gdLst/>
            <a:ahLst/>
            <a:cxnLst/>
            <a:rect l="l" t="t" r="r" b="b"/>
            <a:pathLst>
              <a:path w="508000" h="147955">
                <a:moveTo>
                  <a:pt x="0" y="147827"/>
                </a:moveTo>
                <a:lnTo>
                  <a:pt x="507492" y="147827"/>
                </a:lnTo>
                <a:lnTo>
                  <a:pt x="507492" y="0"/>
                </a:lnTo>
                <a:lnTo>
                  <a:pt x="0" y="0"/>
                </a:lnTo>
                <a:lnTo>
                  <a:pt x="0" y="147827"/>
                </a:lnTo>
                <a:close/>
              </a:path>
            </a:pathLst>
          </a:custGeom>
          <a:solidFill>
            <a:srgbClr val="CDEFFA"/>
          </a:solidFill>
        </p:spPr>
        <p:txBody>
          <a:bodyPr wrap="square" lIns="0" tIns="0" rIns="0" bIns="0" rtlCol="0"/>
          <a:lstStyle/>
          <a:p>
            <a:endParaRPr/>
          </a:p>
        </p:txBody>
      </p:sp>
      <p:sp>
        <p:nvSpPr>
          <p:cNvPr id="21" name="object 21"/>
          <p:cNvSpPr txBox="1"/>
          <p:nvPr/>
        </p:nvSpPr>
        <p:spPr>
          <a:xfrm>
            <a:off x="1862327" y="2343403"/>
            <a:ext cx="508000" cy="116839"/>
          </a:xfrm>
          <a:prstGeom prst="rect">
            <a:avLst/>
          </a:prstGeom>
        </p:spPr>
        <p:txBody>
          <a:bodyPr vert="horz" wrap="square" lIns="0" tIns="12700" rIns="0" bIns="0" rtlCol="0">
            <a:spAutoFit/>
          </a:bodyPr>
          <a:lstStyle/>
          <a:p>
            <a:pPr marL="127635">
              <a:lnSpc>
                <a:spcPct val="100000"/>
              </a:lnSpc>
              <a:spcBef>
                <a:spcPts val="100"/>
              </a:spcBef>
            </a:pPr>
            <a:r>
              <a:rPr sz="600" b="1">
                <a:solidFill>
                  <a:srgbClr val="16091F"/>
                </a:solidFill>
                <a:latin typeface="Verdana"/>
                <a:cs typeface="Verdana"/>
              </a:rPr>
              <a:t>APP</a:t>
            </a:r>
            <a:r>
              <a:rPr sz="600" b="1" spc="-40">
                <a:solidFill>
                  <a:srgbClr val="16091F"/>
                </a:solidFill>
                <a:latin typeface="Verdana"/>
                <a:cs typeface="Verdana"/>
              </a:rPr>
              <a:t> </a:t>
            </a:r>
            <a:r>
              <a:rPr sz="600" b="1">
                <a:solidFill>
                  <a:srgbClr val="16091F"/>
                </a:solidFill>
                <a:latin typeface="Verdana"/>
                <a:cs typeface="Verdana"/>
              </a:rPr>
              <a:t>4</a:t>
            </a:r>
            <a:endParaRPr sz="600">
              <a:latin typeface="Verdana"/>
              <a:cs typeface="Verdana"/>
            </a:endParaRPr>
          </a:p>
        </p:txBody>
      </p:sp>
      <p:sp>
        <p:nvSpPr>
          <p:cNvPr id="22" name="object 22"/>
          <p:cNvSpPr/>
          <p:nvPr/>
        </p:nvSpPr>
        <p:spPr>
          <a:xfrm>
            <a:off x="1862327" y="3407664"/>
            <a:ext cx="508000" cy="147955"/>
          </a:xfrm>
          <a:custGeom>
            <a:avLst/>
            <a:gdLst/>
            <a:ahLst/>
            <a:cxnLst/>
            <a:rect l="l" t="t" r="r" b="b"/>
            <a:pathLst>
              <a:path w="508000" h="147954">
                <a:moveTo>
                  <a:pt x="0" y="147827"/>
                </a:moveTo>
                <a:lnTo>
                  <a:pt x="507492" y="147827"/>
                </a:lnTo>
                <a:lnTo>
                  <a:pt x="507492" y="0"/>
                </a:lnTo>
                <a:lnTo>
                  <a:pt x="0" y="0"/>
                </a:lnTo>
                <a:lnTo>
                  <a:pt x="0" y="147827"/>
                </a:lnTo>
                <a:close/>
              </a:path>
            </a:pathLst>
          </a:custGeom>
          <a:solidFill>
            <a:srgbClr val="CDEFFA"/>
          </a:solidFill>
        </p:spPr>
        <p:txBody>
          <a:bodyPr wrap="square" lIns="0" tIns="0" rIns="0" bIns="0" rtlCol="0"/>
          <a:lstStyle/>
          <a:p>
            <a:endParaRPr/>
          </a:p>
        </p:txBody>
      </p:sp>
      <p:sp>
        <p:nvSpPr>
          <p:cNvPr id="23" name="object 23"/>
          <p:cNvSpPr txBox="1"/>
          <p:nvPr/>
        </p:nvSpPr>
        <p:spPr>
          <a:xfrm>
            <a:off x="1862327" y="3423665"/>
            <a:ext cx="508000" cy="116839"/>
          </a:xfrm>
          <a:prstGeom prst="rect">
            <a:avLst/>
          </a:prstGeom>
        </p:spPr>
        <p:txBody>
          <a:bodyPr vert="horz" wrap="square" lIns="0" tIns="12700" rIns="0" bIns="0" rtlCol="0">
            <a:spAutoFit/>
          </a:bodyPr>
          <a:lstStyle/>
          <a:p>
            <a:pPr marL="123189">
              <a:lnSpc>
                <a:spcPct val="100000"/>
              </a:lnSpc>
              <a:spcBef>
                <a:spcPts val="100"/>
              </a:spcBef>
            </a:pPr>
            <a:r>
              <a:rPr sz="600" b="1">
                <a:solidFill>
                  <a:srgbClr val="16091F"/>
                </a:solidFill>
                <a:latin typeface="Verdana"/>
                <a:cs typeface="Verdana"/>
              </a:rPr>
              <a:t>APP</a:t>
            </a:r>
            <a:r>
              <a:rPr sz="600" b="1" spc="-45">
                <a:solidFill>
                  <a:srgbClr val="16091F"/>
                </a:solidFill>
                <a:latin typeface="Verdana"/>
                <a:cs typeface="Verdana"/>
              </a:rPr>
              <a:t> </a:t>
            </a:r>
            <a:r>
              <a:rPr sz="600" b="1">
                <a:solidFill>
                  <a:srgbClr val="16091F"/>
                </a:solidFill>
                <a:latin typeface="Verdana"/>
                <a:cs typeface="Verdana"/>
              </a:rPr>
              <a:t>N</a:t>
            </a:r>
            <a:endParaRPr sz="600">
              <a:latin typeface="Verdana"/>
              <a:cs typeface="Verdana"/>
            </a:endParaRPr>
          </a:p>
        </p:txBody>
      </p:sp>
      <p:sp>
        <p:nvSpPr>
          <p:cNvPr id="24" name="object 24"/>
          <p:cNvSpPr/>
          <p:nvPr/>
        </p:nvSpPr>
        <p:spPr>
          <a:xfrm>
            <a:off x="2077211" y="2474976"/>
            <a:ext cx="76200" cy="932815"/>
          </a:xfrm>
          <a:custGeom>
            <a:avLst/>
            <a:gdLst/>
            <a:ahLst/>
            <a:cxnLst/>
            <a:rect l="l" t="t" r="r" b="b"/>
            <a:pathLst>
              <a:path w="76200" h="932814">
                <a:moveTo>
                  <a:pt x="44450" y="0"/>
                </a:moveTo>
                <a:lnTo>
                  <a:pt x="31750" y="0"/>
                </a:lnTo>
                <a:lnTo>
                  <a:pt x="31750" y="50800"/>
                </a:lnTo>
                <a:lnTo>
                  <a:pt x="44450" y="50800"/>
                </a:lnTo>
                <a:lnTo>
                  <a:pt x="44450" y="0"/>
                </a:lnTo>
                <a:close/>
              </a:path>
              <a:path w="76200" h="932814">
                <a:moveTo>
                  <a:pt x="44450" y="88900"/>
                </a:moveTo>
                <a:lnTo>
                  <a:pt x="31750" y="88900"/>
                </a:lnTo>
                <a:lnTo>
                  <a:pt x="31750" y="139700"/>
                </a:lnTo>
                <a:lnTo>
                  <a:pt x="44450" y="139700"/>
                </a:lnTo>
                <a:lnTo>
                  <a:pt x="44450" y="88900"/>
                </a:lnTo>
                <a:close/>
              </a:path>
              <a:path w="76200" h="932814">
                <a:moveTo>
                  <a:pt x="44450" y="177800"/>
                </a:moveTo>
                <a:lnTo>
                  <a:pt x="31750" y="177800"/>
                </a:lnTo>
                <a:lnTo>
                  <a:pt x="31750" y="228600"/>
                </a:lnTo>
                <a:lnTo>
                  <a:pt x="44450" y="228600"/>
                </a:lnTo>
                <a:lnTo>
                  <a:pt x="44450" y="177800"/>
                </a:lnTo>
                <a:close/>
              </a:path>
              <a:path w="76200" h="932814">
                <a:moveTo>
                  <a:pt x="44450" y="266700"/>
                </a:moveTo>
                <a:lnTo>
                  <a:pt x="31750" y="266700"/>
                </a:lnTo>
                <a:lnTo>
                  <a:pt x="31750" y="317500"/>
                </a:lnTo>
                <a:lnTo>
                  <a:pt x="44450" y="317500"/>
                </a:lnTo>
                <a:lnTo>
                  <a:pt x="44450" y="266700"/>
                </a:lnTo>
                <a:close/>
              </a:path>
              <a:path w="76200" h="932814">
                <a:moveTo>
                  <a:pt x="44450" y="355600"/>
                </a:moveTo>
                <a:lnTo>
                  <a:pt x="31750" y="355600"/>
                </a:lnTo>
                <a:lnTo>
                  <a:pt x="31750" y="406400"/>
                </a:lnTo>
                <a:lnTo>
                  <a:pt x="44450" y="406400"/>
                </a:lnTo>
                <a:lnTo>
                  <a:pt x="44450" y="355600"/>
                </a:lnTo>
                <a:close/>
              </a:path>
              <a:path w="76200" h="932814">
                <a:moveTo>
                  <a:pt x="44450" y="444500"/>
                </a:moveTo>
                <a:lnTo>
                  <a:pt x="31750" y="444500"/>
                </a:lnTo>
                <a:lnTo>
                  <a:pt x="31750" y="495300"/>
                </a:lnTo>
                <a:lnTo>
                  <a:pt x="44450" y="495300"/>
                </a:lnTo>
                <a:lnTo>
                  <a:pt x="44450" y="444500"/>
                </a:lnTo>
                <a:close/>
              </a:path>
              <a:path w="76200" h="932814">
                <a:moveTo>
                  <a:pt x="44450" y="533400"/>
                </a:moveTo>
                <a:lnTo>
                  <a:pt x="31750" y="533400"/>
                </a:lnTo>
                <a:lnTo>
                  <a:pt x="31750" y="584200"/>
                </a:lnTo>
                <a:lnTo>
                  <a:pt x="44450" y="584200"/>
                </a:lnTo>
                <a:lnTo>
                  <a:pt x="44450" y="533400"/>
                </a:lnTo>
                <a:close/>
              </a:path>
              <a:path w="76200" h="932814">
                <a:moveTo>
                  <a:pt x="44450" y="622300"/>
                </a:moveTo>
                <a:lnTo>
                  <a:pt x="31750" y="622300"/>
                </a:lnTo>
                <a:lnTo>
                  <a:pt x="31750" y="673100"/>
                </a:lnTo>
                <a:lnTo>
                  <a:pt x="44450" y="673100"/>
                </a:lnTo>
                <a:lnTo>
                  <a:pt x="44450" y="622300"/>
                </a:lnTo>
                <a:close/>
              </a:path>
              <a:path w="76200" h="932814">
                <a:moveTo>
                  <a:pt x="44450" y="711200"/>
                </a:moveTo>
                <a:lnTo>
                  <a:pt x="31750" y="711200"/>
                </a:lnTo>
                <a:lnTo>
                  <a:pt x="31750" y="762000"/>
                </a:lnTo>
                <a:lnTo>
                  <a:pt x="44450" y="762000"/>
                </a:lnTo>
                <a:lnTo>
                  <a:pt x="44450" y="711200"/>
                </a:lnTo>
                <a:close/>
              </a:path>
              <a:path w="76200" h="932814">
                <a:moveTo>
                  <a:pt x="44450" y="800100"/>
                </a:moveTo>
                <a:lnTo>
                  <a:pt x="31750" y="800100"/>
                </a:lnTo>
                <a:lnTo>
                  <a:pt x="31750" y="850900"/>
                </a:lnTo>
                <a:lnTo>
                  <a:pt x="44450" y="850900"/>
                </a:lnTo>
                <a:lnTo>
                  <a:pt x="44450" y="800100"/>
                </a:lnTo>
                <a:close/>
              </a:path>
              <a:path w="76200" h="932814">
                <a:moveTo>
                  <a:pt x="76200" y="856614"/>
                </a:moveTo>
                <a:lnTo>
                  <a:pt x="0" y="856614"/>
                </a:lnTo>
                <a:lnTo>
                  <a:pt x="38100" y="932814"/>
                </a:lnTo>
                <a:lnTo>
                  <a:pt x="76200" y="856614"/>
                </a:lnTo>
                <a:close/>
              </a:path>
            </a:pathLst>
          </a:custGeom>
          <a:solidFill>
            <a:srgbClr val="7E7E7E"/>
          </a:solidFill>
        </p:spPr>
        <p:txBody>
          <a:bodyPr wrap="square" lIns="0" tIns="0" rIns="0" bIns="0" rtlCol="0"/>
          <a:lstStyle/>
          <a:p>
            <a:endParaRPr/>
          </a:p>
        </p:txBody>
      </p:sp>
      <p:sp>
        <p:nvSpPr>
          <p:cNvPr id="25" name="object 25"/>
          <p:cNvSpPr/>
          <p:nvPr/>
        </p:nvSpPr>
        <p:spPr>
          <a:xfrm>
            <a:off x="10597895" y="4972050"/>
            <a:ext cx="86995" cy="283845"/>
          </a:xfrm>
          <a:custGeom>
            <a:avLst/>
            <a:gdLst/>
            <a:ahLst/>
            <a:cxnLst/>
            <a:rect l="l" t="t" r="r" b="b"/>
            <a:pathLst>
              <a:path w="86995" h="283845">
                <a:moveTo>
                  <a:pt x="57911" y="0"/>
                </a:moveTo>
                <a:lnTo>
                  <a:pt x="28955" y="0"/>
                </a:lnTo>
                <a:lnTo>
                  <a:pt x="28955" y="28956"/>
                </a:lnTo>
                <a:lnTo>
                  <a:pt x="57911" y="28956"/>
                </a:lnTo>
                <a:lnTo>
                  <a:pt x="57911" y="0"/>
                </a:lnTo>
                <a:close/>
              </a:path>
              <a:path w="86995" h="283845">
                <a:moveTo>
                  <a:pt x="57911" y="57912"/>
                </a:moveTo>
                <a:lnTo>
                  <a:pt x="28955" y="57912"/>
                </a:lnTo>
                <a:lnTo>
                  <a:pt x="28955" y="86868"/>
                </a:lnTo>
                <a:lnTo>
                  <a:pt x="57911" y="86868"/>
                </a:lnTo>
                <a:lnTo>
                  <a:pt x="57911" y="57912"/>
                </a:lnTo>
                <a:close/>
              </a:path>
              <a:path w="86995" h="283845">
                <a:moveTo>
                  <a:pt x="57911" y="115824"/>
                </a:moveTo>
                <a:lnTo>
                  <a:pt x="28955" y="115824"/>
                </a:lnTo>
                <a:lnTo>
                  <a:pt x="28955" y="144780"/>
                </a:lnTo>
                <a:lnTo>
                  <a:pt x="57911" y="144780"/>
                </a:lnTo>
                <a:lnTo>
                  <a:pt x="57911" y="115824"/>
                </a:lnTo>
                <a:close/>
              </a:path>
              <a:path w="86995" h="283845">
                <a:moveTo>
                  <a:pt x="28955" y="196595"/>
                </a:moveTo>
                <a:lnTo>
                  <a:pt x="0" y="196595"/>
                </a:lnTo>
                <a:lnTo>
                  <a:pt x="43433" y="283463"/>
                </a:lnTo>
                <a:lnTo>
                  <a:pt x="83820" y="202692"/>
                </a:lnTo>
                <a:lnTo>
                  <a:pt x="28955" y="202692"/>
                </a:lnTo>
                <a:lnTo>
                  <a:pt x="28955" y="196595"/>
                </a:lnTo>
                <a:close/>
              </a:path>
              <a:path w="86995" h="283845">
                <a:moveTo>
                  <a:pt x="57911" y="173736"/>
                </a:moveTo>
                <a:lnTo>
                  <a:pt x="28955" y="173736"/>
                </a:lnTo>
                <a:lnTo>
                  <a:pt x="28955" y="202692"/>
                </a:lnTo>
                <a:lnTo>
                  <a:pt x="57911" y="202692"/>
                </a:lnTo>
                <a:lnTo>
                  <a:pt x="57911" y="173736"/>
                </a:lnTo>
                <a:close/>
              </a:path>
              <a:path w="86995" h="283845">
                <a:moveTo>
                  <a:pt x="86868" y="196595"/>
                </a:moveTo>
                <a:lnTo>
                  <a:pt x="57911" y="196595"/>
                </a:lnTo>
                <a:lnTo>
                  <a:pt x="57911" y="202692"/>
                </a:lnTo>
                <a:lnTo>
                  <a:pt x="83820" y="202692"/>
                </a:lnTo>
                <a:lnTo>
                  <a:pt x="86868" y="196595"/>
                </a:lnTo>
                <a:close/>
              </a:path>
            </a:pathLst>
          </a:custGeom>
          <a:solidFill>
            <a:srgbClr val="7E7E7E"/>
          </a:solidFill>
        </p:spPr>
        <p:txBody>
          <a:bodyPr wrap="square" lIns="0" tIns="0" rIns="0" bIns="0" rtlCol="0"/>
          <a:lstStyle/>
          <a:p>
            <a:endParaRPr/>
          </a:p>
        </p:txBody>
      </p:sp>
      <p:sp>
        <p:nvSpPr>
          <p:cNvPr id="26" name="object 26"/>
          <p:cNvSpPr/>
          <p:nvPr/>
        </p:nvSpPr>
        <p:spPr>
          <a:xfrm>
            <a:off x="4310634" y="2309622"/>
            <a:ext cx="1521460" cy="649605"/>
          </a:xfrm>
          <a:custGeom>
            <a:avLst/>
            <a:gdLst/>
            <a:ahLst/>
            <a:cxnLst/>
            <a:rect l="l" t="t" r="r" b="b"/>
            <a:pathLst>
              <a:path w="1521460" h="649605">
                <a:moveTo>
                  <a:pt x="0" y="649224"/>
                </a:moveTo>
                <a:lnTo>
                  <a:pt x="1520952" y="649224"/>
                </a:lnTo>
                <a:lnTo>
                  <a:pt x="1520952" y="0"/>
                </a:lnTo>
                <a:lnTo>
                  <a:pt x="0" y="0"/>
                </a:lnTo>
                <a:lnTo>
                  <a:pt x="0" y="649224"/>
                </a:lnTo>
                <a:close/>
              </a:path>
            </a:pathLst>
          </a:custGeom>
          <a:ln w="19811">
            <a:solidFill>
              <a:srgbClr val="7E7E7E"/>
            </a:solidFill>
            <a:prstDash val="sysDash"/>
          </a:ln>
        </p:spPr>
        <p:txBody>
          <a:bodyPr wrap="square" lIns="0" tIns="0" rIns="0" bIns="0" rtlCol="0"/>
          <a:lstStyle/>
          <a:p>
            <a:endParaRPr/>
          </a:p>
        </p:txBody>
      </p:sp>
      <p:sp>
        <p:nvSpPr>
          <p:cNvPr id="27" name="object 27"/>
          <p:cNvSpPr txBox="1"/>
          <p:nvPr/>
        </p:nvSpPr>
        <p:spPr>
          <a:xfrm>
            <a:off x="4558284" y="2537460"/>
            <a:ext cx="1099185" cy="311150"/>
          </a:xfrm>
          <a:prstGeom prst="rect">
            <a:avLst/>
          </a:prstGeom>
          <a:solidFill>
            <a:srgbClr val="006FAC"/>
          </a:solidFill>
        </p:spPr>
        <p:txBody>
          <a:bodyPr vert="horz" wrap="square" lIns="0" tIns="79375" rIns="0" bIns="0" rtlCol="0">
            <a:spAutoFit/>
          </a:bodyPr>
          <a:lstStyle/>
          <a:p>
            <a:pPr marL="340360">
              <a:lnSpc>
                <a:spcPct val="100000"/>
              </a:lnSpc>
              <a:spcBef>
                <a:spcPts val="625"/>
              </a:spcBef>
            </a:pPr>
            <a:r>
              <a:rPr sz="1000" b="1" spc="-10">
                <a:solidFill>
                  <a:srgbClr val="FFFFFF"/>
                </a:solidFill>
                <a:latin typeface="Verdana"/>
                <a:cs typeface="Verdana"/>
              </a:rPr>
              <a:t>APP</a:t>
            </a:r>
            <a:r>
              <a:rPr sz="1000" b="1">
                <a:solidFill>
                  <a:srgbClr val="FFFFFF"/>
                </a:solidFill>
                <a:latin typeface="Verdana"/>
                <a:cs typeface="Verdana"/>
              </a:rPr>
              <a:t> </a:t>
            </a:r>
            <a:r>
              <a:rPr sz="1000" b="1" spc="-5">
                <a:solidFill>
                  <a:srgbClr val="FFFFFF"/>
                </a:solidFill>
                <a:latin typeface="Verdana"/>
                <a:cs typeface="Verdana"/>
              </a:rPr>
              <a:t>1</a:t>
            </a:r>
            <a:endParaRPr sz="1000">
              <a:latin typeface="Verdana"/>
              <a:cs typeface="Verdana"/>
            </a:endParaRPr>
          </a:p>
        </p:txBody>
      </p:sp>
      <p:sp>
        <p:nvSpPr>
          <p:cNvPr id="28" name="object 28"/>
          <p:cNvSpPr/>
          <p:nvPr/>
        </p:nvSpPr>
        <p:spPr>
          <a:xfrm>
            <a:off x="6560057" y="2309622"/>
            <a:ext cx="1569720" cy="649605"/>
          </a:xfrm>
          <a:custGeom>
            <a:avLst/>
            <a:gdLst/>
            <a:ahLst/>
            <a:cxnLst/>
            <a:rect l="l" t="t" r="r" b="b"/>
            <a:pathLst>
              <a:path w="1569720" h="649605">
                <a:moveTo>
                  <a:pt x="0" y="649224"/>
                </a:moveTo>
                <a:lnTo>
                  <a:pt x="1569720" y="649224"/>
                </a:lnTo>
                <a:lnTo>
                  <a:pt x="1569720" y="0"/>
                </a:lnTo>
                <a:lnTo>
                  <a:pt x="0" y="0"/>
                </a:lnTo>
                <a:lnTo>
                  <a:pt x="0" y="649224"/>
                </a:lnTo>
                <a:close/>
              </a:path>
            </a:pathLst>
          </a:custGeom>
          <a:ln w="19811">
            <a:solidFill>
              <a:srgbClr val="7E7E7E"/>
            </a:solidFill>
            <a:prstDash val="sysDash"/>
          </a:ln>
        </p:spPr>
        <p:txBody>
          <a:bodyPr wrap="square" lIns="0" tIns="0" rIns="0" bIns="0" rtlCol="0"/>
          <a:lstStyle/>
          <a:p>
            <a:endParaRPr/>
          </a:p>
        </p:txBody>
      </p:sp>
      <p:sp>
        <p:nvSpPr>
          <p:cNvPr id="29" name="object 29"/>
          <p:cNvSpPr txBox="1"/>
          <p:nvPr/>
        </p:nvSpPr>
        <p:spPr>
          <a:xfrm>
            <a:off x="6784847" y="2522220"/>
            <a:ext cx="1134110" cy="321945"/>
          </a:xfrm>
          <a:prstGeom prst="rect">
            <a:avLst/>
          </a:prstGeom>
          <a:solidFill>
            <a:srgbClr val="12ABDB"/>
          </a:solidFill>
        </p:spPr>
        <p:txBody>
          <a:bodyPr vert="horz" wrap="square" lIns="0" tIns="84455" rIns="0" bIns="0" rtlCol="0">
            <a:spAutoFit/>
          </a:bodyPr>
          <a:lstStyle/>
          <a:p>
            <a:pPr marL="358140">
              <a:lnSpc>
                <a:spcPct val="100000"/>
              </a:lnSpc>
              <a:spcBef>
                <a:spcPts val="665"/>
              </a:spcBef>
            </a:pPr>
            <a:r>
              <a:rPr sz="1000" b="1" spc="-10">
                <a:solidFill>
                  <a:srgbClr val="FFFFFF"/>
                </a:solidFill>
                <a:latin typeface="Verdana"/>
                <a:cs typeface="Verdana"/>
              </a:rPr>
              <a:t>APP</a:t>
            </a:r>
            <a:r>
              <a:rPr sz="1000" b="1" spc="5">
                <a:solidFill>
                  <a:srgbClr val="FFFFFF"/>
                </a:solidFill>
                <a:latin typeface="Verdana"/>
                <a:cs typeface="Verdana"/>
              </a:rPr>
              <a:t> </a:t>
            </a:r>
            <a:r>
              <a:rPr sz="1000" b="1" spc="-5">
                <a:solidFill>
                  <a:srgbClr val="FFFFFF"/>
                </a:solidFill>
                <a:latin typeface="Verdana"/>
                <a:cs typeface="Verdana"/>
              </a:rPr>
              <a:t>1</a:t>
            </a:r>
            <a:endParaRPr sz="1000">
              <a:latin typeface="Verdana"/>
              <a:cs typeface="Verdana"/>
            </a:endParaRPr>
          </a:p>
        </p:txBody>
      </p:sp>
      <p:sp>
        <p:nvSpPr>
          <p:cNvPr id="30" name="object 30"/>
          <p:cNvSpPr/>
          <p:nvPr/>
        </p:nvSpPr>
        <p:spPr>
          <a:xfrm>
            <a:off x="6560057" y="1888998"/>
            <a:ext cx="1584960" cy="375285"/>
          </a:xfrm>
          <a:custGeom>
            <a:avLst/>
            <a:gdLst/>
            <a:ahLst/>
            <a:cxnLst/>
            <a:rect l="l" t="t" r="r" b="b"/>
            <a:pathLst>
              <a:path w="1584959" h="375285">
                <a:moveTo>
                  <a:pt x="0" y="374903"/>
                </a:moveTo>
                <a:lnTo>
                  <a:pt x="1584959" y="374903"/>
                </a:lnTo>
                <a:lnTo>
                  <a:pt x="1584959" y="0"/>
                </a:lnTo>
                <a:lnTo>
                  <a:pt x="0" y="0"/>
                </a:lnTo>
                <a:lnTo>
                  <a:pt x="0" y="374903"/>
                </a:lnTo>
                <a:close/>
              </a:path>
            </a:pathLst>
          </a:custGeom>
          <a:solidFill>
            <a:srgbClr val="7E7E7E"/>
          </a:solidFill>
        </p:spPr>
        <p:txBody>
          <a:bodyPr wrap="square" lIns="0" tIns="0" rIns="0" bIns="0" rtlCol="0"/>
          <a:lstStyle/>
          <a:p>
            <a:endParaRPr/>
          </a:p>
        </p:txBody>
      </p:sp>
      <p:sp>
        <p:nvSpPr>
          <p:cNvPr id="31" name="object 31"/>
          <p:cNvSpPr/>
          <p:nvPr/>
        </p:nvSpPr>
        <p:spPr>
          <a:xfrm>
            <a:off x="6560057" y="1888998"/>
            <a:ext cx="1584960" cy="375285"/>
          </a:xfrm>
          <a:custGeom>
            <a:avLst/>
            <a:gdLst/>
            <a:ahLst/>
            <a:cxnLst/>
            <a:rect l="l" t="t" r="r" b="b"/>
            <a:pathLst>
              <a:path w="1584959" h="375285">
                <a:moveTo>
                  <a:pt x="0" y="374903"/>
                </a:moveTo>
                <a:lnTo>
                  <a:pt x="1584959" y="374903"/>
                </a:lnTo>
                <a:lnTo>
                  <a:pt x="1584959" y="0"/>
                </a:lnTo>
                <a:lnTo>
                  <a:pt x="0" y="0"/>
                </a:lnTo>
                <a:lnTo>
                  <a:pt x="0" y="374903"/>
                </a:lnTo>
                <a:close/>
              </a:path>
            </a:pathLst>
          </a:custGeom>
          <a:ln w="19812">
            <a:solidFill>
              <a:srgbClr val="7E7E7E"/>
            </a:solidFill>
          </a:ln>
        </p:spPr>
        <p:txBody>
          <a:bodyPr wrap="square" lIns="0" tIns="0" rIns="0" bIns="0" rtlCol="0"/>
          <a:lstStyle/>
          <a:p>
            <a:endParaRPr/>
          </a:p>
        </p:txBody>
      </p:sp>
      <p:sp>
        <p:nvSpPr>
          <p:cNvPr id="32" name="object 32"/>
          <p:cNvSpPr/>
          <p:nvPr/>
        </p:nvSpPr>
        <p:spPr>
          <a:xfrm>
            <a:off x="4309871" y="1888235"/>
            <a:ext cx="1521460" cy="379730"/>
          </a:xfrm>
          <a:custGeom>
            <a:avLst/>
            <a:gdLst/>
            <a:ahLst/>
            <a:cxnLst/>
            <a:rect l="l" t="t" r="r" b="b"/>
            <a:pathLst>
              <a:path w="1521460" h="379730">
                <a:moveTo>
                  <a:pt x="0" y="379475"/>
                </a:moveTo>
                <a:lnTo>
                  <a:pt x="1520952" y="379475"/>
                </a:lnTo>
                <a:lnTo>
                  <a:pt x="1520952" y="0"/>
                </a:lnTo>
                <a:lnTo>
                  <a:pt x="0" y="0"/>
                </a:lnTo>
                <a:lnTo>
                  <a:pt x="0" y="379475"/>
                </a:lnTo>
                <a:close/>
              </a:path>
            </a:pathLst>
          </a:custGeom>
          <a:solidFill>
            <a:srgbClr val="7E7E7E"/>
          </a:solidFill>
        </p:spPr>
        <p:txBody>
          <a:bodyPr wrap="square" lIns="0" tIns="0" rIns="0" bIns="0" rtlCol="0"/>
          <a:lstStyle/>
          <a:p>
            <a:endParaRPr/>
          </a:p>
        </p:txBody>
      </p:sp>
      <p:sp>
        <p:nvSpPr>
          <p:cNvPr id="33" name="object 33"/>
          <p:cNvSpPr/>
          <p:nvPr/>
        </p:nvSpPr>
        <p:spPr>
          <a:xfrm>
            <a:off x="2369820" y="1790445"/>
            <a:ext cx="607695" cy="1035050"/>
          </a:xfrm>
          <a:custGeom>
            <a:avLst/>
            <a:gdLst/>
            <a:ahLst/>
            <a:cxnLst/>
            <a:rect l="l" t="t" r="r" b="b"/>
            <a:pathLst>
              <a:path w="607694" h="1035050">
                <a:moveTo>
                  <a:pt x="530987" y="958341"/>
                </a:moveTo>
                <a:lnTo>
                  <a:pt x="530987" y="1034541"/>
                </a:lnTo>
                <a:lnTo>
                  <a:pt x="594487" y="1002791"/>
                </a:lnTo>
                <a:lnTo>
                  <a:pt x="543687" y="1002791"/>
                </a:lnTo>
                <a:lnTo>
                  <a:pt x="543687" y="990091"/>
                </a:lnTo>
                <a:lnTo>
                  <a:pt x="594487" y="990091"/>
                </a:lnTo>
                <a:lnTo>
                  <a:pt x="530987" y="958341"/>
                </a:lnTo>
                <a:close/>
              </a:path>
              <a:path w="607694" h="1035050">
                <a:moveTo>
                  <a:pt x="297180" y="6350"/>
                </a:moveTo>
                <a:lnTo>
                  <a:pt x="297180" y="1002791"/>
                </a:lnTo>
                <a:lnTo>
                  <a:pt x="530987" y="1002791"/>
                </a:lnTo>
                <a:lnTo>
                  <a:pt x="530987" y="996441"/>
                </a:lnTo>
                <a:lnTo>
                  <a:pt x="309880" y="996441"/>
                </a:lnTo>
                <a:lnTo>
                  <a:pt x="303530" y="990091"/>
                </a:lnTo>
                <a:lnTo>
                  <a:pt x="309880" y="990091"/>
                </a:lnTo>
                <a:lnTo>
                  <a:pt x="309880" y="12700"/>
                </a:lnTo>
                <a:lnTo>
                  <a:pt x="303530" y="12700"/>
                </a:lnTo>
                <a:lnTo>
                  <a:pt x="297180" y="6350"/>
                </a:lnTo>
                <a:close/>
              </a:path>
              <a:path w="607694" h="1035050">
                <a:moveTo>
                  <a:pt x="594487" y="990091"/>
                </a:moveTo>
                <a:lnTo>
                  <a:pt x="543687" y="990091"/>
                </a:lnTo>
                <a:lnTo>
                  <a:pt x="543687" y="1002791"/>
                </a:lnTo>
                <a:lnTo>
                  <a:pt x="594487" y="1002791"/>
                </a:lnTo>
                <a:lnTo>
                  <a:pt x="607187" y="996441"/>
                </a:lnTo>
                <a:lnTo>
                  <a:pt x="594487" y="990091"/>
                </a:lnTo>
                <a:close/>
              </a:path>
              <a:path w="607694" h="1035050">
                <a:moveTo>
                  <a:pt x="309880" y="990091"/>
                </a:moveTo>
                <a:lnTo>
                  <a:pt x="303530" y="990091"/>
                </a:lnTo>
                <a:lnTo>
                  <a:pt x="309880" y="996441"/>
                </a:lnTo>
                <a:lnTo>
                  <a:pt x="309880" y="990091"/>
                </a:lnTo>
                <a:close/>
              </a:path>
              <a:path w="607694" h="1035050">
                <a:moveTo>
                  <a:pt x="530987" y="990091"/>
                </a:moveTo>
                <a:lnTo>
                  <a:pt x="309880" y="990091"/>
                </a:lnTo>
                <a:lnTo>
                  <a:pt x="309880" y="996441"/>
                </a:lnTo>
                <a:lnTo>
                  <a:pt x="530987" y="996441"/>
                </a:lnTo>
                <a:lnTo>
                  <a:pt x="530987" y="990091"/>
                </a:lnTo>
                <a:close/>
              </a:path>
              <a:path w="607694" h="1035050">
                <a:moveTo>
                  <a:pt x="309880" y="0"/>
                </a:moveTo>
                <a:lnTo>
                  <a:pt x="0" y="0"/>
                </a:lnTo>
                <a:lnTo>
                  <a:pt x="0" y="12700"/>
                </a:lnTo>
                <a:lnTo>
                  <a:pt x="297180" y="12700"/>
                </a:lnTo>
                <a:lnTo>
                  <a:pt x="297180" y="6350"/>
                </a:lnTo>
                <a:lnTo>
                  <a:pt x="309880" y="6350"/>
                </a:lnTo>
                <a:lnTo>
                  <a:pt x="309880" y="0"/>
                </a:lnTo>
                <a:close/>
              </a:path>
              <a:path w="607694" h="1035050">
                <a:moveTo>
                  <a:pt x="309880" y="6350"/>
                </a:moveTo>
                <a:lnTo>
                  <a:pt x="297180" y="6350"/>
                </a:lnTo>
                <a:lnTo>
                  <a:pt x="303530" y="12700"/>
                </a:lnTo>
                <a:lnTo>
                  <a:pt x="309880" y="12700"/>
                </a:lnTo>
                <a:lnTo>
                  <a:pt x="309880" y="6350"/>
                </a:lnTo>
                <a:close/>
              </a:path>
            </a:pathLst>
          </a:custGeom>
          <a:solidFill>
            <a:srgbClr val="7E7E7E"/>
          </a:solidFill>
        </p:spPr>
        <p:txBody>
          <a:bodyPr wrap="square" lIns="0" tIns="0" rIns="0" bIns="0" rtlCol="0"/>
          <a:lstStyle/>
          <a:p>
            <a:endParaRPr/>
          </a:p>
        </p:txBody>
      </p:sp>
      <p:sp>
        <p:nvSpPr>
          <p:cNvPr id="34" name="object 34"/>
          <p:cNvSpPr/>
          <p:nvPr/>
        </p:nvSpPr>
        <p:spPr>
          <a:xfrm>
            <a:off x="5823203" y="3695700"/>
            <a:ext cx="688848" cy="595883"/>
          </a:xfrm>
          <a:prstGeom prst="rect">
            <a:avLst/>
          </a:prstGeom>
          <a:blipFill>
            <a:blip r:embed="rId2" cstate="print"/>
            <a:stretch>
              <a:fillRect/>
            </a:stretch>
          </a:blipFill>
        </p:spPr>
        <p:txBody>
          <a:bodyPr wrap="square" lIns="0" tIns="0" rIns="0" bIns="0" rtlCol="0"/>
          <a:lstStyle/>
          <a:p>
            <a:endParaRPr/>
          </a:p>
        </p:txBody>
      </p:sp>
      <p:sp>
        <p:nvSpPr>
          <p:cNvPr id="35" name="object 35"/>
          <p:cNvSpPr/>
          <p:nvPr/>
        </p:nvSpPr>
        <p:spPr>
          <a:xfrm>
            <a:off x="2977895" y="4928615"/>
            <a:ext cx="518159" cy="512063"/>
          </a:xfrm>
          <a:prstGeom prst="rect">
            <a:avLst/>
          </a:prstGeom>
          <a:blipFill>
            <a:blip r:embed="rId3" cstate="print"/>
            <a:stretch>
              <a:fillRect/>
            </a:stretch>
          </a:blipFill>
        </p:spPr>
        <p:txBody>
          <a:bodyPr wrap="square" lIns="0" tIns="0" rIns="0" bIns="0" rtlCol="0"/>
          <a:lstStyle/>
          <a:p>
            <a:endParaRPr/>
          </a:p>
        </p:txBody>
      </p:sp>
      <p:sp>
        <p:nvSpPr>
          <p:cNvPr id="36" name="object 36"/>
          <p:cNvSpPr/>
          <p:nvPr/>
        </p:nvSpPr>
        <p:spPr>
          <a:xfrm>
            <a:off x="2802635" y="1322832"/>
            <a:ext cx="1586484" cy="975360"/>
          </a:xfrm>
          <a:prstGeom prst="rect">
            <a:avLst/>
          </a:prstGeom>
          <a:blipFill>
            <a:blip r:embed="rId4" cstate="print"/>
            <a:stretch>
              <a:fillRect/>
            </a:stretch>
          </a:blipFill>
        </p:spPr>
        <p:txBody>
          <a:bodyPr wrap="square" lIns="0" tIns="0" rIns="0" bIns="0" rtlCol="0"/>
          <a:lstStyle/>
          <a:p>
            <a:endParaRPr/>
          </a:p>
        </p:txBody>
      </p:sp>
      <p:sp>
        <p:nvSpPr>
          <p:cNvPr id="37" name="object 37"/>
          <p:cNvSpPr/>
          <p:nvPr/>
        </p:nvSpPr>
        <p:spPr>
          <a:xfrm>
            <a:off x="8297418" y="2181605"/>
            <a:ext cx="896619" cy="777240"/>
          </a:xfrm>
          <a:custGeom>
            <a:avLst/>
            <a:gdLst/>
            <a:ahLst/>
            <a:cxnLst/>
            <a:rect l="l" t="t" r="r" b="b"/>
            <a:pathLst>
              <a:path w="896620" h="777239">
                <a:moveTo>
                  <a:pt x="0" y="777239"/>
                </a:moveTo>
                <a:lnTo>
                  <a:pt x="896112" y="777239"/>
                </a:lnTo>
                <a:lnTo>
                  <a:pt x="896112" y="0"/>
                </a:lnTo>
                <a:lnTo>
                  <a:pt x="0" y="0"/>
                </a:lnTo>
                <a:lnTo>
                  <a:pt x="0" y="777239"/>
                </a:lnTo>
                <a:close/>
              </a:path>
            </a:pathLst>
          </a:custGeom>
          <a:ln w="19812">
            <a:solidFill>
              <a:srgbClr val="7E7E7E"/>
            </a:solidFill>
            <a:prstDash val="sysDash"/>
          </a:ln>
        </p:spPr>
        <p:txBody>
          <a:bodyPr wrap="square" lIns="0" tIns="0" rIns="0" bIns="0" rtlCol="0"/>
          <a:lstStyle/>
          <a:p>
            <a:endParaRPr/>
          </a:p>
        </p:txBody>
      </p:sp>
      <p:sp>
        <p:nvSpPr>
          <p:cNvPr id="38" name="object 38"/>
          <p:cNvSpPr/>
          <p:nvPr/>
        </p:nvSpPr>
        <p:spPr>
          <a:xfrm>
            <a:off x="8296656" y="1888235"/>
            <a:ext cx="905510" cy="320040"/>
          </a:xfrm>
          <a:custGeom>
            <a:avLst/>
            <a:gdLst/>
            <a:ahLst/>
            <a:cxnLst/>
            <a:rect l="l" t="t" r="r" b="b"/>
            <a:pathLst>
              <a:path w="905509" h="320039">
                <a:moveTo>
                  <a:pt x="0" y="320039"/>
                </a:moveTo>
                <a:lnTo>
                  <a:pt x="905255" y="320039"/>
                </a:lnTo>
                <a:lnTo>
                  <a:pt x="905255" y="0"/>
                </a:lnTo>
                <a:lnTo>
                  <a:pt x="0" y="0"/>
                </a:lnTo>
                <a:lnTo>
                  <a:pt x="0" y="320039"/>
                </a:lnTo>
                <a:close/>
              </a:path>
            </a:pathLst>
          </a:custGeom>
          <a:solidFill>
            <a:srgbClr val="12ABDB"/>
          </a:solidFill>
        </p:spPr>
        <p:txBody>
          <a:bodyPr wrap="square" lIns="0" tIns="0" rIns="0" bIns="0" rtlCol="0"/>
          <a:lstStyle/>
          <a:p>
            <a:endParaRPr/>
          </a:p>
        </p:txBody>
      </p:sp>
      <p:sp>
        <p:nvSpPr>
          <p:cNvPr id="39" name="object 39"/>
          <p:cNvSpPr txBox="1"/>
          <p:nvPr/>
        </p:nvSpPr>
        <p:spPr>
          <a:xfrm>
            <a:off x="8307323" y="1888235"/>
            <a:ext cx="876300" cy="320040"/>
          </a:xfrm>
          <a:prstGeom prst="rect">
            <a:avLst/>
          </a:prstGeom>
          <a:solidFill>
            <a:srgbClr val="12ABDB"/>
          </a:solidFill>
        </p:spPr>
        <p:txBody>
          <a:bodyPr vert="horz" wrap="square" lIns="0" tIns="37465" rIns="0" bIns="0" rtlCol="0">
            <a:spAutoFit/>
          </a:bodyPr>
          <a:lstStyle/>
          <a:p>
            <a:pPr marL="188595" marR="66040" indent="-106680">
              <a:lnSpc>
                <a:spcPct val="100000"/>
              </a:lnSpc>
              <a:spcBef>
                <a:spcPts val="295"/>
              </a:spcBef>
            </a:pPr>
            <a:r>
              <a:rPr sz="800" b="1" spc="-5">
                <a:solidFill>
                  <a:srgbClr val="FFFFFF"/>
                </a:solidFill>
                <a:latin typeface="Verdana"/>
                <a:cs typeface="Verdana"/>
              </a:rPr>
              <a:t>A</a:t>
            </a:r>
            <a:r>
              <a:rPr sz="800" b="1" spc="-10">
                <a:solidFill>
                  <a:srgbClr val="FFFFFF"/>
                </a:solidFill>
                <a:latin typeface="Verdana"/>
                <a:cs typeface="Verdana"/>
              </a:rPr>
              <a:t>U</a:t>
            </a:r>
            <a:r>
              <a:rPr sz="800" b="1">
                <a:solidFill>
                  <a:srgbClr val="FFFFFF"/>
                </a:solidFill>
                <a:latin typeface="Verdana"/>
                <a:cs typeface="Verdana"/>
              </a:rPr>
              <a:t>T</a:t>
            </a:r>
            <a:r>
              <a:rPr sz="800" b="1" spc="-5">
                <a:solidFill>
                  <a:srgbClr val="FFFFFF"/>
                </a:solidFill>
                <a:latin typeface="Verdana"/>
                <a:cs typeface="Verdana"/>
              </a:rPr>
              <a:t>O</a:t>
            </a:r>
            <a:r>
              <a:rPr sz="800" b="1" spc="5">
                <a:solidFill>
                  <a:srgbClr val="FFFFFF"/>
                </a:solidFill>
                <a:latin typeface="Verdana"/>
                <a:cs typeface="Verdana"/>
              </a:rPr>
              <a:t>M</a:t>
            </a:r>
            <a:r>
              <a:rPr sz="800" b="1" spc="-5">
                <a:solidFill>
                  <a:srgbClr val="FFFFFF"/>
                </a:solidFill>
                <a:latin typeface="Verdana"/>
                <a:cs typeface="Verdana"/>
              </a:rPr>
              <a:t>A</a:t>
            </a:r>
            <a:r>
              <a:rPr sz="800" b="1">
                <a:solidFill>
                  <a:srgbClr val="FFFFFF"/>
                </a:solidFill>
                <a:latin typeface="Verdana"/>
                <a:cs typeface="Verdana"/>
              </a:rPr>
              <a:t>TED  TESTING</a:t>
            </a:r>
            <a:endParaRPr sz="800">
              <a:latin typeface="Verdana"/>
              <a:cs typeface="Verdana"/>
            </a:endParaRPr>
          </a:p>
        </p:txBody>
      </p:sp>
      <p:sp>
        <p:nvSpPr>
          <p:cNvPr id="40" name="object 40"/>
          <p:cNvSpPr/>
          <p:nvPr/>
        </p:nvSpPr>
        <p:spPr>
          <a:xfrm>
            <a:off x="8421623" y="2263139"/>
            <a:ext cx="676655" cy="647700"/>
          </a:xfrm>
          <a:prstGeom prst="rect">
            <a:avLst/>
          </a:prstGeom>
          <a:blipFill>
            <a:blip r:embed="rId5" cstate="print"/>
            <a:stretch>
              <a:fillRect/>
            </a:stretch>
          </a:blipFill>
        </p:spPr>
        <p:txBody>
          <a:bodyPr wrap="square" lIns="0" tIns="0" rIns="0" bIns="0" rtlCol="0"/>
          <a:lstStyle/>
          <a:p>
            <a:endParaRPr/>
          </a:p>
        </p:txBody>
      </p:sp>
      <p:sp>
        <p:nvSpPr>
          <p:cNvPr id="41" name="object 41"/>
          <p:cNvSpPr/>
          <p:nvPr/>
        </p:nvSpPr>
        <p:spPr>
          <a:xfrm>
            <a:off x="3230626" y="3954779"/>
            <a:ext cx="2592705" cy="968375"/>
          </a:xfrm>
          <a:custGeom>
            <a:avLst/>
            <a:gdLst/>
            <a:ahLst/>
            <a:cxnLst/>
            <a:rect l="l" t="t" r="r" b="b"/>
            <a:pathLst>
              <a:path w="2592704" h="968375">
                <a:moveTo>
                  <a:pt x="2516251" y="31750"/>
                </a:moveTo>
                <a:lnTo>
                  <a:pt x="0" y="31750"/>
                </a:lnTo>
                <a:lnTo>
                  <a:pt x="0" y="968248"/>
                </a:lnTo>
                <a:lnTo>
                  <a:pt x="12700" y="968248"/>
                </a:lnTo>
                <a:lnTo>
                  <a:pt x="12700" y="44450"/>
                </a:lnTo>
                <a:lnTo>
                  <a:pt x="6350" y="44450"/>
                </a:lnTo>
                <a:lnTo>
                  <a:pt x="12700" y="38100"/>
                </a:lnTo>
                <a:lnTo>
                  <a:pt x="2516251" y="38100"/>
                </a:lnTo>
                <a:lnTo>
                  <a:pt x="2516251" y="31750"/>
                </a:lnTo>
                <a:close/>
              </a:path>
              <a:path w="2592704" h="968375">
                <a:moveTo>
                  <a:pt x="2516251" y="0"/>
                </a:moveTo>
                <a:lnTo>
                  <a:pt x="2516251" y="76200"/>
                </a:lnTo>
                <a:lnTo>
                  <a:pt x="2579751" y="44450"/>
                </a:lnTo>
                <a:lnTo>
                  <a:pt x="2528951" y="44450"/>
                </a:lnTo>
                <a:lnTo>
                  <a:pt x="2528951" y="31750"/>
                </a:lnTo>
                <a:lnTo>
                  <a:pt x="2579751" y="31750"/>
                </a:lnTo>
                <a:lnTo>
                  <a:pt x="2516251" y="0"/>
                </a:lnTo>
                <a:close/>
              </a:path>
              <a:path w="2592704" h="968375">
                <a:moveTo>
                  <a:pt x="12700" y="38100"/>
                </a:moveTo>
                <a:lnTo>
                  <a:pt x="6350" y="44450"/>
                </a:lnTo>
                <a:lnTo>
                  <a:pt x="12700" y="44450"/>
                </a:lnTo>
                <a:lnTo>
                  <a:pt x="12700" y="38100"/>
                </a:lnTo>
                <a:close/>
              </a:path>
              <a:path w="2592704" h="968375">
                <a:moveTo>
                  <a:pt x="2516251" y="38100"/>
                </a:moveTo>
                <a:lnTo>
                  <a:pt x="12700" y="38100"/>
                </a:lnTo>
                <a:lnTo>
                  <a:pt x="12700" y="44450"/>
                </a:lnTo>
                <a:lnTo>
                  <a:pt x="2516251" y="44450"/>
                </a:lnTo>
                <a:lnTo>
                  <a:pt x="2516251" y="38100"/>
                </a:lnTo>
                <a:close/>
              </a:path>
              <a:path w="2592704" h="968375">
                <a:moveTo>
                  <a:pt x="2579751" y="31750"/>
                </a:moveTo>
                <a:lnTo>
                  <a:pt x="2528951" y="31750"/>
                </a:lnTo>
                <a:lnTo>
                  <a:pt x="2528951" y="44450"/>
                </a:lnTo>
                <a:lnTo>
                  <a:pt x="2579751" y="44450"/>
                </a:lnTo>
                <a:lnTo>
                  <a:pt x="2592451" y="38100"/>
                </a:lnTo>
                <a:lnTo>
                  <a:pt x="2579751" y="31750"/>
                </a:lnTo>
                <a:close/>
              </a:path>
            </a:pathLst>
          </a:custGeom>
          <a:solidFill>
            <a:srgbClr val="7E7E7E"/>
          </a:solidFill>
        </p:spPr>
        <p:txBody>
          <a:bodyPr wrap="square" lIns="0" tIns="0" rIns="0" bIns="0" rtlCol="0"/>
          <a:lstStyle/>
          <a:p>
            <a:endParaRPr/>
          </a:p>
        </p:txBody>
      </p:sp>
      <p:sp>
        <p:nvSpPr>
          <p:cNvPr id="42" name="object 42"/>
          <p:cNvSpPr txBox="1"/>
          <p:nvPr/>
        </p:nvSpPr>
        <p:spPr>
          <a:xfrm>
            <a:off x="7631938" y="3735451"/>
            <a:ext cx="1548765" cy="600075"/>
          </a:xfrm>
          <a:prstGeom prst="rect">
            <a:avLst/>
          </a:prstGeom>
        </p:spPr>
        <p:txBody>
          <a:bodyPr vert="horz" wrap="square" lIns="0" tIns="12700" rIns="0" bIns="0" rtlCol="0">
            <a:spAutoFit/>
          </a:bodyPr>
          <a:lstStyle/>
          <a:p>
            <a:pPr marL="186055" marR="114300" indent="-173990">
              <a:lnSpc>
                <a:spcPct val="100000"/>
              </a:lnSpc>
              <a:spcBef>
                <a:spcPts val="100"/>
              </a:spcBef>
              <a:buClr>
                <a:srgbClr val="006FAC"/>
              </a:buClr>
              <a:buFont typeface="Wingdings"/>
              <a:buChar char=""/>
              <a:tabLst>
                <a:tab pos="186690" algn="l"/>
              </a:tabLst>
            </a:pPr>
            <a:r>
              <a:rPr sz="900" b="1" spc="-5">
                <a:solidFill>
                  <a:srgbClr val="D22138"/>
                </a:solidFill>
                <a:latin typeface="Verdana"/>
                <a:cs typeface="Verdana"/>
              </a:rPr>
              <a:t>Bamboo </a:t>
            </a:r>
            <a:r>
              <a:rPr sz="900" b="1" spc="-5">
                <a:latin typeface="Verdana"/>
                <a:cs typeface="Verdana"/>
              </a:rPr>
              <a:t>Deploys</a:t>
            </a:r>
            <a:r>
              <a:rPr sz="900" b="1" spc="-60">
                <a:latin typeface="Verdana"/>
                <a:cs typeface="Verdana"/>
              </a:rPr>
              <a:t> </a:t>
            </a:r>
            <a:r>
              <a:rPr sz="900" b="1">
                <a:latin typeface="Verdana"/>
                <a:cs typeface="Verdana"/>
              </a:rPr>
              <a:t>to  </a:t>
            </a:r>
            <a:r>
              <a:rPr sz="900" b="1" spc="-5">
                <a:latin typeface="Verdana"/>
                <a:cs typeface="Verdana"/>
              </a:rPr>
              <a:t>Salesforce  Environment</a:t>
            </a:r>
            <a:endParaRPr sz="900">
              <a:latin typeface="Verdana"/>
              <a:cs typeface="Verdana"/>
            </a:endParaRPr>
          </a:p>
          <a:p>
            <a:pPr marL="186055" indent="-173990">
              <a:lnSpc>
                <a:spcPct val="100000"/>
              </a:lnSpc>
              <a:spcBef>
                <a:spcPts val="204"/>
              </a:spcBef>
              <a:buClr>
                <a:srgbClr val="006FAC"/>
              </a:buClr>
              <a:buFont typeface="Wingdings"/>
              <a:buChar char=""/>
              <a:tabLst>
                <a:tab pos="186690" algn="l"/>
              </a:tabLst>
            </a:pPr>
            <a:r>
              <a:rPr sz="900" b="1" spc="-5">
                <a:latin typeface="Verdana"/>
                <a:cs typeface="Verdana"/>
              </a:rPr>
              <a:t>Keeps historical</a:t>
            </a:r>
            <a:r>
              <a:rPr sz="900" b="1" spc="-20">
                <a:latin typeface="Verdana"/>
                <a:cs typeface="Verdana"/>
              </a:rPr>
              <a:t> </a:t>
            </a:r>
            <a:r>
              <a:rPr sz="900" b="1" spc="-5">
                <a:latin typeface="Verdana"/>
                <a:cs typeface="Verdana"/>
              </a:rPr>
              <a:t>data</a:t>
            </a:r>
            <a:endParaRPr sz="900">
              <a:latin typeface="Verdana"/>
              <a:cs typeface="Verdana"/>
            </a:endParaRPr>
          </a:p>
        </p:txBody>
      </p:sp>
      <p:sp>
        <p:nvSpPr>
          <p:cNvPr id="43" name="object 43"/>
          <p:cNvSpPr/>
          <p:nvPr/>
        </p:nvSpPr>
        <p:spPr>
          <a:xfrm>
            <a:off x="4310634" y="5365241"/>
            <a:ext cx="1521460" cy="634365"/>
          </a:xfrm>
          <a:custGeom>
            <a:avLst/>
            <a:gdLst/>
            <a:ahLst/>
            <a:cxnLst/>
            <a:rect l="l" t="t" r="r" b="b"/>
            <a:pathLst>
              <a:path w="1521460" h="634364">
                <a:moveTo>
                  <a:pt x="0" y="633984"/>
                </a:moveTo>
                <a:lnTo>
                  <a:pt x="1520952" y="633984"/>
                </a:lnTo>
                <a:lnTo>
                  <a:pt x="1520952" y="0"/>
                </a:lnTo>
                <a:lnTo>
                  <a:pt x="0" y="0"/>
                </a:lnTo>
                <a:lnTo>
                  <a:pt x="0" y="633984"/>
                </a:lnTo>
                <a:close/>
              </a:path>
            </a:pathLst>
          </a:custGeom>
          <a:ln w="19811">
            <a:solidFill>
              <a:srgbClr val="7E7E7E"/>
            </a:solidFill>
            <a:prstDash val="sysDash"/>
          </a:ln>
        </p:spPr>
        <p:txBody>
          <a:bodyPr wrap="square" lIns="0" tIns="0" rIns="0" bIns="0" rtlCol="0"/>
          <a:lstStyle/>
          <a:p>
            <a:endParaRPr/>
          </a:p>
        </p:txBody>
      </p:sp>
      <p:sp>
        <p:nvSpPr>
          <p:cNvPr id="44" name="object 44"/>
          <p:cNvSpPr txBox="1"/>
          <p:nvPr/>
        </p:nvSpPr>
        <p:spPr>
          <a:xfrm>
            <a:off x="4529328" y="5541264"/>
            <a:ext cx="1099185" cy="312420"/>
          </a:xfrm>
          <a:prstGeom prst="rect">
            <a:avLst/>
          </a:prstGeom>
          <a:solidFill>
            <a:srgbClr val="006FAC"/>
          </a:solidFill>
        </p:spPr>
        <p:txBody>
          <a:bodyPr vert="horz" wrap="square" lIns="0" tIns="81280" rIns="0" bIns="0" rtlCol="0">
            <a:spAutoFit/>
          </a:bodyPr>
          <a:lstStyle/>
          <a:p>
            <a:pPr marL="339725">
              <a:lnSpc>
                <a:spcPct val="100000"/>
              </a:lnSpc>
              <a:spcBef>
                <a:spcPts val="640"/>
              </a:spcBef>
            </a:pPr>
            <a:r>
              <a:rPr sz="1000" b="1" spc="-10">
                <a:solidFill>
                  <a:srgbClr val="FFFFFF"/>
                </a:solidFill>
                <a:latin typeface="Verdana"/>
                <a:cs typeface="Verdana"/>
              </a:rPr>
              <a:t>APP</a:t>
            </a:r>
            <a:r>
              <a:rPr sz="1000" b="1">
                <a:solidFill>
                  <a:srgbClr val="FFFFFF"/>
                </a:solidFill>
                <a:latin typeface="Verdana"/>
                <a:cs typeface="Verdana"/>
              </a:rPr>
              <a:t> </a:t>
            </a:r>
            <a:r>
              <a:rPr sz="1000" b="1" spc="-5">
                <a:solidFill>
                  <a:srgbClr val="FFFFFF"/>
                </a:solidFill>
                <a:latin typeface="Verdana"/>
                <a:cs typeface="Verdana"/>
              </a:rPr>
              <a:t>1</a:t>
            </a:r>
            <a:endParaRPr sz="1000">
              <a:latin typeface="Verdana"/>
              <a:cs typeface="Verdana"/>
            </a:endParaRPr>
          </a:p>
        </p:txBody>
      </p:sp>
      <p:sp>
        <p:nvSpPr>
          <p:cNvPr id="45" name="object 45"/>
          <p:cNvSpPr/>
          <p:nvPr/>
        </p:nvSpPr>
        <p:spPr>
          <a:xfrm>
            <a:off x="6560057" y="5365241"/>
            <a:ext cx="1569720" cy="634365"/>
          </a:xfrm>
          <a:custGeom>
            <a:avLst/>
            <a:gdLst/>
            <a:ahLst/>
            <a:cxnLst/>
            <a:rect l="l" t="t" r="r" b="b"/>
            <a:pathLst>
              <a:path w="1569720" h="634364">
                <a:moveTo>
                  <a:pt x="0" y="633984"/>
                </a:moveTo>
                <a:lnTo>
                  <a:pt x="1569720" y="633984"/>
                </a:lnTo>
                <a:lnTo>
                  <a:pt x="1569720" y="0"/>
                </a:lnTo>
                <a:lnTo>
                  <a:pt x="0" y="0"/>
                </a:lnTo>
                <a:lnTo>
                  <a:pt x="0" y="633984"/>
                </a:lnTo>
                <a:close/>
              </a:path>
            </a:pathLst>
          </a:custGeom>
          <a:ln w="19812">
            <a:solidFill>
              <a:srgbClr val="7E7E7E"/>
            </a:solidFill>
            <a:prstDash val="sysDash"/>
          </a:ln>
        </p:spPr>
        <p:txBody>
          <a:bodyPr wrap="square" lIns="0" tIns="0" rIns="0" bIns="0" rtlCol="0"/>
          <a:lstStyle/>
          <a:p>
            <a:endParaRPr/>
          </a:p>
        </p:txBody>
      </p:sp>
      <p:sp>
        <p:nvSpPr>
          <p:cNvPr id="46" name="object 46"/>
          <p:cNvSpPr txBox="1"/>
          <p:nvPr/>
        </p:nvSpPr>
        <p:spPr>
          <a:xfrm>
            <a:off x="6824471" y="5527547"/>
            <a:ext cx="1135380" cy="321945"/>
          </a:xfrm>
          <a:prstGeom prst="rect">
            <a:avLst/>
          </a:prstGeom>
          <a:solidFill>
            <a:srgbClr val="12ABDB"/>
          </a:solidFill>
        </p:spPr>
        <p:txBody>
          <a:bodyPr vert="horz" wrap="square" lIns="0" tIns="85090" rIns="0" bIns="0" rtlCol="0">
            <a:spAutoFit/>
          </a:bodyPr>
          <a:lstStyle/>
          <a:p>
            <a:pPr marL="358775">
              <a:lnSpc>
                <a:spcPct val="100000"/>
              </a:lnSpc>
              <a:spcBef>
                <a:spcPts val="670"/>
              </a:spcBef>
            </a:pPr>
            <a:r>
              <a:rPr sz="1000" b="1" spc="-10">
                <a:solidFill>
                  <a:srgbClr val="FFFFFF"/>
                </a:solidFill>
                <a:latin typeface="Verdana"/>
                <a:cs typeface="Verdana"/>
              </a:rPr>
              <a:t>APP</a:t>
            </a:r>
            <a:r>
              <a:rPr sz="1000" b="1" spc="5">
                <a:solidFill>
                  <a:srgbClr val="FFFFFF"/>
                </a:solidFill>
                <a:latin typeface="Verdana"/>
                <a:cs typeface="Verdana"/>
              </a:rPr>
              <a:t> </a:t>
            </a:r>
            <a:r>
              <a:rPr sz="1000" b="1" spc="-5">
                <a:solidFill>
                  <a:srgbClr val="FFFFFF"/>
                </a:solidFill>
                <a:latin typeface="Verdana"/>
                <a:cs typeface="Verdana"/>
              </a:rPr>
              <a:t>1</a:t>
            </a:r>
            <a:endParaRPr sz="1000">
              <a:latin typeface="Verdana"/>
              <a:cs typeface="Verdana"/>
            </a:endParaRPr>
          </a:p>
        </p:txBody>
      </p:sp>
      <p:sp>
        <p:nvSpPr>
          <p:cNvPr id="47" name="object 47"/>
          <p:cNvSpPr/>
          <p:nvPr/>
        </p:nvSpPr>
        <p:spPr>
          <a:xfrm>
            <a:off x="6559295" y="4942332"/>
            <a:ext cx="1584960" cy="376555"/>
          </a:xfrm>
          <a:custGeom>
            <a:avLst/>
            <a:gdLst/>
            <a:ahLst/>
            <a:cxnLst/>
            <a:rect l="l" t="t" r="r" b="b"/>
            <a:pathLst>
              <a:path w="1584959" h="376554">
                <a:moveTo>
                  <a:pt x="0" y="376428"/>
                </a:moveTo>
                <a:lnTo>
                  <a:pt x="1584959" y="376428"/>
                </a:lnTo>
                <a:lnTo>
                  <a:pt x="1584959" y="0"/>
                </a:lnTo>
                <a:lnTo>
                  <a:pt x="0" y="0"/>
                </a:lnTo>
                <a:lnTo>
                  <a:pt x="0" y="376428"/>
                </a:lnTo>
                <a:close/>
              </a:path>
            </a:pathLst>
          </a:custGeom>
          <a:solidFill>
            <a:srgbClr val="421F5D"/>
          </a:solidFill>
        </p:spPr>
        <p:txBody>
          <a:bodyPr wrap="square" lIns="0" tIns="0" rIns="0" bIns="0" rtlCol="0"/>
          <a:lstStyle/>
          <a:p>
            <a:endParaRPr/>
          </a:p>
        </p:txBody>
      </p:sp>
      <p:sp>
        <p:nvSpPr>
          <p:cNvPr id="48" name="object 48"/>
          <p:cNvSpPr txBox="1"/>
          <p:nvPr/>
        </p:nvSpPr>
        <p:spPr>
          <a:xfrm>
            <a:off x="6979666" y="5037582"/>
            <a:ext cx="746760" cy="186690"/>
          </a:xfrm>
          <a:prstGeom prst="rect">
            <a:avLst/>
          </a:prstGeom>
        </p:spPr>
        <p:txBody>
          <a:bodyPr vert="horz" wrap="square" lIns="0" tIns="13335" rIns="0" bIns="0" rtlCol="0">
            <a:spAutoFit/>
          </a:bodyPr>
          <a:lstStyle/>
          <a:p>
            <a:pPr marL="12700">
              <a:lnSpc>
                <a:spcPct val="100000"/>
              </a:lnSpc>
              <a:spcBef>
                <a:spcPts val="105"/>
              </a:spcBef>
            </a:pPr>
            <a:r>
              <a:rPr sz="1050" b="1">
                <a:solidFill>
                  <a:srgbClr val="FFFFFF"/>
                </a:solidFill>
                <a:latin typeface="Verdana"/>
                <a:cs typeface="Verdana"/>
              </a:rPr>
              <a:t>TEST</a:t>
            </a:r>
            <a:r>
              <a:rPr sz="1050" b="1" spc="-85">
                <a:solidFill>
                  <a:srgbClr val="FFFFFF"/>
                </a:solidFill>
                <a:latin typeface="Verdana"/>
                <a:cs typeface="Verdana"/>
              </a:rPr>
              <a:t> </a:t>
            </a:r>
            <a:r>
              <a:rPr sz="1050" b="1">
                <a:solidFill>
                  <a:srgbClr val="FFFFFF"/>
                </a:solidFill>
                <a:latin typeface="Verdana"/>
                <a:cs typeface="Verdana"/>
              </a:rPr>
              <a:t>ENV</a:t>
            </a:r>
            <a:endParaRPr sz="1050">
              <a:latin typeface="Verdana"/>
              <a:cs typeface="Verdana"/>
            </a:endParaRPr>
          </a:p>
        </p:txBody>
      </p:sp>
      <p:sp>
        <p:nvSpPr>
          <p:cNvPr id="49" name="object 49"/>
          <p:cNvSpPr/>
          <p:nvPr/>
        </p:nvSpPr>
        <p:spPr>
          <a:xfrm>
            <a:off x="4309871" y="4942332"/>
            <a:ext cx="1521460" cy="379730"/>
          </a:xfrm>
          <a:custGeom>
            <a:avLst/>
            <a:gdLst/>
            <a:ahLst/>
            <a:cxnLst/>
            <a:rect l="l" t="t" r="r" b="b"/>
            <a:pathLst>
              <a:path w="1521460" h="379729">
                <a:moveTo>
                  <a:pt x="0" y="379476"/>
                </a:moveTo>
                <a:lnTo>
                  <a:pt x="1520952" y="379476"/>
                </a:lnTo>
                <a:lnTo>
                  <a:pt x="1520952" y="0"/>
                </a:lnTo>
                <a:lnTo>
                  <a:pt x="0" y="0"/>
                </a:lnTo>
                <a:lnTo>
                  <a:pt x="0" y="379476"/>
                </a:lnTo>
                <a:close/>
              </a:path>
            </a:pathLst>
          </a:custGeom>
          <a:solidFill>
            <a:srgbClr val="421F5D"/>
          </a:solidFill>
        </p:spPr>
        <p:txBody>
          <a:bodyPr wrap="square" lIns="0" tIns="0" rIns="0" bIns="0" rtlCol="0"/>
          <a:lstStyle/>
          <a:p>
            <a:endParaRPr/>
          </a:p>
        </p:txBody>
      </p:sp>
      <p:sp>
        <p:nvSpPr>
          <p:cNvPr id="50" name="object 50"/>
          <p:cNvSpPr txBox="1"/>
          <p:nvPr/>
        </p:nvSpPr>
        <p:spPr>
          <a:xfrm>
            <a:off x="4310634" y="5039359"/>
            <a:ext cx="1521460" cy="186690"/>
          </a:xfrm>
          <a:prstGeom prst="rect">
            <a:avLst/>
          </a:prstGeom>
        </p:spPr>
        <p:txBody>
          <a:bodyPr vert="horz" wrap="square" lIns="0" tIns="13335" rIns="0" bIns="0" rtlCol="0">
            <a:spAutoFit/>
          </a:bodyPr>
          <a:lstStyle/>
          <a:p>
            <a:pPr marL="430530">
              <a:lnSpc>
                <a:spcPct val="100000"/>
              </a:lnSpc>
              <a:spcBef>
                <a:spcPts val="105"/>
              </a:spcBef>
            </a:pPr>
            <a:r>
              <a:rPr sz="1050" b="1">
                <a:solidFill>
                  <a:srgbClr val="FFFFFF"/>
                </a:solidFill>
                <a:latin typeface="Verdana"/>
                <a:cs typeface="Verdana"/>
              </a:rPr>
              <a:t>DEV</a:t>
            </a:r>
            <a:r>
              <a:rPr sz="1050" b="1" spc="-25">
                <a:solidFill>
                  <a:srgbClr val="FFFFFF"/>
                </a:solidFill>
                <a:latin typeface="Verdana"/>
                <a:cs typeface="Verdana"/>
              </a:rPr>
              <a:t> </a:t>
            </a:r>
            <a:r>
              <a:rPr sz="1050" b="1">
                <a:solidFill>
                  <a:srgbClr val="FFFFFF"/>
                </a:solidFill>
                <a:latin typeface="Verdana"/>
                <a:cs typeface="Verdana"/>
              </a:rPr>
              <a:t>ENV</a:t>
            </a:r>
            <a:endParaRPr sz="1050">
              <a:latin typeface="Verdana"/>
              <a:cs typeface="Verdana"/>
            </a:endParaRPr>
          </a:p>
        </p:txBody>
      </p:sp>
      <p:sp>
        <p:nvSpPr>
          <p:cNvPr id="51" name="object 51"/>
          <p:cNvSpPr/>
          <p:nvPr/>
        </p:nvSpPr>
        <p:spPr>
          <a:xfrm>
            <a:off x="8295893" y="5223509"/>
            <a:ext cx="889000" cy="775970"/>
          </a:xfrm>
          <a:custGeom>
            <a:avLst/>
            <a:gdLst/>
            <a:ahLst/>
            <a:cxnLst/>
            <a:rect l="l" t="t" r="r" b="b"/>
            <a:pathLst>
              <a:path w="889000" h="775970">
                <a:moveTo>
                  <a:pt x="0" y="775715"/>
                </a:moveTo>
                <a:lnTo>
                  <a:pt x="888492" y="775715"/>
                </a:lnTo>
                <a:lnTo>
                  <a:pt x="888492" y="0"/>
                </a:lnTo>
                <a:lnTo>
                  <a:pt x="0" y="0"/>
                </a:lnTo>
                <a:lnTo>
                  <a:pt x="0" y="775715"/>
                </a:lnTo>
                <a:close/>
              </a:path>
            </a:pathLst>
          </a:custGeom>
          <a:ln w="19811">
            <a:solidFill>
              <a:srgbClr val="7E7E7E"/>
            </a:solidFill>
            <a:prstDash val="sysDash"/>
          </a:ln>
        </p:spPr>
        <p:txBody>
          <a:bodyPr wrap="square" lIns="0" tIns="0" rIns="0" bIns="0" rtlCol="0"/>
          <a:lstStyle/>
          <a:p>
            <a:endParaRPr/>
          </a:p>
        </p:txBody>
      </p:sp>
      <p:sp>
        <p:nvSpPr>
          <p:cNvPr id="52" name="object 52"/>
          <p:cNvSpPr/>
          <p:nvPr/>
        </p:nvSpPr>
        <p:spPr>
          <a:xfrm>
            <a:off x="8295131" y="4930140"/>
            <a:ext cx="897890" cy="320040"/>
          </a:xfrm>
          <a:custGeom>
            <a:avLst/>
            <a:gdLst/>
            <a:ahLst/>
            <a:cxnLst/>
            <a:rect l="l" t="t" r="r" b="b"/>
            <a:pathLst>
              <a:path w="897890" h="320039">
                <a:moveTo>
                  <a:pt x="0" y="320039"/>
                </a:moveTo>
                <a:lnTo>
                  <a:pt x="897635" y="320039"/>
                </a:lnTo>
                <a:lnTo>
                  <a:pt x="897635" y="0"/>
                </a:lnTo>
                <a:lnTo>
                  <a:pt x="0" y="0"/>
                </a:lnTo>
                <a:lnTo>
                  <a:pt x="0" y="320039"/>
                </a:lnTo>
                <a:close/>
              </a:path>
            </a:pathLst>
          </a:custGeom>
          <a:solidFill>
            <a:srgbClr val="12ABDB"/>
          </a:solidFill>
        </p:spPr>
        <p:txBody>
          <a:bodyPr wrap="square" lIns="0" tIns="0" rIns="0" bIns="0" rtlCol="0"/>
          <a:lstStyle/>
          <a:p>
            <a:endParaRPr/>
          </a:p>
        </p:txBody>
      </p:sp>
      <p:sp>
        <p:nvSpPr>
          <p:cNvPr id="53" name="object 53"/>
          <p:cNvSpPr txBox="1"/>
          <p:nvPr/>
        </p:nvSpPr>
        <p:spPr>
          <a:xfrm>
            <a:off x="8305800" y="4930140"/>
            <a:ext cx="868680" cy="320040"/>
          </a:xfrm>
          <a:prstGeom prst="rect">
            <a:avLst/>
          </a:prstGeom>
          <a:solidFill>
            <a:srgbClr val="12ABDB"/>
          </a:solidFill>
        </p:spPr>
        <p:txBody>
          <a:bodyPr vert="horz" wrap="square" lIns="0" tIns="38100" rIns="0" bIns="0" rtlCol="0">
            <a:spAutoFit/>
          </a:bodyPr>
          <a:lstStyle/>
          <a:p>
            <a:pPr marL="184150" marR="61594" indent="-105410">
              <a:lnSpc>
                <a:spcPct val="100000"/>
              </a:lnSpc>
              <a:spcBef>
                <a:spcPts val="300"/>
              </a:spcBef>
            </a:pPr>
            <a:r>
              <a:rPr sz="800" b="1" spc="-5">
                <a:solidFill>
                  <a:srgbClr val="FFFFFF"/>
                </a:solidFill>
                <a:latin typeface="Verdana"/>
                <a:cs typeface="Verdana"/>
              </a:rPr>
              <a:t>A</a:t>
            </a:r>
            <a:r>
              <a:rPr sz="800" b="1" spc="-10">
                <a:solidFill>
                  <a:srgbClr val="FFFFFF"/>
                </a:solidFill>
                <a:latin typeface="Verdana"/>
                <a:cs typeface="Verdana"/>
              </a:rPr>
              <a:t>U</a:t>
            </a:r>
            <a:r>
              <a:rPr sz="800" b="1">
                <a:solidFill>
                  <a:srgbClr val="FFFFFF"/>
                </a:solidFill>
                <a:latin typeface="Verdana"/>
                <a:cs typeface="Verdana"/>
              </a:rPr>
              <a:t>T</a:t>
            </a:r>
            <a:r>
              <a:rPr sz="800" b="1" spc="-5">
                <a:solidFill>
                  <a:srgbClr val="FFFFFF"/>
                </a:solidFill>
                <a:latin typeface="Verdana"/>
                <a:cs typeface="Verdana"/>
              </a:rPr>
              <a:t>O</a:t>
            </a:r>
            <a:r>
              <a:rPr sz="800" b="1" spc="5">
                <a:solidFill>
                  <a:srgbClr val="FFFFFF"/>
                </a:solidFill>
                <a:latin typeface="Verdana"/>
                <a:cs typeface="Verdana"/>
              </a:rPr>
              <a:t>M</a:t>
            </a:r>
            <a:r>
              <a:rPr sz="800" b="1" spc="-5">
                <a:solidFill>
                  <a:srgbClr val="FFFFFF"/>
                </a:solidFill>
                <a:latin typeface="Verdana"/>
                <a:cs typeface="Verdana"/>
              </a:rPr>
              <a:t>A</a:t>
            </a:r>
            <a:r>
              <a:rPr sz="800" b="1">
                <a:solidFill>
                  <a:srgbClr val="FFFFFF"/>
                </a:solidFill>
                <a:latin typeface="Verdana"/>
                <a:cs typeface="Verdana"/>
              </a:rPr>
              <a:t>TED  TESTING</a:t>
            </a:r>
            <a:endParaRPr sz="800">
              <a:latin typeface="Verdana"/>
              <a:cs typeface="Verdana"/>
            </a:endParaRPr>
          </a:p>
        </p:txBody>
      </p:sp>
      <p:sp>
        <p:nvSpPr>
          <p:cNvPr id="54" name="object 54"/>
          <p:cNvSpPr/>
          <p:nvPr/>
        </p:nvSpPr>
        <p:spPr>
          <a:xfrm>
            <a:off x="8418576" y="5305044"/>
            <a:ext cx="672083" cy="646176"/>
          </a:xfrm>
          <a:prstGeom prst="rect">
            <a:avLst/>
          </a:prstGeom>
          <a:blipFill>
            <a:blip r:embed="rId6" cstate="print"/>
            <a:stretch>
              <a:fillRect/>
            </a:stretch>
          </a:blipFill>
        </p:spPr>
        <p:txBody>
          <a:bodyPr wrap="square" lIns="0" tIns="0" rIns="0" bIns="0" rtlCol="0"/>
          <a:lstStyle/>
          <a:p>
            <a:endParaRPr/>
          </a:p>
        </p:txBody>
      </p:sp>
      <p:sp>
        <p:nvSpPr>
          <p:cNvPr id="55" name="object 55"/>
          <p:cNvSpPr/>
          <p:nvPr/>
        </p:nvSpPr>
        <p:spPr>
          <a:xfrm>
            <a:off x="2977895" y="2534394"/>
            <a:ext cx="518159" cy="510557"/>
          </a:xfrm>
          <a:prstGeom prst="rect">
            <a:avLst/>
          </a:prstGeom>
          <a:blipFill>
            <a:blip r:embed="rId3" cstate="print"/>
            <a:stretch>
              <a:fillRect/>
            </a:stretch>
          </a:blipFill>
        </p:spPr>
        <p:txBody>
          <a:bodyPr wrap="square" lIns="0" tIns="0" rIns="0" bIns="0" rtlCol="0"/>
          <a:lstStyle/>
          <a:p>
            <a:endParaRPr/>
          </a:p>
        </p:txBody>
      </p:sp>
      <p:sp>
        <p:nvSpPr>
          <p:cNvPr id="56" name="object 56"/>
          <p:cNvSpPr/>
          <p:nvPr/>
        </p:nvSpPr>
        <p:spPr>
          <a:xfrm>
            <a:off x="3230626" y="3044951"/>
            <a:ext cx="2592705" cy="986790"/>
          </a:xfrm>
          <a:custGeom>
            <a:avLst/>
            <a:gdLst/>
            <a:ahLst/>
            <a:cxnLst/>
            <a:rect l="l" t="t" r="r" b="b"/>
            <a:pathLst>
              <a:path w="2592704" h="986789">
                <a:moveTo>
                  <a:pt x="2516251" y="910082"/>
                </a:moveTo>
                <a:lnTo>
                  <a:pt x="2516251" y="986282"/>
                </a:lnTo>
                <a:lnTo>
                  <a:pt x="2579751" y="954532"/>
                </a:lnTo>
                <a:lnTo>
                  <a:pt x="2528951" y="954532"/>
                </a:lnTo>
                <a:lnTo>
                  <a:pt x="2528951" y="941832"/>
                </a:lnTo>
                <a:lnTo>
                  <a:pt x="2579751" y="941832"/>
                </a:lnTo>
                <a:lnTo>
                  <a:pt x="2516251" y="910082"/>
                </a:lnTo>
                <a:close/>
              </a:path>
              <a:path w="2592704" h="986789">
                <a:moveTo>
                  <a:pt x="12700" y="0"/>
                </a:moveTo>
                <a:lnTo>
                  <a:pt x="0" y="0"/>
                </a:lnTo>
                <a:lnTo>
                  <a:pt x="0" y="954532"/>
                </a:lnTo>
                <a:lnTo>
                  <a:pt x="2516251" y="954532"/>
                </a:lnTo>
                <a:lnTo>
                  <a:pt x="2516251" y="948182"/>
                </a:lnTo>
                <a:lnTo>
                  <a:pt x="12700" y="948182"/>
                </a:lnTo>
                <a:lnTo>
                  <a:pt x="6350" y="941832"/>
                </a:lnTo>
                <a:lnTo>
                  <a:pt x="12700" y="941832"/>
                </a:lnTo>
                <a:lnTo>
                  <a:pt x="12700" y="0"/>
                </a:lnTo>
                <a:close/>
              </a:path>
              <a:path w="2592704" h="986789">
                <a:moveTo>
                  <a:pt x="2579751" y="941832"/>
                </a:moveTo>
                <a:lnTo>
                  <a:pt x="2528951" y="941832"/>
                </a:lnTo>
                <a:lnTo>
                  <a:pt x="2528951" y="954532"/>
                </a:lnTo>
                <a:lnTo>
                  <a:pt x="2579751" y="954532"/>
                </a:lnTo>
                <a:lnTo>
                  <a:pt x="2592451" y="948182"/>
                </a:lnTo>
                <a:lnTo>
                  <a:pt x="2579751" y="941832"/>
                </a:lnTo>
                <a:close/>
              </a:path>
              <a:path w="2592704" h="986789">
                <a:moveTo>
                  <a:pt x="12700" y="941832"/>
                </a:moveTo>
                <a:lnTo>
                  <a:pt x="6350" y="941832"/>
                </a:lnTo>
                <a:lnTo>
                  <a:pt x="12700" y="948182"/>
                </a:lnTo>
                <a:lnTo>
                  <a:pt x="12700" y="941832"/>
                </a:lnTo>
                <a:close/>
              </a:path>
              <a:path w="2592704" h="986789">
                <a:moveTo>
                  <a:pt x="2516251" y="941832"/>
                </a:moveTo>
                <a:lnTo>
                  <a:pt x="12700" y="941832"/>
                </a:lnTo>
                <a:lnTo>
                  <a:pt x="12700" y="948182"/>
                </a:lnTo>
                <a:lnTo>
                  <a:pt x="2516251" y="948182"/>
                </a:lnTo>
                <a:lnTo>
                  <a:pt x="2516251" y="941832"/>
                </a:lnTo>
                <a:close/>
              </a:path>
            </a:pathLst>
          </a:custGeom>
          <a:solidFill>
            <a:srgbClr val="7E7E7E"/>
          </a:solidFill>
        </p:spPr>
        <p:txBody>
          <a:bodyPr wrap="square" lIns="0" tIns="0" rIns="0" bIns="0" rtlCol="0"/>
          <a:lstStyle/>
          <a:p>
            <a:endParaRPr/>
          </a:p>
        </p:txBody>
      </p:sp>
      <p:sp>
        <p:nvSpPr>
          <p:cNvPr id="57" name="object 57"/>
          <p:cNvSpPr/>
          <p:nvPr/>
        </p:nvSpPr>
        <p:spPr>
          <a:xfrm>
            <a:off x="2369820" y="1994661"/>
            <a:ext cx="607695" cy="829310"/>
          </a:xfrm>
          <a:custGeom>
            <a:avLst/>
            <a:gdLst/>
            <a:ahLst/>
            <a:cxnLst/>
            <a:rect l="l" t="t" r="r" b="b"/>
            <a:pathLst>
              <a:path w="607694" h="829310">
                <a:moveTo>
                  <a:pt x="530987" y="753110"/>
                </a:moveTo>
                <a:lnTo>
                  <a:pt x="530987" y="829310"/>
                </a:lnTo>
                <a:lnTo>
                  <a:pt x="594487" y="797560"/>
                </a:lnTo>
                <a:lnTo>
                  <a:pt x="543687" y="797560"/>
                </a:lnTo>
                <a:lnTo>
                  <a:pt x="543687" y="784860"/>
                </a:lnTo>
                <a:lnTo>
                  <a:pt x="594487" y="784860"/>
                </a:lnTo>
                <a:lnTo>
                  <a:pt x="530987" y="753110"/>
                </a:lnTo>
                <a:close/>
              </a:path>
              <a:path w="607694" h="829310">
                <a:moveTo>
                  <a:pt x="297180" y="6350"/>
                </a:moveTo>
                <a:lnTo>
                  <a:pt x="297180" y="797560"/>
                </a:lnTo>
                <a:lnTo>
                  <a:pt x="530987" y="797560"/>
                </a:lnTo>
                <a:lnTo>
                  <a:pt x="530987" y="791210"/>
                </a:lnTo>
                <a:lnTo>
                  <a:pt x="309880" y="791210"/>
                </a:lnTo>
                <a:lnTo>
                  <a:pt x="303530" y="784860"/>
                </a:lnTo>
                <a:lnTo>
                  <a:pt x="309880" y="784860"/>
                </a:lnTo>
                <a:lnTo>
                  <a:pt x="309880" y="12700"/>
                </a:lnTo>
                <a:lnTo>
                  <a:pt x="303530" y="12700"/>
                </a:lnTo>
                <a:lnTo>
                  <a:pt x="297180" y="6350"/>
                </a:lnTo>
                <a:close/>
              </a:path>
              <a:path w="607694" h="829310">
                <a:moveTo>
                  <a:pt x="594487" y="784860"/>
                </a:moveTo>
                <a:lnTo>
                  <a:pt x="543687" y="784860"/>
                </a:lnTo>
                <a:lnTo>
                  <a:pt x="543687" y="797560"/>
                </a:lnTo>
                <a:lnTo>
                  <a:pt x="594487" y="797560"/>
                </a:lnTo>
                <a:lnTo>
                  <a:pt x="607187" y="791210"/>
                </a:lnTo>
                <a:lnTo>
                  <a:pt x="594487" y="784860"/>
                </a:lnTo>
                <a:close/>
              </a:path>
              <a:path w="607694" h="829310">
                <a:moveTo>
                  <a:pt x="309880" y="784860"/>
                </a:moveTo>
                <a:lnTo>
                  <a:pt x="303530" y="784860"/>
                </a:lnTo>
                <a:lnTo>
                  <a:pt x="309880" y="791210"/>
                </a:lnTo>
                <a:lnTo>
                  <a:pt x="309880" y="784860"/>
                </a:lnTo>
                <a:close/>
              </a:path>
              <a:path w="607694" h="829310">
                <a:moveTo>
                  <a:pt x="530987" y="784860"/>
                </a:moveTo>
                <a:lnTo>
                  <a:pt x="309880" y="784860"/>
                </a:lnTo>
                <a:lnTo>
                  <a:pt x="309880" y="791210"/>
                </a:lnTo>
                <a:lnTo>
                  <a:pt x="530987" y="791210"/>
                </a:lnTo>
                <a:lnTo>
                  <a:pt x="530987" y="784860"/>
                </a:lnTo>
                <a:close/>
              </a:path>
              <a:path w="607694" h="829310">
                <a:moveTo>
                  <a:pt x="309880" y="0"/>
                </a:moveTo>
                <a:lnTo>
                  <a:pt x="0" y="0"/>
                </a:lnTo>
                <a:lnTo>
                  <a:pt x="0" y="12700"/>
                </a:lnTo>
                <a:lnTo>
                  <a:pt x="297180" y="12700"/>
                </a:lnTo>
                <a:lnTo>
                  <a:pt x="297180" y="6350"/>
                </a:lnTo>
                <a:lnTo>
                  <a:pt x="309880" y="6350"/>
                </a:lnTo>
                <a:lnTo>
                  <a:pt x="309880" y="0"/>
                </a:lnTo>
                <a:close/>
              </a:path>
              <a:path w="607694" h="829310">
                <a:moveTo>
                  <a:pt x="309880" y="6350"/>
                </a:moveTo>
                <a:lnTo>
                  <a:pt x="297180" y="6350"/>
                </a:lnTo>
                <a:lnTo>
                  <a:pt x="303530" y="12700"/>
                </a:lnTo>
                <a:lnTo>
                  <a:pt x="309880" y="12700"/>
                </a:lnTo>
                <a:lnTo>
                  <a:pt x="309880" y="6350"/>
                </a:lnTo>
                <a:close/>
              </a:path>
            </a:pathLst>
          </a:custGeom>
          <a:solidFill>
            <a:srgbClr val="7E7E7E"/>
          </a:solidFill>
        </p:spPr>
        <p:txBody>
          <a:bodyPr wrap="square" lIns="0" tIns="0" rIns="0" bIns="0" rtlCol="0"/>
          <a:lstStyle/>
          <a:p>
            <a:endParaRPr/>
          </a:p>
        </p:txBody>
      </p:sp>
      <p:sp>
        <p:nvSpPr>
          <p:cNvPr id="58" name="object 58"/>
          <p:cNvSpPr/>
          <p:nvPr/>
        </p:nvSpPr>
        <p:spPr>
          <a:xfrm>
            <a:off x="2369820" y="2195829"/>
            <a:ext cx="607695" cy="629920"/>
          </a:xfrm>
          <a:custGeom>
            <a:avLst/>
            <a:gdLst/>
            <a:ahLst/>
            <a:cxnLst/>
            <a:rect l="l" t="t" r="r" b="b"/>
            <a:pathLst>
              <a:path w="607694" h="629919">
                <a:moveTo>
                  <a:pt x="530987" y="553212"/>
                </a:moveTo>
                <a:lnTo>
                  <a:pt x="530987" y="629412"/>
                </a:lnTo>
                <a:lnTo>
                  <a:pt x="594487" y="597662"/>
                </a:lnTo>
                <a:lnTo>
                  <a:pt x="543687" y="597662"/>
                </a:lnTo>
                <a:lnTo>
                  <a:pt x="543687" y="584962"/>
                </a:lnTo>
                <a:lnTo>
                  <a:pt x="594487" y="584962"/>
                </a:lnTo>
                <a:lnTo>
                  <a:pt x="530987" y="553212"/>
                </a:lnTo>
                <a:close/>
              </a:path>
              <a:path w="607694" h="629919">
                <a:moveTo>
                  <a:pt x="297180" y="6350"/>
                </a:moveTo>
                <a:lnTo>
                  <a:pt x="297180" y="597662"/>
                </a:lnTo>
                <a:lnTo>
                  <a:pt x="530987" y="597662"/>
                </a:lnTo>
                <a:lnTo>
                  <a:pt x="530987" y="591312"/>
                </a:lnTo>
                <a:lnTo>
                  <a:pt x="309880" y="591312"/>
                </a:lnTo>
                <a:lnTo>
                  <a:pt x="303530" y="584962"/>
                </a:lnTo>
                <a:lnTo>
                  <a:pt x="309880" y="584962"/>
                </a:lnTo>
                <a:lnTo>
                  <a:pt x="309880" y="12700"/>
                </a:lnTo>
                <a:lnTo>
                  <a:pt x="303530" y="12700"/>
                </a:lnTo>
                <a:lnTo>
                  <a:pt x="297180" y="6350"/>
                </a:lnTo>
                <a:close/>
              </a:path>
              <a:path w="607694" h="629919">
                <a:moveTo>
                  <a:pt x="594487" y="584962"/>
                </a:moveTo>
                <a:lnTo>
                  <a:pt x="543687" y="584962"/>
                </a:lnTo>
                <a:lnTo>
                  <a:pt x="543687" y="597662"/>
                </a:lnTo>
                <a:lnTo>
                  <a:pt x="594487" y="597662"/>
                </a:lnTo>
                <a:lnTo>
                  <a:pt x="607187" y="591312"/>
                </a:lnTo>
                <a:lnTo>
                  <a:pt x="594487" y="584962"/>
                </a:lnTo>
                <a:close/>
              </a:path>
              <a:path w="607694" h="629919">
                <a:moveTo>
                  <a:pt x="309880" y="584962"/>
                </a:moveTo>
                <a:lnTo>
                  <a:pt x="303530" y="584962"/>
                </a:lnTo>
                <a:lnTo>
                  <a:pt x="309880" y="591312"/>
                </a:lnTo>
                <a:lnTo>
                  <a:pt x="309880" y="584962"/>
                </a:lnTo>
                <a:close/>
              </a:path>
              <a:path w="607694" h="629919">
                <a:moveTo>
                  <a:pt x="530987" y="584962"/>
                </a:moveTo>
                <a:lnTo>
                  <a:pt x="309880" y="584962"/>
                </a:lnTo>
                <a:lnTo>
                  <a:pt x="309880" y="591312"/>
                </a:lnTo>
                <a:lnTo>
                  <a:pt x="530987" y="591312"/>
                </a:lnTo>
                <a:lnTo>
                  <a:pt x="530987" y="584962"/>
                </a:lnTo>
                <a:close/>
              </a:path>
              <a:path w="607694" h="629919">
                <a:moveTo>
                  <a:pt x="309880" y="0"/>
                </a:moveTo>
                <a:lnTo>
                  <a:pt x="0" y="0"/>
                </a:lnTo>
                <a:lnTo>
                  <a:pt x="0" y="12700"/>
                </a:lnTo>
                <a:lnTo>
                  <a:pt x="297180" y="12700"/>
                </a:lnTo>
                <a:lnTo>
                  <a:pt x="297180" y="6350"/>
                </a:lnTo>
                <a:lnTo>
                  <a:pt x="309880" y="6350"/>
                </a:lnTo>
                <a:lnTo>
                  <a:pt x="309880" y="0"/>
                </a:lnTo>
                <a:close/>
              </a:path>
              <a:path w="607694" h="629919">
                <a:moveTo>
                  <a:pt x="309880" y="6350"/>
                </a:moveTo>
                <a:lnTo>
                  <a:pt x="297180" y="6350"/>
                </a:lnTo>
                <a:lnTo>
                  <a:pt x="303530" y="12700"/>
                </a:lnTo>
                <a:lnTo>
                  <a:pt x="309880" y="12700"/>
                </a:lnTo>
                <a:lnTo>
                  <a:pt x="309880" y="6350"/>
                </a:lnTo>
                <a:close/>
              </a:path>
            </a:pathLst>
          </a:custGeom>
          <a:solidFill>
            <a:srgbClr val="7E7E7E"/>
          </a:solidFill>
        </p:spPr>
        <p:txBody>
          <a:bodyPr wrap="square" lIns="0" tIns="0" rIns="0" bIns="0" rtlCol="0"/>
          <a:lstStyle/>
          <a:p>
            <a:endParaRPr/>
          </a:p>
        </p:txBody>
      </p:sp>
      <p:sp>
        <p:nvSpPr>
          <p:cNvPr id="59" name="object 59"/>
          <p:cNvSpPr/>
          <p:nvPr/>
        </p:nvSpPr>
        <p:spPr>
          <a:xfrm>
            <a:off x="2369820" y="2395473"/>
            <a:ext cx="607695" cy="429895"/>
          </a:xfrm>
          <a:custGeom>
            <a:avLst/>
            <a:gdLst/>
            <a:ahLst/>
            <a:cxnLst/>
            <a:rect l="l" t="t" r="r" b="b"/>
            <a:pathLst>
              <a:path w="607694" h="429894">
                <a:moveTo>
                  <a:pt x="530987" y="353440"/>
                </a:moveTo>
                <a:lnTo>
                  <a:pt x="530987" y="429640"/>
                </a:lnTo>
                <a:lnTo>
                  <a:pt x="594487" y="397890"/>
                </a:lnTo>
                <a:lnTo>
                  <a:pt x="543687" y="397890"/>
                </a:lnTo>
                <a:lnTo>
                  <a:pt x="543687" y="385190"/>
                </a:lnTo>
                <a:lnTo>
                  <a:pt x="594487" y="385190"/>
                </a:lnTo>
                <a:lnTo>
                  <a:pt x="530987" y="353440"/>
                </a:lnTo>
                <a:close/>
              </a:path>
              <a:path w="607694" h="429894">
                <a:moveTo>
                  <a:pt x="297180" y="6350"/>
                </a:moveTo>
                <a:lnTo>
                  <a:pt x="297180" y="397890"/>
                </a:lnTo>
                <a:lnTo>
                  <a:pt x="530987" y="397890"/>
                </a:lnTo>
                <a:lnTo>
                  <a:pt x="530987" y="391540"/>
                </a:lnTo>
                <a:lnTo>
                  <a:pt x="309880" y="391540"/>
                </a:lnTo>
                <a:lnTo>
                  <a:pt x="303530" y="385190"/>
                </a:lnTo>
                <a:lnTo>
                  <a:pt x="309880" y="385190"/>
                </a:lnTo>
                <a:lnTo>
                  <a:pt x="309880" y="12700"/>
                </a:lnTo>
                <a:lnTo>
                  <a:pt x="303530" y="12700"/>
                </a:lnTo>
                <a:lnTo>
                  <a:pt x="297180" y="6350"/>
                </a:lnTo>
                <a:close/>
              </a:path>
              <a:path w="607694" h="429894">
                <a:moveTo>
                  <a:pt x="594487" y="385190"/>
                </a:moveTo>
                <a:lnTo>
                  <a:pt x="543687" y="385190"/>
                </a:lnTo>
                <a:lnTo>
                  <a:pt x="543687" y="397890"/>
                </a:lnTo>
                <a:lnTo>
                  <a:pt x="594487" y="397890"/>
                </a:lnTo>
                <a:lnTo>
                  <a:pt x="607187" y="391540"/>
                </a:lnTo>
                <a:lnTo>
                  <a:pt x="594487" y="385190"/>
                </a:lnTo>
                <a:close/>
              </a:path>
              <a:path w="607694" h="429894">
                <a:moveTo>
                  <a:pt x="309880" y="385190"/>
                </a:moveTo>
                <a:lnTo>
                  <a:pt x="303530" y="385190"/>
                </a:lnTo>
                <a:lnTo>
                  <a:pt x="309880" y="391540"/>
                </a:lnTo>
                <a:lnTo>
                  <a:pt x="309880" y="385190"/>
                </a:lnTo>
                <a:close/>
              </a:path>
              <a:path w="607694" h="429894">
                <a:moveTo>
                  <a:pt x="530987" y="385190"/>
                </a:moveTo>
                <a:lnTo>
                  <a:pt x="309880" y="385190"/>
                </a:lnTo>
                <a:lnTo>
                  <a:pt x="309880" y="391540"/>
                </a:lnTo>
                <a:lnTo>
                  <a:pt x="530987" y="391540"/>
                </a:lnTo>
                <a:lnTo>
                  <a:pt x="530987" y="385190"/>
                </a:lnTo>
                <a:close/>
              </a:path>
              <a:path w="607694" h="429894">
                <a:moveTo>
                  <a:pt x="309880" y="0"/>
                </a:moveTo>
                <a:lnTo>
                  <a:pt x="0" y="0"/>
                </a:lnTo>
                <a:lnTo>
                  <a:pt x="0" y="12700"/>
                </a:lnTo>
                <a:lnTo>
                  <a:pt x="297180" y="12700"/>
                </a:lnTo>
                <a:lnTo>
                  <a:pt x="297180" y="6350"/>
                </a:lnTo>
                <a:lnTo>
                  <a:pt x="309880" y="6350"/>
                </a:lnTo>
                <a:lnTo>
                  <a:pt x="309880" y="0"/>
                </a:lnTo>
                <a:close/>
              </a:path>
              <a:path w="607694" h="429894">
                <a:moveTo>
                  <a:pt x="309880" y="6350"/>
                </a:moveTo>
                <a:lnTo>
                  <a:pt x="297180" y="6350"/>
                </a:lnTo>
                <a:lnTo>
                  <a:pt x="303530" y="12700"/>
                </a:lnTo>
                <a:lnTo>
                  <a:pt x="309880" y="12700"/>
                </a:lnTo>
                <a:lnTo>
                  <a:pt x="309880" y="6350"/>
                </a:lnTo>
                <a:close/>
              </a:path>
            </a:pathLst>
          </a:custGeom>
          <a:solidFill>
            <a:srgbClr val="7E7E7E"/>
          </a:solidFill>
        </p:spPr>
        <p:txBody>
          <a:bodyPr wrap="square" lIns="0" tIns="0" rIns="0" bIns="0" rtlCol="0"/>
          <a:lstStyle/>
          <a:p>
            <a:endParaRPr/>
          </a:p>
        </p:txBody>
      </p:sp>
      <p:sp>
        <p:nvSpPr>
          <p:cNvPr id="60" name="object 60"/>
          <p:cNvSpPr/>
          <p:nvPr/>
        </p:nvSpPr>
        <p:spPr>
          <a:xfrm>
            <a:off x="1232916" y="4053840"/>
            <a:ext cx="471170" cy="1948180"/>
          </a:xfrm>
          <a:custGeom>
            <a:avLst/>
            <a:gdLst/>
            <a:ahLst/>
            <a:cxnLst/>
            <a:rect l="l" t="t" r="r" b="b"/>
            <a:pathLst>
              <a:path w="471169" h="1948179">
                <a:moveTo>
                  <a:pt x="0" y="1947672"/>
                </a:moveTo>
                <a:lnTo>
                  <a:pt x="470916" y="1947672"/>
                </a:lnTo>
                <a:lnTo>
                  <a:pt x="470916" y="0"/>
                </a:lnTo>
                <a:lnTo>
                  <a:pt x="0" y="0"/>
                </a:lnTo>
                <a:lnTo>
                  <a:pt x="0" y="1947672"/>
                </a:lnTo>
                <a:close/>
              </a:path>
            </a:pathLst>
          </a:custGeom>
          <a:solidFill>
            <a:srgbClr val="0D80A3"/>
          </a:solidFill>
        </p:spPr>
        <p:txBody>
          <a:bodyPr wrap="square" lIns="0" tIns="0" rIns="0" bIns="0" rtlCol="0"/>
          <a:lstStyle/>
          <a:p>
            <a:endParaRPr/>
          </a:p>
        </p:txBody>
      </p:sp>
      <p:sp>
        <p:nvSpPr>
          <p:cNvPr id="61" name="object 61"/>
          <p:cNvSpPr txBox="1"/>
          <p:nvPr/>
        </p:nvSpPr>
        <p:spPr>
          <a:xfrm>
            <a:off x="1379302" y="4518902"/>
            <a:ext cx="179705" cy="1022985"/>
          </a:xfrm>
          <a:prstGeom prst="rect">
            <a:avLst/>
          </a:prstGeom>
        </p:spPr>
        <p:txBody>
          <a:bodyPr vert="vert270" wrap="square" lIns="0" tIns="12700" rIns="0" bIns="0" rtlCol="0">
            <a:spAutoFit/>
          </a:bodyPr>
          <a:lstStyle/>
          <a:p>
            <a:pPr marL="12700">
              <a:lnSpc>
                <a:spcPct val="100000"/>
              </a:lnSpc>
              <a:spcBef>
                <a:spcPts val="100"/>
              </a:spcBef>
            </a:pPr>
            <a:r>
              <a:rPr sz="1000" b="1" spc="-10">
                <a:solidFill>
                  <a:srgbClr val="FFFFFF"/>
                </a:solidFill>
                <a:latin typeface="Verdana"/>
                <a:cs typeface="Verdana"/>
              </a:rPr>
              <a:t>Support</a:t>
            </a:r>
            <a:r>
              <a:rPr sz="1000" b="1" spc="-35">
                <a:solidFill>
                  <a:srgbClr val="FFFFFF"/>
                </a:solidFill>
                <a:latin typeface="Verdana"/>
                <a:cs typeface="Verdana"/>
              </a:rPr>
              <a:t> </a:t>
            </a:r>
            <a:r>
              <a:rPr sz="1000" b="1" spc="-10">
                <a:solidFill>
                  <a:srgbClr val="FFFFFF"/>
                </a:solidFill>
                <a:latin typeface="Verdana"/>
                <a:cs typeface="Verdana"/>
              </a:rPr>
              <a:t>Team</a:t>
            </a:r>
            <a:endParaRPr sz="1000">
              <a:latin typeface="Verdana"/>
              <a:cs typeface="Verdana"/>
            </a:endParaRPr>
          </a:p>
        </p:txBody>
      </p:sp>
      <p:sp>
        <p:nvSpPr>
          <p:cNvPr id="62" name="object 62"/>
          <p:cNvSpPr/>
          <p:nvPr/>
        </p:nvSpPr>
        <p:spPr>
          <a:xfrm>
            <a:off x="1703832" y="4053840"/>
            <a:ext cx="739140" cy="1948180"/>
          </a:xfrm>
          <a:custGeom>
            <a:avLst/>
            <a:gdLst/>
            <a:ahLst/>
            <a:cxnLst/>
            <a:rect l="l" t="t" r="r" b="b"/>
            <a:pathLst>
              <a:path w="739139" h="1948179">
                <a:moveTo>
                  <a:pt x="0" y="1947672"/>
                </a:moveTo>
                <a:lnTo>
                  <a:pt x="739140" y="1947672"/>
                </a:lnTo>
                <a:lnTo>
                  <a:pt x="739140" y="0"/>
                </a:lnTo>
                <a:lnTo>
                  <a:pt x="0" y="0"/>
                </a:lnTo>
                <a:lnTo>
                  <a:pt x="0" y="1947672"/>
                </a:lnTo>
                <a:close/>
              </a:path>
            </a:pathLst>
          </a:custGeom>
          <a:solidFill>
            <a:srgbClr val="D9D9D9"/>
          </a:solidFill>
        </p:spPr>
        <p:txBody>
          <a:bodyPr wrap="square" lIns="0" tIns="0" rIns="0" bIns="0" rtlCol="0"/>
          <a:lstStyle/>
          <a:p>
            <a:endParaRPr/>
          </a:p>
        </p:txBody>
      </p:sp>
      <p:sp>
        <p:nvSpPr>
          <p:cNvPr id="63" name="object 63"/>
          <p:cNvSpPr/>
          <p:nvPr/>
        </p:nvSpPr>
        <p:spPr>
          <a:xfrm>
            <a:off x="1834895" y="4111752"/>
            <a:ext cx="509270" cy="147955"/>
          </a:xfrm>
          <a:custGeom>
            <a:avLst/>
            <a:gdLst/>
            <a:ahLst/>
            <a:cxnLst/>
            <a:rect l="l" t="t" r="r" b="b"/>
            <a:pathLst>
              <a:path w="509269" h="147954">
                <a:moveTo>
                  <a:pt x="0" y="147828"/>
                </a:moveTo>
                <a:lnTo>
                  <a:pt x="509016" y="147828"/>
                </a:lnTo>
                <a:lnTo>
                  <a:pt x="509016" y="0"/>
                </a:lnTo>
                <a:lnTo>
                  <a:pt x="0" y="0"/>
                </a:lnTo>
                <a:lnTo>
                  <a:pt x="0" y="147828"/>
                </a:lnTo>
                <a:close/>
              </a:path>
            </a:pathLst>
          </a:custGeom>
          <a:solidFill>
            <a:srgbClr val="12ABDB"/>
          </a:solidFill>
        </p:spPr>
        <p:txBody>
          <a:bodyPr wrap="square" lIns="0" tIns="0" rIns="0" bIns="0" rtlCol="0"/>
          <a:lstStyle/>
          <a:p>
            <a:endParaRPr/>
          </a:p>
        </p:txBody>
      </p:sp>
      <p:sp>
        <p:nvSpPr>
          <p:cNvPr id="64" name="object 64"/>
          <p:cNvSpPr txBox="1"/>
          <p:nvPr/>
        </p:nvSpPr>
        <p:spPr>
          <a:xfrm>
            <a:off x="1834895" y="4128261"/>
            <a:ext cx="509270" cy="116839"/>
          </a:xfrm>
          <a:prstGeom prst="rect">
            <a:avLst/>
          </a:prstGeom>
        </p:spPr>
        <p:txBody>
          <a:bodyPr vert="horz" wrap="square" lIns="0" tIns="12700" rIns="0" bIns="0" rtlCol="0">
            <a:spAutoFit/>
          </a:bodyPr>
          <a:lstStyle/>
          <a:p>
            <a:pPr marL="128905">
              <a:lnSpc>
                <a:spcPct val="100000"/>
              </a:lnSpc>
              <a:spcBef>
                <a:spcPts val="100"/>
              </a:spcBef>
            </a:pPr>
            <a:r>
              <a:rPr sz="600" b="1">
                <a:solidFill>
                  <a:srgbClr val="FFFFFF"/>
                </a:solidFill>
                <a:latin typeface="Verdana"/>
                <a:cs typeface="Verdana"/>
              </a:rPr>
              <a:t>APP</a:t>
            </a:r>
            <a:r>
              <a:rPr sz="600" b="1" spc="-40">
                <a:solidFill>
                  <a:srgbClr val="FFFFFF"/>
                </a:solidFill>
                <a:latin typeface="Verdana"/>
                <a:cs typeface="Verdana"/>
              </a:rPr>
              <a:t> </a:t>
            </a:r>
            <a:r>
              <a:rPr sz="600" b="1">
                <a:solidFill>
                  <a:srgbClr val="FFFFFF"/>
                </a:solidFill>
                <a:latin typeface="Verdana"/>
                <a:cs typeface="Verdana"/>
              </a:rPr>
              <a:t>1</a:t>
            </a:r>
            <a:endParaRPr sz="600">
              <a:latin typeface="Verdana"/>
              <a:cs typeface="Verdana"/>
            </a:endParaRPr>
          </a:p>
        </p:txBody>
      </p:sp>
      <p:sp>
        <p:nvSpPr>
          <p:cNvPr id="65" name="object 65"/>
          <p:cNvSpPr/>
          <p:nvPr/>
        </p:nvSpPr>
        <p:spPr>
          <a:xfrm>
            <a:off x="1834895" y="4317491"/>
            <a:ext cx="509270" cy="147955"/>
          </a:xfrm>
          <a:custGeom>
            <a:avLst/>
            <a:gdLst/>
            <a:ahLst/>
            <a:cxnLst/>
            <a:rect l="l" t="t" r="r" b="b"/>
            <a:pathLst>
              <a:path w="509269" h="147954">
                <a:moveTo>
                  <a:pt x="0" y="147828"/>
                </a:moveTo>
                <a:lnTo>
                  <a:pt x="509016" y="147828"/>
                </a:lnTo>
                <a:lnTo>
                  <a:pt x="509016" y="0"/>
                </a:lnTo>
                <a:lnTo>
                  <a:pt x="0" y="0"/>
                </a:lnTo>
                <a:lnTo>
                  <a:pt x="0" y="147828"/>
                </a:lnTo>
                <a:close/>
              </a:path>
            </a:pathLst>
          </a:custGeom>
          <a:solidFill>
            <a:srgbClr val="CDEFFA"/>
          </a:solidFill>
        </p:spPr>
        <p:txBody>
          <a:bodyPr wrap="square" lIns="0" tIns="0" rIns="0" bIns="0" rtlCol="0"/>
          <a:lstStyle/>
          <a:p>
            <a:endParaRPr/>
          </a:p>
        </p:txBody>
      </p:sp>
      <p:sp>
        <p:nvSpPr>
          <p:cNvPr id="66" name="object 66"/>
          <p:cNvSpPr txBox="1"/>
          <p:nvPr/>
        </p:nvSpPr>
        <p:spPr>
          <a:xfrm>
            <a:off x="1834895" y="4333747"/>
            <a:ext cx="509270" cy="116839"/>
          </a:xfrm>
          <a:prstGeom prst="rect">
            <a:avLst/>
          </a:prstGeom>
        </p:spPr>
        <p:txBody>
          <a:bodyPr vert="horz" wrap="square" lIns="0" tIns="12700" rIns="0" bIns="0" rtlCol="0">
            <a:spAutoFit/>
          </a:bodyPr>
          <a:lstStyle/>
          <a:p>
            <a:pPr marL="128905">
              <a:lnSpc>
                <a:spcPct val="100000"/>
              </a:lnSpc>
              <a:spcBef>
                <a:spcPts val="100"/>
              </a:spcBef>
            </a:pPr>
            <a:r>
              <a:rPr sz="600" b="1">
                <a:solidFill>
                  <a:srgbClr val="16091F"/>
                </a:solidFill>
                <a:latin typeface="Verdana"/>
                <a:cs typeface="Verdana"/>
              </a:rPr>
              <a:t>APP</a:t>
            </a:r>
            <a:r>
              <a:rPr sz="600" b="1" spc="-40">
                <a:solidFill>
                  <a:srgbClr val="16091F"/>
                </a:solidFill>
                <a:latin typeface="Verdana"/>
                <a:cs typeface="Verdana"/>
              </a:rPr>
              <a:t> </a:t>
            </a:r>
            <a:r>
              <a:rPr sz="600" b="1">
                <a:solidFill>
                  <a:srgbClr val="16091F"/>
                </a:solidFill>
                <a:latin typeface="Verdana"/>
                <a:cs typeface="Verdana"/>
              </a:rPr>
              <a:t>2</a:t>
            </a:r>
            <a:endParaRPr sz="600">
              <a:latin typeface="Verdana"/>
              <a:cs typeface="Verdana"/>
            </a:endParaRPr>
          </a:p>
        </p:txBody>
      </p:sp>
      <p:sp>
        <p:nvSpPr>
          <p:cNvPr id="67" name="object 67"/>
          <p:cNvSpPr/>
          <p:nvPr/>
        </p:nvSpPr>
        <p:spPr>
          <a:xfrm>
            <a:off x="1834895" y="4517135"/>
            <a:ext cx="509270" cy="147955"/>
          </a:xfrm>
          <a:custGeom>
            <a:avLst/>
            <a:gdLst/>
            <a:ahLst/>
            <a:cxnLst/>
            <a:rect l="l" t="t" r="r" b="b"/>
            <a:pathLst>
              <a:path w="509269" h="147954">
                <a:moveTo>
                  <a:pt x="0" y="147827"/>
                </a:moveTo>
                <a:lnTo>
                  <a:pt x="509016" y="147827"/>
                </a:lnTo>
                <a:lnTo>
                  <a:pt x="509016" y="0"/>
                </a:lnTo>
                <a:lnTo>
                  <a:pt x="0" y="0"/>
                </a:lnTo>
                <a:lnTo>
                  <a:pt x="0" y="147827"/>
                </a:lnTo>
                <a:close/>
              </a:path>
            </a:pathLst>
          </a:custGeom>
          <a:solidFill>
            <a:srgbClr val="CDEFFA"/>
          </a:solidFill>
        </p:spPr>
        <p:txBody>
          <a:bodyPr wrap="square" lIns="0" tIns="0" rIns="0" bIns="0" rtlCol="0"/>
          <a:lstStyle/>
          <a:p>
            <a:endParaRPr/>
          </a:p>
        </p:txBody>
      </p:sp>
      <p:sp>
        <p:nvSpPr>
          <p:cNvPr id="68" name="object 68"/>
          <p:cNvSpPr txBox="1"/>
          <p:nvPr/>
        </p:nvSpPr>
        <p:spPr>
          <a:xfrm>
            <a:off x="1834895" y="4533392"/>
            <a:ext cx="509270" cy="116839"/>
          </a:xfrm>
          <a:prstGeom prst="rect">
            <a:avLst/>
          </a:prstGeom>
        </p:spPr>
        <p:txBody>
          <a:bodyPr vert="horz" wrap="square" lIns="0" tIns="12700" rIns="0" bIns="0" rtlCol="0">
            <a:spAutoFit/>
          </a:bodyPr>
          <a:lstStyle/>
          <a:p>
            <a:pPr marL="128905">
              <a:lnSpc>
                <a:spcPct val="100000"/>
              </a:lnSpc>
              <a:spcBef>
                <a:spcPts val="100"/>
              </a:spcBef>
            </a:pPr>
            <a:r>
              <a:rPr sz="600" b="1">
                <a:solidFill>
                  <a:srgbClr val="16091F"/>
                </a:solidFill>
                <a:latin typeface="Verdana"/>
                <a:cs typeface="Verdana"/>
              </a:rPr>
              <a:t>APP</a:t>
            </a:r>
            <a:r>
              <a:rPr sz="600" b="1" spc="-40">
                <a:solidFill>
                  <a:srgbClr val="16091F"/>
                </a:solidFill>
                <a:latin typeface="Verdana"/>
                <a:cs typeface="Verdana"/>
              </a:rPr>
              <a:t> </a:t>
            </a:r>
            <a:r>
              <a:rPr sz="600" b="1">
                <a:solidFill>
                  <a:srgbClr val="16091F"/>
                </a:solidFill>
                <a:latin typeface="Verdana"/>
                <a:cs typeface="Verdana"/>
              </a:rPr>
              <a:t>3</a:t>
            </a:r>
            <a:endParaRPr sz="600">
              <a:latin typeface="Verdana"/>
              <a:cs typeface="Verdana"/>
            </a:endParaRPr>
          </a:p>
        </p:txBody>
      </p:sp>
      <p:sp>
        <p:nvSpPr>
          <p:cNvPr id="69" name="object 69"/>
          <p:cNvSpPr/>
          <p:nvPr/>
        </p:nvSpPr>
        <p:spPr>
          <a:xfrm>
            <a:off x="1834895" y="4716779"/>
            <a:ext cx="509270" cy="147955"/>
          </a:xfrm>
          <a:custGeom>
            <a:avLst/>
            <a:gdLst/>
            <a:ahLst/>
            <a:cxnLst/>
            <a:rect l="l" t="t" r="r" b="b"/>
            <a:pathLst>
              <a:path w="509269" h="147954">
                <a:moveTo>
                  <a:pt x="0" y="147828"/>
                </a:moveTo>
                <a:lnTo>
                  <a:pt x="509016" y="147828"/>
                </a:lnTo>
                <a:lnTo>
                  <a:pt x="509016" y="0"/>
                </a:lnTo>
                <a:lnTo>
                  <a:pt x="0" y="0"/>
                </a:lnTo>
                <a:lnTo>
                  <a:pt x="0" y="147828"/>
                </a:lnTo>
                <a:close/>
              </a:path>
            </a:pathLst>
          </a:custGeom>
          <a:solidFill>
            <a:srgbClr val="CDEFFA"/>
          </a:solidFill>
        </p:spPr>
        <p:txBody>
          <a:bodyPr wrap="square" lIns="0" tIns="0" rIns="0" bIns="0" rtlCol="0"/>
          <a:lstStyle/>
          <a:p>
            <a:endParaRPr/>
          </a:p>
        </p:txBody>
      </p:sp>
      <p:sp>
        <p:nvSpPr>
          <p:cNvPr id="70" name="object 70"/>
          <p:cNvSpPr txBox="1"/>
          <p:nvPr/>
        </p:nvSpPr>
        <p:spPr>
          <a:xfrm>
            <a:off x="1834895" y="4733290"/>
            <a:ext cx="509270" cy="116839"/>
          </a:xfrm>
          <a:prstGeom prst="rect">
            <a:avLst/>
          </a:prstGeom>
        </p:spPr>
        <p:txBody>
          <a:bodyPr vert="horz" wrap="square" lIns="0" tIns="12700" rIns="0" bIns="0" rtlCol="0">
            <a:spAutoFit/>
          </a:bodyPr>
          <a:lstStyle/>
          <a:p>
            <a:pPr marL="128905">
              <a:lnSpc>
                <a:spcPct val="100000"/>
              </a:lnSpc>
              <a:spcBef>
                <a:spcPts val="100"/>
              </a:spcBef>
            </a:pPr>
            <a:r>
              <a:rPr sz="600" b="1">
                <a:solidFill>
                  <a:srgbClr val="16091F"/>
                </a:solidFill>
                <a:latin typeface="Verdana"/>
                <a:cs typeface="Verdana"/>
              </a:rPr>
              <a:t>APP</a:t>
            </a:r>
            <a:r>
              <a:rPr sz="600" b="1" spc="-40">
                <a:solidFill>
                  <a:srgbClr val="16091F"/>
                </a:solidFill>
                <a:latin typeface="Verdana"/>
                <a:cs typeface="Verdana"/>
              </a:rPr>
              <a:t> </a:t>
            </a:r>
            <a:r>
              <a:rPr sz="600" b="1">
                <a:solidFill>
                  <a:srgbClr val="16091F"/>
                </a:solidFill>
                <a:latin typeface="Verdana"/>
                <a:cs typeface="Verdana"/>
              </a:rPr>
              <a:t>4</a:t>
            </a:r>
            <a:endParaRPr sz="600">
              <a:latin typeface="Verdana"/>
              <a:cs typeface="Verdana"/>
            </a:endParaRPr>
          </a:p>
        </p:txBody>
      </p:sp>
      <p:sp>
        <p:nvSpPr>
          <p:cNvPr id="71" name="object 71"/>
          <p:cNvSpPr/>
          <p:nvPr/>
        </p:nvSpPr>
        <p:spPr>
          <a:xfrm>
            <a:off x="1834895" y="5797296"/>
            <a:ext cx="509270" cy="147955"/>
          </a:xfrm>
          <a:custGeom>
            <a:avLst/>
            <a:gdLst/>
            <a:ahLst/>
            <a:cxnLst/>
            <a:rect l="l" t="t" r="r" b="b"/>
            <a:pathLst>
              <a:path w="509269" h="147954">
                <a:moveTo>
                  <a:pt x="0" y="147827"/>
                </a:moveTo>
                <a:lnTo>
                  <a:pt x="509016" y="147827"/>
                </a:lnTo>
                <a:lnTo>
                  <a:pt x="509016" y="0"/>
                </a:lnTo>
                <a:lnTo>
                  <a:pt x="0" y="0"/>
                </a:lnTo>
                <a:lnTo>
                  <a:pt x="0" y="147827"/>
                </a:lnTo>
                <a:close/>
              </a:path>
            </a:pathLst>
          </a:custGeom>
          <a:solidFill>
            <a:srgbClr val="CDEFFA"/>
          </a:solidFill>
        </p:spPr>
        <p:txBody>
          <a:bodyPr wrap="square" lIns="0" tIns="0" rIns="0" bIns="0" rtlCol="0"/>
          <a:lstStyle/>
          <a:p>
            <a:endParaRPr/>
          </a:p>
        </p:txBody>
      </p:sp>
      <p:sp>
        <p:nvSpPr>
          <p:cNvPr id="72" name="object 72"/>
          <p:cNvSpPr txBox="1"/>
          <p:nvPr/>
        </p:nvSpPr>
        <p:spPr>
          <a:xfrm>
            <a:off x="1834895" y="5813552"/>
            <a:ext cx="509270" cy="116839"/>
          </a:xfrm>
          <a:prstGeom prst="rect">
            <a:avLst/>
          </a:prstGeom>
        </p:spPr>
        <p:txBody>
          <a:bodyPr vert="horz" wrap="square" lIns="0" tIns="12700" rIns="0" bIns="0" rtlCol="0">
            <a:spAutoFit/>
          </a:bodyPr>
          <a:lstStyle/>
          <a:p>
            <a:pPr marL="124460">
              <a:lnSpc>
                <a:spcPct val="100000"/>
              </a:lnSpc>
              <a:spcBef>
                <a:spcPts val="100"/>
              </a:spcBef>
            </a:pPr>
            <a:r>
              <a:rPr sz="600" b="1">
                <a:solidFill>
                  <a:srgbClr val="16091F"/>
                </a:solidFill>
                <a:latin typeface="Verdana"/>
                <a:cs typeface="Verdana"/>
              </a:rPr>
              <a:t>APP</a:t>
            </a:r>
            <a:r>
              <a:rPr sz="600" b="1" spc="-45">
                <a:solidFill>
                  <a:srgbClr val="16091F"/>
                </a:solidFill>
                <a:latin typeface="Verdana"/>
                <a:cs typeface="Verdana"/>
              </a:rPr>
              <a:t> </a:t>
            </a:r>
            <a:r>
              <a:rPr sz="600" b="1">
                <a:solidFill>
                  <a:srgbClr val="16091F"/>
                </a:solidFill>
                <a:latin typeface="Verdana"/>
                <a:cs typeface="Verdana"/>
              </a:rPr>
              <a:t>N</a:t>
            </a:r>
            <a:endParaRPr sz="600">
              <a:latin typeface="Verdana"/>
              <a:cs typeface="Verdana"/>
            </a:endParaRPr>
          </a:p>
        </p:txBody>
      </p:sp>
      <p:sp>
        <p:nvSpPr>
          <p:cNvPr id="73" name="object 73"/>
          <p:cNvSpPr/>
          <p:nvPr/>
        </p:nvSpPr>
        <p:spPr>
          <a:xfrm>
            <a:off x="2051304" y="4864608"/>
            <a:ext cx="76200" cy="932815"/>
          </a:xfrm>
          <a:custGeom>
            <a:avLst/>
            <a:gdLst/>
            <a:ahLst/>
            <a:cxnLst/>
            <a:rect l="l" t="t" r="r" b="b"/>
            <a:pathLst>
              <a:path w="76200" h="932814">
                <a:moveTo>
                  <a:pt x="44450" y="0"/>
                </a:moveTo>
                <a:lnTo>
                  <a:pt x="31750" y="0"/>
                </a:lnTo>
                <a:lnTo>
                  <a:pt x="31750" y="50800"/>
                </a:lnTo>
                <a:lnTo>
                  <a:pt x="44450" y="50800"/>
                </a:lnTo>
                <a:lnTo>
                  <a:pt x="44450" y="0"/>
                </a:lnTo>
                <a:close/>
              </a:path>
              <a:path w="76200" h="932814">
                <a:moveTo>
                  <a:pt x="44450" y="88900"/>
                </a:moveTo>
                <a:lnTo>
                  <a:pt x="31750" y="88900"/>
                </a:lnTo>
                <a:lnTo>
                  <a:pt x="31750" y="139700"/>
                </a:lnTo>
                <a:lnTo>
                  <a:pt x="44450" y="139700"/>
                </a:lnTo>
                <a:lnTo>
                  <a:pt x="44450" y="88900"/>
                </a:lnTo>
                <a:close/>
              </a:path>
              <a:path w="76200" h="932814">
                <a:moveTo>
                  <a:pt x="44450" y="177800"/>
                </a:moveTo>
                <a:lnTo>
                  <a:pt x="31750" y="177800"/>
                </a:lnTo>
                <a:lnTo>
                  <a:pt x="31750" y="228600"/>
                </a:lnTo>
                <a:lnTo>
                  <a:pt x="44450" y="228600"/>
                </a:lnTo>
                <a:lnTo>
                  <a:pt x="44450" y="177800"/>
                </a:lnTo>
                <a:close/>
              </a:path>
              <a:path w="76200" h="932814">
                <a:moveTo>
                  <a:pt x="44450" y="266700"/>
                </a:moveTo>
                <a:lnTo>
                  <a:pt x="31750" y="266700"/>
                </a:lnTo>
                <a:lnTo>
                  <a:pt x="31750" y="317500"/>
                </a:lnTo>
                <a:lnTo>
                  <a:pt x="44450" y="317500"/>
                </a:lnTo>
                <a:lnTo>
                  <a:pt x="44450" y="266700"/>
                </a:lnTo>
                <a:close/>
              </a:path>
              <a:path w="76200" h="932814">
                <a:moveTo>
                  <a:pt x="44450" y="355600"/>
                </a:moveTo>
                <a:lnTo>
                  <a:pt x="31750" y="355600"/>
                </a:lnTo>
                <a:lnTo>
                  <a:pt x="31750" y="406400"/>
                </a:lnTo>
                <a:lnTo>
                  <a:pt x="44450" y="406400"/>
                </a:lnTo>
                <a:lnTo>
                  <a:pt x="44450" y="355600"/>
                </a:lnTo>
                <a:close/>
              </a:path>
              <a:path w="76200" h="932814">
                <a:moveTo>
                  <a:pt x="44450" y="444500"/>
                </a:moveTo>
                <a:lnTo>
                  <a:pt x="31750" y="444500"/>
                </a:lnTo>
                <a:lnTo>
                  <a:pt x="31750" y="495300"/>
                </a:lnTo>
                <a:lnTo>
                  <a:pt x="44450" y="495300"/>
                </a:lnTo>
                <a:lnTo>
                  <a:pt x="44450" y="444500"/>
                </a:lnTo>
                <a:close/>
              </a:path>
              <a:path w="76200" h="932814">
                <a:moveTo>
                  <a:pt x="44450" y="533400"/>
                </a:moveTo>
                <a:lnTo>
                  <a:pt x="31750" y="533400"/>
                </a:lnTo>
                <a:lnTo>
                  <a:pt x="31750" y="584200"/>
                </a:lnTo>
                <a:lnTo>
                  <a:pt x="44450" y="584200"/>
                </a:lnTo>
                <a:lnTo>
                  <a:pt x="44450" y="533400"/>
                </a:lnTo>
                <a:close/>
              </a:path>
              <a:path w="76200" h="932814">
                <a:moveTo>
                  <a:pt x="44450" y="622300"/>
                </a:moveTo>
                <a:lnTo>
                  <a:pt x="31750" y="622300"/>
                </a:lnTo>
                <a:lnTo>
                  <a:pt x="31750" y="673100"/>
                </a:lnTo>
                <a:lnTo>
                  <a:pt x="44450" y="673100"/>
                </a:lnTo>
                <a:lnTo>
                  <a:pt x="44450" y="622300"/>
                </a:lnTo>
                <a:close/>
              </a:path>
              <a:path w="76200" h="932814">
                <a:moveTo>
                  <a:pt x="44450" y="711200"/>
                </a:moveTo>
                <a:lnTo>
                  <a:pt x="31750" y="711200"/>
                </a:lnTo>
                <a:lnTo>
                  <a:pt x="31750" y="762000"/>
                </a:lnTo>
                <a:lnTo>
                  <a:pt x="44450" y="762000"/>
                </a:lnTo>
                <a:lnTo>
                  <a:pt x="44450" y="711200"/>
                </a:lnTo>
                <a:close/>
              </a:path>
              <a:path w="76200" h="932814">
                <a:moveTo>
                  <a:pt x="44450" y="800100"/>
                </a:moveTo>
                <a:lnTo>
                  <a:pt x="31750" y="800100"/>
                </a:lnTo>
                <a:lnTo>
                  <a:pt x="31750" y="850900"/>
                </a:lnTo>
                <a:lnTo>
                  <a:pt x="44450" y="850900"/>
                </a:lnTo>
                <a:lnTo>
                  <a:pt x="44450" y="800100"/>
                </a:lnTo>
                <a:close/>
              </a:path>
              <a:path w="76200" h="932814">
                <a:moveTo>
                  <a:pt x="76200" y="856615"/>
                </a:moveTo>
                <a:lnTo>
                  <a:pt x="0" y="856615"/>
                </a:lnTo>
                <a:lnTo>
                  <a:pt x="38100" y="932815"/>
                </a:lnTo>
                <a:lnTo>
                  <a:pt x="76200" y="856615"/>
                </a:lnTo>
                <a:close/>
              </a:path>
            </a:pathLst>
          </a:custGeom>
          <a:solidFill>
            <a:srgbClr val="7E7E7E"/>
          </a:solidFill>
        </p:spPr>
        <p:txBody>
          <a:bodyPr wrap="square" lIns="0" tIns="0" rIns="0" bIns="0" rtlCol="0"/>
          <a:lstStyle/>
          <a:p>
            <a:endParaRPr/>
          </a:p>
        </p:txBody>
      </p:sp>
      <p:sp>
        <p:nvSpPr>
          <p:cNvPr id="74" name="object 74"/>
          <p:cNvSpPr/>
          <p:nvPr/>
        </p:nvSpPr>
        <p:spPr>
          <a:xfrm>
            <a:off x="2343911" y="4180078"/>
            <a:ext cx="633730" cy="1040765"/>
          </a:xfrm>
          <a:custGeom>
            <a:avLst/>
            <a:gdLst/>
            <a:ahLst/>
            <a:cxnLst/>
            <a:rect l="l" t="t" r="r" b="b"/>
            <a:pathLst>
              <a:path w="633730" h="1040764">
                <a:moveTo>
                  <a:pt x="557021" y="964057"/>
                </a:moveTo>
                <a:lnTo>
                  <a:pt x="557021" y="1040257"/>
                </a:lnTo>
                <a:lnTo>
                  <a:pt x="620521" y="1008507"/>
                </a:lnTo>
                <a:lnTo>
                  <a:pt x="569721" y="1008507"/>
                </a:lnTo>
                <a:lnTo>
                  <a:pt x="569721" y="995807"/>
                </a:lnTo>
                <a:lnTo>
                  <a:pt x="620521" y="995807"/>
                </a:lnTo>
                <a:lnTo>
                  <a:pt x="557021" y="964057"/>
                </a:lnTo>
                <a:close/>
              </a:path>
              <a:path w="633730" h="1040764">
                <a:moveTo>
                  <a:pt x="310261" y="6350"/>
                </a:moveTo>
                <a:lnTo>
                  <a:pt x="310261" y="1008507"/>
                </a:lnTo>
                <a:lnTo>
                  <a:pt x="557021" y="1008507"/>
                </a:lnTo>
                <a:lnTo>
                  <a:pt x="557021" y="1002157"/>
                </a:lnTo>
                <a:lnTo>
                  <a:pt x="322961" y="1002157"/>
                </a:lnTo>
                <a:lnTo>
                  <a:pt x="316611" y="995807"/>
                </a:lnTo>
                <a:lnTo>
                  <a:pt x="322961" y="995807"/>
                </a:lnTo>
                <a:lnTo>
                  <a:pt x="322961" y="12700"/>
                </a:lnTo>
                <a:lnTo>
                  <a:pt x="316611" y="12700"/>
                </a:lnTo>
                <a:lnTo>
                  <a:pt x="310261" y="6350"/>
                </a:lnTo>
                <a:close/>
              </a:path>
              <a:path w="633730" h="1040764">
                <a:moveTo>
                  <a:pt x="620521" y="995807"/>
                </a:moveTo>
                <a:lnTo>
                  <a:pt x="569721" y="995807"/>
                </a:lnTo>
                <a:lnTo>
                  <a:pt x="569721" y="1008507"/>
                </a:lnTo>
                <a:lnTo>
                  <a:pt x="620521" y="1008507"/>
                </a:lnTo>
                <a:lnTo>
                  <a:pt x="633221" y="1002157"/>
                </a:lnTo>
                <a:lnTo>
                  <a:pt x="620521" y="995807"/>
                </a:lnTo>
                <a:close/>
              </a:path>
              <a:path w="633730" h="1040764">
                <a:moveTo>
                  <a:pt x="322961" y="995807"/>
                </a:moveTo>
                <a:lnTo>
                  <a:pt x="316611" y="995807"/>
                </a:lnTo>
                <a:lnTo>
                  <a:pt x="322961" y="1002157"/>
                </a:lnTo>
                <a:lnTo>
                  <a:pt x="322961" y="995807"/>
                </a:lnTo>
                <a:close/>
              </a:path>
              <a:path w="633730" h="1040764">
                <a:moveTo>
                  <a:pt x="557021" y="995807"/>
                </a:moveTo>
                <a:lnTo>
                  <a:pt x="322961" y="995807"/>
                </a:lnTo>
                <a:lnTo>
                  <a:pt x="322961" y="1002157"/>
                </a:lnTo>
                <a:lnTo>
                  <a:pt x="557021" y="1002157"/>
                </a:lnTo>
                <a:lnTo>
                  <a:pt x="557021" y="995807"/>
                </a:lnTo>
                <a:close/>
              </a:path>
              <a:path w="633730" h="1040764">
                <a:moveTo>
                  <a:pt x="322961" y="0"/>
                </a:moveTo>
                <a:lnTo>
                  <a:pt x="0" y="0"/>
                </a:lnTo>
                <a:lnTo>
                  <a:pt x="0" y="12700"/>
                </a:lnTo>
                <a:lnTo>
                  <a:pt x="310261" y="12700"/>
                </a:lnTo>
                <a:lnTo>
                  <a:pt x="310261" y="6350"/>
                </a:lnTo>
                <a:lnTo>
                  <a:pt x="322961" y="6350"/>
                </a:lnTo>
                <a:lnTo>
                  <a:pt x="322961" y="0"/>
                </a:lnTo>
                <a:close/>
              </a:path>
              <a:path w="633730" h="1040764">
                <a:moveTo>
                  <a:pt x="322961" y="6350"/>
                </a:moveTo>
                <a:lnTo>
                  <a:pt x="310261" y="6350"/>
                </a:lnTo>
                <a:lnTo>
                  <a:pt x="316611" y="12700"/>
                </a:lnTo>
                <a:lnTo>
                  <a:pt x="322961" y="12700"/>
                </a:lnTo>
                <a:lnTo>
                  <a:pt x="322961" y="6350"/>
                </a:lnTo>
                <a:close/>
              </a:path>
            </a:pathLst>
          </a:custGeom>
          <a:solidFill>
            <a:srgbClr val="7E7E7E"/>
          </a:solidFill>
        </p:spPr>
        <p:txBody>
          <a:bodyPr wrap="square" lIns="0" tIns="0" rIns="0" bIns="0" rtlCol="0"/>
          <a:lstStyle/>
          <a:p>
            <a:endParaRPr/>
          </a:p>
        </p:txBody>
      </p:sp>
      <p:sp>
        <p:nvSpPr>
          <p:cNvPr id="75" name="object 75"/>
          <p:cNvSpPr/>
          <p:nvPr/>
        </p:nvSpPr>
        <p:spPr>
          <a:xfrm>
            <a:off x="2343911" y="4384294"/>
            <a:ext cx="633730" cy="835025"/>
          </a:xfrm>
          <a:custGeom>
            <a:avLst/>
            <a:gdLst/>
            <a:ahLst/>
            <a:cxnLst/>
            <a:rect l="l" t="t" r="r" b="b"/>
            <a:pathLst>
              <a:path w="633730" h="835025">
                <a:moveTo>
                  <a:pt x="557021" y="758824"/>
                </a:moveTo>
                <a:lnTo>
                  <a:pt x="557021" y="835024"/>
                </a:lnTo>
                <a:lnTo>
                  <a:pt x="620521" y="803274"/>
                </a:lnTo>
                <a:lnTo>
                  <a:pt x="569721" y="803274"/>
                </a:lnTo>
                <a:lnTo>
                  <a:pt x="569721" y="790574"/>
                </a:lnTo>
                <a:lnTo>
                  <a:pt x="620521" y="790574"/>
                </a:lnTo>
                <a:lnTo>
                  <a:pt x="557021" y="758824"/>
                </a:lnTo>
                <a:close/>
              </a:path>
              <a:path w="633730" h="835025">
                <a:moveTo>
                  <a:pt x="310261" y="6349"/>
                </a:moveTo>
                <a:lnTo>
                  <a:pt x="310261" y="803274"/>
                </a:lnTo>
                <a:lnTo>
                  <a:pt x="557021" y="803274"/>
                </a:lnTo>
                <a:lnTo>
                  <a:pt x="557021" y="796924"/>
                </a:lnTo>
                <a:lnTo>
                  <a:pt x="322961" y="796924"/>
                </a:lnTo>
                <a:lnTo>
                  <a:pt x="316611" y="790574"/>
                </a:lnTo>
                <a:lnTo>
                  <a:pt x="322961" y="790574"/>
                </a:lnTo>
                <a:lnTo>
                  <a:pt x="322961" y="12699"/>
                </a:lnTo>
                <a:lnTo>
                  <a:pt x="316611" y="12699"/>
                </a:lnTo>
                <a:lnTo>
                  <a:pt x="310261" y="6349"/>
                </a:lnTo>
                <a:close/>
              </a:path>
              <a:path w="633730" h="835025">
                <a:moveTo>
                  <a:pt x="620521" y="790574"/>
                </a:moveTo>
                <a:lnTo>
                  <a:pt x="569721" y="790574"/>
                </a:lnTo>
                <a:lnTo>
                  <a:pt x="569721" y="803274"/>
                </a:lnTo>
                <a:lnTo>
                  <a:pt x="620521" y="803274"/>
                </a:lnTo>
                <a:lnTo>
                  <a:pt x="633221" y="796924"/>
                </a:lnTo>
                <a:lnTo>
                  <a:pt x="620521" y="790574"/>
                </a:lnTo>
                <a:close/>
              </a:path>
              <a:path w="633730" h="835025">
                <a:moveTo>
                  <a:pt x="322961" y="790574"/>
                </a:moveTo>
                <a:lnTo>
                  <a:pt x="316611" y="790574"/>
                </a:lnTo>
                <a:lnTo>
                  <a:pt x="322961" y="796924"/>
                </a:lnTo>
                <a:lnTo>
                  <a:pt x="322961" y="790574"/>
                </a:lnTo>
                <a:close/>
              </a:path>
              <a:path w="633730" h="835025">
                <a:moveTo>
                  <a:pt x="557021" y="790574"/>
                </a:moveTo>
                <a:lnTo>
                  <a:pt x="322961" y="790574"/>
                </a:lnTo>
                <a:lnTo>
                  <a:pt x="322961" y="796924"/>
                </a:lnTo>
                <a:lnTo>
                  <a:pt x="557021" y="796924"/>
                </a:lnTo>
                <a:lnTo>
                  <a:pt x="557021" y="790574"/>
                </a:lnTo>
                <a:close/>
              </a:path>
              <a:path w="633730" h="835025">
                <a:moveTo>
                  <a:pt x="322961" y="0"/>
                </a:moveTo>
                <a:lnTo>
                  <a:pt x="0" y="0"/>
                </a:lnTo>
                <a:lnTo>
                  <a:pt x="0" y="12699"/>
                </a:lnTo>
                <a:lnTo>
                  <a:pt x="310261" y="12699"/>
                </a:lnTo>
                <a:lnTo>
                  <a:pt x="310261" y="6349"/>
                </a:lnTo>
                <a:lnTo>
                  <a:pt x="322961" y="6349"/>
                </a:lnTo>
                <a:lnTo>
                  <a:pt x="322961" y="0"/>
                </a:lnTo>
                <a:close/>
              </a:path>
              <a:path w="633730" h="835025">
                <a:moveTo>
                  <a:pt x="322961" y="6349"/>
                </a:moveTo>
                <a:lnTo>
                  <a:pt x="310261" y="6349"/>
                </a:lnTo>
                <a:lnTo>
                  <a:pt x="316611" y="12699"/>
                </a:lnTo>
                <a:lnTo>
                  <a:pt x="322961" y="12699"/>
                </a:lnTo>
                <a:lnTo>
                  <a:pt x="322961" y="6349"/>
                </a:lnTo>
                <a:close/>
              </a:path>
            </a:pathLst>
          </a:custGeom>
          <a:solidFill>
            <a:srgbClr val="7E7E7E"/>
          </a:solidFill>
        </p:spPr>
        <p:txBody>
          <a:bodyPr wrap="square" lIns="0" tIns="0" rIns="0" bIns="0" rtlCol="0"/>
          <a:lstStyle/>
          <a:p>
            <a:endParaRPr/>
          </a:p>
        </p:txBody>
      </p:sp>
      <p:sp>
        <p:nvSpPr>
          <p:cNvPr id="76" name="object 76"/>
          <p:cNvSpPr/>
          <p:nvPr/>
        </p:nvSpPr>
        <p:spPr>
          <a:xfrm>
            <a:off x="2343911" y="4583938"/>
            <a:ext cx="633730" cy="635635"/>
          </a:xfrm>
          <a:custGeom>
            <a:avLst/>
            <a:gdLst/>
            <a:ahLst/>
            <a:cxnLst/>
            <a:rect l="l" t="t" r="r" b="b"/>
            <a:pathLst>
              <a:path w="633730" h="635635">
                <a:moveTo>
                  <a:pt x="557021" y="559054"/>
                </a:moveTo>
                <a:lnTo>
                  <a:pt x="557021" y="635254"/>
                </a:lnTo>
                <a:lnTo>
                  <a:pt x="620521" y="603504"/>
                </a:lnTo>
                <a:lnTo>
                  <a:pt x="569721" y="603504"/>
                </a:lnTo>
                <a:lnTo>
                  <a:pt x="569721" y="590804"/>
                </a:lnTo>
                <a:lnTo>
                  <a:pt x="620521" y="590804"/>
                </a:lnTo>
                <a:lnTo>
                  <a:pt x="557021" y="559054"/>
                </a:lnTo>
                <a:close/>
              </a:path>
              <a:path w="633730" h="635635">
                <a:moveTo>
                  <a:pt x="310261" y="6350"/>
                </a:moveTo>
                <a:lnTo>
                  <a:pt x="310261" y="603504"/>
                </a:lnTo>
                <a:lnTo>
                  <a:pt x="557021" y="603504"/>
                </a:lnTo>
                <a:lnTo>
                  <a:pt x="557021" y="597154"/>
                </a:lnTo>
                <a:lnTo>
                  <a:pt x="322961" y="597154"/>
                </a:lnTo>
                <a:lnTo>
                  <a:pt x="316611" y="590804"/>
                </a:lnTo>
                <a:lnTo>
                  <a:pt x="322961" y="590804"/>
                </a:lnTo>
                <a:lnTo>
                  <a:pt x="322961" y="12700"/>
                </a:lnTo>
                <a:lnTo>
                  <a:pt x="316611" y="12700"/>
                </a:lnTo>
                <a:lnTo>
                  <a:pt x="310261" y="6350"/>
                </a:lnTo>
                <a:close/>
              </a:path>
              <a:path w="633730" h="635635">
                <a:moveTo>
                  <a:pt x="620521" y="590804"/>
                </a:moveTo>
                <a:lnTo>
                  <a:pt x="569721" y="590804"/>
                </a:lnTo>
                <a:lnTo>
                  <a:pt x="569721" y="603504"/>
                </a:lnTo>
                <a:lnTo>
                  <a:pt x="620521" y="603504"/>
                </a:lnTo>
                <a:lnTo>
                  <a:pt x="633221" y="597154"/>
                </a:lnTo>
                <a:lnTo>
                  <a:pt x="620521" y="590804"/>
                </a:lnTo>
                <a:close/>
              </a:path>
              <a:path w="633730" h="635635">
                <a:moveTo>
                  <a:pt x="322961" y="590804"/>
                </a:moveTo>
                <a:lnTo>
                  <a:pt x="316611" y="590804"/>
                </a:lnTo>
                <a:lnTo>
                  <a:pt x="322961" y="597154"/>
                </a:lnTo>
                <a:lnTo>
                  <a:pt x="322961" y="590804"/>
                </a:lnTo>
                <a:close/>
              </a:path>
              <a:path w="633730" h="635635">
                <a:moveTo>
                  <a:pt x="557021" y="590804"/>
                </a:moveTo>
                <a:lnTo>
                  <a:pt x="322961" y="590804"/>
                </a:lnTo>
                <a:lnTo>
                  <a:pt x="322961" y="597154"/>
                </a:lnTo>
                <a:lnTo>
                  <a:pt x="557021" y="597154"/>
                </a:lnTo>
                <a:lnTo>
                  <a:pt x="557021" y="590804"/>
                </a:lnTo>
                <a:close/>
              </a:path>
              <a:path w="633730" h="635635">
                <a:moveTo>
                  <a:pt x="322961" y="0"/>
                </a:moveTo>
                <a:lnTo>
                  <a:pt x="0" y="0"/>
                </a:lnTo>
                <a:lnTo>
                  <a:pt x="0" y="12700"/>
                </a:lnTo>
                <a:lnTo>
                  <a:pt x="310261" y="12700"/>
                </a:lnTo>
                <a:lnTo>
                  <a:pt x="310261" y="6350"/>
                </a:lnTo>
                <a:lnTo>
                  <a:pt x="322961" y="6350"/>
                </a:lnTo>
                <a:lnTo>
                  <a:pt x="322961" y="0"/>
                </a:lnTo>
                <a:close/>
              </a:path>
              <a:path w="633730" h="635635">
                <a:moveTo>
                  <a:pt x="322961" y="6350"/>
                </a:moveTo>
                <a:lnTo>
                  <a:pt x="310261" y="6350"/>
                </a:lnTo>
                <a:lnTo>
                  <a:pt x="316611" y="12700"/>
                </a:lnTo>
                <a:lnTo>
                  <a:pt x="322961" y="12700"/>
                </a:lnTo>
                <a:lnTo>
                  <a:pt x="322961" y="6350"/>
                </a:lnTo>
                <a:close/>
              </a:path>
            </a:pathLst>
          </a:custGeom>
          <a:solidFill>
            <a:srgbClr val="7E7E7E"/>
          </a:solidFill>
        </p:spPr>
        <p:txBody>
          <a:bodyPr wrap="square" lIns="0" tIns="0" rIns="0" bIns="0" rtlCol="0"/>
          <a:lstStyle/>
          <a:p>
            <a:endParaRPr/>
          </a:p>
        </p:txBody>
      </p:sp>
      <p:sp>
        <p:nvSpPr>
          <p:cNvPr id="77" name="object 77"/>
          <p:cNvSpPr/>
          <p:nvPr/>
        </p:nvSpPr>
        <p:spPr>
          <a:xfrm>
            <a:off x="2343911" y="4785105"/>
            <a:ext cx="633730" cy="435609"/>
          </a:xfrm>
          <a:custGeom>
            <a:avLst/>
            <a:gdLst/>
            <a:ahLst/>
            <a:cxnLst/>
            <a:rect l="l" t="t" r="r" b="b"/>
            <a:pathLst>
              <a:path w="633730" h="435610">
                <a:moveTo>
                  <a:pt x="557021" y="359156"/>
                </a:moveTo>
                <a:lnTo>
                  <a:pt x="557021" y="435356"/>
                </a:lnTo>
                <a:lnTo>
                  <a:pt x="620521" y="403606"/>
                </a:lnTo>
                <a:lnTo>
                  <a:pt x="569721" y="403606"/>
                </a:lnTo>
                <a:lnTo>
                  <a:pt x="569721" y="390906"/>
                </a:lnTo>
                <a:lnTo>
                  <a:pt x="620521" y="390906"/>
                </a:lnTo>
                <a:lnTo>
                  <a:pt x="557021" y="359156"/>
                </a:lnTo>
                <a:close/>
              </a:path>
              <a:path w="633730" h="435610">
                <a:moveTo>
                  <a:pt x="310261" y="6350"/>
                </a:moveTo>
                <a:lnTo>
                  <a:pt x="310261" y="403606"/>
                </a:lnTo>
                <a:lnTo>
                  <a:pt x="557021" y="403606"/>
                </a:lnTo>
                <a:lnTo>
                  <a:pt x="557021" y="397256"/>
                </a:lnTo>
                <a:lnTo>
                  <a:pt x="322961" y="397256"/>
                </a:lnTo>
                <a:lnTo>
                  <a:pt x="316611" y="390906"/>
                </a:lnTo>
                <a:lnTo>
                  <a:pt x="322961" y="390906"/>
                </a:lnTo>
                <a:lnTo>
                  <a:pt x="322961" y="12700"/>
                </a:lnTo>
                <a:lnTo>
                  <a:pt x="316611" y="12700"/>
                </a:lnTo>
                <a:lnTo>
                  <a:pt x="310261" y="6350"/>
                </a:lnTo>
                <a:close/>
              </a:path>
              <a:path w="633730" h="435610">
                <a:moveTo>
                  <a:pt x="620521" y="390906"/>
                </a:moveTo>
                <a:lnTo>
                  <a:pt x="569721" y="390906"/>
                </a:lnTo>
                <a:lnTo>
                  <a:pt x="569721" y="403606"/>
                </a:lnTo>
                <a:lnTo>
                  <a:pt x="620521" y="403606"/>
                </a:lnTo>
                <a:lnTo>
                  <a:pt x="633221" y="397256"/>
                </a:lnTo>
                <a:lnTo>
                  <a:pt x="620521" y="390906"/>
                </a:lnTo>
                <a:close/>
              </a:path>
              <a:path w="633730" h="435610">
                <a:moveTo>
                  <a:pt x="322961" y="390906"/>
                </a:moveTo>
                <a:lnTo>
                  <a:pt x="316611" y="390906"/>
                </a:lnTo>
                <a:lnTo>
                  <a:pt x="322961" y="397256"/>
                </a:lnTo>
                <a:lnTo>
                  <a:pt x="322961" y="390906"/>
                </a:lnTo>
                <a:close/>
              </a:path>
              <a:path w="633730" h="435610">
                <a:moveTo>
                  <a:pt x="557021" y="390906"/>
                </a:moveTo>
                <a:lnTo>
                  <a:pt x="322961" y="390906"/>
                </a:lnTo>
                <a:lnTo>
                  <a:pt x="322961" y="397256"/>
                </a:lnTo>
                <a:lnTo>
                  <a:pt x="557021" y="397256"/>
                </a:lnTo>
                <a:lnTo>
                  <a:pt x="557021" y="390906"/>
                </a:lnTo>
                <a:close/>
              </a:path>
              <a:path w="633730" h="435610">
                <a:moveTo>
                  <a:pt x="322961" y="0"/>
                </a:moveTo>
                <a:lnTo>
                  <a:pt x="0" y="0"/>
                </a:lnTo>
                <a:lnTo>
                  <a:pt x="0" y="12700"/>
                </a:lnTo>
                <a:lnTo>
                  <a:pt x="310261" y="12700"/>
                </a:lnTo>
                <a:lnTo>
                  <a:pt x="310261" y="6350"/>
                </a:lnTo>
                <a:lnTo>
                  <a:pt x="322961" y="6350"/>
                </a:lnTo>
                <a:lnTo>
                  <a:pt x="322961" y="0"/>
                </a:lnTo>
                <a:close/>
              </a:path>
              <a:path w="633730" h="435610">
                <a:moveTo>
                  <a:pt x="322961" y="6350"/>
                </a:moveTo>
                <a:lnTo>
                  <a:pt x="310261" y="6350"/>
                </a:lnTo>
                <a:lnTo>
                  <a:pt x="316611" y="12700"/>
                </a:lnTo>
                <a:lnTo>
                  <a:pt x="322961" y="12700"/>
                </a:lnTo>
                <a:lnTo>
                  <a:pt x="322961" y="6350"/>
                </a:lnTo>
                <a:close/>
              </a:path>
            </a:pathLst>
          </a:custGeom>
          <a:solidFill>
            <a:srgbClr val="7E7E7E"/>
          </a:solidFill>
        </p:spPr>
        <p:txBody>
          <a:bodyPr wrap="square" lIns="0" tIns="0" rIns="0" bIns="0" rtlCol="0"/>
          <a:lstStyle/>
          <a:p>
            <a:endParaRPr/>
          </a:p>
        </p:txBody>
      </p:sp>
      <p:sp>
        <p:nvSpPr>
          <p:cNvPr id="78" name="object 78"/>
          <p:cNvSpPr/>
          <p:nvPr/>
        </p:nvSpPr>
        <p:spPr>
          <a:xfrm>
            <a:off x="1123149" y="1429258"/>
            <a:ext cx="989330" cy="4807585"/>
          </a:xfrm>
          <a:custGeom>
            <a:avLst/>
            <a:gdLst/>
            <a:ahLst/>
            <a:cxnLst/>
            <a:rect l="l" t="t" r="r" b="b"/>
            <a:pathLst>
              <a:path w="989330" h="4807585">
                <a:moveTo>
                  <a:pt x="983526" y="184150"/>
                </a:moveTo>
                <a:lnTo>
                  <a:pt x="970826" y="184150"/>
                </a:lnTo>
                <a:lnTo>
                  <a:pt x="970826" y="234950"/>
                </a:lnTo>
                <a:lnTo>
                  <a:pt x="983526" y="234950"/>
                </a:lnTo>
                <a:lnTo>
                  <a:pt x="983526" y="184150"/>
                </a:lnTo>
                <a:close/>
              </a:path>
              <a:path w="989330" h="4807585">
                <a:moveTo>
                  <a:pt x="983526" y="95250"/>
                </a:moveTo>
                <a:lnTo>
                  <a:pt x="970826" y="95250"/>
                </a:lnTo>
                <a:lnTo>
                  <a:pt x="970826" y="146050"/>
                </a:lnTo>
                <a:lnTo>
                  <a:pt x="983526" y="146050"/>
                </a:lnTo>
                <a:lnTo>
                  <a:pt x="983526" y="95250"/>
                </a:lnTo>
                <a:close/>
              </a:path>
              <a:path w="989330" h="4807585">
                <a:moveTo>
                  <a:pt x="970826" y="6350"/>
                </a:moveTo>
                <a:lnTo>
                  <a:pt x="970826" y="57150"/>
                </a:lnTo>
                <a:lnTo>
                  <a:pt x="983526" y="57150"/>
                </a:lnTo>
                <a:lnTo>
                  <a:pt x="983526" y="12700"/>
                </a:lnTo>
                <a:lnTo>
                  <a:pt x="977049" y="12700"/>
                </a:lnTo>
                <a:lnTo>
                  <a:pt x="970826" y="6350"/>
                </a:lnTo>
                <a:close/>
              </a:path>
              <a:path w="989330" h="4807585">
                <a:moveTo>
                  <a:pt x="977049" y="12573"/>
                </a:moveTo>
                <a:close/>
              </a:path>
              <a:path w="989330" h="4807585">
                <a:moveTo>
                  <a:pt x="983526" y="0"/>
                </a:moveTo>
                <a:lnTo>
                  <a:pt x="977049" y="0"/>
                </a:lnTo>
                <a:lnTo>
                  <a:pt x="977176" y="12700"/>
                </a:lnTo>
                <a:lnTo>
                  <a:pt x="983526" y="12700"/>
                </a:lnTo>
                <a:lnTo>
                  <a:pt x="983526" y="0"/>
                </a:lnTo>
                <a:close/>
              </a:path>
              <a:path w="989330" h="4807585">
                <a:moveTo>
                  <a:pt x="938949" y="0"/>
                </a:moveTo>
                <a:lnTo>
                  <a:pt x="888149" y="0"/>
                </a:lnTo>
                <a:lnTo>
                  <a:pt x="888149" y="12700"/>
                </a:lnTo>
                <a:lnTo>
                  <a:pt x="938949" y="12700"/>
                </a:lnTo>
                <a:lnTo>
                  <a:pt x="938949" y="0"/>
                </a:lnTo>
                <a:close/>
              </a:path>
              <a:path w="989330" h="4807585">
                <a:moveTo>
                  <a:pt x="850049" y="0"/>
                </a:moveTo>
                <a:lnTo>
                  <a:pt x="799249" y="0"/>
                </a:lnTo>
                <a:lnTo>
                  <a:pt x="799249" y="12700"/>
                </a:lnTo>
                <a:lnTo>
                  <a:pt x="850049" y="12700"/>
                </a:lnTo>
                <a:lnTo>
                  <a:pt x="850049" y="0"/>
                </a:lnTo>
                <a:close/>
              </a:path>
              <a:path w="989330" h="4807585">
                <a:moveTo>
                  <a:pt x="761149" y="0"/>
                </a:moveTo>
                <a:lnTo>
                  <a:pt x="710349" y="0"/>
                </a:lnTo>
                <a:lnTo>
                  <a:pt x="710349" y="12700"/>
                </a:lnTo>
                <a:lnTo>
                  <a:pt x="761149" y="12700"/>
                </a:lnTo>
                <a:lnTo>
                  <a:pt x="761149" y="0"/>
                </a:lnTo>
                <a:close/>
              </a:path>
              <a:path w="989330" h="4807585">
                <a:moveTo>
                  <a:pt x="672249" y="0"/>
                </a:moveTo>
                <a:lnTo>
                  <a:pt x="621449" y="0"/>
                </a:lnTo>
                <a:lnTo>
                  <a:pt x="621449" y="12700"/>
                </a:lnTo>
                <a:lnTo>
                  <a:pt x="672249" y="12700"/>
                </a:lnTo>
                <a:lnTo>
                  <a:pt x="672249" y="0"/>
                </a:lnTo>
                <a:close/>
              </a:path>
              <a:path w="989330" h="4807585">
                <a:moveTo>
                  <a:pt x="583349" y="0"/>
                </a:moveTo>
                <a:lnTo>
                  <a:pt x="532549" y="0"/>
                </a:lnTo>
                <a:lnTo>
                  <a:pt x="532549" y="12700"/>
                </a:lnTo>
                <a:lnTo>
                  <a:pt x="583349" y="12700"/>
                </a:lnTo>
                <a:lnTo>
                  <a:pt x="583349" y="0"/>
                </a:lnTo>
                <a:close/>
              </a:path>
              <a:path w="989330" h="4807585">
                <a:moveTo>
                  <a:pt x="494449" y="0"/>
                </a:moveTo>
                <a:lnTo>
                  <a:pt x="443649" y="0"/>
                </a:lnTo>
                <a:lnTo>
                  <a:pt x="443649" y="12700"/>
                </a:lnTo>
                <a:lnTo>
                  <a:pt x="494449" y="12700"/>
                </a:lnTo>
                <a:lnTo>
                  <a:pt x="494449" y="0"/>
                </a:lnTo>
                <a:close/>
              </a:path>
              <a:path w="989330" h="4807585">
                <a:moveTo>
                  <a:pt x="405549" y="0"/>
                </a:moveTo>
                <a:lnTo>
                  <a:pt x="354749" y="0"/>
                </a:lnTo>
                <a:lnTo>
                  <a:pt x="354749" y="12700"/>
                </a:lnTo>
                <a:lnTo>
                  <a:pt x="405549" y="12700"/>
                </a:lnTo>
                <a:lnTo>
                  <a:pt x="405549" y="0"/>
                </a:lnTo>
                <a:close/>
              </a:path>
              <a:path w="989330" h="4807585">
                <a:moveTo>
                  <a:pt x="316649" y="0"/>
                </a:moveTo>
                <a:lnTo>
                  <a:pt x="265849" y="0"/>
                </a:lnTo>
                <a:lnTo>
                  <a:pt x="265849" y="12700"/>
                </a:lnTo>
                <a:lnTo>
                  <a:pt x="316649" y="12700"/>
                </a:lnTo>
                <a:lnTo>
                  <a:pt x="316649" y="0"/>
                </a:lnTo>
                <a:close/>
              </a:path>
              <a:path w="989330" h="4807585">
                <a:moveTo>
                  <a:pt x="227749" y="0"/>
                </a:moveTo>
                <a:lnTo>
                  <a:pt x="176949" y="0"/>
                </a:lnTo>
                <a:lnTo>
                  <a:pt x="176949" y="12700"/>
                </a:lnTo>
                <a:lnTo>
                  <a:pt x="227749" y="12700"/>
                </a:lnTo>
                <a:lnTo>
                  <a:pt x="227749" y="0"/>
                </a:lnTo>
                <a:close/>
              </a:path>
              <a:path w="989330" h="4807585">
                <a:moveTo>
                  <a:pt x="138912" y="0"/>
                </a:moveTo>
                <a:lnTo>
                  <a:pt x="88112" y="0"/>
                </a:lnTo>
                <a:lnTo>
                  <a:pt x="88112" y="12700"/>
                </a:lnTo>
                <a:lnTo>
                  <a:pt x="138912" y="12700"/>
                </a:lnTo>
                <a:lnTo>
                  <a:pt x="138912" y="0"/>
                </a:lnTo>
                <a:close/>
              </a:path>
              <a:path w="989330" h="4807585">
                <a:moveTo>
                  <a:pt x="50012" y="0"/>
                </a:moveTo>
                <a:lnTo>
                  <a:pt x="0" y="0"/>
                </a:lnTo>
                <a:lnTo>
                  <a:pt x="0" y="13462"/>
                </a:lnTo>
                <a:lnTo>
                  <a:pt x="12700" y="13462"/>
                </a:lnTo>
                <a:lnTo>
                  <a:pt x="12700" y="12700"/>
                </a:lnTo>
                <a:lnTo>
                  <a:pt x="6350" y="12700"/>
                </a:lnTo>
                <a:lnTo>
                  <a:pt x="12700" y="6350"/>
                </a:lnTo>
                <a:lnTo>
                  <a:pt x="50012" y="6350"/>
                </a:lnTo>
                <a:lnTo>
                  <a:pt x="50012" y="0"/>
                </a:lnTo>
                <a:close/>
              </a:path>
              <a:path w="989330" h="4807585">
                <a:moveTo>
                  <a:pt x="12700" y="6350"/>
                </a:moveTo>
                <a:lnTo>
                  <a:pt x="6350" y="12700"/>
                </a:lnTo>
                <a:lnTo>
                  <a:pt x="12700" y="12700"/>
                </a:lnTo>
                <a:lnTo>
                  <a:pt x="12700" y="6350"/>
                </a:lnTo>
                <a:close/>
              </a:path>
              <a:path w="989330" h="4807585">
                <a:moveTo>
                  <a:pt x="50012" y="6350"/>
                </a:moveTo>
                <a:lnTo>
                  <a:pt x="12700" y="6350"/>
                </a:lnTo>
                <a:lnTo>
                  <a:pt x="12700" y="12700"/>
                </a:lnTo>
                <a:lnTo>
                  <a:pt x="50012" y="12700"/>
                </a:lnTo>
                <a:lnTo>
                  <a:pt x="50012" y="6350"/>
                </a:lnTo>
                <a:close/>
              </a:path>
              <a:path w="989330" h="4807585">
                <a:moveTo>
                  <a:pt x="12700" y="51562"/>
                </a:moveTo>
                <a:lnTo>
                  <a:pt x="0" y="51562"/>
                </a:lnTo>
                <a:lnTo>
                  <a:pt x="0" y="102362"/>
                </a:lnTo>
                <a:lnTo>
                  <a:pt x="12700" y="102362"/>
                </a:lnTo>
                <a:lnTo>
                  <a:pt x="12700" y="51562"/>
                </a:lnTo>
                <a:close/>
              </a:path>
              <a:path w="989330" h="4807585">
                <a:moveTo>
                  <a:pt x="12700" y="140462"/>
                </a:moveTo>
                <a:lnTo>
                  <a:pt x="0" y="140462"/>
                </a:lnTo>
                <a:lnTo>
                  <a:pt x="0" y="191262"/>
                </a:lnTo>
                <a:lnTo>
                  <a:pt x="12700" y="191262"/>
                </a:lnTo>
                <a:lnTo>
                  <a:pt x="12700" y="140462"/>
                </a:lnTo>
                <a:close/>
              </a:path>
              <a:path w="989330" h="4807585">
                <a:moveTo>
                  <a:pt x="12700" y="229362"/>
                </a:moveTo>
                <a:lnTo>
                  <a:pt x="0" y="229362"/>
                </a:lnTo>
                <a:lnTo>
                  <a:pt x="0" y="280162"/>
                </a:lnTo>
                <a:lnTo>
                  <a:pt x="12700" y="280162"/>
                </a:lnTo>
                <a:lnTo>
                  <a:pt x="12700" y="229362"/>
                </a:lnTo>
                <a:close/>
              </a:path>
              <a:path w="989330" h="4807585">
                <a:moveTo>
                  <a:pt x="12700" y="318262"/>
                </a:moveTo>
                <a:lnTo>
                  <a:pt x="0" y="318262"/>
                </a:lnTo>
                <a:lnTo>
                  <a:pt x="0" y="369062"/>
                </a:lnTo>
                <a:lnTo>
                  <a:pt x="12700" y="369062"/>
                </a:lnTo>
                <a:lnTo>
                  <a:pt x="12700" y="318262"/>
                </a:lnTo>
                <a:close/>
              </a:path>
              <a:path w="989330" h="4807585">
                <a:moveTo>
                  <a:pt x="12700" y="407162"/>
                </a:moveTo>
                <a:lnTo>
                  <a:pt x="0" y="407162"/>
                </a:lnTo>
                <a:lnTo>
                  <a:pt x="0" y="457962"/>
                </a:lnTo>
                <a:lnTo>
                  <a:pt x="12700" y="457962"/>
                </a:lnTo>
                <a:lnTo>
                  <a:pt x="12700" y="407162"/>
                </a:lnTo>
                <a:close/>
              </a:path>
              <a:path w="989330" h="4807585">
                <a:moveTo>
                  <a:pt x="12700" y="496062"/>
                </a:moveTo>
                <a:lnTo>
                  <a:pt x="0" y="496062"/>
                </a:lnTo>
                <a:lnTo>
                  <a:pt x="0" y="546862"/>
                </a:lnTo>
                <a:lnTo>
                  <a:pt x="12700" y="546862"/>
                </a:lnTo>
                <a:lnTo>
                  <a:pt x="12700" y="496062"/>
                </a:lnTo>
                <a:close/>
              </a:path>
              <a:path w="989330" h="4807585">
                <a:moveTo>
                  <a:pt x="12700" y="584962"/>
                </a:moveTo>
                <a:lnTo>
                  <a:pt x="0" y="584962"/>
                </a:lnTo>
                <a:lnTo>
                  <a:pt x="0" y="635762"/>
                </a:lnTo>
                <a:lnTo>
                  <a:pt x="12700" y="635762"/>
                </a:lnTo>
                <a:lnTo>
                  <a:pt x="12700" y="584962"/>
                </a:lnTo>
                <a:close/>
              </a:path>
              <a:path w="989330" h="4807585">
                <a:moveTo>
                  <a:pt x="12700" y="673862"/>
                </a:moveTo>
                <a:lnTo>
                  <a:pt x="0" y="673862"/>
                </a:lnTo>
                <a:lnTo>
                  <a:pt x="0" y="724662"/>
                </a:lnTo>
                <a:lnTo>
                  <a:pt x="12700" y="724662"/>
                </a:lnTo>
                <a:lnTo>
                  <a:pt x="12700" y="673862"/>
                </a:lnTo>
                <a:close/>
              </a:path>
              <a:path w="989330" h="4807585">
                <a:moveTo>
                  <a:pt x="12700" y="762762"/>
                </a:moveTo>
                <a:lnTo>
                  <a:pt x="0" y="762762"/>
                </a:lnTo>
                <a:lnTo>
                  <a:pt x="0" y="813562"/>
                </a:lnTo>
                <a:lnTo>
                  <a:pt x="12700" y="813562"/>
                </a:lnTo>
                <a:lnTo>
                  <a:pt x="12700" y="762762"/>
                </a:lnTo>
                <a:close/>
              </a:path>
              <a:path w="989330" h="4807585">
                <a:moveTo>
                  <a:pt x="12700" y="851662"/>
                </a:moveTo>
                <a:lnTo>
                  <a:pt x="0" y="851662"/>
                </a:lnTo>
                <a:lnTo>
                  <a:pt x="0" y="902462"/>
                </a:lnTo>
                <a:lnTo>
                  <a:pt x="12700" y="902462"/>
                </a:lnTo>
                <a:lnTo>
                  <a:pt x="12700" y="851662"/>
                </a:lnTo>
                <a:close/>
              </a:path>
              <a:path w="989330" h="4807585">
                <a:moveTo>
                  <a:pt x="12700" y="940562"/>
                </a:moveTo>
                <a:lnTo>
                  <a:pt x="0" y="940562"/>
                </a:lnTo>
                <a:lnTo>
                  <a:pt x="0" y="991362"/>
                </a:lnTo>
                <a:lnTo>
                  <a:pt x="12700" y="991362"/>
                </a:lnTo>
                <a:lnTo>
                  <a:pt x="12700" y="940562"/>
                </a:lnTo>
                <a:close/>
              </a:path>
              <a:path w="989330" h="4807585">
                <a:moveTo>
                  <a:pt x="12700" y="1029462"/>
                </a:moveTo>
                <a:lnTo>
                  <a:pt x="0" y="1029462"/>
                </a:lnTo>
                <a:lnTo>
                  <a:pt x="0" y="1080262"/>
                </a:lnTo>
                <a:lnTo>
                  <a:pt x="12700" y="1080262"/>
                </a:lnTo>
                <a:lnTo>
                  <a:pt x="12700" y="1029462"/>
                </a:lnTo>
                <a:close/>
              </a:path>
              <a:path w="989330" h="4807585">
                <a:moveTo>
                  <a:pt x="12700" y="1118362"/>
                </a:moveTo>
                <a:lnTo>
                  <a:pt x="0" y="1118362"/>
                </a:lnTo>
                <a:lnTo>
                  <a:pt x="0" y="1169162"/>
                </a:lnTo>
                <a:lnTo>
                  <a:pt x="12700" y="1169162"/>
                </a:lnTo>
                <a:lnTo>
                  <a:pt x="12700" y="1118362"/>
                </a:lnTo>
                <a:close/>
              </a:path>
              <a:path w="989330" h="4807585">
                <a:moveTo>
                  <a:pt x="12700" y="1207262"/>
                </a:moveTo>
                <a:lnTo>
                  <a:pt x="0" y="1207262"/>
                </a:lnTo>
                <a:lnTo>
                  <a:pt x="0" y="1258062"/>
                </a:lnTo>
                <a:lnTo>
                  <a:pt x="12700" y="1258062"/>
                </a:lnTo>
                <a:lnTo>
                  <a:pt x="12700" y="1207262"/>
                </a:lnTo>
                <a:close/>
              </a:path>
              <a:path w="989330" h="4807585">
                <a:moveTo>
                  <a:pt x="12700" y="1296162"/>
                </a:moveTo>
                <a:lnTo>
                  <a:pt x="0" y="1296162"/>
                </a:lnTo>
                <a:lnTo>
                  <a:pt x="0" y="1346962"/>
                </a:lnTo>
                <a:lnTo>
                  <a:pt x="12700" y="1346962"/>
                </a:lnTo>
                <a:lnTo>
                  <a:pt x="12700" y="1296162"/>
                </a:lnTo>
                <a:close/>
              </a:path>
              <a:path w="989330" h="4807585">
                <a:moveTo>
                  <a:pt x="12700" y="1385062"/>
                </a:moveTo>
                <a:lnTo>
                  <a:pt x="0" y="1385062"/>
                </a:lnTo>
                <a:lnTo>
                  <a:pt x="0" y="1435862"/>
                </a:lnTo>
                <a:lnTo>
                  <a:pt x="12700" y="1435862"/>
                </a:lnTo>
                <a:lnTo>
                  <a:pt x="12700" y="1385062"/>
                </a:lnTo>
                <a:close/>
              </a:path>
              <a:path w="989330" h="4807585">
                <a:moveTo>
                  <a:pt x="12700" y="1473962"/>
                </a:moveTo>
                <a:lnTo>
                  <a:pt x="0" y="1473962"/>
                </a:lnTo>
                <a:lnTo>
                  <a:pt x="0" y="1524762"/>
                </a:lnTo>
                <a:lnTo>
                  <a:pt x="12700" y="1524762"/>
                </a:lnTo>
                <a:lnTo>
                  <a:pt x="12700" y="1473962"/>
                </a:lnTo>
                <a:close/>
              </a:path>
              <a:path w="989330" h="4807585">
                <a:moveTo>
                  <a:pt x="12700" y="1562862"/>
                </a:moveTo>
                <a:lnTo>
                  <a:pt x="0" y="1562862"/>
                </a:lnTo>
                <a:lnTo>
                  <a:pt x="0" y="1613662"/>
                </a:lnTo>
                <a:lnTo>
                  <a:pt x="12700" y="1613662"/>
                </a:lnTo>
                <a:lnTo>
                  <a:pt x="12700" y="1562862"/>
                </a:lnTo>
                <a:close/>
              </a:path>
              <a:path w="989330" h="4807585">
                <a:moveTo>
                  <a:pt x="12700" y="1651762"/>
                </a:moveTo>
                <a:lnTo>
                  <a:pt x="0" y="1651762"/>
                </a:lnTo>
                <a:lnTo>
                  <a:pt x="0" y="1702562"/>
                </a:lnTo>
                <a:lnTo>
                  <a:pt x="12700" y="1702562"/>
                </a:lnTo>
                <a:lnTo>
                  <a:pt x="12700" y="1651762"/>
                </a:lnTo>
                <a:close/>
              </a:path>
              <a:path w="989330" h="4807585">
                <a:moveTo>
                  <a:pt x="12700" y="1740662"/>
                </a:moveTo>
                <a:lnTo>
                  <a:pt x="0" y="1740662"/>
                </a:lnTo>
                <a:lnTo>
                  <a:pt x="0" y="1791462"/>
                </a:lnTo>
                <a:lnTo>
                  <a:pt x="12700" y="1791462"/>
                </a:lnTo>
                <a:lnTo>
                  <a:pt x="12700" y="1740662"/>
                </a:lnTo>
                <a:close/>
              </a:path>
              <a:path w="989330" h="4807585">
                <a:moveTo>
                  <a:pt x="12700" y="1829562"/>
                </a:moveTo>
                <a:lnTo>
                  <a:pt x="0" y="1829562"/>
                </a:lnTo>
                <a:lnTo>
                  <a:pt x="0" y="1880362"/>
                </a:lnTo>
                <a:lnTo>
                  <a:pt x="12700" y="1880362"/>
                </a:lnTo>
                <a:lnTo>
                  <a:pt x="12700" y="1829562"/>
                </a:lnTo>
                <a:close/>
              </a:path>
              <a:path w="989330" h="4807585">
                <a:moveTo>
                  <a:pt x="12700" y="1918462"/>
                </a:moveTo>
                <a:lnTo>
                  <a:pt x="0" y="1918462"/>
                </a:lnTo>
                <a:lnTo>
                  <a:pt x="0" y="1969262"/>
                </a:lnTo>
                <a:lnTo>
                  <a:pt x="12700" y="1969262"/>
                </a:lnTo>
                <a:lnTo>
                  <a:pt x="12700" y="1918462"/>
                </a:lnTo>
                <a:close/>
              </a:path>
              <a:path w="989330" h="4807585">
                <a:moveTo>
                  <a:pt x="12700" y="2007362"/>
                </a:moveTo>
                <a:lnTo>
                  <a:pt x="0" y="2007362"/>
                </a:lnTo>
                <a:lnTo>
                  <a:pt x="0" y="2058162"/>
                </a:lnTo>
                <a:lnTo>
                  <a:pt x="12700" y="2058162"/>
                </a:lnTo>
                <a:lnTo>
                  <a:pt x="12700" y="2007362"/>
                </a:lnTo>
                <a:close/>
              </a:path>
              <a:path w="989330" h="4807585">
                <a:moveTo>
                  <a:pt x="12700" y="2096262"/>
                </a:moveTo>
                <a:lnTo>
                  <a:pt x="0" y="2096262"/>
                </a:lnTo>
                <a:lnTo>
                  <a:pt x="0" y="2147062"/>
                </a:lnTo>
                <a:lnTo>
                  <a:pt x="12700" y="2147062"/>
                </a:lnTo>
                <a:lnTo>
                  <a:pt x="12700" y="2096262"/>
                </a:lnTo>
                <a:close/>
              </a:path>
              <a:path w="989330" h="4807585">
                <a:moveTo>
                  <a:pt x="12700" y="2185161"/>
                </a:moveTo>
                <a:lnTo>
                  <a:pt x="0" y="2185161"/>
                </a:lnTo>
                <a:lnTo>
                  <a:pt x="0" y="2235961"/>
                </a:lnTo>
                <a:lnTo>
                  <a:pt x="12700" y="2235961"/>
                </a:lnTo>
                <a:lnTo>
                  <a:pt x="12700" y="2185161"/>
                </a:lnTo>
                <a:close/>
              </a:path>
              <a:path w="989330" h="4807585">
                <a:moveTo>
                  <a:pt x="12700" y="2274061"/>
                </a:moveTo>
                <a:lnTo>
                  <a:pt x="0" y="2274061"/>
                </a:lnTo>
                <a:lnTo>
                  <a:pt x="0" y="2324861"/>
                </a:lnTo>
                <a:lnTo>
                  <a:pt x="12700" y="2324861"/>
                </a:lnTo>
                <a:lnTo>
                  <a:pt x="12700" y="2274061"/>
                </a:lnTo>
                <a:close/>
              </a:path>
              <a:path w="989330" h="4807585">
                <a:moveTo>
                  <a:pt x="12700" y="2362961"/>
                </a:moveTo>
                <a:lnTo>
                  <a:pt x="0" y="2362961"/>
                </a:lnTo>
                <a:lnTo>
                  <a:pt x="0" y="2413761"/>
                </a:lnTo>
                <a:lnTo>
                  <a:pt x="12700" y="2413761"/>
                </a:lnTo>
                <a:lnTo>
                  <a:pt x="12700" y="2362961"/>
                </a:lnTo>
                <a:close/>
              </a:path>
              <a:path w="989330" h="4807585">
                <a:moveTo>
                  <a:pt x="12700" y="2451861"/>
                </a:moveTo>
                <a:lnTo>
                  <a:pt x="0" y="2451861"/>
                </a:lnTo>
                <a:lnTo>
                  <a:pt x="0" y="2502661"/>
                </a:lnTo>
                <a:lnTo>
                  <a:pt x="12700" y="2502661"/>
                </a:lnTo>
                <a:lnTo>
                  <a:pt x="12700" y="2451861"/>
                </a:lnTo>
                <a:close/>
              </a:path>
              <a:path w="989330" h="4807585">
                <a:moveTo>
                  <a:pt x="12700" y="2540761"/>
                </a:moveTo>
                <a:lnTo>
                  <a:pt x="0" y="2540761"/>
                </a:lnTo>
                <a:lnTo>
                  <a:pt x="0" y="2591561"/>
                </a:lnTo>
                <a:lnTo>
                  <a:pt x="12700" y="2591561"/>
                </a:lnTo>
                <a:lnTo>
                  <a:pt x="12700" y="2540761"/>
                </a:lnTo>
                <a:close/>
              </a:path>
              <a:path w="989330" h="4807585">
                <a:moveTo>
                  <a:pt x="12700" y="2629661"/>
                </a:moveTo>
                <a:lnTo>
                  <a:pt x="0" y="2629661"/>
                </a:lnTo>
                <a:lnTo>
                  <a:pt x="0" y="2680461"/>
                </a:lnTo>
                <a:lnTo>
                  <a:pt x="12700" y="2680461"/>
                </a:lnTo>
                <a:lnTo>
                  <a:pt x="12700" y="2629661"/>
                </a:lnTo>
                <a:close/>
              </a:path>
              <a:path w="989330" h="4807585">
                <a:moveTo>
                  <a:pt x="12700" y="2718561"/>
                </a:moveTo>
                <a:lnTo>
                  <a:pt x="0" y="2718561"/>
                </a:lnTo>
                <a:lnTo>
                  <a:pt x="0" y="2769361"/>
                </a:lnTo>
                <a:lnTo>
                  <a:pt x="12700" y="2769361"/>
                </a:lnTo>
                <a:lnTo>
                  <a:pt x="12700" y="2718561"/>
                </a:lnTo>
                <a:close/>
              </a:path>
              <a:path w="989330" h="4807585">
                <a:moveTo>
                  <a:pt x="12700" y="2807461"/>
                </a:moveTo>
                <a:lnTo>
                  <a:pt x="0" y="2807461"/>
                </a:lnTo>
                <a:lnTo>
                  <a:pt x="0" y="2858261"/>
                </a:lnTo>
                <a:lnTo>
                  <a:pt x="12700" y="2858261"/>
                </a:lnTo>
                <a:lnTo>
                  <a:pt x="12700" y="2807461"/>
                </a:lnTo>
                <a:close/>
              </a:path>
              <a:path w="989330" h="4807585">
                <a:moveTo>
                  <a:pt x="12700" y="2896361"/>
                </a:moveTo>
                <a:lnTo>
                  <a:pt x="0" y="2896361"/>
                </a:lnTo>
                <a:lnTo>
                  <a:pt x="0" y="2947161"/>
                </a:lnTo>
                <a:lnTo>
                  <a:pt x="12700" y="2947161"/>
                </a:lnTo>
                <a:lnTo>
                  <a:pt x="12700" y="2896361"/>
                </a:lnTo>
                <a:close/>
              </a:path>
              <a:path w="989330" h="4807585">
                <a:moveTo>
                  <a:pt x="12700" y="2985261"/>
                </a:moveTo>
                <a:lnTo>
                  <a:pt x="0" y="2985261"/>
                </a:lnTo>
                <a:lnTo>
                  <a:pt x="0" y="3036061"/>
                </a:lnTo>
                <a:lnTo>
                  <a:pt x="12700" y="3036061"/>
                </a:lnTo>
                <a:lnTo>
                  <a:pt x="12700" y="2985261"/>
                </a:lnTo>
                <a:close/>
              </a:path>
              <a:path w="989330" h="4807585">
                <a:moveTo>
                  <a:pt x="12700" y="3074161"/>
                </a:moveTo>
                <a:lnTo>
                  <a:pt x="0" y="3074161"/>
                </a:lnTo>
                <a:lnTo>
                  <a:pt x="0" y="3124961"/>
                </a:lnTo>
                <a:lnTo>
                  <a:pt x="12700" y="3124961"/>
                </a:lnTo>
                <a:lnTo>
                  <a:pt x="12700" y="3074161"/>
                </a:lnTo>
                <a:close/>
              </a:path>
              <a:path w="989330" h="4807585">
                <a:moveTo>
                  <a:pt x="12700" y="3163061"/>
                </a:moveTo>
                <a:lnTo>
                  <a:pt x="0" y="3163061"/>
                </a:lnTo>
                <a:lnTo>
                  <a:pt x="0" y="3213861"/>
                </a:lnTo>
                <a:lnTo>
                  <a:pt x="12700" y="3213861"/>
                </a:lnTo>
                <a:lnTo>
                  <a:pt x="12700" y="3163061"/>
                </a:lnTo>
                <a:close/>
              </a:path>
              <a:path w="989330" h="4807585">
                <a:moveTo>
                  <a:pt x="12700" y="3251961"/>
                </a:moveTo>
                <a:lnTo>
                  <a:pt x="0" y="3251961"/>
                </a:lnTo>
                <a:lnTo>
                  <a:pt x="0" y="3302761"/>
                </a:lnTo>
                <a:lnTo>
                  <a:pt x="12700" y="3302761"/>
                </a:lnTo>
                <a:lnTo>
                  <a:pt x="12700" y="3251961"/>
                </a:lnTo>
                <a:close/>
              </a:path>
              <a:path w="989330" h="4807585">
                <a:moveTo>
                  <a:pt x="12700" y="3340861"/>
                </a:moveTo>
                <a:lnTo>
                  <a:pt x="0" y="3340861"/>
                </a:lnTo>
                <a:lnTo>
                  <a:pt x="0" y="3391661"/>
                </a:lnTo>
                <a:lnTo>
                  <a:pt x="12700" y="3391661"/>
                </a:lnTo>
                <a:lnTo>
                  <a:pt x="12700" y="3340861"/>
                </a:lnTo>
                <a:close/>
              </a:path>
              <a:path w="989330" h="4807585">
                <a:moveTo>
                  <a:pt x="12700" y="3429761"/>
                </a:moveTo>
                <a:lnTo>
                  <a:pt x="0" y="3429761"/>
                </a:lnTo>
                <a:lnTo>
                  <a:pt x="0" y="3480561"/>
                </a:lnTo>
                <a:lnTo>
                  <a:pt x="12700" y="3480561"/>
                </a:lnTo>
                <a:lnTo>
                  <a:pt x="12700" y="3429761"/>
                </a:lnTo>
                <a:close/>
              </a:path>
              <a:path w="989330" h="4807585">
                <a:moveTo>
                  <a:pt x="12700" y="3518661"/>
                </a:moveTo>
                <a:lnTo>
                  <a:pt x="0" y="3518661"/>
                </a:lnTo>
                <a:lnTo>
                  <a:pt x="0" y="3569461"/>
                </a:lnTo>
                <a:lnTo>
                  <a:pt x="12700" y="3569461"/>
                </a:lnTo>
                <a:lnTo>
                  <a:pt x="12700" y="3518661"/>
                </a:lnTo>
                <a:close/>
              </a:path>
              <a:path w="989330" h="4807585">
                <a:moveTo>
                  <a:pt x="12700" y="3607561"/>
                </a:moveTo>
                <a:lnTo>
                  <a:pt x="0" y="3607561"/>
                </a:lnTo>
                <a:lnTo>
                  <a:pt x="0" y="3658361"/>
                </a:lnTo>
                <a:lnTo>
                  <a:pt x="12700" y="3658361"/>
                </a:lnTo>
                <a:lnTo>
                  <a:pt x="12700" y="3607561"/>
                </a:lnTo>
                <a:close/>
              </a:path>
              <a:path w="989330" h="4807585">
                <a:moveTo>
                  <a:pt x="12700" y="3696461"/>
                </a:moveTo>
                <a:lnTo>
                  <a:pt x="0" y="3696461"/>
                </a:lnTo>
                <a:lnTo>
                  <a:pt x="0" y="3747261"/>
                </a:lnTo>
                <a:lnTo>
                  <a:pt x="12700" y="3747261"/>
                </a:lnTo>
                <a:lnTo>
                  <a:pt x="12700" y="3696461"/>
                </a:lnTo>
                <a:close/>
              </a:path>
              <a:path w="989330" h="4807585">
                <a:moveTo>
                  <a:pt x="12700" y="3785361"/>
                </a:moveTo>
                <a:lnTo>
                  <a:pt x="0" y="3785361"/>
                </a:lnTo>
                <a:lnTo>
                  <a:pt x="0" y="3836161"/>
                </a:lnTo>
                <a:lnTo>
                  <a:pt x="12700" y="3836161"/>
                </a:lnTo>
                <a:lnTo>
                  <a:pt x="12700" y="3785361"/>
                </a:lnTo>
                <a:close/>
              </a:path>
              <a:path w="989330" h="4807585">
                <a:moveTo>
                  <a:pt x="12700" y="3874261"/>
                </a:moveTo>
                <a:lnTo>
                  <a:pt x="0" y="3874261"/>
                </a:lnTo>
                <a:lnTo>
                  <a:pt x="0" y="3925061"/>
                </a:lnTo>
                <a:lnTo>
                  <a:pt x="12700" y="3925061"/>
                </a:lnTo>
                <a:lnTo>
                  <a:pt x="12700" y="3874261"/>
                </a:lnTo>
                <a:close/>
              </a:path>
              <a:path w="989330" h="4807585">
                <a:moveTo>
                  <a:pt x="12700" y="3963161"/>
                </a:moveTo>
                <a:lnTo>
                  <a:pt x="0" y="3963161"/>
                </a:lnTo>
                <a:lnTo>
                  <a:pt x="0" y="4013961"/>
                </a:lnTo>
                <a:lnTo>
                  <a:pt x="12700" y="4013961"/>
                </a:lnTo>
                <a:lnTo>
                  <a:pt x="12700" y="3963161"/>
                </a:lnTo>
                <a:close/>
              </a:path>
              <a:path w="989330" h="4807585">
                <a:moveTo>
                  <a:pt x="12700" y="4052061"/>
                </a:moveTo>
                <a:lnTo>
                  <a:pt x="0" y="4052061"/>
                </a:lnTo>
                <a:lnTo>
                  <a:pt x="0" y="4102861"/>
                </a:lnTo>
                <a:lnTo>
                  <a:pt x="12700" y="4102861"/>
                </a:lnTo>
                <a:lnTo>
                  <a:pt x="12700" y="4052061"/>
                </a:lnTo>
                <a:close/>
              </a:path>
              <a:path w="989330" h="4807585">
                <a:moveTo>
                  <a:pt x="12700" y="4140961"/>
                </a:moveTo>
                <a:lnTo>
                  <a:pt x="0" y="4140961"/>
                </a:lnTo>
                <a:lnTo>
                  <a:pt x="0" y="4191812"/>
                </a:lnTo>
                <a:lnTo>
                  <a:pt x="12700" y="4191812"/>
                </a:lnTo>
                <a:lnTo>
                  <a:pt x="12700" y="4140961"/>
                </a:lnTo>
                <a:close/>
              </a:path>
              <a:path w="989330" h="4807585">
                <a:moveTo>
                  <a:pt x="12700" y="4229912"/>
                </a:moveTo>
                <a:lnTo>
                  <a:pt x="0" y="4229912"/>
                </a:lnTo>
                <a:lnTo>
                  <a:pt x="0" y="4280712"/>
                </a:lnTo>
                <a:lnTo>
                  <a:pt x="12700" y="4280712"/>
                </a:lnTo>
                <a:lnTo>
                  <a:pt x="12700" y="4229912"/>
                </a:lnTo>
                <a:close/>
              </a:path>
              <a:path w="989330" h="4807585">
                <a:moveTo>
                  <a:pt x="12700" y="4318812"/>
                </a:moveTo>
                <a:lnTo>
                  <a:pt x="0" y="4318812"/>
                </a:lnTo>
                <a:lnTo>
                  <a:pt x="0" y="4369612"/>
                </a:lnTo>
                <a:lnTo>
                  <a:pt x="12700" y="4369612"/>
                </a:lnTo>
                <a:lnTo>
                  <a:pt x="12700" y="4318812"/>
                </a:lnTo>
                <a:close/>
              </a:path>
              <a:path w="989330" h="4807585">
                <a:moveTo>
                  <a:pt x="12700" y="4407712"/>
                </a:moveTo>
                <a:lnTo>
                  <a:pt x="0" y="4407712"/>
                </a:lnTo>
                <a:lnTo>
                  <a:pt x="0" y="4458512"/>
                </a:lnTo>
                <a:lnTo>
                  <a:pt x="12700" y="4458512"/>
                </a:lnTo>
                <a:lnTo>
                  <a:pt x="12700" y="4407712"/>
                </a:lnTo>
                <a:close/>
              </a:path>
              <a:path w="989330" h="4807585">
                <a:moveTo>
                  <a:pt x="12700" y="4496612"/>
                </a:moveTo>
                <a:lnTo>
                  <a:pt x="0" y="4496612"/>
                </a:lnTo>
                <a:lnTo>
                  <a:pt x="0" y="4547412"/>
                </a:lnTo>
                <a:lnTo>
                  <a:pt x="12700" y="4547412"/>
                </a:lnTo>
                <a:lnTo>
                  <a:pt x="12700" y="4496612"/>
                </a:lnTo>
                <a:close/>
              </a:path>
              <a:path w="989330" h="4807585">
                <a:moveTo>
                  <a:pt x="12700" y="4585512"/>
                </a:moveTo>
                <a:lnTo>
                  <a:pt x="0" y="4585512"/>
                </a:lnTo>
                <a:lnTo>
                  <a:pt x="0" y="4636312"/>
                </a:lnTo>
                <a:lnTo>
                  <a:pt x="12700" y="4636312"/>
                </a:lnTo>
                <a:lnTo>
                  <a:pt x="12700" y="4585512"/>
                </a:lnTo>
                <a:close/>
              </a:path>
              <a:path w="989330" h="4807585">
                <a:moveTo>
                  <a:pt x="12700" y="4674412"/>
                </a:moveTo>
                <a:lnTo>
                  <a:pt x="0" y="4674412"/>
                </a:lnTo>
                <a:lnTo>
                  <a:pt x="0" y="4725212"/>
                </a:lnTo>
                <a:lnTo>
                  <a:pt x="12700" y="4725212"/>
                </a:lnTo>
                <a:lnTo>
                  <a:pt x="12700" y="4674412"/>
                </a:lnTo>
                <a:close/>
              </a:path>
              <a:path w="989330" h="4807585">
                <a:moveTo>
                  <a:pt x="12700" y="4763312"/>
                </a:moveTo>
                <a:lnTo>
                  <a:pt x="0" y="4763312"/>
                </a:lnTo>
                <a:lnTo>
                  <a:pt x="0" y="4807280"/>
                </a:lnTo>
                <a:lnTo>
                  <a:pt x="19532" y="4807280"/>
                </a:lnTo>
                <a:lnTo>
                  <a:pt x="19532" y="4800930"/>
                </a:lnTo>
                <a:lnTo>
                  <a:pt x="12700" y="4800930"/>
                </a:lnTo>
                <a:lnTo>
                  <a:pt x="6350" y="4794580"/>
                </a:lnTo>
                <a:lnTo>
                  <a:pt x="12700" y="4794580"/>
                </a:lnTo>
                <a:lnTo>
                  <a:pt x="12700" y="4763312"/>
                </a:lnTo>
                <a:close/>
              </a:path>
              <a:path w="989330" h="4807585">
                <a:moveTo>
                  <a:pt x="12700" y="4794580"/>
                </a:moveTo>
                <a:lnTo>
                  <a:pt x="6350" y="4794580"/>
                </a:lnTo>
                <a:lnTo>
                  <a:pt x="12700" y="4800930"/>
                </a:lnTo>
                <a:lnTo>
                  <a:pt x="12700" y="4794580"/>
                </a:lnTo>
                <a:close/>
              </a:path>
              <a:path w="989330" h="4807585">
                <a:moveTo>
                  <a:pt x="19532" y="4794580"/>
                </a:moveTo>
                <a:lnTo>
                  <a:pt x="12700" y="4794580"/>
                </a:lnTo>
                <a:lnTo>
                  <a:pt x="12700" y="4800930"/>
                </a:lnTo>
                <a:lnTo>
                  <a:pt x="19532" y="4800930"/>
                </a:lnTo>
                <a:lnTo>
                  <a:pt x="19532" y="4794580"/>
                </a:lnTo>
                <a:close/>
              </a:path>
              <a:path w="989330" h="4807585">
                <a:moveTo>
                  <a:pt x="108432" y="4794580"/>
                </a:moveTo>
                <a:lnTo>
                  <a:pt x="57632" y="4794580"/>
                </a:lnTo>
                <a:lnTo>
                  <a:pt x="57632" y="4807280"/>
                </a:lnTo>
                <a:lnTo>
                  <a:pt x="108432" y="4807280"/>
                </a:lnTo>
                <a:lnTo>
                  <a:pt x="108432" y="4794580"/>
                </a:lnTo>
                <a:close/>
              </a:path>
              <a:path w="989330" h="4807585">
                <a:moveTo>
                  <a:pt x="197396" y="4794580"/>
                </a:moveTo>
                <a:lnTo>
                  <a:pt x="146532" y="4794580"/>
                </a:lnTo>
                <a:lnTo>
                  <a:pt x="146532" y="4807280"/>
                </a:lnTo>
                <a:lnTo>
                  <a:pt x="197396" y="4807280"/>
                </a:lnTo>
                <a:lnTo>
                  <a:pt x="197396" y="4794580"/>
                </a:lnTo>
                <a:close/>
              </a:path>
              <a:path w="989330" h="4807585">
                <a:moveTo>
                  <a:pt x="286296" y="4794580"/>
                </a:moveTo>
                <a:lnTo>
                  <a:pt x="235496" y="4794580"/>
                </a:lnTo>
                <a:lnTo>
                  <a:pt x="235496" y="4807280"/>
                </a:lnTo>
                <a:lnTo>
                  <a:pt x="286296" y="4807280"/>
                </a:lnTo>
                <a:lnTo>
                  <a:pt x="286296" y="4794580"/>
                </a:lnTo>
                <a:close/>
              </a:path>
              <a:path w="989330" h="4807585">
                <a:moveTo>
                  <a:pt x="375196" y="4794580"/>
                </a:moveTo>
                <a:lnTo>
                  <a:pt x="324396" y="4794580"/>
                </a:lnTo>
                <a:lnTo>
                  <a:pt x="324396" y="4807280"/>
                </a:lnTo>
                <a:lnTo>
                  <a:pt x="375196" y="4807280"/>
                </a:lnTo>
                <a:lnTo>
                  <a:pt x="375196" y="4794580"/>
                </a:lnTo>
                <a:close/>
              </a:path>
              <a:path w="989330" h="4807585">
                <a:moveTo>
                  <a:pt x="464096" y="4794580"/>
                </a:moveTo>
                <a:lnTo>
                  <a:pt x="413296" y="4794580"/>
                </a:lnTo>
                <a:lnTo>
                  <a:pt x="413296" y="4807280"/>
                </a:lnTo>
                <a:lnTo>
                  <a:pt x="464096" y="4807280"/>
                </a:lnTo>
                <a:lnTo>
                  <a:pt x="464096" y="4794580"/>
                </a:lnTo>
                <a:close/>
              </a:path>
              <a:path w="989330" h="4807585">
                <a:moveTo>
                  <a:pt x="552996" y="4794580"/>
                </a:moveTo>
                <a:lnTo>
                  <a:pt x="502196" y="4794580"/>
                </a:lnTo>
                <a:lnTo>
                  <a:pt x="502196" y="4807280"/>
                </a:lnTo>
                <a:lnTo>
                  <a:pt x="552996" y="4807280"/>
                </a:lnTo>
                <a:lnTo>
                  <a:pt x="552996" y="4794580"/>
                </a:lnTo>
                <a:close/>
              </a:path>
              <a:path w="989330" h="4807585">
                <a:moveTo>
                  <a:pt x="641896" y="4794580"/>
                </a:moveTo>
                <a:lnTo>
                  <a:pt x="591096" y="4794580"/>
                </a:lnTo>
                <a:lnTo>
                  <a:pt x="591096" y="4807280"/>
                </a:lnTo>
                <a:lnTo>
                  <a:pt x="641896" y="4807280"/>
                </a:lnTo>
                <a:lnTo>
                  <a:pt x="641896" y="4794580"/>
                </a:lnTo>
                <a:close/>
              </a:path>
              <a:path w="989330" h="4807585">
                <a:moveTo>
                  <a:pt x="730796" y="4794580"/>
                </a:moveTo>
                <a:lnTo>
                  <a:pt x="679996" y="4794580"/>
                </a:lnTo>
                <a:lnTo>
                  <a:pt x="679996" y="4807280"/>
                </a:lnTo>
                <a:lnTo>
                  <a:pt x="730796" y="4807280"/>
                </a:lnTo>
                <a:lnTo>
                  <a:pt x="730796" y="4794580"/>
                </a:lnTo>
                <a:close/>
              </a:path>
              <a:path w="989330" h="4807585">
                <a:moveTo>
                  <a:pt x="819696" y="4794580"/>
                </a:moveTo>
                <a:lnTo>
                  <a:pt x="768896" y="4794580"/>
                </a:lnTo>
                <a:lnTo>
                  <a:pt x="768896" y="4807280"/>
                </a:lnTo>
                <a:lnTo>
                  <a:pt x="819696" y="4807280"/>
                </a:lnTo>
                <a:lnTo>
                  <a:pt x="819696" y="4794580"/>
                </a:lnTo>
                <a:close/>
              </a:path>
              <a:path w="989330" h="4807585">
                <a:moveTo>
                  <a:pt x="908596" y="4794580"/>
                </a:moveTo>
                <a:lnTo>
                  <a:pt x="857796" y="4794580"/>
                </a:lnTo>
                <a:lnTo>
                  <a:pt x="857796" y="4807280"/>
                </a:lnTo>
                <a:lnTo>
                  <a:pt x="908596" y="4807280"/>
                </a:lnTo>
                <a:lnTo>
                  <a:pt x="908596" y="4794580"/>
                </a:lnTo>
                <a:close/>
              </a:path>
              <a:path w="989330" h="4807585">
                <a:moveTo>
                  <a:pt x="957364" y="4794580"/>
                </a:moveTo>
                <a:lnTo>
                  <a:pt x="951014" y="4794580"/>
                </a:lnTo>
                <a:lnTo>
                  <a:pt x="946696" y="4798898"/>
                </a:lnTo>
                <a:lnTo>
                  <a:pt x="946696" y="4807280"/>
                </a:lnTo>
                <a:lnTo>
                  <a:pt x="957364" y="4807280"/>
                </a:lnTo>
                <a:lnTo>
                  <a:pt x="957364" y="4794580"/>
                </a:lnTo>
                <a:close/>
              </a:path>
              <a:path w="989330" h="4807585">
                <a:moveTo>
                  <a:pt x="957364" y="4754511"/>
                </a:moveTo>
                <a:lnTo>
                  <a:pt x="944664" y="4754511"/>
                </a:lnTo>
                <a:lnTo>
                  <a:pt x="944664" y="4800930"/>
                </a:lnTo>
                <a:lnTo>
                  <a:pt x="946696" y="4798898"/>
                </a:lnTo>
                <a:lnTo>
                  <a:pt x="946696" y="4794580"/>
                </a:lnTo>
                <a:lnTo>
                  <a:pt x="957364" y="4794580"/>
                </a:lnTo>
                <a:lnTo>
                  <a:pt x="957364" y="4754511"/>
                </a:lnTo>
                <a:close/>
              </a:path>
              <a:path w="989330" h="4807585">
                <a:moveTo>
                  <a:pt x="951014" y="4794580"/>
                </a:moveTo>
                <a:lnTo>
                  <a:pt x="946696" y="4794580"/>
                </a:lnTo>
                <a:lnTo>
                  <a:pt x="946696" y="4798898"/>
                </a:lnTo>
                <a:lnTo>
                  <a:pt x="951014" y="4794580"/>
                </a:lnTo>
                <a:close/>
              </a:path>
              <a:path w="989330" h="4807585">
                <a:moveTo>
                  <a:pt x="957364" y="4665611"/>
                </a:moveTo>
                <a:lnTo>
                  <a:pt x="944664" y="4665611"/>
                </a:lnTo>
                <a:lnTo>
                  <a:pt x="944664" y="4716411"/>
                </a:lnTo>
                <a:lnTo>
                  <a:pt x="957364" y="4716411"/>
                </a:lnTo>
                <a:lnTo>
                  <a:pt x="957364" y="4665611"/>
                </a:lnTo>
                <a:close/>
              </a:path>
              <a:path w="989330" h="4807585">
                <a:moveTo>
                  <a:pt x="951014" y="4572355"/>
                </a:moveTo>
                <a:lnTo>
                  <a:pt x="912914" y="4648555"/>
                </a:lnTo>
                <a:lnTo>
                  <a:pt x="989114" y="4648555"/>
                </a:lnTo>
                <a:lnTo>
                  <a:pt x="951014" y="4572355"/>
                </a:lnTo>
                <a:close/>
              </a:path>
            </a:pathLst>
          </a:custGeom>
          <a:solidFill>
            <a:srgbClr val="7E7E7E"/>
          </a:solidFill>
        </p:spPr>
        <p:txBody>
          <a:bodyPr wrap="square" lIns="0" tIns="0" rIns="0" bIns="0" rtlCol="0"/>
          <a:lstStyle/>
          <a:p>
            <a:endParaRPr/>
          </a:p>
        </p:txBody>
      </p:sp>
      <p:sp>
        <p:nvSpPr>
          <p:cNvPr id="79" name="object 79"/>
          <p:cNvSpPr/>
          <p:nvPr/>
        </p:nvSpPr>
        <p:spPr>
          <a:xfrm>
            <a:off x="2583179" y="3127248"/>
            <a:ext cx="1057910" cy="492759"/>
          </a:xfrm>
          <a:custGeom>
            <a:avLst/>
            <a:gdLst/>
            <a:ahLst/>
            <a:cxnLst/>
            <a:rect l="l" t="t" r="r" b="b"/>
            <a:pathLst>
              <a:path w="1057910" h="492760">
                <a:moveTo>
                  <a:pt x="0" y="492251"/>
                </a:moveTo>
                <a:lnTo>
                  <a:pt x="1057656" y="492251"/>
                </a:lnTo>
                <a:lnTo>
                  <a:pt x="1057656" y="0"/>
                </a:lnTo>
                <a:lnTo>
                  <a:pt x="0" y="0"/>
                </a:lnTo>
                <a:lnTo>
                  <a:pt x="0" y="492251"/>
                </a:lnTo>
                <a:close/>
              </a:path>
            </a:pathLst>
          </a:custGeom>
          <a:solidFill>
            <a:srgbClr val="FFFFFF"/>
          </a:solidFill>
        </p:spPr>
        <p:txBody>
          <a:bodyPr wrap="square" lIns="0" tIns="0" rIns="0" bIns="0" rtlCol="0"/>
          <a:lstStyle/>
          <a:p>
            <a:endParaRPr/>
          </a:p>
        </p:txBody>
      </p:sp>
      <p:sp>
        <p:nvSpPr>
          <p:cNvPr id="80" name="object 80"/>
          <p:cNvSpPr txBox="1"/>
          <p:nvPr/>
        </p:nvSpPr>
        <p:spPr>
          <a:xfrm>
            <a:off x="2571114" y="3114294"/>
            <a:ext cx="1062355" cy="513715"/>
          </a:xfrm>
          <a:prstGeom prst="rect">
            <a:avLst/>
          </a:prstGeom>
        </p:spPr>
        <p:txBody>
          <a:bodyPr vert="horz" wrap="square" lIns="0" tIns="13335" rIns="0" bIns="0" rtlCol="0">
            <a:spAutoFit/>
          </a:bodyPr>
          <a:lstStyle/>
          <a:p>
            <a:pPr marL="12700" marR="5080">
              <a:lnSpc>
                <a:spcPct val="100000"/>
              </a:lnSpc>
              <a:spcBef>
                <a:spcPts val="105"/>
              </a:spcBef>
            </a:pPr>
            <a:r>
              <a:rPr sz="800" b="1">
                <a:solidFill>
                  <a:srgbClr val="D22138"/>
                </a:solidFill>
                <a:latin typeface="Verdana"/>
                <a:cs typeface="Verdana"/>
              </a:rPr>
              <a:t>Use Eclipse/  Sublime </a:t>
            </a:r>
            <a:r>
              <a:rPr sz="800" b="1">
                <a:latin typeface="Verdana"/>
                <a:cs typeface="Verdana"/>
              </a:rPr>
              <a:t>editor</a:t>
            </a:r>
            <a:r>
              <a:rPr sz="800" b="1" spc="-90">
                <a:latin typeface="Verdana"/>
                <a:cs typeface="Verdana"/>
              </a:rPr>
              <a:t> </a:t>
            </a:r>
            <a:r>
              <a:rPr sz="800" b="1">
                <a:latin typeface="Verdana"/>
                <a:cs typeface="Verdana"/>
              </a:rPr>
              <a:t>for  easy code  compilation</a:t>
            </a:r>
            <a:endParaRPr sz="800">
              <a:latin typeface="Verdana"/>
              <a:cs typeface="Verdana"/>
            </a:endParaRPr>
          </a:p>
        </p:txBody>
      </p:sp>
      <p:sp>
        <p:nvSpPr>
          <p:cNvPr id="81" name="object 81"/>
          <p:cNvSpPr/>
          <p:nvPr/>
        </p:nvSpPr>
        <p:spPr>
          <a:xfrm>
            <a:off x="9590531" y="5497067"/>
            <a:ext cx="595883" cy="519684"/>
          </a:xfrm>
          <a:prstGeom prst="rect">
            <a:avLst/>
          </a:prstGeom>
          <a:blipFill>
            <a:blip r:embed="rId7" cstate="print"/>
            <a:stretch>
              <a:fillRect/>
            </a:stretch>
          </a:blipFill>
        </p:spPr>
        <p:txBody>
          <a:bodyPr wrap="square" lIns="0" tIns="0" rIns="0" bIns="0" rtlCol="0"/>
          <a:lstStyle/>
          <a:p>
            <a:endParaRPr/>
          </a:p>
        </p:txBody>
      </p:sp>
      <p:sp>
        <p:nvSpPr>
          <p:cNvPr id="82" name="object 82"/>
          <p:cNvSpPr/>
          <p:nvPr/>
        </p:nvSpPr>
        <p:spPr>
          <a:xfrm>
            <a:off x="4796028" y="3311652"/>
            <a:ext cx="548639" cy="548640"/>
          </a:xfrm>
          <a:prstGeom prst="rect">
            <a:avLst/>
          </a:prstGeom>
          <a:blipFill>
            <a:blip r:embed="rId8" cstate="print"/>
            <a:stretch>
              <a:fillRect/>
            </a:stretch>
          </a:blipFill>
        </p:spPr>
        <p:txBody>
          <a:bodyPr wrap="square" lIns="0" tIns="0" rIns="0" bIns="0" rtlCol="0"/>
          <a:lstStyle/>
          <a:p>
            <a:endParaRPr/>
          </a:p>
        </p:txBody>
      </p:sp>
      <p:sp>
        <p:nvSpPr>
          <p:cNvPr id="83" name="object 83"/>
          <p:cNvSpPr/>
          <p:nvPr/>
        </p:nvSpPr>
        <p:spPr>
          <a:xfrm>
            <a:off x="5344667" y="3547871"/>
            <a:ext cx="829944" cy="147320"/>
          </a:xfrm>
          <a:custGeom>
            <a:avLst/>
            <a:gdLst/>
            <a:ahLst/>
            <a:cxnLst/>
            <a:rect l="l" t="t" r="r" b="b"/>
            <a:pathLst>
              <a:path w="829945" h="147320">
                <a:moveTo>
                  <a:pt x="816864" y="38100"/>
                </a:moveTo>
                <a:lnTo>
                  <a:pt x="816864" y="147319"/>
                </a:lnTo>
                <a:lnTo>
                  <a:pt x="829564" y="147319"/>
                </a:lnTo>
                <a:lnTo>
                  <a:pt x="829564" y="44450"/>
                </a:lnTo>
                <a:lnTo>
                  <a:pt x="823214" y="44450"/>
                </a:lnTo>
                <a:lnTo>
                  <a:pt x="816864" y="38100"/>
                </a:lnTo>
                <a:close/>
              </a:path>
              <a:path w="829945" h="147320">
                <a:moveTo>
                  <a:pt x="76200" y="0"/>
                </a:moveTo>
                <a:lnTo>
                  <a:pt x="0" y="38100"/>
                </a:lnTo>
                <a:lnTo>
                  <a:pt x="76200" y="76200"/>
                </a:lnTo>
                <a:lnTo>
                  <a:pt x="76200" y="44450"/>
                </a:lnTo>
                <a:lnTo>
                  <a:pt x="63500" y="44450"/>
                </a:lnTo>
                <a:lnTo>
                  <a:pt x="63500" y="31750"/>
                </a:lnTo>
                <a:lnTo>
                  <a:pt x="76200" y="31750"/>
                </a:lnTo>
                <a:lnTo>
                  <a:pt x="76200" y="0"/>
                </a:lnTo>
                <a:close/>
              </a:path>
              <a:path w="829945" h="147320">
                <a:moveTo>
                  <a:pt x="76200" y="31750"/>
                </a:moveTo>
                <a:lnTo>
                  <a:pt x="63500" y="31750"/>
                </a:lnTo>
                <a:lnTo>
                  <a:pt x="63500" y="44450"/>
                </a:lnTo>
                <a:lnTo>
                  <a:pt x="76200" y="44450"/>
                </a:lnTo>
                <a:lnTo>
                  <a:pt x="76200" y="31750"/>
                </a:lnTo>
                <a:close/>
              </a:path>
              <a:path w="829945" h="147320">
                <a:moveTo>
                  <a:pt x="829564" y="31750"/>
                </a:moveTo>
                <a:lnTo>
                  <a:pt x="76200" y="31750"/>
                </a:lnTo>
                <a:lnTo>
                  <a:pt x="76200" y="44450"/>
                </a:lnTo>
                <a:lnTo>
                  <a:pt x="816864" y="44450"/>
                </a:lnTo>
                <a:lnTo>
                  <a:pt x="816864" y="38100"/>
                </a:lnTo>
                <a:lnTo>
                  <a:pt x="829564" y="38100"/>
                </a:lnTo>
                <a:lnTo>
                  <a:pt x="829564" y="31750"/>
                </a:lnTo>
                <a:close/>
              </a:path>
              <a:path w="829945" h="147320">
                <a:moveTo>
                  <a:pt x="829564" y="38100"/>
                </a:moveTo>
                <a:lnTo>
                  <a:pt x="816864" y="38100"/>
                </a:lnTo>
                <a:lnTo>
                  <a:pt x="823214" y="44450"/>
                </a:lnTo>
                <a:lnTo>
                  <a:pt x="829564" y="44450"/>
                </a:lnTo>
                <a:lnTo>
                  <a:pt x="829564" y="38100"/>
                </a:lnTo>
                <a:close/>
              </a:path>
            </a:pathLst>
          </a:custGeom>
          <a:solidFill>
            <a:srgbClr val="7E7E7E"/>
          </a:solidFill>
        </p:spPr>
        <p:txBody>
          <a:bodyPr wrap="square" lIns="0" tIns="0" rIns="0" bIns="0" rtlCol="0"/>
          <a:lstStyle/>
          <a:p>
            <a:endParaRPr/>
          </a:p>
        </p:txBody>
      </p:sp>
      <p:sp>
        <p:nvSpPr>
          <p:cNvPr id="84" name="object 84"/>
          <p:cNvSpPr/>
          <p:nvPr/>
        </p:nvSpPr>
        <p:spPr>
          <a:xfrm>
            <a:off x="7095743" y="3311652"/>
            <a:ext cx="512063" cy="548640"/>
          </a:xfrm>
          <a:prstGeom prst="rect">
            <a:avLst/>
          </a:prstGeom>
          <a:blipFill>
            <a:blip r:embed="rId9" cstate="print"/>
            <a:stretch>
              <a:fillRect/>
            </a:stretch>
          </a:blipFill>
        </p:spPr>
        <p:txBody>
          <a:bodyPr wrap="square" lIns="0" tIns="0" rIns="0" bIns="0" rtlCol="0"/>
          <a:lstStyle/>
          <a:p>
            <a:endParaRPr/>
          </a:p>
        </p:txBody>
      </p:sp>
      <p:sp>
        <p:nvSpPr>
          <p:cNvPr id="85" name="object 85"/>
          <p:cNvSpPr/>
          <p:nvPr/>
        </p:nvSpPr>
        <p:spPr>
          <a:xfrm>
            <a:off x="6161278" y="3547871"/>
            <a:ext cx="916940" cy="147320"/>
          </a:xfrm>
          <a:custGeom>
            <a:avLst/>
            <a:gdLst/>
            <a:ahLst/>
            <a:cxnLst/>
            <a:rect l="l" t="t" r="r" b="b"/>
            <a:pathLst>
              <a:path w="916940" h="147320">
                <a:moveTo>
                  <a:pt x="840486" y="31750"/>
                </a:moveTo>
                <a:lnTo>
                  <a:pt x="0" y="31750"/>
                </a:lnTo>
                <a:lnTo>
                  <a:pt x="0" y="147319"/>
                </a:lnTo>
                <a:lnTo>
                  <a:pt x="12700" y="147319"/>
                </a:lnTo>
                <a:lnTo>
                  <a:pt x="12700" y="44450"/>
                </a:lnTo>
                <a:lnTo>
                  <a:pt x="6350" y="44450"/>
                </a:lnTo>
                <a:lnTo>
                  <a:pt x="12700" y="38100"/>
                </a:lnTo>
                <a:lnTo>
                  <a:pt x="840486" y="38100"/>
                </a:lnTo>
                <a:lnTo>
                  <a:pt x="840486" y="31750"/>
                </a:lnTo>
                <a:close/>
              </a:path>
              <a:path w="916940" h="147320">
                <a:moveTo>
                  <a:pt x="840486" y="0"/>
                </a:moveTo>
                <a:lnTo>
                  <a:pt x="840486" y="76200"/>
                </a:lnTo>
                <a:lnTo>
                  <a:pt x="903986" y="44450"/>
                </a:lnTo>
                <a:lnTo>
                  <a:pt x="853186" y="44450"/>
                </a:lnTo>
                <a:lnTo>
                  <a:pt x="853186" y="31750"/>
                </a:lnTo>
                <a:lnTo>
                  <a:pt x="903986" y="31750"/>
                </a:lnTo>
                <a:lnTo>
                  <a:pt x="840486" y="0"/>
                </a:lnTo>
                <a:close/>
              </a:path>
              <a:path w="916940" h="147320">
                <a:moveTo>
                  <a:pt x="12700" y="38100"/>
                </a:moveTo>
                <a:lnTo>
                  <a:pt x="6350" y="44450"/>
                </a:lnTo>
                <a:lnTo>
                  <a:pt x="12700" y="44450"/>
                </a:lnTo>
                <a:lnTo>
                  <a:pt x="12700" y="38100"/>
                </a:lnTo>
                <a:close/>
              </a:path>
              <a:path w="916940" h="147320">
                <a:moveTo>
                  <a:pt x="840486" y="38100"/>
                </a:moveTo>
                <a:lnTo>
                  <a:pt x="12700" y="38100"/>
                </a:lnTo>
                <a:lnTo>
                  <a:pt x="12700" y="44450"/>
                </a:lnTo>
                <a:lnTo>
                  <a:pt x="840486" y="44450"/>
                </a:lnTo>
                <a:lnTo>
                  <a:pt x="840486" y="38100"/>
                </a:lnTo>
                <a:close/>
              </a:path>
              <a:path w="916940" h="147320">
                <a:moveTo>
                  <a:pt x="903986" y="31750"/>
                </a:moveTo>
                <a:lnTo>
                  <a:pt x="853186" y="31750"/>
                </a:lnTo>
                <a:lnTo>
                  <a:pt x="853186" y="44450"/>
                </a:lnTo>
                <a:lnTo>
                  <a:pt x="903986" y="44450"/>
                </a:lnTo>
                <a:lnTo>
                  <a:pt x="916686" y="38100"/>
                </a:lnTo>
                <a:lnTo>
                  <a:pt x="903986" y="31750"/>
                </a:lnTo>
                <a:close/>
              </a:path>
            </a:pathLst>
          </a:custGeom>
          <a:solidFill>
            <a:srgbClr val="7E7E7E"/>
          </a:solidFill>
        </p:spPr>
        <p:txBody>
          <a:bodyPr wrap="square" lIns="0" tIns="0" rIns="0" bIns="0" rtlCol="0"/>
          <a:lstStyle/>
          <a:p>
            <a:endParaRPr/>
          </a:p>
        </p:txBody>
      </p:sp>
      <p:sp>
        <p:nvSpPr>
          <p:cNvPr id="86" name="object 86"/>
          <p:cNvSpPr/>
          <p:nvPr/>
        </p:nvSpPr>
        <p:spPr>
          <a:xfrm>
            <a:off x="5032247" y="2958083"/>
            <a:ext cx="76200" cy="354330"/>
          </a:xfrm>
          <a:custGeom>
            <a:avLst/>
            <a:gdLst/>
            <a:ahLst/>
            <a:cxnLst/>
            <a:rect l="l" t="t" r="r" b="b"/>
            <a:pathLst>
              <a:path w="76200" h="354329">
                <a:moveTo>
                  <a:pt x="44450" y="63500"/>
                </a:moveTo>
                <a:lnTo>
                  <a:pt x="31750" y="63500"/>
                </a:lnTo>
                <a:lnTo>
                  <a:pt x="31750" y="354075"/>
                </a:lnTo>
                <a:lnTo>
                  <a:pt x="44450" y="354075"/>
                </a:lnTo>
                <a:lnTo>
                  <a:pt x="44450" y="63500"/>
                </a:lnTo>
                <a:close/>
              </a:path>
              <a:path w="76200" h="354329">
                <a:moveTo>
                  <a:pt x="38100" y="0"/>
                </a:moveTo>
                <a:lnTo>
                  <a:pt x="0" y="76200"/>
                </a:lnTo>
                <a:lnTo>
                  <a:pt x="31750" y="76200"/>
                </a:lnTo>
                <a:lnTo>
                  <a:pt x="31750" y="63500"/>
                </a:lnTo>
                <a:lnTo>
                  <a:pt x="69850" y="63500"/>
                </a:lnTo>
                <a:lnTo>
                  <a:pt x="38100" y="0"/>
                </a:lnTo>
                <a:close/>
              </a:path>
              <a:path w="76200" h="354329">
                <a:moveTo>
                  <a:pt x="69850" y="63500"/>
                </a:moveTo>
                <a:lnTo>
                  <a:pt x="44450" y="63500"/>
                </a:lnTo>
                <a:lnTo>
                  <a:pt x="44450" y="76200"/>
                </a:lnTo>
                <a:lnTo>
                  <a:pt x="76200" y="76200"/>
                </a:lnTo>
                <a:lnTo>
                  <a:pt x="69850" y="63500"/>
                </a:lnTo>
                <a:close/>
              </a:path>
            </a:pathLst>
          </a:custGeom>
          <a:solidFill>
            <a:srgbClr val="7E7E7E"/>
          </a:solidFill>
        </p:spPr>
        <p:txBody>
          <a:bodyPr wrap="square" lIns="0" tIns="0" rIns="0" bIns="0" rtlCol="0"/>
          <a:lstStyle/>
          <a:p>
            <a:endParaRPr/>
          </a:p>
        </p:txBody>
      </p:sp>
      <p:sp>
        <p:nvSpPr>
          <p:cNvPr id="87" name="object 87"/>
          <p:cNvSpPr/>
          <p:nvPr/>
        </p:nvSpPr>
        <p:spPr>
          <a:xfrm>
            <a:off x="7307833" y="2958083"/>
            <a:ext cx="76200" cy="354330"/>
          </a:xfrm>
          <a:custGeom>
            <a:avLst/>
            <a:gdLst/>
            <a:ahLst/>
            <a:cxnLst/>
            <a:rect l="l" t="t" r="r" b="b"/>
            <a:pathLst>
              <a:path w="76200" h="354329">
                <a:moveTo>
                  <a:pt x="44362" y="76053"/>
                </a:moveTo>
                <a:lnTo>
                  <a:pt x="31663" y="76350"/>
                </a:lnTo>
                <a:lnTo>
                  <a:pt x="38100" y="354202"/>
                </a:lnTo>
                <a:lnTo>
                  <a:pt x="50800" y="353949"/>
                </a:lnTo>
                <a:lnTo>
                  <a:pt x="44362" y="76053"/>
                </a:lnTo>
                <a:close/>
              </a:path>
              <a:path w="76200" h="354329">
                <a:moveTo>
                  <a:pt x="36322" y="0"/>
                </a:moveTo>
                <a:lnTo>
                  <a:pt x="0" y="77088"/>
                </a:lnTo>
                <a:lnTo>
                  <a:pt x="31663" y="76350"/>
                </a:lnTo>
                <a:lnTo>
                  <a:pt x="31369" y="63626"/>
                </a:lnTo>
                <a:lnTo>
                  <a:pt x="44069" y="63373"/>
                </a:lnTo>
                <a:lnTo>
                  <a:pt x="69878" y="63373"/>
                </a:lnTo>
                <a:lnTo>
                  <a:pt x="36322" y="0"/>
                </a:lnTo>
                <a:close/>
              </a:path>
              <a:path w="76200" h="354329">
                <a:moveTo>
                  <a:pt x="44069" y="63373"/>
                </a:moveTo>
                <a:lnTo>
                  <a:pt x="31369" y="63626"/>
                </a:lnTo>
                <a:lnTo>
                  <a:pt x="31663" y="76350"/>
                </a:lnTo>
                <a:lnTo>
                  <a:pt x="44362" y="76053"/>
                </a:lnTo>
                <a:lnTo>
                  <a:pt x="44069" y="63373"/>
                </a:lnTo>
                <a:close/>
              </a:path>
              <a:path w="76200" h="354329">
                <a:moveTo>
                  <a:pt x="69878" y="63373"/>
                </a:moveTo>
                <a:lnTo>
                  <a:pt x="44069" y="63373"/>
                </a:lnTo>
                <a:lnTo>
                  <a:pt x="44362" y="76053"/>
                </a:lnTo>
                <a:lnTo>
                  <a:pt x="76200" y="75311"/>
                </a:lnTo>
                <a:lnTo>
                  <a:pt x="69878" y="63373"/>
                </a:lnTo>
                <a:close/>
              </a:path>
            </a:pathLst>
          </a:custGeom>
          <a:solidFill>
            <a:srgbClr val="7E7E7E"/>
          </a:solidFill>
        </p:spPr>
        <p:txBody>
          <a:bodyPr wrap="square" lIns="0" tIns="0" rIns="0" bIns="0" rtlCol="0"/>
          <a:lstStyle/>
          <a:p>
            <a:endParaRPr/>
          </a:p>
        </p:txBody>
      </p:sp>
      <p:sp>
        <p:nvSpPr>
          <p:cNvPr id="88" name="object 88"/>
          <p:cNvSpPr/>
          <p:nvPr/>
        </p:nvSpPr>
        <p:spPr>
          <a:xfrm>
            <a:off x="5344667" y="4291584"/>
            <a:ext cx="829944" cy="179070"/>
          </a:xfrm>
          <a:custGeom>
            <a:avLst/>
            <a:gdLst/>
            <a:ahLst/>
            <a:cxnLst/>
            <a:rect l="l" t="t" r="r" b="b"/>
            <a:pathLst>
              <a:path w="829945" h="179070">
                <a:moveTo>
                  <a:pt x="76200" y="102743"/>
                </a:moveTo>
                <a:lnTo>
                  <a:pt x="0" y="140843"/>
                </a:lnTo>
                <a:lnTo>
                  <a:pt x="76200" y="178943"/>
                </a:lnTo>
                <a:lnTo>
                  <a:pt x="76200" y="147193"/>
                </a:lnTo>
                <a:lnTo>
                  <a:pt x="63500" y="147193"/>
                </a:lnTo>
                <a:lnTo>
                  <a:pt x="63500" y="134493"/>
                </a:lnTo>
                <a:lnTo>
                  <a:pt x="76200" y="134493"/>
                </a:lnTo>
                <a:lnTo>
                  <a:pt x="76200" y="102743"/>
                </a:lnTo>
                <a:close/>
              </a:path>
              <a:path w="829945" h="179070">
                <a:moveTo>
                  <a:pt x="76200" y="134493"/>
                </a:moveTo>
                <a:lnTo>
                  <a:pt x="63500" y="134493"/>
                </a:lnTo>
                <a:lnTo>
                  <a:pt x="63500" y="147193"/>
                </a:lnTo>
                <a:lnTo>
                  <a:pt x="76200" y="147193"/>
                </a:lnTo>
                <a:lnTo>
                  <a:pt x="76200" y="134493"/>
                </a:lnTo>
                <a:close/>
              </a:path>
              <a:path w="829945" h="179070">
                <a:moveTo>
                  <a:pt x="816864" y="134493"/>
                </a:moveTo>
                <a:lnTo>
                  <a:pt x="76200" y="134493"/>
                </a:lnTo>
                <a:lnTo>
                  <a:pt x="76200" y="147193"/>
                </a:lnTo>
                <a:lnTo>
                  <a:pt x="829564" y="147193"/>
                </a:lnTo>
                <a:lnTo>
                  <a:pt x="829564" y="140843"/>
                </a:lnTo>
                <a:lnTo>
                  <a:pt x="816864" y="140843"/>
                </a:lnTo>
                <a:lnTo>
                  <a:pt x="816864" y="134493"/>
                </a:lnTo>
                <a:close/>
              </a:path>
              <a:path w="829945" h="179070">
                <a:moveTo>
                  <a:pt x="829564" y="0"/>
                </a:moveTo>
                <a:lnTo>
                  <a:pt x="816864" y="0"/>
                </a:lnTo>
                <a:lnTo>
                  <a:pt x="816864" y="140843"/>
                </a:lnTo>
                <a:lnTo>
                  <a:pt x="823214" y="134493"/>
                </a:lnTo>
                <a:lnTo>
                  <a:pt x="829564" y="134493"/>
                </a:lnTo>
                <a:lnTo>
                  <a:pt x="829564" y="0"/>
                </a:lnTo>
                <a:close/>
              </a:path>
              <a:path w="829945" h="179070">
                <a:moveTo>
                  <a:pt x="829564" y="134493"/>
                </a:moveTo>
                <a:lnTo>
                  <a:pt x="823214" y="134493"/>
                </a:lnTo>
                <a:lnTo>
                  <a:pt x="816864" y="140843"/>
                </a:lnTo>
                <a:lnTo>
                  <a:pt x="829564" y="140843"/>
                </a:lnTo>
                <a:lnTo>
                  <a:pt x="829564" y="134493"/>
                </a:lnTo>
                <a:close/>
              </a:path>
            </a:pathLst>
          </a:custGeom>
          <a:solidFill>
            <a:srgbClr val="7E7E7E"/>
          </a:solidFill>
        </p:spPr>
        <p:txBody>
          <a:bodyPr wrap="square" lIns="0" tIns="0" rIns="0" bIns="0" rtlCol="0"/>
          <a:lstStyle/>
          <a:p>
            <a:endParaRPr/>
          </a:p>
        </p:txBody>
      </p:sp>
      <p:sp>
        <p:nvSpPr>
          <p:cNvPr id="89" name="object 89"/>
          <p:cNvSpPr/>
          <p:nvPr/>
        </p:nvSpPr>
        <p:spPr>
          <a:xfrm>
            <a:off x="4796028" y="4157471"/>
            <a:ext cx="548639" cy="548639"/>
          </a:xfrm>
          <a:prstGeom prst="rect">
            <a:avLst/>
          </a:prstGeom>
          <a:blipFill>
            <a:blip r:embed="rId8" cstate="print"/>
            <a:stretch>
              <a:fillRect/>
            </a:stretch>
          </a:blipFill>
        </p:spPr>
        <p:txBody>
          <a:bodyPr wrap="square" lIns="0" tIns="0" rIns="0" bIns="0" rtlCol="0"/>
          <a:lstStyle/>
          <a:p>
            <a:endParaRPr/>
          </a:p>
        </p:txBody>
      </p:sp>
      <p:sp>
        <p:nvSpPr>
          <p:cNvPr id="90" name="object 90"/>
          <p:cNvSpPr/>
          <p:nvPr/>
        </p:nvSpPr>
        <p:spPr>
          <a:xfrm>
            <a:off x="6161278" y="4291584"/>
            <a:ext cx="916940" cy="179070"/>
          </a:xfrm>
          <a:custGeom>
            <a:avLst/>
            <a:gdLst/>
            <a:ahLst/>
            <a:cxnLst/>
            <a:rect l="l" t="t" r="r" b="b"/>
            <a:pathLst>
              <a:path w="916940" h="179070">
                <a:moveTo>
                  <a:pt x="840486" y="102743"/>
                </a:moveTo>
                <a:lnTo>
                  <a:pt x="840486" y="178943"/>
                </a:lnTo>
                <a:lnTo>
                  <a:pt x="903986" y="147193"/>
                </a:lnTo>
                <a:lnTo>
                  <a:pt x="853186" y="147193"/>
                </a:lnTo>
                <a:lnTo>
                  <a:pt x="853186" y="134493"/>
                </a:lnTo>
                <a:lnTo>
                  <a:pt x="903986" y="134493"/>
                </a:lnTo>
                <a:lnTo>
                  <a:pt x="840486" y="102743"/>
                </a:lnTo>
                <a:close/>
              </a:path>
              <a:path w="916940" h="179070">
                <a:moveTo>
                  <a:pt x="12700" y="0"/>
                </a:moveTo>
                <a:lnTo>
                  <a:pt x="0" y="0"/>
                </a:lnTo>
                <a:lnTo>
                  <a:pt x="0" y="147193"/>
                </a:lnTo>
                <a:lnTo>
                  <a:pt x="840486" y="147193"/>
                </a:lnTo>
                <a:lnTo>
                  <a:pt x="840486" y="140843"/>
                </a:lnTo>
                <a:lnTo>
                  <a:pt x="12700" y="140843"/>
                </a:lnTo>
                <a:lnTo>
                  <a:pt x="6350" y="134493"/>
                </a:lnTo>
                <a:lnTo>
                  <a:pt x="12700" y="134493"/>
                </a:lnTo>
                <a:lnTo>
                  <a:pt x="12700" y="0"/>
                </a:lnTo>
                <a:close/>
              </a:path>
              <a:path w="916940" h="179070">
                <a:moveTo>
                  <a:pt x="903986" y="134493"/>
                </a:moveTo>
                <a:lnTo>
                  <a:pt x="853186" y="134493"/>
                </a:lnTo>
                <a:lnTo>
                  <a:pt x="853186" y="147193"/>
                </a:lnTo>
                <a:lnTo>
                  <a:pt x="903986" y="147193"/>
                </a:lnTo>
                <a:lnTo>
                  <a:pt x="916686" y="140843"/>
                </a:lnTo>
                <a:lnTo>
                  <a:pt x="903986" y="134493"/>
                </a:lnTo>
                <a:close/>
              </a:path>
              <a:path w="916940" h="179070">
                <a:moveTo>
                  <a:pt x="12700" y="134493"/>
                </a:moveTo>
                <a:lnTo>
                  <a:pt x="6350" y="134493"/>
                </a:lnTo>
                <a:lnTo>
                  <a:pt x="12700" y="140843"/>
                </a:lnTo>
                <a:lnTo>
                  <a:pt x="12700" y="134493"/>
                </a:lnTo>
                <a:close/>
              </a:path>
              <a:path w="916940" h="179070">
                <a:moveTo>
                  <a:pt x="840486" y="134493"/>
                </a:moveTo>
                <a:lnTo>
                  <a:pt x="12700" y="134493"/>
                </a:lnTo>
                <a:lnTo>
                  <a:pt x="12700" y="140843"/>
                </a:lnTo>
                <a:lnTo>
                  <a:pt x="840486" y="140843"/>
                </a:lnTo>
                <a:lnTo>
                  <a:pt x="840486" y="134493"/>
                </a:lnTo>
                <a:close/>
              </a:path>
            </a:pathLst>
          </a:custGeom>
          <a:solidFill>
            <a:srgbClr val="7E7E7E"/>
          </a:solidFill>
        </p:spPr>
        <p:txBody>
          <a:bodyPr wrap="square" lIns="0" tIns="0" rIns="0" bIns="0" rtlCol="0"/>
          <a:lstStyle/>
          <a:p>
            <a:endParaRPr/>
          </a:p>
        </p:txBody>
      </p:sp>
      <p:sp>
        <p:nvSpPr>
          <p:cNvPr id="91" name="object 91"/>
          <p:cNvSpPr/>
          <p:nvPr/>
        </p:nvSpPr>
        <p:spPr>
          <a:xfrm>
            <a:off x="7095743" y="4157471"/>
            <a:ext cx="512063" cy="548639"/>
          </a:xfrm>
          <a:prstGeom prst="rect">
            <a:avLst/>
          </a:prstGeom>
          <a:blipFill>
            <a:blip r:embed="rId9" cstate="print"/>
            <a:stretch>
              <a:fillRect/>
            </a:stretch>
          </a:blipFill>
        </p:spPr>
        <p:txBody>
          <a:bodyPr wrap="square" lIns="0" tIns="0" rIns="0" bIns="0" rtlCol="0"/>
          <a:lstStyle/>
          <a:p>
            <a:endParaRPr/>
          </a:p>
        </p:txBody>
      </p:sp>
      <p:sp>
        <p:nvSpPr>
          <p:cNvPr id="92" name="object 92"/>
          <p:cNvSpPr/>
          <p:nvPr/>
        </p:nvSpPr>
        <p:spPr>
          <a:xfrm>
            <a:off x="7313676" y="4706111"/>
            <a:ext cx="76200" cy="236346"/>
          </a:xfrm>
          <a:prstGeom prst="rect">
            <a:avLst/>
          </a:prstGeom>
          <a:blipFill>
            <a:blip r:embed="rId10" cstate="print"/>
            <a:stretch>
              <a:fillRect/>
            </a:stretch>
          </a:blipFill>
        </p:spPr>
        <p:txBody>
          <a:bodyPr wrap="square" lIns="0" tIns="0" rIns="0" bIns="0" rtlCol="0"/>
          <a:lstStyle/>
          <a:p>
            <a:endParaRPr/>
          </a:p>
        </p:txBody>
      </p:sp>
      <p:sp>
        <p:nvSpPr>
          <p:cNvPr id="93" name="object 93"/>
          <p:cNvSpPr/>
          <p:nvPr/>
        </p:nvSpPr>
        <p:spPr>
          <a:xfrm>
            <a:off x="5032247" y="4706111"/>
            <a:ext cx="76200" cy="236346"/>
          </a:xfrm>
          <a:prstGeom prst="rect">
            <a:avLst/>
          </a:prstGeom>
          <a:blipFill>
            <a:blip r:embed="rId10" cstate="print"/>
            <a:stretch>
              <a:fillRect/>
            </a:stretch>
          </a:blipFill>
        </p:spPr>
        <p:txBody>
          <a:bodyPr wrap="square" lIns="0" tIns="0" rIns="0" bIns="0" rtlCol="0"/>
          <a:lstStyle/>
          <a:p>
            <a:endParaRPr/>
          </a:p>
        </p:txBody>
      </p:sp>
      <p:sp>
        <p:nvSpPr>
          <p:cNvPr id="94" name="object 94"/>
          <p:cNvSpPr/>
          <p:nvPr/>
        </p:nvSpPr>
        <p:spPr>
          <a:xfrm>
            <a:off x="9674352" y="2537460"/>
            <a:ext cx="403860" cy="2651760"/>
          </a:xfrm>
          <a:custGeom>
            <a:avLst/>
            <a:gdLst/>
            <a:ahLst/>
            <a:cxnLst/>
            <a:rect l="l" t="t" r="r" b="b"/>
            <a:pathLst>
              <a:path w="403859" h="2651760">
                <a:moveTo>
                  <a:pt x="0" y="2651760"/>
                </a:moveTo>
                <a:lnTo>
                  <a:pt x="403859" y="2651760"/>
                </a:lnTo>
                <a:lnTo>
                  <a:pt x="403859" y="0"/>
                </a:lnTo>
                <a:lnTo>
                  <a:pt x="0" y="0"/>
                </a:lnTo>
                <a:lnTo>
                  <a:pt x="0" y="2651760"/>
                </a:lnTo>
                <a:close/>
              </a:path>
            </a:pathLst>
          </a:custGeom>
          <a:solidFill>
            <a:srgbClr val="006FAC"/>
          </a:solidFill>
        </p:spPr>
        <p:txBody>
          <a:bodyPr wrap="square" lIns="0" tIns="0" rIns="0" bIns="0" rtlCol="0"/>
          <a:lstStyle/>
          <a:p>
            <a:endParaRPr/>
          </a:p>
        </p:txBody>
      </p:sp>
      <p:sp>
        <p:nvSpPr>
          <p:cNvPr id="95" name="object 95"/>
          <p:cNvSpPr txBox="1"/>
          <p:nvPr/>
        </p:nvSpPr>
        <p:spPr>
          <a:xfrm>
            <a:off x="9770815" y="3106485"/>
            <a:ext cx="210820" cy="1517650"/>
          </a:xfrm>
          <a:prstGeom prst="rect">
            <a:avLst/>
          </a:prstGeom>
        </p:spPr>
        <p:txBody>
          <a:bodyPr vert="vert270" wrap="square" lIns="0" tIns="13335" rIns="0" bIns="0" rtlCol="0">
            <a:spAutoFit/>
          </a:bodyPr>
          <a:lstStyle/>
          <a:p>
            <a:pPr marL="12700">
              <a:lnSpc>
                <a:spcPct val="100000"/>
              </a:lnSpc>
              <a:spcBef>
                <a:spcPts val="105"/>
              </a:spcBef>
            </a:pPr>
            <a:r>
              <a:rPr sz="1200" b="1" spc="-5">
                <a:solidFill>
                  <a:srgbClr val="FFFFFF"/>
                </a:solidFill>
                <a:latin typeface="Verdana"/>
                <a:cs typeface="Verdana"/>
              </a:rPr>
              <a:t>Turnover</a:t>
            </a:r>
            <a:r>
              <a:rPr sz="1200" b="1" spc="-50">
                <a:solidFill>
                  <a:srgbClr val="FFFFFF"/>
                </a:solidFill>
                <a:latin typeface="Verdana"/>
                <a:cs typeface="Verdana"/>
              </a:rPr>
              <a:t> </a:t>
            </a:r>
            <a:r>
              <a:rPr sz="1200" b="1" spc="-5">
                <a:solidFill>
                  <a:srgbClr val="FFFFFF"/>
                </a:solidFill>
                <a:latin typeface="Verdana"/>
                <a:cs typeface="Verdana"/>
              </a:rPr>
              <a:t>Process</a:t>
            </a:r>
            <a:endParaRPr sz="1200">
              <a:latin typeface="Verdana"/>
              <a:cs typeface="Verdana"/>
            </a:endParaRPr>
          </a:p>
        </p:txBody>
      </p:sp>
      <p:sp>
        <p:nvSpPr>
          <p:cNvPr id="96" name="object 96"/>
          <p:cNvSpPr txBox="1"/>
          <p:nvPr/>
        </p:nvSpPr>
        <p:spPr>
          <a:xfrm>
            <a:off x="10183368" y="1828800"/>
            <a:ext cx="1297305" cy="410209"/>
          </a:xfrm>
          <a:prstGeom prst="rect">
            <a:avLst/>
          </a:prstGeom>
          <a:solidFill>
            <a:srgbClr val="7E7E7E"/>
          </a:solidFill>
        </p:spPr>
        <p:txBody>
          <a:bodyPr vert="horz" wrap="square" lIns="0" tIns="107950" rIns="0" bIns="0" rtlCol="0">
            <a:spAutoFit/>
          </a:bodyPr>
          <a:lstStyle/>
          <a:p>
            <a:pPr marL="259715">
              <a:lnSpc>
                <a:spcPct val="100000"/>
              </a:lnSpc>
              <a:spcBef>
                <a:spcPts val="850"/>
              </a:spcBef>
            </a:pPr>
            <a:r>
              <a:rPr sz="1050" b="1">
                <a:solidFill>
                  <a:srgbClr val="FFFFFF"/>
                </a:solidFill>
                <a:latin typeface="Verdana"/>
                <a:cs typeface="Verdana"/>
              </a:rPr>
              <a:t>PROD</a:t>
            </a:r>
            <a:r>
              <a:rPr sz="1050" b="1" spc="-40">
                <a:solidFill>
                  <a:srgbClr val="FFFFFF"/>
                </a:solidFill>
                <a:latin typeface="Verdana"/>
                <a:cs typeface="Verdana"/>
              </a:rPr>
              <a:t> </a:t>
            </a:r>
            <a:r>
              <a:rPr sz="1050" b="1">
                <a:solidFill>
                  <a:srgbClr val="FFFFFF"/>
                </a:solidFill>
                <a:latin typeface="Verdana"/>
                <a:cs typeface="Verdana"/>
              </a:rPr>
              <a:t>ENV</a:t>
            </a:r>
            <a:endParaRPr sz="1050">
              <a:latin typeface="Verdana"/>
              <a:cs typeface="Verdana"/>
            </a:endParaRPr>
          </a:p>
        </p:txBody>
      </p:sp>
      <p:sp>
        <p:nvSpPr>
          <p:cNvPr id="97" name="object 97"/>
          <p:cNvSpPr/>
          <p:nvPr/>
        </p:nvSpPr>
        <p:spPr>
          <a:xfrm>
            <a:off x="9837419" y="5189220"/>
            <a:ext cx="76200" cy="307975"/>
          </a:xfrm>
          <a:custGeom>
            <a:avLst/>
            <a:gdLst/>
            <a:ahLst/>
            <a:cxnLst/>
            <a:rect l="l" t="t" r="r" b="b"/>
            <a:pathLst>
              <a:path w="76200" h="307975">
                <a:moveTo>
                  <a:pt x="31750" y="231647"/>
                </a:moveTo>
                <a:lnTo>
                  <a:pt x="0" y="231647"/>
                </a:lnTo>
                <a:lnTo>
                  <a:pt x="38100" y="307847"/>
                </a:lnTo>
                <a:lnTo>
                  <a:pt x="69850" y="244347"/>
                </a:lnTo>
                <a:lnTo>
                  <a:pt x="31750" y="244347"/>
                </a:lnTo>
                <a:lnTo>
                  <a:pt x="31750" y="231647"/>
                </a:lnTo>
                <a:close/>
              </a:path>
              <a:path w="76200" h="307975">
                <a:moveTo>
                  <a:pt x="44450" y="0"/>
                </a:moveTo>
                <a:lnTo>
                  <a:pt x="31750" y="0"/>
                </a:lnTo>
                <a:lnTo>
                  <a:pt x="31750" y="244347"/>
                </a:lnTo>
                <a:lnTo>
                  <a:pt x="44450" y="244347"/>
                </a:lnTo>
                <a:lnTo>
                  <a:pt x="44450" y="0"/>
                </a:lnTo>
                <a:close/>
              </a:path>
              <a:path w="76200" h="307975">
                <a:moveTo>
                  <a:pt x="76200" y="231647"/>
                </a:moveTo>
                <a:lnTo>
                  <a:pt x="44450" y="231647"/>
                </a:lnTo>
                <a:lnTo>
                  <a:pt x="44450" y="244347"/>
                </a:lnTo>
                <a:lnTo>
                  <a:pt x="69850" y="244347"/>
                </a:lnTo>
                <a:lnTo>
                  <a:pt x="76200" y="231647"/>
                </a:lnTo>
                <a:close/>
              </a:path>
            </a:pathLst>
          </a:custGeom>
          <a:solidFill>
            <a:srgbClr val="7E7E7E"/>
          </a:solidFill>
        </p:spPr>
        <p:txBody>
          <a:bodyPr wrap="square" lIns="0" tIns="0" rIns="0" bIns="0" rtlCol="0"/>
          <a:lstStyle/>
          <a:p>
            <a:endParaRPr/>
          </a:p>
        </p:txBody>
      </p:sp>
      <p:sp>
        <p:nvSpPr>
          <p:cNvPr id="98" name="object 98"/>
          <p:cNvSpPr/>
          <p:nvPr/>
        </p:nvSpPr>
        <p:spPr>
          <a:xfrm>
            <a:off x="3383279" y="3701796"/>
            <a:ext cx="1217930" cy="995680"/>
          </a:xfrm>
          <a:custGeom>
            <a:avLst/>
            <a:gdLst/>
            <a:ahLst/>
            <a:cxnLst/>
            <a:rect l="l" t="t" r="r" b="b"/>
            <a:pathLst>
              <a:path w="1217929" h="995679">
                <a:moveTo>
                  <a:pt x="0" y="995171"/>
                </a:moveTo>
                <a:lnTo>
                  <a:pt x="1217676" y="995171"/>
                </a:lnTo>
                <a:lnTo>
                  <a:pt x="1217676" y="0"/>
                </a:lnTo>
                <a:lnTo>
                  <a:pt x="0" y="0"/>
                </a:lnTo>
                <a:lnTo>
                  <a:pt x="0" y="995171"/>
                </a:lnTo>
                <a:close/>
              </a:path>
            </a:pathLst>
          </a:custGeom>
          <a:solidFill>
            <a:srgbClr val="FFFFFF"/>
          </a:solidFill>
        </p:spPr>
        <p:txBody>
          <a:bodyPr wrap="square" lIns="0" tIns="0" rIns="0" bIns="0" rtlCol="0"/>
          <a:lstStyle/>
          <a:p>
            <a:endParaRPr/>
          </a:p>
        </p:txBody>
      </p:sp>
      <p:sp>
        <p:nvSpPr>
          <p:cNvPr id="99" name="object 99"/>
          <p:cNvSpPr txBox="1"/>
          <p:nvPr/>
        </p:nvSpPr>
        <p:spPr>
          <a:xfrm>
            <a:off x="3371469" y="3688207"/>
            <a:ext cx="1205865" cy="299720"/>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b="1" spc="-5">
                <a:solidFill>
                  <a:srgbClr val="D22138"/>
                </a:solidFill>
                <a:latin typeface="Verdana"/>
                <a:cs typeface="Verdana"/>
              </a:rPr>
              <a:t>ANT </a:t>
            </a:r>
            <a:r>
              <a:rPr sz="900" b="1">
                <a:latin typeface="Verdana"/>
                <a:cs typeface="Verdana"/>
              </a:rPr>
              <a:t>is </a:t>
            </a:r>
            <a:r>
              <a:rPr sz="900" b="1" spc="-5">
                <a:latin typeface="Verdana"/>
                <a:cs typeface="Verdana"/>
              </a:rPr>
              <a:t>used </a:t>
            </a:r>
            <a:r>
              <a:rPr sz="900" b="1">
                <a:latin typeface="Verdana"/>
                <a:cs typeface="Verdana"/>
              </a:rPr>
              <a:t>as  </a:t>
            </a:r>
            <a:r>
              <a:rPr sz="900" b="1" spc="-5">
                <a:latin typeface="Verdana"/>
                <a:cs typeface="Verdana"/>
              </a:rPr>
              <a:t>the</a:t>
            </a:r>
            <a:r>
              <a:rPr sz="900" b="1" spc="-60">
                <a:latin typeface="Verdana"/>
                <a:cs typeface="Verdana"/>
              </a:rPr>
              <a:t> </a:t>
            </a:r>
            <a:r>
              <a:rPr sz="900" b="1" spc="-5">
                <a:latin typeface="Verdana"/>
                <a:cs typeface="Verdana"/>
              </a:rPr>
              <a:t>deployment</a:t>
            </a:r>
            <a:endParaRPr sz="900">
              <a:latin typeface="Verdana"/>
              <a:cs typeface="Verdana"/>
            </a:endParaRPr>
          </a:p>
        </p:txBody>
      </p:sp>
      <p:sp>
        <p:nvSpPr>
          <p:cNvPr id="100" name="object 100"/>
          <p:cNvSpPr txBox="1"/>
          <p:nvPr/>
        </p:nvSpPr>
        <p:spPr>
          <a:xfrm>
            <a:off x="3545204" y="3962527"/>
            <a:ext cx="271780" cy="162560"/>
          </a:xfrm>
          <a:prstGeom prst="rect">
            <a:avLst/>
          </a:prstGeom>
        </p:spPr>
        <p:txBody>
          <a:bodyPr vert="horz" wrap="square" lIns="0" tIns="12700" rIns="0" bIns="0" rtlCol="0">
            <a:spAutoFit/>
          </a:bodyPr>
          <a:lstStyle/>
          <a:p>
            <a:pPr marL="12700">
              <a:lnSpc>
                <a:spcPct val="100000"/>
              </a:lnSpc>
              <a:spcBef>
                <a:spcPts val="100"/>
              </a:spcBef>
            </a:pPr>
            <a:r>
              <a:rPr sz="900" b="1">
                <a:latin typeface="Verdana"/>
                <a:cs typeface="Verdana"/>
              </a:rPr>
              <a:t>t</a:t>
            </a:r>
            <a:r>
              <a:rPr sz="900" b="1" spc="-10">
                <a:latin typeface="Verdana"/>
                <a:cs typeface="Verdana"/>
              </a:rPr>
              <a:t>oo</a:t>
            </a:r>
            <a:r>
              <a:rPr sz="900" b="1">
                <a:latin typeface="Verdana"/>
                <a:cs typeface="Verdana"/>
              </a:rPr>
              <a:t>l</a:t>
            </a:r>
            <a:endParaRPr sz="900">
              <a:latin typeface="Verdana"/>
              <a:cs typeface="Verdana"/>
            </a:endParaRPr>
          </a:p>
        </p:txBody>
      </p:sp>
      <p:sp>
        <p:nvSpPr>
          <p:cNvPr id="101" name="object 101"/>
          <p:cNvSpPr txBox="1"/>
          <p:nvPr/>
        </p:nvSpPr>
        <p:spPr>
          <a:xfrm>
            <a:off x="3371469" y="4125595"/>
            <a:ext cx="1134745" cy="574675"/>
          </a:xfrm>
          <a:prstGeom prst="rect">
            <a:avLst/>
          </a:prstGeom>
        </p:spPr>
        <p:txBody>
          <a:bodyPr vert="horz" wrap="square" lIns="0" tIns="12700" rIns="0" bIns="0" rtlCol="0">
            <a:spAutoFit/>
          </a:bodyPr>
          <a:lstStyle/>
          <a:p>
            <a:pPr marL="186055" marR="5080" indent="-173990">
              <a:lnSpc>
                <a:spcPct val="100000"/>
              </a:lnSpc>
              <a:spcBef>
                <a:spcPts val="100"/>
              </a:spcBef>
              <a:buClr>
                <a:srgbClr val="006FAC"/>
              </a:buClr>
              <a:buFont typeface="Wingdings"/>
              <a:buChar char=""/>
              <a:tabLst>
                <a:tab pos="186690" algn="l"/>
              </a:tabLst>
            </a:pPr>
            <a:r>
              <a:rPr sz="900" b="1" spc="-5">
                <a:solidFill>
                  <a:srgbClr val="D22138"/>
                </a:solidFill>
                <a:latin typeface="Verdana"/>
                <a:cs typeface="Verdana"/>
              </a:rPr>
              <a:t>Jenkins </a:t>
            </a:r>
            <a:r>
              <a:rPr sz="900" b="1">
                <a:latin typeface="Verdana"/>
                <a:cs typeface="Verdana"/>
              </a:rPr>
              <a:t>is  </a:t>
            </a:r>
            <a:r>
              <a:rPr sz="900" b="1" spc="-5">
                <a:latin typeface="Verdana"/>
                <a:cs typeface="Verdana"/>
              </a:rPr>
              <a:t>leveraged </a:t>
            </a:r>
            <a:r>
              <a:rPr sz="900" b="1">
                <a:latin typeface="Verdana"/>
                <a:cs typeface="Verdana"/>
              </a:rPr>
              <a:t>as</a:t>
            </a:r>
            <a:r>
              <a:rPr sz="900" b="1" spc="-65">
                <a:latin typeface="Verdana"/>
                <a:cs typeface="Verdana"/>
              </a:rPr>
              <a:t> </a:t>
            </a:r>
            <a:r>
              <a:rPr sz="900" b="1">
                <a:latin typeface="Verdana"/>
                <a:cs typeface="Verdana"/>
              </a:rPr>
              <a:t>a  </a:t>
            </a:r>
            <a:r>
              <a:rPr sz="900" b="1" spc="-5">
                <a:latin typeface="Verdana"/>
                <a:cs typeface="Verdana"/>
              </a:rPr>
              <a:t>deployment  agent</a:t>
            </a:r>
            <a:endParaRPr sz="900">
              <a:latin typeface="Verdana"/>
              <a:cs typeface="Verdana"/>
            </a:endParaRPr>
          </a:p>
        </p:txBody>
      </p:sp>
      <p:sp>
        <p:nvSpPr>
          <p:cNvPr id="102" name="object 102"/>
          <p:cNvSpPr/>
          <p:nvPr/>
        </p:nvSpPr>
        <p:spPr>
          <a:xfrm>
            <a:off x="5907023" y="1889760"/>
            <a:ext cx="515620" cy="379730"/>
          </a:xfrm>
          <a:custGeom>
            <a:avLst/>
            <a:gdLst/>
            <a:ahLst/>
            <a:cxnLst/>
            <a:rect l="l" t="t" r="r" b="b"/>
            <a:pathLst>
              <a:path w="515620" h="379730">
                <a:moveTo>
                  <a:pt x="0" y="379475"/>
                </a:moveTo>
                <a:lnTo>
                  <a:pt x="515112" y="379475"/>
                </a:lnTo>
                <a:lnTo>
                  <a:pt x="515112" y="0"/>
                </a:lnTo>
                <a:lnTo>
                  <a:pt x="0" y="0"/>
                </a:lnTo>
                <a:lnTo>
                  <a:pt x="0" y="379475"/>
                </a:lnTo>
                <a:close/>
              </a:path>
            </a:pathLst>
          </a:custGeom>
          <a:solidFill>
            <a:srgbClr val="7E7E7E"/>
          </a:solidFill>
        </p:spPr>
        <p:txBody>
          <a:bodyPr wrap="square" lIns="0" tIns="0" rIns="0" bIns="0" rtlCol="0"/>
          <a:lstStyle/>
          <a:p>
            <a:endParaRPr/>
          </a:p>
        </p:txBody>
      </p:sp>
      <p:sp>
        <p:nvSpPr>
          <p:cNvPr id="103" name="object 103"/>
          <p:cNvSpPr txBox="1"/>
          <p:nvPr/>
        </p:nvSpPr>
        <p:spPr>
          <a:xfrm>
            <a:off x="4310634" y="1986153"/>
            <a:ext cx="3819525" cy="186690"/>
          </a:xfrm>
          <a:prstGeom prst="rect">
            <a:avLst/>
          </a:prstGeom>
        </p:spPr>
        <p:txBody>
          <a:bodyPr vert="horz" wrap="square" lIns="0" tIns="13335" rIns="0" bIns="0" rtlCol="0">
            <a:spAutoFit/>
          </a:bodyPr>
          <a:lstStyle/>
          <a:p>
            <a:pPr marL="430530">
              <a:lnSpc>
                <a:spcPct val="100000"/>
              </a:lnSpc>
              <a:spcBef>
                <a:spcPts val="105"/>
              </a:spcBef>
              <a:tabLst>
                <a:tab pos="1720214" algn="l"/>
                <a:tab pos="2681605" algn="l"/>
              </a:tabLst>
            </a:pPr>
            <a:r>
              <a:rPr sz="1050" b="1">
                <a:solidFill>
                  <a:srgbClr val="FFFFFF"/>
                </a:solidFill>
                <a:latin typeface="Verdana"/>
                <a:cs typeface="Verdana"/>
              </a:rPr>
              <a:t>DEV</a:t>
            </a:r>
            <a:r>
              <a:rPr sz="1050" b="1" spc="-15">
                <a:solidFill>
                  <a:srgbClr val="FFFFFF"/>
                </a:solidFill>
                <a:latin typeface="Verdana"/>
                <a:cs typeface="Verdana"/>
              </a:rPr>
              <a:t> </a:t>
            </a:r>
            <a:r>
              <a:rPr sz="1050" b="1">
                <a:solidFill>
                  <a:srgbClr val="FFFFFF"/>
                </a:solidFill>
                <a:latin typeface="Verdana"/>
                <a:cs typeface="Verdana"/>
              </a:rPr>
              <a:t>ENV	CCI	</a:t>
            </a:r>
            <a:r>
              <a:rPr sz="1575" b="1" baseline="2645">
                <a:solidFill>
                  <a:srgbClr val="FFFFFF"/>
                </a:solidFill>
                <a:latin typeface="Verdana"/>
                <a:cs typeface="Verdana"/>
              </a:rPr>
              <a:t>TEST</a:t>
            </a:r>
            <a:r>
              <a:rPr sz="1575" b="1" spc="-44" baseline="2645">
                <a:solidFill>
                  <a:srgbClr val="FFFFFF"/>
                </a:solidFill>
                <a:latin typeface="Verdana"/>
                <a:cs typeface="Verdana"/>
              </a:rPr>
              <a:t> </a:t>
            </a:r>
            <a:r>
              <a:rPr sz="1575" b="1" baseline="2645">
                <a:solidFill>
                  <a:srgbClr val="FFFFFF"/>
                </a:solidFill>
                <a:latin typeface="Verdana"/>
                <a:cs typeface="Verdana"/>
              </a:rPr>
              <a:t>ENV</a:t>
            </a:r>
            <a:endParaRPr sz="1575" baseline="2645">
              <a:latin typeface="Verdana"/>
              <a:cs typeface="Verdana"/>
            </a:endParaRPr>
          </a:p>
        </p:txBody>
      </p:sp>
      <p:sp>
        <p:nvSpPr>
          <p:cNvPr id="104" name="object 104"/>
          <p:cNvSpPr txBox="1"/>
          <p:nvPr/>
        </p:nvSpPr>
        <p:spPr>
          <a:xfrm>
            <a:off x="505764" y="2283409"/>
            <a:ext cx="377190" cy="300355"/>
          </a:xfrm>
          <a:prstGeom prst="rect">
            <a:avLst/>
          </a:prstGeom>
        </p:spPr>
        <p:txBody>
          <a:bodyPr vert="horz" wrap="square" lIns="0" tIns="12700" rIns="0" bIns="0" rtlCol="0">
            <a:spAutoFit/>
          </a:bodyPr>
          <a:lstStyle/>
          <a:p>
            <a:pPr marL="64135">
              <a:lnSpc>
                <a:spcPct val="100000"/>
              </a:lnSpc>
              <a:spcBef>
                <a:spcPts val="100"/>
              </a:spcBef>
            </a:pPr>
            <a:r>
              <a:rPr sz="900" b="1" spc="-5">
                <a:solidFill>
                  <a:srgbClr val="1A1A1A"/>
                </a:solidFill>
                <a:latin typeface="Verdana"/>
                <a:cs typeface="Verdana"/>
              </a:rPr>
              <a:t>Dev</a:t>
            </a:r>
            <a:endParaRPr sz="900">
              <a:latin typeface="Verdana"/>
              <a:cs typeface="Verdana"/>
            </a:endParaRPr>
          </a:p>
          <a:p>
            <a:pPr marL="12700">
              <a:lnSpc>
                <a:spcPct val="100000"/>
              </a:lnSpc>
              <a:spcBef>
                <a:spcPts val="5"/>
              </a:spcBef>
            </a:pPr>
            <a:r>
              <a:rPr sz="900" b="1">
                <a:solidFill>
                  <a:srgbClr val="1A1A1A"/>
                </a:solidFill>
                <a:latin typeface="Verdana"/>
                <a:cs typeface="Verdana"/>
              </a:rPr>
              <a:t>Team</a:t>
            </a:r>
            <a:endParaRPr sz="900">
              <a:latin typeface="Verdana"/>
              <a:cs typeface="Verdana"/>
            </a:endParaRPr>
          </a:p>
        </p:txBody>
      </p:sp>
      <p:sp>
        <p:nvSpPr>
          <p:cNvPr id="105" name="object 105"/>
          <p:cNvSpPr txBox="1"/>
          <p:nvPr/>
        </p:nvSpPr>
        <p:spPr>
          <a:xfrm>
            <a:off x="481076" y="2961513"/>
            <a:ext cx="396240" cy="299720"/>
          </a:xfrm>
          <a:prstGeom prst="rect">
            <a:avLst/>
          </a:prstGeom>
        </p:spPr>
        <p:txBody>
          <a:bodyPr vert="horz" wrap="square" lIns="0" tIns="12700" rIns="0" bIns="0" rtlCol="0">
            <a:spAutoFit/>
          </a:bodyPr>
          <a:lstStyle/>
          <a:p>
            <a:pPr marL="22860" marR="5080" indent="-10795">
              <a:lnSpc>
                <a:spcPct val="100000"/>
              </a:lnSpc>
              <a:spcBef>
                <a:spcPts val="100"/>
              </a:spcBef>
            </a:pPr>
            <a:r>
              <a:rPr sz="900" b="1" spc="-5">
                <a:solidFill>
                  <a:srgbClr val="1A1A1A"/>
                </a:solidFill>
                <a:latin typeface="Verdana"/>
                <a:cs typeface="Verdana"/>
              </a:rPr>
              <a:t>C</a:t>
            </a:r>
            <a:r>
              <a:rPr sz="900" b="1">
                <a:solidFill>
                  <a:srgbClr val="1A1A1A"/>
                </a:solidFill>
                <a:latin typeface="Verdana"/>
                <a:cs typeface="Verdana"/>
              </a:rPr>
              <a:t>li</a:t>
            </a:r>
            <a:r>
              <a:rPr sz="900" b="1" spc="-5">
                <a:solidFill>
                  <a:srgbClr val="1A1A1A"/>
                </a:solidFill>
                <a:latin typeface="Verdana"/>
                <a:cs typeface="Verdana"/>
              </a:rPr>
              <a:t>ent  </a:t>
            </a:r>
            <a:r>
              <a:rPr sz="900" b="1">
                <a:solidFill>
                  <a:srgbClr val="1A1A1A"/>
                </a:solidFill>
                <a:latin typeface="Verdana"/>
                <a:cs typeface="Verdana"/>
              </a:rPr>
              <a:t>Team</a:t>
            </a:r>
            <a:endParaRPr sz="900">
              <a:latin typeface="Verdana"/>
              <a:cs typeface="Verdana"/>
            </a:endParaRPr>
          </a:p>
        </p:txBody>
      </p:sp>
      <p:sp>
        <p:nvSpPr>
          <p:cNvPr id="106" name="object 106"/>
          <p:cNvSpPr txBox="1"/>
          <p:nvPr/>
        </p:nvSpPr>
        <p:spPr>
          <a:xfrm>
            <a:off x="407923" y="3634867"/>
            <a:ext cx="532130" cy="299720"/>
          </a:xfrm>
          <a:prstGeom prst="rect">
            <a:avLst/>
          </a:prstGeom>
        </p:spPr>
        <p:txBody>
          <a:bodyPr vert="horz" wrap="square" lIns="0" tIns="12700" rIns="0" bIns="0" rtlCol="0">
            <a:spAutoFit/>
          </a:bodyPr>
          <a:lstStyle/>
          <a:p>
            <a:pPr marL="90170" marR="5080" indent="-78105">
              <a:lnSpc>
                <a:spcPct val="100000"/>
              </a:lnSpc>
              <a:spcBef>
                <a:spcPts val="100"/>
              </a:spcBef>
            </a:pPr>
            <a:r>
              <a:rPr sz="900" b="1" spc="-5">
                <a:solidFill>
                  <a:srgbClr val="1A1A1A"/>
                </a:solidFill>
                <a:latin typeface="Verdana"/>
                <a:cs typeface="Verdana"/>
              </a:rPr>
              <a:t>Su</a:t>
            </a:r>
            <a:r>
              <a:rPr sz="900" b="1" spc="-10">
                <a:solidFill>
                  <a:srgbClr val="1A1A1A"/>
                </a:solidFill>
                <a:latin typeface="Verdana"/>
                <a:cs typeface="Verdana"/>
              </a:rPr>
              <a:t>ppo</a:t>
            </a:r>
            <a:r>
              <a:rPr sz="900" b="1" spc="-5">
                <a:solidFill>
                  <a:srgbClr val="1A1A1A"/>
                </a:solidFill>
                <a:latin typeface="Verdana"/>
                <a:cs typeface="Verdana"/>
              </a:rPr>
              <a:t>r</a:t>
            </a:r>
            <a:r>
              <a:rPr sz="900" b="1">
                <a:solidFill>
                  <a:srgbClr val="1A1A1A"/>
                </a:solidFill>
                <a:latin typeface="Verdana"/>
                <a:cs typeface="Verdana"/>
              </a:rPr>
              <a:t>t  Team</a:t>
            </a:r>
            <a:endParaRPr sz="900">
              <a:latin typeface="Verdana"/>
              <a:cs typeface="Verdana"/>
            </a:endParaRPr>
          </a:p>
        </p:txBody>
      </p:sp>
      <p:sp>
        <p:nvSpPr>
          <p:cNvPr id="107" name="object 107"/>
          <p:cNvSpPr/>
          <p:nvPr/>
        </p:nvSpPr>
        <p:spPr>
          <a:xfrm>
            <a:off x="4310634" y="1323594"/>
            <a:ext cx="5111750" cy="239395"/>
          </a:xfrm>
          <a:custGeom>
            <a:avLst/>
            <a:gdLst/>
            <a:ahLst/>
            <a:cxnLst/>
            <a:rect l="l" t="t" r="r" b="b"/>
            <a:pathLst>
              <a:path w="5111750" h="239394">
                <a:moveTo>
                  <a:pt x="0" y="239267"/>
                </a:moveTo>
                <a:lnTo>
                  <a:pt x="1012" y="163616"/>
                </a:lnTo>
                <a:lnTo>
                  <a:pt x="3836" y="97932"/>
                </a:lnTo>
                <a:lnTo>
                  <a:pt x="8147" y="46146"/>
                </a:lnTo>
                <a:lnTo>
                  <a:pt x="19938" y="0"/>
                </a:lnTo>
                <a:lnTo>
                  <a:pt x="5091557" y="0"/>
                </a:lnTo>
                <a:lnTo>
                  <a:pt x="5097873" y="12191"/>
                </a:lnTo>
                <a:lnTo>
                  <a:pt x="5103348" y="46146"/>
                </a:lnTo>
                <a:lnTo>
                  <a:pt x="5107659" y="97932"/>
                </a:lnTo>
                <a:lnTo>
                  <a:pt x="5110483" y="163616"/>
                </a:lnTo>
                <a:lnTo>
                  <a:pt x="5111495" y="239267"/>
                </a:lnTo>
              </a:path>
            </a:pathLst>
          </a:custGeom>
          <a:ln w="28955">
            <a:solidFill>
              <a:srgbClr val="7E7E7E"/>
            </a:solidFill>
          </a:ln>
        </p:spPr>
        <p:txBody>
          <a:bodyPr wrap="square" lIns="0" tIns="0" rIns="0" bIns="0" rtlCol="0"/>
          <a:lstStyle/>
          <a:p>
            <a:endParaRPr/>
          </a:p>
        </p:txBody>
      </p:sp>
      <p:sp>
        <p:nvSpPr>
          <p:cNvPr id="108" name="object 108"/>
          <p:cNvSpPr txBox="1"/>
          <p:nvPr/>
        </p:nvSpPr>
        <p:spPr>
          <a:xfrm>
            <a:off x="4896611" y="1245108"/>
            <a:ext cx="3642360" cy="178435"/>
          </a:xfrm>
          <a:prstGeom prst="rect">
            <a:avLst/>
          </a:prstGeom>
          <a:solidFill>
            <a:srgbClr val="006FAC"/>
          </a:solidFill>
        </p:spPr>
        <p:txBody>
          <a:bodyPr vert="horz" wrap="square" lIns="0" tIns="26034" rIns="0" bIns="0" rtlCol="0">
            <a:spAutoFit/>
          </a:bodyPr>
          <a:lstStyle/>
          <a:p>
            <a:pPr marL="353695">
              <a:lnSpc>
                <a:spcPct val="100000"/>
              </a:lnSpc>
              <a:spcBef>
                <a:spcPts val="204"/>
              </a:spcBef>
            </a:pPr>
            <a:r>
              <a:rPr sz="800" b="1">
                <a:solidFill>
                  <a:srgbClr val="FFFFFF"/>
                </a:solidFill>
                <a:latin typeface="Verdana"/>
                <a:cs typeface="Verdana"/>
              </a:rPr>
              <a:t>Whole Process can be Automated – no Human</a:t>
            </a:r>
            <a:r>
              <a:rPr sz="800" b="1" spc="-60">
                <a:solidFill>
                  <a:srgbClr val="FFFFFF"/>
                </a:solidFill>
                <a:latin typeface="Verdana"/>
                <a:cs typeface="Verdana"/>
              </a:rPr>
              <a:t> </a:t>
            </a:r>
            <a:r>
              <a:rPr sz="800" b="1">
                <a:solidFill>
                  <a:srgbClr val="FFFFFF"/>
                </a:solidFill>
                <a:latin typeface="Verdana"/>
                <a:cs typeface="Verdana"/>
              </a:rPr>
              <a:t>Error</a:t>
            </a:r>
            <a:endParaRPr sz="800">
              <a:latin typeface="Verdana"/>
              <a:cs typeface="Verdana"/>
            </a:endParaRPr>
          </a:p>
        </p:txBody>
      </p:sp>
      <p:sp>
        <p:nvSpPr>
          <p:cNvPr id="109" name="object 109"/>
          <p:cNvSpPr/>
          <p:nvPr/>
        </p:nvSpPr>
        <p:spPr>
          <a:xfrm>
            <a:off x="544403" y="1915987"/>
            <a:ext cx="353695" cy="333375"/>
          </a:xfrm>
          <a:custGeom>
            <a:avLst/>
            <a:gdLst/>
            <a:ahLst/>
            <a:cxnLst/>
            <a:rect l="l" t="t" r="r" b="b"/>
            <a:pathLst>
              <a:path w="353694" h="333375">
                <a:moveTo>
                  <a:pt x="159742" y="0"/>
                </a:moveTo>
                <a:lnTo>
                  <a:pt x="114656" y="10351"/>
                </a:lnTo>
                <a:lnTo>
                  <a:pt x="72397" y="32192"/>
                </a:lnTo>
                <a:lnTo>
                  <a:pt x="37640" y="64312"/>
                </a:lnTo>
                <a:lnTo>
                  <a:pt x="13760" y="102423"/>
                </a:lnTo>
                <a:lnTo>
                  <a:pt x="1099" y="144301"/>
                </a:lnTo>
                <a:lnTo>
                  <a:pt x="0" y="187724"/>
                </a:lnTo>
                <a:lnTo>
                  <a:pt x="10803" y="230470"/>
                </a:lnTo>
                <a:lnTo>
                  <a:pt x="33853" y="270317"/>
                </a:lnTo>
                <a:lnTo>
                  <a:pt x="66124" y="302346"/>
                </a:lnTo>
                <a:lnTo>
                  <a:pt x="104476" y="323182"/>
                </a:lnTo>
                <a:lnTo>
                  <a:pt x="146767" y="332912"/>
                </a:lnTo>
                <a:lnTo>
                  <a:pt x="190856" y="331625"/>
                </a:lnTo>
                <a:lnTo>
                  <a:pt x="234602" y="319409"/>
                </a:lnTo>
                <a:lnTo>
                  <a:pt x="275864" y="296352"/>
                </a:lnTo>
                <a:lnTo>
                  <a:pt x="311080" y="265447"/>
                </a:lnTo>
                <a:lnTo>
                  <a:pt x="336149" y="229202"/>
                </a:lnTo>
                <a:lnTo>
                  <a:pt x="350429" y="189449"/>
                </a:lnTo>
                <a:lnTo>
                  <a:pt x="353276" y="148025"/>
                </a:lnTo>
                <a:lnTo>
                  <a:pt x="344049" y="106763"/>
                </a:lnTo>
                <a:lnTo>
                  <a:pt x="322104" y="67498"/>
                </a:lnTo>
                <a:lnTo>
                  <a:pt x="288836" y="34887"/>
                </a:lnTo>
                <a:lnTo>
                  <a:pt x="249144" y="12568"/>
                </a:lnTo>
                <a:lnTo>
                  <a:pt x="205342" y="839"/>
                </a:lnTo>
                <a:lnTo>
                  <a:pt x="159742" y="0"/>
                </a:lnTo>
                <a:close/>
              </a:path>
            </a:pathLst>
          </a:custGeom>
          <a:solidFill>
            <a:srgbClr val="421F5D"/>
          </a:solidFill>
        </p:spPr>
        <p:txBody>
          <a:bodyPr wrap="square" lIns="0" tIns="0" rIns="0" bIns="0" rtlCol="0"/>
          <a:lstStyle/>
          <a:p>
            <a:endParaRPr/>
          </a:p>
        </p:txBody>
      </p:sp>
      <p:sp>
        <p:nvSpPr>
          <p:cNvPr id="110" name="object 110"/>
          <p:cNvSpPr/>
          <p:nvPr/>
        </p:nvSpPr>
        <p:spPr>
          <a:xfrm>
            <a:off x="656844" y="1997964"/>
            <a:ext cx="127452" cy="162306"/>
          </a:xfrm>
          <a:prstGeom prst="rect">
            <a:avLst/>
          </a:prstGeom>
          <a:blipFill>
            <a:blip r:embed="rId11" cstate="print"/>
            <a:stretch>
              <a:fillRect/>
            </a:stretch>
          </a:blipFill>
        </p:spPr>
        <p:txBody>
          <a:bodyPr wrap="square" lIns="0" tIns="0" rIns="0" bIns="0" rtlCol="0"/>
          <a:lstStyle/>
          <a:p>
            <a:endParaRPr/>
          </a:p>
        </p:txBody>
      </p:sp>
      <p:sp>
        <p:nvSpPr>
          <p:cNvPr id="111" name="object 111"/>
          <p:cNvSpPr/>
          <p:nvPr/>
        </p:nvSpPr>
        <p:spPr>
          <a:xfrm>
            <a:off x="544403" y="2609459"/>
            <a:ext cx="353695" cy="334645"/>
          </a:xfrm>
          <a:custGeom>
            <a:avLst/>
            <a:gdLst/>
            <a:ahLst/>
            <a:cxnLst/>
            <a:rect l="l" t="t" r="r" b="b"/>
            <a:pathLst>
              <a:path w="353694" h="334644">
                <a:moveTo>
                  <a:pt x="159742" y="0"/>
                </a:moveTo>
                <a:lnTo>
                  <a:pt x="114656" y="10374"/>
                </a:lnTo>
                <a:lnTo>
                  <a:pt x="72397" y="32267"/>
                </a:lnTo>
                <a:lnTo>
                  <a:pt x="37640" y="64577"/>
                </a:lnTo>
                <a:lnTo>
                  <a:pt x="13760" y="102874"/>
                </a:lnTo>
                <a:lnTo>
                  <a:pt x="1099" y="144932"/>
                </a:lnTo>
                <a:lnTo>
                  <a:pt x="0" y="188524"/>
                </a:lnTo>
                <a:lnTo>
                  <a:pt x="10803" y="231425"/>
                </a:lnTo>
                <a:lnTo>
                  <a:pt x="33853" y="271408"/>
                </a:lnTo>
                <a:lnTo>
                  <a:pt x="66124" y="303553"/>
                </a:lnTo>
                <a:lnTo>
                  <a:pt x="104476" y="324480"/>
                </a:lnTo>
                <a:lnTo>
                  <a:pt x="146767" y="334273"/>
                </a:lnTo>
                <a:lnTo>
                  <a:pt x="190856" y="333017"/>
                </a:lnTo>
                <a:lnTo>
                  <a:pt x="234602" y="320797"/>
                </a:lnTo>
                <a:lnTo>
                  <a:pt x="275864" y="297697"/>
                </a:lnTo>
                <a:lnTo>
                  <a:pt x="311080" y="266602"/>
                </a:lnTo>
                <a:lnTo>
                  <a:pt x="336149" y="230171"/>
                </a:lnTo>
                <a:lnTo>
                  <a:pt x="350429" y="190239"/>
                </a:lnTo>
                <a:lnTo>
                  <a:pt x="353276" y="148646"/>
                </a:lnTo>
                <a:lnTo>
                  <a:pt x="344049" y="107229"/>
                </a:lnTo>
                <a:lnTo>
                  <a:pt x="322104" y="67827"/>
                </a:lnTo>
                <a:lnTo>
                  <a:pt x="288836" y="35057"/>
                </a:lnTo>
                <a:lnTo>
                  <a:pt x="249144" y="12634"/>
                </a:lnTo>
                <a:lnTo>
                  <a:pt x="205342" y="850"/>
                </a:lnTo>
                <a:lnTo>
                  <a:pt x="159742" y="0"/>
                </a:lnTo>
                <a:close/>
              </a:path>
            </a:pathLst>
          </a:custGeom>
          <a:solidFill>
            <a:srgbClr val="006FAC"/>
          </a:solidFill>
        </p:spPr>
        <p:txBody>
          <a:bodyPr wrap="square" lIns="0" tIns="0" rIns="0" bIns="0" rtlCol="0"/>
          <a:lstStyle/>
          <a:p>
            <a:endParaRPr/>
          </a:p>
        </p:txBody>
      </p:sp>
      <p:sp>
        <p:nvSpPr>
          <p:cNvPr id="112" name="object 112"/>
          <p:cNvSpPr/>
          <p:nvPr/>
        </p:nvSpPr>
        <p:spPr>
          <a:xfrm>
            <a:off x="656844" y="2692907"/>
            <a:ext cx="127452" cy="162305"/>
          </a:xfrm>
          <a:prstGeom prst="rect">
            <a:avLst/>
          </a:prstGeom>
          <a:blipFill>
            <a:blip r:embed="rId12" cstate="print"/>
            <a:stretch>
              <a:fillRect/>
            </a:stretch>
          </a:blipFill>
        </p:spPr>
        <p:txBody>
          <a:bodyPr wrap="square" lIns="0" tIns="0" rIns="0" bIns="0" rtlCol="0"/>
          <a:lstStyle/>
          <a:p>
            <a:endParaRPr/>
          </a:p>
        </p:txBody>
      </p:sp>
      <p:sp>
        <p:nvSpPr>
          <p:cNvPr id="113" name="object 113"/>
          <p:cNvSpPr/>
          <p:nvPr/>
        </p:nvSpPr>
        <p:spPr>
          <a:xfrm>
            <a:off x="544119" y="3305109"/>
            <a:ext cx="353060" cy="334645"/>
          </a:xfrm>
          <a:custGeom>
            <a:avLst/>
            <a:gdLst/>
            <a:ahLst/>
            <a:cxnLst/>
            <a:rect l="l" t="t" r="r" b="b"/>
            <a:pathLst>
              <a:path w="353059" h="334645">
                <a:moveTo>
                  <a:pt x="158668" y="0"/>
                </a:moveTo>
                <a:lnTo>
                  <a:pt x="113562" y="10868"/>
                </a:lnTo>
                <a:lnTo>
                  <a:pt x="71310" y="33593"/>
                </a:lnTo>
                <a:lnTo>
                  <a:pt x="37284" y="65257"/>
                </a:lnTo>
                <a:lnTo>
                  <a:pt x="13799" y="103133"/>
                </a:lnTo>
                <a:lnTo>
                  <a:pt x="1242" y="144988"/>
                </a:lnTo>
                <a:lnTo>
                  <a:pt x="0" y="188590"/>
                </a:lnTo>
                <a:lnTo>
                  <a:pt x="10459" y="231705"/>
                </a:lnTo>
                <a:lnTo>
                  <a:pt x="33006" y="272099"/>
                </a:lnTo>
                <a:lnTo>
                  <a:pt x="65440" y="303926"/>
                </a:lnTo>
                <a:lnTo>
                  <a:pt x="103868" y="324574"/>
                </a:lnTo>
                <a:lnTo>
                  <a:pt x="146163" y="334186"/>
                </a:lnTo>
                <a:lnTo>
                  <a:pt x="190198" y="332909"/>
                </a:lnTo>
                <a:lnTo>
                  <a:pt x="233846" y="320886"/>
                </a:lnTo>
                <a:lnTo>
                  <a:pt x="274979" y="298261"/>
                </a:lnTo>
                <a:lnTo>
                  <a:pt x="310245" y="266505"/>
                </a:lnTo>
                <a:lnTo>
                  <a:pt x="335454" y="229804"/>
                </a:lnTo>
                <a:lnTo>
                  <a:pt x="349832" y="189899"/>
                </a:lnTo>
                <a:lnTo>
                  <a:pt x="352605" y="148533"/>
                </a:lnTo>
                <a:lnTo>
                  <a:pt x="342999" y="107450"/>
                </a:lnTo>
                <a:lnTo>
                  <a:pt x="320242" y="68391"/>
                </a:lnTo>
                <a:lnTo>
                  <a:pt x="287414" y="35184"/>
                </a:lnTo>
                <a:lnTo>
                  <a:pt x="247963" y="12493"/>
                </a:lnTo>
                <a:lnTo>
                  <a:pt x="204258" y="653"/>
                </a:lnTo>
                <a:lnTo>
                  <a:pt x="158668" y="0"/>
                </a:lnTo>
                <a:close/>
              </a:path>
            </a:pathLst>
          </a:custGeom>
          <a:solidFill>
            <a:srgbClr val="D22138"/>
          </a:solidFill>
        </p:spPr>
        <p:txBody>
          <a:bodyPr wrap="square" lIns="0" tIns="0" rIns="0" bIns="0" rtlCol="0"/>
          <a:lstStyle/>
          <a:p>
            <a:endParaRPr/>
          </a:p>
        </p:txBody>
      </p:sp>
      <p:sp>
        <p:nvSpPr>
          <p:cNvPr id="114" name="object 114"/>
          <p:cNvSpPr/>
          <p:nvPr/>
        </p:nvSpPr>
        <p:spPr>
          <a:xfrm>
            <a:off x="598931" y="3407664"/>
            <a:ext cx="244822" cy="151346"/>
          </a:xfrm>
          <a:prstGeom prst="rect">
            <a:avLst/>
          </a:prstGeom>
          <a:blipFill>
            <a:blip r:embed="rId13" cstate="print"/>
            <a:stretch>
              <a:fillRect/>
            </a:stretch>
          </a:blipFill>
        </p:spPr>
        <p:txBody>
          <a:bodyPr wrap="square" lIns="0" tIns="0" rIns="0" bIns="0" rtlCol="0"/>
          <a:lstStyle/>
          <a:p>
            <a:endParaRPr/>
          </a:p>
        </p:txBody>
      </p:sp>
      <p:sp>
        <p:nvSpPr>
          <p:cNvPr id="115" name="object 115"/>
          <p:cNvSpPr/>
          <p:nvPr/>
        </p:nvSpPr>
        <p:spPr>
          <a:xfrm>
            <a:off x="1911439" y="1304915"/>
            <a:ext cx="353695" cy="334645"/>
          </a:xfrm>
          <a:custGeom>
            <a:avLst/>
            <a:gdLst/>
            <a:ahLst/>
            <a:cxnLst/>
            <a:rect l="l" t="t" r="r" b="b"/>
            <a:pathLst>
              <a:path w="353694" h="334644">
                <a:moveTo>
                  <a:pt x="159766" y="0"/>
                </a:moveTo>
                <a:lnTo>
                  <a:pt x="114682" y="10374"/>
                </a:lnTo>
                <a:lnTo>
                  <a:pt x="72427" y="32267"/>
                </a:lnTo>
                <a:lnTo>
                  <a:pt x="37676" y="64577"/>
                </a:lnTo>
                <a:lnTo>
                  <a:pt x="13791" y="102874"/>
                </a:lnTo>
                <a:lnTo>
                  <a:pt x="1117" y="144932"/>
                </a:lnTo>
                <a:lnTo>
                  <a:pt x="0" y="188524"/>
                </a:lnTo>
                <a:lnTo>
                  <a:pt x="10785" y="231425"/>
                </a:lnTo>
                <a:lnTo>
                  <a:pt x="33819" y="271408"/>
                </a:lnTo>
                <a:lnTo>
                  <a:pt x="66090" y="303553"/>
                </a:lnTo>
                <a:lnTo>
                  <a:pt x="104450" y="324480"/>
                </a:lnTo>
                <a:lnTo>
                  <a:pt x="146754" y="334273"/>
                </a:lnTo>
                <a:lnTo>
                  <a:pt x="190857" y="333017"/>
                </a:lnTo>
                <a:lnTo>
                  <a:pt x="234614" y="320797"/>
                </a:lnTo>
                <a:lnTo>
                  <a:pt x="275881" y="297697"/>
                </a:lnTo>
                <a:lnTo>
                  <a:pt x="311091" y="266602"/>
                </a:lnTo>
                <a:lnTo>
                  <a:pt x="336154" y="230171"/>
                </a:lnTo>
                <a:lnTo>
                  <a:pt x="350430" y="190239"/>
                </a:lnTo>
                <a:lnTo>
                  <a:pt x="353276" y="148646"/>
                </a:lnTo>
                <a:lnTo>
                  <a:pt x="344050" y="107229"/>
                </a:lnTo>
                <a:lnTo>
                  <a:pt x="322109" y="67827"/>
                </a:lnTo>
                <a:lnTo>
                  <a:pt x="288850" y="35057"/>
                </a:lnTo>
                <a:lnTo>
                  <a:pt x="249164" y="12634"/>
                </a:lnTo>
                <a:lnTo>
                  <a:pt x="205364" y="850"/>
                </a:lnTo>
                <a:lnTo>
                  <a:pt x="159766" y="0"/>
                </a:lnTo>
                <a:close/>
              </a:path>
            </a:pathLst>
          </a:custGeom>
          <a:solidFill>
            <a:srgbClr val="421F5D"/>
          </a:solidFill>
        </p:spPr>
        <p:txBody>
          <a:bodyPr wrap="square" lIns="0" tIns="0" rIns="0" bIns="0" rtlCol="0"/>
          <a:lstStyle/>
          <a:p>
            <a:endParaRPr/>
          </a:p>
        </p:txBody>
      </p:sp>
      <p:sp>
        <p:nvSpPr>
          <p:cNvPr id="116" name="object 116"/>
          <p:cNvSpPr/>
          <p:nvPr/>
        </p:nvSpPr>
        <p:spPr>
          <a:xfrm>
            <a:off x="2023872" y="1388363"/>
            <a:ext cx="127470" cy="162212"/>
          </a:xfrm>
          <a:prstGeom prst="rect">
            <a:avLst/>
          </a:prstGeom>
          <a:blipFill>
            <a:blip r:embed="rId14" cstate="print"/>
            <a:stretch>
              <a:fillRect/>
            </a:stretch>
          </a:blipFill>
        </p:spPr>
        <p:txBody>
          <a:bodyPr wrap="square" lIns="0" tIns="0" rIns="0" bIns="0" rtlCol="0"/>
          <a:lstStyle/>
          <a:p>
            <a:endParaRPr/>
          </a:p>
        </p:txBody>
      </p:sp>
      <p:sp>
        <p:nvSpPr>
          <p:cNvPr id="117" name="object 117"/>
          <p:cNvSpPr/>
          <p:nvPr/>
        </p:nvSpPr>
        <p:spPr>
          <a:xfrm>
            <a:off x="2257387" y="1307963"/>
            <a:ext cx="353695" cy="334645"/>
          </a:xfrm>
          <a:custGeom>
            <a:avLst/>
            <a:gdLst/>
            <a:ahLst/>
            <a:cxnLst/>
            <a:rect l="l" t="t" r="r" b="b"/>
            <a:pathLst>
              <a:path w="353694" h="334644">
                <a:moveTo>
                  <a:pt x="159766" y="0"/>
                </a:moveTo>
                <a:lnTo>
                  <a:pt x="114682" y="10374"/>
                </a:lnTo>
                <a:lnTo>
                  <a:pt x="72427" y="32267"/>
                </a:lnTo>
                <a:lnTo>
                  <a:pt x="37676" y="64577"/>
                </a:lnTo>
                <a:lnTo>
                  <a:pt x="13791" y="102874"/>
                </a:lnTo>
                <a:lnTo>
                  <a:pt x="1117" y="144932"/>
                </a:lnTo>
                <a:lnTo>
                  <a:pt x="0" y="188524"/>
                </a:lnTo>
                <a:lnTo>
                  <a:pt x="10785" y="231425"/>
                </a:lnTo>
                <a:lnTo>
                  <a:pt x="33819" y="271408"/>
                </a:lnTo>
                <a:lnTo>
                  <a:pt x="66090" y="303553"/>
                </a:lnTo>
                <a:lnTo>
                  <a:pt x="104450" y="324480"/>
                </a:lnTo>
                <a:lnTo>
                  <a:pt x="146754" y="334273"/>
                </a:lnTo>
                <a:lnTo>
                  <a:pt x="190857" y="333017"/>
                </a:lnTo>
                <a:lnTo>
                  <a:pt x="234614" y="320797"/>
                </a:lnTo>
                <a:lnTo>
                  <a:pt x="275881" y="297697"/>
                </a:lnTo>
                <a:lnTo>
                  <a:pt x="311091" y="266602"/>
                </a:lnTo>
                <a:lnTo>
                  <a:pt x="336154" y="230171"/>
                </a:lnTo>
                <a:lnTo>
                  <a:pt x="350430" y="190239"/>
                </a:lnTo>
                <a:lnTo>
                  <a:pt x="353276" y="148646"/>
                </a:lnTo>
                <a:lnTo>
                  <a:pt x="344050" y="107229"/>
                </a:lnTo>
                <a:lnTo>
                  <a:pt x="322109" y="67827"/>
                </a:lnTo>
                <a:lnTo>
                  <a:pt x="288850" y="35057"/>
                </a:lnTo>
                <a:lnTo>
                  <a:pt x="249164" y="12634"/>
                </a:lnTo>
                <a:lnTo>
                  <a:pt x="205364" y="850"/>
                </a:lnTo>
                <a:lnTo>
                  <a:pt x="159766" y="0"/>
                </a:lnTo>
                <a:close/>
              </a:path>
            </a:pathLst>
          </a:custGeom>
          <a:solidFill>
            <a:srgbClr val="006FAC"/>
          </a:solidFill>
        </p:spPr>
        <p:txBody>
          <a:bodyPr wrap="square" lIns="0" tIns="0" rIns="0" bIns="0" rtlCol="0"/>
          <a:lstStyle/>
          <a:p>
            <a:endParaRPr/>
          </a:p>
        </p:txBody>
      </p:sp>
      <p:sp>
        <p:nvSpPr>
          <p:cNvPr id="118" name="object 118"/>
          <p:cNvSpPr/>
          <p:nvPr/>
        </p:nvSpPr>
        <p:spPr>
          <a:xfrm>
            <a:off x="2369820" y="1391411"/>
            <a:ext cx="127470" cy="162306"/>
          </a:xfrm>
          <a:prstGeom prst="rect">
            <a:avLst/>
          </a:prstGeom>
          <a:blipFill>
            <a:blip r:embed="rId15" cstate="print"/>
            <a:stretch>
              <a:fillRect/>
            </a:stretch>
          </a:blipFill>
        </p:spPr>
        <p:txBody>
          <a:bodyPr wrap="square" lIns="0" tIns="0" rIns="0" bIns="0" rtlCol="0"/>
          <a:lstStyle/>
          <a:p>
            <a:endParaRPr/>
          </a:p>
        </p:txBody>
      </p:sp>
      <p:sp>
        <p:nvSpPr>
          <p:cNvPr id="119" name="object 119"/>
          <p:cNvSpPr/>
          <p:nvPr/>
        </p:nvSpPr>
        <p:spPr>
          <a:xfrm>
            <a:off x="2077249" y="1084641"/>
            <a:ext cx="353060" cy="334645"/>
          </a:xfrm>
          <a:custGeom>
            <a:avLst/>
            <a:gdLst/>
            <a:ahLst/>
            <a:cxnLst/>
            <a:rect l="l" t="t" r="r" b="b"/>
            <a:pathLst>
              <a:path w="353060" h="334644">
                <a:moveTo>
                  <a:pt x="158674" y="0"/>
                </a:moveTo>
                <a:lnTo>
                  <a:pt x="113569" y="10868"/>
                </a:lnTo>
                <a:lnTo>
                  <a:pt x="71336" y="33593"/>
                </a:lnTo>
                <a:lnTo>
                  <a:pt x="37300" y="65257"/>
                </a:lnTo>
                <a:lnTo>
                  <a:pt x="13810" y="103133"/>
                </a:lnTo>
                <a:lnTo>
                  <a:pt x="1248" y="144988"/>
                </a:lnTo>
                <a:lnTo>
                  <a:pt x="0" y="188590"/>
                </a:lnTo>
                <a:lnTo>
                  <a:pt x="10449" y="231705"/>
                </a:lnTo>
                <a:lnTo>
                  <a:pt x="32982" y="272099"/>
                </a:lnTo>
                <a:lnTo>
                  <a:pt x="65447" y="303926"/>
                </a:lnTo>
                <a:lnTo>
                  <a:pt x="103895" y="324574"/>
                </a:lnTo>
                <a:lnTo>
                  <a:pt x="146202" y="334186"/>
                </a:lnTo>
                <a:lnTo>
                  <a:pt x="190245" y="332909"/>
                </a:lnTo>
                <a:lnTo>
                  <a:pt x="233901" y="320886"/>
                </a:lnTo>
                <a:lnTo>
                  <a:pt x="275044" y="298261"/>
                </a:lnTo>
                <a:lnTo>
                  <a:pt x="310284" y="266505"/>
                </a:lnTo>
                <a:lnTo>
                  <a:pt x="335477" y="229804"/>
                </a:lnTo>
                <a:lnTo>
                  <a:pt x="349847" y="189899"/>
                </a:lnTo>
                <a:lnTo>
                  <a:pt x="352617" y="148533"/>
                </a:lnTo>
                <a:lnTo>
                  <a:pt x="343012" y="107450"/>
                </a:lnTo>
                <a:lnTo>
                  <a:pt x="320256" y="68391"/>
                </a:lnTo>
                <a:lnTo>
                  <a:pt x="287442" y="35184"/>
                </a:lnTo>
                <a:lnTo>
                  <a:pt x="247988" y="12493"/>
                </a:lnTo>
                <a:lnTo>
                  <a:pt x="204273" y="653"/>
                </a:lnTo>
                <a:lnTo>
                  <a:pt x="158674" y="0"/>
                </a:lnTo>
                <a:close/>
              </a:path>
            </a:pathLst>
          </a:custGeom>
          <a:solidFill>
            <a:srgbClr val="D22138"/>
          </a:solidFill>
        </p:spPr>
        <p:txBody>
          <a:bodyPr wrap="square" lIns="0" tIns="0" rIns="0" bIns="0" rtlCol="0"/>
          <a:lstStyle/>
          <a:p>
            <a:endParaRPr/>
          </a:p>
        </p:txBody>
      </p:sp>
      <p:sp>
        <p:nvSpPr>
          <p:cNvPr id="120" name="object 120"/>
          <p:cNvSpPr/>
          <p:nvPr/>
        </p:nvSpPr>
        <p:spPr>
          <a:xfrm>
            <a:off x="2132076" y="1187196"/>
            <a:ext cx="244824" cy="149822"/>
          </a:xfrm>
          <a:prstGeom prst="rect">
            <a:avLst/>
          </a:prstGeom>
          <a:blipFill>
            <a:blip r:embed="rId16" cstate="print"/>
            <a:stretch>
              <a:fillRect/>
            </a:stretch>
          </a:blipFill>
        </p:spPr>
        <p:txBody>
          <a:bodyPr wrap="square" lIns="0" tIns="0" rIns="0" bIns="0" rtlCol="0"/>
          <a:lstStyle/>
          <a:p>
            <a:endParaRPr/>
          </a:p>
        </p:txBody>
      </p:sp>
      <p:sp>
        <p:nvSpPr>
          <p:cNvPr id="121" name="object 121"/>
          <p:cNvSpPr/>
          <p:nvPr/>
        </p:nvSpPr>
        <p:spPr>
          <a:xfrm>
            <a:off x="2799813" y="2245223"/>
            <a:ext cx="352425" cy="334645"/>
          </a:xfrm>
          <a:custGeom>
            <a:avLst/>
            <a:gdLst/>
            <a:ahLst/>
            <a:cxnLst/>
            <a:rect l="l" t="t" r="r" b="b"/>
            <a:pathLst>
              <a:path w="352425" h="334644">
                <a:moveTo>
                  <a:pt x="159187" y="0"/>
                </a:moveTo>
                <a:lnTo>
                  <a:pt x="114273" y="10374"/>
                </a:lnTo>
                <a:lnTo>
                  <a:pt x="72164" y="32267"/>
                </a:lnTo>
                <a:lnTo>
                  <a:pt x="37528" y="64577"/>
                </a:lnTo>
                <a:lnTo>
                  <a:pt x="13730" y="102874"/>
                </a:lnTo>
                <a:lnTo>
                  <a:pt x="1107" y="144932"/>
                </a:lnTo>
                <a:lnTo>
                  <a:pt x="0" y="188524"/>
                </a:lnTo>
                <a:lnTo>
                  <a:pt x="10745" y="231425"/>
                </a:lnTo>
                <a:lnTo>
                  <a:pt x="33683" y="271408"/>
                </a:lnTo>
                <a:lnTo>
                  <a:pt x="65861" y="303553"/>
                </a:lnTo>
                <a:lnTo>
                  <a:pt x="104083" y="324480"/>
                </a:lnTo>
                <a:lnTo>
                  <a:pt x="146221" y="334273"/>
                </a:lnTo>
                <a:lnTo>
                  <a:pt x="190147" y="333017"/>
                </a:lnTo>
                <a:lnTo>
                  <a:pt x="233734" y="320797"/>
                </a:lnTo>
                <a:lnTo>
                  <a:pt x="274856" y="297697"/>
                </a:lnTo>
                <a:lnTo>
                  <a:pt x="309950" y="266602"/>
                </a:lnTo>
                <a:lnTo>
                  <a:pt x="334927" y="230171"/>
                </a:lnTo>
                <a:lnTo>
                  <a:pt x="349151" y="190239"/>
                </a:lnTo>
                <a:lnTo>
                  <a:pt x="351987" y="148646"/>
                </a:lnTo>
                <a:lnTo>
                  <a:pt x="342801" y="107229"/>
                </a:lnTo>
                <a:lnTo>
                  <a:pt x="320957" y="67827"/>
                </a:lnTo>
                <a:lnTo>
                  <a:pt x="287790" y="35057"/>
                </a:lnTo>
                <a:lnTo>
                  <a:pt x="248242" y="12634"/>
                </a:lnTo>
                <a:lnTo>
                  <a:pt x="204609" y="850"/>
                </a:lnTo>
                <a:lnTo>
                  <a:pt x="159187" y="0"/>
                </a:lnTo>
                <a:close/>
              </a:path>
            </a:pathLst>
          </a:custGeom>
          <a:solidFill>
            <a:srgbClr val="421F5D"/>
          </a:solidFill>
        </p:spPr>
        <p:txBody>
          <a:bodyPr wrap="square" lIns="0" tIns="0" rIns="0" bIns="0" rtlCol="0"/>
          <a:lstStyle/>
          <a:p>
            <a:endParaRPr/>
          </a:p>
        </p:txBody>
      </p:sp>
      <p:sp>
        <p:nvSpPr>
          <p:cNvPr id="122" name="object 122"/>
          <p:cNvSpPr/>
          <p:nvPr/>
        </p:nvSpPr>
        <p:spPr>
          <a:xfrm>
            <a:off x="2912364" y="2328672"/>
            <a:ext cx="127470" cy="162212"/>
          </a:xfrm>
          <a:prstGeom prst="rect">
            <a:avLst/>
          </a:prstGeom>
          <a:blipFill>
            <a:blip r:embed="rId17" cstate="print"/>
            <a:stretch>
              <a:fillRect/>
            </a:stretch>
          </a:blipFill>
        </p:spPr>
        <p:txBody>
          <a:bodyPr wrap="square" lIns="0" tIns="0" rIns="0" bIns="0" rtlCol="0"/>
          <a:lstStyle/>
          <a:p>
            <a:endParaRPr/>
          </a:p>
        </p:txBody>
      </p:sp>
      <p:sp>
        <p:nvSpPr>
          <p:cNvPr id="123" name="object 123"/>
          <p:cNvSpPr/>
          <p:nvPr/>
        </p:nvSpPr>
        <p:spPr>
          <a:xfrm>
            <a:off x="3235795" y="5726063"/>
            <a:ext cx="353695" cy="334645"/>
          </a:xfrm>
          <a:custGeom>
            <a:avLst/>
            <a:gdLst/>
            <a:ahLst/>
            <a:cxnLst/>
            <a:rect l="l" t="t" r="r" b="b"/>
            <a:pathLst>
              <a:path w="353695" h="334645">
                <a:moveTo>
                  <a:pt x="159766" y="0"/>
                </a:moveTo>
                <a:lnTo>
                  <a:pt x="114682" y="10376"/>
                </a:lnTo>
                <a:lnTo>
                  <a:pt x="72427" y="32281"/>
                </a:lnTo>
                <a:lnTo>
                  <a:pt x="37676" y="64561"/>
                </a:lnTo>
                <a:lnTo>
                  <a:pt x="13791" y="102842"/>
                </a:lnTo>
                <a:lnTo>
                  <a:pt x="1117" y="144895"/>
                </a:lnTo>
                <a:lnTo>
                  <a:pt x="0" y="188491"/>
                </a:lnTo>
                <a:lnTo>
                  <a:pt x="10785" y="231401"/>
                </a:lnTo>
                <a:lnTo>
                  <a:pt x="33819" y="271397"/>
                </a:lnTo>
                <a:lnTo>
                  <a:pt x="66090" y="303549"/>
                </a:lnTo>
                <a:lnTo>
                  <a:pt x="104450" y="324475"/>
                </a:lnTo>
                <a:lnTo>
                  <a:pt x="146754" y="334258"/>
                </a:lnTo>
                <a:lnTo>
                  <a:pt x="190857" y="332987"/>
                </a:lnTo>
                <a:lnTo>
                  <a:pt x="234614" y="320746"/>
                </a:lnTo>
                <a:lnTo>
                  <a:pt x="275881" y="297622"/>
                </a:lnTo>
                <a:lnTo>
                  <a:pt x="311091" y="266561"/>
                </a:lnTo>
                <a:lnTo>
                  <a:pt x="336154" y="230144"/>
                </a:lnTo>
                <a:lnTo>
                  <a:pt x="350430" y="190213"/>
                </a:lnTo>
                <a:lnTo>
                  <a:pt x="353276" y="148612"/>
                </a:lnTo>
                <a:lnTo>
                  <a:pt x="344050" y="107181"/>
                </a:lnTo>
                <a:lnTo>
                  <a:pt x="322109" y="67765"/>
                </a:lnTo>
                <a:lnTo>
                  <a:pt x="288850" y="35033"/>
                </a:lnTo>
                <a:lnTo>
                  <a:pt x="249164" y="12628"/>
                </a:lnTo>
                <a:lnTo>
                  <a:pt x="205364" y="850"/>
                </a:lnTo>
                <a:lnTo>
                  <a:pt x="159766" y="0"/>
                </a:lnTo>
                <a:close/>
              </a:path>
            </a:pathLst>
          </a:custGeom>
          <a:solidFill>
            <a:srgbClr val="006FAC"/>
          </a:solidFill>
        </p:spPr>
        <p:txBody>
          <a:bodyPr wrap="square" lIns="0" tIns="0" rIns="0" bIns="0" rtlCol="0"/>
          <a:lstStyle/>
          <a:p>
            <a:endParaRPr/>
          </a:p>
        </p:txBody>
      </p:sp>
      <p:sp>
        <p:nvSpPr>
          <p:cNvPr id="124" name="object 124"/>
          <p:cNvSpPr/>
          <p:nvPr/>
        </p:nvSpPr>
        <p:spPr>
          <a:xfrm>
            <a:off x="3348228" y="5807964"/>
            <a:ext cx="127470" cy="163731"/>
          </a:xfrm>
          <a:prstGeom prst="rect">
            <a:avLst/>
          </a:prstGeom>
          <a:blipFill>
            <a:blip r:embed="rId18" cstate="print"/>
            <a:stretch>
              <a:fillRect/>
            </a:stretch>
          </a:blipFill>
        </p:spPr>
        <p:txBody>
          <a:bodyPr wrap="square" lIns="0" tIns="0" rIns="0" bIns="0" rtlCol="0"/>
          <a:lstStyle/>
          <a:p>
            <a:endParaRPr/>
          </a:p>
        </p:txBody>
      </p:sp>
      <p:sp>
        <p:nvSpPr>
          <p:cNvPr id="125" name="object 125"/>
          <p:cNvSpPr/>
          <p:nvPr/>
        </p:nvSpPr>
        <p:spPr>
          <a:xfrm>
            <a:off x="2884969" y="5726740"/>
            <a:ext cx="353060" cy="334645"/>
          </a:xfrm>
          <a:custGeom>
            <a:avLst/>
            <a:gdLst/>
            <a:ahLst/>
            <a:cxnLst/>
            <a:rect l="l" t="t" r="r" b="b"/>
            <a:pathLst>
              <a:path w="353060" h="334645">
                <a:moveTo>
                  <a:pt x="158674" y="0"/>
                </a:moveTo>
                <a:lnTo>
                  <a:pt x="113569" y="10846"/>
                </a:lnTo>
                <a:lnTo>
                  <a:pt x="71336" y="33547"/>
                </a:lnTo>
                <a:lnTo>
                  <a:pt x="37300" y="65250"/>
                </a:lnTo>
                <a:lnTo>
                  <a:pt x="13810" y="103147"/>
                </a:lnTo>
                <a:lnTo>
                  <a:pt x="1248" y="145012"/>
                </a:lnTo>
                <a:lnTo>
                  <a:pt x="0" y="188618"/>
                </a:lnTo>
                <a:lnTo>
                  <a:pt x="10449" y="231741"/>
                </a:lnTo>
                <a:lnTo>
                  <a:pt x="32982" y="272154"/>
                </a:lnTo>
                <a:lnTo>
                  <a:pt x="65447" y="303964"/>
                </a:lnTo>
                <a:lnTo>
                  <a:pt x="103895" y="324599"/>
                </a:lnTo>
                <a:lnTo>
                  <a:pt x="146202" y="334203"/>
                </a:lnTo>
                <a:lnTo>
                  <a:pt x="190245" y="332922"/>
                </a:lnTo>
                <a:lnTo>
                  <a:pt x="233901" y="320898"/>
                </a:lnTo>
                <a:lnTo>
                  <a:pt x="275044" y="298278"/>
                </a:lnTo>
                <a:lnTo>
                  <a:pt x="310284" y="266496"/>
                </a:lnTo>
                <a:lnTo>
                  <a:pt x="335477" y="229777"/>
                </a:lnTo>
                <a:lnTo>
                  <a:pt x="349847" y="189865"/>
                </a:lnTo>
                <a:lnTo>
                  <a:pt x="352617" y="148500"/>
                </a:lnTo>
                <a:lnTo>
                  <a:pt x="343012" y="107426"/>
                </a:lnTo>
                <a:lnTo>
                  <a:pt x="320256" y="68383"/>
                </a:lnTo>
                <a:lnTo>
                  <a:pt x="287442" y="35198"/>
                </a:lnTo>
                <a:lnTo>
                  <a:pt x="247988" y="12514"/>
                </a:lnTo>
                <a:lnTo>
                  <a:pt x="204273" y="668"/>
                </a:lnTo>
                <a:lnTo>
                  <a:pt x="158674" y="0"/>
                </a:lnTo>
                <a:close/>
              </a:path>
            </a:pathLst>
          </a:custGeom>
          <a:solidFill>
            <a:srgbClr val="D22138"/>
          </a:solidFill>
        </p:spPr>
        <p:txBody>
          <a:bodyPr wrap="square" lIns="0" tIns="0" rIns="0" bIns="0" rtlCol="0"/>
          <a:lstStyle/>
          <a:p>
            <a:endParaRPr/>
          </a:p>
        </p:txBody>
      </p:sp>
      <p:sp>
        <p:nvSpPr>
          <p:cNvPr id="126" name="object 126"/>
          <p:cNvSpPr/>
          <p:nvPr/>
        </p:nvSpPr>
        <p:spPr>
          <a:xfrm>
            <a:off x="2939795" y="5829300"/>
            <a:ext cx="244824" cy="149850"/>
          </a:xfrm>
          <a:prstGeom prst="rect">
            <a:avLst/>
          </a:prstGeom>
          <a:blipFill>
            <a:blip r:embed="rId19" cstate="print"/>
            <a:stretch>
              <a:fillRect/>
            </a:stretch>
          </a:blipFill>
        </p:spPr>
        <p:txBody>
          <a:bodyPr wrap="square" lIns="0" tIns="0" rIns="0" bIns="0" rtlCol="0"/>
          <a:lstStyle/>
          <a:p>
            <a:endParaRPr/>
          </a:p>
        </p:txBody>
      </p:sp>
      <p:sp>
        <p:nvSpPr>
          <p:cNvPr id="127" name="object 127"/>
          <p:cNvSpPr/>
          <p:nvPr/>
        </p:nvSpPr>
        <p:spPr>
          <a:xfrm>
            <a:off x="3634965" y="3307451"/>
            <a:ext cx="352425" cy="334645"/>
          </a:xfrm>
          <a:custGeom>
            <a:avLst/>
            <a:gdLst/>
            <a:ahLst/>
            <a:cxnLst/>
            <a:rect l="l" t="t" r="r" b="b"/>
            <a:pathLst>
              <a:path w="352425" h="334645">
                <a:moveTo>
                  <a:pt x="159187" y="0"/>
                </a:moveTo>
                <a:lnTo>
                  <a:pt x="114273" y="10374"/>
                </a:lnTo>
                <a:lnTo>
                  <a:pt x="72164" y="32267"/>
                </a:lnTo>
                <a:lnTo>
                  <a:pt x="37528" y="64577"/>
                </a:lnTo>
                <a:lnTo>
                  <a:pt x="13730" y="102874"/>
                </a:lnTo>
                <a:lnTo>
                  <a:pt x="1107" y="144932"/>
                </a:lnTo>
                <a:lnTo>
                  <a:pt x="0" y="188524"/>
                </a:lnTo>
                <a:lnTo>
                  <a:pt x="10745" y="231425"/>
                </a:lnTo>
                <a:lnTo>
                  <a:pt x="33683" y="271408"/>
                </a:lnTo>
                <a:lnTo>
                  <a:pt x="65861" y="303553"/>
                </a:lnTo>
                <a:lnTo>
                  <a:pt x="104083" y="324480"/>
                </a:lnTo>
                <a:lnTo>
                  <a:pt x="146221" y="334273"/>
                </a:lnTo>
                <a:lnTo>
                  <a:pt x="190147" y="333017"/>
                </a:lnTo>
                <a:lnTo>
                  <a:pt x="233734" y="320797"/>
                </a:lnTo>
                <a:lnTo>
                  <a:pt x="274856" y="297697"/>
                </a:lnTo>
                <a:lnTo>
                  <a:pt x="309950" y="266602"/>
                </a:lnTo>
                <a:lnTo>
                  <a:pt x="334927" y="230171"/>
                </a:lnTo>
                <a:lnTo>
                  <a:pt x="349151" y="190239"/>
                </a:lnTo>
                <a:lnTo>
                  <a:pt x="351987" y="148646"/>
                </a:lnTo>
                <a:lnTo>
                  <a:pt x="342801" y="107229"/>
                </a:lnTo>
                <a:lnTo>
                  <a:pt x="320957" y="67827"/>
                </a:lnTo>
                <a:lnTo>
                  <a:pt x="287790" y="35057"/>
                </a:lnTo>
                <a:lnTo>
                  <a:pt x="248242" y="12634"/>
                </a:lnTo>
                <a:lnTo>
                  <a:pt x="204609" y="850"/>
                </a:lnTo>
                <a:lnTo>
                  <a:pt x="159187" y="0"/>
                </a:lnTo>
                <a:close/>
              </a:path>
            </a:pathLst>
          </a:custGeom>
          <a:solidFill>
            <a:srgbClr val="421F5D"/>
          </a:solidFill>
        </p:spPr>
        <p:txBody>
          <a:bodyPr wrap="square" lIns="0" tIns="0" rIns="0" bIns="0" rtlCol="0"/>
          <a:lstStyle/>
          <a:p>
            <a:endParaRPr/>
          </a:p>
        </p:txBody>
      </p:sp>
      <p:sp>
        <p:nvSpPr>
          <p:cNvPr id="128" name="object 128"/>
          <p:cNvSpPr/>
          <p:nvPr/>
        </p:nvSpPr>
        <p:spPr>
          <a:xfrm>
            <a:off x="3745991" y="3390900"/>
            <a:ext cx="127470" cy="162306"/>
          </a:xfrm>
          <a:prstGeom prst="rect">
            <a:avLst/>
          </a:prstGeom>
          <a:blipFill>
            <a:blip r:embed="rId20" cstate="print"/>
            <a:stretch>
              <a:fillRect/>
            </a:stretch>
          </a:blipFill>
        </p:spPr>
        <p:txBody>
          <a:bodyPr wrap="square" lIns="0" tIns="0" rIns="0" bIns="0" rtlCol="0"/>
          <a:lstStyle/>
          <a:p>
            <a:endParaRPr/>
          </a:p>
        </p:txBody>
      </p:sp>
      <p:sp>
        <p:nvSpPr>
          <p:cNvPr id="129" name="object 129"/>
          <p:cNvSpPr/>
          <p:nvPr/>
        </p:nvSpPr>
        <p:spPr>
          <a:xfrm>
            <a:off x="3979201" y="3311285"/>
            <a:ext cx="353060" cy="335915"/>
          </a:xfrm>
          <a:custGeom>
            <a:avLst/>
            <a:gdLst/>
            <a:ahLst/>
            <a:cxnLst/>
            <a:rect l="l" t="t" r="r" b="b"/>
            <a:pathLst>
              <a:path w="353060" h="335914">
                <a:moveTo>
                  <a:pt x="158674" y="0"/>
                </a:moveTo>
                <a:lnTo>
                  <a:pt x="113569" y="10872"/>
                </a:lnTo>
                <a:lnTo>
                  <a:pt x="71336" y="33640"/>
                </a:lnTo>
                <a:lnTo>
                  <a:pt x="37300" y="65494"/>
                </a:lnTo>
                <a:lnTo>
                  <a:pt x="13810" y="103561"/>
                </a:lnTo>
                <a:lnTo>
                  <a:pt x="1248" y="145607"/>
                </a:lnTo>
                <a:lnTo>
                  <a:pt x="0" y="189399"/>
                </a:lnTo>
                <a:lnTo>
                  <a:pt x="10449" y="232704"/>
                </a:lnTo>
                <a:lnTo>
                  <a:pt x="32982" y="273289"/>
                </a:lnTo>
                <a:lnTo>
                  <a:pt x="65447" y="305222"/>
                </a:lnTo>
                <a:lnTo>
                  <a:pt x="103895" y="325933"/>
                </a:lnTo>
                <a:lnTo>
                  <a:pt x="146202" y="335567"/>
                </a:lnTo>
                <a:lnTo>
                  <a:pt x="190246" y="334268"/>
                </a:lnTo>
                <a:lnTo>
                  <a:pt x="233901" y="322181"/>
                </a:lnTo>
                <a:lnTo>
                  <a:pt x="275044" y="299451"/>
                </a:lnTo>
                <a:lnTo>
                  <a:pt x="310284" y="267559"/>
                </a:lnTo>
                <a:lnTo>
                  <a:pt x="335477" y="230707"/>
                </a:lnTo>
                <a:lnTo>
                  <a:pt x="349847" y="190644"/>
                </a:lnTo>
                <a:lnTo>
                  <a:pt x="352617" y="149121"/>
                </a:lnTo>
                <a:lnTo>
                  <a:pt x="343012" y="107887"/>
                </a:lnTo>
                <a:lnTo>
                  <a:pt x="320256" y="68692"/>
                </a:lnTo>
                <a:lnTo>
                  <a:pt x="287442" y="35369"/>
                </a:lnTo>
                <a:lnTo>
                  <a:pt x="247988" y="12587"/>
                </a:lnTo>
                <a:lnTo>
                  <a:pt x="204273" y="684"/>
                </a:lnTo>
                <a:lnTo>
                  <a:pt x="158674" y="0"/>
                </a:lnTo>
                <a:close/>
              </a:path>
            </a:pathLst>
          </a:custGeom>
          <a:solidFill>
            <a:srgbClr val="D22138"/>
          </a:solidFill>
        </p:spPr>
        <p:txBody>
          <a:bodyPr wrap="square" lIns="0" tIns="0" rIns="0" bIns="0" rtlCol="0"/>
          <a:lstStyle/>
          <a:p>
            <a:endParaRPr/>
          </a:p>
        </p:txBody>
      </p:sp>
      <p:sp>
        <p:nvSpPr>
          <p:cNvPr id="130" name="object 130"/>
          <p:cNvSpPr/>
          <p:nvPr/>
        </p:nvSpPr>
        <p:spPr>
          <a:xfrm>
            <a:off x="4034028" y="3415284"/>
            <a:ext cx="244824" cy="149822"/>
          </a:xfrm>
          <a:prstGeom prst="rect">
            <a:avLst/>
          </a:prstGeom>
          <a:blipFill>
            <a:blip r:embed="rId21" cstate="print"/>
            <a:stretch>
              <a:fillRect/>
            </a:stretch>
          </a:blipFill>
        </p:spPr>
        <p:txBody>
          <a:bodyPr wrap="square" lIns="0" tIns="0" rIns="0" bIns="0" rtlCol="0"/>
          <a:lstStyle/>
          <a:p>
            <a:endParaRPr/>
          </a:p>
        </p:txBody>
      </p:sp>
      <p:sp>
        <p:nvSpPr>
          <p:cNvPr id="131" name="object 131"/>
          <p:cNvSpPr/>
          <p:nvPr/>
        </p:nvSpPr>
        <p:spPr>
          <a:xfrm>
            <a:off x="4933531" y="1510655"/>
            <a:ext cx="353695" cy="334645"/>
          </a:xfrm>
          <a:custGeom>
            <a:avLst/>
            <a:gdLst/>
            <a:ahLst/>
            <a:cxnLst/>
            <a:rect l="l" t="t" r="r" b="b"/>
            <a:pathLst>
              <a:path w="353695" h="334644">
                <a:moveTo>
                  <a:pt x="159766" y="0"/>
                </a:moveTo>
                <a:lnTo>
                  <a:pt x="114682" y="10374"/>
                </a:lnTo>
                <a:lnTo>
                  <a:pt x="72427" y="32267"/>
                </a:lnTo>
                <a:lnTo>
                  <a:pt x="37676" y="64577"/>
                </a:lnTo>
                <a:lnTo>
                  <a:pt x="13791" y="102874"/>
                </a:lnTo>
                <a:lnTo>
                  <a:pt x="1117" y="144932"/>
                </a:lnTo>
                <a:lnTo>
                  <a:pt x="0" y="188524"/>
                </a:lnTo>
                <a:lnTo>
                  <a:pt x="10785" y="231425"/>
                </a:lnTo>
                <a:lnTo>
                  <a:pt x="33819" y="271408"/>
                </a:lnTo>
                <a:lnTo>
                  <a:pt x="66090" y="303553"/>
                </a:lnTo>
                <a:lnTo>
                  <a:pt x="104450" y="324480"/>
                </a:lnTo>
                <a:lnTo>
                  <a:pt x="146754" y="334273"/>
                </a:lnTo>
                <a:lnTo>
                  <a:pt x="190857" y="333017"/>
                </a:lnTo>
                <a:lnTo>
                  <a:pt x="234614" y="320797"/>
                </a:lnTo>
                <a:lnTo>
                  <a:pt x="275881" y="297697"/>
                </a:lnTo>
                <a:lnTo>
                  <a:pt x="311091" y="266602"/>
                </a:lnTo>
                <a:lnTo>
                  <a:pt x="336154" y="230171"/>
                </a:lnTo>
                <a:lnTo>
                  <a:pt x="350430" y="190239"/>
                </a:lnTo>
                <a:lnTo>
                  <a:pt x="353276" y="148646"/>
                </a:lnTo>
                <a:lnTo>
                  <a:pt x="344050" y="107229"/>
                </a:lnTo>
                <a:lnTo>
                  <a:pt x="322109" y="67827"/>
                </a:lnTo>
                <a:lnTo>
                  <a:pt x="288850" y="35057"/>
                </a:lnTo>
                <a:lnTo>
                  <a:pt x="249164" y="12634"/>
                </a:lnTo>
                <a:lnTo>
                  <a:pt x="205364" y="850"/>
                </a:lnTo>
                <a:lnTo>
                  <a:pt x="159766" y="0"/>
                </a:lnTo>
                <a:close/>
              </a:path>
            </a:pathLst>
          </a:custGeom>
          <a:solidFill>
            <a:srgbClr val="421F5D"/>
          </a:solidFill>
        </p:spPr>
        <p:txBody>
          <a:bodyPr wrap="square" lIns="0" tIns="0" rIns="0" bIns="0" rtlCol="0"/>
          <a:lstStyle/>
          <a:p>
            <a:endParaRPr/>
          </a:p>
        </p:txBody>
      </p:sp>
      <p:sp>
        <p:nvSpPr>
          <p:cNvPr id="132" name="object 132"/>
          <p:cNvSpPr/>
          <p:nvPr/>
        </p:nvSpPr>
        <p:spPr>
          <a:xfrm>
            <a:off x="5045964" y="1594103"/>
            <a:ext cx="127470" cy="162306"/>
          </a:xfrm>
          <a:prstGeom prst="rect">
            <a:avLst/>
          </a:prstGeom>
          <a:blipFill>
            <a:blip r:embed="rId22" cstate="print"/>
            <a:stretch>
              <a:fillRect/>
            </a:stretch>
          </a:blipFill>
        </p:spPr>
        <p:txBody>
          <a:bodyPr wrap="square" lIns="0" tIns="0" rIns="0" bIns="0" rtlCol="0"/>
          <a:lstStyle/>
          <a:p>
            <a:endParaRPr/>
          </a:p>
        </p:txBody>
      </p:sp>
      <p:sp>
        <p:nvSpPr>
          <p:cNvPr id="133" name="object 133"/>
          <p:cNvSpPr/>
          <p:nvPr/>
        </p:nvSpPr>
        <p:spPr>
          <a:xfrm>
            <a:off x="7175217" y="1510655"/>
            <a:ext cx="352425" cy="334645"/>
          </a:xfrm>
          <a:custGeom>
            <a:avLst/>
            <a:gdLst/>
            <a:ahLst/>
            <a:cxnLst/>
            <a:rect l="l" t="t" r="r" b="b"/>
            <a:pathLst>
              <a:path w="352425" h="334644">
                <a:moveTo>
                  <a:pt x="159187" y="0"/>
                </a:moveTo>
                <a:lnTo>
                  <a:pt x="114273" y="10374"/>
                </a:lnTo>
                <a:lnTo>
                  <a:pt x="72164" y="32267"/>
                </a:lnTo>
                <a:lnTo>
                  <a:pt x="37528" y="64577"/>
                </a:lnTo>
                <a:lnTo>
                  <a:pt x="13730" y="102874"/>
                </a:lnTo>
                <a:lnTo>
                  <a:pt x="1107" y="144932"/>
                </a:lnTo>
                <a:lnTo>
                  <a:pt x="0" y="188524"/>
                </a:lnTo>
                <a:lnTo>
                  <a:pt x="10745" y="231425"/>
                </a:lnTo>
                <a:lnTo>
                  <a:pt x="33683" y="271408"/>
                </a:lnTo>
                <a:lnTo>
                  <a:pt x="65861" y="303553"/>
                </a:lnTo>
                <a:lnTo>
                  <a:pt x="104083" y="324480"/>
                </a:lnTo>
                <a:lnTo>
                  <a:pt x="146221" y="334273"/>
                </a:lnTo>
                <a:lnTo>
                  <a:pt x="190147" y="333017"/>
                </a:lnTo>
                <a:lnTo>
                  <a:pt x="233734" y="320797"/>
                </a:lnTo>
                <a:lnTo>
                  <a:pt x="274856" y="297697"/>
                </a:lnTo>
                <a:lnTo>
                  <a:pt x="309950" y="266602"/>
                </a:lnTo>
                <a:lnTo>
                  <a:pt x="334927" y="230171"/>
                </a:lnTo>
                <a:lnTo>
                  <a:pt x="349151" y="190239"/>
                </a:lnTo>
                <a:lnTo>
                  <a:pt x="351987" y="148646"/>
                </a:lnTo>
                <a:lnTo>
                  <a:pt x="342801" y="107229"/>
                </a:lnTo>
                <a:lnTo>
                  <a:pt x="320957" y="67827"/>
                </a:lnTo>
                <a:lnTo>
                  <a:pt x="287790" y="35057"/>
                </a:lnTo>
                <a:lnTo>
                  <a:pt x="248242" y="12634"/>
                </a:lnTo>
                <a:lnTo>
                  <a:pt x="204609" y="850"/>
                </a:lnTo>
                <a:lnTo>
                  <a:pt x="159187" y="0"/>
                </a:lnTo>
                <a:close/>
              </a:path>
            </a:pathLst>
          </a:custGeom>
          <a:solidFill>
            <a:srgbClr val="421F5D"/>
          </a:solidFill>
        </p:spPr>
        <p:txBody>
          <a:bodyPr wrap="square" lIns="0" tIns="0" rIns="0" bIns="0" rtlCol="0"/>
          <a:lstStyle/>
          <a:p>
            <a:endParaRPr/>
          </a:p>
        </p:txBody>
      </p:sp>
      <p:sp>
        <p:nvSpPr>
          <p:cNvPr id="134" name="object 134"/>
          <p:cNvSpPr/>
          <p:nvPr/>
        </p:nvSpPr>
        <p:spPr>
          <a:xfrm>
            <a:off x="7287768" y="1594103"/>
            <a:ext cx="127470" cy="162306"/>
          </a:xfrm>
          <a:prstGeom prst="rect">
            <a:avLst/>
          </a:prstGeom>
          <a:blipFill>
            <a:blip r:embed="rId23" cstate="print"/>
            <a:stretch>
              <a:fillRect/>
            </a:stretch>
          </a:blipFill>
        </p:spPr>
        <p:txBody>
          <a:bodyPr wrap="square" lIns="0" tIns="0" rIns="0" bIns="0" rtlCol="0"/>
          <a:lstStyle/>
          <a:p>
            <a:endParaRPr/>
          </a:p>
        </p:txBody>
      </p:sp>
      <p:sp>
        <p:nvSpPr>
          <p:cNvPr id="135" name="object 135"/>
          <p:cNvSpPr/>
          <p:nvPr/>
        </p:nvSpPr>
        <p:spPr>
          <a:xfrm>
            <a:off x="8569677" y="1510655"/>
            <a:ext cx="352425" cy="334645"/>
          </a:xfrm>
          <a:custGeom>
            <a:avLst/>
            <a:gdLst/>
            <a:ahLst/>
            <a:cxnLst/>
            <a:rect l="l" t="t" r="r" b="b"/>
            <a:pathLst>
              <a:path w="352425" h="334644">
                <a:moveTo>
                  <a:pt x="159187" y="0"/>
                </a:moveTo>
                <a:lnTo>
                  <a:pt x="114273" y="10374"/>
                </a:lnTo>
                <a:lnTo>
                  <a:pt x="72164" y="32267"/>
                </a:lnTo>
                <a:lnTo>
                  <a:pt x="37528" y="64577"/>
                </a:lnTo>
                <a:lnTo>
                  <a:pt x="13730" y="102874"/>
                </a:lnTo>
                <a:lnTo>
                  <a:pt x="1107" y="144932"/>
                </a:lnTo>
                <a:lnTo>
                  <a:pt x="0" y="188524"/>
                </a:lnTo>
                <a:lnTo>
                  <a:pt x="10745" y="231425"/>
                </a:lnTo>
                <a:lnTo>
                  <a:pt x="33683" y="271408"/>
                </a:lnTo>
                <a:lnTo>
                  <a:pt x="65861" y="303553"/>
                </a:lnTo>
                <a:lnTo>
                  <a:pt x="104083" y="324480"/>
                </a:lnTo>
                <a:lnTo>
                  <a:pt x="146221" y="334273"/>
                </a:lnTo>
                <a:lnTo>
                  <a:pt x="190147" y="333017"/>
                </a:lnTo>
                <a:lnTo>
                  <a:pt x="233734" y="320797"/>
                </a:lnTo>
                <a:lnTo>
                  <a:pt x="274856" y="297697"/>
                </a:lnTo>
                <a:lnTo>
                  <a:pt x="309950" y="266602"/>
                </a:lnTo>
                <a:lnTo>
                  <a:pt x="334927" y="230171"/>
                </a:lnTo>
                <a:lnTo>
                  <a:pt x="349151" y="190239"/>
                </a:lnTo>
                <a:lnTo>
                  <a:pt x="351987" y="148646"/>
                </a:lnTo>
                <a:lnTo>
                  <a:pt x="342801" y="107229"/>
                </a:lnTo>
                <a:lnTo>
                  <a:pt x="320957" y="67827"/>
                </a:lnTo>
                <a:lnTo>
                  <a:pt x="287790" y="35057"/>
                </a:lnTo>
                <a:lnTo>
                  <a:pt x="248242" y="12634"/>
                </a:lnTo>
                <a:lnTo>
                  <a:pt x="204609" y="850"/>
                </a:lnTo>
                <a:lnTo>
                  <a:pt x="159187" y="0"/>
                </a:lnTo>
                <a:close/>
              </a:path>
            </a:pathLst>
          </a:custGeom>
          <a:solidFill>
            <a:srgbClr val="421F5D"/>
          </a:solidFill>
        </p:spPr>
        <p:txBody>
          <a:bodyPr wrap="square" lIns="0" tIns="0" rIns="0" bIns="0" rtlCol="0"/>
          <a:lstStyle/>
          <a:p>
            <a:endParaRPr/>
          </a:p>
        </p:txBody>
      </p:sp>
      <p:sp>
        <p:nvSpPr>
          <p:cNvPr id="136" name="object 136"/>
          <p:cNvSpPr/>
          <p:nvPr/>
        </p:nvSpPr>
        <p:spPr>
          <a:xfrm>
            <a:off x="8682228" y="1594103"/>
            <a:ext cx="127470" cy="162306"/>
          </a:xfrm>
          <a:prstGeom prst="rect">
            <a:avLst/>
          </a:prstGeom>
          <a:blipFill>
            <a:blip r:embed="rId23" cstate="print"/>
            <a:stretch>
              <a:fillRect/>
            </a:stretch>
          </a:blipFill>
        </p:spPr>
        <p:txBody>
          <a:bodyPr wrap="square" lIns="0" tIns="0" rIns="0" bIns="0" rtlCol="0"/>
          <a:lstStyle/>
          <a:p>
            <a:endParaRPr/>
          </a:p>
        </p:txBody>
      </p:sp>
      <p:sp>
        <p:nvSpPr>
          <p:cNvPr id="137" name="object 137"/>
          <p:cNvSpPr/>
          <p:nvPr/>
        </p:nvSpPr>
        <p:spPr>
          <a:xfrm>
            <a:off x="10409263" y="1474079"/>
            <a:ext cx="353695" cy="334645"/>
          </a:xfrm>
          <a:custGeom>
            <a:avLst/>
            <a:gdLst/>
            <a:ahLst/>
            <a:cxnLst/>
            <a:rect l="l" t="t" r="r" b="b"/>
            <a:pathLst>
              <a:path w="353695" h="334644">
                <a:moveTo>
                  <a:pt x="159766" y="0"/>
                </a:moveTo>
                <a:lnTo>
                  <a:pt x="114682" y="10374"/>
                </a:lnTo>
                <a:lnTo>
                  <a:pt x="72427" y="32267"/>
                </a:lnTo>
                <a:lnTo>
                  <a:pt x="37676" y="64577"/>
                </a:lnTo>
                <a:lnTo>
                  <a:pt x="13791" y="102874"/>
                </a:lnTo>
                <a:lnTo>
                  <a:pt x="1117" y="144932"/>
                </a:lnTo>
                <a:lnTo>
                  <a:pt x="0" y="188524"/>
                </a:lnTo>
                <a:lnTo>
                  <a:pt x="10785" y="231425"/>
                </a:lnTo>
                <a:lnTo>
                  <a:pt x="33819" y="271408"/>
                </a:lnTo>
                <a:lnTo>
                  <a:pt x="66090" y="303553"/>
                </a:lnTo>
                <a:lnTo>
                  <a:pt x="104450" y="324480"/>
                </a:lnTo>
                <a:lnTo>
                  <a:pt x="146754" y="334273"/>
                </a:lnTo>
                <a:lnTo>
                  <a:pt x="190857" y="333017"/>
                </a:lnTo>
                <a:lnTo>
                  <a:pt x="234614" y="320797"/>
                </a:lnTo>
                <a:lnTo>
                  <a:pt x="275881" y="297697"/>
                </a:lnTo>
                <a:lnTo>
                  <a:pt x="311091" y="266602"/>
                </a:lnTo>
                <a:lnTo>
                  <a:pt x="336154" y="230171"/>
                </a:lnTo>
                <a:lnTo>
                  <a:pt x="350430" y="190239"/>
                </a:lnTo>
                <a:lnTo>
                  <a:pt x="353276" y="148646"/>
                </a:lnTo>
                <a:lnTo>
                  <a:pt x="344050" y="107229"/>
                </a:lnTo>
                <a:lnTo>
                  <a:pt x="322109" y="67827"/>
                </a:lnTo>
                <a:lnTo>
                  <a:pt x="288850" y="35057"/>
                </a:lnTo>
                <a:lnTo>
                  <a:pt x="249164" y="12634"/>
                </a:lnTo>
                <a:lnTo>
                  <a:pt x="205364" y="850"/>
                </a:lnTo>
                <a:lnTo>
                  <a:pt x="159766" y="0"/>
                </a:lnTo>
                <a:close/>
              </a:path>
            </a:pathLst>
          </a:custGeom>
          <a:solidFill>
            <a:srgbClr val="421F5D"/>
          </a:solidFill>
        </p:spPr>
        <p:txBody>
          <a:bodyPr wrap="square" lIns="0" tIns="0" rIns="0" bIns="0" rtlCol="0"/>
          <a:lstStyle/>
          <a:p>
            <a:endParaRPr/>
          </a:p>
        </p:txBody>
      </p:sp>
      <p:sp>
        <p:nvSpPr>
          <p:cNvPr id="138" name="object 138"/>
          <p:cNvSpPr/>
          <p:nvPr/>
        </p:nvSpPr>
        <p:spPr>
          <a:xfrm>
            <a:off x="10521695" y="1556003"/>
            <a:ext cx="127470" cy="163736"/>
          </a:xfrm>
          <a:prstGeom prst="rect">
            <a:avLst/>
          </a:prstGeom>
          <a:blipFill>
            <a:blip r:embed="rId24" cstate="print"/>
            <a:stretch>
              <a:fillRect/>
            </a:stretch>
          </a:blipFill>
        </p:spPr>
        <p:txBody>
          <a:bodyPr wrap="square" lIns="0" tIns="0" rIns="0" bIns="0" rtlCol="0"/>
          <a:lstStyle/>
          <a:p>
            <a:endParaRPr/>
          </a:p>
        </p:txBody>
      </p:sp>
      <p:sp>
        <p:nvSpPr>
          <p:cNvPr id="139" name="object 139"/>
          <p:cNvSpPr/>
          <p:nvPr/>
        </p:nvSpPr>
        <p:spPr>
          <a:xfrm>
            <a:off x="10771669" y="1473341"/>
            <a:ext cx="353060" cy="335915"/>
          </a:xfrm>
          <a:custGeom>
            <a:avLst/>
            <a:gdLst/>
            <a:ahLst/>
            <a:cxnLst/>
            <a:rect l="l" t="t" r="r" b="b"/>
            <a:pathLst>
              <a:path w="353059" h="335914">
                <a:moveTo>
                  <a:pt x="158674" y="0"/>
                </a:moveTo>
                <a:lnTo>
                  <a:pt x="113569" y="10872"/>
                </a:lnTo>
                <a:lnTo>
                  <a:pt x="71336" y="33640"/>
                </a:lnTo>
                <a:lnTo>
                  <a:pt x="37300" y="65494"/>
                </a:lnTo>
                <a:lnTo>
                  <a:pt x="13810" y="103561"/>
                </a:lnTo>
                <a:lnTo>
                  <a:pt x="1248" y="145607"/>
                </a:lnTo>
                <a:lnTo>
                  <a:pt x="0" y="189399"/>
                </a:lnTo>
                <a:lnTo>
                  <a:pt x="10449" y="232704"/>
                </a:lnTo>
                <a:lnTo>
                  <a:pt x="32982" y="273289"/>
                </a:lnTo>
                <a:lnTo>
                  <a:pt x="65447" y="305222"/>
                </a:lnTo>
                <a:lnTo>
                  <a:pt x="103895" y="325933"/>
                </a:lnTo>
                <a:lnTo>
                  <a:pt x="146202" y="335567"/>
                </a:lnTo>
                <a:lnTo>
                  <a:pt x="190245" y="334268"/>
                </a:lnTo>
                <a:lnTo>
                  <a:pt x="233901" y="322181"/>
                </a:lnTo>
                <a:lnTo>
                  <a:pt x="275044" y="299451"/>
                </a:lnTo>
                <a:lnTo>
                  <a:pt x="310284" y="267559"/>
                </a:lnTo>
                <a:lnTo>
                  <a:pt x="335477" y="230707"/>
                </a:lnTo>
                <a:lnTo>
                  <a:pt x="349847" y="190644"/>
                </a:lnTo>
                <a:lnTo>
                  <a:pt x="352617" y="149121"/>
                </a:lnTo>
                <a:lnTo>
                  <a:pt x="343012" y="107887"/>
                </a:lnTo>
                <a:lnTo>
                  <a:pt x="320256" y="68692"/>
                </a:lnTo>
                <a:lnTo>
                  <a:pt x="287442" y="35369"/>
                </a:lnTo>
                <a:lnTo>
                  <a:pt x="247988" y="12587"/>
                </a:lnTo>
                <a:lnTo>
                  <a:pt x="204273" y="684"/>
                </a:lnTo>
                <a:lnTo>
                  <a:pt x="158674" y="0"/>
                </a:lnTo>
                <a:close/>
              </a:path>
            </a:pathLst>
          </a:custGeom>
          <a:solidFill>
            <a:srgbClr val="D22138"/>
          </a:solidFill>
        </p:spPr>
        <p:txBody>
          <a:bodyPr wrap="square" lIns="0" tIns="0" rIns="0" bIns="0" rtlCol="0"/>
          <a:lstStyle/>
          <a:p>
            <a:endParaRPr/>
          </a:p>
        </p:txBody>
      </p:sp>
      <p:sp>
        <p:nvSpPr>
          <p:cNvPr id="140" name="object 140"/>
          <p:cNvSpPr/>
          <p:nvPr/>
        </p:nvSpPr>
        <p:spPr>
          <a:xfrm>
            <a:off x="10826495" y="1577339"/>
            <a:ext cx="244824" cy="149822"/>
          </a:xfrm>
          <a:prstGeom prst="rect">
            <a:avLst/>
          </a:prstGeom>
          <a:blipFill>
            <a:blip r:embed="rId25" cstate="print"/>
            <a:stretch>
              <a:fillRect/>
            </a:stretch>
          </a:blipFill>
        </p:spPr>
        <p:txBody>
          <a:bodyPr wrap="square" lIns="0" tIns="0" rIns="0" bIns="0" rtlCol="0"/>
          <a:lstStyle/>
          <a:p>
            <a:endParaRPr/>
          </a:p>
        </p:txBody>
      </p:sp>
      <p:sp>
        <p:nvSpPr>
          <p:cNvPr id="141" name="object 141"/>
          <p:cNvSpPr/>
          <p:nvPr/>
        </p:nvSpPr>
        <p:spPr>
          <a:xfrm>
            <a:off x="11043652" y="2511298"/>
            <a:ext cx="366395" cy="347345"/>
          </a:xfrm>
          <a:custGeom>
            <a:avLst/>
            <a:gdLst/>
            <a:ahLst/>
            <a:cxnLst/>
            <a:rect l="l" t="t" r="r" b="b"/>
            <a:pathLst>
              <a:path w="366395" h="347344">
                <a:moveTo>
                  <a:pt x="164775" y="0"/>
                </a:moveTo>
                <a:lnTo>
                  <a:pt x="118129" y="10847"/>
                </a:lnTo>
                <a:lnTo>
                  <a:pt x="74563" y="33655"/>
                </a:lnTo>
                <a:lnTo>
                  <a:pt x="38877" y="67147"/>
                </a:lnTo>
                <a:lnTo>
                  <a:pt x="14336" y="106816"/>
                </a:lnTo>
                <a:lnTo>
                  <a:pt x="1268" y="150415"/>
                </a:lnTo>
                <a:lnTo>
                  <a:pt x="0" y="195697"/>
                </a:lnTo>
                <a:lnTo>
                  <a:pt x="10860" y="240415"/>
                </a:lnTo>
                <a:lnTo>
                  <a:pt x="34177" y="282321"/>
                </a:lnTo>
                <a:lnTo>
                  <a:pt x="68114" y="315434"/>
                </a:lnTo>
                <a:lnTo>
                  <a:pt x="107978" y="336874"/>
                </a:lnTo>
                <a:lnTo>
                  <a:pt x="151715" y="346757"/>
                </a:lnTo>
                <a:lnTo>
                  <a:pt x="197273" y="345200"/>
                </a:lnTo>
                <a:lnTo>
                  <a:pt x="242598" y="332318"/>
                </a:lnTo>
                <a:lnTo>
                  <a:pt x="285637" y="308229"/>
                </a:lnTo>
                <a:lnTo>
                  <a:pt x="321955" y="276028"/>
                </a:lnTo>
                <a:lnTo>
                  <a:pt x="348050" y="238411"/>
                </a:lnTo>
                <a:lnTo>
                  <a:pt x="363075" y="197183"/>
                </a:lnTo>
                <a:lnTo>
                  <a:pt x="366183" y="154145"/>
                </a:lnTo>
                <a:lnTo>
                  <a:pt x="356527" y="111099"/>
                </a:lnTo>
                <a:lnTo>
                  <a:pt x="333262" y="69850"/>
                </a:lnTo>
                <a:lnTo>
                  <a:pt x="298744" y="36036"/>
                </a:lnTo>
                <a:lnTo>
                  <a:pt x="257527" y="12911"/>
                </a:lnTo>
                <a:lnTo>
                  <a:pt x="212056" y="793"/>
                </a:lnTo>
                <a:lnTo>
                  <a:pt x="164775" y="0"/>
                </a:lnTo>
                <a:close/>
              </a:path>
            </a:pathLst>
          </a:custGeom>
          <a:solidFill>
            <a:srgbClr val="12ABDB"/>
          </a:solidFill>
        </p:spPr>
        <p:txBody>
          <a:bodyPr wrap="square" lIns="0" tIns="0" rIns="0" bIns="0" rtlCol="0"/>
          <a:lstStyle/>
          <a:p>
            <a:endParaRPr/>
          </a:p>
        </p:txBody>
      </p:sp>
      <p:sp>
        <p:nvSpPr>
          <p:cNvPr id="142" name="object 142"/>
          <p:cNvSpPr/>
          <p:nvPr/>
        </p:nvSpPr>
        <p:spPr>
          <a:xfrm>
            <a:off x="11084052" y="2575941"/>
            <a:ext cx="288036" cy="207010"/>
          </a:xfrm>
          <a:prstGeom prst="rect">
            <a:avLst/>
          </a:prstGeom>
          <a:blipFill>
            <a:blip r:embed="rId26" cstate="print"/>
            <a:stretch>
              <a:fillRect/>
            </a:stretch>
          </a:blipFill>
        </p:spPr>
        <p:txBody>
          <a:bodyPr wrap="square" lIns="0" tIns="0" rIns="0" bIns="0" rtlCol="0"/>
          <a:lstStyle/>
          <a:p>
            <a:endParaRPr/>
          </a:p>
        </p:txBody>
      </p:sp>
      <p:sp>
        <p:nvSpPr>
          <p:cNvPr id="143" name="object 143"/>
          <p:cNvSpPr/>
          <p:nvPr/>
        </p:nvSpPr>
        <p:spPr>
          <a:xfrm>
            <a:off x="11043652" y="3158998"/>
            <a:ext cx="366395" cy="347345"/>
          </a:xfrm>
          <a:custGeom>
            <a:avLst/>
            <a:gdLst/>
            <a:ahLst/>
            <a:cxnLst/>
            <a:rect l="l" t="t" r="r" b="b"/>
            <a:pathLst>
              <a:path w="366395" h="347345">
                <a:moveTo>
                  <a:pt x="164775" y="0"/>
                </a:moveTo>
                <a:lnTo>
                  <a:pt x="118129" y="10847"/>
                </a:lnTo>
                <a:lnTo>
                  <a:pt x="74563" y="33655"/>
                </a:lnTo>
                <a:lnTo>
                  <a:pt x="38877" y="67147"/>
                </a:lnTo>
                <a:lnTo>
                  <a:pt x="14336" y="106816"/>
                </a:lnTo>
                <a:lnTo>
                  <a:pt x="1268" y="150415"/>
                </a:lnTo>
                <a:lnTo>
                  <a:pt x="0" y="195697"/>
                </a:lnTo>
                <a:lnTo>
                  <a:pt x="10860" y="240415"/>
                </a:lnTo>
                <a:lnTo>
                  <a:pt x="34177" y="282321"/>
                </a:lnTo>
                <a:lnTo>
                  <a:pt x="68114" y="315434"/>
                </a:lnTo>
                <a:lnTo>
                  <a:pt x="107978" y="336874"/>
                </a:lnTo>
                <a:lnTo>
                  <a:pt x="151715" y="346757"/>
                </a:lnTo>
                <a:lnTo>
                  <a:pt x="197273" y="345200"/>
                </a:lnTo>
                <a:lnTo>
                  <a:pt x="242598" y="332318"/>
                </a:lnTo>
                <a:lnTo>
                  <a:pt x="285637" y="308229"/>
                </a:lnTo>
                <a:lnTo>
                  <a:pt x="321955" y="276028"/>
                </a:lnTo>
                <a:lnTo>
                  <a:pt x="348050" y="238411"/>
                </a:lnTo>
                <a:lnTo>
                  <a:pt x="363075" y="197183"/>
                </a:lnTo>
                <a:lnTo>
                  <a:pt x="366183" y="154145"/>
                </a:lnTo>
                <a:lnTo>
                  <a:pt x="356527" y="111099"/>
                </a:lnTo>
                <a:lnTo>
                  <a:pt x="333262" y="69850"/>
                </a:lnTo>
                <a:lnTo>
                  <a:pt x="298744" y="36036"/>
                </a:lnTo>
                <a:lnTo>
                  <a:pt x="257527" y="12911"/>
                </a:lnTo>
                <a:lnTo>
                  <a:pt x="212056" y="793"/>
                </a:lnTo>
                <a:lnTo>
                  <a:pt x="164775" y="0"/>
                </a:lnTo>
                <a:close/>
              </a:path>
            </a:pathLst>
          </a:custGeom>
          <a:solidFill>
            <a:srgbClr val="12ABDB"/>
          </a:solidFill>
        </p:spPr>
        <p:txBody>
          <a:bodyPr wrap="square" lIns="0" tIns="0" rIns="0" bIns="0" rtlCol="0"/>
          <a:lstStyle/>
          <a:p>
            <a:endParaRPr/>
          </a:p>
        </p:txBody>
      </p:sp>
      <p:sp>
        <p:nvSpPr>
          <p:cNvPr id="144" name="object 144"/>
          <p:cNvSpPr/>
          <p:nvPr/>
        </p:nvSpPr>
        <p:spPr>
          <a:xfrm>
            <a:off x="11084052" y="3223641"/>
            <a:ext cx="288036" cy="208407"/>
          </a:xfrm>
          <a:prstGeom prst="rect">
            <a:avLst/>
          </a:prstGeom>
          <a:blipFill>
            <a:blip r:embed="rId27" cstate="print"/>
            <a:stretch>
              <a:fillRect/>
            </a:stretch>
          </a:blipFill>
        </p:spPr>
        <p:txBody>
          <a:bodyPr wrap="square" lIns="0" tIns="0" rIns="0" bIns="0" rtlCol="0"/>
          <a:lstStyle/>
          <a:p>
            <a:endParaRPr/>
          </a:p>
        </p:txBody>
      </p:sp>
      <p:sp>
        <p:nvSpPr>
          <p:cNvPr id="145" name="object 145"/>
          <p:cNvSpPr/>
          <p:nvPr/>
        </p:nvSpPr>
        <p:spPr>
          <a:xfrm>
            <a:off x="11043652" y="3806697"/>
            <a:ext cx="366395" cy="347345"/>
          </a:xfrm>
          <a:custGeom>
            <a:avLst/>
            <a:gdLst/>
            <a:ahLst/>
            <a:cxnLst/>
            <a:rect l="l" t="t" r="r" b="b"/>
            <a:pathLst>
              <a:path w="366395" h="347345">
                <a:moveTo>
                  <a:pt x="164775" y="0"/>
                </a:moveTo>
                <a:lnTo>
                  <a:pt x="118129" y="10847"/>
                </a:lnTo>
                <a:lnTo>
                  <a:pt x="74563" y="33654"/>
                </a:lnTo>
                <a:lnTo>
                  <a:pt x="38877" y="67147"/>
                </a:lnTo>
                <a:lnTo>
                  <a:pt x="14336" y="106816"/>
                </a:lnTo>
                <a:lnTo>
                  <a:pt x="1268" y="150415"/>
                </a:lnTo>
                <a:lnTo>
                  <a:pt x="0" y="195697"/>
                </a:lnTo>
                <a:lnTo>
                  <a:pt x="10860" y="240415"/>
                </a:lnTo>
                <a:lnTo>
                  <a:pt x="34177" y="282320"/>
                </a:lnTo>
                <a:lnTo>
                  <a:pt x="68114" y="315434"/>
                </a:lnTo>
                <a:lnTo>
                  <a:pt x="107978" y="336874"/>
                </a:lnTo>
                <a:lnTo>
                  <a:pt x="151715" y="346757"/>
                </a:lnTo>
                <a:lnTo>
                  <a:pt x="197273" y="345200"/>
                </a:lnTo>
                <a:lnTo>
                  <a:pt x="242598" y="332318"/>
                </a:lnTo>
                <a:lnTo>
                  <a:pt x="285637" y="308228"/>
                </a:lnTo>
                <a:lnTo>
                  <a:pt x="321955" y="276028"/>
                </a:lnTo>
                <a:lnTo>
                  <a:pt x="348050" y="238411"/>
                </a:lnTo>
                <a:lnTo>
                  <a:pt x="363075" y="197183"/>
                </a:lnTo>
                <a:lnTo>
                  <a:pt x="366183" y="154145"/>
                </a:lnTo>
                <a:lnTo>
                  <a:pt x="356527" y="111099"/>
                </a:lnTo>
                <a:lnTo>
                  <a:pt x="333262" y="69850"/>
                </a:lnTo>
                <a:lnTo>
                  <a:pt x="298744" y="36036"/>
                </a:lnTo>
                <a:lnTo>
                  <a:pt x="257527" y="12911"/>
                </a:lnTo>
                <a:lnTo>
                  <a:pt x="212056" y="793"/>
                </a:lnTo>
                <a:lnTo>
                  <a:pt x="164775" y="0"/>
                </a:lnTo>
                <a:close/>
              </a:path>
            </a:pathLst>
          </a:custGeom>
          <a:solidFill>
            <a:srgbClr val="12ABDB"/>
          </a:solidFill>
        </p:spPr>
        <p:txBody>
          <a:bodyPr wrap="square" lIns="0" tIns="0" rIns="0" bIns="0" rtlCol="0"/>
          <a:lstStyle/>
          <a:p>
            <a:endParaRPr/>
          </a:p>
        </p:txBody>
      </p:sp>
      <p:sp>
        <p:nvSpPr>
          <p:cNvPr id="146" name="object 146"/>
          <p:cNvSpPr/>
          <p:nvPr/>
        </p:nvSpPr>
        <p:spPr>
          <a:xfrm>
            <a:off x="11084052" y="3871340"/>
            <a:ext cx="288036" cy="208406"/>
          </a:xfrm>
          <a:prstGeom prst="rect">
            <a:avLst/>
          </a:prstGeom>
          <a:blipFill>
            <a:blip r:embed="rId27" cstate="print"/>
            <a:stretch>
              <a:fillRect/>
            </a:stretch>
          </a:blipFill>
        </p:spPr>
        <p:txBody>
          <a:bodyPr wrap="square" lIns="0" tIns="0" rIns="0" bIns="0" rtlCol="0"/>
          <a:lstStyle/>
          <a:p>
            <a:endParaRPr/>
          </a:p>
        </p:txBody>
      </p:sp>
      <p:sp>
        <p:nvSpPr>
          <p:cNvPr id="147" name="object 147"/>
          <p:cNvSpPr/>
          <p:nvPr/>
        </p:nvSpPr>
        <p:spPr>
          <a:xfrm>
            <a:off x="11043652" y="4454397"/>
            <a:ext cx="366395" cy="347345"/>
          </a:xfrm>
          <a:custGeom>
            <a:avLst/>
            <a:gdLst/>
            <a:ahLst/>
            <a:cxnLst/>
            <a:rect l="l" t="t" r="r" b="b"/>
            <a:pathLst>
              <a:path w="366395" h="347345">
                <a:moveTo>
                  <a:pt x="164775" y="0"/>
                </a:moveTo>
                <a:lnTo>
                  <a:pt x="118129" y="10847"/>
                </a:lnTo>
                <a:lnTo>
                  <a:pt x="74563" y="33654"/>
                </a:lnTo>
                <a:lnTo>
                  <a:pt x="38877" y="67147"/>
                </a:lnTo>
                <a:lnTo>
                  <a:pt x="14336" y="106816"/>
                </a:lnTo>
                <a:lnTo>
                  <a:pt x="1268" y="150415"/>
                </a:lnTo>
                <a:lnTo>
                  <a:pt x="0" y="195697"/>
                </a:lnTo>
                <a:lnTo>
                  <a:pt x="10860" y="240415"/>
                </a:lnTo>
                <a:lnTo>
                  <a:pt x="34177" y="282320"/>
                </a:lnTo>
                <a:lnTo>
                  <a:pt x="68114" y="315434"/>
                </a:lnTo>
                <a:lnTo>
                  <a:pt x="107978" y="336874"/>
                </a:lnTo>
                <a:lnTo>
                  <a:pt x="151715" y="346757"/>
                </a:lnTo>
                <a:lnTo>
                  <a:pt x="197273" y="345200"/>
                </a:lnTo>
                <a:lnTo>
                  <a:pt x="242598" y="332318"/>
                </a:lnTo>
                <a:lnTo>
                  <a:pt x="285637" y="308228"/>
                </a:lnTo>
                <a:lnTo>
                  <a:pt x="321955" y="276028"/>
                </a:lnTo>
                <a:lnTo>
                  <a:pt x="348050" y="238411"/>
                </a:lnTo>
                <a:lnTo>
                  <a:pt x="363075" y="197183"/>
                </a:lnTo>
                <a:lnTo>
                  <a:pt x="366183" y="154145"/>
                </a:lnTo>
                <a:lnTo>
                  <a:pt x="356527" y="111099"/>
                </a:lnTo>
                <a:lnTo>
                  <a:pt x="333262" y="69850"/>
                </a:lnTo>
                <a:lnTo>
                  <a:pt x="298744" y="36036"/>
                </a:lnTo>
                <a:lnTo>
                  <a:pt x="257527" y="12911"/>
                </a:lnTo>
                <a:lnTo>
                  <a:pt x="212056" y="793"/>
                </a:lnTo>
                <a:lnTo>
                  <a:pt x="164775" y="0"/>
                </a:lnTo>
                <a:close/>
              </a:path>
            </a:pathLst>
          </a:custGeom>
          <a:solidFill>
            <a:srgbClr val="12ABDB"/>
          </a:solidFill>
        </p:spPr>
        <p:txBody>
          <a:bodyPr wrap="square" lIns="0" tIns="0" rIns="0" bIns="0" rtlCol="0"/>
          <a:lstStyle/>
          <a:p>
            <a:endParaRPr/>
          </a:p>
        </p:txBody>
      </p:sp>
      <p:sp>
        <p:nvSpPr>
          <p:cNvPr id="148" name="object 148"/>
          <p:cNvSpPr/>
          <p:nvPr/>
        </p:nvSpPr>
        <p:spPr>
          <a:xfrm>
            <a:off x="11084052" y="4520565"/>
            <a:ext cx="288036" cy="206883"/>
          </a:xfrm>
          <a:prstGeom prst="rect">
            <a:avLst/>
          </a:prstGeom>
          <a:blipFill>
            <a:blip r:embed="rId28" cstate="print"/>
            <a:stretch>
              <a:fillRect/>
            </a:stretch>
          </a:blipFill>
        </p:spPr>
        <p:txBody>
          <a:bodyPr wrap="square" lIns="0" tIns="0" rIns="0" bIns="0" rtlCol="0"/>
          <a:lstStyle/>
          <a:p>
            <a:endParaRPr/>
          </a:p>
        </p:txBody>
      </p:sp>
      <p:sp>
        <p:nvSpPr>
          <p:cNvPr id="149" name="object 149"/>
          <p:cNvSpPr/>
          <p:nvPr/>
        </p:nvSpPr>
        <p:spPr>
          <a:xfrm>
            <a:off x="11043652" y="5359653"/>
            <a:ext cx="366395" cy="347345"/>
          </a:xfrm>
          <a:custGeom>
            <a:avLst/>
            <a:gdLst/>
            <a:ahLst/>
            <a:cxnLst/>
            <a:rect l="l" t="t" r="r" b="b"/>
            <a:pathLst>
              <a:path w="366395" h="347345">
                <a:moveTo>
                  <a:pt x="164775" y="0"/>
                </a:moveTo>
                <a:lnTo>
                  <a:pt x="118129" y="10847"/>
                </a:lnTo>
                <a:lnTo>
                  <a:pt x="74563" y="33655"/>
                </a:lnTo>
                <a:lnTo>
                  <a:pt x="38877" y="67146"/>
                </a:lnTo>
                <a:lnTo>
                  <a:pt x="14336" y="106814"/>
                </a:lnTo>
                <a:lnTo>
                  <a:pt x="1268" y="150409"/>
                </a:lnTo>
                <a:lnTo>
                  <a:pt x="0" y="195682"/>
                </a:lnTo>
                <a:lnTo>
                  <a:pt x="10860" y="240385"/>
                </a:lnTo>
                <a:lnTo>
                  <a:pt x="34177" y="282270"/>
                </a:lnTo>
                <a:lnTo>
                  <a:pt x="68114" y="315409"/>
                </a:lnTo>
                <a:lnTo>
                  <a:pt x="107978" y="336867"/>
                </a:lnTo>
                <a:lnTo>
                  <a:pt x="151715" y="346762"/>
                </a:lnTo>
                <a:lnTo>
                  <a:pt x="197273" y="345216"/>
                </a:lnTo>
                <a:lnTo>
                  <a:pt x="242598" y="332348"/>
                </a:lnTo>
                <a:lnTo>
                  <a:pt x="285637" y="308279"/>
                </a:lnTo>
                <a:lnTo>
                  <a:pt x="321955" y="276066"/>
                </a:lnTo>
                <a:lnTo>
                  <a:pt x="348050" y="238438"/>
                </a:lnTo>
                <a:lnTo>
                  <a:pt x="363075" y="197199"/>
                </a:lnTo>
                <a:lnTo>
                  <a:pt x="366183" y="154152"/>
                </a:lnTo>
                <a:lnTo>
                  <a:pt x="356527" y="111101"/>
                </a:lnTo>
                <a:lnTo>
                  <a:pt x="333262" y="69850"/>
                </a:lnTo>
                <a:lnTo>
                  <a:pt x="298744" y="36036"/>
                </a:lnTo>
                <a:lnTo>
                  <a:pt x="257527" y="12911"/>
                </a:lnTo>
                <a:lnTo>
                  <a:pt x="212056" y="793"/>
                </a:lnTo>
                <a:lnTo>
                  <a:pt x="164775" y="0"/>
                </a:lnTo>
                <a:close/>
              </a:path>
            </a:pathLst>
          </a:custGeom>
          <a:solidFill>
            <a:srgbClr val="12ABDB"/>
          </a:solidFill>
        </p:spPr>
        <p:txBody>
          <a:bodyPr wrap="square" lIns="0" tIns="0" rIns="0" bIns="0" rtlCol="0"/>
          <a:lstStyle/>
          <a:p>
            <a:endParaRPr/>
          </a:p>
        </p:txBody>
      </p:sp>
      <p:sp>
        <p:nvSpPr>
          <p:cNvPr id="150" name="object 150"/>
          <p:cNvSpPr/>
          <p:nvPr/>
        </p:nvSpPr>
        <p:spPr>
          <a:xfrm>
            <a:off x="11084052" y="5424296"/>
            <a:ext cx="288036" cy="206984"/>
          </a:xfrm>
          <a:prstGeom prst="rect">
            <a:avLst/>
          </a:prstGeom>
          <a:blipFill>
            <a:blip r:embed="rId29" cstate="print"/>
            <a:stretch>
              <a:fillRect/>
            </a:stretch>
          </a:blipFill>
        </p:spPr>
        <p:txBody>
          <a:bodyPr wrap="square" lIns="0" tIns="0" rIns="0" bIns="0" rtlCol="0"/>
          <a:lstStyle/>
          <a:p>
            <a:endParaRPr/>
          </a:p>
        </p:txBody>
      </p:sp>
      <p:sp>
        <p:nvSpPr>
          <p:cNvPr id="151" name="object 151"/>
          <p:cNvSpPr/>
          <p:nvPr/>
        </p:nvSpPr>
        <p:spPr>
          <a:xfrm>
            <a:off x="9688321" y="2132790"/>
            <a:ext cx="374650" cy="358140"/>
          </a:xfrm>
          <a:custGeom>
            <a:avLst/>
            <a:gdLst/>
            <a:ahLst/>
            <a:cxnLst/>
            <a:rect l="l" t="t" r="r" b="b"/>
            <a:pathLst>
              <a:path w="374650" h="358139">
                <a:moveTo>
                  <a:pt x="169192" y="0"/>
                </a:moveTo>
                <a:lnTo>
                  <a:pt x="121611" y="11275"/>
                </a:lnTo>
                <a:lnTo>
                  <a:pt x="77216" y="34972"/>
                </a:lnTo>
                <a:lnTo>
                  <a:pt x="40386" y="69477"/>
                </a:lnTo>
                <a:lnTo>
                  <a:pt x="14986" y="110358"/>
                </a:lnTo>
                <a:lnTo>
                  <a:pt x="1397" y="155288"/>
                </a:lnTo>
                <a:lnTo>
                  <a:pt x="0" y="201944"/>
                </a:lnTo>
                <a:lnTo>
                  <a:pt x="11175" y="247999"/>
                </a:lnTo>
                <a:lnTo>
                  <a:pt x="35305" y="291131"/>
                </a:lnTo>
                <a:lnTo>
                  <a:pt x="70210" y="325385"/>
                </a:lnTo>
                <a:lnTo>
                  <a:pt x="111172" y="347486"/>
                </a:lnTo>
                <a:lnTo>
                  <a:pt x="156098" y="357599"/>
                </a:lnTo>
                <a:lnTo>
                  <a:pt x="202898" y="355891"/>
                </a:lnTo>
                <a:lnTo>
                  <a:pt x="249480" y="342527"/>
                </a:lnTo>
                <a:lnTo>
                  <a:pt x="293750" y="317674"/>
                </a:lnTo>
                <a:lnTo>
                  <a:pt x="330291" y="284325"/>
                </a:lnTo>
                <a:lnTo>
                  <a:pt x="356456" y="245533"/>
                </a:lnTo>
                <a:lnTo>
                  <a:pt x="371459" y="203072"/>
                </a:lnTo>
                <a:lnTo>
                  <a:pt x="374513" y="158717"/>
                </a:lnTo>
                <a:lnTo>
                  <a:pt x="364832" y="114241"/>
                </a:lnTo>
                <a:lnTo>
                  <a:pt x="341629" y="71421"/>
                </a:lnTo>
                <a:lnTo>
                  <a:pt x="306177" y="36856"/>
                </a:lnTo>
                <a:lnTo>
                  <a:pt x="263962" y="13175"/>
                </a:lnTo>
                <a:lnTo>
                  <a:pt x="217471" y="761"/>
                </a:lnTo>
                <a:lnTo>
                  <a:pt x="169192" y="0"/>
                </a:lnTo>
                <a:close/>
              </a:path>
            </a:pathLst>
          </a:custGeom>
          <a:solidFill>
            <a:srgbClr val="D22138"/>
          </a:solidFill>
        </p:spPr>
        <p:txBody>
          <a:bodyPr wrap="square" lIns="0" tIns="0" rIns="0" bIns="0" rtlCol="0"/>
          <a:lstStyle/>
          <a:p>
            <a:endParaRPr/>
          </a:p>
        </p:txBody>
      </p:sp>
      <p:sp>
        <p:nvSpPr>
          <p:cNvPr id="152" name="object 152"/>
          <p:cNvSpPr/>
          <p:nvPr/>
        </p:nvSpPr>
        <p:spPr>
          <a:xfrm>
            <a:off x="9851135" y="2200401"/>
            <a:ext cx="45720" cy="139065"/>
          </a:xfrm>
          <a:custGeom>
            <a:avLst/>
            <a:gdLst/>
            <a:ahLst/>
            <a:cxnLst/>
            <a:rect l="l" t="t" r="r" b="b"/>
            <a:pathLst>
              <a:path w="45720" h="139064">
                <a:moveTo>
                  <a:pt x="22193" y="0"/>
                </a:moveTo>
                <a:lnTo>
                  <a:pt x="6893" y="813"/>
                </a:lnTo>
                <a:lnTo>
                  <a:pt x="0" y="10413"/>
                </a:lnTo>
                <a:lnTo>
                  <a:pt x="27" y="67036"/>
                </a:lnTo>
                <a:lnTo>
                  <a:pt x="222" y="77946"/>
                </a:lnTo>
                <a:lnTo>
                  <a:pt x="750" y="88522"/>
                </a:lnTo>
                <a:lnTo>
                  <a:pt x="1778" y="98933"/>
                </a:lnTo>
                <a:lnTo>
                  <a:pt x="2859" y="108380"/>
                </a:lnTo>
                <a:lnTo>
                  <a:pt x="3762" y="118316"/>
                </a:lnTo>
                <a:lnTo>
                  <a:pt x="4974" y="128561"/>
                </a:lnTo>
                <a:lnTo>
                  <a:pt x="6985" y="138937"/>
                </a:lnTo>
                <a:lnTo>
                  <a:pt x="38735" y="138937"/>
                </a:lnTo>
                <a:lnTo>
                  <a:pt x="39995" y="128561"/>
                </a:lnTo>
                <a:lnTo>
                  <a:pt x="41290" y="118316"/>
                </a:lnTo>
                <a:lnTo>
                  <a:pt x="42610" y="108380"/>
                </a:lnTo>
                <a:lnTo>
                  <a:pt x="43942" y="98933"/>
                </a:lnTo>
                <a:lnTo>
                  <a:pt x="44969" y="88522"/>
                </a:lnTo>
                <a:lnTo>
                  <a:pt x="45497" y="77946"/>
                </a:lnTo>
                <a:lnTo>
                  <a:pt x="45692" y="67036"/>
                </a:lnTo>
                <a:lnTo>
                  <a:pt x="45720" y="5207"/>
                </a:lnTo>
                <a:lnTo>
                  <a:pt x="37826" y="3091"/>
                </a:lnTo>
                <a:lnTo>
                  <a:pt x="22193" y="0"/>
                </a:lnTo>
                <a:close/>
              </a:path>
            </a:pathLst>
          </a:custGeom>
          <a:solidFill>
            <a:srgbClr val="FFFFFF"/>
          </a:solidFill>
        </p:spPr>
        <p:txBody>
          <a:bodyPr wrap="square" lIns="0" tIns="0" rIns="0" bIns="0" rtlCol="0"/>
          <a:lstStyle/>
          <a:p>
            <a:endParaRPr/>
          </a:p>
        </p:txBody>
      </p:sp>
      <p:sp>
        <p:nvSpPr>
          <p:cNvPr id="153" name="object 153"/>
          <p:cNvSpPr/>
          <p:nvPr/>
        </p:nvSpPr>
        <p:spPr>
          <a:xfrm>
            <a:off x="9849167" y="2374661"/>
            <a:ext cx="50800" cy="48260"/>
          </a:xfrm>
          <a:custGeom>
            <a:avLst/>
            <a:gdLst/>
            <a:ahLst/>
            <a:cxnLst/>
            <a:rect l="l" t="t" r="r" b="b"/>
            <a:pathLst>
              <a:path w="50800" h="48260">
                <a:moveTo>
                  <a:pt x="29305" y="0"/>
                </a:moveTo>
                <a:lnTo>
                  <a:pt x="19863" y="605"/>
                </a:lnTo>
                <a:lnTo>
                  <a:pt x="10731" y="4937"/>
                </a:lnTo>
                <a:lnTo>
                  <a:pt x="3663" y="11582"/>
                </a:lnTo>
                <a:lnTo>
                  <a:pt x="0" y="20383"/>
                </a:lnTo>
                <a:lnTo>
                  <a:pt x="51" y="29779"/>
                </a:lnTo>
                <a:lnTo>
                  <a:pt x="4127" y="38211"/>
                </a:lnTo>
                <a:lnTo>
                  <a:pt x="11660" y="45094"/>
                </a:lnTo>
                <a:lnTo>
                  <a:pt x="21050" y="48228"/>
                </a:lnTo>
                <a:lnTo>
                  <a:pt x="31059" y="47623"/>
                </a:lnTo>
                <a:lnTo>
                  <a:pt x="40449" y="43291"/>
                </a:lnTo>
                <a:lnTo>
                  <a:pt x="46795" y="35948"/>
                </a:lnTo>
                <a:lnTo>
                  <a:pt x="50355" y="27225"/>
                </a:lnTo>
                <a:lnTo>
                  <a:pt x="50200" y="18216"/>
                </a:lnTo>
                <a:lnTo>
                  <a:pt x="45402" y="10017"/>
                </a:lnTo>
                <a:lnTo>
                  <a:pt x="38127" y="3133"/>
                </a:lnTo>
                <a:lnTo>
                  <a:pt x="29305" y="0"/>
                </a:lnTo>
                <a:close/>
              </a:path>
            </a:pathLst>
          </a:custGeom>
          <a:solidFill>
            <a:srgbClr val="FFFFFF"/>
          </a:solidFill>
        </p:spPr>
        <p:txBody>
          <a:bodyPr wrap="square" lIns="0" tIns="0" rIns="0" bIns="0" rtlCol="0"/>
          <a:lstStyle/>
          <a:p>
            <a:endParaRPr/>
          </a:p>
        </p:txBody>
      </p:sp>
      <p:sp>
        <p:nvSpPr>
          <p:cNvPr id="154" name="object 154"/>
          <p:cNvSpPr/>
          <p:nvPr/>
        </p:nvSpPr>
        <p:spPr>
          <a:xfrm>
            <a:off x="1661197" y="3670868"/>
            <a:ext cx="353060" cy="334645"/>
          </a:xfrm>
          <a:custGeom>
            <a:avLst/>
            <a:gdLst/>
            <a:ahLst/>
            <a:cxnLst/>
            <a:rect l="l" t="t" r="r" b="b"/>
            <a:pathLst>
              <a:path w="353060" h="334645">
                <a:moveTo>
                  <a:pt x="158674" y="0"/>
                </a:moveTo>
                <a:lnTo>
                  <a:pt x="113569" y="10868"/>
                </a:lnTo>
                <a:lnTo>
                  <a:pt x="71336" y="33593"/>
                </a:lnTo>
                <a:lnTo>
                  <a:pt x="37300" y="65257"/>
                </a:lnTo>
                <a:lnTo>
                  <a:pt x="13810" y="103133"/>
                </a:lnTo>
                <a:lnTo>
                  <a:pt x="1248" y="144988"/>
                </a:lnTo>
                <a:lnTo>
                  <a:pt x="0" y="188590"/>
                </a:lnTo>
                <a:lnTo>
                  <a:pt x="10449" y="231705"/>
                </a:lnTo>
                <a:lnTo>
                  <a:pt x="32982" y="272099"/>
                </a:lnTo>
                <a:lnTo>
                  <a:pt x="65447" y="303926"/>
                </a:lnTo>
                <a:lnTo>
                  <a:pt x="103895" y="324574"/>
                </a:lnTo>
                <a:lnTo>
                  <a:pt x="146202" y="334186"/>
                </a:lnTo>
                <a:lnTo>
                  <a:pt x="190245" y="332909"/>
                </a:lnTo>
                <a:lnTo>
                  <a:pt x="233901" y="320886"/>
                </a:lnTo>
                <a:lnTo>
                  <a:pt x="275044" y="298261"/>
                </a:lnTo>
                <a:lnTo>
                  <a:pt x="310284" y="266505"/>
                </a:lnTo>
                <a:lnTo>
                  <a:pt x="335477" y="229804"/>
                </a:lnTo>
                <a:lnTo>
                  <a:pt x="349847" y="189899"/>
                </a:lnTo>
                <a:lnTo>
                  <a:pt x="352617" y="148533"/>
                </a:lnTo>
                <a:lnTo>
                  <a:pt x="343012" y="107450"/>
                </a:lnTo>
                <a:lnTo>
                  <a:pt x="320256" y="68391"/>
                </a:lnTo>
                <a:lnTo>
                  <a:pt x="287442" y="35184"/>
                </a:lnTo>
                <a:lnTo>
                  <a:pt x="247988" y="12493"/>
                </a:lnTo>
                <a:lnTo>
                  <a:pt x="204273" y="653"/>
                </a:lnTo>
                <a:lnTo>
                  <a:pt x="158674" y="0"/>
                </a:lnTo>
                <a:close/>
              </a:path>
            </a:pathLst>
          </a:custGeom>
          <a:solidFill>
            <a:srgbClr val="D22138"/>
          </a:solidFill>
        </p:spPr>
        <p:txBody>
          <a:bodyPr wrap="square" lIns="0" tIns="0" rIns="0" bIns="0" rtlCol="0"/>
          <a:lstStyle/>
          <a:p>
            <a:endParaRPr/>
          </a:p>
        </p:txBody>
      </p:sp>
      <p:sp>
        <p:nvSpPr>
          <p:cNvPr id="155" name="object 155"/>
          <p:cNvSpPr/>
          <p:nvPr/>
        </p:nvSpPr>
        <p:spPr>
          <a:xfrm>
            <a:off x="1714500" y="3773423"/>
            <a:ext cx="246348" cy="151344"/>
          </a:xfrm>
          <a:prstGeom prst="rect">
            <a:avLst/>
          </a:prstGeom>
          <a:blipFill>
            <a:blip r:embed="rId30" cstate="print"/>
            <a:stretch>
              <a:fillRect/>
            </a:stretch>
          </a:blipFill>
        </p:spPr>
        <p:txBody>
          <a:bodyPr wrap="square" lIns="0" tIns="0" rIns="0" bIns="0" rtlCol="0"/>
          <a:lstStyle/>
          <a:p>
            <a:endParaRPr/>
          </a:p>
        </p:txBody>
      </p:sp>
      <p:sp>
        <p:nvSpPr>
          <p:cNvPr id="156" name="object 156"/>
          <p:cNvSpPr/>
          <p:nvPr/>
        </p:nvSpPr>
        <p:spPr>
          <a:xfrm>
            <a:off x="4325337" y="4672955"/>
            <a:ext cx="352425" cy="334645"/>
          </a:xfrm>
          <a:custGeom>
            <a:avLst/>
            <a:gdLst/>
            <a:ahLst/>
            <a:cxnLst/>
            <a:rect l="l" t="t" r="r" b="b"/>
            <a:pathLst>
              <a:path w="352425" h="334645">
                <a:moveTo>
                  <a:pt x="159187" y="0"/>
                </a:moveTo>
                <a:lnTo>
                  <a:pt x="114273" y="10374"/>
                </a:lnTo>
                <a:lnTo>
                  <a:pt x="72164" y="32267"/>
                </a:lnTo>
                <a:lnTo>
                  <a:pt x="37528" y="64577"/>
                </a:lnTo>
                <a:lnTo>
                  <a:pt x="13730" y="102874"/>
                </a:lnTo>
                <a:lnTo>
                  <a:pt x="1107" y="144932"/>
                </a:lnTo>
                <a:lnTo>
                  <a:pt x="0" y="188524"/>
                </a:lnTo>
                <a:lnTo>
                  <a:pt x="10745" y="231425"/>
                </a:lnTo>
                <a:lnTo>
                  <a:pt x="33683" y="271408"/>
                </a:lnTo>
                <a:lnTo>
                  <a:pt x="65861" y="303553"/>
                </a:lnTo>
                <a:lnTo>
                  <a:pt x="104083" y="324480"/>
                </a:lnTo>
                <a:lnTo>
                  <a:pt x="146221" y="334273"/>
                </a:lnTo>
                <a:lnTo>
                  <a:pt x="190147" y="333017"/>
                </a:lnTo>
                <a:lnTo>
                  <a:pt x="233734" y="320797"/>
                </a:lnTo>
                <a:lnTo>
                  <a:pt x="274856" y="297697"/>
                </a:lnTo>
                <a:lnTo>
                  <a:pt x="309950" y="266602"/>
                </a:lnTo>
                <a:lnTo>
                  <a:pt x="334927" y="230171"/>
                </a:lnTo>
                <a:lnTo>
                  <a:pt x="349151" y="190239"/>
                </a:lnTo>
                <a:lnTo>
                  <a:pt x="351987" y="148646"/>
                </a:lnTo>
                <a:lnTo>
                  <a:pt x="342801" y="107229"/>
                </a:lnTo>
                <a:lnTo>
                  <a:pt x="320957" y="67827"/>
                </a:lnTo>
                <a:lnTo>
                  <a:pt x="287790" y="35057"/>
                </a:lnTo>
                <a:lnTo>
                  <a:pt x="248242" y="12634"/>
                </a:lnTo>
                <a:lnTo>
                  <a:pt x="204609" y="850"/>
                </a:lnTo>
                <a:lnTo>
                  <a:pt x="159187" y="0"/>
                </a:lnTo>
                <a:close/>
              </a:path>
            </a:pathLst>
          </a:custGeom>
          <a:solidFill>
            <a:srgbClr val="006FAC"/>
          </a:solidFill>
        </p:spPr>
        <p:txBody>
          <a:bodyPr wrap="square" lIns="0" tIns="0" rIns="0" bIns="0" rtlCol="0"/>
          <a:lstStyle/>
          <a:p>
            <a:endParaRPr/>
          </a:p>
        </p:txBody>
      </p:sp>
      <p:sp>
        <p:nvSpPr>
          <p:cNvPr id="157" name="object 157"/>
          <p:cNvSpPr/>
          <p:nvPr/>
        </p:nvSpPr>
        <p:spPr>
          <a:xfrm>
            <a:off x="4436364" y="4756403"/>
            <a:ext cx="127470" cy="162212"/>
          </a:xfrm>
          <a:prstGeom prst="rect">
            <a:avLst/>
          </a:prstGeom>
          <a:blipFill>
            <a:blip r:embed="rId31" cstate="print"/>
            <a:stretch>
              <a:fillRect/>
            </a:stretch>
          </a:blipFill>
        </p:spPr>
        <p:txBody>
          <a:bodyPr wrap="square" lIns="0" tIns="0" rIns="0" bIns="0" rtlCol="0"/>
          <a:lstStyle/>
          <a:p>
            <a:endParaRPr/>
          </a:p>
        </p:txBody>
      </p:sp>
      <p:sp>
        <p:nvSpPr>
          <p:cNvPr id="158" name="object 158"/>
          <p:cNvSpPr/>
          <p:nvPr/>
        </p:nvSpPr>
        <p:spPr>
          <a:xfrm>
            <a:off x="3973105" y="4673661"/>
            <a:ext cx="353060" cy="334645"/>
          </a:xfrm>
          <a:custGeom>
            <a:avLst/>
            <a:gdLst/>
            <a:ahLst/>
            <a:cxnLst/>
            <a:rect l="l" t="t" r="r" b="b"/>
            <a:pathLst>
              <a:path w="353060" h="334645">
                <a:moveTo>
                  <a:pt x="158674" y="0"/>
                </a:moveTo>
                <a:lnTo>
                  <a:pt x="113569" y="10868"/>
                </a:lnTo>
                <a:lnTo>
                  <a:pt x="71336" y="33593"/>
                </a:lnTo>
                <a:lnTo>
                  <a:pt x="37300" y="65257"/>
                </a:lnTo>
                <a:lnTo>
                  <a:pt x="13810" y="103133"/>
                </a:lnTo>
                <a:lnTo>
                  <a:pt x="1248" y="144988"/>
                </a:lnTo>
                <a:lnTo>
                  <a:pt x="0" y="188590"/>
                </a:lnTo>
                <a:lnTo>
                  <a:pt x="10449" y="231705"/>
                </a:lnTo>
                <a:lnTo>
                  <a:pt x="32982" y="272099"/>
                </a:lnTo>
                <a:lnTo>
                  <a:pt x="65447" y="303926"/>
                </a:lnTo>
                <a:lnTo>
                  <a:pt x="103895" y="324574"/>
                </a:lnTo>
                <a:lnTo>
                  <a:pt x="146202" y="334186"/>
                </a:lnTo>
                <a:lnTo>
                  <a:pt x="190245" y="332909"/>
                </a:lnTo>
                <a:lnTo>
                  <a:pt x="233901" y="320886"/>
                </a:lnTo>
                <a:lnTo>
                  <a:pt x="275044" y="298261"/>
                </a:lnTo>
                <a:lnTo>
                  <a:pt x="310284" y="266505"/>
                </a:lnTo>
                <a:lnTo>
                  <a:pt x="335477" y="229804"/>
                </a:lnTo>
                <a:lnTo>
                  <a:pt x="349847" y="189899"/>
                </a:lnTo>
                <a:lnTo>
                  <a:pt x="352617" y="148533"/>
                </a:lnTo>
                <a:lnTo>
                  <a:pt x="343012" y="107450"/>
                </a:lnTo>
                <a:lnTo>
                  <a:pt x="320256" y="68391"/>
                </a:lnTo>
                <a:lnTo>
                  <a:pt x="287442" y="35184"/>
                </a:lnTo>
                <a:lnTo>
                  <a:pt x="247988" y="12493"/>
                </a:lnTo>
                <a:lnTo>
                  <a:pt x="204273" y="653"/>
                </a:lnTo>
                <a:lnTo>
                  <a:pt x="158674" y="0"/>
                </a:lnTo>
                <a:close/>
              </a:path>
            </a:pathLst>
          </a:custGeom>
          <a:solidFill>
            <a:srgbClr val="D22138"/>
          </a:solidFill>
        </p:spPr>
        <p:txBody>
          <a:bodyPr wrap="square" lIns="0" tIns="0" rIns="0" bIns="0" rtlCol="0"/>
          <a:lstStyle/>
          <a:p>
            <a:endParaRPr/>
          </a:p>
        </p:txBody>
      </p:sp>
      <p:sp>
        <p:nvSpPr>
          <p:cNvPr id="159" name="object 159"/>
          <p:cNvSpPr/>
          <p:nvPr/>
        </p:nvSpPr>
        <p:spPr>
          <a:xfrm>
            <a:off x="4027932" y="4776215"/>
            <a:ext cx="244824" cy="149822"/>
          </a:xfrm>
          <a:prstGeom prst="rect">
            <a:avLst/>
          </a:prstGeom>
          <a:blipFill>
            <a:blip r:embed="rId32" cstate="print"/>
            <a:stretch>
              <a:fillRect/>
            </a:stretch>
          </a:blipFill>
        </p:spPr>
        <p:txBody>
          <a:bodyPr wrap="square" lIns="0" tIns="0" rIns="0" bIns="0" rtlCol="0"/>
          <a:lstStyle/>
          <a:p>
            <a:endParaRPr/>
          </a:p>
        </p:txBody>
      </p:sp>
      <p:sp>
        <p:nvSpPr>
          <p:cNvPr id="160" name="object 160"/>
          <p:cNvSpPr/>
          <p:nvPr/>
        </p:nvSpPr>
        <p:spPr>
          <a:xfrm>
            <a:off x="6861273" y="4672955"/>
            <a:ext cx="352425" cy="334645"/>
          </a:xfrm>
          <a:custGeom>
            <a:avLst/>
            <a:gdLst/>
            <a:ahLst/>
            <a:cxnLst/>
            <a:rect l="l" t="t" r="r" b="b"/>
            <a:pathLst>
              <a:path w="352425" h="334645">
                <a:moveTo>
                  <a:pt x="159187" y="0"/>
                </a:moveTo>
                <a:lnTo>
                  <a:pt x="114273" y="10374"/>
                </a:lnTo>
                <a:lnTo>
                  <a:pt x="72164" y="32267"/>
                </a:lnTo>
                <a:lnTo>
                  <a:pt x="37528" y="64577"/>
                </a:lnTo>
                <a:lnTo>
                  <a:pt x="13730" y="102874"/>
                </a:lnTo>
                <a:lnTo>
                  <a:pt x="1107" y="144932"/>
                </a:lnTo>
                <a:lnTo>
                  <a:pt x="0" y="188524"/>
                </a:lnTo>
                <a:lnTo>
                  <a:pt x="10745" y="231425"/>
                </a:lnTo>
                <a:lnTo>
                  <a:pt x="33683" y="271408"/>
                </a:lnTo>
                <a:lnTo>
                  <a:pt x="65861" y="303553"/>
                </a:lnTo>
                <a:lnTo>
                  <a:pt x="104083" y="324480"/>
                </a:lnTo>
                <a:lnTo>
                  <a:pt x="146221" y="334273"/>
                </a:lnTo>
                <a:lnTo>
                  <a:pt x="190147" y="333017"/>
                </a:lnTo>
                <a:lnTo>
                  <a:pt x="233734" y="320797"/>
                </a:lnTo>
                <a:lnTo>
                  <a:pt x="274856" y="297697"/>
                </a:lnTo>
                <a:lnTo>
                  <a:pt x="309950" y="266602"/>
                </a:lnTo>
                <a:lnTo>
                  <a:pt x="334927" y="230171"/>
                </a:lnTo>
                <a:lnTo>
                  <a:pt x="349151" y="190239"/>
                </a:lnTo>
                <a:lnTo>
                  <a:pt x="351987" y="148646"/>
                </a:lnTo>
                <a:lnTo>
                  <a:pt x="342801" y="107229"/>
                </a:lnTo>
                <a:lnTo>
                  <a:pt x="320957" y="67827"/>
                </a:lnTo>
                <a:lnTo>
                  <a:pt x="287790" y="35057"/>
                </a:lnTo>
                <a:lnTo>
                  <a:pt x="248242" y="12634"/>
                </a:lnTo>
                <a:lnTo>
                  <a:pt x="204609" y="850"/>
                </a:lnTo>
                <a:lnTo>
                  <a:pt x="159187" y="0"/>
                </a:lnTo>
                <a:close/>
              </a:path>
            </a:pathLst>
          </a:custGeom>
          <a:solidFill>
            <a:srgbClr val="006FAC"/>
          </a:solidFill>
        </p:spPr>
        <p:txBody>
          <a:bodyPr wrap="square" lIns="0" tIns="0" rIns="0" bIns="0" rtlCol="0"/>
          <a:lstStyle/>
          <a:p>
            <a:endParaRPr/>
          </a:p>
        </p:txBody>
      </p:sp>
      <p:sp>
        <p:nvSpPr>
          <p:cNvPr id="161" name="object 161"/>
          <p:cNvSpPr/>
          <p:nvPr/>
        </p:nvSpPr>
        <p:spPr>
          <a:xfrm>
            <a:off x="6973823" y="4756403"/>
            <a:ext cx="125968" cy="162212"/>
          </a:xfrm>
          <a:prstGeom prst="rect">
            <a:avLst/>
          </a:prstGeom>
          <a:blipFill>
            <a:blip r:embed="rId33" cstate="print"/>
            <a:stretch>
              <a:fillRect/>
            </a:stretch>
          </a:blipFill>
        </p:spPr>
        <p:txBody>
          <a:bodyPr wrap="square" lIns="0" tIns="0" rIns="0" bIns="0" rtlCol="0"/>
          <a:lstStyle/>
          <a:p>
            <a:endParaRPr/>
          </a:p>
        </p:txBody>
      </p:sp>
      <p:sp>
        <p:nvSpPr>
          <p:cNvPr id="162" name="object 162"/>
          <p:cNvSpPr/>
          <p:nvPr/>
        </p:nvSpPr>
        <p:spPr>
          <a:xfrm>
            <a:off x="6509041" y="4673661"/>
            <a:ext cx="353060" cy="334645"/>
          </a:xfrm>
          <a:custGeom>
            <a:avLst/>
            <a:gdLst/>
            <a:ahLst/>
            <a:cxnLst/>
            <a:rect l="l" t="t" r="r" b="b"/>
            <a:pathLst>
              <a:path w="353059" h="334645">
                <a:moveTo>
                  <a:pt x="158674" y="0"/>
                </a:moveTo>
                <a:lnTo>
                  <a:pt x="113569" y="10868"/>
                </a:lnTo>
                <a:lnTo>
                  <a:pt x="71336" y="33593"/>
                </a:lnTo>
                <a:lnTo>
                  <a:pt x="37300" y="65257"/>
                </a:lnTo>
                <a:lnTo>
                  <a:pt x="13810" y="103133"/>
                </a:lnTo>
                <a:lnTo>
                  <a:pt x="1248" y="144988"/>
                </a:lnTo>
                <a:lnTo>
                  <a:pt x="0" y="188590"/>
                </a:lnTo>
                <a:lnTo>
                  <a:pt x="10449" y="231705"/>
                </a:lnTo>
                <a:lnTo>
                  <a:pt x="32982" y="272099"/>
                </a:lnTo>
                <a:lnTo>
                  <a:pt x="65447" y="303926"/>
                </a:lnTo>
                <a:lnTo>
                  <a:pt x="103895" y="324574"/>
                </a:lnTo>
                <a:lnTo>
                  <a:pt x="146202" y="334186"/>
                </a:lnTo>
                <a:lnTo>
                  <a:pt x="190246" y="332909"/>
                </a:lnTo>
                <a:lnTo>
                  <a:pt x="233901" y="320886"/>
                </a:lnTo>
                <a:lnTo>
                  <a:pt x="275044" y="298261"/>
                </a:lnTo>
                <a:lnTo>
                  <a:pt x="310284" y="266505"/>
                </a:lnTo>
                <a:lnTo>
                  <a:pt x="335477" y="229804"/>
                </a:lnTo>
                <a:lnTo>
                  <a:pt x="349847" y="189899"/>
                </a:lnTo>
                <a:lnTo>
                  <a:pt x="352617" y="148533"/>
                </a:lnTo>
                <a:lnTo>
                  <a:pt x="343012" y="107450"/>
                </a:lnTo>
                <a:lnTo>
                  <a:pt x="320256" y="68391"/>
                </a:lnTo>
                <a:lnTo>
                  <a:pt x="287442" y="35184"/>
                </a:lnTo>
                <a:lnTo>
                  <a:pt x="247988" y="12493"/>
                </a:lnTo>
                <a:lnTo>
                  <a:pt x="204273" y="653"/>
                </a:lnTo>
                <a:lnTo>
                  <a:pt x="158674" y="0"/>
                </a:lnTo>
                <a:close/>
              </a:path>
            </a:pathLst>
          </a:custGeom>
          <a:solidFill>
            <a:srgbClr val="D22138"/>
          </a:solidFill>
        </p:spPr>
        <p:txBody>
          <a:bodyPr wrap="square" lIns="0" tIns="0" rIns="0" bIns="0" rtlCol="0"/>
          <a:lstStyle/>
          <a:p>
            <a:endParaRPr/>
          </a:p>
        </p:txBody>
      </p:sp>
      <p:sp>
        <p:nvSpPr>
          <p:cNvPr id="163" name="object 163"/>
          <p:cNvSpPr/>
          <p:nvPr/>
        </p:nvSpPr>
        <p:spPr>
          <a:xfrm>
            <a:off x="6563868" y="4776215"/>
            <a:ext cx="246300" cy="149822"/>
          </a:xfrm>
          <a:prstGeom prst="rect">
            <a:avLst/>
          </a:prstGeom>
          <a:blipFill>
            <a:blip r:embed="rId34" cstate="print"/>
            <a:stretch>
              <a:fillRect/>
            </a:stretch>
          </a:blipFill>
        </p:spPr>
        <p:txBody>
          <a:bodyPr wrap="square" lIns="0" tIns="0" rIns="0" bIns="0" rtlCol="0"/>
          <a:lstStyle/>
          <a:p>
            <a:endParaRPr/>
          </a:p>
        </p:txBody>
      </p:sp>
      <p:sp>
        <p:nvSpPr>
          <p:cNvPr id="164" name="object 164"/>
          <p:cNvSpPr/>
          <p:nvPr/>
        </p:nvSpPr>
        <p:spPr>
          <a:xfrm>
            <a:off x="8742007" y="4586035"/>
            <a:ext cx="353695" cy="333375"/>
          </a:xfrm>
          <a:custGeom>
            <a:avLst/>
            <a:gdLst/>
            <a:ahLst/>
            <a:cxnLst/>
            <a:rect l="l" t="t" r="r" b="b"/>
            <a:pathLst>
              <a:path w="353695" h="333375">
                <a:moveTo>
                  <a:pt x="159766" y="0"/>
                </a:moveTo>
                <a:lnTo>
                  <a:pt x="114682" y="10351"/>
                </a:lnTo>
                <a:lnTo>
                  <a:pt x="72427" y="32192"/>
                </a:lnTo>
                <a:lnTo>
                  <a:pt x="37676" y="64312"/>
                </a:lnTo>
                <a:lnTo>
                  <a:pt x="13791" y="102423"/>
                </a:lnTo>
                <a:lnTo>
                  <a:pt x="1117" y="144301"/>
                </a:lnTo>
                <a:lnTo>
                  <a:pt x="0" y="187724"/>
                </a:lnTo>
                <a:lnTo>
                  <a:pt x="10785" y="230470"/>
                </a:lnTo>
                <a:lnTo>
                  <a:pt x="33819" y="270317"/>
                </a:lnTo>
                <a:lnTo>
                  <a:pt x="66090" y="302346"/>
                </a:lnTo>
                <a:lnTo>
                  <a:pt x="104450" y="323182"/>
                </a:lnTo>
                <a:lnTo>
                  <a:pt x="146754" y="332912"/>
                </a:lnTo>
                <a:lnTo>
                  <a:pt x="190857" y="331625"/>
                </a:lnTo>
                <a:lnTo>
                  <a:pt x="234614" y="319409"/>
                </a:lnTo>
                <a:lnTo>
                  <a:pt x="275881" y="296352"/>
                </a:lnTo>
                <a:lnTo>
                  <a:pt x="311091" y="265447"/>
                </a:lnTo>
                <a:lnTo>
                  <a:pt x="336154" y="229202"/>
                </a:lnTo>
                <a:lnTo>
                  <a:pt x="350430" y="189449"/>
                </a:lnTo>
                <a:lnTo>
                  <a:pt x="353276" y="148025"/>
                </a:lnTo>
                <a:lnTo>
                  <a:pt x="344050" y="106763"/>
                </a:lnTo>
                <a:lnTo>
                  <a:pt x="322109" y="67498"/>
                </a:lnTo>
                <a:lnTo>
                  <a:pt x="288850" y="34887"/>
                </a:lnTo>
                <a:lnTo>
                  <a:pt x="249164" y="12568"/>
                </a:lnTo>
                <a:lnTo>
                  <a:pt x="205364" y="839"/>
                </a:lnTo>
                <a:lnTo>
                  <a:pt x="159766" y="0"/>
                </a:lnTo>
                <a:close/>
              </a:path>
            </a:pathLst>
          </a:custGeom>
          <a:solidFill>
            <a:srgbClr val="006FAC"/>
          </a:solidFill>
        </p:spPr>
        <p:txBody>
          <a:bodyPr wrap="square" lIns="0" tIns="0" rIns="0" bIns="0" rtlCol="0"/>
          <a:lstStyle/>
          <a:p>
            <a:endParaRPr/>
          </a:p>
        </p:txBody>
      </p:sp>
      <p:sp>
        <p:nvSpPr>
          <p:cNvPr id="165" name="object 165"/>
          <p:cNvSpPr/>
          <p:nvPr/>
        </p:nvSpPr>
        <p:spPr>
          <a:xfrm>
            <a:off x="8854440" y="4668011"/>
            <a:ext cx="127470" cy="163736"/>
          </a:xfrm>
          <a:prstGeom prst="rect">
            <a:avLst/>
          </a:prstGeom>
          <a:blipFill>
            <a:blip r:embed="rId35" cstate="print"/>
            <a:stretch>
              <a:fillRect/>
            </a:stretch>
          </a:blipFill>
        </p:spPr>
        <p:txBody>
          <a:bodyPr wrap="square" lIns="0" tIns="0" rIns="0" bIns="0" rtlCol="0"/>
          <a:lstStyle/>
          <a:p>
            <a:endParaRPr/>
          </a:p>
        </p:txBody>
      </p:sp>
      <p:sp>
        <p:nvSpPr>
          <p:cNvPr id="166" name="object 166"/>
          <p:cNvSpPr/>
          <p:nvPr/>
        </p:nvSpPr>
        <p:spPr>
          <a:xfrm>
            <a:off x="8391181" y="4585268"/>
            <a:ext cx="353060" cy="334645"/>
          </a:xfrm>
          <a:custGeom>
            <a:avLst/>
            <a:gdLst/>
            <a:ahLst/>
            <a:cxnLst/>
            <a:rect l="l" t="t" r="r" b="b"/>
            <a:pathLst>
              <a:path w="353059" h="334645">
                <a:moveTo>
                  <a:pt x="158674" y="0"/>
                </a:moveTo>
                <a:lnTo>
                  <a:pt x="113569" y="10868"/>
                </a:lnTo>
                <a:lnTo>
                  <a:pt x="71336" y="33593"/>
                </a:lnTo>
                <a:lnTo>
                  <a:pt x="37300" y="65257"/>
                </a:lnTo>
                <a:lnTo>
                  <a:pt x="13810" y="103133"/>
                </a:lnTo>
                <a:lnTo>
                  <a:pt x="1248" y="144988"/>
                </a:lnTo>
                <a:lnTo>
                  <a:pt x="0" y="188590"/>
                </a:lnTo>
                <a:lnTo>
                  <a:pt x="10449" y="231705"/>
                </a:lnTo>
                <a:lnTo>
                  <a:pt x="32982" y="272099"/>
                </a:lnTo>
                <a:lnTo>
                  <a:pt x="65447" y="303926"/>
                </a:lnTo>
                <a:lnTo>
                  <a:pt x="103895" y="324574"/>
                </a:lnTo>
                <a:lnTo>
                  <a:pt x="146202" y="334186"/>
                </a:lnTo>
                <a:lnTo>
                  <a:pt x="190246" y="332909"/>
                </a:lnTo>
                <a:lnTo>
                  <a:pt x="233901" y="320886"/>
                </a:lnTo>
                <a:lnTo>
                  <a:pt x="275044" y="298261"/>
                </a:lnTo>
                <a:lnTo>
                  <a:pt x="310284" y="266505"/>
                </a:lnTo>
                <a:lnTo>
                  <a:pt x="335477" y="229804"/>
                </a:lnTo>
                <a:lnTo>
                  <a:pt x="349847" y="189899"/>
                </a:lnTo>
                <a:lnTo>
                  <a:pt x="352617" y="148533"/>
                </a:lnTo>
                <a:lnTo>
                  <a:pt x="343012" y="107450"/>
                </a:lnTo>
                <a:lnTo>
                  <a:pt x="320256" y="68391"/>
                </a:lnTo>
                <a:lnTo>
                  <a:pt x="287442" y="35184"/>
                </a:lnTo>
                <a:lnTo>
                  <a:pt x="247988" y="12493"/>
                </a:lnTo>
                <a:lnTo>
                  <a:pt x="204273" y="653"/>
                </a:lnTo>
                <a:lnTo>
                  <a:pt x="158674" y="0"/>
                </a:lnTo>
                <a:close/>
              </a:path>
            </a:pathLst>
          </a:custGeom>
          <a:solidFill>
            <a:srgbClr val="D22138"/>
          </a:solidFill>
        </p:spPr>
        <p:txBody>
          <a:bodyPr wrap="square" lIns="0" tIns="0" rIns="0" bIns="0" rtlCol="0"/>
          <a:lstStyle/>
          <a:p>
            <a:endParaRPr/>
          </a:p>
        </p:txBody>
      </p:sp>
      <p:sp>
        <p:nvSpPr>
          <p:cNvPr id="167" name="object 167"/>
          <p:cNvSpPr/>
          <p:nvPr/>
        </p:nvSpPr>
        <p:spPr>
          <a:xfrm>
            <a:off x="8446007" y="4689347"/>
            <a:ext cx="244824" cy="149822"/>
          </a:xfrm>
          <a:prstGeom prst="rect">
            <a:avLst/>
          </a:prstGeom>
          <a:blipFill>
            <a:blip r:embed="rId36" cstate="print"/>
            <a:stretch>
              <a:fillRect/>
            </a:stretch>
          </a:blipFill>
        </p:spPr>
        <p:txBody>
          <a:bodyPr wrap="square" lIns="0" tIns="0" rIns="0" bIns="0" rtlCol="0"/>
          <a:lstStyle/>
          <a:p>
            <a:endParaRPr/>
          </a:p>
        </p:txBody>
      </p:sp>
      <p:sp>
        <p:nvSpPr>
          <p:cNvPr id="168" name="object 168"/>
          <p:cNvSpPr/>
          <p:nvPr/>
        </p:nvSpPr>
        <p:spPr>
          <a:xfrm>
            <a:off x="9201911" y="2041905"/>
            <a:ext cx="472440" cy="1859914"/>
          </a:xfrm>
          <a:custGeom>
            <a:avLst/>
            <a:gdLst/>
            <a:ahLst/>
            <a:cxnLst/>
            <a:rect l="l" t="t" r="r" b="b"/>
            <a:pathLst>
              <a:path w="472440" h="1859914">
                <a:moveTo>
                  <a:pt x="395859" y="1783715"/>
                </a:moveTo>
                <a:lnTo>
                  <a:pt x="395859" y="1859915"/>
                </a:lnTo>
                <a:lnTo>
                  <a:pt x="459359" y="1828165"/>
                </a:lnTo>
                <a:lnTo>
                  <a:pt x="408559" y="1828165"/>
                </a:lnTo>
                <a:lnTo>
                  <a:pt x="408559" y="1815465"/>
                </a:lnTo>
                <a:lnTo>
                  <a:pt x="459359" y="1815465"/>
                </a:lnTo>
                <a:lnTo>
                  <a:pt x="395859" y="1783715"/>
                </a:lnTo>
                <a:close/>
              </a:path>
              <a:path w="472440" h="1859914">
                <a:moveTo>
                  <a:pt x="238125" y="886841"/>
                </a:moveTo>
                <a:lnTo>
                  <a:pt x="237109" y="886841"/>
                </a:lnTo>
                <a:lnTo>
                  <a:pt x="237109" y="1828165"/>
                </a:lnTo>
                <a:lnTo>
                  <a:pt x="395859" y="1828165"/>
                </a:lnTo>
                <a:lnTo>
                  <a:pt x="395859" y="1821815"/>
                </a:lnTo>
                <a:lnTo>
                  <a:pt x="249809" y="1821815"/>
                </a:lnTo>
                <a:lnTo>
                  <a:pt x="243459" y="1815465"/>
                </a:lnTo>
                <a:lnTo>
                  <a:pt x="249809" y="1815465"/>
                </a:lnTo>
                <a:lnTo>
                  <a:pt x="249809" y="899541"/>
                </a:lnTo>
                <a:lnTo>
                  <a:pt x="243459" y="899541"/>
                </a:lnTo>
                <a:lnTo>
                  <a:pt x="249809" y="893191"/>
                </a:lnTo>
                <a:lnTo>
                  <a:pt x="238125" y="893191"/>
                </a:lnTo>
                <a:lnTo>
                  <a:pt x="238125" y="886841"/>
                </a:lnTo>
                <a:close/>
              </a:path>
              <a:path w="472440" h="1859914">
                <a:moveTo>
                  <a:pt x="459359" y="1815465"/>
                </a:moveTo>
                <a:lnTo>
                  <a:pt x="408559" y="1815465"/>
                </a:lnTo>
                <a:lnTo>
                  <a:pt x="408559" y="1828165"/>
                </a:lnTo>
                <a:lnTo>
                  <a:pt x="459359" y="1828165"/>
                </a:lnTo>
                <a:lnTo>
                  <a:pt x="472059" y="1821815"/>
                </a:lnTo>
                <a:lnTo>
                  <a:pt x="459359" y="1815465"/>
                </a:lnTo>
                <a:close/>
              </a:path>
              <a:path w="472440" h="1859914">
                <a:moveTo>
                  <a:pt x="249809" y="1815465"/>
                </a:moveTo>
                <a:lnTo>
                  <a:pt x="243459" y="1815465"/>
                </a:lnTo>
                <a:lnTo>
                  <a:pt x="249809" y="1821815"/>
                </a:lnTo>
                <a:lnTo>
                  <a:pt x="249809" y="1815465"/>
                </a:lnTo>
                <a:close/>
              </a:path>
              <a:path w="472440" h="1859914">
                <a:moveTo>
                  <a:pt x="395859" y="1815465"/>
                </a:moveTo>
                <a:lnTo>
                  <a:pt x="249809" y="1815465"/>
                </a:lnTo>
                <a:lnTo>
                  <a:pt x="249809" y="1821815"/>
                </a:lnTo>
                <a:lnTo>
                  <a:pt x="395859" y="1821815"/>
                </a:lnTo>
                <a:lnTo>
                  <a:pt x="395859" y="1815465"/>
                </a:lnTo>
                <a:close/>
              </a:path>
              <a:path w="472440" h="1859914">
                <a:moveTo>
                  <a:pt x="249809" y="893191"/>
                </a:moveTo>
                <a:lnTo>
                  <a:pt x="243459" y="899541"/>
                </a:lnTo>
                <a:lnTo>
                  <a:pt x="249809" y="899541"/>
                </a:lnTo>
                <a:lnTo>
                  <a:pt x="249809" y="893191"/>
                </a:lnTo>
                <a:close/>
              </a:path>
              <a:path w="472440" h="1859914">
                <a:moveTo>
                  <a:pt x="250825" y="886841"/>
                </a:moveTo>
                <a:lnTo>
                  <a:pt x="244475" y="886841"/>
                </a:lnTo>
                <a:lnTo>
                  <a:pt x="238125" y="893191"/>
                </a:lnTo>
                <a:lnTo>
                  <a:pt x="249809" y="893191"/>
                </a:lnTo>
                <a:lnTo>
                  <a:pt x="249809" y="899541"/>
                </a:lnTo>
                <a:lnTo>
                  <a:pt x="250825" y="899541"/>
                </a:lnTo>
                <a:lnTo>
                  <a:pt x="250825" y="886841"/>
                </a:lnTo>
                <a:close/>
              </a:path>
              <a:path w="472440" h="1859914">
                <a:moveTo>
                  <a:pt x="238125" y="6350"/>
                </a:moveTo>
                <a:lnTo>
                  <a:pt x="238125" y="893191"/>
                </a:lnTo>
                <a:lnTo>
                  <a:pt x="244475" y="886841"/>
                </a:lnTo>
                <a:lnTo>
                  <a:pt x="250825" y="886841"/>
                </a:lnTo>
                <a:lnTo>
                  <a:pt x="250825" y="12700"/>
                </a:lnTo>
                <a:lnTo>
                  <a:pt x="244475" y="12700"/>
                </a:lnTo>
                <a:lnTo>
                  <a:pt x="238125" y="6350"/>
                </a:lnTo>
                <a:close/>
              </a:path>
              <a:path w="472440" h="1859914">
                <a:moveTo>
                  <a:pt x="250825" y="0"/>
                </a:moveTo>
                <a:lnTo>
                  <a:pt x="0" y="0"/>
                </a:lnTo>
                <a:lnTo>
                  <a:pt x="0" y="12700"/>
                </a:lnTo>
                <a:lnTo>
                  <a:pt x="238125" y="12700"/>
                </a:lnTo>
                <a:lnTo>
                  <a:pt x="238125" y="6350"/>
                </a:lnTo>
                <a:lnTo>
                  <a:pt x="250825" y="6350"/>
                </a:lnTo>
                <a:lnTo>
                  <a:pt x="250825" y="0"/>
                </a:lnTo>
                <a:close/>
              </a:path>
              <a:path w="472440" h="1859914">
                <a:moveTo>
                  <a:pt x="250825" y="6350"/>
                </a:moveTo>
                <a:lnTo>
                  <a:pt x="238125" y="6350"/>
                </a:lnTo>
                <a:lnTo>
                  <a:pt x="244475" y="12700"/>
                </a:lnTo>
                <a:lnTo>
                  <a:pt x="250825" y="12700"/>
                </a:lnTo>
                <a:lnTo>
                  <a:pt x="250825" y="6350"/>
                </a:lnTo>
                <a:close/>
              </a:path>
            </a:pathLst>
          </a:custGeom>
          <a:solidFill>
            <a:srgbClr val="7E7E7E"/>
          </a:solidFill>
        </p:spPr>
        <p:txBody>
          <a:bodyPr wrap="square" lIns="0" tIns="0" rIns="0" bIns="0" rtlCol="0"/>
          <a:lstStyle/>
          <a:p>
            <a:endParaRPr/>
          </a:p>
        </p:txBody>
      </p:sp>
      <p:sp>
        <p:nvSpPr>
          <p:cNvPr id="169" name="object 169"/>
          <p:cNvSpPr/>
          <p:nvPr/>
        </p:nvSpPr>
        <p:spPr>
          <a:xfrm>
            <a:off x="9192768" y="3825240"/>
            <a:ext cx="481330" cy="1271270"/>
          </a:xfrm>
          <a:custGeom>
            <a:avLst/>
            <a:gdLst/>
            <a:ahLst/>
            <a:cxnLst/>
            <a:rect l="l" t="t" r="r" b="b"/>
            <a:pathLst>
              <a:path w="481329" h="1271270">
                <a:moveTo>
                  <a:pt x="247650" y="1258316"/>
                </a:moveTo>
                <a:lnTo>
                  <a:pt x="0" y="1258316"/>
                </a:lnTo>
                <a:lnTo>
                  <a:pt x="0" y="1271016"/>
                </a:lnTo>
                <a:lnTo>
                  <a:pt x="260350" y="1271016"/>
                </a:lnTo>
                <a:lnTo>
                  <a:pt x="260350" y="1264666"/>
                </a:lnTo>
                <a:lnTo>
                  <a:pt x="247650" y="1264666"/>
                </a:lnTo>
                <a:lnTo>
                  <a:pt x="247650" y="1258316"/>
                </a:lnTo>
                <a:close/>
              </a:path>
              <a:path w="481329" h="1271270">
                <a:moveTo>
                  <a:pt x="247650" y="672338"/>
                </a:moveTo>
                <a:lnTo>
                  <a:pt x="247650" y="1264666"/>
                </a:lnTo>
                <a:lnTo>
                  <a:pt x="254000" y="1258316"/>
                </a:lnTo>
                <a:lnTo>
                  <a:pt x="260350" y="1258316"/>
                </a:lnTo>
                <a:lnTo>
                  <a:pt x="260350" y="678688"/>
                </a:lnTo>
                <a:lnTo>
                  <a:pt x="254000" y="678688"/>
                </a:lnTo>
                <a:lnTo>
                  <a:pt x="247650" y="672338"/>
                </a:lnTo>
                <a:close/>
              </a:path>
              <a:path w="481329" h="1271270">
                <a:moveTo>
                  <a:pt x="260350" y="1258316"/>
                </a:moveTo>
                <a:lnTo>
                  <a:pt x="254000" y="1258316"/>
                </a:lnTo>
                <a:lnTo>
                  <a:pt x="247650" y="1264666"/>
                </a:lnTo>
                <a:lnTo>
                  <a:pt x="260350" y="1264666"/>
                </a:lnTo>
                <a:lnTo>
                  <a:pt x="260350" y="1258316"/>
                </a:lnTo>
                <a:close/>
              </a:path>
              <a:path w="481329" h="1271270">
                <a:moveTo>
                  <a:pt x="405129" y="31750"/>
                </a:moveTo>
                <a:lnTo>
                  <a:pt x="246379" y="31750"/>
                </a:lnTo>
                <a:lnTo>
                  <a:pt x="246379" y="678688"/>
                </a:lnTo>
                <a:lnTo>
                  <a:pt x="247650" y="678688"/>
                </a:lnTo>
                <a:lnTo>
                  <a:pt x="247650" y="672338"/>
                </a:lnTo>
                <a:lnTo>
                  <a:pt x="259079" y="672338"/>
                </a:lnTo>
                <a:lnTo>
                  <a:pt x="252729" y="665988"/>
                </a:lnTo>
                <a:lnTo>
                  <a:pt x="259079" y="665988"/>
                </a:lnTo>
                <a:lnTo>
                  <a:pt x="259079" y="44450"/>
                </a:lnTo>
                <a:lnTo>
                  <a:pt x="252729" y="44450"/>
                </a:lnTo>
                <a:lnTo>
                  <a:pt x="259079" y="38100"/>
                </a:lnTo>
                <a:lnTo>
                  <a:pt x="405129" y="38100"/>
                </a:lnTo>
                <a:lnTo>
                  <a:pt x="405129" y="31750"/>
                </a:lnTo>
                <a:close/>
              </a:path>
              <a:path w="481329" h="1271270">
                <a:moveTo>
                  <a:pt x="260350" y="665988"/>
                </a:moveTo>
                <a:lnTo>
                  <a:pt x="259079" y="665988"/>
                </a:lnTo>
                <a:lnTo>
                  <a:pt x="259079" y="672338"/>
                </a:lnTo>
                <a:lnTo>
                  <a:pt x="247650" y="672338"/>
                </a:lnTo>
                <a:lnTo>
                  <a:pt x="254000" y="678688"/>
                </a:lnTo>
                <a:lnTo>
                  <a:pt x="260350" y="678688"/>
                </a:lnTo>
                <a:lnTo>
                  <a:pt x="260350" y="665988"/>
                </a:lnTo>
                <a:close/>
              </a:path>
              <a:path w="481329" h="1271270">
                <a:moveTo>
                  <a:pt x="259079" y="665988"/>
                </a:moveTo>
                <a:lnTo>
                  <a:pt x="252729" y="665988"/>
                </a:lnTo>
                <a:lnTo>
                  <a:pt x="259079" y="672338"/>
                </a:lnTo>
                <a:lnTo>
                  <a:pt x="259079" y="665988"/>
                </a:lnTo>
                <a:close/>
              </a:path>
              <a:path w="481329" h="1271270">
                <a:moveTo>
                  <a:pt x="405129" y="0"/>
                </a:moveTo>
                <a:lnTo>
                  <a:pt x="405129" y="76200"/>
                </a:lnTo>
                <a:lnTo>
                  <a:pt x="468629" y="44450"/>
                </a:lnTo>
                <a:lnTo>
                  <a:pt x="417829" y="44450"/>
                </a:lnTo>
                <a:lnTo>
                  <a:pt x="417829" y="31750"/>
                </a:lnTo>
                <a:lnTo>
                  <a:pt x="468629" y="31750"/>
                </a:lnTo>
                <a:lnTo>
                  <a:pt x="405129" y="0"/>
                </a:lnTo>
                <a:close/>
              </a:path>
              <a:path w="481329" h="1271270">
                <a:moveTo>
                  <a:pt x="259079" y="38100"/>
                </a:moveTo>
                <a:lnTo>
                  <a:pt x="252729" y="44450"/>
                </a:lnTo>
                <a:lnTo>
                  <a:pt x="259079" y="44450"/>
                </a:lnTo>
                <a:lnTo>
                  <a:pt x="259079" y="38100"/>
                </a:lnTo>
                <a:close/>
              </a:path>
              <a:path w="481329" h="1271270">
                <a:moveTo>
                  <a:pt x="405129" y="38100"/>
                </a:moveTo>
                <a:lnTo>
                  <a:pt x="259079" y="38100"/>
                </a:lnTo>
                <a:lnTo>
                  <a:pt x="259079" y="44450"/>
                </a:lnTo>
                <a:lnTo>
                  <a:pt x="405129" y="44450"/>
                </a:lnTo>
                <a:lnTo>
                  <a:pt x="405129" y="38100"/>
                </a:lnTo>
                <a:close/>
              </a:path>
              <a:path w="481329" h="1271270">
                <a:moveTo>
                  <a:pt x="468629" y="31750"/>
                </a:moveTo>
                <a:lnTo>
                  <a:pt x="417829" y="31750"/>
                </a:lnTo>
                <a:lnTo>
                  <a:pt x="417829" y="44450"/>
                </a:lnTo>
                <a:lnTo>
                  <a:pt x="468629" y="44450"/>
                </a:lnTo>
                <a:lnTo>
                  <a:pt x="481329" y="38100"/>
                </a:lnTo>
                <a:lnTo>
                  <a:pt x="468629" y="31750"/>
                </a:lnTo>
                <a:close/>
              </a:path>
            </a:pathLst>
          </a:custGeom>
          <a:solidFill>
            <a:srgbClr val="7E7E7E"/>
          </a:solidFill>
        </p:spPr>
        <p:txBody>
          <a:bodyPr wrap="square" lIns="0" tIns="0" rIns="0" bIns="0" rtlCol="0"/>
          <a:lstStyle/>
          <a:p>
            <a:endParaRPr/>
          </a:p>
        </p:txBody>
      </p:sp>
      <p:sp>
        <p:nvSpPr>
          <p:cNvPr id="170" name="object 170"/>
          <p:cNvSpPr txBox="1"/>
          <p:nvPr/>
        </p:nvSpPr>
        <p:spPr>
          <a:xfrm>
            <a:off x="250037" y="6245148"/>
            <a:ext cx="11461115" cy="238760"/>
          </a:xfrm>
          <a:prstGeom prst="rect">
            <a:avLst/>
          </a:prstGeom>
        </p:spPr>
        <p:txBody>
          <a:bodyPr vert="horz" wrap="square" lIns="0" tIns="12065" rIns="0" bIns="0" rtlCol="0">
            <a:spAutoFit/>
          </a:bodyPr>
          <a:lstStyle/>
          <a:p>
            <a:pPr marL="12700" marR="5080">
              <a:lnSpc>
                <a:spcPct val="100000"/>
              </a:lnSpc>
              <a:spcBef>
                <a:spcPts val="95"/>
              </a:spcBef>
            </a:pPr>
            <a:r>
              <a:rPr sz="700" spc="-5">
                <a:latin typeface="Verdana"/>
                <a:cs typeface="Verdana"/>
              </a:rPr>
              <a:t>* The products mentioned here are </a:t>
            </a:r>
            <a:r>
              <a:rPr sz="700" spc="-10">
                <a:latin typeface="Verdana"/>
                <a:cs typeface="Verdana"/>
              </a:rPr>
              <a:t>only indicative for </a:t>
            </a:r>
            <a:r>
              <a:rPr sz="700" spc="-5">
                <a:latin typeface="Verdana"/>
                <a:cs typeface="Verdana"/>
              </a:rPr>
              <a:t>the proposed </a:t>
            </a:r>
            <a:r>
              <a:rPr sz="700" spc="-10">
                <a:latin typeface="Verdana"/>
                <a:cs typeface="Verdana"/>
              </a:rPr>
              <a:t>solution. </a:t>
            </a:r>
            <a:r>
              <a:rPr sz="700" spc="-5">
                <a:latin typeface="Verdana"/>
                <a:cs typeface="Verdana"/>
              </a:rPr>
              <a:t>Capgemini </a:t>
            </a:r>
            <a:r>
              <a:rPr sz="700" spc="-10">
                <a:latin typeface="Verdana"/>
                <a:cs typeface="Verdana"/>
              </a:rPr>
              <a:t>is </a:t>
            </a:r>
            <a:r>
              <a:rPr sz="700" spc="-5">
                <a:latin typeface="Verdana"/>
                <a:cs typeface="Verdana"/>
              </a:rPr>
              <a:t>open to </a:t>
            </a:r>
            <a:r>
              <a:rPr sz="700" spc="-10">
                <a:latin typeface="Verdana"/>
                <a:cs typeface="Verdana"/>
              </a:rPr>
              <a:t>work with </a:t>
            </a:r>
            <a:r>
              <a:rPr sz="700" spc="-5">
                <a:latin typeface="Verdana"/>
                <a:cs typeface="Verdana"/>
              </a:rPr>
              <a:t>any other </a:t>
            </a:r>
            <a:r>
              <a:rPr sz="700">
                <a:latin typeface="Verdana"/>
                <a:cs typeface="Verdana"/>
              </a:rPr>
              <a:t>products </a:t>
            </a:r>
            <a:r>
              <a:rPr sz="700" spc="-5">
                <a:latin typeface="Verdana"/>
                <a:cs typeface="Verdana"/>
              </a:rPr>
              <a:t>that </a:t>
            </a:r>
            <a:r>
              <a:rPr sz="700" spc="-10">
                <a:latin typeface="Verdana"/>
                <a:cs typeface="Verdana"/>
              </a:rPr>
              <a:t>Marelli </a:t>
            </a:r>
            <a:r>
              <a:rPr sz="700" spc="-5">
                <a:latin typeface="Verdana"/>
                <a:cs typeface="Verdana"/>
              </a:rPr>
              <a:t>prefers to </a:t>
            </a:r>
            <a:r>
              <a:rPr sz="700" spc="-10">
                <a:latin typeface="Verdana"/>
                <a:cs typeface="Verdana"/>
              </a:rPr>
              <a:t>work with. We would also </a:t>
            </a:r>
            <a:r>
              <a:rPr sz="700" spc="-5">
                <a:latin typeface="Verdana"/>
                <a:cs typeface="Verdana"/>
              </a:rPr>
              <a:t>suggest </a:t>
            </a:r>
            <a:r>
              <a:rPr sz="700" spc="-10">
                <a:latin typeface="Verdana"/>
                <a:cs typeface="Verdana"/>
              </a:rPr>
              <a:t>utilizing Salesforce </a:t>
            </a:r>
            <a:r>
              <a:rPr sz="700" spc="-5">
                <a:latin typeface="Verdana"/>
                <a:cs typeface="Verdana"/>
              </a:rPr>
              <a:t>DX as </a:t>
            </a:r>
            <a:r>
              <a:rPr sz="700" spc="-10">
                <a:latin typeface="Verdana"/>
                <a:cs typeface="Verdana"/>
              </a:rPr>
              <a:t>it is closely </a:t>
            </a:r>
            <a:r>
              <a:rPr sz="700" spc="-5">
                <a:latin typeface="Verdana"/>
                <a:cs typeface="Verdana"/>
              </a:rPr>
              <a:t>integrated </a:t>
            </a:r>
            <a:r>
              <a:rPr sz="700" spc="-10">
                <a:latin typeface="Verdana"/>
                <a:cs typeface="Verdana"/>
              </a:rPr>
              <a:t>within </a:t>
            </a:r>
            <a:r>
              <a:rPr sz="700" spc="-5">
                <a:latin typeface="Verdana"/>
                <a:cs typeface="Verdana"/>
              </a:rPr>
              <a:t>the Salesforce  ecosystem</a:t>
            </a:r>
            <a:endParaRPr sz="700">
              <a:latin typeface="Verdana"/>
              <a:cs typeface="Verdana"/>
            </a:endParaRPr>
          </a:p>
        </p:txBody>
      </p:sp>
      <p:sp>
        <p:nvSpPr>
          <p:cNvPr id="171" name="object 17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72" name="object 17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3</a:t>
            </a:fld>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141475"/>
            <a:ext cx="12192000" cy="3157855"/>
          </a:xfrm>
          <a:custGeom>
            <a:avLst/>
            <a:gdLst/>
            <a:ahLst/>
            <a:cxnLst/>
            <a:rect l="l" t="t" r="r" b="b"/>
            <a:pathLst>
              <a:path w="12192000" h="3157854">
                <a:moveTo>
                  <a:pt x="0" y="3157728"/>
                </a:moveTo>
                <a:lnTo>
                  <a:pt x="12192000" y="3157728"/>
                </a:lnTo>
                <a:lnTo>
                  <a:pt x="12192000" y="0"/>
                </a:lnTo>
                <a:lnTo>
                  <a:pt x="0" y="0"/>
                </a:lnTo>
                <a:lnTo>
                  <a:pt x="0" y="3157728"/>
                </a:lnTo>
                <a:close/>
              </a:path>
            </a:pathLst>
          </a:custGeom>
          <a:solidFill>
            <a:srgbClr val="12ABDB"/>
          </a:solidFill>
        </p:spPr>
        <p:txBody>
          <a:bodyPr wrap="square" lIns="0" tIns="0" rIns="0" bIns="0" rtlCol="0"/>
          <a:lstStyle/>
          <a:p>
            <a:endParaRPr/>
          </a:p>
        </p:txBody>
      </p:sp>
      <p:sp>
        <p:nvSpPr>
          <p:cNvPr id="3" name="object 3"/>
          <p:cNvSpPr txBox="1">
            <a:spLocks noGrp="1"/>
          </p:cNvSpPr>
          <p:nvPr>
            <p:ph type="title"/>
          </p:nvPr>
        </p:nvSpPr>
        <p:spPr>
          <a:xfrm>
            <a:off x="214680" y="140588"/>
            <a:ext cx="11062920" cy="776495"/>
          </a:xfrm>
          <a:prstGeom prst="rect">
            <a:avLst/>
          </a:prstGeom>
        </p:spPr>
        <p:txBody>
          <a:bodyPr vert="horz" wrap="square" lIns="0" tIns="57785" rIns="0" bIns="0" rtlCol="0">
            <a:spAutoFit/>
          </a:bodyPr>
          <a:lstStyle/>
          <a:p>
            <a:pPr marL="12700" marR="5080">
              <a:lnSpc>
                <a:spcPts val="2810"/>
              </a:lnSpc>
              <a:spcBef>
                <a:spcPts val="455"/>
              </a:spcBef>
            </a:pPr>
            <a:r>
              <a:rPr sz="2600"/>
              <a:t>Salesforce </a:t>
            </a:r>
            <a:r>
              <a:rPr sz="2600" spc="-5"/>
              <a:t>DX </a:t>
            </a:r>
            <a:r>
              <a:rPr sz="2600"/>
              <a:t>– A </a:t>
            </a:r>
            <a:r>
              <a:rPr sz="2600" spc="-15"/>
              <a:t>Paradigm </a:t>
            </a:r>
            <a:r>
              <a:rPr sz="2600" spc="-5"/>
              <a:t>Shift to </a:t>
            </a:r>
            <a:r>
              <a:rPr sz="2600" spc="-10"/>
              <a:t>Make</a:t>
            </a:r>
            <a:r>
              <a:rPr sz="2600" spc="-85"/>
              <a:t> </a:t>
            </a:r>
            <a:r>
              <a:rPr sz="2600"/>
              <a:t>Salesforce  </a:t>
            </a:r>
            <a:r>
              <a:rPr sz="2600" spc="-5"/>
              <a:t>Development </a:t>
            </a:r>
            <a:r>
              <a:rPr sz="2600"/>
              <a:t>More Accessible </a:t>
            </a:r>
            <a:r>
              <a:rPr sz="2600" spc="-5"/>
              <a:t>to </a:t>
            </a:r>
            <a:r>
              <a:rPr sz="2600"/>
              <a:t>a </a:t>
            </a:r>
            <a:r>
              <a:rPr sz="2600" spc="-5"/>
              <a:t>DevOps</a:t>
            </a:r>
            <a:r>
              <a:rPr sz="2600" spc="-105"/>
              <a:t> </a:t>
            </a:r>
            <a:r>
              <a:rPr sz="2600"/>
              <a:t>Approach</a:t>
            </a:r>
            <a:r>
              <a:rPr lang="it-IT" sz="2600"/>
              <a:t> (illustrative)</a:t>
            </a:r>
            <a:endParaRPr sz="2600"/>
          </a:p>
        </p:txBody>
      </p:sp>
      <p:sp>
        <p:nvSpPr>
          <p:cNvPr id="4" name="object 4"/>
          <p:cNvSpPr txBox="1"/>
          <p:nvPr/>
        </p:nvSpPr>
        <p:spPr>
          <a:xfrm>
            <a:off x="388416" y="1413509"/>
            <a:ext cx="4124325" cy="1520190"/>
          </a:xfrm>
          <a:prstGeom prst="rect">
            <a:avLst/>
          </a:prstGeom>
        </p:spPr>
        <p:txBody>
          <a:bodyPr vert="horz" wrap="square" lIns="0" tIns="13335" rIns="0" bIns="0" rtlCol="0">
            <a:spAutoFit/>
          </a:bodyPr>
          <a:lstStyle/>
          <a:p>
            <a:pPr marL="12700" marR="5080">
              <a:lnSpc>
                <a:spcPct val="100000"/>
              </a:lnSpc>
              <a:spcBef>
                <a:spcPts val="105"/>
              </a:spcBef>
            </a:pPr>
            <a:r>
              <a:rPr sz="1400" spc="-5">
                <a:solidFill>
                  <a:srgbClr val="FFFFFF"/>
                </a:solidFill>
                <a:latin typeface="Verdana"/>
                <a:cs typeface="Verdana"/>
              </a:rPr>
              <a:t>Fundamental paradigm </a:t>
            </a:r>
            <a:r>
              <a:rPr sz="1400">
                <a:solidFill>
                  <a:srgbClr val="FFFFFF"/>
                </a:solidFill>
                <a:latin typeface="Verdana"/>
                <a:cs typeface="Verdana"/>
              </a:rPr>
              <a:t>shift for Salesforce  development. Classically </a:t>
            </a:r>
            <a:r>
              <a:rPr sz="1400" spc="-5">
                <a:solidFill>
                  <a:srgbClr val="FFFFFF"/>
                </a:solidFill>
                <a:latin typeface="Verdana"/>
                <a:cs typeface="Verdana"/>
              </a:rPr>
              <a:t>the </a:t>
            </a:r>
            <a:r>
              <a:rPr sz="1400">
                <a:solidFill>
                  <a:srgbClr val="FFFFFF"/>
                </a:solidFill>
                <a:latin typeface="Verdana"/>
                <a:cs typeface="Verdana"/>
              </a:rPr>
              <a:t>contents of a  Salesforce </a:t>
            </a:r>
            <a:r>
              <a:rPr sz="1400" spc="-5">
                <a:solidFill>
                  <a:srgbClr val="FFFFFF"/>
                </a:solidFill>
                <a:latin typeface="Verdana"/>
                <a:cs typeface="Verdana"/>
              </a:rPr>
              <a:t>Org </a:t>
            </a:r>
            <a:r>
              <a:rPr sz="1400">
                <a:solidFill>
                  <a:srgbClr val="FFFFFF"/>
                </a:solidFill>
                <a:latin typeface="Verdana"/>
                <a:cs typeface="Verdana"/>
              </a:rPr>
              <a:t>were considered as </a:t>
            </a:r>
            <a:r>
              <a:rPr sz="1400" spc="-5">
                <a:solidFill>
                  <a:srgbClr val="FFFFFF"/>
                </a:solidFill>
                <a:latin typeface="Verdana"/>
                <a:cs typeface="Verdana"/>
              </a:rPr>
              <a:t>the </a:t>
            </a:r>
            <a:r>
              <a:rPr sz="1400" spc="5">
                <a:solidFill>
                  <a:srgbClr val="FFFFFF"/>
                </a:solidFill>
                <a:latin typeface="Verdana"/>
                <a:cs typeface="Verdana"/>
              </a:rPr>
              <a:t>single  </a:t>
            </a:r>
            <a:r>
              <a:rPr sz="1400">
                <a:solidFill>
                  <a:srgbClr val="FFFFFF"/>
                </a:solidFill>
                <a:latin typeface="Verdana"/>
                <a:cs typeface="Verdana"/>
              </a:rPr>
              <a:t>source of </a:t>
            </a:r>
            <a:r>
              <a:rPr sz="1400" spc="-5">
                <a:solidFill>
                  <a:srgbClr val="FFFFFF"/>
                </a:solidFill>
                <a:latin typeface="Verdana"/>
                <a:cs typeface="Verdana"/>
              </a:rPr>
              <a:t>truth. Sandboxes </a:t>
            </a:r>
            <a:r>
              <a:rPr sz="1400">
                <a:solidFill>
                  <a:srgbClr val="FFFFFF"/>
                </a:solidFill>
                <a:latin typeface="Verdana"/>
                <a:cs typeface="Verdana"/>
              </a:rPr>
              <a:t>were used </a:t>
            </a:r>
            <a:r>
              <a:rPr sz="1400" spc="-5">
                <a:solidFill>
                  <a:srgbClr val="FFFFFF"/>
                </a:solidFill>
                <a:latin typeface="Verdana"/>
                <a:cs typeface="Verdana"/>
              </a:rPr>
              <a:t>to  </a:t>
            </a:r>
            <a:r>
              <a:rPr sz="1400">
                <a:solidFill>
                  <a:srgbClr val="FFFFFF"/>
                </a:solidFill>
                <a:latin typeface="Verdana"/>
                <a:cs typeface="Verdana"/>
              </a:rPr>
              <a:t>facilitate development and release processes.  </a:t>
            </a:r>
            <a:r>
              <a:rPr sz="1400" spc="-5">
                <a:solidFill>
                  <a:srgbClr val="FFFFFF"/>
                </a:solidFill>
                <a:latin typeface="Verdana"/>
                <a:cs typeface="Verdana"/>
              </a:rPr>
              <a:t>Regular Sandbox </a:t>
            </a:r>
            <a:r>
              <a:rPr sz="1400">
                <a:solidFill>
                  <a:srgbClr val="FFFFFF"/>
                </a:solidFill>
                <a:latin typeface="Verdana"/>
                <a:cs typeface="Verdana"/>
              </a:rPr>
              <a:t>refreshes were necessary</a:t>
            </a:r>
            <a:r>
              <a:rPr sz="1400" spc="-114">
                <a:solidFill>
                  <a:srgbClr val="FFFFFF"/>
                </a:solidFill>
                <a:latin typeface="Verdana"/>
                <a:cs typeface="Verdana"/>
              </a:rPr>
              <a:t> </a:t>
            </a:r>
            <a:r>
              <a:rPr sz="1400" spc="-5">
                <a:solidFill>
                  <a:srgbClr val="FFFFFF"/>
                </a:solidFill>
                <a:latin typeface="Verdana"/>
                <a:cs typeface="Verdana"/>
              </a:rPr>
              <a:t>to  avoid</a:t>
            </a:r>
            <a:r>
              <a:rPr sz="1400" spc="-30">
                <a:solidFill>
                  <a:srgbClr val="FFFFFF"/>
                </a:solidFill>
                <a:latin typeface="Verdana"/>
                <a:cs typeface="Verdana"/>
              </a:rPr>
              <a:t> </a:t>
            </a:r>
            <a:r>
              <a:rPr sz="1400">
                <a:solidFill>
                  <a:srgbClr val="FFFFFF"/>
                </a:solidFill>
                <a:latin typeface="Verdana"/>
                <a:cs typeface="Verdana"/>
              </a:rPr>
              <a:t>divergence</a:t>
            </a:r>
            <a:endParaRPr sz="1400">
              <a:latin typeface="Verdana"/>
              <a:cs typeface="Verdana"/>
            </a:endParaRPr>
          </a:p>
        </p:txBody>
      </p:sp>
      <p:sp>
        <p:nvSpPr>
          <p:cNvPr id="5" name="object 5"/>
          <p:cNvSpPr txBox="1"/>
          <p:nvPr/>
        </p:nvSpPr>
        <p:spPr>
          <a:xfrm>
            <a:off x="388416" y="3120644"/>
            <a:ext cx="4064000" cy="880110"/>
          </a:xfrm>
          <a:prstGeom prst="rect">
            <a:avLst/>
          </a:prstGeom>
        </p:spPr>
        <p:txBody>
          <a:bodyPr vert="horz" wrap="square" lIns="0" tIns="13335" rIns="0" bIns="0" rtlCol="0">
            <a:spAutoFit/>
          </a:bodyPr>
          <a:lstStyle/>
          <a:p>
            <a:pPr marL="12700" marR="5080" algn="just">
              <a:lnSpc>
                <a:spcPct val="100000"/>
              </a:lnSpc>
              <a:spcBef>
                <a:spcPts val="105"/>
              </a:spcBef>
            </a:pPr>
            <a:r>
              <a:rPr sz="1400">
                <a:solidFill>
                  <a:srgbClr val="FFFFFF"/>
                </a:solidFill>
                <a:latin typeface="Verdana"/>
                <a:cs typeface="Verdana"/>
              </a:rPr>
              <a:t>With Salesforce </a:t>
            </a:r>
            <a:r>
              <a:rPr sz="1400" spc="-5">
                <a:solidFill>
                  <a:srgbClr val="FFFFFF"/>
                </a:solidFill>
                <a:latin typeface="Verdana"/>
                <a:cs typeface="Verdana"/>
              </a:rPr>
              <a:t>DX the </a:t>
            </a:r>
            <a:r>
              <a:rPr sz="1400">
                <a:solidFill>
                  <a:srgbClr val="FFFFFF"/>
                </a:solidFill>
                <a:latin typeface="Verdana"/>
                <a:cs typeface="Verdana"/>
              </a:rPr>
              <a:t>source of </a:t>
            </a:r>
            <a:r>
              <a:rPr sz="1400" spc="-5">
                <a:solidFill>
                  <a:srgbClr val="FFFFFF"/>
                </a:solidFill>
                <a:latin typeface="Verdana"/>
                <a:cs typeface="Verdana"/>
              </a:rPr>
              <a:t>truth </a:t>
            </a:r>
            <a:r>
              <a:rPr sz="1400">
                <a:solidFill>
                  <a:srgbClr val="FFFFFF"/>
                </a:solidFill>
                <a:latin typeface="Verdana"/>
                <a:cs typeface="Verdana"/>
              </a:rPr>
              <a:t>is </a:t>
            </a:r>
            <a:r>
              <a:rPr sz="1400" spc="-5">
                <a:solidFill>
                  <a:srgbClr val="FFFFFF"/>
                </a:solidFill>
                <a:latin typeface="Verdana"/>
                <a:cs typeface="Verdana"/>
              </a:rPr>
              <a:t>the  </a:t>
            </a:r>
            <a:r>
              <a:rPr sz="1400">
                <a:solidFill>
                  <a:srgbClr val="FFFFFF"/>
                </a:solidFill>
                <a:latin typeface="Verdana"/>
                <a:cs typeface="Verdana"/>
              </a:rPr>
              <a:t>content of </a:t>
            </a:r>
            <a:r>
              <a:rPr sz="1400" spc="-5">
                <a:solidFill>
                  <a:srgbClr val="FFFFFF"/>
                </a:solidFill>
                <a:latin typeface="Verdana"/>
                <a:cs typeface="Verdana"/>
              </a:rPr>
              <a:t>your </a:t>
            </a:r>
            <a:r>
              <a:rPr sz="1400">
                <a:solidFill>
                  <a:srgbClr val="FFFFFF"/>
                </a:solidFill>
                <a:latin typeface="Verdana"/>
                <a:cs typeface="Verdana"/>
              </a:rPr>
              <a:t>code repositories, Salesforce  </a:t>
            </a:r>
            <a:r>
              <a:rPr sz="1400" spc="-5">
                <a:solidFill>
                  <a:srgbClr val="FFFFFF"/>
                </a:solidFill>
                <a:latin typeface="Verdana"/>
                <a:cs typeface="Verdana"/>
              </a:rPr>
              <a:t>Orgs </a:t>
            </a:r>
            <a:r>
              <a:rPr sz="1400">
                <a:solidFill>
                  <a:srgbClr val="FFFFFF"/>
                </a:solidFill>
                <a:latin typeface="Verdana"/>
                <a:cs typeface="Verdana"/>
              </a:rPr>
              <a:t>can </a:t>
            </a:r>
            <a:r>
              <a:rPr sz="1400" spc="-5">
                <a:solidFill>
                  <a:srgbClr val="FFFFFF"/>
                </a:solidFill>
                <a:latin typeface="Verdana"/>
                <a:cs typeface="Verdana"/>
              </a:rPr>
              <a:t>be </a:t>
            </a:r>
            <a:r>
              <a:rPr sz="1400">
                <a:solidFill>
                  <a:srgbClr val="FFFFFF"/>
                </a:solidFill>
                <a:latin typeface="Verdana"/>
                <a:cs typeface="Verdana"/>
              </a:rPr>
              <a:t>recreated from a repository</a:t>
            </a:r>
            <a:r>
              <a:rPr sz="1400" spc="-155">
                <a:solidFill>
                  <a:srgbClr val="FFFFFF"/>
                </a:solidFill>
                <a:latin typeface="Verdana"/>
                <a:cs typeface="Verdana"/>
              </a:rPr>
              <a:t> </a:t>
            </a:r>
            <a:r>
              <a:rPr sz="1400">
                <a:solidFill>
                  <a:srgbClr val="FFFFFF"/>
                </a:solidFill>
                <a:latin typeface="Verdana"/>
                <a:cs typeface="Verdana"/>
              </a:rPr>
              <a:t>with  an automated deployment</a:t>
            </a:r>
            <a:r>
              <a:rPr sz="1400" spc="-85">
                <a:solidFill>
                  <a:srgbClr val="FFFFFF"/>
                </a:solidFill>
                <a:latin typeface="Verdana"/>
                <a:cs typeface="Verdana"/>
              </a:rPr>
              <a:t> </a:t>
            </a:r>
            <a:r>
              <a:rPr sz="1400" spc="-5">
                <a:solidFill>
                  <a:srgbClr val="FFFFFF"/>
                </a:solidFill>
                <a:latin typeface="Verdana"/>
                <a:cs typeface="Verdana"/>
              </a:rPr>
              <a:t>process</a:t>
            </a:r>
            <a:endParaRPr sz="1400">
              <a:latin typeface="Verdana"/>
              <a:cs typeface="Verdana"/>
            </a:endParaRPr>
          </a:p>
        </p:txBody>
      </p:sp>
      <p:sp>
        <p:nvSpPr>
          <p:cNvPr id="6" name="object 6"/>
          <p:cNvSpPr/>
          <p:nvPr/>
        </p:nvSpPr>
        <p:spPr>
          <a:xfrm>
            <a:off x="8988552" y="2601467"/>
            <a:ext cx="1356359" cy="512063"/>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6960107" y="1808988"/>
            <a:ext cx="2257425" cy="375285"/>
          </a:xfrm>
          <a:custGeom>
            <a:avLst/>
            <a:gdLst/>
            <a:ahLst/>
            <a:cxnLst/>
            <a:rect l="l" t="t" r="r" b="b"/>
            <a:pathLst>
              <a:path w="2257425" h="375285">
                <a:moveTo>
                  <a:pt x="2194560" y="0"/>
                </a:moveTo>
                <a:lnTo>
                  <a:pt x="62484" y="0"/>
                </a:lnTo>
                <a:lnTo>
                  <a:pt x="38147" y="4905"/>
                </a:lnTo>
                <a:lnTo>
                  <a:pt x="18288" y="18287"/>
                </a:lnTo>
                <a:lnTo>
                  <a:pt x="4905" y="38147"/>
                </a:lnTo>
                <a:lnTo>
                  <a:pt x="0" y="62484"/>
                </a:lnTo>
                <a:lnTo>
                  <a:pt x="0" y="312420"/>
                </a:lnTo>
                <a:lnTo>
                  <a:pt x="4905" y="336756"/>
                </a:lnTo>
                <a:lnTo>
                  <a:pt x="18288" y="356615"/>
                </a:lnTo>
                <a:lnTo>
                  <a:pt x="38147" y="369998"/>
                </a:lnTo>
                <a:lnTo>
                  <a:pt x="62484" y="374903"/>
                </a:lnTo>
                <a:lnTo>
                  <a:pt x="2194560" y="374903"/>
                </a:lnTo>
                <a:lnTo>
                  <a:pt x="2218896" y="369998"/>
                </a:lnTo>
                <a:lnTo>
                  <a:pt x="2238756" y="356615"/>
                </a:lnTo>
                <a:lnTo>
                  <a:pt x="2252138" y="336756"/>
                </a:lnTo>
                <a:lnTo>
                  <a:pt x="2257044" y="312420"/>
                </a:lnTo>
                <a:lnTo>
                  <a:pt x="2257044" y="62484"/>
                </a:lnTo>
                <a:lnTo>
                  <a:pt x="2252138" y="38147"/>
                </a:lnTo>
                <a:lnTo>
                  <a:pt x="2238755" y="18287"/>
                </a:lnTo>
                <a:lnTo>
                  <a:pt x="2218896" y="4905"/>
                </a:lnTo>
                <a:lnTo>
                  <a:pt x="2194560" y="0"/>
                </a:lnTo>
                <a:close/>
              </a:path>
            </a:pathLst>
          </a:custGeom>
          <a:solidFill>
            <a:srgbClr val="2B133C"/>
          </a:solidFill>
        </p:spPr>
        <p:txBody>
          <a:bodyPr wrap="square" lIns="0" tIns="0" rIns="0" bIns="0" rtlCol="0"/>
          <a:lstStyle/>
          <a:p>
            <a:endParaRPr/>
          </a:p>
        </p:txBody>
      </p:sp>
      <p:sp>
        <p:nvSpPr>
          <p:cNvPr id="8" name="object 8"/>
          <p:cNvSpPr txBox="1"/>
          <p:nvPr/>
        </p:nvSpPr>
        <p:spPr>
          <a:xfrm>
            <a:off x="7191247" y="1859661"/>
            <a:ext cx="1796414" cy="269240"/>
          </a:xfrm>
          <a:prstGeom prst="rect">
            <a:avLst/>
          </a:prstGeom>
        </p:spPr>
        <p:txBody>
          <a:bodyPr vert="horz" wrap="square" lIns="0" tIns="12065" rIns="0" bIns="0" rtlCol="0">
            <a:spAutoFit/>
          </a:bodyPr>
          <a:lstStyle/>
          <a:p>
            <a:pPr marL="12700">
              <a:lnSpc>
                <a:spcPct val="100000"/>
              </a:lnSpc>
              <a:spcBef>
                <a:spcPts val="95"/>
              </a:spcBef>
            </a:pPr>
            <a:r>
              <a:rPr sz="1600" b="1" spc="-5">
                <a:solidFill>
                  <a:srgbClr val="FFFFFF"/>
                </a:solidFill>
                <a:latin typeface="Verdana"/>
                <a:cs typeface="Verdana"/>
              </a:rPr>
              <a:t>Source of</a:t>
            </a:r>
            <a:r>
              <a:rPr sz="1600" b="1" spc="-40">
                <a:solidFill>
                  <a:srgbClr val="FFFFFF"/>
                </a:solidFill>
                <a:latin typeface="Verdana"/>
                <a:cs typeface="Verdana"/>
              </a:rPr>
              <a:t> </a:t>
            </a:r>
            <a:r>
              <a:rPr sz="1600" b="1" spc="-5">
                <a:solidFill>
                  <a:srgbClr val="FFFFFF"/>
                </a:solidFill>
                <a:latin typeface="Verdana"/>
                <a:cs typeface="Verdana"/>
              </a:rPr>
              <a:t>Truth</a:t>
            </a:r>
            <a:endParaRPr sz="1600">
              <a:latin typeface="Verdana"/>
              <a:cs typeface="Verdana"/>
            </a:endParaRPr>
          </a:p>
        </p:txBody>
      </p:sp>
      <p:sp>
        <p:nvSpPr>
          <p:cNvPr id="9" name="object 9"/>
          <p:cNvSpPr/>
          <p:nvPr/>
        </p:nvSpPr>
        <p:spPr>
          <a:xfrm>
            <a:off x="7476743" y="2799588"/>
            <a:ext cx="1224280" cy="76200"/>
          </a:xfrm>
          <a:custGeom>
            <a:avLst/>
            <a:gdLst/>
            <a:ahLst/>
            <a:cxnLst/>
            <a:rect l="l" t="t" r="r" b="b"/>
            <a:pathLst>
              <a:path w="1224279" h="76200">
                <a:moveTo>
                  <a:pt x="1147952" y="0"/>
                </a:moveTo>
                <a:lnTo>
                  <a:pt x="1147952" y="76200"/>
                </a:lnTo>
                <a:lnTo>
                  <a:pt x="1211452" y="44450"/>
                </a:lnTo>
                <a:lnTo>
                  <a:pt x="1160652" y="44450"/>
                </a:lnTo>
                <a:lnTo>
                  <a:pt x="1160652" y="31750"/>
                </a:lnTo>
                <a:lnTo>
                  <a:pt x="1211452" y="31750"/>
                </a:lnTo>
                <a:lnTo>
                  <a:pt x="1147952" y="0"/>
                </a:lnTo>
                <a:close/>
              </a:path>
              <a:path w="1224279" h="76200">
                <a:moveTo>
                  <a:pt x="1147952" y="31750"/>
                </a:moveTo>
                <a:lnTo>
                  <a:pt x="0" y="31750"/>
                </a:lnTo>
                <a:lnTo>
                  <a:pt x="0" y="44450"/>
                </a:lnTo>
                <a:lnTo>
                  <a:pt x="1147952" y="44450"/>
                </a:lnTo>
                <a:lnTo>
                  <a:pt x="1147952" y="31750"/>
                </a:lnTo>
                <a:close/>
              </a:path>
              <a:path w="1224279" h="76200">
                <a:moveTo>
                  <a:pt x="1211452" y="31750"/>
                </a:moveTo>
                <a:lnTo>
                  <a:pt x="1160652" y="31750"/>
                </a:lnTo>
                <a:lnTo>
                  <a:pt x="1160652" y="44450"/>
                </a:lnTo>
                <a:lnTo>
                  <a:pt x="1211452" y="44450"/>
                </a:lnTo>
                <a:lnTo>
                  <a:pt x="1224152" y="38100"/>
                </a:lnTo>
                <a:lnTo>
                  <a:pt x="1211452" y="31750"/>
                </a:lnTo>
                <a:close/>
              </a:path>
            </a:pathLst>
          </a:custGeom>
          <a:solidFill>
            <a:srgbClr val="FFFFFF"/>
          </a:solidFill>
        </p:spPr>
        <p:txBody>
          <a:bodyPr wrap="square" lIns="0" tIns="0" rIns="0" bIns="0" rtlCol="0"/>
          <a:lstStyle/>
          <a:p>
            <a:endParaRPr/>
          </a:p>
        </p:txBody>
      </p:sp>
      <p:sp>
        <p:nvSpPr>
          <p:cNvPr id="10" name="object 10"/>
          <p:cNvSpPr/>
          <p:nvPr/>
        </p:nvSpPr>
        <p:spPr>
          <a:xfrm>
            <a:off x="0" y="4387596"/>
            <a:ext cx="12192000" cy="2101850"/>
          </a:xfrm>
          <a:custGeom>
            <a:avLst/>
            <a:gdLst/>
            <a:ahLst/>
            <a:cxnLst/>
            <a:rect l="l" t="t" r="r" b="b"/>
            <a:pathLst>
              <a:path w="12192000" h="2101850">
                <a:moveTo>
                  <a:pt x="0" y="2101596"/>
                </a:moveTo>
                <a:lnTo>
                  <a:pt x="12192000" y="2101596"/>
                </a:lnTo>
                <a:lnTo>
                  <a:pt x="12192000" y="0"/>
                </a:lnTo>
                <a:lnTo>
                  <a:pt x="0" y="0"/>
                </a:lnTo>
                <a:lnTo>
                  <a:pt x="0" y="2101596"/>
                </a:lnTo>
                <a:close/>
              </a:path>
            </a:pathLst>
          </a:custGeom>
          <a:solidFill>
            <a:srgbClr val="D9D9D9"/>
          </a:solidFill>
        </p:spPr>
        <p:txBody>
          <a:bodyPr wrap="square" lIns="0" tIns="0" rIns="0" bIns="0" rtlCol="0"/>
          <a:lstStyle/>
          <a:p>
            <a:endParaRPr/>
          </a:p>
        </p:txBody>
      </p:sp>
      <p:sp>
        <p:nvSpPr>
          <p:cNvPr id="11" name="object 11"/>
          <p:cNvSpPr txBox="1"/>
          <p:nvPr/>
        </p:nvSpPr>
        <p:spPr>
          <a:xfrm>
            <a:off x="1504569" y="5199379"/>
            <a:ext cx="2232025" cy="757555"/>
          </a:xfrm>
          <a:prstGeom prst="rect">
            <a:avLst/>
          </a:prstGeom>
        </p:spPr>
        <p:txBody>
          <a:bodyPr vert="horz" wrap="square" lIns="0" tIns="12700" rIns="0" bIns="0" rtlCol="0">
            <a:spAutoFit/>
          </a:bodyPr>
          <a:lstStyle/>
          <a:p>
            <a:pPr marL="12700" marR="5080">
              <a:lnSpc>
                <a:spcPct val="100000"/>
              </a:lnSpc>
              <a:spcBef>
                <a:spcPts val="100"/>
              </a:spcBef>
            </a:pPr>
            <a:r>
              <a:rPr sz="1200" b="1" spc="-5">
                <a:latin typeface="Verdana"/>
                <a:cs typeface="Verdana"/>
              </a:rPr>
              <a:t>Improve efficiency </a:t>
            </a:r>
            <a:r>
              <a:rPr sz="1200" b="1">
                <a:latin typeface="Verdana"/>
                <a:cs typeface="Verdana"/>
              </a:rPr>
              <a:t>of  </a:t>
            </a:r>
            <a:r>
              <a:rPr sz="1200" b="1" spc="-5">
                <a:latin typeface="Verdana"/>
                <a:cs typeface="Verdana"/>
              </a:rPr>
              <a:t>development process.  Enable test automation </a:t>
            </a:r>
            <a:r>
              <a:rPr sz="1200" b="1">
                <a:latin typeface="Verdana"/>
                <a:cs typeface="Verdana"/>
              </a:rPr>
              <a:t>in  </a:t>
            </a:r>
            <a:r>
              <a:rPr sz="1200" b="1" spc="-5">
                <a:latin typeface="Verdana"/>
                <a:cs typeface="Verdana"/>
              </a:rPr>
              <a:t>continuous</a:t>
            </a:r>
            <a:r>
              <a:rPr sz="1200" b="1" spc="-35">
                <a:latin typeface="Verdana"/>
                <a:cs typeface="Verdana"/>
              </a:rPr>
              <a:t> </a:t>
            </a:r>
            <a:r>
              <a:rPr sz="1200" b="1" spc="-5">
                <a:latin typeface="Verdana"/>
                <a:cs typeface="Verdana"/>
              </a:rPr>
              <a:t>integration</a:t>
            </a:r>
            <a:endParaRPr sz="1200">
              <a:latin typeface="Verdana"/>
              <a:cs typeface="Verdana"/>
            </a:endParaRPr>
          </a:p>
        </p:txBody>
      </p:sp>
      <p:sp>
        <p:nvSpPr>
          <p:cNvPr id="12" name="object 12"/>
          <p:cNvSpPr txBox="1"/>
          <p:nvPr/>
        </p:nvSpPr>
        <p:spPr>
          <a:xfrm>
            <a:off x="9031351" y="5179821"/>
            <a:ext cx="2752725" cy="757555"/>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Source driven</a:t>
            </a:r>
            <a:r>
              <a:rPr sz="1200" b="1" spc="-20">
                <a:latin typeface="Verdana"/>
                <a:cs typeface="Verdana"/>
              </a:rPr>
              <a:t> </a:t>
            </a:r>
            <a:r>
              <a:rPr sz="1200" b="1" spc="-5">
                <a:latin typeface="Verdana"/>
                <a:cs typeface="Verdana"/>
              </a:rPr>
              <a:t>packages.</a:t>
            </a:r>
            <a:endParaRPr sz="1200">
              <a:latin typeface="Verdana"/>
              <a:cs typeface="Verdana"/>
            </a:endParaRPr>
          </a:p>
          <a:p>
            <a:pPr marL="12700">
              <a:lnSpc>
                <a:spcPct val="100000"/>
              </a:lnSpc>
            </a:pPr>
            <a:r>
              <a:rPr sz="1200" b="1">
                <a:latin typeface="Verdana"/>
                <a:cs typeface="Verdana"/>
              </a:rPr>
              <a:t>More </a:t>
            </a:r>
            <a:r>
              <a:rPr sz="1200" b="1" spc="-5">
                <a:latin typeface="Verdana"/>
                <a:cs typeface="Verdana"/>
              </a:rPr>
              <a:t>control over visibility</a:t>
            </a:r>
            <a:r>
              <a:rPr sz="1200" b="1" spc="-20">
                <a:latin typeface="Verdana"/>
                <a:cs typeface="Verdana"/>
              </a:rPr>
              <a:t> </a:t>
            </a:r>
            <a:r>
              <a:rPr sz="1200" b="1">
                <a:latin typeface="Verdana"/>
                <a:cs typeface="Verdana"/>
              </a:rPr>
              <a:t>with</a:t>
            </a:r>
            <a:endParaRPr sz="1200">
              <a:latin typeface="Verdana"/>
              <a:cs typeface="Verdana"/>
            </a:endParaRPr>
          </a:p>
          <a:p>
            <a:pPr marL="12700">
              <a:lnSpc>
                <a:spcPct val="100000"/>
              </a:lnSpc>
            </a:pPr>
            <a:r>
              <a:rPr sz="1200" b="1" spc="-5">
                <a:latin typeface="Verdana"/>
                <a:cs typeface="Verdana"/>
              </a:rPr>
              <a:t>namespaces </a:t>
            </a:r>
            <a:r>
              <a:rPr sz="1200" b="1">
                <a:latin typeface="Verdana"/>
                <a:cs typeface="Verdana"/>
              </a:rPr>
              <a:t>and</a:t>
            </a:r>
            <a:r>
              <a:rPr sz="1200" b="1" spc="-10">
                <a:latin typeface="Verdana"/>
                <a:cs typeface="Verdana"/>
              </a:rPr>
              <a:t> </a:t>
            </a:r>
            <a:r>
              <a:rPr sz="1200" b="1" spc="-5">
                <a:latin typeface="Verdana"/>
                <a:cs typeface="Verdana"/>
              </a:rPr>
              <a:t>packages.</a:t>
            </a:r>
            <a:endParaRPr sz="1200">
              <a:latin typeface="Verdana"/>
              <a:cs typeface="Verdana"/>
            </a:endParaRPr>
          </a:p>
          <a:p>
            <a:pPr marL="12700">
              <a:lnSpc>
                <a:spcPct val="100000"/>
              </a:lnSpc>
            </a:pPr>
            <a:r>
              <a:rPr sz="1200" b="1" spc="-5">
                <a:latin typeface="Verdana"/>
                <a:cs typeface="Verdana"/>
              </a:rPr>
              <a:t>Improved reuse </a:t>
            </a:r>
            <a:r>
              <a:rPr sz="1200" b="1">
                <a:latin typeface="Verdana"/>
                <a:cs typeface="Verdana"/>
              </a:rPr>
              <a:t>of </a:t>
            </a:r>
            <a:r>
              <a:rPr sz="1200" b="1" spc="-5">
                <a:latin typeface="Verdana"/>
                <a:cs typeface="Verdana"/>
              </a:rPr>
              <a:t>code</a:t>
            </a:r>
            <a:endParaRPr sz="1200">
              <a:latin typeface="Verdana"/>
              <a:cs typeface="Verdana"/>
            </a:endParaRPr>
          </a:p>
        </p:txBody>
      </p:sp>
      <p:sp>
        <p:nvSpPr>
          <p:cNvPr id="13" name="object 13"/>
          <p:cNvSpPr txBox="1"/>
          <p:nvPr/>
        </p:nvSpPr>
        <p:spPr>
          <a:xfrm>
            <a:off x="5311266" y="5284089"/>
            <a:ext cx="1949450" cy="574675"/>
          </a:xfrm>
          <a:prstGeom prst="rect">
            <a:avLst/>
          </a:prstGeom>
        </p:spPr>
        <p:txBody>
          <a:bodyPr vert="horz" wrap="square" lIns="0" tIns="12700" rIns="0" bIns="0" rtlCol="0">
            <a:spAutoFit/>
          </a:bodyPr>
          <a:lstStyle/>
          <a:p>
            <a:pPr marL="12700" marR="5080">
              <a:lnSpc>
                <a:spcPct val="100000"/>
              </a:lnSpc>
              <a:spcBef>
                <a:spcPts val="100"/>
              </a:spcBef>
            </a:pPr>
            <a:r>
              <a:rPr sz="1200" b="1" spc="-5">
                <a:latin typeface="Verdana"/>
                <a:cs typeface="Verdana"/>
              </a:rPr>
              <a:t>Scratch orgs </a:t>
            </a:r>
            <a:r>
              <a:rPr sz="1200" b="1">
                <a:latin typeface="Verdana"/>
                <a:cs typeface="Verdana"/>
              </a:rPr>
              <a:t>– </a:t>
            </a:r>
            <a:r>
              <a:rPr sz="1200" b="1" spc="-5">
                <a:latin typeface="Verdana"/>
                <a:cs typeface="Verdana"/>
              </a:rPr>
              <a:t>new  environments </a:t>
            </a:r>
            <a:r>
              <a:rPr sz="1200" b="1">
                <a:latin typeface="Verdana"/>
                <a:cs typeface="Verdana"/>
              </a:rPr>
              <a:t>to </a:t>
            </a:r>
            <a:r>
              <a:rPr sz="1200" b="1" spc="-10">
                <a:latin typeface="Verdana"/>
                <a:cs typeface="Verdana"/>
              </a:rPr>
              <a:t>spin  </a:t>
            </a:r>
            <a:r>
              <a:rPr sz="1200" b="1" spc="-5">
                <a:latin typeface="Verdana"/>
                <a:cs typeface="Verdana"/>
              </a:rPr>
              <a:t>up </a:t>
            </a:r>
            <a:r>
              <a:rPr sz="1200" b="1">
                <a:latin typeface="Verdana"/>
                <a:cs typeface="Verdana"/>
              </a:rPr>
              <a:t>or </a:t>
            </a:r>
            <a:r>
              <a:rPr sz="1200" b="1" spc="-5">
                <a:latin typeface="Verdana"/>
                <a:cs typeface="Verdana"/>
              </a:rPr>
              <a:t>down in</a:t>
            </a:r>
            <a:r>
              <a:rPr sz="1200" b="1" spc="-80">
                <a:latin typeface="Verdana"/>
                <a:cs typeface="Verdana"/>
              </a:rPr>
              <a:t> </a:t>
            </a:r>
            <a:r>
              <a:rPr sz="1200" b="1" spc="-5">
                <a:latin typeface="Verdana"/>
                <a:cs typeface="Verdana"/>
              </a:rPr>
              <a:t>seconds</a:t>
            </a:r>
            <a:endParaRPr sz="1200">
              <a:latin typeface="Verdana"/>
              <a:cs typeface="Verdana"/>
            </a:endParaRPr>
          </a:p>
        </p:txBody>
      </p:sp>
      <p:sp>
        <p:nvSpPr>
          <p:cNvPr id="14" name="object 14"/>
          <p:cNvSpPr txBox="1"/>
          <p:nvPr/>
        </p:nvSpPr>
        <p:spPr>
          <a:xfrm>
            <a:off x="775512" y="4608703"/>
            <a:ext cx="535940" cy="269240"/>
          </a:xfrm>
          <a:prstGeom prst="rect">
            <a:avLst/>
          </a:prstGeom>
        </p:spPr>
        <p:txBody>
          <a:bodyPr vert="horz" wrap="square" lIns="0" tIns="12065" rIns="0" bIns="0" rtlCol="0">
            <a:spAutoFit/>
          </a:bodyPr>
          <a:lstStyle/>
          <a:p>
            <a:pPr marL="12700">
              <a:lnSpc>
                <a:spcPct val="100000"/>
              </a:lnSpc>
              <a:spcBef>
                <a:spcPts val="95"/>
              </a:spcBef>
            </a:pPr>
            <a:r>
              <a:rPr sz="1600" spc="-175">
                <a:latin typeface="Verdana"/>
                <a:cs typeface="Verdana"/>
              </a:rPr>
              <a:t>T</a:t>
            </a:r>
            <a:r>
              <a:rPr sz="1600" spc="-5">
                <a:latin typeface="Verdana"/>
                <a:cs typeface="Verdana"/>
              </a:rPr>
              <a:t>oo</a:t>
            </a:r>
            <a:r>
              <a:rPr sz="1600" spc="-10">
                <a:latin typeface="Verdana"/>
                <a:cs typeface="Verdana"/>
              </a:rPr>
              <a:t>ls</a:t>
            </a:r>
            <a:endParaRPr sz="1600">
              <a:latin typeface="Verdana"/>
              <a:cs typeface="Verdana"/>
            </a:endParaRPr>
          </a:p>
        </p:txBody>
      </p:sp>
      <p:sp>
        <p:nvSpPr>
          <p:cNvPr id="15" name="object 15"/>
          <p:cNvSpPr/>
          <p:nvPr/>
        </p:nvSpPr>
        <p:spPr>
          <a:xfrm>
            <a:off x="409955" y="4594859"/>
            <a:ext cx="306705" cy="299085"/>
          </a:xfrm>
          <a:custGeom>
            <a:avLst/>
            <a:gdLst/>
            <a:ahLst/>
            <a:cxnLst/>
            <a:rect l="l" t="t" r="r" b="b"/>
            <a:pathLst>
              <a:path w="306705" h="299085">
                <a:moveTo>
                  <a:pt x="145357" y="193313"/>
                </a:moveTo>
                <a:lnTo>
                  <a:pt x="74463" y="193313"/>
                </a:lnTo>
                <a:lnTo>
                  <a:pt x="78993" y="196976"/>
                </a:lnTo>
                <a:lnTo>
                  <a:pt x="83413" y="202578"/>
                </a:lnTo>
                <a:lnTo>
                  <a:pt x="89684" y="212169"/>
                </a:lnTo>
                <a:lnTo>
                  <a:pt x="94720" y="222355"/>
                </a:lnTo>
                <a:lnTo>
                  <a:pt x="95440" y="229742"/>
                </a:lnTo>
                <a:lnTo>
                  <a:pt x="92151" y="229742"/>
                </a:lnTo>
                <a:lnTo>
                  <a:pt x="92151" y="233044"/>
                </a:lnTo>
                <a:lnTo>
                  <a:pt x="55956" y="256031"/>
                </a:lnTo>
                <a:lnTo>
                  <a:pt x="17535" y="271712"/>
                </a:lnTo>
                <a:lnTo>
                  <a:pt x="9867" y="272414"/>
                </a:lnTo>
                <a:lnTo>
                  <a:pt x="22263" y="281630"/>
                </a:lnTo>
                <a:lnTo>
                  <a:pt x="34967" y="289274"/>
                </a:lnTo>
                <a:lnTo>
                  <a:pt x="48288" y="295060"/>
                </a:lnTo>
                <a:lnTo>
                  <a:pt x="62534" y="298703"/>
                </a:lnTo>
                <a:lnTo>
                  <a:pt x="74825" y="298084"/>
                </a:lnTo>
                <a:lnTo>
                  <a:pt x="118382" y="280842"/>
                </a:lnTo>
                <a:lnTo>
                  <a:pt x="141516" y="249427"/>
                </a:lnTo>
                <a:lnTo>
                  <a:pt x="144818" y="206756"/>
                </a:lnTo>
                <a:lnTo>
                  <a:pt x="141516" y="200278"/>
                </a:lnTo>
                <a:lnTo>
                  <a:pt x="141516" y="196976"/>
                </a:lnTo>
                <a:lnTo>
                  <a:pt x="144818" y="193675"/>
                </a:lnTo>
                <a:lnTo>
                  <a:pt x="145357" y="193313"/>
                </a:lnTo>
                <a:close/>
              </a:path>
              <a:path w="306705" h="299085">
                <a:moveTo>
                  <a:pt x="92151" y="151002"/>
                </a:moveTo>
                <a:lnTo>
                  <a:pt x="75692" y="151002"/>
                </a:lnTo>
                <a:lnTo>
                  <a:pt x="47207" y="156789"/>
                </a:lnTo>
                <a:lnTo>
                  <a:pt x="23039" y="172719"/>
                </a:lnTo>
                <a:lnTo>
                  <a:pt x="6274" y="196651"/>
                </a:lnTo>
                <a:lnTo>
                  <a:pt x="39" y="226254"/>
                </a:lnTo>
                <a:lnTo>
                  <a:pt x="0" y="229742"/>
                </a:lnTo>
                <a:lnTo>
                  <a:pt x="4165" y="226254"/>
                </a:lnTo>
                <a:lnTo>
                  <a:pt x="13574" y="221551"/>
                </a:lnTo>
                <a:lnTo>
                  <a:pt x="23601" y="216848"/>
                </a:lnTo>
                <a:lnTo>
                  <a:pt x="29616" y="213359"/>
                </a:lnTo>
                <a:lnTo>
                  <a:pt x="36510" y="210833"/>
                </a:lnTo>
                <a:lnTo>
                  <a:pt x="42786" y="208010"/>
                </a:lnTo>
                <a:lnTo>
                  <a:pt x="49061" y="204591"/>
                </a:lnTo>
                <a:lnTo>
                  <a:pt x="55956" y="200278"/>
                </a:lnTo>
                <a:lnTo>
                  <a:pt x="60479" y="198370"/>
                </a:lnTo>
                <a:lnTo>
                  <a:pt x="67470" y="194913"/>
                </a:lnTo>
                <a:lnTo>
                  <a:pt x="74463" y="193313"/>
                </a:lnTo>
                <a:lnTo>
                  <a:pt x="145357" y="193313"/>
                </a:lnTo>
                <a:lnTo>
                  <a:pt x="154686" y="187070"/>
                </a:lnTo>
                <a:lnTo>
                  <a:pt x="161264" y="183769"/>
                </a:lnTo>
                <a:lnTo>
                  <a:pt x="169238" y="176363"/>
                </a:lnTo>
                <a:lnTo>
                  <a:pt x="187648" y="160266"/>
                </a:lnTo>
                <a:lnTo>
                  <a:pt x="193970" y="154304"/>
                </a:lnTo>
                <a:lnTo>
                  <a:pt x="95440" y="154304"/>
                </a:lnTo>
                <a:lnTo>
                  <a:pt x="92151" y="151002"/>
                </a:lnTo>
                <a:close/>
              </a:path>
              <a:path w="306705" h="299085">
                <a:moveTo>
                  <a:pt x="236969" y="0"/>
                </a:moveTo>
                <a:lnTo>
                  <a:pt x="208940" y="5238"/>
                </a:lnTo>
                <a:lnTo>
                  <a:pt x="185539" y="19716"/>
                </a:lnTo>
                <a:lnTo>
                  <a:pt x="168926" y="41576"/>
                </a:lnTo>
                <a:lnTo>
                  <a:pt x="161264" y="68960"/>
                </a:lnTo>
                <a:lnTo>
                  <a:pt x="161264" y="91947"/>
                </a:lnTo>
                <a:lnTo>
                  <a:pt x="164553" y="98425"/>
                </a:lnTo>
                <a:lnTo>
                  <a:pt x="95440" y="154304"/>
                </a:lnTo>
                <a:lnTo>
                  <a:pt x="193970" y="154304"/>
                </a:lnTo>
                <a:lnTo>
                  <a:pt x="197472" y="151002"/>
                </a:lnTo>
                <a:lnTo>
                  <a:pt x="207340" y="144398"/>
                </a:lnTo>
                <a:lnTo>
                  <a:pt x="259766" y="144398"/>
                </a:lnTo>
                <a:lnTo>
                  <a:pt x="260719" y="144184"/>
                </a:lnTo>
                <a:lnTo>
                  <a:pt x="285508" y="125983"/>
                </a:lnTo>
                <a:lnTo>
                  <a:pt x="298424" y="105028"/>
                </a:lnTo>
                <a:lnTo>
                  <a:pt x="233679" y="105028"/>
                </a:lnTo>
                <a:lnTo>
                  <a:pt x="224986" y="104070"/>
                </a:lnTo>
                <a:lnTo>
                  <a:pt x="218455" y="94789"/>
                </a:lnTo>
                <a:lnTo>
                  <a:pt x="213777" y="82436"/>
                </a:lnTo>
                <a:lnTo>
                  <a:pt x="210642" y="72262"/>
                </a:lnTo>
                <a:lnTo>
                  <a:pt x="210642" y="68960"/>
                </a:lnTo>
                <a:lnTo>
                  <a:pt x="213931" y="68960"/>
                </a:lnTo>
                <a:lnTo>
                  <a:pt x="213931" y="65658"/>
                </a:lnTo>
                <a:lnTo>
                  <a:pt x="217220" y="62356"/>
                </a:lnTo>
                <a:lnTo>
                  <a:pt x="223799" y="59054"/>
                </a:lnTo>
                <a:lnTo>
                  <a:pt x="227088" y="55752"/>
                </a:lnTo>
                <a:lnTo>
                  <a:pt x="233931" y="52833"/>
                </a:lnTo>
                <a:lnTo>
                  <a:pt x="239845" y="49260"/>
                </a:lnTo>
                <a:lnTo>
                  <a:pt x="245140" y="45662"/>
                </a:lnTo>
                <a:lnTo>
                  <a:pt x="250126" y="42671"/>
                </a:lnTo>
                <a:lnTo>
                  <a:pt x="261956" y="37842"/>
                </a:lnTo>
                <a:lnTo>
                  <a:pt x="273169" y="33654"/>
                </a:lnTo>
                <a:lnTo>
                  <a:pt x="284378" y="30706"/>
                </a:lnTo>
                <a:lnTo>
                  <a:pt x="296202" y="29590"/>
                </a:lnTo>
                <a:lnTo>
                  <a:pt x="296202" y="26288"/>
                </a:lnTo>
                <a:lnTo>
                  <a:pt x="292912" y="26288"/>
                </a:lnTo>
                <a:lnTo>
                  <a:pt x="289623" y="22987"/>
                </a:lnTo>
                <a:lnTo>
                  <a:pt x="286334" y="22987"/>
                </a:lnTo>
                <a:lnTo>
                  <a:pt x="286334" y="19684"/>
                </a:lnTo>
                <a:lnTo>
                  <a:pt x="283044" y="16382"/>
                </a:lnTo>
                <a:lnTo>
                  <a:pt x="276466" y="13081"/>
                </a:lnTo>
                <a:lnTo>
                  <a:pt x="269875" y="9906"/>
                </a:lnTo>
                <a:lnTo>
                  <a:pt x="261958" y="5572"/>
                </a:lnTo>
                <a:lnTo>
                  <a:pt x="253422" y="2476"/>
                </a:lnTo>
                <a:lnTo>
                  <a:pt x="244886" y="619"/>
                </a:lnTo>
                <a:lnTo>
                  <a:pt x="236969" y="0"/>
                </a:lnTo>
                <a:close/>
              </a:path>
              <a:path w="306705" h="299085">
                <a:moveTo>
                  <a:pt x="259766" y="144398"/>
                </a:moveTo>
                <a:lnTo>
                  <a:pt x="207340" y="144398"/>
                </a:lnTo>
                <a:lnTo>
                  <a:pt x="210642" y="147700"/>
                </a:lnTo>
                <a:lnTo>
                  <a:pt x="220510" y="147700"/>
                </a:lnTo>
                <a:lnTo>
                  <a:pt x="223799" y="151002"/>
                </a:lnTo>
                <a:lnTo>
                  <a:pt x="230378" y="151002"/>
                </a:lnTo>
                <a:lnTo>
                  <a:pt x="259766" y="144398"/>
                </a:lnTo>
                <a:close/>
              </a:path>
              <a:path w="306705" h="299085">
                <a:moveTo>
                  <a:pt x="306082" y="68960"/>
                </a:moveTo>
                <a:lnTo>
                  <a:pt x="302793" y="72262"/>
                </a:lnTo>
                <a:lnTo>
                  <a:pt x="299504" y="75437"/>
                </a:lnTo>
                <a:lnTo>
                  <a:pt x="282739" y="83312"/>
                </a:lnTo>
                <a:lnTo>
                  <a:pt x="266592" y="91471"/>
                </a:lnTo>
                <a:lnTo>
                  <a:pt x="250444" y="99012"/>
                </a:lnTo>
                <a:lnTo>
                  <a:pt x="233679" y="105028"/>
                </a:lnTo>
                <a:lnTo>
                  <a:pt x="298424" y="105028"/>
                </a:lnTo>
                <a:lnTo>
                  <a:pt x="301658" y="99782"/>
                </a:lnTo>
                <a:lnTo>
                  <a:pt x="306082" y="68960"/>
                </a:lnTo>
                <a:close/>
              </a:path>
            </a:pathLst>
          </a:custGeom>
          <a:solidFill>
            <a:srgbClr val="006FAC"/>
          </a:solidFill>
        </p:spPr>
        <p:txBody>
          <a:bodyPr wrap="square" lIns="0" tIns="0" rIns="0" bIns="0" rtlCol="0"/>
          <a:lstStyle/>
          <a:p>
            <a:endParaRPr/>
          </a:p>
        </p:txBody>
      </p:sp>
      <p:sp>
        <p:nvSpPr>
          <p:cNvPr id="16" name="object 16"/>
          <p:cNvSpPr/>
          <p:nvPr/>
        </p:nvSpPr>
        <p:spPr>
          <a:xfrm>
            <a:off x="375241" y="5122391"/>
            <a:ext cx="967740" cy="913765"/>
          </a:xfrm>
          <a:custGeom>
            <a:avLst/>
            <a:gdLst/>
            <a:ahLst/>
            <a:cxnLst/>
            <a:rect l="l" t="t" r="r" b="b"/>
            <a:pathLst>
              <a:path w="967740" h="913764">
                <a:moveTo>
                  <a:pt x="468845" y="0"/>
                </a:moveTo>
                <a:lnTo>
                  <a:pt x="422104" y="4126"/>
                </a:lnTo>
                <a:lnTo>
                  <a:pt x="375662" y="12560"/>
                </a:lnTo>
                <a:lnTo>
                  <a:pt x="329859" y="25348"/>
                </a:lnTo>
                <a:lnTo>
                  <a:pt x="285035" y="42539"/>
                </a:lnTo>
                <a:lnTo>
                  <a:pt x="241531" y="64181"/>
                </a:lnTo>
                <a:lnTo>
                  <a:pt x="199687" y="90323"/>
                </a:lnTo>
                <a:lnTo>
                  <a:pt x="160796" y="121113"/>
                </a:lnTo>
                <a:lnTo>
                  <a:pt x="125962" y="154697"/>
                </a:lnTo>
                <a:lnTo>
                  <a:pt x="95241" y="190762"/>
                </a:lnTo>
                <a:lnTo>
                  <a:pt x="68687" y="228997"/>
                </a:lnTo>
                <a:lnTo>
                  <a:pt x="46356" y="269090"/>
                </a:lnTo>
                <a:lnTo>
                  <a:pt x="28305" y="310728"/>
                </a:lnTo>
                <a:lnTo>
                  <a:pt x="14588" y="353601"/>
                </a:lnTo>
                <a:lnTo>
                  <a:pt x="5261" y="397395"/>
                </a:lnTo>
                <a:lnTo>
                  <a:pt x="380" y="441799"/>
                </a:lnTo>
                <a:lnTo>
                  <a:pt x="0" y="486502"/>
                </a:lnTo>
                <a:lnTo>
                  <a:pt x="4176" y="531191"/>
                </a:lnTo>
                <a:lnTo>
                  <a:pt x="12965" y="575554"/>
                </a:lnTo>
                <a:lnTo>
                  <a:pt x="26422" y="619279"/>
                </a:lnTo>
                <a:lnTo>
                  <a:pt x="44603" y="662055"/>
                </a:lnTo>
                <a:lnTo>
                  <a:pt x="67562" y="703569"/>
                </a:lnTo>
                <a:lnTo>
                  <a:pt x="95356" y="743510"/>
                </a:lnTo>
                <a:lnTo>
                  <a:pt x="126203" y="779513"/>
                </a:lnTo>
                <a:lnTo>
                  <a:pt x="159856" y="811203"/>
                </a:lnTo>
                <a:lnTo>
                  <a:pt x="196010" y="838595"/>
                </a:lnTo>
                <a:lnTo>
                  <a:pt x="234359" y="861701"/>
                </a:lnTo>
                <a:lnTo>
                  <a:pt x="274598" y="880536"/>
                </a:lnTo>
                <a:lnTo>
                  <a:pt x="316420" y="895113"/>
                </a:lnTo>
                <a:lnTo>
                  <a:pt x="359520" y="905447"/>
                </a:lnTo>
                <a:lnTo>
                  <a:pt x="403593" y="911551"/>
                </a:lnTo>
                <a:lnTo>
                  <a:pt x="448333" y="913440"/>
                </a:lnTo>
                <a:lnTo>
                  <a:pt x="493434" y="911126"/>
                </a:lnTo>
                <a:lnTo>
                  <a:pt x="538591" y="904624"/>
                </a:lnTo>
                <a:lnTo>
                  <a:pt x="583498" y="893948"/>
                </a:lnTo>
                <a:lnTo>
                  <a:pt x="627849" y="879112"/>
                </a:lnTo>
                <a:lnTo>
                  <a:pt x="671339" y="860129"/>
                </a:lnTo>
                <a:lnTo>
                  <a:pt x="713661" y="837013"/>
                </a:lnTo>
                <a:lnTo>
                  <a:pt x="754512" y="809778"/>
                </a:lnTo>
                <a:lnTo>
                  <a:pt x="793609" y="780087"/>
                </a:lnTo>
                <a:lnTo>
                  <a:pt x="829040" y="747983"/>
                </a:lnTo>
                <a:lnTo>
                  <a:pt x="860693" y="713715"/>
                </a:lnTo>
                <a:lnTo>
                  <a:pt x="888458" y="677534"/>
                </a:lnTo>
                <a:lnTo>
                  <a:pt x="912223" y="639688"/>
                </a:lnTo>
                <a:lnTo>
                  <a:pt x="931876" y="600427"/>
                </a:lnTo>
                <a:lnTo>
                  <a:pt x="947307" y="560002"/>
                </a:lnTo>
                <a:lnTo>
                  <a:pt x="958404" y="518661"/>
                </a:lnTo>
                <a:lnTo>
                  <a:pt x="965055" y="476654"/>
                </a:lnTo>
                <a:lnTo>
                  <a:pt x="967151" y="434232"/>
                </a:lnTo>
                <a:lnTo>
                  <a:pt x="964578" y="391643"/>
                </a:lnTo>
                <a:lnTo>
                  <a:pt x="957226" y="349137"/>
                </a:lnTo>
                <a:lnTo>
                  <a:pt x="944984" y="306964"/>
                </a:lnTo>
                <a:lnTo>
                  <a:pt x="927741" y="265373"/>
                </a:lnTo>
                <a:lnTo>
                  <a:pt x="905384" y="224615"/>
                </a:lnTo>
                <a:lnTo>
                  <a:pt x="877803" y="184938"/>
                </a:lnTo>
                <a:lnTo>
                  <a:pt x="846796" y="148662"/>
                </a:lnTo>
                <a:lnTo>
                  <a:pt x="812683" y="116208"/>
                </a:lnTo>
                <a:lnTo>
                  <a:pt x="775805" y="87626"/>
                </a:lnTo>
                <a:lnTo>
                  <a:pt x="736504" y="62963"/>
                </a:lnTo>
                <a:lnTo>
                  <a:pt x="695118" y="42267"/>
                </a:lnTo>
                <a:lnTo>
                  <a:pt x="651989" y="25588"/>
                </a:lnTo>
                <a:lnTo>
                  <a:pt x="607457" y="12973"/>
                </a:lnTo>
                <a:lnTo>
                  <a:pt x="561862" y="4471"/>
                </a:lnTo>
                <a:lnTo>
                  <a:pt x="515545" y="131"/>
                </a:lnTo>
                <a:lnTo>
                  <a:pt x="468845" y="0"/>
                </a:lnTo>
                <a:close/>
              </a:path>
            </a:pathLst>
          </a:custGeom>
          <a:solidFill>
            <a:srgbClr val="FFFFFF"/>
          </a:solidFill>
        </p:spPr>
        <p:txBody>
          <a:bodyPr wrap="square" lIns="0" tIns="0" rIns="0" bIns="0" rtlCol="0"/>
          <a:lstStyle/>
          <a:p>
            <a:endParaRPr/>
          </a:p>
        </p:txBody>
      </p:sp>
      <p:sp>
        <p:nvSpPr>
          <p:cNvPr id="17" name="object 17"/>
          <p:cNvSpPr/>
          <p:nvPr/>
        </p:nvSpPr>
        <p:spPr>
          <a:xfrm>
            <a:off x="586740" y="5295900"/>
            <a:ext cx="541020" cy="541019"/>
          </a:xfrm>
          <a:prstGeom prst="rect">
            <a:avLst/>
          </a:prstGeom>
          <a:blipFill>
            <a:blip r:embed="rId3" cstate="print"/>
            <a:stretch>
              <a:fillRect/>
            </a:stretch>
          </a:blipFill>
        </p:spPr>
        <p:txBody>
          <a:bodyPr wrap="square" lIns="0" tIns="0" rIns="0" bIns="0" rtlCol="0"/>
          <a:lstStyle/>
          <a:p>
            <a:endParaRPr/>
          </a:p>
        </p:txBody>
      </p:sp>
      <p:sp>
        <p:nvSpPr>
          <p:cNvPr id="18" name="object 18"/>
          <p:cNvSpPr txBox="1"/>
          <p:nvPr/>
        </p:nvSpPr>
        <p:spPr>
          <a:xfrm>
            <a:off x="679195" y="6075679"/>
            <a:ext cx="342900" cy="208279"/>
          </a:xfrm>
          <a:prstGeom prst="rect">
            <a:avLst/>
          </a:prstGeom>
        </p:spPr>
        <p:txBody>
          <a:bodyPr vert="horz" wrap="square" lIns="0" tIns="12700" rIns="0" bIns="0" rtlCol="0">
            <a:spAutoFit/>
          </a:bodyPr>
          <a:lstStyle/>
          <a:p>
            <a:pPr marL="12700">
              <a:lnSpc>
                <a:spcPct val="100000"/>
              </a:lnSpc>
              <a:spcBef>
                <a:spcPts val="100"/>
              </a:spcBef>
            </a:pPr>
            <a:r>
              <a:rPr sz="1200">
                <a:latin typeface="Verdana"/>
                <a:cs typeface="Verdana"/>
              </a:rPr>
              <a:t>s</a:t>
            </a:r>
            <a:r>
              <a:rPr sz="1200" spc="-5">
                <a:latin typeface="Verdana"/>
                <a:cs typeface="Verdana"/>
              </a:rPr>
              <a:t>fd</a:t>
            </a:r>
            <a:r>
              <a:rPr sz="1200">
                <a:latin typeface="Verdana"/>
                <a:cs typeface="Verdana"/>
              </a:rPr>
              <a:t>x</a:t>
            </a:r>
          </a:p>
        </p:txBody>
      </p:sp>
      <p:sp>
        <p:nvSpPr>
          <p:cNvPr id="19" name="object 19"/>
          <p:cNvSpPr/>
          <p:nvPr/>
        </p:nvSpPr>
        <p:spPr>
          <a:xfrm>
            <a:off x="4195911" y="5122391"/>
            <a:ext cx="967740" cy="913765"/>
          </a:xfrm>
          <a:custGeom>
            <a:avLst/>
            <a:gdLst/>
            <a:ahLst/>
            <a:cxnLst/>
            <a:rect l="l" t="t" r="r" b="b"/>
            <a:pathLst>
              <a:path w="967739" h="913764">
                <a:moveTo>
                  <a:pt x="468852" y="0"/>
                </a:moveTo>
                <a:lnTo>
                  <a:pt x="422115" y="4126"/>
                </a:lnTo>
                <a:lnTo>
                  <a:pt x="375675" y="12560"/>
                </a:lnTo>
                <a:lnTo>
                  <a:pt x="329872" y="25348"/>
                </a:lnTo>
                <a:lnTo>
                  <a:pt x="285046" y="42539"/>
                </a:lnTo>
                <a:lnTo>
                  <a:pt x="241537" y="64181"/>
                </a:lnTo>
                <a:lnTo>
                  <a:pt x="199685" y="90323"/>
                </a:lnTo>
                <a:lnTo>
                  <a:pt x="160786" y="121113"/>
                </a:lnTo>
                <a:lnTo>
                  <a:pt x="125946" y="154697"/>
                </a:lnTo>
                <a:lnTo>
                  <a:pt x="95220" y="190762"/>
                </a:lnTo>
                <a:lnTo>
                  <a:pt x="68664" y="228997"/>
                </a:lnTo>
                <a:lnTo>
                  <a:pt x="46334" y="269090"/>
                </a:lnTo>
                <a:lnTo>
                  <a:pt x="28284" y="310728"/>
                </a:lnTo>
                <a:lnTo>
                  <a:pt x="14570" y="353601"/>
                </a:lnTo>
                <a:lnTo>
                  <a:pt x="5248" y="397395"/>
                </a:lnTo>
                <a:lnTo>
                  <a:pt x="372" y="441799"/>
                </a:lnTo>
                <a:lnTo>
                  <a:pt x="0" y="486502"/>
                </a:lnTo>
                <a:lnTo>
                  <a:pt x="4184" y="531191"/>
                </a:lnTo>
                <a:lnTo>
                  <a:pt x="12983" y="575554"/>
                </a:lnTo>
                <a:lnTo>
                  <a:pt x="26450" y="619279"/>
                </a:lnTo>
                <a:lnTo>
                  <a:pt x="44641" y="662055"/>
                </a:lnTo>
                <a:lnTo>
                  <a:pt x="67612" y="703569"/>
                </a:lnTo>
                <a:lnTo>
                  <a:pt x="95418" y="743510"/>
                </a:lnTo>
                <a:lnTo>
                  <a:pt x="126259" y="779513"/>
                </a:lnTo>
                <a:lnTo>
                  <a:pt x="159906" y="811203"/>
                </a:lnTo>
                <a:lnTo>
                  <a:pt x="196052" y="838595"/>
                </a:lnTo>
                <a:lnTo>
                  <a:pt x="234393" y="861701"/>
                </a:lnTo>
                <a:lnTo>
                  <a:pt x="274624" y="880536"/>
                </a:lnTo>
                <a:lnTo>
                  <a:pt x="316439" y="895113"/>
                </a:lnTo>
                <a:lnTo>
                  <a:pt x="359532" y="905447"/>
                </a:lnTo>
                <a:lnTo>
                  <a:pt x="403599" y="911551"/>
                </a:lnTo>
                <a:lnTo>
                  <a:pt x="448334" y="913440"/>
                </a:lnTo>
                <a:lnTo>
                  <a:pt x="493432" y="911126"/>
                </a:lnTo>
                <a:lnTo>
                  <a:pt x="538588" y="904624"/>
                </a:lnTo>
                <a:lnTo>
                  <a:pt x="583497" y="893948"/>
                </a:lnTo>
                <a:lnTo>
                  <a:pt x="627852" y="879112"/>
                </a:lnTo>
                <a:lnTo>
                  <a:pt x="671349" y="860129"/>
                </a:lnTo>
                <a:lnTo>
                  <a:pt x="713683" y="837013"/>
                </a:lnTo>
                <a:lnTo>
                  <a:pt x="754548" y="809778"/>
                </a:lnTo>
                <a:lnTo>
                  <a:pt x="793638" y="780087"/>
                </a:lnTo>
                <a:lnTo>
                  <a:pt x="829063" y="747983"/>
                </a:lnTo>
                <a:lnTo>
                  <a:pt x="860711" y="713715"/>
                </a:lnTo>
                <a:lnTo>
                  <a:pt x="888471" y="677534"/>
                </a:lnTo>
                <a:lnTo>
                  <a:pt x="912231" y="639688"/>
                </a:lnTo>
                <a:lnTo>
                  <a:pt x="931880" y="600427"/>
                </a:lnTo>
                <a:lnTo>
                  <a:pt x="947306" y="560002"/>
                </a:lnTo>
                <a:lnTo>
                  <a:pt x="958399" y="518661"/>
                </a:lnTo>
                <a:lnTo>
                  <a:pt x="965045" y="476654"/>
                </a:lnTo>
                <a:lnTo>
                  <a:pt x="967135" y="434232"/>
                </a:lnTo>
                <a:lnTo>
                  <a:pt x="964556" y="391643"/>
                </a:lnTo>
                <a:lnTo>
                  <a:pt x="957198" y="349137"/>
                </a:lnTo>
                <a:lnTo>
                  <a:pt x="944948" y="306964"/>
                </a:lnTo>
                <a:lnTo>
                  <a:pt x="927696" y="265373"/>
                </a:lnTo>
                <a:lnTo>
                  <a:pt x="905330" y="224615"/>
                </a:lnTo>
                <a:lnTo>
                  <a:pt x="877738" y="184938"/>
                </a:lnTo>
                <a:lnTo>
                  <a:pt x="846735" y="148662"/>
                </a:lnTo>
                <a:lnTo>
                  <a:pt x="812629" y="116208"/>
                </a:lnTo>
                <a:lnTo>
                  <a:pt x="775760" y="87626"/>
                </a:lnTo>
                <a:lnTo>
                  <a:pt x="736466" y="62963"/>
                </a:lnTo>
                <a:lnTo>
                  <a:pt x="695089" y="42267"/>
                </a:lnTo>
                <a:lnTo>
                  <a:pt x="651968" y="25588"/>
                </a:lnTo>
                <a:lnTo>
                  <a:pt x="607444" y="12973"/>
                </a:lnTo>
                <a:lnTo>
                  <a:pt x="561857" y="4471"/>
                </a:lnTo>
                <a:lnTo>
                  <a:pt x="515546" y="131"/>
                </a:lnTo>
                <a:lnTo>
                  <a:pt x="468852" y="0"/>
                </a:lnTo>
                <a:close/>
              </a:path>
            </a:pathLst>
          </a:custGeom>
          <a:solidFill>
            <a:srgbClr val="FFFFFF"/>
          </a:solidFill>
        </p:spPr>
        <p:txBody>
          <a:bodyPr wrap="square" lIns="0" tIns="0" rIns="0" bIns="0" rtlCol="0"/>
          <a:lstStyle/>
          <a:p>
            <a:endParaRPr/>
          </a:p>
        </p:txBody>
      </p:sp>
      <p:sp>
        <p:nvSpPr>
          <p:cNvPr id="20" name="object 20"/>
          <p:cNvSpPr/>
          <p:nvPr/>
        </p:nvSpPr>
        <p:spPr>
          <a:xfrm>
            <a:off x="4296169" y="5355373"/>
            <a:ext cx="717123" cy="452206"/>
          </a:xfrm>
          <a:prstGeom prst="rect">
            <a:avLst/>
          </a:prstGeom>
          <a:blipFill>
            <a:blip r:embed="rId4" cstate="print"/>
            <a:stretch>
              <a:fillRect/>
            </a:stretch>
          </a:blipFill>
        </p:spPr>
        <p:txBody>
          <a:bodyPr wrap="square" lIns="0" tIns="0" rIns="0" bIns="0" rtlCol="0"/>
          <a:lstStyle/>
          <a:p>
            <a:endParaRPr/>
          </a:p>
        </p:txBody>
      </p:sp>
      <p:sp>
        <p:nvSpPr>
          <p:cNvPr id="21" name="object 21"/>
          <p:cNvSpPr/>
          <p:nvPr/>
        </p:nvSpPr>
        <p:spPr>
          <a:xfrm>
            <a:off x="4296169" y="5355373"/>
            <a:ext cx="717550" cy="452755"/>
          </a:xfrm>
          <a:custGeom>
            <a:avLst/>
            <a:gdLst/>
            <a:ahLst/>
            <a:cxnLst/>
            <a:rect l="l" t="t" r="r" b="b"/>
            <a:pathLst>
              <a:path w="717550" h="452754">
                <a:moveTo>
                  <a:pt x="64756" y="149060"/>
                </a:moveTo>
                <a:lnTo>
                  <a:pt x="67597" y="110896"/>
                </a:lnTo>
                <a:lnTo>
                  <a:pt x="86631" y="77781"/>
                </a:lnTo>
                <a:lnTo>
                  <a:pt x="118762" y="53191"/>
                </a:lnTo>
                <a:lnTo>
                  <a:pt x="160895" y="40602"/>
                </a:lnTo>
                <a:lnTo>
                  <a:pt x="179572" y="39758"/>
                </a:lnTo>
                <a:lnTo>
                  <a:pt x="198010" y="41570"/>
                </a:lnTo>
                <a:lnTo>
                  <a:pt x="215830" y="45977"/>
                </a:lnTo>
                <a:lnTo>
                  <a:pt x="232650" y="52921"/>
                </a:lnTo>
                <a:lnTo>
                  <a:pt x="255008" y="29587"/>
                </a:lnTo>
                <a:lnTo>
                  <a:pt x="285021" y="15884"/>
                </a:lnTo>
                <a:lnTo>
                  <a:pt x="318821" y="12827"/>
                </a:lnTo>
                <a:lnTo>
                  <a:pt x="352538" y="21425"/>
                </a:lnTo>
                <a:lnTo>
                  <a:pt x="360031" y="24854"/>
                </a:lnTo>
                <a:lnTo>
                  <a:pt x="367016" y="29299"/>
                </a:lnTo>
                <a:lnTo>
                  <a:pt x="373112" y="34379"/>
                </a:lnTo>
                <a:lnTo>
                  <a:pt x="390830" y="14886"/>
                </a:lnTo>
                <a:lnTo>
                  <a:pt x="415037" y="3121"/>
                </a:lnTo>
                <a:lnTo>
                  <a:pt x="442602" y="0"/>
                </a:lnTo>
                <a:lnTo>
                  <a:pt x="470394" y="6439"/>
                </a:lnTo>
                <a:lnTo>
                  <a:pt x="477575" y="10007"/>
                </a:lnTo>
                <a:lnTo>
                  <a:pt x="484221" y="14218"/>
                </a:lnTo>
                <a:lnTo>
                  <a:pt x="490271" y="19048"/>
                </a:lnTo>
                <a:lnTo>
                  <a:pt x="495667" y="24473"/>
                </a:lnTo>
                <a:lnTo>
                  <a:pt x="520823" y="7415"/>
                </a:lnTo>
                <a:lnTo>
                  <a:pt x="550610" y="216"/>
                </a:lnTo>
                <a:lnTo>
                  <a:pt x="581374" y="3113"/>
                </a:lnTo>
                <a:lnTo>
                  <a:pt x="609459" y="16345"/>
                </a:lnTo>
                <a:lnTo>
                  <a:pt x="619242" y="24854"/>
                </a:lnTo>
                <a:lnTo>
                  <a:pt x="627143" y="34601"/>
                </a:lnTo>
                <a:lnTo>
                  <a:pt x="632997" y="45348"/>
                </a:lnTo>
                <a:lnTo>
                  <a:pt x="636637" y="56858"/>
                </a:lnTo>
                <a:lnTo>
                  <a:pt x="668095" y="70429"/>
                </a:lnTo>
                <a:lnTo>
                  <a:pt x="690278" y="92561"/>
                </a:lnTo>
                <a:lnTo>
                  <a:pt x="701198" y="120241"/>
                </a:lnTo>
                <a:lnTo>
                  <a:pt x="698867" y="150457"/>
                </a:lnTo>
                <a:lnTo>
                  <a:pt x="697851" y="153759"/>
                </a:lnTo>
                <a:lnTo>
                  <a:pt x="696454" y="157188"/>
                </a:lnTo>
                <a:lnTo>
                  <a:pt x="694803" y="160363"/>
                </a:lnTo>
                <a:lnTo>
                  <a:pt x="714464" y="194861"/>
                </a:lnTo>
                <a:lnTo>
                  <a:pt x="703447" y="266953"/>
                </a:lnTo>
                <a:lnTo>
                  <a:pt x="674102" y="295872"/>
                </a:lnTo>
                <a:lnTo>
                  <a:pt x="635668" y="312345"/>
                </a:lnTo>
                <a:lnTo>
                  <a:pt x="621524" y="314884"/>
                </a:lnTo>
                <a:lnTo>
                  <a:pt x="613634" y="346919"/>
                </a:lnTo>
                <a:lnTo>
                  <a:pt x="592790" y="372977"/>
                </a:lnTo>
                <a:lnTo>
                  <a:pt x="562088" y="390429"/>
                </a:lnTo>
                <a:lnTo>
                  <a:pt x="524623" y="396646"/>
                </a:lnTo>
                <a:lnTo>
                  <a:pt x="511409" y="395778"/>
                </a:lnTo>
                <a:lnTo>
                  <a:pt x="498540" y="393374"/>
                </a:lnTo>
                <a:lnTo>
                  <a:pt x="486171" y="389483"/>
                </a:lnTo>
                <a:lnTo>
                  <a:pt x="474458" y="384149"/>
                </a:lnTo>
                <a:lnTo>
                  <a:pt x="453395" y="417917"/>
                </a:lnTo>
                <a:lnTo>
                  <a:pt x="420070" y="441295"/>
                </a:lnTo>
                <a:lnTo>
                  <a:pt x="378981" y="452206"/>
                </a:lnTo>
                <a:lnTo>
                  <a:pt x="334631" y="448577"/>
                </a:lnTo>
                <a:lnTo>
                  <a:pt x="316660" y="442403"/>
                </a:lnTo>
                <a:lnTo>
                  <a:pt x="300309" y="433741"/>
                </a:lnTo>
                <a:lnTo>
                  <a:pt x="285910" y="422811"/>
                </a:lnTo>
                <a:lnTo>
                  <a:pt x="273798" y="409829"/>
                </a:lnTo>
                <a:lnTo>
                  <a:pt x="225827" y="424542"/>
                </a:lnTo>
                <a:lnTo>
                  <a:pt x="176738" y="422343"/>
                </a:lnTo>
                <a:lnTo>
                  <a:pt x="132173" y="404444"/>
                </a:lnTo>
                <a:lnTo>
                  <a:pt x="97776" y="372059"/>
                </a:lnTo>
                <a:lnTo>
                  <a:pt x="97395" y="371399"/>
                </a:lnTo>
                <a:lnTo>
                  <a:pt x="96887" y="370738"/>
                </a:lnTo>
                <a:lnTo>
                  <a:pt x="96379" y="370078"/>
                </a:lnTo>
                <a:lnTo>
                  <a:pt x="67762" y="368050"/>
                </a:lnTo>
                <a:lnTo>
                  <a:pt x="43086" y="357149"/>
                </a:lnTo>
                <a:lnTo>
                  <a:pt x="24959" y="339124"/>
                </a:lnTo>
                <a:lnTo>
                  <a:pt x="15988" y="315722"/>
                </a:lnTo>
                <a:lnTo>
                  <a:pt x="15912" y="302195"/>
                </a:lnTo>
                <a:lnTo>
                  <a:pt x="19194" y="289119"/>
                </a:lnTo>
                <a:lnTo>
                  <a:pt x="25667" y="276942"/>
                </a:lnTo>
                <a:lnTo>
                  <a:pt x="35165" y="266116"/>
                </a:lnTo>
                <a:lnTo>
                  <a:pt x="13775" y="249633"/>
                </a:lnTo>
                <a:lnTo>
                  <a:pt x="1779" y="228103"/>
                </a:lnTo>
                <a:lnTo>
                  <a:pt x="0" y="204285"/>
                </a:lnTo>
                <a:lnTo>
                  <a:pt x="9257" y="180937"/>
                </a:lnTo>
                <a:lnTo>
                  <a:pt x="19544" y="169227"/>
                </a:lnTo>
                <a:lnTo>
                  <a:pt x="32498" y="160029"/>
                </a:lnTo>
                <a:lnTo>
                  <a:pt x="47547" y="153666"/>
                </a:lnTo>
                <a:lnTo>
                  <a:pt x="64121" y="150457"/>
                </a:lnTo>
                <a:lnTo>
                  <a:pt x="64756" y="149060"/>
                </a:lnTo>
                <a:close/>
              </a:path>
            </a:pathLst>
          </a:custGeom>
          <a:ln w="6096">
            <a:solidFill>
              <a:srgbClr val="12ABDB"/>
            </a:solidFill>
          </a:ln>
        </p:spPr>
        <p:txBody>
          <a:bodyPr wrap="square" lIns="0" tIns="0" rIns="0" bIns="0" rtlCol="0"/>
          <a:lstStyle/>
          <a:p>
            <a:endParaRPr/>
          </a:p>
        </p:txBody>
      </p:sp>
      <p:sp>
        <p:nvSpPr>
          <p:cNvPr id="22" name="object 22"/>
          <p:cNvSpPr/>
          <p:nvPr/>
        </p:nvSpPr>
        <p:spPr>
          <a:xfrm>
            <a:off x="4332096" y="5619724"/>
            <a:ext cx="42545" cy="8890"/>
          </a:xfrm>
          <a:custGeom>
            <a:avLst/>
            <a:gdLst/>
            <a:ahLst/>
            <a:cxnLst/>
            <a:rect l="l" t="t" r="r" b="b"/>
            <a:pathLst>
              <a:path w="42545" h="8889">
                <a:moveTo>
                  <a:pt x="42037" y="8356"/>
                </a:moveTo>
                <a:lnTo>
                  <a:pt x="31039" y="8372"/>
                </a:lnTo>
                <a:lnTo>
                  <a:pt x="20256" y="6959"/>
                </a:lnTo>
                <a:lnTo>
                  <a:pt x="9854" y="4156"/>
                </a:lnTo>
                <a:lnTo>
                  <a:pt x="0" y="0"/>
                </a:lnTo>
              </a:path>
            </a:pathLst>
          </a:custGeom>
          <a:ln w="6096">
            <a:solidFill>
              <a:srgbClr val="12ABDB"/>
            </a:solidFill>
          </a:ln>
        </p:spPr>
        <p:txBody>
          <a:bodyPr wrap="square" lIns="0" tIns="0" rIns="0" bIns="0" rtlCol="0"/>
          <a:lstStyle/>
          <a:p>
            <a:endParaRPr/>
          </a:p>
        </p:txBody>
      </p:sp>
      <p:sp>
        <p:nvSpPr>
          <p:cNvPr id="23" name="object 23"/>
          <p:cNvSpPr/>
          <p:nvPr/>
        </p:nvSpPr>
        <p:spPr>
          <a:xfrm>
            <a:off x="4392803" y="5719470"/>
            <a:ext cx="18415" cy="4445"/>
          </a:xfrm>
          <a:custGeom>
            <a:avLst/>
            <a:gdLst/>
            <a:ahLst/>
            <a:cxnLst/>
            <a:rect l="l" t="t" r="r" b="b"/>
            <a:pathLst>
              <a:path w="18414" h="4445">
                <a:moveTo>
                  <a:pt x="18414" y="0"/>
                </a:moveTo>
                <a:lnTo>
                  <a:pt x="12573" y="2019"/>
                </a:lnTo>
                <a:lnTo>
                  <a:pt x="6350" y="3352"/>
                </a:lnTo>
                <a:lnTo>
                  <a:pt x="0" y="3987"/>
                </a:lnTo>
              </a:path>
            </a:pathLst>
          </a:custGeom>
          <a:ln w="6096">
            <a:solidFill>
              <a:srgbClr val="12ABDB"/>
            </a:solidFill>
          </a:ln>
        </p:spPr>
        <p:txBody>
          <a:bodyPr wrap="square" lIns="0" tIns="0" rIns="0" bIns="0" rtlCol="0"/>
          <a:lstStyle/>
          <a:p>
            <a:endParaRPr/>
          </a:p>
        </p:txBody>
      </p:sp>
      <p:sp>
        <p:nvSpPr>
          <p:cNvPr id="24" name="object 24"/>
          <p:cNvSpPr/>
          <p:nvPr/>
        </p:nvSpPr>
        <p:spPr>
          <a:xfrm>
            <a:off x="4558919" y="5745149"/>
            <a:ext cx="11430" cy="18415"/>
          </a:xfrm>
          <a:custGeom>
            <a:avLst/>
            <a:gdLst/>
            <a:ahLst/>
            <a:cxnLst/>
            <a:rect l="l" t="t" r="r" b="b"/>
            <a:pathLst>
              <a:path w="11429" h="18414">
                <a:moveTo>
                  <a:pt x="11048" y="18224"/>
                </a:moveTo>
                <a:lnTo>
                  <a:pt x="6603" y="12509"/>
                </a:lnTo>
                <a:lnTo>
                  <a:pt x="2920" y="6400"/>
                </a:lnTo>
                <a:lnTo>
                  <a:pt x="0" y="0"/>
                </a:lnTo>
              </a:path>
            </a:pathLst>
          </a:custGeom>
          <a:ln w="6096">
            <a:solidFill>
              <a:srgbClr val="12ABDB"/>
            </a:solidFill>
          </a:ln>
        </p:spPr>
        <p:txBody>
          <a:bodyPr wrap="square" lIns="0" tIns="0" rIns="0" bIns="0" rtlCol="0"/>
          <a:lstStyle/>
          <a:p>
            <a:endParaRPr/>
          </a:p>
        </p:txBody>
      </p:sp>
      <p:sp>
        <p:nvSpPr>
          <p:cNvPr id="25" name="object 25"/>
          <p:cNvSpPr/>
          <p:nvPr/>
        </p:nvSpPr>
        <p:spPr>
          <a:xfrm>
            <a:off x="4770754" y="5717921"/>
            <a:ext cx="4445" cy="20320"/>
          </a:xfrm>
          <a:custGeom>
            <a:avLst/>
            <a:gdLst/>
            <a:ahLst/>
            <a:cxnLst/>
            <a:rect l="l" t="t" r="r" b="b"/>
            <a:pathLst>
              <a:path w="4445" h="20320">
                <a:moveTo>
                  <a:pt x="4445" y="0"/>
                </a:moveTo>
                <a:lnTo>
                  <a:pt x="3683" y="6781"/>
                </a:lnTo>
                <a:lnTo>
                  <a:pt x="2286" y="13487"/>
                </a:lnTo>
                <a:lnTo>
                  <a:pt x="0" y="20002"/>
                </a:lnTo>
              </a:path>
            </a:pathLst>
          </a:custGeom>
          <a:ln w="6096">
            <a:solidFill>
              <a:srgbClr val="12ABDB"/>
            </a:solidFill>
          </a:ln>
        </p:spPr>
        <p:txBody>
          <a:bodyPr wrap="square" lIns="0" tIns="0" rIns="0" bIns="0" rtlCol="0"/>
          <a:lstStyle/>
          <a:p>
            <a:endParaRPr/>
          </a:p>
        </p:txBody>
      </p:sp>
      <p:sp>
        <p:nvSpPr>
          <p:cNvPr id="26" name="object 26"/>
          <p:cNvSpPr/>
          <p:nvPr/>
        </p:nvSpPr>
        <p:spPr>
          <a:xfrm>
            <a:off x="4863210" y="5594312"/>
            <a:ext cx="54610" cy="74930"/>
          </a:xfrm>
          <a:custGeom>
            <a:avLst/>
            <a:gdLst/>
            <a:ahLst/>
            <a:cxnLst/>
            <a:rect l="l" t="t" r="r" b="b"/>
            <a:pathLst>
              <a:path w="54610" h="74929">
                <a:moveTo>
                  <a:pt x="0" y="0"/>
                </a:moveTo>
                <a:lnTo>
                  <a:pt x="22526" y="13082"/>
                </a:lnTo>
                <a:lnTo>
                  <a:pt x="39624" y="30686"/>
                </a:lnTo>
                <a:lnTo>
                  <a:pt x="50434" y="51638"/>
                </a:lnTo>
                <a:lnTo>
                  <a:pt x="54101" y="74764"/>
                </a:lnTo>
              </a:path>
            </a:pathLst>
          </a:custGeom>
          <a:ln w="6096">
            <a:solidFill>
              <a:srgbClr val="12ABDB"/>
            </a:solidFill>
          </a:ln>
        </p:spPr>
        <p:txBody>
          <a:bodyPr wrap="square" lIns="0" tIns="0" rIns="0" bIns="0" rtlCol="0"/>
          <a:lstStyle/>
          <a:p>
            <a:endParaRPr/>
          </a:p>
        </p:txBody>
      </p:sp>
      <p:sp>
        <p:nvSpPr>
          <p:cNvPr id="27" name="object 27"/>
          <p:cNvSpPr/>
          <p:nvPr/>
        </p:nvSpPr>
        <p:spPr>
          <a:xfrm>
            <a:off x="4966589" y="5514721"/>
            <a:ext cx="24130" cy="27940"/>
          </a:xfrm>
          <a:custGeom>
            <a:avLst/>
            <a:gdLst/>
            <a:ahLst/>
            <a:cxnLst/>
            <a:rect l="l" t="t" r="r" b="b"/>
            <a:pathLst>
              <a:path w="24129" h="27939">
                <a:moveTo>
                  <a:pt x="24130" y="0"/>
                </a:moveTo>
                <a:lnTo>
                  <a:pt x="19520" y="7848"/>
                </a:lnTo>
                <a:lnTo>
                  <a:pt x="13922" y="15160"/>
                </a:lnTo>
                <a:lnTo>
                  <a:pt x="7395" y="21877"/>
                </a:lnTo>
                <a:lnTo>
                  <a:pt x="0" y="27939"/>
                </a:lnTo>
              </a:path>
            </a:pathLst>
          </a:custGeom>
          <a:ln w="6096">
            <a:solidFill>
              <a:srgbClr val="12ABDB"/>
            </a:solidFill>
          </a:ln>
        </p:spPr>
        <p:txBody>
          <a:bodyPr wrap="square" lIns="0" tIns="0" rIns="0" bIns="0" rtlCol="0"/>
          <a:lstStyle/>
          <a:p>
            <a:endParaRPr/>
          </a:p>
        </p:txBody>
      </p:sp>
      <p:sp>
        <p:nvSpPr>
          <p:cNvPr id="28" name="object 28"/>
          <p:cNvSpPr/>
          <p:nvPr/>
        </p:nvSpPr>
        <p:spPr>
          <a:xfrm>
            <a:off x="4932934" y="5410708"/>
            <a:ext cx="1905" cy="13335"/>
          </a:xfrm>
          <a:custGeom>
            <a:avLst/>
            <a:gdLst/>
            <a:ahLst/>
            <a:cxnLst/>
            <a:rect l="l" t="t" r="r" b="b"/>
            <a:pathLst>
              <a:path w="1904" h="13335">
                <a:moveTo>
                  <a:pt x="0" y="0"/>
                </a:moveTo>
                <a:lnTo>
                  <a:pt x="888" y="4317"/>
                </a:lnTo>
                <a:lnTo>
                  <a:pt x="1396" y="8762"/>
                </a:lnTo>
                <a:lnTo>
                  <a:pt x="1269" y="13207"/>
                </a:lnTo>
              </a:path>
            </a:pathLst>
          </a:custGeom>
          <a:ln w="6096">
            <a:solidFill>
              <a:srgbClr val="12ABDB"/>
            </a:solidFill>
          </a:ln>
        </p:spPr>
        <p:txBody>
          <a:bodyPr wrap="square" lIns="0" tIns="0" rIns="0" bIns="0" rtlCol="0"/>
          <a:lstStyle/>
          <a:p>
            <a:endParaRPr/>
          </a:p>
        </p:txBody>
      </p:sp>
      <p:sp>
        <p:nvSpPr>
          <p:cNvPr id="29" name="object 29"/>
          <p:cNvSpPr/>
          <p:nvPr/>
        </p:nvSpPr>
        <p:spPr>
          <a:xfrm>
            <a:off x="4779264" y="5378322"/>
            <a:ext cx="12700" cy="17145"/>
          </a:xfrm>
          <a:custGeom>
            <a:avLst/>
            <a:gdLst/>
            <a:ahLst/>
            <a:cxnLst/>
            <a:rect l="l" t="t" r="r" b="b"/>
            <a:pathLst>
              <a:path w="12700" h="17145">
                <a:moveTo>
                  <a:pt x="0" y="16890"/>
                </a:moveTo>
                <a:lnTo>
                  <a:pt x="3175" y="10794"/>
                </a:lnTo>
                <a:lnTo>
                  <a:pt x="7365" y="5079"/>
                </a:lnTo>
                <a:lnTo>
                  <a:pt x="12319" y="0"/>
                </a:lnTo>
              </a:path>
            </a:pathLst>
          </a:custGeom>
          <a:ln w="6096">
            <a:solidFill>
              <a:srgbClr val="12ABDB"/>
            </a:solidFill>
          </a:ln>
        </p:spPr>
        <p:txBody>
          <a:bodyPr wrap="square" lIns="0" tIns="0" rIns="0" bIns="0" rtlCol="0"/>
          <a:lstStyle/>
          <a:p>
            <a:endParaRPr/>
          </a:p>
        </p:txBody>
      </p:sp>
      <p:sp>
        <p:nvSpPr>
          <p:cNvPr id="30" name="object 30"/>
          <p:cNvSpPr/>
          <p:nvPr/>
        </p:nvSpPr>
        <p:spPr>
          <a:xfrm>
            <a:off x="4664075" y="5388736"/>
            <a:ext cx="6350" cy="14604"/>
          </a:xfrm>
          <a:custGeom>
            <a:avLst/>
            <a:gdLst/>
            <a:ahLst/>
            <a:cxnLst/>
            <a:rect l="l" t="t" r="r" b="b"/>
            <a:pathLst>
              <a:path w="6350" h="14604">
                <a:moveTo>
                  <a:pt x="0" y="14478"/>
                </a:moveTo>
                <a:lnTo>
                  <a:pt x="1270" y="9525"/>
                </a:lnTo>
                <a:lnTo>
                  <a:pt x="3301" y="4571"/>
                </a:lnTo>
                <a:lnTo>
                  <a:pt x="5969" y="0"/>
                </a:lnTo>
              </a:path>
            </a:pathLst>
          </a:custGeom>
          <a:ln w="6096">
            <a:solidFill>
              <a:srgbClr val="12ABDB"/>
            </a:solidFill>
          </a:ln>
        </p:spPr>
        <p:txBody>
          <a:bodyPr wrap="square" lIns="0" tIns="0" rIns="0" bIns="0" rtlCol="0"/>
          <a:lstStyle/>
          <a:p>
            <a:endParaRPr/>
          </a:p>
        </p:txBody>
      </p:sp>
      <p:sp>
        <p:nvSpPr>
          <p:cNvPr id="31" name="object 31"/>
          <p:cNvSpPr/>
          <p:nvPr/>
        </p:nvSpPr>
        <p:spPr>
          <a:xfrm>
            <a:off x="4528820" y="5408167"/>
            <a:ext cx="21590" cy="14604"/>
          </a:xfrm>
          <a:custGeom>
            <a:avLst/>
            <a:gdLst/>
            <a:ahLst/>
            <a:cxnLst/>
            <a:rect l="l" t="t" r="r" b="b"/>
            <a:pathLst>
              <a:path w="21589" h="14604">
                <a:moveTo>
                  <a:pt x="0" y="0"/>
                </a:moveTo>
                <a:lnTo>
                  <a:pt x="5713" y="3115"/>
                </a:lnTo>
                <a:lnTo>
                  <a:pt x="11223" y="6540"/>
                </a:lnTo>
                <a:lnTo>
                  <a:pt x="16519" y="10251"/>
                </a:lnTo>
                <a:lnTo>
                  <a:pt x="21589" y="14223"/>
                </a:lnTo>
              </a:path>
            </a:pathLst>
          </a:custGeom>
          <a:ln w="6096">
            <a:solidFill>
              <a:srgbClr val="12ABDB"/>
            </a:solidFill>
          </a:ln>
        </p:spPr>
        <p:txBody>
          <a:bodyPr wrap="square" lIns="0" tIns="0" rIns="0" bIns="0" rtlCol="0"/>
          <a:lstStyle/>
          <a:p>
            <a:endParaRPr/>
          </a:p>
        </p:txBody>
      </p:sp>
      <p:sp>
        <p:nvSpPr>
          <p:cNvPr id="32" name="object 32"/>
          <p:cNvSpPr/>
          <p:nvPr/>
        </p:nvSpPr>
        <p:spPr>
          <a:xfrm>
            <a:off x="4360926" y="5504434"/>
            <a:ext cx="3810" cy="15240"/>
          </a:xfrm>
          <a:custGeom>
            <a:avLst/>
            <a:gdLst/>
            <a:ahLst/>
            <a:cxnLst/>
            <a:rect l="l" t="t" r="r" b="b"/>
            <a:pathLst>
              <a:path w="3810" h="15239">
                <a:moveTo>
                  <a:pt x="3810" y="14858"/>
                </a:moveTo>
                <a:lnTo>
                  <a:pt x="2032" y="9905"/>
                </a:lnTo>
                <a:lnTo>
                  <a:pt x="888" y="4952"/>
                </a:lnTo>
                <a:lnTo>
                  <a:pt x="0" y="0"/>
                </a:lnTo>
              </a:path>
            </a:pathLst>
          </a:custGeom>
          <a:ln w="6096">
            <a:solidFill>
              <a:srgbClr val="12ABDB"/>
            </a:solidFill>
          </a:ln>
        </p:spPr>
        <p:txBody>
          <a:bodyPr wrap="square" lIns="0" tIns="0" rIns="0" bIns="0" rtlCol="0"/>
          <a:lstStyle/>
          <a:p>
            <a:endParaRPr/>
          </a:p>
        </p:txBody>
      </p:sp>
      <p:sp>
        <p:nvSpPr>
          <p:cNvPr id="33" name="object 33"/>
          <p:cNvSpPr/>
          <p:nvPr/>
        </p:nvSpPr>
        <p:spPr>
          <a:xfrm>
            <a:off x="4296155" y="5295900"/>
            <a:ext cx="553720" cy="251460"/>
          </a:xfrm>
          <a:custGeom>
            <a:avLst/>
            <a:gdLst/>
            <a:ahLst/>
            <a:cxnLst/>
            <a:rect l="l" t="t" r="r" b="b"/>
            <a:pathLst>
              <a:path w="553720" h="251460">
                <a:moveTo>
                  <a:pt x="0" y="251459"/>
                </a:moveTo>
                <a:lnTo>
                  <a:pt x="553212" y="251459"/>
                </a:lnTo>
                <a:lnTo>
                  <a:pt x="553212" y="0"/>
                </a:lnTo>
                <a:lnTo>
                  <a:pt x="0" y="0"/>
                </a:lnTo>
                <a:lnTo>
                  <a:pt x="0" y="251459"/>
                </a:lnTo>
                <a:close/>
              </a:path>
            </a:pathLst>
          </a:custGeom>
          <a:solidFill>
            <a:srgbClr val="FFFFFF"/>
          </a:solidFill>
        </p:spPr>
        <p:txBody>
          <a:bodyPr wrap="square" lIns="0" tIns="0" rIns="0" bIns="0" rtlCol="0"/>
          <a:lstStyle/>
          <a:p>
            <a:endParaRPr/>
          </a:p>
        </p:txBody>
      </p:sp>
      <p:sp>
        <p:nvSpPr>
          <p:cNvPr id="34" name="object 34"/>
          <p:cNvSpPr/>
          <p:nvPr/>
        </p:nvSpPr>
        <p:spPr>
          <a:xfrm>
            <a:off x="4383023" y="5465064"/>
            <a:ext cx="65532" cy="67056"/>
          </a:xfrm>
          <a:prstGeom prst="rect">
            <a:avLst/>
          </a:prstGeom>
          <a:blipFill>
            <a:blip r:embed="rId5" cstate="print"/>
            <a:stretch>
              <a:fillRect/>
            </a:stretch>
          </a:blipFill>
        </p:spPr>
        <p:txBody>
          <a:bodyPr wrap="square" lIns="0" tIns="0" rIns="0" bIns="0" rtlCol="0"/>
          <a:lstStyle/>
          <a:p>
            <a:endParaRPr/>
          </a:p>
        </p:txBody>
      </p:sp>
      <p:sp>
        <p:nvSpPr>
          <p:cNvPr id="35" name="object 35"/>
          <p:cNvSpPr/>
          <p:nvPr/>
        </p:nvSpPr>
        <p:spPr>
          <a:xfrm>
            <a:off x="4383023" y="5465064"/>
            <a:ext cx="66040" cy="67310"/>
          </a:xfrm>
          <a:custGeom>
            <a:avLst/>
            <a:gdLst/>
            <a:ahLst/>
            <a:cxnLst/>
            <a:rect l="l" t="t" r="r" b="b"/>
            <a:pathLst>
              <a:path w="66039" h="67310">
                <a:moveTo>
                  <a:pt x="0" y="67056"/>
                </a:moveTo>
                <a:lnTo>
                  <a:pt x="65532" y="67056"/>
                </a:lnTo>
                <a:lnTo>
                  <a:pt x="65532" y="0"/>
                </a:lnTo>
                <a:lnTo>
                  <a:pt x="0" y="0"/>
                </a:lnTo>
                <a:lnTo>
                  <a:pt x="0" y="67056"/>
                </a:lnTo>
                <a:close/>
              </a:path>
            </a:pathLst>
          </a:custGeom>
          <a:ln w="6096">
            <a:solidFill>
              <a:srgbClr val="12ABDB"/>
            </a:solidFill>
          </a:ln>
        </p:spPr>
        <p:txBody>
          <a:bodyPr wrap="square" lIns="0" tIns="0" rIns="0" bIns="0" rtlCol="0"/>
          <a:lstStyle/>
          <a:p>
            <a:endParaRPr/>
          </a:p>
        </p:txBody>
      </p:sp>
      <p:sp>
        <p:nvSpPr>
          <p:cNvPr id="36" name="object 36"/>
          <p:cNvSpPr/>
          <p:nvPr/>
        </p:nvSpPr>
        <p:spPr>
          <a:xfrm>
            <a:off x="4469891" y="5465064"/>
            <a:ext cx="65532" cy="67056"/>
          </a:xfrm>
          <a:prstGeom prst="rect">
            <a:avLst/>
          </a:prstGeom>
          <a:blipFill>
            <a:blip r:embed="rId6" cstate="print"/>
            <a:stretch>
              <a:fillRect/>
            </a:stretch>
          </a:blipFill>
        </p:spPr>
        <p:txBody>
          <a:bodyPr wrap="square" lIns="0" tIns="0" rIns="0" bIns="0" rtlCol="0"/>
          <a:lstStyle/>
          <a:p>
            <a:endParaRPr/>
          </a:p>
        </p:txBody>
      </p:sp>
      <p:sp>
        <p:nvSpPr>
          <p:cNvPr id="37" name="object 37"/>
          <p:cNvSpPr/>
          <p:nvPr/>
        </p:nvSpPr>
        <p:spPr>
          <a:xfrm>
            <a:off x="4469891" y="5465064"/>
            <a:ext cx="66040" cy="67310"/>
          </a:xfrm>
          <a:custGeom>
            <a:avLst/>
            <a:gdLst/>
            <a:ahLst/>
            <a:cxnLst/>
            <a:rect l="l" t="t" r="r" b="b"/>
            <a:pathLst>
              <a:path w="66039" h="67310">
                <a:moveTo>
                  <a:pt x="0" y="67056"/>
                </a:moveTo>
                <a:lnTo>
                  <a:pt x="65532" y="67056"/>
                </a:lnTo>
                <a:lnTo>
                  <a:pt x="65532" y="0"/>
                </a:lnTo>
                <a:lnTo>
                  <a:pt x="0" y="0"/>
                </a:lnTo>
                <a:lnTo>
                  <a:pt x="0" y="67056"/>
                </a:lnTo>
                <a:close/>
              </a:path>
            </a:pathLst>
          </a:custGeom>
          <a:ln w="6096">
            <a:solidFill>
              <a:srgbClr val="12ABDB"/>
            </a:solidFill>
          </a:ln>
        </p:spPr>
        <p:txBody>
          <a:bodyPr wrap="square" lIns="0" tIns="0" rIns="0" bIns="0" rtlCol="0"/>
          <a:lstStyle/>
          <a:p>
            <a:endParaRPr/>
          </a:p>
        </p:txBody>
      </p:sp>
      <p:sp>
        <p:nvSpPr>
          <p:cNvPr id="38" name="object 38"/>
          <p:cNvSpPr/>
          <p:nvPr/>
        </p:nvSpPr>
        <p:spPr>
          <a:xfrm>
            <a:off x="4556759" y="5465064"/>
            <a:ext cx="65532" cy="67056"/>
          </a:xfrm>
          <a:prstGeom prst="rect">
            <a:avLst/>
          </a:prstGeom>
          <a:blipFill>
            <a:blip r:embed="rId7" cstate="print"/>
            <a:stretch>
              <a:fillRect/>
            </a:stretch>
          </a:blipFill>
        </p:spPr>
        <p:txBody>
          <a:bodyPr wrap="square" lIns="0" tIns="0" rIns="0" bIns="0" rtlCol="0"/>
          <a:lstStyle/>
          <a:p>
            <a:endParaRPr/>
          </a:p>
        </p:txBody>
      </p:sp>
      <p:sp>
        <p:nvSpPr>
          <p:cNvPr id="39" name="object 39"/>
          <p:cNvSpPr/>
          <p:nvPr/>
        </p:nvSpPr>
        <p:spPr>
          <a:xfrm>
            <a:off x="4556759" y="5465064"/>
            <a:ext cx="66040" cy="67310"/>
          </a:xfrm>
          <a:custGeom>
            <a:avLst/>
            <a:gdLst/>
            <a:ahLst/>
            <a:cxnLst/>
            <a:rect l="l" t="t" r="r" b="b"/>
            <a:pathLst>
              <a:path w="66039" h="67310">
                <a:moveTo>
                  <a:pt x="0" y="67056"/>
                </a:moveTo>
                <a:lnTo>
                  <a:pt x="65532" y="67056"/>
                </a:lnTo>
                <a:lnTo>
                  <a:pt x="65532" y="0"/>
                </a:lnTo>
                <a:lnTo>
                  <a:pt x="0" y="0"/>
                </a:lnTo>
                <a:lnTo>
                  <a:pt x="0" y="67056"/>
                </a:lnTo>
                <a:close/>
              </a:path>
            </a:pathLst>
          </a:custGeom>
          <a:ln w="6096">
            <a:solidFill>
              <a:srgbClr val="12ABDB"/>
            </a:solidFill>
          </a:ln>
        </p:spPr>
        <p:txBody>
          <a:bodyPr wrap="square" lIns="0" tIns="0" rIns="0" bIns="0" rtlCol="0"/>
          <a:lstStyle/>
          <a:p>
            <a:endParaRPr/>
          </a:p>
        </p:txBody>
      </p:sp>
      <p:sp>
        <p:nvSpPr>
          <p:cNvPr id="40" name="object 40"/>
          <p:cNvSpPr/>
          <p:nvPr/>
        </p:nvSpPr>
        <p:spPr>
          <a:xfrm>
            <a:off x="4642103" y="5465064"/>
            <a:ext cx="67055" cy="67056"/>
          </a:xfrm>
          <a:prstGeom prst="rect">
            <a:avLst/>
          </a:prstGeom>
          <a:blipFill>
            <a:blip r:embed="rId8" cstate="print"/>
            <a:stretch>
              <a:fillRect/>
            </a:stretch>
          </a:blipFill>
        </p:spPr>
        <p:txBody>
          <a:bodyPr wrap="square" lIns="0" tIns="0" rIns="0" bIns="0" rtlCol="0"/>
          <a:lstStyle/>
          <a:p>
            <a:endParaRPr/>
          </a:p>
        </p:txBody>
      </p:sp>
      <p:sp>
        <p:nvSpPr>
          <p:cNvPr id="41" name="object 41"/>
          <p:cNvSpPr/>
          <p:nvPr/>
        </p:nvSpPr>
        <p:spPr>
          <a:xfrm>
            <a:off x="4642103" y="5465064"/>
            <a:ext cx="67310" cy="67310"/>
          </a:xfrm>
          <a:custGeom>
            <a:avLst/>
            <a:gdLst/>
            <a:ahLst/>
            <a:cxnLst/>
            <a:rect l="l" t="t" r="r" b="b"/>
            <a:pathLst>
              <a:path w="67310" h="67310">
                <a:moveTo>
                  <a:pt x="0" y="67056"/>
                </a:moveTo>
                <a:lnTo>
                  <a:pt x="67055" y="67056"/>
                </a:lnTo>
                <a:lnTo>
                  <a:pt x="67055" y="0"/>
                </a:lnTo>
                <a:lnTo>
                  <a:pt x="0" y="0"/>
                </a:lnTo>
                <a:lnTo>
                  <a:pt x="0" y="67056"/>
                </a:lnTo>
                <a:close/>
              </a:path>
            </a:pathLst>
          </a:custGeom>
          <a:ln w="6096">
            <a:solidFill>
              <a:srgbClr val="12ABDB"/>
            </a:solidFill>
          </a:ln>
        </p:spPr>
        <p:txBody>
          <a:bodyPr wrap="square" lIns="0" tIns="0" rIns="0" bIns="0" rtlCol="0"/>
          <a:lstStyle/>
          <a:p>
            <a:endParaRPr/>
          </a:p>
        </p:txBody>
      </p:sp>
      <p:sp>
        <p:nvSpPr>
          <p:cNvPr id="42" name="object 42"/>
          <p:cNvSpPr/>
          <p:nvPr/>
        </p:nvSpPr>
        <p:spPr>
          <a:xfrm>
            <a:off x="4728971" y="5465064"/>
            <a:ext cx="67055" cy="67056"/>
          </a:xfrm>
          <a:prstGeom prst="rect">
            <a:avLst/>
          </a:prstGeom>
          <a:blipFill>
            <a:blip r:embed="rId9" cstate="print"/>
            <a:stretch>
              <a:fillRect/>
            </a:stretch>
          </a:blipFill>
        </p:spPr>
        <p:txBody>
          <a:bodyPr wrap="square" lIns="0" tIns="0" rIns="0" bIns="0" rtlCol="0"/>
          <a:lstStyle/>
          <a:p>
            <a:endParaRPr/>
          </a:p>
        </p:txBody>
      </p:sp>
      <p:sp>
        <p:nvSpPr>
          <p:cNvPr id="43" name="object 43"/>
          <p:cNvSpPr/>
          <p:nvPr/>
        </p:nvSpPr>
        <p:spPr>
          <a:xfrm>
            <a:off x="4728971" y="5465064"/>
            <a:ext cx="67310" cy="67310"/>
          </a:xfrm>
          <a:custGeom>
            <a:avLst/>
            <a:gdLst/>
            <a:ahLst/>
            <a:cxnLst/>
            <a:rect l="l" t="t" r="r" b="b"/>
            <a:pathLst>
              <a:path w="67310" h="67310">
                <a:moveTo>
                  <a:pt x="0" y="67056"/>
                </a:moveTo>
                <a:lnTo>
                  <a:pt x="67055" y="67056"/>
                </a:lnTo>
                <a:lnTo>
                  <a:pt x="67055" y="0"/>
                </a:lnTo>
                <a:lnTo>
                  <a:pt x="0" y="0"/>
                </a:lnTo>
                <a:lnTo>
                  <a:pt x="0" y="67056"/>
                </a:lnTo>
                <a:close/>
              </a:path>
            </a:pathLst>
          </a:custGeom>
          <a:ln w="6096">
            <a:solidFill>
              <a:srgbClr val="12ABDB"/>
            </a:solidFill>
          </a:ln>
        </p:spPr>
        <p:txBody>
          <a:bodyPr wrap="square" lIns="0" tIns="0" rIns="0" bIns="0" rtlCol="0"/>
          <a:lstStyle/>
          <a:p>
            <a:endParaRPr/>
          </a:p>
        </p:txBody>
      </p:sp>
      <p:sp>
        <p:nvSpPr>
          <p:cNvPr id="44" name="object 44"/>
          <p:cNvSpPr/>
          <p:nvPr/>
        </p:nvSpPr>
        <p:spPr>
          <a:xfrm>
            <a:off x="4469891" y="5384291"/>
            <a:ext cx="65532" cy="65531"/>
          </a:xfrm>
          <a:prstGeom prst="rect">
            <a:avLst/>
          </a:prstGeom>
          <a:blipFill>
            <a:blip r:embed="rId10" cstate="print"/>
            <a:stretch>
              <a:fillRect/>
            </a:stretch>
          </a:blipFill>
        </p:spPr>
        <p:txBody>
          <a:bodyPr wrap="square" lIns="0" tIns="0" rIns="0" bIns="0" rtlCol="0"/>
          <a:lstStyle/>
          <a:p>
            <a:endParaRPr/>
          </a:p>
        </p:txBody>
      </p:sp>
      <p:sp>
        <p:nvSpPr>
          <p:cNvPr id="45" name="object 45"/>
          <p:cNvSpPr/>
          <p:nvPr/>
        </p:nvSpPr>
        <p:spPr>
          <a:xfrm>
            <a:off x="4469891" y="5384291"/>
            <a:ext cx="66040" cy="66040"/>
          </a:xfrm>
          <a:custGeom>
            <a:avLst/>
            <a:gdLst/>
            <a:ahLst/>
            <a:cxnLst/>
            <a:rect l="l" t="t" r="r" b="b"/>
            <a:pathLst>
              <a:path w="66039" h="66039">
                <a:moveTo>
                  <a:pt x="0" y="65531"/>
                </a:moveTo>
                <a:lnTo>
                  <a:pt x="65532" y="65531"/>
                </a:lnTo>
                <a:lnTo>
                  <a:pt x="65532" y="0"/>
                </a:lnTo>
                <a:lnTo>
                  <a:pt x="0" y="0"/>
                </a:lnTo>
                <a:lnTo>
                  <a:pt x="0" y="65531"/>
                </a:lnTo>
                <a:close/>
              </a:path>
            </a:pathLst>
          </a:custGeom>
          <a:ln w="6096">
            <a:solidFill>
              <a:srgbClr val="12ABDB"/>
            </a:solidFill>
          </a:ln>
        </p:spPr>
        <p:txBody>
          <a:bodyPr wrap="square" lIns="0" tIns="0" rIns="0" bIns="0" rtlCol="0"/>
          <a:lstStyle/>
          <a:p>
            <a:endParaRPr/>
          </a:p>
        </p:txBody>
      </p:sp>
      <p:sp>
        <p:nvSpPr>
          <p:cNvPr id="46" name="object 46"/>
          <p:cNvSpPr/>
          <p:nvPr/>
        </p:nvSpPr>
        <p:spPr>
          <a:xfrm>
            <a:off x="4556759" y="5384291"/>
            <a:ext cx="65532" cy="65531"/>
          </a:xfrm>
          <a:prstGeom prst="rect">
            <a:avLst/>
          </a:prstGeom>
          <a:blipFill>
            <a:blip r:embed="rId11" cstate="print"/>
            <a:stretch>
              <a:fillRect/>
            </a:stretch>
          </a:blipFill>
        </p:spPr>
        <p:txBody>
          <a:bodyPr wrap="square" lIns="0" tIns="0" rIns="0" bIns="0" rtlCol="0"/>
          <a:lstStyle/>
          <a:p>
            <a:endParaRPr/>
          </a:p>
        </p:txBody>
      </p:sp>
      <p:sp>
        <p:nvSpPr>
          <p:cNvPr id="47" name="object 47"/>
          <p:cNvSpPr/>
          <p:nvPr/>
        </p:nvSpPr>
        <p:spPr>
          <a:xfrm>
            <a:off x="4556759" y="5384291"/>
            <a:ext cx="66040" cy="66040"/>
          </a:xfrm>
          <a:custGeom>
            <a:avLst/>
            <a:gdLst/>
            <a:ahLst/>
            <a:cxnLst/>
            <a:rect l="l" t="t" r="r" b="b"/>
            <a:pathLst>
              <a:path w="66039" h="66039">
                <a:moveTo>
                  <a:pt x="0" y="65531"/>
                </a:moveTo>
                <a:lnTo>
                  <a:pt x="65532" y="65531"/>
                </a:lnTo>
                <a:lnTo>
                  <a:pt x="65532" y="0"/>
                </a:lnTo>
                <a:lnTo>
                  <a:pt x="0" y="0"/>
                </a:lnTo>
                <a:lnTo>
                  <a:pt x="0" y="65531"/>
                </a:lnTo>
                <a:close/>
              </a:path>
            </a:pathLst>
          </a:custGeom>
          <a:ln w="6096">
            <a:solidFill>
              <a:srgbClr val="12ABDB"/>
            </a:solidFill>
          </a:ln>
        </p:spPr>
        <p:txBody>
          <a:bodyPr wrap="square" lIns="0" tIns="0" rIns="0" bIns="0" rtlCol="0"/>
          <a:lstStyle/>
          <a:p>
            <a:endParaRPr/>
          </a:p>
        </p:txBody>
      </p:sp>
      <p:sp>
        <p:nvSpPr>
          <p:cNvPr id="48" name="object 48"/>
          <p:cNvSpPr/>
          <p:nvPr/>
        </p:nvSpPr>
        <p:spPr>
          <a:xfrm>
            <a:off x="4642103" y="5384291"/>
            <a:ext cx="67055" cy="65531"/>
          </a:xfrm>
          <a:prstGeom prst="rect">
            <a:avLst/>
          </a:prstGeom>
          <a:blipFill>
            <a:blip r:embed="rId11" cstate="print"/>
            <a:stretch>
              <a:fillRect/>
            </a:stretch>
          </a:blipFill>
        </p:spPr>
        <p:txBody>
          <a:bodyPr wrap="square" lIns="0" tIns="0" rIns="0" bIns="0" rtlCol="0"/>
          <a:lstStyle/>
          <a:p>
            <a:endParaRPr/>
          </a:p>
        </p:txBody>
      </p:sp>
      <p:sp>
        <p:nvSpPr>
          <p:cNvPr id="49" name="object 49"/>
          <p:cNvSpPr/>
          <p:nvPr/>
        </p:nvSpPr>
        <p:spPr>
          <a:xfrm>
            <a:off x="4642103" y="5384291"/>
            <a:ext cx="67310" cy="66040"/>
          </a:xfrm>
          <a:custGeom>
            <a:avLst/>
            <a:gdLst/>
            <a:ahLst/>
            <a:cxnLst/>
            <a:rect l="l" t="t" r="r" b="b"/>
            <a:pathLst>
              <a:path w="67310" h="66039">
                <a:moveTo>
                  <a:pt x="0" y="65531"/>
                </a:moveTo>
                <a:lnTo>
                  <a:pt x="67055" y="65531"/>
                </a:lnTo>
                <a:lnTo>
                  <a:pt x="67055" y="0"/>
                </a:lnTo>
                <a:lnTo>
                  <a:pt x="0" y="0"/>
                </a:lnTo>
                <a:lnTo>
                  <a:pt x="0" y="65531"/>
                </a:lnTo>
                <a:close/>
              </a:path>
            </a:pathLst>
          </a:custGeom>
          <a:ln w="6096">
            <a:solidFill>
              <a:srgbClr val="12ABDB"/>
            </a:solidFill>
          </a:ln>
        </p:spPr>
        <p:txBody>
          <a:bodyPr wrap="square" lIns="0" tIns="0" rIns="0" bIns="0" rtlCol="0"/>
          <a:lstStyle/>
          <a:p>
            <a:endParaRPr/>
          </a:p>
        </p:txBody>
      </p:sp>
      <p:sp>
        <p:nvSpPr>
          <p:cNvPr id="50" name="object 50"/>
          <p:cNvSpPr/>
          <p:nvPr/>
        </p:nvSpPr>
        <p:spPr>
          <a:xfrm>
            <a:off x="4642103" y="5301996"/>
            <a:ext cx="67055" cy="67056"/>
          </a:xfrm>
          <a:prstGeom prst="rect">
            <a:avLst/>
          </a:prstGeom>
          <a:blipFill>
            <a:blip r:embed="rId12" cstate="print"/>
            <a:stretch>
              <a:fillRect/>
            </a:stretch>
          </a:blipFill>
        </p:spPr>
        <p:txBody>
          <a:bodyPr wrap="square" lIns="0" tIns="0" rIns="0" bIns="0" rtlCol="0"/>
          <a:lstStyle/>
          <a:p>
            <a:endParaRPr/>
          </a:p>
        </p:txBody>
      </p:sp>
      <p:sp>
        <p:nvSpPr>
          <p:cNvPr id="51" name="object 51"/>
          <p:cNvSpPr/>
          <p:nvPr/>
        </p:nvSpPr>
        <p:spPr>
          <a:xfrm>
            <a:off x="4642103" y="5301996"/>
            <a:ext cx="67310" cy="67310"/>
          </a:xfrm>
          <a:custGeom>
            <a:avLst/>
            <a:gdLst/>
            <a:ahLst/>
            <a:cxnLst/>
            <a:rect l="l" t="t" r="r" b="b"/>
            <a:pathLst>
              <a:path w="67310" h="67310">
                <a:moveTo>
                  <a:pt x="0" y="67055"/>
                </a:moveTo>
                <a:lnTo>
                  <a:pt x="67055" y="67055"/>
                </a:lnTo>
                <a:lnTo>
                  <a:pt x="67055" y="0"/>
                </a:lnTo>
                <a:lnTo>
                  <a:pt x="0" y="0"/>
                </a:lnTo>
                <a:lnTo>
                  <a:pt x="0" y="67055"/>
                </a:lnTo>
                <a:close/>
              </a:path>
            </a:pathLst>
          </a:custGeom>
          <a:ln w="6096">
            <a:solidFill>
              <a:srgbClr val="12ABDB"/>
            </a:solidFill>
          </a:ln>
        </p:spPr>
        <p:txBody>
          <a:bodyPr wrap="square" lIns="0" tIns="0" rIns="0" bIns="0" rtlCol="0"/>
          <a:lstStyle/>
          <a:p>
            <a:endParaRPr/>
          </a:p>
        </p:txBody>
      </p:sp>
      <p:sp>
        <p:nvSpPr>
          <p:cNvPr id="52" name="object 52"/>
          <p:cNvSpPr/>
          <p:nvPr/>
        </p:nvSpPr>
        <p:spPr>
          <a:xfrm>
            <a:off x="7925139" y="5128487"/>
            <a:ext cx="967740" cy="913765"/>
          </a:xfrm>
          <a:custGeom>
            <a:avLst/>
            <a:gdLst/>
            <a:ahLst/>
            <a:cxnLst/>
            <a:rect l="l" t="t" r="r" b="b"/>
            <a:pathLst>
              <a:path w="967740" h="913764">
                <a:moveTo>
                  <a:pt x="468852" y="0"/>
                </a:moveTo>
                <a:lnTo>
                  <a:pt x="422115" y="4126"/>
                </a:lnTo>
                <a:lnTo>
                  <a:pt x="375675" y="12560"/>
                </a:lnTo>
                <a:lnTo>
                  <a:pt x="329872" y="25348"/>
                </a:lnTo>
                <a:lnTo>
                  <a:pt x="285046" y="42539"/>
                </a:lnTo>
                <a:lnTo>
                  <a:pt x="241537" y="64181"/>
                </a:lnTo>
                <a:lnTo>
                  <a:pt x="199685" y="90323"/>
                </a:lnTo>
                <a:lnTo>
                  <a:pt x="160786" y="121113"/>
                </a:lnTo>
                <a:lnTo>
                  <a:pt x="125946" y="154697"/>
                </a:lnTo>
                <a:lnTo>
                  <a:pt x="95220" y="190762"/>
                </a:lnTo>
                <a:lnTo>
                  <a:pt x="68664" y="228997"/>
                </a:lnTo>
                <a:lnTo>
                  <a:pt x="46334" y="269090"/>
                </a:lnTo>
                <a:lnTo>
                  <a:pt x="28284" y="310728"/>
                </a:lnTo>
                <a:lnTo>
                  <a:pt x="14570" y="353601"/>
                </a:lnTo>
                <a:lnTo>
                  <a:pt x="5248" y="397395"/>
                </a:lnTo>
                <a:lnTo>
                  <a:pt x="372" y="441799"/>
                </a:lnTo>
                <a:lnTo>
                  <a:pt x="0" y="486502"/>
                </a:lnTo>
                <a:lnTo>
                  <a:pt x="4184" y="531191"/>
                </a:lnTo>
                <a:lnTo>
                  <a:pt x="12983" y="575554"/>
                </a:lnTo>
                <a:lnTo>
                  <a:pt x="26450" y="619279"/>
                </a:lnTo>
                <a:lnTo>
                  <a:pt x="44641" y="662055"/>
                </a:lnTo>
                <a:lnTo>
                  <a:pt x="67612" y="703569"/>
                </a:lnTo>
                <a:lnTo>
                  <a:pt x="95418" y="743510"/>
                </a:lnTo>
                <a:lnTo>
                  <a:pt x="126259" y="779513"/>
                </a:lnTo>
                <a:lnTo>
                  <a:pt x="159906" y="811203"/>
                </a:lnTo>
                <a:lnTo>
                  <a:pt x="196052" y="838595"/>
                </a:lnTo>
                <a:lnTo>
                  <a:pt x="234393" y="861701"/>
                </a:lnTo>
                <a:lnTo>
                  <a:pt x="274624" y="880536"/>
                </a:lnTo>
                <a:lnTo>
                  <a:pt x="316439" y="895113"/>
                </a:lnTo>
                <a:lnTo>
                  <a:pt x="359532" y="905447"/>
                </a:lnTo>
                <a:lnTo>
                  <a:pt x="403599" y="911551"/>
                </a:lnTo>
                <a:lnTo>
                  <a:pt x="448334" y="913440"/>
                </a:lnTo>
                <a:lnTo>
                  <a:pt x="493432" y="911126"/>
                </a:lnTo>
                <a:lnTo>
                  <a:pt x="538588" y="904624"/>
                </a:lnTo>
                <a:lnTo>
                  <a:pt x="583497" y="893948"/>
                </a:lnTo>
                <a:lnTo>
                  <a:pt x="627852" y="879112"/>
                </a:lnTo>
                <a:lnTo>
                  <a:pt x="671349" y="860129"/>
                </a:lnTo>
                <a:lnTo>
                  <a:pt x="713683" y="837013"/>
                </a:lnTo>
                <a:lnTo>
                  <a:pt x="754548" y="809778"/>
                </a:lnTo>
                <a:lnTo>
                  <a:pt x="793638" y="780087"/>
                </a:lnTo>
                <a:lnTo>
                  <a:pt x="829063" y="747983"/>
                </a:lnTo>
                <a:lnTo>
                  <a:pt x="860711" y="713715"/>
                </a:lnTo>
                <a:lnTo>
                  <a:pt x="888471" y="677534"/>
                </a:lnTo>
                <a:lnTo>
                  <a:pt x="912231" y="639688"/>
                </a:lnTo>
                <a:lnTo>
                  <a:pt x="931880" y="600427"/>
                </a:lnTo>
                <a:lnTo>
                  <a:pt x="947306" y="560002"/>
                </a:lnTo>
                <a:lnTo>
                  <a:pt x="958399" y="518661"/>
                </a:lnTo>
                <a:lnTo>
                  <a:pt x="965045" y="476654"/>
                </a:lnTo>
                <a:lnTo>
                  <a:pt x="967135" y="434232"/>
                </a:lnTo>
                <a:lnTo>
                  <a:pt x="964556" y="391643"/>
                </a:lnTo>
                <a:lnTo>
                  <a:pt x="957198" y="349137"/>
                </a:lnTo>
                <a:lnTo>
                  <a:pt x="944948" y="306964"/>
                </a:lnTo>
                <a:lnTo>
                  <a:pt x="927696" y="265373"/>
                </a:lnTo>
                <a:lnTo>
                  <a:pt x="905330" y="224615"/>
                </a:lnTo>
                <a:lnTo>
                  <a:pt x="877738" y="184938"/>
                </a:lnTo>
                <a:lnTo>
                  <a:pt x="846735" y="148662"/>
                </a:lnTo>
                <a:lnTo>
                  <a:pt x="812629" y="116208"/>
                </a:lnTo>
                <a:lnTo>
                  <a:pt x="775760" y="87626"/>
                </a:lnTo>
                <a:lnTo>
                  <a:pt x="736466" y="62963"/>
                </a:lnTo>
                <a:lnTo>
                  <a:pt x="695089" y="42267"/>
                </a:lnTo>
                <a:lnTo>
                  <a:pt x="651968" y="25588"/>
                </a:lnTo>
                <a:lnTo>
                  <a:pt x="607444" y="12973"/>
                </a:lnTo>
                <a:lnTo>
                  <a:pt x="561857" y="4471"/>
                </a:lnTo>
                <a:lnTo>
                  <a:pt x="515546" y="131"/>
                </a:lnTo>
                <a:lnTo>
                  <a:pt x="468852" y="0"/>
                </a:lnTo>
                <a:close/>
              </a:path>
            </a:pathLst>
          </a:custGeom>
          <a:solidFill>
            <a:srgbClr val="FFFFFF"/>
          </a:solidFill>
        </p:spPr>
        <p:txBody>
          <a:bodyPr wrap="square" lIns="0" tIns="0" rIns="0" bIns="0" rtlCol="0"/>
          <a:lstStyle/>
          <a:p>
            <a:endParaRPr/>
          </a:p>
        </p:txBody>
      </p:sp>
      <p:sp>
        <p:nvSpPr>
          <p:cNvPr id="53" name="object 53"/>
          <p:cNvSpPr/>
          <p:nvPr/>
        </p:nvSpPr>
        <p:spPr>
          <a:xfrm>
            <a:off x="8112252" y="5265420"/>
            <a:ext cx="606551" cy="606552"/>
          </a:xfrm>
          <a:prstGeom prst="rect">
            <a:avLst/>
          </a:prstGeom>
          <a:blipFill>
            <a:blip r:embed="rId13" cstate="print"/>
            <a:stretch>
              <a:fillRect/>
            </a:stretch>
          </a:blipFill>
        </p:spPr>
        <p:txBody>
          <a:bodyPr wrap="square" lIns="0" tIns="0" rIns="0" bIns="0" rtlCol="0"/>
          <a:lstStyle/>
          <a:p>
            <a:endParaRPr/>
          </a:p>
        </p:txBody>
      </p:sp>
      <p:sp>
        <p:nvSpPr>
          <p:cNvPr id="54" name="object 54"/>
          <p:cNvSpPr txBox="1"/>
          <p:nvPr/>
        </p:nvSpPr>
        <p:spPr>
          <a:xfrm>
            <a:off x="7845932" y="6049162"/>
            <a:ext cx="1158240" cy="208279"/>
          </a:xfrm>
          <a:prstGeom prst="rect">
            <a:avLst/>
          </a:prstGeom>
        </p:spPr>
        <p:txBody>
          <a:bodyPr vert="horz" wrap="square" lIns="0" tIns="12700" rIns="0" bIns="0" rtlCol="0">
            <a:spAutoFit/>
          </a:bodyPr>
          <a:lstStyle/>
          <a:p>
            <a:pPr marL="12700">
              <a:lnSpc>
                <a:spcPct val="100000"/>
              </a:lnSpc>
              <a:spcBef>
                <a:spcPts val="100"/>
              </a:spcBef>
            </a:pPr>
            <a:r>
              <a:rPr sz="1200">
                <a:latin typeface="Verdana"/>
                <a:cs typeface="Verdana"/>
              </a:rPr>
              <a:t>2GP</a:t>
            </a:r>
            <a:r>
              <a:rPr sz="1200" spc="-90">
                <a:latin typeface="Verdana"/>
                <a:cs typeface="Verdana"/>
              </a:rPr>
              <a:t> </a:t>
            </a:r>
            <a:r>
              <a:rPr sz="1200" spc="-5">
                <a:latin typeface="Verdana"/>
                <a:cs typeface="Verdana"/>
              </a:rPr>
              <a:t>packaging</a:t>
            </a:r>
            <a:endParaRPr sz="1200">
              <a:latin typeface="Verdana"/>
              <a:cs typeface="Verdana"/>
            </a:endParaRPr>
          </a:p>
        </p:txBody>
      </p:sp>
      <p:sp>
        <p:nvSpPr>
          <p:cNvPr id="55" name="object 55"/>
          <p:cNvSpPr/>
          <p:nvPr/>
        </p:nvSpPr>
        <p:spPr>
          <a:xfrm>
            <a:off x="5240528" y="2196464"/>
            <a:ext cx="1979295" cy="1158240"/>
          </a:xfrm>
          <a:custGeom>
            <a:avLst/>
            <a:gdLst/>
            <a:ahLst/>
            <a:cxnLst/>
            <a:rect l="l" t="t" r="r" b="b"/>
            <a:pathLst>
              <a:path w="1979295" h="1158239">
                <a:moveTo>
                  <a:pt x="332009" y="406582"/>
                </a:moveTo>
                <a:lnTo>
                  <a:pt x="293563" y="410344"/>
                </a:lnTo>
                <a:lnTo>
                  <a:pt x="254386" y="418518"/>
                </a:lnTo>
                <a:lnTo>
                  <a:pt x="215285" y="431085"/>
                </a:lnTo>
                <a:lnTo>
                  <a:pt x="177068" y="448028"/>
                </a:lnTo>
                <a:lnTo>
                  <a:pt x="140541" y="469328"/>
                </a:lnTo>
                <a:lnTo>
                  <a:pt x="106512" y="494967"/>
                </a:lnTo>
                <a:lnTo>
                  <a:pt x="75788" y="524926"/>
                </a:lnTo>
                <a:lnTo>
                  <a:pt x="49176" y="559187"/>
                </a:lnTo>
                <a:lnTo>
                  <a:pt x="27484" y="597732"/>
                </a:lnTo>
                <a:lnTo>
                  <a:pt x="11519" y="640542"/>
                </a:lnTo>
                <a:lnTo>
                  <a:pt x="2089" y="687599"/>
                </a:lnTo>
                <a:lnTo>
                  <a:pt x="0" y="738886"/>
                </a:lnTo>
                <a:lnTo>
                  <a:pt x="4954" y="795989"/>
                </a:lnTo>
                <a:lnTo>
                  <a:pt x="15417" y="847881"/>
                </a:lnTo>
                <a:lnTo>
                  <a:pt x="30965" y="894793"/>
                </a:lnTo>
                <a:lnTo>
                  <a:pt x="51173" y="936954"/>
                </a:lnTo>
                <a:lnTo>
                  <a:pt x="75613" y="974596"/>
                </a:lnTo>
                <a:lnTo>
                  <a:pt x="103862" y="1007951"/>
                </a:lnTo>
                <a:lnTo>
                  <a:pt x="135494" y="1037248"/>
                </a:lnTo>
                <a:lnTo>
                  <a:pt x="170084" y="1062718"/>
                </a:lnTo>
                <a:lnTo>
                  <a:pt x="207206" y="1084593"/>
                </a:lnTo>
                <a:lnTo>
                  <a:pt x="246434" y="1103103"/>
                </a:lnTo>
                <a:lnTo>
                  <a:pt x="287345" y="1118480"/>
                </a:lnTo>
                <a:lnTo>
                  <a:pt x="329511" y="1130953"/>
                </a:lnTo>
                <a:lnTo>
                  <a:pt x="372508" y="1140754"/>
                </a:lnTo>
                <a:lnTo>
                  <a:pt x="415911" y="1148114"/>
                </a:lnTo>
                <a:lnTo>
                  <a:pt x="459293" y="1153264"/>
                </a:lnTo>
                <a:lnTo>
                  <a:pt x="502231" y="1156434"/>
                </a:lnTo>
                <a:lnTo>
                  <a:pt x="544298" y="1157856"/>
                </a:lnTo>
                <a:lnTo>
                  <a:pt x="585069" y="1157760"/>
                </a:lnTo>
                <a:lnTo>
                  <a:pt x="624118" y="1156377"/>
                </a:lnTo>
                <a:lnTo>
                  <a:pt x="695352" y="1150674"/>
                </a:lnTo>
                <a:lnTo>
                  <a:pt x="754597" y="1142593"/>
                </a:lnTo>
                <a:lnTo>
                  <a:pt x="798449" y="1133983"/>
                </a:lnTo>
                <a:lnTo>
                  <a:pt x="832121" y="1130038"/>
                </a:lnTo>
                <a:lnTo>
                  <a:pt x="905982" y="1115577"/>
                </a:lnTo>
                <a:lnTo>
                  <a:pt x="946005" y="1105633"/>
                </a:lnTo>
                <a:lnTo>
                  <a:pt x="987980" y="1094261"/>
                </a:lnTo>
                <a:lnTo>
                  <a:pt x="1224253" y="1025968"/>
                </a:lnTo>
                <a:lnTo>
                  <a:pt x="1276209" y="1012023"/>
                </a:lnTo>
                <a:lnTo>
                  <a:pt x="1329541" y="998648"/>
                </a:lnTo>
                <a:lnTo>
                  <a:pt x="1384165" y="986131"/>
                </a:lnTo>
                <a:lnTo>
                  <a:pt x="1440000" y="974755"/>
                </a:lnTo>
                <a:lnTo>
                  <a:pt x="1496962" y="964807"/>
                </a:lnTo>
                <a:lnTo>
                  <a:pt x="1554969" y="956573"/>
                </a:lnTo>
                <a:lnTo>
                  <a:pt x="1613939" y="950338"/>
                </a:lnTo>
                <a:lnTo>
                  <a:pt x="1673790" y="946387"/>
                </a:lnTo>
                <a:lnTo>
                  <a:pt x="1734439" y="945007"/>
                </a:lnTo>
                <a:lnTo>
                  <a:pt x="1941854" y="945007"/>
                </a:lnTo>
                <a:lnTo>
                  <a:pt x="1947432" y="930525"/>
                </a:lnTo>
                <a:lnTo>
                  <a:pt x="1961024" y="887148"/>
                </a:lnTo>
                <a:lnTo>
                  <a:pt x="1971596" y="840756"/>
                </a:lnTo>
                <a:lnTo>
                  <a:pt x="1978040" y="791448"/>
                </a:lnTo>
                <a:lnTo>
                  <a:pt x="1979252" y="739324"/>
                </a:lnTo>
                <a:lnTo>
                  <a:pt x="1974125" y="684484"/>
                </a:lnTo>
                <a:lnTo>
                  <a:pt x="1961554" y="627028"/>
                </a:lnTo>
                <a:lnTo>
                  <a:pt x="1940432" y="567055"/>
                </a:lnTo>
                <a:lnTo>
                  <a:pt x="1920514" y="524858"/>
                </a:lnTo>
                <a:lnTo>
                  <a:pt x="1896536" y="485663"/>
                </a:lnTo>
                <a:lnTo>
                  <a:pt x="1868711" y="449726"/>
                </a:lnTo>
                <a:lnTo>
                  <a:pt x="1837250" y="417306"/>
                </a:lnTo>
                <a:lnTo>
                  <a:pt x="1831236" y="412369"/>
                </a:lnTo>
                <a:lnTo>
                  <a:pt x="403479" y="412369"/>
                </a:lnTo>
                <a:lnTo>
                  <a:pt x="368917" y="407251"/>
                </a:lnTo>
                <a:lnTo>
                  <a:pt x="332009" y="406582"/>
                </a:lnTo>
                <a:close/>
              </a:path>
              <a:path w="1979295" h="1158239">
                <a:moveTo>
                  <a:pt x="1941854" y="945007"/>
                </a:moveTo>
                <a:lnTo>
                  <a:pt x="1734439" y="945007"/>
                </a:lnTo>
                <a:lnTo>
                  <a:pt x="1789406" y="946624"/>
                </a:lnTo>
                <a:lnTo>
                  <a:pt x="1839563" y="951468"/>
                </a:lnTo>
                <a:lnTo>
                  <a:pt x="1886529" y="959526"/>
                </a:lnTo>
                <a:lnTo>
                  <a:pt x="1931924" y="970788"/>
                </a:lnTo>
                <a:lnTo>
                  <a:pt x="1941854" y="945007"/>
                </a:lnTo>
                <a:close/>
              </a:path>
              <a:path w="1979295" h="1158239">
                <a:moveTo>
                  <a:pt x="918718" y="0"/>
                </a:moveTo>
                <a:lnTo>
                  <a:pt x="858619" y="6018"/>
                </a:lnTo>
                <a:lnTo>
                  <a:pt x="802000" y="16891"/>
                </a:lnTo>
                <a:lnTo>
                  <a:pt x="748906" y="32206"/>
                </a:lnTo>
                <a:lnTo>
                  <a:pt x="699385" y="51550"/>
                </a:lnTo>
                <a:lnTo>
                  <a:pt x="653480" y="74511"/>
                </a:lnTo>
                <a:lnTo>
                  <a:pt x="611239" y="100677"/>
                </a:lnTo>
                <a:lnTo>
                  <a:pt x="572707" y="129636"/>
                </a:lnTo>
                <a:lnTo>
                  <a:pt x="537930" y="160975"/>
                </a:lnTo>
                <a:lnTo>
                  <a:pt x="506954" y="194282"/>
                </a:lnTo>
                <a:lnTo>
                  <a:pt x="479824" y="229145"/>
                </a:lnTo>
                <a:lnTo>
                  <a:pt x="456587" y="265152"/>
                </a:lnTo>
                <a:lnTo>
                  <a:pt x="437288" y="301890"/>
                </a:lnTo>
                <a:lnTo>
                  <a:pt x="421973" y="338947"/>
                </a:lnTo>
                <a:lnTo>
                  <a:pt x="410688" y="375910"/>
                </a:lnTo>
                <a:lnTo>
                  <a:pt x="403479" y="412369"/>
                </a:lnTo>
                <a:lnTo>
                  <a:pt x="1831236" y="412369"/>
                </a:lnTo>
                <a:lnTo>
                  <a:pt x="1764264" y="364055"/>
                </a:lnTo>
                <a:lnTo>
                  <a:pt x="1723161" y="343741"/>
                </a:lnTo>
                <a:lnTo>
                  <a:pt x="1679267" y="327980"/>
                </a:lnTo>
                <a:lnTo>
                  <a:pt x="1425321" y="326517"/>
                </a:lnTo>
                <a:lnTo>
                  <a:pt x="1401706" y="273087"/>
                </a:lnTo>
                <a:lnTo>
                  <a:pt x="1320133" y="156829"/>
                </a:lnTo>
                <a:lnTo>
                  <a:pt x="1164502" y="43785"/>
                </a:lnTo>
                <a:lnTo>
                  <a:pt x="918718" y="0"/>
                </a:lnTo>
                <a:close/>
              </a:path>
              <a:path w="1979295" h="1158239">
                <a:moveTo>
                  <a:pt x="1532950" y="310598"/>
                </a:moveTo>
                <a:lnTo>
                  <a:pt x="1480003" y="315634"/>
                </a:lnTo>
                <a:lnTo>
                  <a:pt x="1425321" y="326517"/>
                </a:lnTo>
                <a:lnTo>
                  <a:pt x="1673058" y="326517"/>
                </a:lnTo>
                <a:lnTo>
                  <a:pt x="1632793" y="317029"/>
                </a:lnTo>
                <a:lnTo>
                  <a:pt x="1583950" y="311149"/>
                </a:lnTo>
                <a:lnTo>
                  <a:pt x="1532950" y="310598"/>
                </a:lnTo>
                <a:close/>
              </a:path>
            </a:pathLst>
          </a:custGeom>
          <a:solidFill>
            <a:srgbClr val="FFFFFF"/>
          </a:solidFill>
        </p:spPr>
        <p:txBody>
          <a:bodyPr wrap="square" lIns="0" tIns="0" rIns="0" bIns="0" rtlCol="0"/>
          <a:lstStyle/>
          <a:p>
            <a:endParaRPr/>
          </a:p>
        </p:txBody>
      </p:sp>
      <p:sp>
        <p:nvSpPr>
          <p:cNvPr id="56" name="object 56"/>
          <p:cNvSpPr txBox="1"/>
          <p:nvPr/>
        </p:nvSpPr>
        <p:spPr>
          <a:xfrm>
            <a:off x="5485638" y="2716479"/>
            <a:ext cx="1384935" cy="269240"/>
          </a:xfrm>
          <a:prstGeom prst="rect">
            <a:avLst/>
          </a:prstGeom>
        </p:spPr>
        <p:txBody>
          <a:bodyPr vert="horz" wrap="square" lIns="0" tIns="12065" rIns="0" bIns="0" rtlCol="0">
            <a:spAutoFit/>
          </a:bodyPr>
          <a:lstStyle/>
          <a:p>
            <a:pPr marL="12700">
              <a:lnSpc>
                <a:spcPct val="100000"/>
              </a:lnSpc>
              <a:spcBef>
                <a:spcPts val="95"/>
              </a:spcBef>
            </a:pPr>
            <a:r>
              <a:rPr sz="1600" spc="-40">
                <a:latin typeface="Lucida Sans"/>
                <a:cs typeface="Lucida Sans"/>
              </a:rPr>
              <a:t>Salesforce</a:t>
            </a:r>
            <a:r>
              <a:rPr sz="1600" spc="-125">
                <a:latin typeface="Lucida Sans"/>
                <a:cs typeface="Lucida Sans"/>
              </a:rPr>
              <a:t> </a:t>
            </a:r>
            <a:r>
              <a:rPr sz="1600" spc="-45">
                <a:latin typeface="Lucida Sans"/>
                <a:cs typeface="Lucida Sans"/>
              </a:rPr>
              <a:t>Org</a:t>
            </a:r>
            <a:endParaRPr sz="1600">
              <a:latin typeface="Lucida Sans"/>
              <a:cs typeface="Lucida Sans"/>
            </a:endParaRPr>
          </a:p>
        </p:txBody>
      </p:sp>
      <p:sp>
        <p:nvSpPr>
          <p:cNvPr id="57" name="object 5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58" name="object 58"/>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4</a:t>
            </a:fld>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6373495" cy="422275"/>
          </a:xfrm>
          <a:prstGeom prst="rect">
            <a:avLst/>
          </a:prstGeom>
        </p:spPr>
        <p:txBody>
          <a:bodyPr vert="horz" wrap="square" lIns="0" tIns="12700" rIns="0" bIns="0" rtlCol="0">
            <a:spAutoFit/>
          </a:bodyPr>
          <a:lstStyle/>
          <a:p>
            <a:pPr marL="12700">
              <a:lnSpc>
                <a:spcPct val="100000"/>
              </a:lnSpc>
              <a:spcBef>
                <a:spcPts val="100"/>
              </a:spcBef>
            </a:pPr>
            <a:r>
              <a:rPr sz="2600" spc="-5"/>
              <a:t>Development </a:t>
            </a:r>
            <a:r>
              <a:rPr sz="2600"/>
              <a:t>– </a:t>
            </a:r>
            <a:r>
              <a:rPr sz="2600" spc="-50"/>
              <a:t>Tools </a:t>
            </a:r>
            <a:r>
              <a:rPr sz="2600" spc="-5"/>
              <a:t>and</a:t>
            </a:r>
            <a:r>
              <a:rPr sz="2600" spc="-30"/>
              <a:t> </a:t>
            </a:r>
            <a:r>
              <a:rPr sz="2600" spc="-5"/>
              <a:t>Accelerators</a:t>
            </a:r>
            <a:endParaRPr sz="2600"/>
          </a:p>
        </p:txBody>
      </p:sp>
      <p:sp>
        <p:nvSpPr>
          <p:cNvPr id="3" name="object 3"/>
          <p:cNvSpPr/>
          <p:nvPr/>
        </p:nvSpPr>
        <p:spPr>
          <a:xfrm>
            <a:off x="248411" y="3902964"/>
            <a:ext cx="3829812" cy="258775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92608" y="3942588"/>
            <a:ext cx="3787140" cy="1135380"/>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227075" y="3886200"/>
            <a:ext cx="3815079" cy="2573020"/>
          </a:xfrm>
          <a:custGeom>
            <a:avLst/>
            <a:gdLst/>
            <a:ahLst/>
            <a:cxnLst/>
            <a:rect l="l" t="t" r="r" b="b"/>
            <a:pathLst>
              <a:path w="3815079" h="2573020">
                <a:moveTo>
                  <a:pt x="3814572" y="0"/>
                </a:moveTo>
                <a:lnTo>
                  <a:pt x="102793" y="0"/>
                </a:lnTo>
                <a:lnTo>
                  <a:pt x="62782" y="8070"/>
                </a:lnTo>
                <a:lnTo>
                  <a:pt x="30108" y="30083"/>
                </a:lnTo>
                <a:lnTo>
                  <a:pt x="8078" y="62739"/>
                </a:lnTo>
                <a:lnTo>
                  <a:pt x="0" y="102743"/>
                </a:lnTo>
                <a:lnTo>
                  <a:pt x="0" y="2572512"/>
                </a:lnTo>
                <a:lnTo>
                  <a:pt x="3711829" y="2572512"/>
                </a:lnTo>
                <a:lnTo>
                  <a:pt x="3751832" y="2564433"/>
                </a:lnTo>
                <a:lnTo>
                  <a:pt x="3784488" y="2542403"/>
                </a:lnTo>
                <a:lnTo>
                  <a:pt x="3806501" y="2509729"/>
                </a:lnTo>
                <a:lnTo>
                  <a:pt x="3814572" y="2469718"/>
                </a:lnTo>
                <a:lnTo>
                  <a:pt x="3814572" y="0"/>
                </a:lnTo>
                <a:close/>
              </a:path>
            </a:pathLst>
          </a:custGeom>
          <a:solidFill>
            <a:srgbClr val="FFFFFF"/>
          </a:solidFill>
        </p:spPr>
        <p:txBody>
          <a:bodyPr wrap="square" lIns="0" tIns="0" rIns="0" bIns="0" rtlCol="0"/>
          <a:lstStyle/>
          <a:p>
            <a:endParaRPr/>
          </a:p>
        </p:txBody>
      </p:sp>
      <p:sp>
        <p:nvSpPr>
          <p:cNvPr id="6" name="object 6"/>
          <p:cNvSpPr/>
          <p:nvPr/>
        </p:nvSpPr>
        <p:spPr>
          <a:xfrm>
            <a:off x="227075" y="3886200"/>
            <a:ext cx="3815079" cy="2573020"/>
          </a:xfrm>
          <a:custGeom>
            <a:avLst/>
            <a:gdLst/>
            <a:ahLst/>
            <a:cxnLst/>
            <a:rect l="l" t="t" r="r" b="b"/>
            <a:pathLst>
              <a:path w="3815079" h="2573020">
                <a:moveTo>
                  <a:pt x="102793" y="0"/>
                </a:moveTo>
                <a:lnTo>
                  <a:pt x="3814572" y="0"/>
                </a:lnTo>
                <a:lnTo>
                  <a:pt x="3814572" y="2469718"/>
                </a:lnTo>
                <a:lnTo>
                  <a:pt x="3806501" y="2509729"/>
                </a:lnTo>
                <a:lnTo>
                  <a:pt x="3784488" y="2542403"/>
                </a:lnTo>
                <a:lnTo>
                  <a:pt x="3751832" y="2564433"/>
                </a:lnTo>
                <a:lnTo>
                  <a:pt x="3711829" y="2572512"/>
                </a:lnTo>
                <a:lnTo>
                  <a:pt x="0" y="2572512"/>
                </a:lnTo>
                <a:lnTo>
                  <a:pt x="0" y="102743"/>
                </a:lnTo>
                <a:lnTo>
                  <a:pt x="8078" y="62739"/>
                </a:lnTo>
                <a:lnTo>
                  <a:pt x="30108" y="30083"/>
                </a:lnTo>
                <a:lnTo>
                  <a:pt x="62782" y="8070"/>
                </a:lnTo>
                <a:lnTo>
                  <a:pt x="102793" y="0"/>
                </a:lnTo>
                <a:close/>
              </a:path>
            </a:pathLst>
          </a:custGeom>
          <a:ln w="12192">
            <a:solidFill>
              <a:srgbClr val="BEBEBE"/>
            </a:solidFill>
          </a:ln>
        </p:spPr>
        <p:txBody>
          <a:bodyPr wrap="square" lIns="0" tIns="0" rIns="0" bIns="0" rtlCol="0"/>
          <a:lstStyle/>
          <a:p>
            <a:endParaRPr/>
          </a:p>
        </p:txBody>
      </p:sp>
      <p:sp>
        <p:nvSpPr>
          <p:cNvPr id="7" name="object 7"/>
          <p:cNvSpPr txBox="1"/>
          <p:nvPr/>
        </p:nvSpPr>
        <p:spPr>
          <a:xfrm>
            <a:off x="336295" y="3948810"/>
            <a:ext cx="3596004" cy="1032510"/>
          </a:xfrm>
          <a:prstGeom prst="rect">
            <a:avLst/>
          </a:prstGeom>
        </p:spPr>
        <p:txBody>
          <a:bodyPr vert="horz" wrap="square" lIns="0" tIns="12700" rIns="0" bIns="0" rtlCol="0">
            <a:spAutoFit/>
          </a:bodyPr>
          <a:lstStyle/>
          <a:p>
            <a:pPr marL="12700" marR="5080">
              <a:lnSpc>
                <a:spcPct val="100000"/>
              </a:lnSpc>
              <a:spcBef>
                <a:spcPts val="100"/>
              </a:spcBef>
            </a:pPr>
            <a:r>
              <a:rPr sz="1100" spc="-5">
                <a:latin typeface="Verdana"/>
                <a:cs typeface="Verdana"/>
              </a:rPr>
              <a:t>Rapid Design </a:t>
            </a:r>
            <a:r>
              <a:rPr sz="1100">
                <a:latin typeface="Verdana"/>
                <a:cs typeface="Verdana"/>
              </a:rPr>
              <a:t>&amp; </a:t>
            </a:r>
            <a:r>
              <a:rPr sz="1100" spc="-5">
                <a:latin typeface="Verdana"/>
                <a:cs typeface="Verdana"/>
              </a:rPr>
              <a:t>Visualisation </a:t>
            </a:r>
            <a:r>
              <a:rPr sz="1100" spc="-10">
                <a:latin typeface="Verdana"/>
                <a:cs typeface="Verdana"/>
              </a:rPr>
              <a:t>is </a:t>
            </a:r>
            <a:r>
              <a:rPr sz="1100" spc="-5">
                <a:latin typeface="Verdana"/>
                <a:cs typeface="Verdana"/>
              </a:rPr>
              <a:t>implemented  through the application </a:t>
            </a:r>
            <a:r>
              <a:rPr sz="1100">
                <a:latin typeface="Verdana"/>
                <a:cs typeface="Verdana"/>
              </a:rPr>
              <a:t>of </a:t>
            </a:r>
            <a:r>
              <a:rPr sz="1100" b="1">
                <a:latin typeface="Verdana"/>
                <a:cs typeface="Verdana"/>
              </a:rPr>
              <a:t>User Centered </a:t>
            </a:r>
            <a:r>
              <a:rPr sz="1100" b="1" spc="-5">
                <a:latin typeface="Verdana"/>
                <a:cs typeface="Verdana"/>
              </a:rPr>
              <a:t>Design  </a:t>
            </a:r>
            <a:r>
              <a:rPr sz="1100">
                <a:latin typeface="Verdana"/>
                <a:cs typeface="Verdana"/>
              </a:rPr>
              <a:t>methods. These </a:t>
            </a:r>
            <a:r>
              <a:rPr sz="1100" spc="-5">
                <a:latin typeface="Verdana"/>
                <a:cs typeface="Verdana"/>
              </a:rPr>
              <a:t>include </a:t>
            </a:r>
            <a:r>
              <a:rPr sz="1100">
                <a:latin typeface="Verdana"/>
                <a:cs typeface="Verdana"/>
              </a:rPr>
              <a:t>user research,  </a:t>
            </a:r>
            <a:r>
              <a:rPr sz="1100" spc="-5">
                <a:latin typeface="Verdana"/>
                <a:cs typeface="Verdana"/>
              </a:rPr>
              <a:t>ethnography, </a:t>
            </a:r>
            <a:r>
              <a:rPr sz="1100">
                <a:latin typeface="Verdana"/>
                <a:cs typeface="Verdana"/>
              </a:rPr>
              <a:t>and </a:t>
            </a:r>
            <a:r>
              <a:rPr sz="1100" spc="-5">
                <a:latin typeface="Verdana"/>
                <a:cs typeface="Verdana"/>
              </a:rPr>
              <a:t>traditional </a:t>
            </a:r>
            <a:r>
              <a:rPr sz="1100" spc="-10">
                <a:latin typeface="Verdana"/>
                <a:cs typeface="Verdana"/>
              </a:rPr>
              <a:t>qualitative </a:t>
            </a:r>
            <a:r>
              <a:rPr sz="1100">
                <a:latin typeface="Verdana"/>
                <a:cs typeface="Verdana"/>
              </a:rPr>
              <a:t>&amp;  </a:t>
            </a:r>
            <a:r>
              <a:rPr sz="1100" spc="-5">
                <a:latin typeface="Verdana"/>
                <a:cs typeface="Verdana"/>
              </a:rPr>
              <a:t>quantitative testing approaches to translate  findings into interactive</a:t>
            </a:r>
            <a:r>
              <a:rPr sz="1100" spc="80">
                <a:latin typeface="Verdana"/>
                <a:cs typeface="Verdana"/>
              </a:rPr>
              <a:t> </a:t>
            </a:r>
            <a:r>
              <a:rPr sz="1100" spc="-5">
                <a:latin typeface="Verdana"/>
                <a:cs typeface="Verdana"/>
              </a:rPr>
              <a:t>visualisations</a:t>
            </a:r>
            <a:endParaRPr sz="1100">
              <a:latin typeface="Verdana"/>
              <a:cs typeface="Verdana"/>
            </a:endParaRPr>
          </a:p>
        </p:txBody>
      </p:sp>
      <p:sp>
        <p:nvSpPr>
          <p:cNvPr id="8" name="object 8"/>
          <p:cNvSpPr/>
          <p:nvPr/>
        </p:nvSpPr>
        <p:spPr>
          <a:xfrm>
            <a:off x="4186428" y="3902964"/>
            <a:ext cx="3828287" cy="2587752"/>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4165091" y="3886200"/>
            <a:ext cx="3813175" cy="2573020"/>
          </a:xfrm>
          <a:custGeom>
            <a:avLst/>
            <a:gdLst/>
            <a:ahLst/>
            <a:cxnLst/>
            <a:rect l="l" t="t" r="r" b="b"/>
            <a:pathLst>
              <a:path w="3813175" h="2573020">
                <a:moveTo>
                  <a:pt x="3813048" y="0"/>
                </a:moveTo>
                <a:lnTo>
                  <a:pt x="102743" y="0"/>
                </a:lnTo>
                <a:lnTo>
                  <a:pt x="62739" y="8070"/>
                </a:lnTo>
                <a:lnTo>
                  <a:pt x="30083" y="30083"/>
                </a:lnTo>
                <a:lnTo>
                  <a:pt x="8070" y="62739"/>
                </a:lnTo>
                <a:lnTo>
                  <a:pt x="0" y="102743"/>
                </a:lnTo>
                <a:lnTo>
                  <a:pt x="0" y="2572512"/>
                </a:lnTo>
                <a:lnTo>
                  <a:pt x="3710305" y="2572512"/>
                </a:lnTo>
                <a:lnTo>
                  <a:pt x="3750308" y="2564433"/>
                </a:lnTo>
                <a:lnTo>
                  <a:pt x="3782964" y="2542403"/>
                </a:lnTo>
                <a:lnTo>
                  <a:pt x="3804977" y="2509729"/>
                </a:lnTo>
                <a:lnTo>
                  <a:pt x="3813048" y="2469718"/>
                </a:lnTo>
                <a:lnTo>
                  <a:pt x="3813048" y="0"/>
                </a:lnTo>
                <a:close/>
              </a:path>
            </a:pathLst>
          </a:custGeom>
          <a:solidFill>
            <a:srgbClr val="FFFFFF"/>
          </a:solidFill>
        </p:spPr>
        <p:txBody>
          <a:bodyPr wrap="square" lIns="0" tIns="0" rIns="0" bIns="0" rtlCol="0"/>
          <a:lstStyle/>
          <a:p>
            <a:endParaRPr/>
          </a:p>
        </p:txBody>
      </p:sp>
      <p:sp>
        <p:nvSpPr>
          <p:cNvPr id="10" name="object 10"/>
          <p:cNvSpPr/>
          <p:nvPr/>
        </p:nvSpPr>
        <p:spPr>
          <a:xfrm>
            <a:off x="4165091" y="3886200"/>
            <a:ext cx="3813175" cy="2573020"/>
          </a:xfrm>
          <a:custGeom>
            <a:avLst/>
            <a:gdLst/>
            <a:ahLst/>
            <a:cxnLst/>
            <a:rect l="l" t="t" r="r" b="b"/>
            <a:pathLst>
              <a:path w="3813175" h="2573020">
                <a:moveTo>
                  <a:pt x="102743" y="0"/>
                </a:moveTo>
                <a:lnTo>
                  <a:pt x="3813048" y="0"/>
                </a:lnTo>
                <a:lnTo>
                  <a:pt x="3813048" y="2469718"/>
                </a:lnTo>
                <a:lnTo>
                  <a:pt x="3804977" y="2509729"/>
                </a:lnTo>
                <a:lnTo>
                  <a:pt x="3782964" y="2542403"/>
                </a:lnTo>
                <a:lnTo>
                  <a:pt x="3750308" y="2564433"/>
                </a:lnTo>
                <a:lnTo>
                  <a:pt x="3710305" y="2572512"/>
                </a:lnTo>
                <a:lnTo>
                  <a:pt x="0" y="2572512"/>
                </a:lnTo>
                <a:lnTo>
                  <a:pt x="0" y="102743"/>
                </a:lnTo>
                <a:lnTo>
                  <a:pt x="8070" y="62739"/>
                </a:lnTo>
                <a:lnTo>
                  <a:pt x="30083" y="30083"/>
                </a:lnTo>
                <a:lnTo>
                  <a:pt x="62739" y="8070"/>
                </a:lnTo>
                <a:lnTo>
                  <a:pt x="102743" y="0"/>
                </a:lnTo>
                <a:close/>
              </a:path>
            </a:pathLst>
          </a:custGeom>
          <a:ln w="12192">
            <a:solidFill>
              <a:srgbClr val="E2001F"/>
            </a:solidFill>
          </a:ln>
        </p:spPr>
        <p:txBody>
          <a:bodyPr wrap="square" lIns="0" tIns="0" rIns="0" bIns="0" rtlCol="0"/>
          <a:lstStyle/>
          <a:p>
            <a:endParaRPr/>
          </a:p>
        </p:txBody>
      </p:sp>
      <p:sp>
        <p:nvSpPr>
          <p:cNvPr id="11" name="object 11"/>
          <p:cNvSpPr txBox="1"/>
          <p:nvPr/>
        </p:nvSpPr>
        <p:spPr>
          <a:xfrm>
            <a:off x="4248658" y="3948810"/>
            <a:ext cx="3598545" cy="1367790"/>
          </a:xfrm>
          <a:prstGeom prst="rect">
            <a:avLst/>
          </a:prstGeom>
        </p:spPr>
        <p:txBody>
          <a:bodyPr vert="horz" wrap="square" lIns="0" tIns="12700" rIns="0" bIns="0" rtlCol="0">
            <a:spAutoFit/>
          </a:bodyPr>
          <a:lstStyle/>
          <a:p>
            <a:pPr marL="38100" marR="30480">
              <a:lnSpc>
                <a:spcPct val="100000"/>
              </a:lnSpc>
              <a:spcBef>
                <a:spcPts val="100"/>
              </a:spcBef>
            </a:pPr>
            <a:r>
              <a:rPr sz="1100" b="1">
                <a:latin typeface="Verdana"/>
                <a:cs typeface="Verdana"/>
              </a:rPr>
              <a:t>RightShore</a:t>
            </a:r>
            <a:r>
              <a:rPr sz="1050" b="1" baseline="27777">
                <a:latin typeface="Verdana"/>
                <a:cs typeface="Verdana"/>
              </a:rPr>
              <a:t>® </a:t>
            </a:r>
            <a:r>
              <a:rPr sz="1100" spc="-10">
                <a:latin typeface="Verdana"/>
                <a:cs typeface="Verdana"/>
              </a:rPr>
              <a:t>is </a:t>
            </a:r>
            <a:r>
              <a:rPr sz="1100" spc="-5">
                <a:latin typeface="Verdana"/>
                <a:cs typeface="Verdana"/>
              </a:rPr>
              <a:t>Capgemini </a:t>
            </a:r>
            <a:r>
              <a:rPr sz="1100">
                <a:latin typeface="Verdana"/>
                <a:cs typeface="Verdana"/>
              </a:rPr>
              <a:t>‘s </a:t>
            </a:r>
            <a:r>
              <a:rPr sz="1100" spc="-5">
                <a:latin typeface="Verdana"/>
                <a:cs typeface="Verdana"/>
              </a:rPr>
              <a:t>Distributed Delivery  Solution </a:t>
            </a:r>
            <a:r>
              <a:rPr sz="1100">
                <a:latin typeface="Verdana"/>
                <a:cs typeface="Verdana"/>
              </a:rPr>
              <a:t>Framework </a:t>
            </a:r>
            <a:r>
              <a:rPr sz="1100" spc="-5">
                <a:latin typeface="Verdana"/>
                <a:cs typeface="Verdana"/>
              </a:rPr>
              <a:t>to effectively blend local </a:t>
            </a:r>
            <a:r>
              <a:rPr sz="1100">
                <a:latin typeface="Verdana"/>
                <a:cs typeface="Verdana"/>
              </a:rPr>
              <a:t>and  offshore resources </a:t>
            </a:r>
            <a:r>
              <a:rPr sz="1100" spc="-5">
                <a:latin typeface="Verdana"/>
                <a:cs typeface="Verdana"/>
              </a:rPr>
              <a:t>into </a:t>
            </a:r>
            <a:r>
              <a:rPr sz="1100">
                <a:latin typeface="Verdana"/>
                <a:cs typeface="Verdana"/>
              </a:rPr>
              <a:t>a </a:t>
            </a:r>
            <a:r>
              <a:rPr sz="1100" spc="-5">
                <a:latin typeface="Verdana"/>
                <a:cs typeface="Verdana"/>
              </a:rPr>
              <a:t>unified, </a:t>
            </a:r>
            <a:r>
              <a:rPr sz="1100" spc="-10">
                <a:latin typeface="Verdana"/>
                <a:cs typeface="Verdana"/>
              </a:rPr>
              <a:t>globally  </a:t>
            </a:r>
            <a:r>
              <a:rPr sz="1100" spc="-5">
                <a:latin typeface="Verdana"/>
                <a:cs typeface="Verdana"/>
              </a:rPr>
              <a:t>managed </a:t>
            </a:r>
            <a:r>
              <a:rPr sz="1100">
                <a:latin typeface="Verdana"/>
                <a:cs typeface="Verdana"/>
              </a:rPr>
              <a:t>team &amp; </a:t>
            </a:r>
            <a:r>
              <a:rPr sz="1100" spc="-5">
                <a:latin typeface="Verdana"/>
                <a:cs typeface="Verdana"/>
              </a:rPr>
              <a:t>program management  framework. </a:t>
            </a:r>
            <a:r>
              <a:rPr sz="1100">
                <a:latin typeface="Verdana"/>
                <a:cs typeface="Verdana"/>
              </a:rPr>
              <a:t>The </a:t>
            </a:r>
            <a:r>
              <a:rPr sz="1100" spc="-5">
                <a:latin typeface="Verdana"/>
                <a:cs typeface="Verdana"/>
              </a:rPr>
              <a:t>associated communications  </a:t>
            </a:r>
            <a:r>
              <a:rPr sz="1100">
                <a:latin typeface="Verdana"/>
                <a:cs typeface="Verdana"/>
              </a:rPr>
              <a:t>process </a:t>
            </a:r>
            <a:r>
              <a:rPr sz="1100" spc="-10">
                <a:latin typeface="Verdana"/>
                <a:cs typeface="Verdana"/>
              </a:rPr>
              <a:t>facilitates </a:t>
            </a:r>
            <a:r>
              <a:rPr sz="1100" spc="-5">
                <a:latin typeface="Verdana"/>
                <a:cs typeface="Verdana"/>
              </a:rPr>
              <a:t>coordination through critical  face to face meetings </a:t>
            </a:r>
            <a:r>
              <a:rPr sz="1100">
                <a:latin typeface="Verdana"/>
                <a:cs typeface="Verdana"/>
              </a:rPr>
              <a:t>and </a:t>
            </a:r>
            <a:r>
              <a:rPr sz="1100" spc="-5">
                <a:latin typeface="Verdana"/>
                <a:cs typeface="Verdana"/>
              </a:rPr>
              <a:t>electronic dialogue  </a:t>
            </a:r>
            <a:r>
              <a:rPr sz="1100">
                <a:latin typeface="Verdana"/>
                <a:cs typeface="Verdana"/>
              </a:rPr>
              <a:t>between </a:t>
            </a:r>
            <a:r>
              <a:rPr sz="1100" spc="-5">
                <a:latin typeface="Verdana"/>
                <a:cs typeface="Verdana"/>
              </a:rPr>
              <a:t>onsite </a:t>
            </a:r>
            <a:r>
              <a:rPr sz="1100">
                <a:latin typeface="Verdana"/>
                <a:cs typeface="Verdana"/>
              </a:rPr>
              <a:t>and</a:t>
            </a:r>
            <a:r>
              <a:rPr sz="1100" spc="-25">
                <a:latin typeface="Verdana"/>
                <a:cs typeface="Verdana"/>
              </a:rPr>
              <a:t> </a:t>
            </a:r>
            <a:r>
              <a:rPr sz="1100" spc="-5">
                <a:latin typeface="Verdana"/>
                <a:cs typeface="Verdana"/>
              </a:rPr>
              <a:t>offsite</a:t>
            </a:r>
            <a:endParaRPr sz="1100">
              <a:latin typeface="Verdana"/>
              <a:cs typeface="Verdana"/>
            </a:endParaRPr>
          </a:p>
        </p:txBody>
      </p:sp>
      <p:sp>
        <p:nvSpPr>
          <p:cNvPr id="12" name="object 12"/>
          <p:cNvSpPr/>
          <p:nvPr/>
        </p:nvSpPr>
        <p:spPr>
          <a:xfrm>
            <a:off x="8122919" y="3902964"/>
            <a:ext cx="3829812" cy="2587752"/>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8167116" y="3942588"/>
            <a:ext cx="3753612" cy="800100"/>
          </a:xfrm>
          <a:prstGeom prst="rect">
            <a:avLst/>
          </a:prstGeom>
          <a:blipFill>
            <a:blip r:embed="rId6" cstate="print"/>
            <a:stretch>
              <a:fillRect/>
            </a:stretch>
          </a:blipFill>
        </p:spPr>
        <p:txBody>
          <a:bodyPr wrap="square" lIns="0" tIns="0" rIns="0" bIns="0" rtlCol="0"/>
          <a:lstStyle/>
          <a:p>
            <a:endParaRPr/>
          </a:p>
        </p:txBody>
      </p:sp>
      <p:sp>
        <p:nvSpPr>
          <p:cNvPr id="14" name="object 14"/>
          <p:cNvSpPr/>
          <p:nvPr/>
        </p:nvSpPr>
        <p:spPr>
          <a:xfrm>
            <a:off x="8101583" y="3886200"/>
            <a:ext cx="3815079" cy="2573020"/>
          </a:xfrm>
          <a:custGeom>
            <a:avLst/>
            <a:gdLst/>
            <a:ahLst/>
            <a:cxnLst/>
            <a:rect l="l" t="t" r="r" b="b"/>
            <a:pathLst>
              <a:path w="3815079" h="2573020">
                <a:moveTo>
                  <a:pt x="3814572" y="0"/>
                </a:moveTo>
                <a:lnTo>
                  <a:pt x="102743" y="0"/>
                </a:lnTo>
                <a:lnTo>
                  <a:pt x="62739" y="8070"/>
                </a:lnTo>
                <a:lnTo>
                  <a:pt x="30083" y="30083"/>
                </a:lnTo>
                <a:lnTo>
                  <a:pt x="8070" y="62739"/>
                </a:lnTo>
                <a:lnTo>
                  <a:pt x="0" y="102743"/>
                </a:lnTo>
                <a:lnTo>
                  <a:pt x="0" y="2572512"/>
                </a:lnTo>
                <a:lnTo>
                  <a:pt x="3711829" y="2572512"/>
                </a:lnTo>
                <a:lnTo>
                  <a:pt x="3751832" y="2564433"/>
                </a:lnTo>
                <a:lnTo>
                  <a:pt x="3784488" y="2542403"/>
                </a:lnTo>
                <a:lnTo>
                  <a:pt x="3806501" y="2509729"/>
                </a:lnTo>
                <a:lnTo>
                  <a:pt x="3814572" y="2469718"/>
                </a:lnTo>
                <a:lnTo>
                  <a:pt x="3814572" y="0"/>
                </a:lnTo>
                <a:close/>
              </a:path>
            </a:pathLst>
          </a:custGeom>
          <a:solidFill>
            <a:srgbClr val="FFFFFF"/>
          </a:solidFill>
        </p:spPr>
        <p:txBody>
          <a:bodyPr wrap="square" lIns="0" tIns="0" rIns="0" bIns="0" rtlCol="0"/>
          <a:lstStyle/>
          <a:p>
            <a:endParaRPr/>
          </a:p>
        </p:txBody>
      </p:sp>
      <p:sp>
        <p:nvSpPr>
          <p:cNvPr id="15" name="object 15"/>
          <p:cNvSpPr/>
          <p:nvPr/>
        </p:nvSpPr>
        <p:spPr>
          <a:xfrm>
            <a:off x="8101583" y="3886200"/>
            <a:ext cx="3815079" cy="2573020"/>
          </a:xfrm>
          <a:custGeom>
            <a:avLst/>
            <a:gdLst/>
            <a:ahLst/>
            <a:cxnLst/>
            <a:rect l="l" t="t" r="r" b="b"/>
            <a:pathLst>
              <a:path w="3815079" h="2573020">
                <a:moveTo>
                  <a:pt x="102743" y="0"/>
                </a:moveTo>
                <a:lnTo>
                  <a:pt x="3814572" y="0"/>
                </a:lnTo>
                <a:lnTo>
                  <a:pt x="3814572" y="2469718"/>
                </a:lnTo>
                <a:lnTo>
                  <a:pt x="3806501" y="2509729"/>
                </a:lnTo>
                <a:lnTo>
                  <a:pt x="3784488" y="2542403"/>
                </a:lnTo>
                <a:lnTo>
                  <a:pt x="3751832" y="2564433"/>
                </a:lnTo>
                <a:lnTo>
                  <a:pt x="3711829" y="2572512"/>
                </a:lnTo>
                <a:lnTo>
                  <a:pt x="0" y="2572512"/>
                </a:lnTo>
                <a:lnTo>
                  <a:pt x="0" y="102743"/>
                </a:lnTo>
                <a:lnTo>
                  <a:pt x="8070" y="62739"/>
                </a:lnTo>
                <a:lnTo>
                  <a:pt x="30083" y="30083"/>
                </a:lnTo>
                <a:lnTo>
                  <a:pt x="62739" y="8070"/>
                </a:lnTo>
                <a:lnTo>
                  <a:pt x="102743" y="0"/>
                </a:lnTo>
                <a:close/>
              </a:path>
            </a:pathLst>
          </a:custGeom>
          <a:ln w="12192">
            <a:solidFill>
              <a:srgbClr val="7E7E7E"/>
            </a:solidFill>
          </a:ln>
        </p:spPr>
        <p:txBody>
          <a:bodyPr wrap="square" lIns="0" tIns="0" rIns="0" bIns="0" rtlCol="0"/>
          <a:lstStyle/>
          <a:p>
            <a:endParaRPr/>
          </a:p>
        </p:txBody>
      </p:sp>
      <p:sp>
        <p:nvSpPr>
          <p:cNvPr id="16" name="object 16"/>
          <p:cNvSpPr txBox="1"/>
          <p:nvPr/>
        </p:nvSpPr>
        <p:spPr>
          <a:xfrm>
            <a:off x="8211439" y="3948810"/>
            <a:ext cx="3554095" cy="696595"/>
          </a:xfrm>
          <a:prstGeom prst="rect">
            <a:avLst/>
          </a:prstGeom>
        </p:spPr>
        <p:txBody>
          <a:bodyPr vert="horz" wrap="square" lIns="0" tIns="12700" rIns="0" bIns="0" rtlCol="0">
            <a:spAutoFit/>
          </a:bodyPr>
          <a:lstStyle/>
          <a:p>
            <a:pPr marL="12700" marR="5080">
              <a:lnSpc>
                <a:spcPct val="100000"/>
              </a:lnSpc>
              <a:spcBef>
                <a:spcPts val="100"/>
              </a:spcBef>
            </a:pPr>
            <a:r>
              <a:rPr sz="1100">
                <a:latin typeface="Verdana"/>
                <a:cs typeface="Verdana"/>
              </a:rPr>
              <a:t>As </a:t>
            </a:r>
            <a:r>
              <a:rPr sz="1100" spc="-5">
                <a:latin typeface="Verdana"/>
                <a:cs typeface="Verdana"/>
              </a:rPr>
              <a:t>part </a:t>
            </a:r>
            <a:r>
              <a:rPr sz="1100">
                <a:latin typeface="Verdana"/>
                <a:cs typeface="Verdana"/>
              </a:rPr>
              <a:t>of </a:t>
            </a:r>
            <a:r>
              <a:rPr sz="1100" spc="-5">
                <a:latin typeface="Verdana"/>
                <a:cs typeface="Verdana"/>
              </a:rPr>
              <a:t>it’s industrialisation efforts, Capgemini  has </a:t>
            </a:r>
            <a:r>
              <a:rPr sz="1100">
                <a:latin typeface="Verdana"/>
                <a:cs typeface="Verdana"/>
              </a:rPr>
              <a:t>developed a </a:t>
            </a:r>
            <a:r>
              <a:rPr sz="1100" b="1" spc="-5">
                <a:latin typeface="Verdana"/>
                <a:cs typeface="Verdana"/>
              </a:rPr>
              <a:t>library </a:t>
            </a:r>
            <a:r>
              <a:rPr sz="1100" b="1">
                <a:latin typeface="Verdana"/>
                <a:cs typeface="Verdana"/>
              </a:rPr>
              <a:t>of </a:t>
            </a:r>
            <a:r>
              <a:rPr sz="1100" b="1" spc="-5">
                <a:latin typeface="Verdana"/>
                <a:cs typeface="Verdana"/>
              </a:rPr>
              <a:t>reusable Salesforce  tools </a:t>
            </a:r>
            <a:r>
              <a:rPr sz="1100" b="1">
                <a:latin typeface="Verdana"/>
                <a:cs typeface="Verdana"/>
              </a:rPr>
              <a:t>&amp; </a:t>
            </a:r>
            <a:r>
              <a:rPr sz="1100" b="1" spc="-5">
                <a:latin typeface="Verdana"/>
                <a:cs typeface="Verdana"/>
              </a:rPr>
              <a:t>assets </a:t>
            </a:r>
            <a:r>
              <a:rPr sz="1100" spc="-5">
                <a:latin typeface="Verdana"/>
                <a:cs typeface="Verdana"/>
              </a:rPr>
              <a:t>which accelerate implementations  </a:t>
            </a:r>
            <a:r>
              <a:rPr sz="1100" spc="-10">
                <a:latin typeface="Verdana"/>
                <a:cs typeface="Verdana"/>
              </a:rPr>
              <a:t>while </a:t>
            </a:r>
            <a:r>
              <a:rPr sz="1100" spc="-5">
                <a:latin typeface="Verdana"/>
                <a:cs typeface="Verdana"/>
              </a:rPr>
              <a:t>minimising the</a:t>
            </a:r>
            <a:r>
              <a:rPr sz="1100" spc="70">
                <a:latin typeface="Verdana"/>
                <a:cs typeface="Verdana"/>
              </a:rPr>
              <a:t> </a:t>
            </a:r>
            <a:r>
              <a:rPr sz="1100" spc="-5">
                <a:latin typeface="Verdana"/>
                <a:cs typeface="Verdana"/>
              </a:rPr>
              <a:t>risks</a:t>
            </a:r>
            <a:endParaRPr sz="1100">
              <a:latin typeface="Verdana"/>
              <a:cs typeface="Verdana"/>
            </a:endParaRPr>
          </a:p>
        </p:txBody>
      </p:sp>
      <p:sp>
        <p:nvSpPr>
          <p:cNvPr id="17" name="object 17"/>
          <p:cNvSpPr/>
          <p:nvPr/>
        </p:nvSpPr>
        <p:spPr>
          <a:xfrm>
            <a:off x="248411" y="1136903"/>
            <a:ext cx="2868168" cy="2645664"/>
          </a:xfrm>
          <a:prstGeom prst="rect">
            <a:avLst/>
          </a:prstGeom>
          <a:blipFill>
            <a:blip r:embed="rId7" cstate="print"/>
            <a:stretch>
              <a:fillRect/>
            </a:stretch>
          </a:blipFill>
        </p:spPr>
        <p:txBody>
          <a:bodyPr wrap="square" lIns="0" tIns="0" rIns="0" bIns="0" rtlCol="0"/>
          <a:lstStyle/>
          <a:p>
            <a:endParaRPr/>
          </a:p>
        </p:txBody>
      </p:sp>
      <p:sp>
        <p:nvSpPr>
          <p:cNvPr id="18" name="object 18"/>
          <p:cNvSpPr/>
          <p:nvPr/>
        </p:nvSpPr>
        <p:spPr>
          <a:xfrm>
            <a:off x="294131" y="1178052"/>
            <a:ext cx="2827020" cy="1638300"/>
          </a:xfrm>
          <a:prstGeom prst="rect">
            <a:avLst/>
          </a:prstGeom>
          <a:blipFill>
            <a:blip r:embed="rId8" cstate="print"/>
            <a:stretch>
              <a:fillRect/>
            </a:stretch>
          </a:blipFill>
        </p:spPr>
        <p:txBody>
          <a:bodyPr wrap="square" lIns="0" tIns="0" rIns="0" bIns="0" rtlCol="0"/>
          <a:lstStyle/>
          <a:p>
            <a:endParaRPr/>
          </a:p>
        </p:txBody>
      </p:sp>
      <p:sp>
        <p:nvSpPr>
          <p:cNvPr id="19" name="object 19"/>
          <p:cNvSpPr/>
          <p:nvPr/>
        </p:nvSpPr>
        <p:spPr>
          <a:xfrm>
            <a:off x="227075" y="1120139"/>
            <a:ext cx="2853055" cy="2630805"/>
          </a:xfrm>
          <a:custGeom>
            <a:avLst/>
            <a:gdLst/>
            <a:ahLst/>
            <a:cxnLst/>
            <a:rect l="l" t="t" r="r" b="b"/>
            <a:pathLst>
              <a:path w="2853055" h="2630804">
                <a:moveTo>
                  <a:pt x="2852928" y="0"/>
                </a:moveTo>
                <a:lnTo>
                  <a:pt x="105117" y="0"/>
                </a:lnTo>
                <a:lnTo>
                  <a:pt x="64202" y="8268"/>
                </a:lnTo>
                <a:lnTo>
                  <a:pt x="30789" y="30813"/>
                </a:lnTo>
                <a:lnTo>
                  <a:pt x="8261" y="64240"/>
                </a:lnTo>
                <a:lnTo>
                  <a:pt x="0" y="105156"/>
                </a:lnTo>
                <a:lnTo>
                  <a:pt x="0" y="2630424"/>
                </a:lnTo>
                <a:lnTo>
                  <a:pt x="2747772" y="2630424"/>
                </a:lnTo>
                <a:lnTo>
                  <a:pt x="2788687" y="2622155"/>
                </a:lnTo>
                <a:lnTo>
                  <a:pt x="2822114" y="2599610"/>
                </a:lnTo>
                <a:lnTo>
                  <a:pt x="2844659" y="2566183"/>
                </a:lnTo>
                <a:lnTo>
                  <a:pt x="2852928" y="2525268"/>
                </a:lnTo>
                <a:lnTo>
                  <a:pt x="2852928" y="0"/>
                </a:lnTo>
                <a:close/>
              </a:path>
            </a:pathLst>
          </a:custGeom>
          <a:solidFill>
            <a:srgbClr val="FFFFFF"/>
          </a:solidFill>
        </p:spPr>
        <p:txBody>
          <a:bodyPr wrap="square" lIns="0" tIns="0" rIns="0" bIns="0" rtlCol="0"/>
          <a:lstStyle/>
          <a:p>
            <a:endParaRPr/>
          </a:p>
        </p:txBody>
      </p:sp>
      <p:sp>
        <p:nvSpPr>
          <p:cNvPr id="20" name="object 20"/>
          <p:cNvSpPr/>
          <p:nvPr/>
        </p:nvSpPr>
        <p:spPr>
          <a:xfrm>
            <a:off x="227075" y="1120139"/>
            <a:ext cx="2853055" cy="2630805"/>
          </a:xfrm>
          <a:custGeom>
            <a:avLst/>
            <a:gdLst/>
            <a:ahLst/>
            <a:cxnLst/>
            <a:rect l="l" t="t" r="r" b="b"/>
            <a:pathLst>
              <a:path w="2853055" h="2630804">
                <a:moveTo>
                  <a:pt x="105117" y="0"/>
                </a:moveTo>
                <a:lnTo>
                  <a:pt x="2852928" y="0"/>
                </a:lnTo>
                <a:lnTo>
                  <a:pt x="2852928" y="2525268"/>
                </a:lnTo>
                <a:lnTo>
                  <a:pt x="2844659" y="2566183"/>
                </a:lnTo>
                <a:lnTo>
                  <a:pt x="2822114" y="2599610"/>
                </a:lnTo>
                <a:lnTo>
                  <a:pt x="2788687" y="2622155"/>
                </a:lnTo>
                <a:lnTo>
                  <a:pt x="2747772" y="2630424"/>
                </a:lnTo>
                <a:lnTo>
                  <a:pt x="0" y="2630424"/>
                </a:lnTo>
                <a:lnTo>
                  <a:pt x="0" y="105156"/>
                </a:lnTo>
                <a:lnTo>
                  <a:pt x="8261" y="64240"/>
                </a:lnTo>
                <a:lnTo>
                  <a:pt x="30789" y="30813"/>
                </a:lnTo>
                <a:lnTo>
                  <a:pt x="64202" y="8268"/>
                </a:lnTo>
                <a:lnTo>
                  <a:pt x="105117" y="0"/>
                </a:lnTo>
                <a:close/>
              </a:path>
            </a:pathLst>
          </a:custGeom>
          <a:ln w="12192">
            <a:solidFill>
              <a:srgbClr val="006FAC"/>
            </a:solidFill>
          </a:ln>
        </p:spPr>
        <p:txBody>
          <a:bodyPr wrap="square" lIns="0" tIns="0" rIns="0" bIns="0" rtlCol="0"/>
          <a:lstStyle/>
          <a:p>
            <a:endParaRPr/>
          </a:p>
        </p:txBody>
      </p:sp>
      <p:sp>
        <p:nvSpPr>
          <p:cNvPr id="21" name="object 21"/>
          <p:cNvSpPr txBox="1"/>
          <p:nvPr/>
        </p:nvSpPr>
        <p:spPr>
          <a:xfrm>
            <a:off x="336905" y="1183386"/>
            <a:ext cx="2633345" cy="1535430"/>
          </a:xfrm>
          <a:prstGeom prst="rect">
            <a:avLst/>
          </a:prstGeom>
        </p:spPr>
        <p:txBody>
          <a:bodyPr vert="horz" wrap="square" lIns="0" tIns="13335" rIns="0" bIns="0" rtlCol="0">
            <a:spAutoFit/>
          </a:bodyPr>
          <a:lstStyle/>
          <a:p>
            <a:pPr marL="12700" marR="5080">
              <a:lnSpc>
                <a:spcPct val="100000"/>
              </a:lnSpc>
              <a:spcBef>
                <a:spcPts val="105"/>
              </a:spcBef>
            </a:pPr>
            <a:r>
              <a:rPr sz="1100" b="1" spc="-5">
                <a:latin typeface="Verdana"/>
                <a:cs typeface="Verdana"/>
              </a:rPr>
              <a:t>Tailored Agile </a:t>
            </a:r>
            <a:r>
              <a:rPr sz="1100">
                <a:latin typeface="Verdana"/>
                <a:cs typeface="Verdana"/>
              </a:rPr>
              <a:t>Methodology for  </a:t>
            </a:r>
            <a:r>
              <a:rPr sz="1100" spc="-5">
                <a:latin typeface="Verdana"/>
                <a:cs typeface="Verdana"/>
              </a:rPr>
              <a:t>Omnichannel implementations. </a:t>
            </a:r>
            <a:r>
              <a:rPr sz="1100">
                <a:latin typeface="Verdana"/>
                <a:cs typeface="Verdana"/>
              </a:rPr>
              <a:t>It </a:t>
            </a:r>
            <a:r>
              <a:rPr sz="1100" spc="-10">
                <a:latin typeface="Verdana"/>
                <a:cs typeface="Verdana"/>
              </a:rPr>
              <a:t>is  </a:t>
            </a:r>
            <a:r>
              <a:rPr sz="1100">
                <a:latin typeface="Verdana"/>
                <a:cs typeface="Verdana"/>
              </a:rPr>
              <a:t>a </a:t>
            </a:r>
            <a:r>
              <a:rPr sz="1100" spc="-5">
                <a:latin typeface="Verdana"/>
                <a:cs typeface="Verdana"/>
              </a:rPr>
              <a:t>structured approach to deliver  solutions </a:t>
            </a:r>
            <a:r>
              <a:rPr sz="1100" spc="-10">
                <a:latin typeface="Verdana"/>
                <a:cs typeface="Verdana"/>
              </a:rPr>
              <a:t>in </a:t>
            </a:r>
            <a:r>
              <a:rPr sz="1100" spc="-5">
                <a:latin typeface="Verdana"/>
                <a:cs typeface="Verdana"/>
              </a:rPr>
              <a:t>4-6 </a:t>
            </a:r>
            <a:r>
              <a:rPr sz="1100">
                <a:latin typeface="Verdana"/>
                <a:cs typeface="Verdana"/>
              </a:rPr>
              <a:t>months, and  </a:t>
            </a:r>
            <a:r>
              <a:rPr sz="1100" spc="-5">
                <a:latin typeface="Verdana"/>
                <a:cs typeface="Verdana"/>
              </a:rPr>
              <a:t>includes iterative Design,  </a:t>
            </a:r>
            <a:r>
              <a:rPr sz="1100">
                <a:latin typeface="Verdana"/>
                <a:cs typeface="Verdana"/>
              </a:rPr>
              <a:t>Development &amp; </a:t>
            </a:r>
            <a:r>
              <a:rPr sz="1100" spc="-10">
                <a:latin typeface="Verdana"/>
                <a:cs typeface="Verdana"/>
              </a:rPr>
              <a:t>Unit </a:t>
            </a:r>
            <a:r>
              <a:rPr sz="1100" spc="-5">
                <a:latin typeface="Verdana"/>
                <a:cs typeface="Verdana"/>
              </a:rPr>
              <a:t>Testing. </a:t>
            </a:r>
            <a:r>
              <a:rPr sz="1100">
                <a:latin typeface="Verdana"/>
                <a:cs typeface="Verdana"/>
              </a:rPr>
              <a:t>It </a:t>
            </a:r>
            <a:r>
              <a:rPr sz="1100" spc="-5">
                <a:latin typeface="Verdana"/>
                <a:cs typeface="Verdana"/>
              </a:rPr>
              <a:t>helps  drive adoption with </a:t>
            </a:r>
            <a:r>
              <a:rPr sz="1100">
                <a:latin typeface="Verdana"/>
                <a:cs typeface="Verdana"/>
              </a:rPr>
              <a:t>a </a:t>
            </a:r>
            <a:r>
              <a:rPr sz="1100" spc="-5">
                <a:latin typeface="Verdana"/>
                <a:cs typeface="Verdana"/>
              </a:rPr>
              <a:t>combination </a:t>
            </a:r>
            <a:r>
              <a:rPr sz="1100">
                <a:latin typeface="Verdana"/>
                <a:cs typeface="Verdana"/>
              </a:rPr>
              <a:t>of  </a:t>
            </a:r>
            <a:r>
              <a:rPr sz="1100" spc="-5">
                <a:latin typeface="Verdana"/>
                <a:cs typeface="Verdana"/>
              </a:rPr>
              <a:t>early business testing </a:t>
            </a:r>
            <a:r>
              <a:rPr sz="1100">
                <a:latin typeface="Verdana"/>
                <a:cs typeface="Verdana"/>
              </a:rPr>
              <a:t>and </a:t>
            </a:r>
            <a:r>
              <a:rPr sz="1100" spc="-5">
                <a:latin typeface="Verdana"/>
                <a:cs typeface="Verdana"/>
              </a:rPr>
              <a:t>rapid,  iterative</a:t>
            </a:r>
            <a:r>
              <a:rPr sz="1100" spc="15">
                <a:latin typeface="Verdana"/>
                <a:cs typeface="Verdana"/>
              </a:rPr>
              <a:t> </a:t>
            </a:r>
            <a:r>
              <a:rPr sz="1100" spc="-5">
                <a:latin typeface="Verdana"/>
                <a:cs typeface="Verdana"/>
              </a:rPr>
              <a:t>rollouts</a:t>
            </a:r>
            <a:endParaRPr sz="1100">
              <a:latin typeface="Verdana"/>
              <a:cs typeface="Verdana"/>
            </a:endParaRPr>
          </a:p>
        </p:txBody>
      </p:sp>
      <p:sp>
        <p:nvSpPr>
          <p:cNvPr id="22" name="object 22"/>
          <p:cNvSpPr/>
          <p:nvPr/>
        </p:nvSpPr>
        <p:spPr>
          <a:xfrm>
            <a:off x="3194304" y="1136903"/>
            <a:ext cx="2868168" cy="2645664"/>
          </a:xfrm>
          <a:prstGeom prst="rect">
            <a:avLst/>
          </a:prstGeom>
          <a:blipFill>
            <a:blip r:embed="rId9" cstate="print"/>
            <a:stretch>
              <a:fillRect/>
            </a:stretch>
          </a:blipFill>
        </p:spPr>
        <p:txBody>
          <a:bodyPr wrap="square" lIns="0" tIns="0" rIns="0" bIns="0" rtlCol="0"/>
          <a:lstStyle/>
          <a:p>
            <a:endParaRPr/>
          </a:p>
        </p:txBody>
      </p:sp>
      <p:sp>
        <p:nvSpPr>
          <p:cNvPr id="23" name="object 23"/>
          <p:cNvSpPr/>
          <p:nvPr/>
        </p:nvSpPr>
        <p:spPr>
          <a:xfrm>
            <a:off x="3172967" y="1120139"/>
            <a:ext cx="2853055" cy="2630805"/>
          </a:xfrm>
          <a:custGeom>
            <a:avLst/>
            <a:gdLst/>
            <a:ahLst/>
            <a:cxnLst/>
            <a:rect l="l" t="t" r="r" b="b"/>
            <a:pathLst>
              <a:path w="2853054" h="2630804">
                <a:moveTo>
                  <a:pt x="2852928" y="0"/>
                </a:moveTo>
                <a:lnTo>
                  <a:pt x="105156" y="0"/>
                </a:lnTo>
                <a:lnTo>
                  <a:pt x="64240" y="8268"/>
                </a:lnTo>
                <a:lnTo>
                  <a:pt x="30813" y="30813"/>
                </a:lnTo>
                <a:lnTo>
                  <a:pt x="8268" y="64240"/>
                </a:lnTo>
                <a:lnTo>
                  <a:pt x="0" y="105156"/>
                </a:lnTo>
                <a:lnTo>
                  <a:pt x="0" y="2630424"/>
                </a:lnTo>
                <a:lnTo>
                  <a:pt x="2747772" y="2630424"/>
                </a:lnTo>
                <a:lnTo>
                  <a:pt x="2788687" y="2622155"/>
                </a:lnTo>
                <a:lnTo>
                  <a:pt x="2822114" y="2599610"/>
                </a:lnTo>
                <a:lnTo>
                  <a:pt x="2844659" y="2566183"/>
                </a:lnTo>
                <a:lnTo>
                  <a:pt x="2852928" y="2525268"/>
                </a:lnTo>
                <a:lnTo>
                  <a:pt x="2852928" y="0"/>
                </a:lnTo>
                <a:close/>
              </a:path>
            </a:pathLst>
          </a:custGeom>
          <a:solidFill>
            <a:srgbClr val="FFFFFF"/>
          </a:solidFill>
        </p:spPr>
        <p:txBody>
          <a:bodyPr wrap="square" lIns="0" tIns="0" rIns="0" bIns="0" rtlCol="0"/>
          <a:lstStyle/>
          <a:p>
            <a:endParaRPr/>
          </a:p>
        </p:txBody>
      </p:sp>
      <p:sp>
        <p:nvSpPr>
          <p:cNvPr id="24" name="object 24"/>
          <p:cNvSpPr/>
          <p:nvPr/>
        </p:nvSpPr>
        <p:spPr>
          <a:xfrm>
            <a:off x="3172967" y="1120139"/>
            <a:ext cx="2853055" cy="2630805"/>
          </a:xfrm>
          <a:custGeom>
            <a:avLst/>
            <a:gdLst/>
            <a:ahLst/>
            <a:cxnLst/>
            <a:rect l="l" t="t" r="r" b="b"/>
            <a:pathLst>
              <a:path w="2853054" h="2630804">
                <a:moveTo>
                  <a:pt x="105156" y="0"/>
                </a:moveTo>
                <a:lnTo>
                  <a:pt x="2852928" y="0"/>
                </a:lnTo>
                <a:lnTo>
                  <a:pt x="2852928" y="2525268"/>
                </a:lnTo>
                <a:lnTo>
                  <a:pt x="2844659" y="2566183"/>
                </a:lnTo>
                <a:lnTo>
                  <a:pt x="2822114" y="2599610"/>
                </a:lnTo>
                <a:lnTo>
                  <a:pt x="2788687" y="2622155"/>
                </a:lnTo>
                <a:lnTo>
                  <a:pt x="2747772" y="2630424"/>
                </a:lnTo>
                <a:lnTo>
                  <a:pt x="0" y="2630424"/>
                </a:lnTo>
                <a:lnTo>
                  <a:pt x="0" y="105156"/>
                </a:lnTo>
                <a:lnTo>
                  <a:pt x="8268" y="64240"/>
                </a:lnTo>
                <a:lnTo>
                  <a:pt x="30813" y="30813"/>
                </a:lnTo>
                <a:lnTo>
                  <a:pt x="64240" y="8268"/>
                </a:lnTo>
                <a:lnTo>
                  <a:pt x="105156" y="0"/>
                </a:lnTo>
                <a:close/>
              </a:path>
            </a:pathLst>
          </a:custGeom>
          <a:ln w="12192">
            <a:solidFill>
              <a:srgbClr val="421F5D"/>
            </a:solidFill>
          </a:ln>
        </p:spPr>
        <p:txBody>
          <a:bodyPr wrap="square" lIns="0" tIns="0" rIns="0" bIns="0" rtlCol="0"/>
          <a:lstStyle/>
          <a:p>
            <a:endParaRPr/>
          </a:p>
        </p:txBody>
      </p:sp>
      <p:sp>
        <p:nvSpPr>
          <p:cNvPr id="25" name="object 25"/>
          <p:cNvSpPr txBox="1"/>
          <p:nvPr/>
        </p:nvSpPr>
        <p:spPr>
          <a:xfrm>
            <a:off x="3282441" y="1183386"/>
            <a:ext cx="2590165" cy="1367790"/>
          </a:xfrm>
          <a:prstGeom prst="rect">
            <a:avLst/>
          </a:prstGeom>
        </p:spPr>
        <p:txBody>
          <a:bodyPr vert="horz" wrap="square" lIns="0" tIns="13335" rIns="0" bIns="0" rtlCol="0">
            <a:spAutoFit/>
          </a:bodyPr>
          <a:lstStyle/>
          <a:p>
            <a:pPr marL="12700" marR="5080">
              <a:lnSpc>
                <a:spcPct val="100000"/>
              </a:lnSpc>
              <a:spcBef>
                <a:spcPts val="105"/>
              </a:spcBef>
            </a:pPr>
            <a:r>
              <a:rPr sz="1100" b="1" spc="-5">
                <a:latin typeface="Verdana"/>
                <a:cs typeface="Verdana"/>
              </a:rPr>
              <a:t>Rapid Solution </a:t>
            </a:r>
            <a:r>
              <a:rPr sz="1100" b="1">
                <a:latin typeface="Verdana"/>
                <a:cs typeface="Verdana"/>
              </a:rPr>
              <a:t>Workshops </a:t>
            </a:r>
            <a:r>
              <a:rPr sz="1100" spc="-5">
                <a:latin typeface="Verdana"/>
                <a:cs typeface="Verdana"/>
              </a:rPr>
              <a:t>are  </a:t>
            </a:r>
            <a:r>
              <a:rPr sz="1100">
                <a:latin typeface="Verdana"/>
                <a:cs typeface="Verdana"/>
              </a:rPr>
              <a:t>based on </a:t>
            </a:r>
            <a:r>
              <a:rPr sz="1100" spc="-5">
                <a:latin typeface="Verdana"/>
                <a:cs typeface="Verdana"/>
              </a:rPr>
              <a:t>Capgemini’s </a:t>
            </a:r>
            <a:r>
              <a:rPr sz="1100">
                <a:latin typeface="Verdana"/>
                <a:cs typeface="Verdana"/>
              </a:rPr>
              <a:t>Accelerated  </a:t>
            </a:r>
            <a:r>
              <a:rPr sz="1100" spc="-5">
                <a:latin typeface="Verdana"/>
                <a:cs typeface="Verdana"/>
              </a:rPr>
              <a:t>Solutions Environment </a:t>
            </a:r>
            <a:r>
              <a:rPr sz="1100">
                <a:latin typeface="Verdana"/>
                <a:cs typeface="Verdana"/>
              </a:rPr>
              <a:t>(ASE) </a:t>
            </a:r>
            <a:r>
              <a:rPr sz="1100" spc="-5">
                <a:latin typeface="Verdana"/>
                <a:cs typeface="Verdana"/>
              </a:rPr>
              <a:t>format  </a:t>
            </a:r>
            <a:r>
              <a:rPr sz="1100">
                <a:latin typeface="Verdana"/>
                <a:cs typeface="Verdana"/>
              </a:rPr>
              <a:t>&amp; </a:t>
            </a:r>
            <a:r>
              <a:rPr sz="1100" spc="-5">
                <a:latin typeface="Verdana"/>
                <a:cs typeface="Verdana"/>
              </a:rPr>
              <a:t>are aimed at achieving the rapid  development </a:t>
            </a:r>
            <a:r>
              <a:rPr sz="1100">
                <a:latin typeface="Verdana"/>
                <a:cs typeface="Verdana"/>
              </a:rPr>
              <a:t>of </a:t>
            </a:r>
            <a:r>
              <a:rPr sz="1100" spc="-5">
                <a:latin typeface="Verdana"/>
                <a:cs typeface="Verdana"/>
              </a:rPr>
              <a:t>solutions including  end-state definition, detailed  </a:t>
            </a:r>
            <a:r>
              <a:rPr sz="1100">
                <a:latin typeface="Verdana"/>
                <a:cs typeface="Verdana"/>
              </a:rPr>
              <a:t>process </a:t>
            </a:r>
            <a:r>
              <a:rPr sz="1100" spc="-5">
                <a:latin typeface="Verdana"/>
                <a:cs typeface="Verdana"/>
              </a:rPr>
              <a:t>architecture </a:t>
            </a:r>
            <a:r>
              <a:rPr sz="1100">
                <a:latin typeface="Verdana"/>
                <a:cs typeface="Verdana"/>
              </a:rPr>
              <a:t>and </a:t>
            </a:r>
            <a:r>
              <a:rPr sz="1100" spc="-5">
                <a:latin typeface="Verdana"/>
                <a:cs typeface="Verdana"/>
              </a:rPr>
              <a:t>local  variations </a:t>
            </a:r>
            <a:r>
              <a:rPr sz="1100">
                <a:latin typeface="Verdana"/>
                <a:cs typeface="Verdana"/>
              </a:rPr>
              <a:t>of an</a:t>
            </a:r>
            <a:r>
              <a:rPr sz="1100" spc="5">
                <a:latin typeface="Verdana"/>
                <a:cs typeface="Verdana"/>
              </a:rPr>
              <a:t> </a:t>
            </a:r>
            <a:r>
              <a:rPr sz="1100" spc="-5">
                <a:latin typeface="Verdana"/>
                <a:cs typeface="Verdana"/>
              </a:rPr>
              <a:t>implementation</a:t>
            </a:r>
            <a:endParaRPr sz="1100">
              <a:latin typeface="Verdana"/>
              <a:cs typeface="Verdana"/>
            </a:endParaRPr>
          </a:p>
        </p:txBody>
      </p:sp>
      <p:sp>
        <p:nvSpPr>
          <p:cNvPr id="26" name="object 26"/>
          <p:cNvSpPr/>
          <p:nvPr/>
        </p:nvSpPr>
        <p:spPr>
          <a:xfrm>
            <a:off x="6138671" y="1136903"/>
            <a:ext cx="2868168" cy="2645664"/>
          </a:xfrm>
          <a:prstGeom prst="rect">
            <a:avLst/>
          </a:prstGeom>
          <a:blipFill>
            <a:blip r:embed="rId10" cstate="print"/>
            <a:stretch>
              <a:fillRect/>
            </a:stretch>
          </a:blipFill>
        </p:spPr>
        <p:txBody>
          <a:bodyPr wrap="square" lIns="0" tIns="0" rIns="0" bIns="0" rtlCol="0"/>
          <a:lstStyle/>
          <a:p>
            <a:endParaRPr/>
          </a:p>
        </p:txBody>
      </p:sp>
      <p:sp>
        <p:nvSpPr>
          <p:cNvPr id="27" name="object 27"/>
          <p:cNvSpPr/>
          <p:nvPr/>
        </p:nvSpPr>
        <p:spPr>
          <a:xfrm>
            <a:off x="6117335" y="1120139"/>
            <a:ext cx="2853055" cy="2630805"/>
          </a:xfrm>
          <a:custGeom>
            <a:avLst/>
            <a:gdLst/>
            <a:ahLst/>
            <a:cxnLst/>
            <a:rect l="l" t="t" r="r" b="b"/>
            <a:pathLst>
              <a:path w="2853054" h="2630804">
                <a:moveTo>
                  <a:pt x="2852928" y="0"/>
                </a:moveTo>
                <a:lnTo>
                  <a:pt x="105155" y="0"/>
                </a:lnTo>
                <a:lnTo>
                  <a:pt x="64240" y="8268"/>
                </a:lnTo>
                <a:lnTo>
                  <a:pt x="30813" y="30813"/>
                </a:lnTo>
                <a:lnTo>
                  <a:pt x="8268" y="64240"/>
                </a:lnTo>
                <a:lnTo>
                  <a:pt x="0" y="105156"/>
                </a:lnTo>
                <a:lnTo>
                  <a:pt x="0" y="2630424"/>
                </a:lnTo>
                <a:lnTo>
                  <a:pt x="2747771" y="2630424"/>
                </a:lnTo>
                <a:lnTo>
                  <a:pt x="2788687" y="2622155"/>
                </a:lnTo>
                <a:lnTo>
                  <a:pt x="2822114" y="2599610"/>
                </a:lnTo>
                <a:lnTo>
                  <a:pt x="2844659" y="2566183"/>
                </a:lnTo>
                <a:lnTo>
                  <a:pt x="2852928" y="2525268"/>
                </a:lnTo>
                <a:lnTo>
                  <a:pt x="2852928" y="0"/>
                </a:lnTo>
                <a:close/>
              </a:path>
            </a:pathLst>
          </a:custGeom>
          <a:solidFill>
            <a:srgbClr val="FFFFFF"/>
          </a:solidFill>
        </p:spPr>
        <p:txBody>
          <a:bodyPr wrap="square" lIns="0" tIns="0" rIns="0" bIns="0" rtlCol="0"/>
          <a:lstStyle/>
          <a:p>
            <a:endParaRPr/>
          </a:p>
        </p:txBody>
      </p:sp>
      <p:sp>
        <p:nvSpPr>
          <p:cNvPr id="28" name="object 28"/>
          <p:cNvSpPr/>
          <p:nvPr/>
        </p:nvSpPr>
        <p:spPr>
          <a:xfrm>
            <a:off x="6117335" y="1120139"/>
            <a:ext cx="2853055" cy="2630805"/>
          </a:xfrm>
          <a:custGeom>
            <a:avLst/>
            <a:gdLst/>
            <a:ahLst/>
            <a:cxnLst/>
            <a:rect l="l" t="t" r="r" b="b"/>
            <a:pathLst>
              <a:path w="2853054" h="2630804">
                <a:moveTo>
                  <a:pt x="105155" y="0"/>
                </a:moveTo>
                <a:lnTo>
                  <a:pt x="2852928" y="0"/>
                </a:lnTo>
                <a:lnTo>
                  <a:pt x="2852928" y="2525268"/>
                </a:lnTo>
                <a:lnTo>
                  <a:pt x="2844659" y="2566183"/>
                </a:lnTo>
                <a:lnTo>
                  <a:pt x="2822114" y="2599610"/>
                </a:lnTo>
                <a:lnTo>
                  <a:pt x="2788687" y="2622155"/>
                </a:lnTo>
                <a:lnTo>
                  <a:pt x="2747771" y="2630424"/>
                </a:lnTo>
                <a:lnTo>
                  <a:pt x="0" y="2630424"/>
                </a:lnTo>
                <a:lnTo>
                  <a:pt x="0" y="105156"/>
                </a:lnTo>
                <a:lnTo>
                  <a:pt x="8268" y="64240"/>
                </a:lnTo>
                <a:lnTo>
                  <a:pt x="30813" y="30813"/>
                </a:lnTo>
                <a:lnTo>
                  <a:pt x="64240" y="8268"/>
                </a:lnTo>
                <a:lnTo>
                  <a:pt x="105155" y="0"/>
                </a:lnTo>
                <a:close/>
              </a:path>
            </a:pathLst>
          </a:custGeom>
          <a:ln w="12192">
            <a:solidFill>
              <a:srgbClr val="12ABDB"/>
            </a:solidFill>
          </a:ln>
        </p:spPr>
        <p:txBody>
          <a:bodyPr wrap="square" lIns="0" tIns="0" rIns="0" bIns="0" rtlCol="0"/>
          <a:lstStyle/>
          <a:p>
            <a:endParaRPr/>
          </a:p>
        </p:txBody>
      </p:sp>
      <p:sp>
        <p:nvSpPr>
          <p:cNvPr id="29" name="object 29"/>
          <p:cNvSpPr txBox="1"/>
          <p:nvPr/>
        </p:nvSpPr>
        <p:spPr>
          <a:xfrm>
            <a:off x="6227826" y="1183386"/>
            <a:ext cx="2578735" cy="1200150"/>
          </a:xfrm>
          <a:prstGeom prst="rect">
            <a:avLst/>
          </a:prstGeom>
        </p:spPr>
        <p:txBody>
          <a:bodyPr vert="horz" wrap="square" lIns="0" tIns="13335" rIns="0" bIns="0" rtlCol="0">
            <a:spAutoFit/>
          </a:bodyPr>
          <a:lstStyle/>
          <a:p>
            <a:pPr marL="12700" marR="5080">
              <a:lnSpc>
                <a:spcPct val="100000"/>
              </a:lnSpc>
              <a:spcBef>
                <a:spcPts val="105"/>
              </a:spcBef>
            </a:pPr>
            <a:r>
              <a:rPr sz="1100">
                <a:latin typeface="Verdana"/>
                <a:cs typeface="Verdana"/>
              </a:rPr>
              <a:t>The </a:t>
            </a:r>
            <a:r>
              <a:rPr sz="1100" b="1" spc="-5">
                <a:latin typeface="Verdana"/>
                <a:cs typeface="Verdana"/>
              </a:rPr>
              <a:t>Functionality Matrix </a:t>
            </a:r>
            <a:r>
              <a:rPr sz="1100" b="1">
                <a:latin typeface="Verdana"/>
                <a:cs typeface="Verdana"/>
              </a:rPr>
              <a:t>&amp;  </a:t>
            </a:r>
            <a:r>
              <a:rPr sz="1100" b="1" spc="-5">
                <a:latin typeface="Verdana"/>
                <a:cs typeface="Verdana"/>
              </a:rPr>
              <a:t>Requirements </a:t>
            </a:r>
            <a:r>
              <a:rPr sz="1100" b="1">
                <a:latin typeface="Verdana"/>
                <a:cs typeface="Verdana"/>
              </a:rPr>
              <a:t>Gathering  </a:t>
            </a:r>
            <a:r>
              <a:rPr sz="1100" b="1" spc="-5">
                <a:latin typeface="Verdana"/>
                <a:cs typeface="Verdana"/>
              </a:rPr>
              <a:t>accelerator </a:t>
            </a:r>
            <a:r>
              <a:rPr sz="1100" spc="-5">
                <a:latin typeface="Verdana"/>
                <a:cs typeface="Verdana"/>
              </a:rPr>
              <a:t>helps define, prioritise,  </a:t>
            </a:r>
            <a:r>
              <a:rPr sz="1100">
                <a:latin typeface="Verdana"/>
                <a:cs typeface="Verdana"/>
              </a:rPr>
              <a:t>and </a:t>
            </a:r>
            <a:r>
              <a:rPr sz="1100" spc="-5">
                <a:latin typeface="Verdana"/>
                <a:cs typeface="Verdana"/>
              </a:rPr>
              <a:t>map the functional  requirements to the underlying  business </a:t>
            </a:r>
            <a:r>
              <a:rPr sz="1100">
                <a:latin typeface="Verdana"/>
                <a:cs typeface="Verdana"/>
              </a:rPr>
              <a:t>process steps and </a:t>
            </a:r>
            <a:r>
              <a:rPr sz="1100" spc="-5">
                <a:latin typeface="Verdana"/>
                <a:cs typeface="Verdana"/>
              </a:rPr>
              <a:t>required  data interfaces</a:t>
            </a:r>
            <a:endParaRPr sz="1100">
              <a:latin typeface="Verdana"/>
              <a:cs typeface="Verdana"/>
            </a:endParaRPr>
          </a:p>
        </p:txBody>
      </p:sp>
      <p:sp>
        <p:nvSpPr>
          <p:cNvPr id="30" name="object 30"/>
          <p:cNvSpPr/>
          <p:nvPr/>
        </p:nvSpPr>
        <p:spPr>
          <a:xfrm>
            <a:off x="9084564" y="1136903"/>
            <a:ext cx="2868168" cy="2645664"/>
          </a:xfrm>
          <a:prstGeom prst="rect">
            <a:avLst/>
          </a:prstGeom>
          <a:blipFill>
            <a:blip r:embed="rId11" cstate="print"/>
            <a:stretch>
              <a:fillRect/>
            </a:stretch>
          </a:blipFill>
        </p:spPr>
        <p:txBody>
          <a:bodyPr wrap="square" lIns="0" tIns="0" rIns="0" bIns="0" rtlCol="0"/>
          <a:lstStyle/>
          <a:p>
            <a:endParaRPr/>
          </a:p>
        </p:txBody>
      </p:sp>
      <p:sp>
        <p:nvSpPr>
          <p:cNvPr id="31" name="object 31"/>
          <p:cNvSpPr/>
          <p:nvPr/>
        </p:nvSpPr>
        <p:spPr>
          <a:xfrm>
            <a:off x="9063228" y="1120139"/>
            <a:ext cx="2853055" cy="2630805"/>
          </a:xfrm>
          <a:custGeom>
            <a:avLst/>
            <a:gdLst/>
            <a:ahLst/>
            <a:cxnLst/>
            <a:rect l="l" t="t" r="r" b="b"/>
            <a:pathLst>
              <a:path w="2853054" h="2630804">
                <a:moveTo>
                  <a:pt x="2852928" y="0"/>
                </a:moveTo>
                <a:lnTo>
                  <a:pt x="105155" y="0"/>
                </a:lnTo>
                <a:lnTo>
                  <a:pt x="64240" y="8268"/>
                </a:lnTo>
                <a:lnTo>
                  <a:pt x="30813" y="30813"/>
                </a:lnTo>
                <a:lnTo>
                  <a:pt x="8268" y="64240"/>
                </a:lnTo>
                <a:lnTo>
                  <a:pt x="0" y="105156"/>
                </a:lnTo>
                <a:lnTo>
                  <a:pt x="0" y="2630424"/>
                </a:lnTo>
                <a:lnTo>
                  <a:pt x="2747772" y="2630424"/>
                </a:lnTo>
                <a:lnTo>
                  <a:pt x="2788687" y="2622155"/>
                </a:lnTo>
                <a:lnTo>
                  <a:pt x="2822114" y="2599610"/>
                </a:lnTo>
                <a:lnTo>
                  <a:pt x="2844659" y="2566183"/>
                </a:lnTo>
                <a:lnTo>
                  <a:pt x="2852928" y="2525268"/>
                </a:lnTo>
                <a:lnTo>
                  <a:pt x="2852928" y="0"/>
                </a:lnTo>
                <a:close/>
              </a:path>
            </a:pathLst>
          </a:custGeom>
          <a:solidFill>
            <a:srgbClr val="FFFFFF"/>
          </a:solidFill>
        </p:spPr>
        <p:txBody>
          <a:bodyPr wrap="square" lIns="0" tIns="0" rIns="0" bIns="0" rtlCol="0"/>
          <a:lstStyle/>
          <a:p>
            <a:endParaRPr/>
          </a:p>
        </p:txBody>
      </p:sp>
      <p:sp>
        <p:nvSpPr>
          <p:cNvPr id="32" name="object 32"/>
          <p:cNvSpPr/>
          <p:nvPr/>
        </p:nvSpPr>
        <p:spPr>
          <a:xfrm>
            <a:off x="9063228" y="1120139"/>
            <a:ext cx="2853055" cy="2630805"/>
          </a:xfrm>
          <a:custGeom>
            <a:avLst/>
            <a:gdLst/>
            <a:ahLst/>
            <a:cxnLst/>
            <a:rect l="l" t="t" r="r" b="b"/>
            <a:pathLst>
              <a:path w="2853054" h="2630804">
                <a:moveTo>
                  <a:pt x="105155" y="0"/>
                </a:moveTo>
                <a:lnTo>
                  <a:pt x="2852928" y="0"/>
                </a:lnTo>
                <a:lnTo>
                  <a:pt x="2852928" y="2525268"/>
                </a:lnTo>
                <a:lnTo>
                  <a:pt x="2844659" y="2566183"/>
                </a:lnTo>
                <a:lnTo>
                  <a:pt x="2822114" y="2599610"/>
                </a:lnTo>
                <a:lnTo>
                  <a:pt x="2788687" y="2622155"/>
                </a:lnTo>
                <a:lnTo>
                  <a:pt x="2747772" y="2630424"/>
                </a:lnTo>
                <a:lnTo>
                  <a:pt x="0" y="2630424"/>
                </a:lnTo>
                <a:lnTo>
                  <a:pt x="0" y="105156"/>
                </a:lnTo>
                <a:lnTo>
                  <a:pt x="8268" y="64240"/>
                </a:lnTo>
                <a:lnTo>
                  <a:pt x="30813" y="30813"/>
                </a:lnTo>
                <a:lnTo>
                  <a:pt x="64240" y="8268"/>
                </a:lnTo>
                <a:lnTo>
                  <a:pt x="105155" y="0"/>
                </a:lnTo>
                <a:close/>
              </a:path>
            </a:pathLst>
          </a:custGeom>
          <a:ln w="12192">
            <a:solidFill>
              <a:srgbClr val="0D80A3"/>
            </a:solidFill>
          </a:ln>
        </p:spPr>
        <p:txBody>
          <a:bodyPr wrap="square" lIns="0" tIns="0" rIns="0" bIns="0" rtlCol="0"/>
          <a:lstStyle/>
          <a:p>
            <a:endParaRPr/>
          </a:p>
        </p:txBody>
      </p:sp>
      <p:sp>
        <p:nvSpPr>
          <p:cNvPr id="33" name="object 33"/>
          <p:cNvSpPr txBox="1"/>
          <p:nvPr/>
        </p:nvSpPr>
        <p:spPr>
          <a:xfrm>
            <a:off x="9173336" y="1183386"/>
            <a:ext cx="2371090" cy="864869"/>
          </a:xfrm>
          <a:prstGeom prst="rect">
            <a:avLst/>
          </a:prstGeom>
        </p:spPr>
        <p:txBody>
          <a:bodyPr vert="horz" wrap="square" lIns="0" tIns="13335" rIns="0" bIns="0" rtlCol="0">
            <a:spAutoFit/>
          </a:bodyPr>
          <a:lstStyle/>
          <a:p>
            <a:pPr marL="12700" marR="5080">
              <a:lnSpc>
                <a:spcPct val="100000"/>
              </a:lnSpc>
              <a:spcBef>
                <a:spcPts val="105"/>
              </a:spcBef>
            </a:pPr>
            <a:r>
              <a:rPr sz="1100" b="1" spc="-5">
                <a:latin typeface="Verdana"/>
                <a:cs typeface="Verdana"/>
              </a:rPr>
              <a:t>RapidMigrate </a:t>
            </a:r>
            <a:r>
              <a:rPr sz="1100" spc="-10">
                <a:latin typeface="Verdana"/>
                <a:cs typeface="Verdana"/>
              </a:rPr>
              <a:t>is </a:t>
            </a:r>
            <a:r>
              <a:rPr sz="1100" spc="-5">
                <a:latin typeface="Verdana"/>
                <a:cs typeface="Verdana"/>
              </a:rPr>
              <a:t>Capgemini </a:t>
            </a:r>
            <a:r>
              <a:rPr sz="1100">
                <a:latin typeface="Verdana"/>
                <a:cs typeface="Verdana"/>
              </a:rPr>
              <a:t>‘s  </a:t>
            </a:r>
            <a:r>
              <a:rPr sz="1100" spc="-5">
                <a:latin typeface="Verdana"/>
                <a:cs typeface="Verdana"/>
              </a:rPr>
              <a:t>framework </a:t>
            </a:r>
            <a:r>
              <a:rPr sz="1100">
                <a:latin typeface="Verdana"/>
                <a:cs typeface="Verdana"/>
              </a:rPr>
              <a:t>for </a:t>
            </a:r>
            <a:r>
              <a:rPr sz="1100" spc="-5">
                <a:latin typeface="Verdana"/>
                <a:cs typeface="Verdana"/>
              </a:rPr>
              <a:t>enhancing </a:t>
            </a:r>
            <a:r>
              <a:rPr sz="1100">
                <a:latin typeface="Verdana"/>
                <a:cs typeface="Verdana"/>
              </a:rPr>
              <a:t>&amp;  </a:t>
            </a:r>
            <a:r>
              <a:rPr sz="1100" spc="-10">
                <a:latin typeface="Verdana"/>
                <a:cs typeface="Verdana"/>
              </a:rPr>
              <a:t>simplifying </a:t>
            </a:r>
            <a:r>
              <a:rPr sz="1100" spc="-5">
                <a:latin typeface="Verdana"/>
                <a:cs typeface="Verdana"/>
              </a:rPr>
              <a:t>the migrating from  legacy front-office applications to  </a:t>
            </a:r>
            <a:r>
              <a:rPr sz="1100">
                <a:latin typeface="Verdana"/>
                <a:cs typeface="Verdana"/>
              </a:rPr>
              <a:t>Salesforce</a:t>
            </a:r>
          </a:p>
        </p:txBody>
      </p:sp>
      <p:sp>
        <p:nvSpPr>
          <p:cNvPr id="34" name="object 34"/>
          <p:cNvSpPr/>
          <p:nvPr/>
        </p:nvSpPr>
        <p:spPr>
          <a:xfrm>
            <a:off x="9625583" y="2225039"/>
            <a:ext cx="1726692" cy="1467612"/>
          </a:xfrm>
          <a:prstGeom prst="rect">
            <a:avLst/>
          </a:prstGeom>
          <a:blipFill>
            <a:blip r:embed="rId12" cstate="print"/>
            <a:stretch>
              <a:fillRect/>
            </a:stretch>
          </a:blipFill>
        </p:spPr>
        <p:txBody>
          <a:bodyPr wrap="square" lIns="0" tIns="0" rIns="0" bIns="0" rtlCol="0"/>
          <a:lstStyle/>
          <a:p>
            <a:endParaRPr/>
          </a:p>
        </p:txBody>
      </p:sp>
      <p:sp>
        <p:nvSpPr>
          <p:cNvPr id="35" name="object 35"/>
          <p:cNvSpPr/>
          <p:nvPr/>
        </p:nvSpPr>
        <p:spPr>
          <a:xfrm>
            <a:off x="9621011" y="2220467"/>
            <a:ext cx="1736089" cy="1477010"/>
          </a:xfrm>
          <a:custGeom>
            <a:avLst/>
            <a:gdLst/>
            <a:ahLst/>
            <a:cxnLst/>
            <a:rect l="l" t="t" r="r" b="b"/>
            <a:pathLst>
              <a:path w="1736090" h="1477010">
                <a:moveTo>
                  <a:pt x="0" y="1476755"/>
                </a:moveTo>
                <a:lnTo>
                  <a:pt x="1735836" y="1476755"/>
                </a:lnTo>
                <a:lnTo>
                  <a:pt x="1735836" y="0"/>
                </a:lnTo>
                <a:lnTo>
                  <a:pt x="0" y="0"/>
                </a:lnTo>
                <a:lnTo>
                  <a:pt x="0" y="1476755"/>
                </a:lnTo>
                <a:close/>
              </a:path>
            </a:pathLst>
          </a:custGeom>
          <a:ln w="9144">
            <a:solidFill>
              <a:srgbClr val="1F0E2D"/>
            </a:solidFill>
          </a:ln>
        </p:spPr>
        <p:txBody>
          <a:bodyPr wrap="square" lIns="0" tIns="0" rIns="0" bIns="0" rtlCol="0"/>
          <a:lstStyle/>
          <a:p>
            <a:endParaRPr/>
          </a:p>
        </p:txBody>
      </p:sp>
      <p:sp>
        <p:nvSpPr>
          <p:cNvPr id="36" name="object 36"/>
          <p:cNvSpPr/>
          <p:nvPr/>
        </p:nvSpPr>
        <p:spPr>
          <a:xfrm>
            <a:off x="6254496" y="2564892"/>
            <a:ext cx="1674876" cy="813815"/>
          </a:xfrm>
          <a:prstGeom prst="rect">
            <a:avLst/>
          </a:prstGeom>
          <a:blipFill>
            <a:blip r:embed="rId13" cstate="print"/>
            <a:stretch>
              <a:fillRect/>
            </a:stretch>
          </a:blipFill>
        </p:spPr>
        <p:txBody>
          <a:bodyPr wrap="square" lIns="0" tIns="0" rIns="0" bIns="0" rtlCol="0"/>
          <a:lstStyle/>
          <a:p>
            <a:endParaRPr/>
          </a:p>
        </p:txBody>
      </p:sp>
      <p:sp>
        <p:nvSpPr>
          <p:cNvPr id="37" name="object 37"/>
          <p:cNvSpPr/>
          <p:nvPr/>
        </p:nvSpPr>
        <p:spPr>
          <a:xfrm>
            <a:off x="7258811" y="2959607"/>
            <a:ext cx="1574292" cy="655320"/>
          </a:xfrm>
          <a:prstGeom prst="rect">
            <a:avLst/>
          </a:prstGeom>
          <a:blipFill>
            <a:blip r:embed="rId14" cstate="print"/>
            <a:stretch>
              <a:fillRect/>
            </a:stretch>
          </a:blipFill>
        </p:spPr>
        <p:txBody>
          <a:bodyPr wrap="square" lIns="0" tIns="0" rIns="0" bIns="0" rtlCol="0"/>
          <a:lstStyle/>
          <a:p>
            <a:endParaRPr/>
          </a:p>
        </p:txBody>
      </p:sp>
      <p:sp>
        <p:nvSpPr>
          <p:cNvPr id="38" name="object 38"/>
          <p:cNvSpPr/>
          <p:nvPr/>
        </p:nvSpPr>
        <p:spPr>
          <a:xfrm>
            <a:off x="8433816" y="5186223"/>
            <a:ext cx="1599293" cy="617936"/>
          </a:xfrm>
          <a:prstGeom prst="rect">
            <a:avLst/>
          </a:prstGeom>
          <a:blipFill>
            <a:blip r:embed="rId15" cstate="print"/>
            <a:stretch>
              <a:fillRect/>
            </a:stretch>
          </a:blipFill>
        </p:spPr>
        <p:txBody>
          <a:bodyPr wrap="square" lIns="0" tIns="0" rIns="0" bIns="0" rtlCol="0"/>
          <a:lstStyle/>
          <a:p>
            <a:endParaRPr/>
          </a:p>
        </p:txBody>
      </p:sp>
      <p:sp>
        <p:nvSpPr>
          <p:cNvPr id="39" name="object 39"/>
          <p:cNvSpPr/>
          <p:nvPr/>
        </p:nvSpPr>
        <p:spPr>
          <a:xfrm>
            <a:off x="8472586" y="5192311"/>
            <a:ext cx="827109" cy="581408"/>
          </a:xfrm>
          <a:prstGeom prst="rect">
            <a:avLst/>
          </a:prstGeom>
          <a:blipFill>
            <a:blip r:embed="rId16" cstate="print"/>
            <a:stretch>
              <a:fillRect/>
            </a:stretch>
          </a:blipFill>
        </p:spPr>
        <p:txBody>
          <a:bodyPr wrap="square" lIns="0" tIns="0" rIns="0" bIns="0" rtlCol="0"/>
          <a:lstStyle/>
          <a:p>
            <a:endParaRPr/>
          </a:p>
        </p:txBody>
      </p:sp>
      <p:sp>
        <p:nvSpPr>
          <p:cNvPr id="40" name="object 40"/>
          <p:cNvSpPr/>
          <p:nvPr/>
        </p:nvSpPr>
        <p:spPr>
          <a:xfrm>
            <a:off x="8448354" y="5199941"/>
            <a:ext cx="1551305" cy="572770"/>
          </a:xfrm>
          <a:custGeom>
            <a:avLst/>
            <a:gdLst/>
            <a:ahLst/>
            <a:cxnLst/>
            <a:rect l="l" t="t" r="r" b="b"/>
            <a:pathLst>
              <a:path w="1551304" h="572770">
                <a:moveTo>
                  <a:pt x="1492565" y="0"/>
                </a:moveTo>
                <a:lnTo>
                  <a:pt x="58255" y="0"/>
                </a:lnTo>
                <a:lnTo>
                  <a:pt x="35579" y="4310"/>
                </a:lnTo>
                <a:lnTo>
                  <a:pt x="17062" y="16067"/>
                </a:lnTo>
                <a:lnTo>
                  <a:pt x="4578" y="33508"/>
                </a:lnTo>
                <a:lnTo>
                  <a:pt x="0" y="54873"/>
                </a:lnTo>
                <a:lnTo>
                  <a:pt x="0" y="517361"/>
                </a:lnTo>
                <a:lnTo>
                  <a:pt x="4578" y="538732"/>
                </a:lnTo>
                <a:lnTo>
                  <a:pt x="17062" y="556188"/>
                </a:lnTo>
                <a:lnTo>
                  <a:pt x="35579" y="567959"/>
                </a:lnTo>
                <a:lnTo>
                  <a:pt x="58255" y="572275"/>
                </a:lnTo>
                <a:lnTo>
                  <a:pt x="1492565" y="572275"/>
                </a:lnTo>
                <a:lnTo>
                  <a:pt x="1515242" y="567959"/>
                </a:lnTo>
                <a:lnTo>
                  <a:pt x="1533754" y="556188"/>
                </a:lnTo>
                <a:lnTo>
                  <a:pt x="1546233" y="538732"/>
                </a:lnTo>
                <a:lnTo>
                  <a:pt x="1550808" y="517361"/>
                </a:lnTo>
                <a:lnTo>
                  <a:pt x="1550808" y="54873"/>
                </a:lnTo>
                <a:lnTo>
                  <a:pt x="1546251" y="33508"/>
                </a:lnTo>
                <a:lnTo>
                  <a:pt x="1533770" y="16067"/>
                </a:lnTo>
                <a:lnTo>
                  <a:pt x="1515248" y="4310"/>
                </a:lnTo>
                <a:lnTo>
                  <a:pt x="1492565" y="0"/>
                </a:lnTo>
                <a:close/>
              </a:path>
            </a:pathLst>
          </a:custGeom>
          <a:solidFill>
            <a:srgbClr val="FFFFFF"/>
          </a:solidFill>
        </p:spPr>
        <p:txBody>
          <a:bodyPr wrap="square" lIns="0" tIns="0" rIns="0" bIns="0" rtlCol="0"/>
          <a:lstStyle/>
          <a:p>
            <a:endParaRPr/>
          </a:p>
        </p:txBody>
      </p:sp>
      <p:sp>
        <p:nvSpPr>
          <p:cNvPr id="41" name="object 41"/>
          <p:cNvSpPr/>
          <p:nvPr/>
        </p:nvSpPr>
        <p:spPr>
          <a:xfrm>
            <a:off x="8448354" y="5199941"/>
            <a:ext cx="1551305" cy="572770"/>
          </a:xfrm>
          <a:custGeom>
            <a:avLst/>
            <a:gdLst/>
            <a:ahLst/>
            <a:cxnLst/>
            <a:rect l="l" t="t" r="r" b="b"/>
            <a:pathLst>
              <a:path w="1551304" h="572770">
                <a:moveTo>
                  <a:pt x="0" y="54873"/>
                </a:moveTo>
                <a:lnTo>
                  <a:pt x="4578" y="33508"/>
                </a:lnTo>
                <a:lnTo>
                  <a:pt x="17062" y="16067"/>
                </a:lnTo>
                <a:lnTo>
                  <a:pt x="35579" y="4310"/>
                </a:lnTo>
                <a:lnTo>
                  <a:pt x="58255" y="0"/>
                </a:lnTo>
                <a:lnTo>
                  <a:pt x="1492565" y="0"/>
                </a:lnTo>
                <a:lnTo>
                  <a:pt x="1515248" y="4310"/>
                </a:lnTo>
                <a:lnTo>
                  <a:pt x="1533770" y="16067"/>
                </a:lnTo>
                <a:lnTo>
                  <a:pt x="1546251" y="33508"/>
                </a:lnTo>
                <a:lnTo>
                  <a:pt x="1550808" y="54873"/>
                </a:lnTo>
                <a:lnTo>
                  <a:pt x="1550851" y="517361"/>
                </a:lnTo>
                <a:lnTo>
                  <a:pt x="1546233" y="538732"/>
                </a:lnTo>
                <a:lnTo>
                  <a:pt x="1533754" y="556188"/>
                </a:lnTo>
                <a:lnTo>
                  <a:pt x="1515242" y="567959"/>
                </a:lnTo>
                <a:lnTo>
                  <a:pt x="1492565" y="572275"/>
                </a:lnTo>
                <a:lnTo>
                  <a:pt x="58255" y="572275"/>
                </a:lnTo>
                <a:lnTo>
                  <a:pt x="35579" y="567959"/>
                </a:lnTo>
                <a:lnTo>
                  <a:pt x="17062" y="556188"/>
                </a:lnTo>
                <a:lnTo>
                  <a:pt x="4578" y="538732"/>
                </a:lnTo>
                <a:lnTo>
                  <a:pt x="0" y="517361"/>
                </a:lnTo>
                <a:lnTo>
                  <a:pt x="0" y="54873"/>
                </a:lnTo>
                <a:close/>
              </a:path>
            </a:pathLst>
          </a:custGeom>
          <a:ln w="3175">
            <a:solidFill>
              <a:srgbClr val="009BCC"/>
            </a:solidFill>
          </a:ln>
        </p:spPr>
        <p:txBody>
          <a:bodyPr wrap="square" lIns="0" tIns="0" rIns="0" bIns="0" rtlCol="0"/>
          <a:lstStyle/>
          <a:p>
            <a:endParaRPr/>
          </a:p>
        </p:txBody>
      </p:sp>
      <p:sp>
        <p:nvSpPr>
          <p:cNvPr id="42" name="object 42"/>
          <p:cNvSpPr txBox="1"/>
          <p:nvPr/>
        </p:nvSpPr>
        <p:spPr>
          <a:xfrm>
            <a:off x="8511581" y="5178789"/>
            <a:ext cx="719455" cy="577215"/>
          </a:xfrm>
          <a:prstGeom prst="rect">
            <a:avLst/>
          </a:prstGeom>
        </p:spPr>
        <p:txBody>
          <a:bodyPr vert="horz" wrap="square" lIns="0" tIns="46355" rIns="0" bIns="0" rtlCol="0">
            <a:spAutoFit/>
          </a:bodyPr>
          <a:lstStyle/>
          <a:p>
            <a:pPr marL="12700">
              <a:lnSpc>
                <a:spcPct val="100000"/>
              </a:lnSpc>
              <a:spcBef>
                <a:spcPts val="365"/>
              </a:spcBef>
            </a:pPr>
            <a:r>
              <a:rPr sz="500" spc="15">
                <a:solidFill>
                  <a:srgbClr val="009BCC"/>
                </a:solidFill>
                <a:latin typeface="Arial"/>
                <a:cs typeface="Arial"/>
              </a:rPr>
              <a:t>Estimation</a:t>
            </a:r>
            <a:r>
              <a:rPr sz="500" spc="-35">
                <a:solidFill>
                  <a:srgbClr val="009BCC"/>
                </a:solidFill>
                <a:latin typeface="Arial"/>
                <a:cs typeface="Arial"/>
              </a:rPr>
              <a:t> </a:t>
            </a:r>
            <a:r>
              <a:rPr sz="500" spc="15">
                <a:solidFill>
                  <a:srgbClr val="009BCC"/>
                </a:solidFill>
                <a:latin typeface="Arial"/>
                <a:cs typeface="Arial"/>
              </a:rPr>
              <a:t>Tool</a:t>
            </a:r>
            <a:endParaRPr sz="500">
              <a:latin typeface="Arial"/>
              <a:cs typeface="Arial"/>
            </a:endParaRPr>
          </a:p>
          <a:p>
            <a:pPr marL="12700" marR="5080">
              <a:lnSpc>
                <a:spcPct val="99700"/>
              </a:lnSpc>
              <a:spcBef>
                <a:spcPts val="245"/>
              </a:spcBef>
            </a:pPr>
            <a:r>
              <a:rPr sz="450" spc="15">
                <a:solidFill>
                  <a:srgbClr val="001F5F"/>
                </a:solidFill>
                <a:latin typeface="Arial"/>
                <a:cs typeface="Arial"/>
              </a:rPr>
              <a:t>Comprehensive </a:t>
            </a:r>
            <a:r>
              <a:rPr sz="450" spc="25">
                <a:solidFill>
                  <a:srgbClr val="001F5F"/>
                </a:solidFill>
                <a:latin typeface="Arial"/>
                <a:cs typeface="Arial"/>
              </a:rPr>
              <a:t>and </a:t>
            </a:r>
            <a:r>
              <a:rPr sz="450" spc="20">
                <a:solidFill>
                  <a:srgbClr val="001F5F"/>
                </a:solidFill>
                <a:latin typeface="Arial"/>
                <a:cs typeface="Arial"/>
              </a:rPr>
              <a:t>an  </a:t>
            </a:r>
            <a:r>
              <a:rPr sz="450" spc="15">
                <a:solidFill>
                  <a:srgbClr val="001F5F"/>
                </a:solidFill>
                <a:latin typeface="Arial"/>
                <a:cs typeface="Arial"/>
              </a:rPr>
              <a:t>unique approach </a:t>
            </a:r>
            <a:r>
              <a:rPr sz="450" spc="10">
                <a:solidFill>
                  <a:srgbClr val="001F5F"/>
                </a:solidFill>
                <a:latin typeface="Arial"/>
                <a:cs typeface="Arial"/>
              </a:rPr>
              <a:t>for  </a:t>
            </a:r>
            <a:r>
              <a:rPr sz="450" spc="15">
                <a:solidFill>
                  <a:srgbClr val="001F5F"/>
                </a:solidFill>
                <a:latin typeface="Arial"/>
                <a:cs typeface="Arial"/>
              </a:rPr>
              <a:t>estimation of  </a:t>
            </a:r>
            <a:r>
              <a:rPr sz="450" spc="10">
                <a:solidFill>
                  <a:srgbClr val="001F5F"/>
                </a:solidFill>
                <a:latin typeface="Arial"/>
                <a:cs typeface="Arial"/>
              </a:rPr>
              <a:t>Configuration </a:t>
            </a:r>
            <a:r>
              <a:rPr sz="450" spc="20">
                <a:solidFill>
                  <a:srgbClr val="001F5F"/>
                </a:solidFill>
                <a:latin typeface="Arial"/>
                <a:cs typeface="Arial"/>
              </a:rPr>
              <a:t>&amp;  </a:t>
            </a:r>
            <a:r>
              <a:rPr sz="450" spc="15">
                <a:solidFill>
                  <a:srgbClr val="001F5F"/>
                </a:solidFill>
                <a:latin typeface="Arial"/>
                <a:cs typeface="Arial"/>
              </a:rPr>
              <a:t>Development effort using  </a:t>
            </a:r>
            <a:r>
              <a:rPr sz="450" spc="25">
                <a:solidFill>
                  <a:srgbClr val="001F5F"/>
                </a:solidFill>
                <a:latin typeface="Arial"/>
                <a:cs typeface="Arial"/>
              </a:rPr>
              <a:t>CRM</a:t>
            </a:r>
            <a:r>
              <a:rPr sz="450" spc="-55">
                <a:solidFill>
                  <a:srgbClr val="001F5F"/>
                </a:solidFill>
                <a:latin typeface="Arial"/>
                <a:cs typeface="Arial"/>
              </a:rPr>
              <a:t> </a:t>
            </a:r>
            <a:r>
              <a:rPr sz="450" spc="10">
                <a:solidFill>
                  <a:srgbClr val="001F5F"/>
                </a:solidFill>
                <a:latin typeface="Arial"/>
                <a:cs typeface="Arial"/>
              </a:rPr>
              <a:t>Units</a:t>
            </a:r>
            <a:endParaRPr sz="450">
              <a:latin typeface="Arial"/>
              <a:cs typeface="Arial"/>
            </a:endParaRPr>
          </a:p>
        </p:txBody>
      </p:sp>
      <p:sp>
        <p:nvSpPr>
          <p:cNvPr id="43" name="object 43"/>
          <p:cNvSpPr/>
          <p:nvPr/>
        </p:nvSpPr>
        <p:spPr>
          <a:xfrm>
            <a:off x="10007262" y="5207531"/>
            <a:ext cx="1557291" cy="590540"/>
          </a:xfrm>
          <a:prstGeom prst="rect">
            <a:avLst/>
          </a:prstGeom>
          <a:blipFill>
            <a:blip r:embed="rId17" cstate="print"/>
            <a:stretch>
              <a:fillRect/>
            </a:stretch>
          </a:blipFill>
        </p:spPr>
        <p:txBody>
          <a:bodyPr wrap="square" lIns="0" tIns="0" rIns="0" bIns="0" rtlCol="0"/>
          <a:lstStyle/>
          <a:p>
            <a:endParaRPr/>
          </a:p>
        </p:txBody>
      </p:sp>
      <p:sp>
        <p:nvSpPr>
          <p:cNvPr id="44" name="object 44"/>
          <p:cNvSpPr/>
          <p:nvPr/>
        </p:nvSpPr>
        <p:spPr>
          <a:xfrm>
            <a:off x="10016954" y="5231883"/>
            <a:ext cx="694642" cy="520527"/>
          </a:xfrm>
          <a:prstGeom prst="rect">
            <a:avLst/>
          </a:prstGeom>
          <a:blipFill>
            <a:blip r:embed="rId18" cstate="print"/>
            <a:stretch>
              <a:fillRect/>
            </a:stretch>
          </a:blipFill>
        </p:spPr>
        <p:txBody>
          <a:bodyPr wrap="square" lIns="0" tIns="0" rIns="0" bIns="0" rtlCol="0"/>
          <a:lstStyle/>
          <a:p>
            <a:endParaRPr/>
          </a:p>
        </p:txBody>
      </p:sp>
      <p:sp>
        <p:nvSpPr>
          <p:cNvPr id="45" name="object 45"/>
          <p:cNvSpPr/>
          <p:nvPr/>
        </p:nvSpPr>
        <p:spPr>
          <a:xfrm>
            <a:off x="10021822" y="5221250"/>
            <a:ext cx="1509395" cy="545465"/>
          </a:xfrm>
          <a:custGeom>
            <a:avLst/>
            <a:gdLst/>
            <a:ahLst/>
            <a:cxnLst/>
            <a:rect l="l" t="t" r="r" b="b"/>
            <a:pathLst>
              <a:path w="1509395" h="545464">
                <a:moveTo>
                  <a:pt x="1453342" y="0"/>
                </a:moveTo>
                <a:lnTo>
                  <a:pt x="55442" y="0"/>
                </a:lnTo>
                <a:lnTo>
                  <a:pt x="33857" y="4103"/>
                </a:lnTo>
                <a:lnTo>
                  <a:pt x="16235" y="15296"/>
                </a:lnTo>
                <a:lnTo>
                  <a:pt x="4355" y="31899"/>
                </a:lnTo>
                <a:lnTo>
                  <a:pt x="0" y="52235"/>
                </a:lnTo>
                <a:lnTo>
                  <a:pt x="0" y="492603"/>
                </a:lnTo>
                <a:lnTo>
                  <a:pt x="4355" y="512946"/>
                </a:lnTo>
                <a:lnTo>
                  <a:pt x="16235" y="529563"/>
                </a:lnTo>
                <a:lnTo>
                  <a:pt x="33857" y="540769"/>
                </a:lnTo>
                <a:lnTo>
                  <a:pt x="55442" y="544879"/>
                </a:lnTo>
                <a:lnTo>
                  <a:pt x="1453342" y="544879"/>
                </a:lnTo>
                <a:lnTo>
                  <a:pt x="1474927" y="540769"/>
                </a:lnTo>
                <a:lnTo>
                  <a:pt x="1492549" y="529563"/>
                </a:lnTo>
                <a:lnTo>
                  <a:pt x="1504429" y="512946"/>
                </a:lnTo>
                <a:lnTo>
                  <a:pt x="1508785" y="492603"/>
                </a:lnTo>
                <a:lnTo>
                  <a:pt x="1508785" y="52235"/>
                </a:lnTo>
                <a:lnTo>
                  <a:pt x="1504429" y="31899"/>
                </a:lnTo>
                <a:lnTo>
                  <a:pt x="1492549" y="15296"/>
                </a:lnTo>
                <a:lnTo>
                  <a:pt x="1474927" y="4103"/>
                </a:lnTo>
                <a:lnTo>
                  <a:pt x="1453342" y="0"/>
                </a:lnTo>
                <a:close/>
              </a:path>
            </a:pathLst>
          </a:custGeom>
          <a:solidFill>
            <a:srgbClr val="FFFFFF"/>
          </a:solidFill>
        </p:spPr>
        <p:txBody>
          <a:bodyPr wrap="square" lIns="0" tIns="0" rIns="0" bIns="0" rtlCol="0"/>
          <a:lstStyle/>
          <a:p>
            <a:endParaRPr/>
          </a:p>
        </p:txBody>
      </p:sp>
      <p:sp>
        <p:nvSpPr>
          <p:cNvPr id="46" name="object 46"/>
          <p:cNvSpPr/>
          <p:nvPr/>
        </p:nvSpPr>
        <p:spPr>
          <a:xfrm>
            <a:off x="10021822" y="5221250"/>
            <a:ext cx="1509395" cy="545465"/>
          </a:xfrm>
          <a:custGeom>
            <a:avLst/>
            <a:gdLst/>
            <a:ahLst/>
            <a:cxnLst/>
            <a:rect l="l" t="t" r="r" b="b"/>
            <a:pathLst>
              <a:path w="1509395" h="545464">
                <a:moveTo>
                  <a:pt x="0" y="52235"/>
                </a:moveTo>
                <a:lnTo>
                  <a:pt x="4355" y="31899"/>
                </a:lnTo>
                <a:lnTo>
                  <a:pt x="16235" y="15296"/>
                </a:lnTo>
                <a:lnTo>
                  <a:pt x="33857" y="4103"/>
                </a:lnTo>
                <a:lnTo>
                  <a:pt x="55442" y="0"/>
                </a:lnTo>
                <a:lnTo>
                  <a:pt x="1453342" y="0"/>
                </a:lnTo>
                <a:lnTo>
                  <a:pt x="1474927" y="4103"/>
                </a:lnTo>
                <a:lnTo>
                  <a:pt x="1492549" y="15296"/>
                </a:lnTo>
                <a:lnTo>
                  <a:pt x="1504429" y="31899"/>
                </a:lnTo>
                <a:lnTo>
                  <a:pt x="1508784" y="52235"/>
                </a:lnTo>
                <a:lnTo>
                  <a:pt x="1508828" y="492603"/>
                </a:lnTo>
                <a:lnTo>
                  <a:pt x="1504429" y="512946"/>
                </a:lnTo>
                <a:lnTo>
                  <a:pt x="1492549" y="529563"/>
                </a:lnTo>
                <a:lnTo>
                  <a:pt x="1474927" y="540769"/>
                </a:lnTo>
                <a:lnTo>
                  <a:pt x="1453342" y="544879"/>
                </a:lnTo>
                <a:lnTo>
                  <a:pt x="55442" y="544879"/>
                </a:lnTo>
                <a:lnTo>
                  <a:pt x="33857" y="540769"/>
                </a:lnTo>
                <a:lnTo>
                  <a:pt x="16235" y="529563"/>
                </a:lnTo>
                <a:lnTo>
                  <a:pt x="4355" y="512946"/>
                </a:lnTo>
                <a:lnTo>
                  <a:pt x="0" y="492603"/>
                </a:lnTo>
                <a:lnTo>
                  <a:pt x="0" y="52235"/>
                </a:lnTo>
                <a:close/>
              </a:path>
            </a:pathLst>
          </a:custGeom>
          <a:ln w="3175">
            <a:solidFill>
              <a:srgbClr val="009BCC"/>
            </a:solidFill>
          </a:ln>
        </p:spPr>
        <p:txBody>
          <a:bodyPr wrap="square" lIns="0" tIns="0" rIns="0" bIns="0" rtlCol="0"/>
          <a:lstStyle/>
          <a:p>
            <a:endParaRPr/>
          </a:p>
        </p:txBody>
      </p:sp>
      <p:sp>
        <p:nvSpPr>
          <p:cNvPr id="47" name="object 47"/>
          <p:cNvSpPr txBox="1"/>
          <p:nvPr/>
        </p:nvSpPr>
        <p:spPr>
          <a:xfrm>
            <a:off x="10057025" y="5249035"/>
            <a:ext cx="571500" cy="485775"/>
          </a:xfrm>
          <a:prstGeom prst="rect">
            <a:avLst/>
          </a:prstGeom>
        </p:spPr>
        <p:txBody>
          <a:bodyPr vert="horz" wrap="square" lIns="0" tIns="13335" rIns="0" bIns="0" rtlCol="0">
            <a:spAutoFit/>
          </a:bodyPr>
          <a:lstStyle/>
          <a:p>
            <a:pPr marL="12700" marR="193040">
              <a:lnSpc>
                <a:spcPct val="100000"/>
              </a:lnSpc>
              <a:spcBef>
                <a:spcPts val="105"/>
              </a:spcBef>
            </a:pPr>
            <a:r>
              <a:rPr sz="500" spc="15">
                <a:solidFill>
                  <a:srgbClr val="009BCC"/>
                </a:solidFill>
                <a:latin typeface="Arial"/>
                <a:cs typeface="Arial"/>
              </a:rPr>
              <a:t>Suitability  </a:t>
            </a:r>
            <a:r>
              <a:rPr sz="500" spc="20">
                <a:solidFill>
                  <a:srgbClr val="009BCC"/>
                </a:solidFill>
                <a:latin typeface="Arial"/>
                <a:cs typeface="Arial"/>
              </a:rPr>
              <a:t>S</a:t>
            </a:r>
            <a:r>
              <a:rPr sz="500" spc="25">
                <a:solidFill>
                  <a:srgbClr val="009BCC"/>
                </a:solidFill>
                <a:latin typeface="Arial"/>
                <a:cs typeface="Arial"/>
              </a:rPr>
              <a:t>c</a:t>
            </a:r>
            <a:r>
              <a:rPr sz="500" spc="20">
                <a:solidFill>
                  <a:srgbClr val="009BCC"/>
                </a:solidFill>
                <a:latin typeface="Arial"/>
                <a:cs typeface="Arial"/>
              </a:rPr>
              <a:t>o</a:t>
            </a:r>
            <a:r>
              <a:rPr sz="500" spc="10">
                <a:solidFill>
                  <a:srgbClr val="009BCC"/>
                </a:solidFill>
                <a:latin typeface="Arial"/>
                <a:cs typeface="Arial"/>
              </a:rPr>
              <a:t>r</a:t>
            </a:r>
            <a:r>
              <a:rPr sz="500" spc="20">
                <a:solidFill>
                  <a:srgbClr val="009BCC"/>
                </a:solidFill>
                <a:latin typeface="Arial"/>
                <a:cs typeface="Arial"/>
              </a:rPr>
              <a:t>eboa</a:t>
            </a:r>
            <a:r>
              <a:rPr sz="500" spc="15">
                <a:solidFill>
                  <a:srgbClr val="009BCC"/>
                </a:solidFill>
                <a:latin typeface="Arial"/>
                <a:cs typeface="Arial"/>
              </a:rPr>
              <a:t>rd</a:t>
            </a:r>
            <a:endParaRPr sz="500">
              <a:latin typeface="Arial"/>
              <a:cs typeface="Arial"/>
            </a:endParaRPr>
          </a:p>
          <a:p>
            <a:pPr marL="12700" marR="5080">
              <a:lnSpc>
                <a:spcPct val="99400"/>
              </a:lnSpc>
              <a:spcBef>
                <a:spcPts val="270"/>
              </a:spcBef>
            </a:pPr>
            <a:r>
              <a:rPr sz="450" spc="20">
                <a:solidFill>
                  <a:srgbClr val="001F5F"/>
                </a:solidFill>
                <a:latin typeface="Arial"/>
                <a:cs typeface="Arial"/>
              </a:rPr>
              <a:t>Reviews </a:t>
            </a:r>
            <a:r>
              <a:rPr sz="450" spc="10">
                <a:solidFill>
                  <a:srgbClr val="001F5F"/>
                </a:solidFill>
                <a:latin typeface="Arial"/>
                <a:cs typeface="Arial"/>
              </a:rPr>
              <a:t>the  </a:t>
            </a:r>
            <a:r>
              <a:rPr sz="450" spc="15">
                <a:solidFill>
                  <a:srgbClr val="001F5F"/>
                </a:solidFill>
                <a:latin typeface="Arial"/>
                <a:cs typeface="Arial"/>
              </a:rPr>
              <a:t>existing </a:t>
            </a:r>
            <a:r>
              <a:rPr sz="450" spc="10">
                <a:solidFill>
                  <a:srgbClr val="001F5F"/>
                </a:solidFill>
                <a:latin typeface="Arial"/>
                <a:cs typeface="Arial"/>
              </a:rPr>
              <a:t>eco-system  </a:t>
            </a:r>
            <a:r>
              <a:rPr sz="450" spc="20">
                <a:solidFill>
                  <a:srgbClr val="001F5F"/>
                </a:solidFill>
                <a:latin typeface="Arial"/>
                <a:cs typeface="Arial"/>
              </a:rPr>
              <a:t>&amp; </a:t>
            </a:r>
            <a:r>
              <a:rPr sz="450" spc="15">
                <a:solidFill>
                  <a:srgbClr val="001F5F"/>
                </a:solidFill>
                <a:latin typeface="Arial"/>
                <a:cs typeface="Arial"/>
              </a:rPr>
              <a:t>Architecture </a:t>
            </a:r>
            <a:r>
              <a:rPr sz="450" spc="20">
                <a:solidFill>
                  <a:srgbClr val="001F5F"/>
                </a:solidFill>
                <a:latin typeface="Arial"/>
                <a:cs typeface="Arial"/>
              </a:rPr>
              <a:t>for  Go-No-Go</a:t>
            </a:r>
            <a:r>
              <a:rPr sz="450" spc="-65">
                <a:solidFill>
                  <a:srgbClr val="001F5F"/>
                </a:solidFill>
                <a:latin typeface="Arial"/>
                <a:cs typeface="Arial"/>
              </a:rPr>
              <a:t> </a:t>
            </a:r>
            <a:r>
              <a:rPr sz="450" spc="10">
                <a:solidFill>
                  <a:srgbClr val="001F5F"/>
                </a:solidFill>
                <a:latin typeface="Arial"/>
                <a:cs typeface="Arial"/>
              </a:rPr>
              <a:t>Analysis</a:t>
            </a:r>
            <a:endParaRPr sz="450">
              <a:latin typeface="Arial"/>
              <a:cs typeface="Arial"/>
            </a:endParaRPr>
          </a:p>
        </p:txBody>
      </p:sp>
      <p:sp>
        <p:nvSpPr>
          <p:cNvPr id="48" name="object 48"/>
          <p:cNvSpPr/>
          <p:nvPr/>
        </p:nvSpPr>
        <p:spPr>
          <a:xfrm>
            <a:off x="8433816" y="5798072"/>
            <a:ext cx="1589600" cy="593584"/>
          </a:xfrm>
          <a:prstGeom prst="rect">
            <a:avLst/>
          </a:prstGeom>
          <a:blipFill>
            <a:blip r:embed="rId19" cstate="print"/>
            <a:stretch>
              <a:fillRect/>
            </a:stretch>
          </a:blipFill>
        </p:spPr>
        <p:txBody>
          <a:bodyPr wrap="square" lIns="0" tIns="0" rIns="0" bIns="0" rtlCol="0"/>
          <a:lstStyle/>
          <a:p>
            <a:endParaRPr/>
          </a:p>
        </p:txBody>
      </p:sp>
      <p:sp>
        <p:nvSpPr>
          <p:cNvPr id="49" name="object 49"/>
          <p:cNvSpPr/>
          <p:nvPr/>
        </p:nvSpPr>
        <p:spPr>
          <a:xfrm>
            <a:off x="8443508" y="5865040"/>
            <a:ext cx="678487" cy="435295"/>
          </a:xfrm>
          <a:prstGeom prst="rect">
            <a:avLst/>
          </a:prstGeom>
          <a:blipFill>
            <a:blip r:embed="rId20" cstate="print"/>
            <a:stretch>
              <a:fillRect/>
            </a:stretch>
          </a:blipFill>
        </p:spPr>
        <p:txBody>
          <a:bodyPr wrap="square" lIns="0" tIns="0" rIns="0" bIns="0" rtlCol="0"/>
          <a:lstStyle/>
          <a:p>
            <a:endParaRPr/>
          </a:p>
        </p:txBody>
      </p:sp>
      <p:sp>
        <p:nvSpPr>
          <p:cNvPr id="50" name="object 50"/>
          <p:cNvSpPr/>
          <p:nvPr/>
        </p:nvSpPr>
        <p:spPr>
          <a:xfrm>
            <a:off x="8448354" y="5811790"/>
            <a:ext cx="1541780" cy="548005"/>
          </a:xfrm>
          <a:custGeom>
            <a:avLst/>
            <a:gdLst/>
            <a:ahLst/>
            <a:cxnLst/>
            <a:rect l="l" t="t" r="r" b="b"/>
            <a:pathLst>
              <a:path w="1541779" h="548004">
                <a:moveTo>
                  <a:pt x="1485371" y="0"/>
                </a:moveTo>
                <a:lnTo>
                  <a:pt x="55778" y="0"/>
                </a:lnTo>
                <a:lnTo>
                  <a:pt x="34066" y="4125"/>
                </a:lnTo>
                <a:lnTo>
                  <a:pt x="16337" y="15377"/>
                </a:lnTo>
                <a:lnTo>
                  <a:pt x="4383" y="32070"/>
                </a:lnTo>
                <a:lnTo>
                  <a:pt x="0" y="52519"/>
                </a:lnTo>
                <a:lnTo>
                  <a:pt x="0" y="495351"/>
                </a:lnTo>
                <a:lnTo>
                  <a:pt x="4383" y="515807"/>
                </a:lnTo>
                <a:lnTo>
                  <a:pt x="16337" y="532511"/>
                </a:lnTo>
                <a:lnTo>
                  <a:pt x="34066" y="543773"/>
                </a:lnTo>
                <a:lnTo>
                  <a:pt x="55778" y="547903"/>
                </a:lnTo>
                <a:lnTo>
                  <a:pt x="1485371" y="547903"/>
                </a:lnTo>
                <a:lnTo>
                  <a:pt x="1507076" y="543773"/>
                </a:lnTo>
                <a:lnTo>
                  <a:pt x="1524794" y="532511"/>
                </a:lnTo>
                <a:lnTo>
                  <a:pt x="1536736" y="515807"/>
                </a:lnTo>
                <a:lnTo>
                  <a:pt x="1541115" y="495351"/>
                </a:lnTo>
                <a:lnTo>
                  <a:pt x="1541115" y="52519"/>
                </a:lnTo>
                <a:lnTo>
                  <a:pt x="1536755" y="32070"/>
                </a:lnTo>
                <a:lnTo>
                  <a:pt x="1524810" y="15377"/>
                </a:lnTo>
                <a:lnTo>
                  <a:pt x="1507082" y="4125"/>
                </a:lnTo>
                <a:lnTo>
                  <a:pt x="1485371" y="0"/>
                </a:lnTo>
                <a:close/>
              </a:path>
            </a:pathLst>
          </a:custGeom>
          <a:solidFill>
            <a:srgbClr val="FFFFFF"/>
          </a:solidFill>
        </p:spPr>
        <p:txBody>
          <a:bodyPr wrap="square" lIns="0" tIns="0" rIns="0" bIns="0" rtlCol="0"/>
          <a:lstStyle/>
          <a:p>
            <a:endParaRPr/>
          </a:p>
        </p:txBody>
      </p:sp>
      <p:sp>
        <p:nvSpPr>
          <p:cNvPr id="51" name="object 51"/>
          <p:cNvSpPr/>
          <p:nvPr/>
        </p:nvSpPr>
        <p:spPr>
          <a:xfrm>
            <a:off x="8448354" y="5811790"/>
            <a:ext cx="1541780" cy="548005"/>
          </a:xfrm>
          <a:custGeom>
            <a:avLst/>
            <a:gdLst/>
            <a:ahLst/>
            <a:cxnLst/>
            <a:rect l="l" t="t" r="r" b="b"/>
            <a:pathLst>
              <a:path w="1541779" h="548004">
                <a:moveTo>
                  <a:pt x="0" y="52519"/>
                </a:moveTo>
                <a:lnTo>
                  <a:pt x="4383" y="32070"/>
                </a:lnTo>
                <a:lnTo>
                  <a:pt x="16337" y="15377"/>
                </a:lnTo>
                <a:lnTo>
                  <a:pt x="34066" y="4125"/>
                </a:lnTo>
                <a:lnTo>
                  <a:pt x="55778" y="0"/>
                </a:lnTo>
                <a:lnTo>
                  <a:pt x="1485371" y="0"/>
                </a:lnTo>
                <a:lnTo>
                  <a:pt x="1507082" y="4125"/>
                </a:lnTo>
                <a:lnTo>
                  <a:pt x="1524810" y="15377"/>
                </a:lnTo>
                <a:lnTo>
                  <a:pt x="1536755" y="32070"/>
                </a:lnTo>
                <a:lnTo>
                  <a:pt x="1541115" y="52519"/>
                </a:lnTo>
                <a:lnTo>
                  <a:pt x="1541158" y="495351"/>
                </a:lnTo>
                <a:lnTo>
                  <a:pt x="1536736" y="515807"/>
                </a:lnTo>
                <a:lnTo>
                  <a:pt x="1524794" y="532511"/>
                </a:lnTo>
                <a:lnTo>
                  <a:pt x="1507075" y="543773"/>
                </a:lnTo>
                <a:lnTo>
                  <a:pt x="1485371" y="547903"/>
                </a:lnTo>
                <a:lnTo>
                  <a:pt x="55778" y="547903"/>
                </a:lnTo>
                <a:lnTo>
                  <a:pt x="34066" y="543773"/>
                </a:lnTo>
                <a:lnTo>
                  <a:pt x="16337" y="532511"/>
                </a:lnTo>
                <a:lnTo>
                  <a:pt x="4383" y="515807"/>
                </a:lnTo>
                <a:lnTo>
                  <a:pt x="0" y="495351"/>
                </a:lnTo>
                <a:lnTo>
                  <a:pt x="0" y="52519"/>
                </a:lnTo>
                <a:close/>
              </a:path>
            </a:pathLst>
          </a:custGeom>
          <a:ln w="3175">
            <a:solidFill>
              <a:srgbClr val="009BCC"/>
            </a:solidFill>
          </a:ln>
        </p:spPr>
        <p:txBody>
          <a:bodyPr wrap="square" lIns="0" tIns="0" rIns="0" bIns="0" rtlCol="0"/>
          <a:lstStyle/>
          <a:p>
            <a:endParaRPr/>
          </a:p>
        </p:txBody>
      </p:sp>
      <p:sp>
        <p:nvSpPr>
          <p:cNvPr id="52" name="object 52"/>
          <p:cNvSpPr txBox="1"/>
          <p:nvPr/>
        </p:nvSpPr>
        <p:spPr>
          <a:xfrm>
            <a:off x="8479810" y="5852224"/>
            <a:ext cx="570230" cy="431800"/>
          </a:xfrm>
          <a:prstGeom prst="rect">
            <a:avLst/>
          </a:prstGeom>
        </p:spPr>
        <p:txBody>
          <a:bodyPr vert="horz" wrap="square" lIns="0" tIns="44450" rIns="0" bIns="0" rtlCol="0">
            <a:spAutoFit/>
          </a:bodyPr>
          <a:lstStyle/>
          <a:p>
            <a:pPr marL="12700">
              <a:lnSpc>
                <a:spcPct val="100000"/>
              </a:lnSpc>
              <a:spcBef>
                <a:spcPts val="350"/>
              </a:spcBef>
            </a:pPr>
            <a:r>
              <a:rPr sz="450" spc="20">
                <a:solidFill>
                  <a:srgbClr val="009BCC"/>
                </a:solidFill>
                <a:latin typeface="Arial"/>
                <a:cs typeface="Arial"/>
              </a:rPr>
              <a:t>Config</a:t>
            </a:r>
            <a:r>
              <a:rPr sz="450" spc="-60">
                <a:solidFill>
                  <a:srgbClr val="009BCC"/>
                </a:solidFill>
                <a:latin typeface="Arial"/>
                <a:cs typeface="Arial"/>
              </a:rPr>
              <a:t> </a:t>
            </a:r>
            <a:r>
              <a:rPr sz="450" spc="20">
                <a:solidFill>
                  <a:srgbClr val="009BCC"/>
                </a:solidFill>
                <a:latin typeface="Arial"/>
                <a:cs typeface="Arial"/>
              </a:rPr>
              <a:t>Review</a:t>
            </a:r>
            <a:r>
              <a:rPr sz="450" spc="-80">
                <a:solidFill>
                  <a:srgbClr val="009BCC"/>
                </a:solidFill>
                <a:latin typeface="Arial"/>
                <a:cs typeface="Arial"/>
              </a:rPr>
              <a:t> </a:t>
            </a:r>
            <a:r>
              <a:rPr sz="450" spc="20">
                <a:solidFill>
                  <a:srgbClr val="009BCC"/>
                </a:solidFill>
                <a:latin typeface="Arial"/>
                <a:cs typeface="Arial"/>
              </a:rPr>
              <a:t>Tool</a:t>
            </a:r>
            <a:endParaRPr sz="450">
              <a:latin typeface="Arial"/>
              <a:cs typeface="Arial"/>
            </a:endParaRPr>
          </a:p>
          <a:p>
            <a:pPr marL="12700" marR="5080">
              <a:lnSpc>
                <a:spcPct val="99400"/>
              </a:lnSpc>
              <a:spcBef>
                <a:spcPts val="254"/>
              </a:spcBef>
            </a:pPr>
            <a:r>
              <a:rPr sz="450" spc="15">
                <a:solidFill>
                  <a:srgbClr val="001F5F"/>
                </a:solidFill>
                <a:latin typeface="Arial"/>
                <a:cs typeface="Arial"/>
              </a:rPr>
              <a:t>This </a:t>
            </a:r>
            <a:r>
              <a:rPr sz="450" spc="20">
                <a:solidFill>
                  <a:srgbClr val="001F5F"/>
                </a:solidFill>
                <a:latin typeface="Arial"/>
                <a:cs typeface="Arial"/>
              </a:rPr>
              <a:t>Tool </a:t>
            </a:r>
            <a:r>
              <a:rPr sz="450" spc="25">
                <a:solidFill>
                  <a:srgbClr val="001F5F"/>
                </a:solidFill>
                <a:latin typeface="Arial"/>
                <a:cs typeface="Arial"/>
              </a:rPr>
              <a:t>does </a:t>
            </a:r>
            <a:r>
              <a:rPr sz="450" spc="15">
                <a:solidFill>
                  <a:srgbClr val="001F5F"/>
                </a:solidFill>
                <a:latin typeface="Arial"/>
                <a:cs typeface="Arial"/>
              </a:rPr>
              <a:t>the  </a:t>
            </a:r>
            <a:r>
              <a:rPr sz="450" spc="10">
                <a:solidFill>
                  <a:srgbClr val="001F5F"/>
                </a:solidFill>
                <a:latin typeface="Arial"/>
                <a:cs typeface="Arial"/>
              </a:rPr>
              <a:t>configuration</a:t>
            </a:r>
            <a:r>
              <a:rPr sz="450" spc="-45">
                <a:solidFill>
                  <a:srgbClr val="001F5F"/>
                </a:solidFill>
                <a:latin typeface="Arial"/>
                <a:cs typeface="Arial"/>
              </a:rPr>
              <a:t> </a:t>
            </a:r>
            <a:r>
              <a:rPr sz="450" spc="10">
                <a:solidFill>
                  <a:srgbClr val="001F5F"/>
                </a:solidFill>
                <a:latin typeface="Arial"/>
                <a:cs typeface="Arial"/>
              </a:rPr>
              <a:t>review  </a:t>
            </a:r>
            <a:r>
              <a:rPr sz="450" spc="20">
                <a:solidFill>
                  <a:srgbClr val="001F5F"/>
                </a:solidFill>
                <a:latin typeface="Arial"/>
                <a:cs typeface="Arial"/>
              </a:rPr>
              <a:t>based on </a:t>
            </a:r>
            <a:r>
              <a:rPr sz="450" spc="25">
                <a:solidFill>
                  <a:srgbClr val="001F5F"/>
                </a:solidFill>
                <a:latin typeface="Arial"/>
                <a:cs typeface="Arial"/>
              </a:rPr>
              <a:t>SFDC  </a:t>
            </a:r>
            <a:r>
              <a:rPr sz="450" spc="20">
                <a:solidFill>
                  <a:srgbClr val="001F5F"/>
                </a:solidFill>
                <a:latin typeface="Arial"/>
                <a:cs typeface="Arial"/>
              </a:rPr>
              <a:t>best</a:t>
            </a:r>
            <a:r>
              <a:rPr sz="450" spc="-65">
                <a:solidFill>
                  <a:srgbClr val="001F5F"/>
                </a:solidFill>
                <a:latin typeface="Arial"/>
                <a:cs typeface="Arial"/>
              </a:rPr>
              <a:t> </a:t>
            </a:r>
            <a:r>
              <a:rPr sz="450" spc="15">
                <a:solidFill>
                  <a:srgbClr val="001F5F"/>
                </a:solidFill>
                <a:latin typeface="Arial"/>
                <a:cs typeface="Arial"/>
              </a:rPr>
              <a:t>practices.</a:t>
            </a:r>
            <a:endParaRPr sz="450">
              <a:latin typeface="Arial"/>
              <a:cs typeface="Arial"/>
            </a:endParaRPr>
          </a:p>
        </p:txBody>
      </p:sp>
      <p:sp>
        <p:nvSpPr>
          <p:cNvPr id="53" name="object 53"/>
          <p:cNvSpPr/>
          <p:nvPr/>
        </p:nvSpPr>
        <p:spPr>
          <a:xfrm>
            <a:off x="10010492" y="5782851"/>
            <a:ext cx="1573445" cy="599672"/>
          </a:xfrm>
          <a:prstGeom prst="rect">
            <a:avLst/>
          </a:prstGeom>
          <a:blipFill>
            <a:blip r:embed="rId21" cstate="print"/>
            <a:stretch>
              <a:fillRect/>
            </a:stretch>
          </a:blipFill>
        </p:spPr>
        <p:txBody>
          <a:bodyPr wrap="square" lIns="0" tIns="0" rIns="0" bIns="0" rtlCol="0"/>
          <a:lstStyle/>
          <a:p>
            <a:endParaRPr/>
          </a:p>
        </p:txBody>
      </p:sp>
      <p:sp>
        <p:nvSpPr>
          <p:cNvPr id="54" name="object 54"/>
          <p:cNvSpPr/>
          <p:nvPr/>
        </p:nvSpPr>
        <p:spPr>
          <a:xfrm>
            <a:off x="10020185" y="5782851"/>
            <a:ext cx="862649" cy="581408"/>
          </a:xfrm>
          <a:prstGeom prst="rect">
            <a:avLst/>
          </a:prstGeom>
          <a:blipFill>
            <a:blip r:embed="rId22" cstate="print"/>
            <a:stretch>
              <a:fillRect/>
            </a:stretch>
          </a:blipFill>
        </p:spPr>
        <p:txBody>
          <a:bodyPr wrap="square" lIns="0" tIns="0" rIns="0" bIns="0" rtlCol="0"/>
          <a:lstStyle/>
          <a:p>
            <a:endParaRPr/>
          </a:p>
        </p:txBody>
      </p:sp>
      <p:sp>
        <p:nvSpPr>
          <p:cNvPr id="55" name="object 55"/>
          <p:cNvSpPr/>
          <p:nvPr/>
        </p:nvSpPr>
        <p:spPr>
          <a:xfrm>
            <a:off x="10025053" y="5796570"/>
            <a:ext cx="1525270" cy="554355"/>
          </a:xfrm>
          <a:custGeom>
            <a:avLst/>
            <a:gdLst/>
            <a:ahLst/>
            <a:cxnLst/>
            <a:rect l="l" t="t" r="r" b="b"/>
            <a:pathLst>
              <a:path w="1525270" h="554354">
                <a:moveTo>
                  <a:pt x="1468549" y="0"/>
                </a:moveTo>
                <a:lnTo>
                  <a:pt x="56389" y="0"/>
                </a:lnTo>
                <a:lnTo>
                  <a:pt x="34439" y="4174"/>
                </a:lnTo>
                <a:lnTo>
                  <a:pt x="16515" y="15560"/>
                </a:lnTo>
                <a:lnTo>
                  <a:pt x="4431" y="32447"/>
                </a:lnTo>
                <a:lnTo>
                  <a:pt x="0" y="53128"/>
                </a:lnTo>
                <a:lnTo>
                  <a:pt x="0" y="500855"/>
                </a:lnTo>
                <a:lnTo>
                  <a:pt x="4431" y="521539"/>
                </a:lnTo>
                <a:lnTo>
                  <a:pt x="16515" y="538429"/>
                </a:lnTo>
                <a:lnTo>
                  <a:pt x="34439" y="549816"/>
                </a:lnTo>
                <a:lnTo>
                  <a:pt x="56389" y="553991"/>
                </a:lnTo>
                <a:lnTo>
                  <a:pt x="1468549" y="553991"/>
                </a:lnTo>
                <a:lnTo>
                  <a:pt x="1490500" y="549816"/>
                </a:lnTo>
                <a:lnTo>
                  <a:pt x="1508424" y="538429"/>
                </a:lnTo>
                <a:lnTo>
                  <a:pt x="1520508" y="521539"/>
                </a:lnTo>
                <a:lnTo>
                  <a:pt x="1524939" y="500855"/>
                </a:lnTo>
                <a:lnTo>
                  <a:pt x="1524939" y="53128"/>
                </a:lnTo>
                <a:lnTo>
                  <a:pt x="1520508" y="32447"/>
                </a:lnTo>
                <a:lnTo>
                  <a:pt x="1508424" y="15560"/>
                </a:lnTo>
                <a:lnTo>
                  <a:pt x="1490500" y="4174"/>
                </a:lnTo>
                <a:lnTo>
                  <a:pt x="1468549" y="0"/>
                </a:lnTo>
                <a:close/>
              </a:path>
            </a:pathLst>
          </a:custGeom>
          <a:solidFill>
            <a:srgbClr val="FFFFFF"/>
          </a:solidFill>
        </p:spPr>
        <p:txBody>
          <a:bodyPr wrap="square" lIns="0" tIns="0" rIns="0" bIns="0" rtlCol="0"/>
          <a:lstStyle/>
          <a:p>
            <a:endParaRPr/>
          </a:p>
        </p:txBody>
      </p:sp>
      <p:sp>
        <p:nvSpPr>
          <p:cNvPr id="56" name="object 56"/>
          <p:cNvSpPr/>
          <p:nvPr/>
        </p:nvSpPr>
        <p:spPr>
          <a:xfrm>
            <a:off x="10025053" y="5796570"/>
            <a:ext cx="1525270" cy="554355"/>
          </a:xfrm>
          <a:custGeom>
            <a:avLst/>
            <a:gdLst/>
            <a:ahLst/>
            <a:cxnLst/>
            <a:rect l="l" t="t" r="r" b="b"/>
            <a:pathLst>
              <a:path w="1525270" h="554354">
                <a:moveTo>
                  <a:pt x="0" y="53128"/>
                </a:moveTo>
                <a:lnTo>
                  <a:pt x="4431" y="32447"/>
                </a:lnTo>
                <a:lnTo>
                  <a:pt x="16515" y="15560"/>
                </a:lnTo>
                <a:lnTo>
                  <a:pt x="34439" y="4174"/>
                </a:lnTo>
                <a:lnTo>
                  <a:pt x="56389" y="0"/>
                </a:lnTo>
                <a:lnTo>
                  <a:pt x="1468549" y="0"/>
                </a:lnTo>
                <a:lnTo>
                  <a:pt x="1490500" y="4174"/>
                </a:lnTo>
                <a:lnTo>
                  <a:pt x="1508424" y="15560"/>
                </a:lnTo>
                <a:lnTo>
                  <a:pt x="1520508" y="32447"/>
                </a:lnTo>
                <a:lnTo>
                  <a:pt x="1524939" y="53128"/>
                </a:lnTo>
                <a:lnTo>
                  <a:pt x="1524982" y="500855"/>
                </a:lnTo>
                <a:lnTo>
                  <a:pt x="1520508" y="521539"/>
                </a:lnTo>
                <a:lnTo>
                  <a:pt x="1508424" y="538429"/>
                </a:lnTo>
                <a:lnTo>
                  <a:pt x="1490500" y="549816"/>
                </a:lnTo>
                <a:lnTo>
                  <a:pt x="1468549" y="553991"/>
                </a:lnTo>
                <a:lnTo>
                  <a:pt x="56389" y="553991"/>
                </a:lnTo>
                <a:lnTo>
                  <a:pt x="34439" y="549816"/>
                </a:lnTo>
                <a:lnTo>
                  <a:pt x="16515" y="538429"/>
                </a:lnTo>
                <a:lnTo>
                  <a:pt x="4431" y="521539"/>
                </a:lnTo>
                <a:lnTo>
                  <a:pt x="0" y="500855"/>
                </a:lnTo>
                <a:lnTo>
                  <a:pt x="0" y="53128"/>
                </a:lnTo>
                <a:close/>
              </a:path>
            </a:pathLst>
          </a:custGeom>
          <a:ln w="3175">
            <a:solidFill>
              <a:srgbClr val="009BCC"/>
            </a:solidFill>
          </a:ln>
        </p:spPr>
        <p:txBody>
          <a:bodyPr wrap="square" lIns="0" tIns="0" rIns="0" bIns="0" rtlCol="0"/>
          <a:lstStyle/>
          <a:p>
            <a:endParaRPr/>
          </a:p>
        </p:txBody>
      </p:sp>
      <p:sp>
        <p:nvSpPr>
          <p:cNvPr id="57" name="object 57"/>
          <p:cNvSpPr txBox="1"/>
          <p:nvPr/>
        </p:nvSpPr>
        <p:spPr>
          <a:xfrm>
            <a:off x="10061333" y="5768723"/>
            <a:ext cx="753745" cy="577215"/>
          </a:xfrm>
          <a:prstGeom prst="rect">
            <a:avLst/>
          </a:prstGeom>
        </p:spPr>
        <p:txBody>
          <a:bodyPr vert="horz" wrap="square" lIns="0" tIns="46355" rIns="0" bIns="0" rtlCol="0">
            <a:spAutoFit/>
          </a:bodyPr>
          <a:lstStyle/>
          <a:p>
            <a:pPr marL="12700">
              <a:lnSpc>
                <a:spcPct val="100000"/>
              </a:lnSpc>
              <a:spcBef>
                <a:spcPts val="365"/>
              </a:spcBef>
            </a:pPr>
            <a:r>
              <a:rPr sz="500" spc="15">
                <a:solidFill>
                  <a:srgbClr val="009BCC"/>
                </a:solidFill>
                <a:latin typeface="Arial"/>
                <a:cs typeface="Arial"/>
              </a:rPr>
              <a:t>Data </a:t>
            </a:r>
            <a:r>
              <a:rPr sz="500" spc="25">
                <a:solidFill>
                  <a:srgbClr val="009BCC"/>
                </a:solidFill>
                <a:latin typeface="Arial"/>
                <a:cs typeface="Arial"/>
              </a:rPr>
              <a:t>Mapper</a:t>
            </a:r>
            <a:r>
              <a:rPr sz="500" spc="-105">
                <a:solidFill>
                  <a:srgbClr val="009BCC"/>
                </a:solidFill>
                <a:latin typeface="Arial"/>
                <a:cs typeface="Arial"/>
              </a:rPr>
              <a:t> </a:t>
            </a:r>
            <a:r>
              <a:rPr sz="500" spc="15">
                <a:solidFill>
                  <a:srgbClr val="009BCC"/>
                </a:solidFill>
                <a:latin typeface="Arial"/>
                <a:cs typeface="Arial"/>
              </a:rPr>
              <a:t>Tool</a:t>
            </a:r>
            <a:endParaRPr sz="500">
              <a:latin typeface="Arial"/>
              <a:cs typeface="Arial"/>
            </a:endParaRPr>
          </a:p>
          <a:p>
            <a:pPr marL="12700" marR="5080">
              <a:lnSpc>
                <a:spcPct val="99700"/>
              </a:lnSpc>
              <a:spcBef>
                <a:spcPts val="244"/>
              </a:spcBef>
            </a:pPr>
            <a:r>
              <a:rPr sz="450" spc="15">
                <a:solidFill>
                  <a:srgbClr val="001F5F"/>
                </a:solidFill>
                <a:latin typeface="Arial"/>
                <a:cs typeface="Arial"/>
              </a:rPr>
              <a:t>This</a:t>
            </a:r>
            <a:r>
              <a:rPr sz="450" spc="-50">
                <a:solidFill>
                  <a:srgbClr val="001F5F"/>
                </a:solidFill>
                <a:latin typeface="Arial"/>
                <a:cs typeface="Arial"/>
              </a:rPr>
              <a:t> </a:t>
            </a:r>
            <a:r>
              <a:rPr sz="450" spc="15">
                <a:solidFill>
                  <a:srgbClr val="001F5F"/>
                </a:solidFill>
                <a:latin typeface="Arial"/>
                <a:cs typeface="Arial"/>
              </a:rPr>
              <a:t>tool</a:t>
            </a:r>
            <a:r>
              <a:rPr sz="450" spc="-60">
                <a:solidFill>
                  <a:srgbClr val="001F5F"/>
                </a:solidFill>
                <a:latin typeface="Arial"/>
                <a:cs typeface="Arial"/>
              </a:rPr>
              <a:t> </a:t>
            </a:r>
            <a:r>
              <a:rPr sz="450" spc="5">
                <a:solidFill>
                  <a:srgbClr val="001F5F"/>
                </a:solidFill>
                <a:latin typeface="Arial"/>
                <a:cs typeface="Arial"/>
              </a:rPr>
              <a:t>is</a:t>
            </a:r>
            <a:r>
              <a:rPr sz="450">
                <a:solidFill>
                  <a:srgbClr val="001F5F"/>
                </a:solidFill>
                <a:latin typeface="Arial"/>
                <a:cs typeface="Arial"/>
              </a:rPr>
              <a:t> </a:t>
            </a:r>
            <a:r>
              <a:rPr sz="450" spc="25">
                <a:solidFill>
                  <a:srgbClr val="001F5F"/>
                </a:solidFill>
                <a:latin typeface="Arial"/>
                <a:cs typeface="Arial"/>
              </a:rPr>
              <a:t>used</a:t>
            </a:r>
            <a:r>
              <a:rPr sz="450" spc="-45">
                <a:solidFill>
                  <a:srgbClr val="001F5F"/>
                </a:solidFill>
                <a:latin typeface="Arial"/>
                <a:cs typeface="Arial"/>
              </a:rPr>
              <a:t> </a:t>
            </a:r>
            <a:r>
              <a:rPr sz="450" spc="5">
                <a:solidFill>
                  <a:srgbClr val="001F5F"/>
                </a:solidFill>
                <a:latin typeface="Arial"/>
                <a:cs typeface="Arial"/>
              </a:rPr>
              <a:t>to</a:t>
            </a:r>
            <a:r>
              <a:rPr sz="450" spc="-25">
                <a:solidFill>
                  <a:srgbClr val="001F5F"/>
                </a:solidFill>
                <a:latin typeface="Arial"/>
                <a:cs typeface="Arial"/>
              </a:rPr>
              <a:t> </a:t>
            </a:r>
            <a:r>
              <a:rPr sz="450" spc="15">
                <a:solidFill>
                  <a:srgbClr val="001F5F"/>
                </a:solidFill>
                <a:latin typeface="Arial"/>
                <a:cs typeface="Arial"/>
              </a:rPr>
              <a:t>analyze  </a:t>
            </a:r>
            <a:r>
              <a:rPr sz="450" spc="20">
                <a:solidFill>
                  <a:srgbClr val="001F5F"/>
                </a:solidFill>
                <a:latin typeface="Arial"/>
                <a:cs typeface="Arial"/>
              </a:rPr>
              <a:t>&amp; </a:t>
            </a:r>
            <a:r>
              <a:rPr sz="450" spc="15">
                <a:solidFill>
                  <a:srgbClr val="001F5F"/>
                </a:solidFill>
                <a:latin typeface="Arial"/>
                <a:cs typeface="Arial"/>
              </a:rPr>
              <a:t>generates </a:t>
            </a:r>
            <a:r>
              <a:rPr sz="450" spc="10">
                <a:solidFill>
                  <a:srgbClr val="001F5F"/>
                </a:solidFill>
                <a:latin typeface="Arial"/>
                <a:cs typeface="Arial"/>
              </a:rPr>
              <a:t>the </a:t>
            </a:r>
            <a:r>
              <a:rPr sz="450" spc="15">
                <a:solidFill>
                  <a:srgbClr val="001F5F"/>
                </a:solidFill>
                <a:latin typeface="Arial"/>
                <a:cs typeface="Arial"/>
              </a:rPr>
              <a:t>standard  skeleton</a:t>
            </a:r>
            <a:r>
              <a:rPr sz="450" spc="-75">
                <a:solidFill>
                  <a:srgbClr val="001F5F"/>
                </a:solidFill>
                <a:latin typeface="Arial"/>
                <a:cs typeface="Arial"/>
              </a:rPr>
              <a:t> </a:t>
            </a:r>
            <a:r>
              <a:rPr sz="450" spc="20">
                <a:solidFill>
                  <a:srgbClr val="001F5F"/>
                </a:solidFill>
                <a:latin typeface="Arial"/>
                <a:cs typeface="Arial"/>
              </a:rPr>
              <a:t>for</a:t>
            </a:r>
            <a:r>
              <a:rPr sz="450" spc="-65">
                <a:solidFill>
                  <a:srgbClr val="001F5F"/>
                </a:solidFill>
                <a:latin typeface="Arial"/>
                <a:cs typeface="Arial"/>
              </a:rPr>
              <a:t> </a:t>
            </a:r>
            <a:r>
              <a:rPr sz="450" spc="15">
                <a:solidFill>
                  <a:srgbClr val="001F5F"/>
                </a:solidFill>
                <a:latin typeface="Arial"/>
                <a:cs typeface="Arial"/>
              </a:rPr>
              <a:t>control</a:t>
            </a:r>
            <a:r>
              <a:rPr sz="450" spc="-60">
                <a:solidFill>
                  <a:srgbClr val="001F5F"/>
                </a:solidFill>
                <a:latin typeface="Arial"/>
                <a:cs typeface="Arial"/>
              </a:rPr>
              <a:t> </a:t>
            </a:r>
            <a:r>
              <a:rPr sz="450" spc="10">
                <a:solidFill>
                  <a:srgbClr val="001F5F"/>
                </a:solidFill>
                <a:latin typeface="Arial"/>
                <a:cs typeface="Arial"/>
              </a:rPr>
              <a:t>file,</a:t>
            </a:r>
            <a:r>
              <a:rPr sz="450" spc="-65">
                <a:solidFill>
                  <a:srgbClr val="001F5F"/>
                </a:solidFill>
                <a:latin typeface="Arial"/>
                <a:cs typeface="Arial"/>
              </a:rPr>
              <a:t> </a:t>
            </a:r>
            <a:r>
              <a:rPr sz="450" spc="5">
                <a:solidFill>
                  <a:srgbClr val="001F5F"/>
                </a:solidFill>
                <a:latin typeface="Arial"/>
                <a:cs typeface="Arial"/>
              </a:rPr>
              <a:t>file  </a:t>
            </a:r>
            <a:r>
              <a:rPr sz="450" spc="20">
                <a:solidFill>
                  <a:srgbClr val="001F5F"/>
                </a:solidFill>
                <a:latin typeface="Arial"/>
                <a:cs typeface="Arial"/>
              </a:rPr>
              <a:t>&amp; mapping document on  </a:t>
            </a:r>
            <a:r>
              <a:rPr sz="450" spc="15">
                <a:solidFill>
                  <a:srgbClr val="001F5F"/>
                </a:solidFill>
                <a:latin typeface="Arial"/>
                <a:cs typeface="Arial"/>
              </a:rPr>
              <a:t>basis of the Interface </a:t>
            </a:r>
            <a:r>
              <a:rPr sz="450" spc="20">
                <a:solidFill>
                  <a:srgbClr val="001F5F"/>
                </a:solidFill>
                <a:latin typeface="Arial"/>
                <a:cs typeface="Arial"/>
              </a:rPr>
              <a:t>or  base</a:t>
            </a:r>
            <a:r>
              <a:rPr sz="450" spc="-95">
                <a:solidFill>
                  <a:srgbClr val="001F5F"/>
                </a:solidFill>
                <a:latin typeface="Arial"/>
                <a:cs typeface="Arial"/>
              </a:rPr>
              <a:t> </a:t>
            </a:r>
            <a:r>
              <a:rPr sz="450" spc="10">
                <a:solidFill>
                  <a:srgbClr val="001F5F"/>
                </a:solidFill>
                <a:latin typeface="Arial"/>
                <a:cs typeface="Arial"/>
              </a:rPr>
              <a:t>table selection.</a:t>
            </a:r>
            <a:endParaRPr sz="450">
              <a:latin typeface="Arial"/>
              <a:cs typeface="Arial"/>
            </a:endParaRPr>
          </a:p>
        </p:txBody>
      </p:sp>
      <p:sp>
        <p:nvSpPr>
          <p:cNvPr id="58" name="object 58"/>
          <p:cNvSpPr/>
          <p:nvPr/>
        </p:nvSpPr>
        <p:spPr>
          <a:xfrm>
            <a:off x="10823084" y="5869606"/>
            <a:ext cx="707566" cy="407898"/>
          </a:xfrm>
          <a:prstGeom prst="rect">
            <a:avLst/>
          </a:prstGeom>
          <a:blipFill>
            <a:blip r:embed="rId23" cstate="print"/>
            <a:stretch>
              <a:fillRect/>
            </a:stretch>
          </a:blipFill>
        </p:spPr>
        <p:txBody>
          <a:bodyPr wrap="square" lIns="0" tIns="0" rIns="0" bIns="0" rtlCol="0"/>
          <a:lstStyle/>
          <a:p>
            <a:endParaRPr/>
          </a:p>
        </p:txBody>
      </p:sp>
      <p:sp>
        <p:nvSpPr>
          <p:cNvPr id="59" name="object 59"/>
          <p:cNvSpPr/>
          <p:nvPr/>
        </p:nvSpPr>
        <p:spPr>
          <a:xfrm>
            <a:off x="10821447" y="5868084"/>
            <a:ext cx="711200" cy="411480"/>
          </a:xfrm>
          <a:custGeom>
            <a:avLst/>
            <a:gdLst/>
            <a:ahLst/>
            <a:cxnLst/>
            <a:rect l="l" t="t" r="r" b="b"/>
            <a:pathLst>
              <a:path w="711200" h="411479">
                <a:moveTo>
                  <a:pt x="0" y="410942"/>
                </a:moveTo>
                <a:lnTo>
                  <a:pt x="710796" y="410942"/>
                </a:lnTo>
                <a:lnTo>
                  <a:pt x="710796" y="0"/>
                </a:lnTo>
                <a:lnTo>
                  <a:pt x="0" y="0"/>
                </a:lnTo>
                <a:lnTo>
                  <a:pt x="0" y="410942"/>
                </a:lnTo>
                <a:close/>
              </a:path>
            </a:pathLst>
          </a:custGeom>
          <a:ln w="3175">
            <a:solidFill>
              <a:srgbClr val="000000"/>
            </a:solidFill>
          </a:ln>
        </p:spPr>
        <p:txBody>
          <a:bodyPr wrap="square" lIns="0" tIns="0" rIns="0" bIns="0" rtlCol="0"/>
          <a:lstStyle/>
          <a:p>
            <a:endParaRPr/>
          </a:p>
        </p:txBody>
      </p:sp>
      <p:sp>
        <p:nvSpPr>
          <p:cNvPr id="60" name="object 60"/>
          <p:cNvSpPr/>
          <p:nvPr/>
        </p:nvSpPr>
        <p:spPr>
          <a:xfrm>
            <a:off x="9246407" y="5257778"/>
            <a:ext cx="717258" cy="462691"/>
          </a:xfrm>
          <a:prstGeom prst="rect">
            <a:avLst/>
          </a:prstGeom>
          <a:blipFill>
            <a:blip r:embed="rId24" cstate="print"/>
            <a:stretch>
              <a:fillRect/>
            </a:stretch>
          </a:blipFill>
        </p:spPr>
        <p:txBody>
          <a:bodyPr wrap="square" lIns="0" tIns="0" rIns="0" bIns="0" rtlCol="0"/>
          <a:lstStyle/>
          <a:p>
            <a:endParaRPr/>
          </a:p>
        </p:txBody>
      </p:sp>
      <p:sp>
        <p:nvSpPr>
          <p:cNvPr id="61" name="object 61"/>
          <p:cNvSpPr/>
          <p:nvPr/>
        </p:nvSpPr>
        <p:spPr>
          <a:xfrm>
            <a:off x="9244770" y="5256236"/>
            <a:ext cx="720725" cy="466090"/>
          </a:xfrm>
          <a:custGeom>
            <a:avLst/>
            <a:gdLst/>
            <a:ahLst/>
            <a:cxnLst/>
            <a:rect l="l" t="t" r="r" b="b"/>
            <a:pathLst>
              <a:path w="720725" h="466089">
                <a:moveTo>
                  <a:pt x="0" y="465735"/>
                </a:moveTo>
                <a:lnTo>
                  <a:pt x="720489" y="465735"/>
                </a:lnTo>
                <a:lnTo>
                  <a:pt x="720489" y="0"/>
                </a:lnTo>
                <a:lnTo>
                  <a:pt x="0" y="0"/>
                </a:lnTo>
                <a:lnTo>
                  <a:pt x="0" y="465735"/>
                </a:lnTo>
                <a:close/>
              </a:path>
            </a:pathLst>
          </a:custGeom>
          <a:ln w="3175">
            <a:solidFill>
              <a:srgbClr val="000000"/>
            </a:solidFill>
          </a:ln>
        </p:spPr>
        <p:txBody>
          <a:bodyPr wrap="square" lIns="0" tIns="0" rIns="0" bIns="0" rtlCol="0"/>
          <a:lstStyle/>
          <a:p>
            <a:endParaRPr/>
          </a:p>
        </p:txBody>
      </p:sp>
      <p:sp>
        <p:nvSpPr>
          <p:cNvPr id="62" name="object 62"/>
          <p:cNvSpPr/>
          <p:nvPr/>
        </p:nvSpPr>
        <p:spPr>
          <a:xfrm>
            <a:off x="10655078" y="5276042"/>
            <a:ext cx="840032" cy="386590"/>
          </a:xfrm>
          <a:prstGeom prst="rect">
            <a:avLst/>
          </a:prstGeom>
          <a:blipFill>
            <a:blip r:embed="rId25" cstate="print"/>
            <a:stretch>
              <a:fillRect/>
            </a:stretch>
          </a:blipFill>
        </p:spPr>
        <p:txBody>
          <a:bodyPr wrap="square" lIns="0" tIns="0" rIns="0" bIns="0" rtlCol="0"/>
          <a:lstStyle/>
          <a:p>
            <a:endParaRPr/>
          </a:p>
        </p:txBody>
      </p:sp>
      <p:sp>
        <p:nvSpPr>
          <p:cNvPr id="63" name="object 63"/>
          <p:cNvSpPr/>
          <p:nvPr/>
        </p:nvSpPr>
        <p:spPr>
          <a:xfrm>
            <a:off x="10653441" y="5274500"/>
            <a:ext cx="843280" cy="389890"/>
          </a:xfrm>
          <a:custGeom>
            <a:avLst/>
            <a:gdLst/>
            <a:ahLst/>
            <a:cxnLst/>
            <a:rect l="l" t="t" r="r" b="b"/>
            <a:pathLst>
              <a:path w="843279" h="389889">
                <a:moveTo>
                  <a:pt x="0" y="389634"/>
                </a:moveTo>
                <a:lnTo>
                  <a:pt x="843263" y="389634"/>
                </a:lnTo>
                <a:lnTo>
                  <a:pt x="843263" y="0"/>
                </a:lnTo>
                <a:lnTo>
                  <a:pt x="0" y="0"/>
                </a:lnTo>
                <a:lnTo>
                  <a:pt x="0" y="389634"/>
                </a:lnTo>
                <a:close/>
              </a:path>
            </a:pathLst>
          </a:custGeom>
          <a:ln w="3175">
            <a:solidFill>
              <a:srgbClr val="000000"/>
            </a:solidFill>
          </a:ln>
        </p:spPr>
        <p:txBody>
          <a:bodyPr wrap="square" lIns="0" tIns="0" rIns="0" bIns="0" rtlCol="0"/>
          <a:lstStyle/>
          <a:p>
            <a:endParaRPr/>
          </a:p>
        </p:txBody>
      </p:sp>
      <p:sp>
        <p:nvSpPr>
          <p:cNvPr id="64" name="object 64"/>
          <p:cNvSpPr/>
          <p:nvPr/>
        </p:nvSpPr>
        <p:spPr>
          <a:xfrm>
            <a:off x="9249638" y="5878738"/>
            <a:ext cx="697873" cy="413986"/>
          </a:xfrm>
          <a:prstGeom prst="rect">
            <a:avLst/>
          </a:prstGeom>
          <a:blipFill>
            <a:blip r:embed="rId26" cstate="print"/>
            <a:stretch>
              <a:fillRect/>
            </a:stretch>
          </a:blipFill>
        </p:spPr>
        <p:txBody>
          <a:bodyPr wrap="square" lIns="0" tIns="0" rIns="0" bIns="0" rtlCol="0"/>
          <a:lstStyle/>
          <a:p>
            <a:endParaRPr/>
          </a:p>
        </p:txBody>
      </p:sp>
      <p:sp>
        <p:nvSpPr>
          <p:cNvPr id="65" name="object 65"/>
          <p:cNvSpPr/>
          <p:nvPr/>
        </p:nvSpPr>
        <p:spPr>
          <a:xfrm>
            <a:off x="9248001" y="5877216"/>
            <a:ext cx="701675" cy="417195"/>
          </a:xfrm>
          <a:custGeom>
            <a:avLst/>
            <a:gdLst/>
            <a:ahLst/>
            <a:cxnLst/>
            <a:rect l="l" t="t" r="r" b="b"/>
            <a:pathLst>
              <a:path w="701675" h="417195">
                <a:moveTo>
                  <a:pt x="0" y="417030"/>
                </a:moveTo>
                <a:lnTo>
                  <a:pt x="701104" y="417030"/>
                </a:lnTo>
                <a:lnTo>
                  <a:pt x="701104" y="0"/>
                </a:lnTo>
                <a:lnTo>
                  <a:pt x="0" y="0"/>
                </a:lnTo>
                <a:lnTo>
                  <a:pt x="0" y="417030"/>
                </a:lnTo>
                <a:close/>
              </a:path>
            </a:pathLst>
          </a:custGeom>
          <a:ln w="3175">
            <a:solidFill>
              <a:srgbClr val="000000"/>
            </a:solidFill>
          </a:ln>
        </p:spPr>
        <p:txBody>
          <a:bodyPr wrap="square" lIns="0" tIns="0" rIns="0" bIns="0" rtlCol="0"/>
          <a:lstStyle/>
          <a:p>
            <a:endParaRPr/>
          </a:p>
        </p:txBody>
      </p:sp>
      <p:sp>
        <p:nvSpPr>
          <p:cNvPr id="66" name="object 66"/>
          <p:cNvSpPr/>
          <p:nvPr/>
        </p:nvSpPr>
        <p:spPr>
          <a:xfrm>
            <a:off x="765048" y="5288279"/>
            <a:ext cx="1912620" cy="658368"/>
          </a:xfrm>
          <a:prstGeom prst="rect">
            <a:avLst/>
          </a:prstGeom>
          <a:blipFill>
            <a:blip r:embed="rId27" cstate="print"/>
            <a:stretch>
              <a:fillRect/>
            </a:stretch>
          </a:blipFill>
        </p:spPr>
        <p:txBody>
          <a:bodyPr wrap="square" lIns="0" tIns="0" rIns="0" bIns="0" rtlCol="0"/>
          <a:lstStyle/>
          <a:p>
            <a:endParaRPr/>
          </a:p>
        </p:txBody>
      </p:sp>
      <p:sp>
        <p:nvSpPr>
          <p:cNvPr id="67" name="object 67"/>
          <p:cNvSpPr/>
          <p:nvPr/>
        </p:nvSpPr>
        <p:spPr>
          <a:xfrm>
            <a:off x="760476" y="5283708"/>
            <a:ext cx="1922145" cy="668020"/>
          </a:xfrm>
          <a:custGeom>
            <a:avLst/>
            <a:gdLst/>
            <a:ahLst/>
            <a:cxnLst/>
            <a:rect l="l" t="t" r="r" b="b"/>
            <a:pathLst>
              <a:path w="1922145" h="668020">
                <a:moveTo>
                  <a:pt x="0" y="667512"/>
                </a:moveTo>
                <a:lnTo>
                  <a:pt x="1921764" y="667512"/>
                </a:lnTo>
                <a:lnTo>
                  <a:pt x="1921764" y="0"/>
                </a:lnTo>
                <a:lnTo>
                  <a:pt x="0" y="0"/>
                </a:lnTo>
                <a:lnTo>
                  <a:pt x="0" y="667512"/>
                </a:lnTo>
                <a:close/>
              </a:path>
            </a:pathLst>
          </a:custGeom>
          <a:ln w="9144">
            <a:solidFill>
              <a:srgbClr val="1F0E2D"/>
            </a:solidFill>
          </a:ln>
        </p:spPr>
        <p:txBody>
          <a:bodyPr wrap="square" lIns="0" tIns="0" rIns="0" bIns="0" rtlCol="0"/>
          <a:lstStyle/>
          <a:p>
            <a:endParaRPr/>
          </a:p>
        </p:txBody>
      </p:sp>
      <p:sp>
        <p:nvSpPr>
          <p:cNvPr id="68" name="object 68"/>
          <p:cNvSpPr/>
          <p:nvPr/>
        </p:nvSpPr>
        <p:spPr>
          <a:xfrm>
            <a:off x="2218944" y="5699759"/>
            <a:ext cx="1284732" cy="691895"/>
          </a:xfrm>
          <a:prstGeom prst="rect">
            <a:avLst/>
          </a:prstGeom>
          <a:blipFill>
            <a:blip r:embed="rId28" cstate="print"/>
            <a:stretch>
              <a:fillRect/>
            </a:stretch>
          </a:blipFill>
        </p:spPr>
        <p:txBody>
          <a:bodyPr wrap="square" lIns="0" tIns="0" rIns="0" bIns="0" rtlCol="0"/>
          <a:lstStyle/>
          <a:p>
            <a:endParaRPr/>
          </a:p>
        </p:txBody>
      </p:sp>
      <p:sp>
        <p:nvSpPr>
          <p:cNvPr id="69" name="object 69"/>
          <p:cNvSpPr/>
          <p:nvPr/>
        </p:nvSpPr>
        <p:spPr>
          <a:xfrm>
            <a:off x="2214372" y="5695188"/>
            <a:ext cx="1294130" cy="701040"/>
          </a:xfrm>
          <a:custGeom>
            <a:avLst/>
            <a:gdLst/>
            <a:ahLst/>
            <a:cxnLst/>
            <a:rect l="l" t="t" r="r" b="b"/>
            <a:pathLst>
              <a:path w="1294129" h="701039">
                <a:moveTo>
                  <a:pt x="0" y="701040"/>
                </a:moveTo>
                <a:lnTo>
                  <a:pt x="1293876" y="701040"/>
                </a:lnTo>
                <a:lnTo>
                  <a:pt x="1293876" y="0"/>
                </a:lnTo>
                <a:lnTo>
                  <a:pt x="0" y="0"/>
                </a:lnTo>
                <a:lnTo>
                  <a:pt x="0" y="701040"/>
                </a:lnTo>
                <a:close/>
              </a:path>
            </a:pathLst>
          </a:custGeom>
          <a:ln w="9144">
            <a:solidFill>
              <a:srgbClr val="1F0E2D"/>
            </a:solidFill>
          </a:ln>
        </p:spPr>
        <p:txBody>
          <a:bodyPr wrap="square" lIns="0" tIns="0" rIns="0" bIns="0" rtlCol="0"/>
          <a:lstStyle/>
          <a:p>
            <a:endParaRPr/>
          </a:p>
        </p:txBody>
      </p:sp>
      <p:sp>
        <p:nvSpPr>
          <p:cNvPr id="70" name="object 70"/>
          <p:cNvSpPr/>
          <p:nvPr/>
        </p:nvSpPr>
        <p:spPr>
          <a:xfrm>
            <a:off x="4351020" y="5338571"/>
            <a:ext cx="3441191" cy="1053084"/>
          </a:xfrm>
          <a:prstGeom prst="rect">
            <a:avLst/>
          </a:prstGeom>
          <a:blipFill>
            <a:blip r:embed="rId29" cstate="print"/>
            <a:stretch>
              <a:fillRect/>
            </a:stretch>
          </a:blipFill>
        </p:spPr>
        <p:txBody>
          <a:bodyPr wrap="square" lIns="0" tIns="0" rIns="0" bIns="0" rtlCol="0"/>
          <a:lstStyle/>
          <a:p>
            <a:endParaRPr/>
          </a:p>
        </p:txBody>
      </p:sp>
      <p:sp>
        <p:nvSpPr>
          <p:cNvPr id="71" name="object 71"/>
          <p:cNvSpPr/>
          <p:nvPr/>
        </p:nvSpPr>
        <p:spPr>
          <a:xfrm>
            <a:off x="4346447" y="5334000"/>
            <a:ext cx="3450590" cy="1062355"/>
          </a:xfrm>
          <a:custGeom>
            <a:avLst/>
            <a:gdLst/>
            <a:ahLst/>
            <a:cxnLst/>
            <a:rect l="l" t="t" r="r" b="b"/>
            <a:pathLst>
              <a:path w="3450590" h="1062354">
                <a:moveTo>
                  <a:pt x="0" y="1062228"/>
                </a:moveTo>
                <a:lnTo>
                  <a:pt x="3450336" y="1062228"/>
                </a:lnTo>
                <a:lnTo>
                  <a:pt x="3450336" y="0"/>
                </a:lnTo>
                <a:lnTo>
                  <a:pt x="0" y="0"/>
                </a:lnTo>
                <a:lnTo>
                  <a:pt x="0" y="1062228"/>
                </a:lnTo>
                <a:close/>
              </a:path>
            </a:pathLst>
          </a:custGeom>
          <a:ln w="9143">
            <a:solidFill>
              <a:srgbClr val="1F0E2D"/>
            </a:solidFill>
          </a:ln>
        </p:spPr>
        <p:txBody>
          <a:bodyPr wrap="square" lIns="0" tIns="0" rIns="0" bIns="0" rtlCol="0"/>
          <a:lstStyle/>
          <a:p>
            <a:endParaRPr/>
          </a:p>
        </p:txBody>
      </p:sp>
      <p:sp>
        <p:nvSpPr>
          <p:cNvPr id="72" name="object 72"/>
          <p:cNvSpPr/>
          <p:nvPr/>
        </p:nvSpPr>
        <p:spPr>
          <a:xfrm>
            <a:off x="832103" y="2770632"/>
            <a:ext cx="1642872" cy="844296"/>
          </a:xfrm>
          <a:prstGeom prst="rect">
            <a:avLst/>
          </a:prstGeom>
          <a:blipFill>
            <a:blip r:embed="rId30" cstate="print"/>
            <a:stretch>
              <a:fillRect/>
            </a:stretch>
          </a:blipFill>
        </p:spPr>
        <p:txBody>
          <a:bodyPr wrap="square" lIns="0" tIns="0" rIns="0" bIns="0" rtlCol="0"/>
          <a:lstStyle/>
          <a:p>
            <a:endParaRPr/>
          </a:p>
        </p:txBody>
      </p:sp>
      <p:sp>
        <p:nvSpPr>
          <p:cNvPr id="73" name="object 73"/>
          <p:cNvSpPr/>
          <p:nvPr/>
        </p:nvSpPr>
        <p:spPr>
          <a:xfrm>
            <a:off x="827532" y="2766060"/>
            <a:ext cx="1652270" cy="853440"/>
          </a:xfrm>
          <a:custGeom>
            <a:avLst/>
            <a:gdLst/>
            <a:ahLst/>
            <a:cxnLst/>
            <a:rect l="l" t="t" r="r" b="b"/>
            <a:pathLst>
              <a:path w="1652270" h="853439">
                <a:moveTo>
                  <a:pt x="0" y="853439"/>
                </a:moveTo>
                <a:lnTo>
                  <a:pt x="1652016" y="853439"/>
                </a:lnTo>
                <a:lnTo>
                  <a:pt x="1652016" y="0"/>
                </a:lnTo>
                <a:lnTo>
                  <a:pt x="0" y="0"/>
                </a:lnTo>
                <a:lnTo>
                  <a:pt x="0" y="853439"/>
                </a:lnTo>
                <a:close/>
              </a:path>
            </a:pathLst>
          </a:custGeom>
          <a:ln w="9143">
            <a:solidFill>
              <a:srgbClr val="1F0E2D"/>
            </a:solidFill>
          </a:ln>
        </p:spPr>
        <p:txBody>
          <a:bodyPr wrap="square" lIns="0" tIns="0" rIns="0" bIns="0" rtlCol="0"/>
          <a:lstStyle/>
          <a:p>
            <a:endParaRPr/>
          </a:p>
        </p:txBody>
      </p:sp>
      <p:sp>
        <p:nvSpPr>
          <p:cNvPr id="74" name="object 74"/>
          <p:cNvSpPr/>
          <p:nvPr/>
        </p:nvSpPr>
        <p:spPr>
          <a:xfrm>
            <a:off x="3966971" y="2570988"/>
            <a:ext cx="1264920" cy="973836"/>
          </a:xfrm>
          <a:prstGeom prst="rect">
            <a:avLst/>
          </a:prstGeom>
          <a:blipFill>
            <a:blip r:embed="rId31" cstate="print"/>
            <a:stretch>
              <a:fillRect/>
            </a:stretch>
          </a:blipFill>
        </p:spPr>
        <p:txBody>
          <a:bodyPr wrap="square" lIns="0" tIns="0" rIns="0" bIns="0" rtlCol="0"/>
          <a:lstStyle/>
          <a:p>
            <a:endParaRPr/>
          </a:p>
        </p:txBody>
      </p:sp>
      <p:sp>
        <p:nvSpPr>
          <p:cNvPr id="75" name="object 75"/>
          <p:cNvSpPr txBox="1"/>
          <p:nvPr/>
        </p:nvSpPr>
        <p:spPr>
          <a:xfrm>
            <a:off x="3259073" y="3542791"/>
            <a:ext cx="2679065" cy="177800"/>
          </a:xfrm>
          <a:prstGeom prst="rect">
            <a:avLst/>
          </a:prstGeom>
        </p:spPr>
        <p:txBody>
          <a:bodyPr vert="horz" wrap="square" lIns="0" tIns="12065" rIns="0" bIns="0" rtlCol="0">
            <a:spAutoFit/>
          </a:bodyPr>
          <a:lstStyle/>
          <a:p>
            <a:pPr marL="12700">
              <a:lnSpc>
                <a:spcPct val="100000"/>
              </a:lnSpc>
              <a:spcBef>
                <a:spcPts val="95"/>
              </a:spcBef>
            </a:pPr>
            <a:r>
              <a:rPr sz="1000" spc="-5">
                <a:latin typeface="Verdana"/>
                <a:cs typeface="Verdana"/>
              </a:rPr>
              <a:t>Accelerated </a:t>
            </a:r>
            <a:r>
              <a:rPr sz="1000">
                <a:latin typeface="Verdana"/>
                <a:cs typeface="Verdana"/>
              </a:rPr>
              <a:t>Solutions </a:t>
            </a:r>
            <a:r>
              <a:rPr sz="1000" spc="-5">
                <a:latin typeface="Verdana"/>
                <a:cs typeface="Verdana"/>
              </a:rPr>
              <a:t>Environment</a:t>
            </a:r>
            <a:r>
              <a:rPr sz="1000" spc="60">
                <a:latin typeface="Verdana"/>
                <a:cs typeface="Verdana"/>
              </a:rPr>
              <a:t> </a:t>
            </a:r>
            <a:r>
              <a:rPr sz="1000" spc="-5">
                <a:latin typeface="Verdana"/>
                <a:cs typeface="Verdana"/>
              </a:rPr>
              <a:t>(ASE)</a:t>
            </a:r>
            <a:endParaRPr sz="1000">
              <a:latin typeface="Verdana"/>
              <a:cs typeface="Verdana"/>
            </a:endParaRPr>
          </a:p>
        </p:txBody>
      </p:sp>
      <p:sp>
        <p:nvSpPr>
          <p:cNvPr id="76" name="object 76"/>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7" name="object 77"/>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5</a:t>
            </a:fld>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51459" y="2636520"/>
            <a:ext cx="2632316" cy="1556003"/>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245363" y="2630423"/>
            <a:ext cx="2778760" cy="1568450"/>
          </a:xfrm>
          <a:custGeom>
            <a:avLst/>
            <a:gdLst/>
            <a:ahLst/>
            <a:cxnLst/>
            <a:rect l="l" t="t" r="r" b="b"/>
            <a:pathLst>
              <a:path w="2778760" h="1568450">
                <a:moveTo>
                  <a:pt x="0" y="1568195"/>
                </a:moveTo>
                <a:lnTo>
                  <a:pt x="2778252" y="1568195"/>
                </a:lnTo>
                <a:lnTo>
                  <a:pt x="2778252" y="0"/>
                </a:lnTo>
                <a:lnTo>
                  <a:pt x="0" y="0"/>
                </a:lnTo>
                <a:lnTo>
                  <a:pt x="0" y="1568195"/>
                </a:lnTo>
                <a:close/>
              </a:path>
            </a:pathLst>
          </a:custGeom>
          <a:ln w="12192">
            <a:solidFill>
              <a:srgbClr val="A6A6A6"/>
            </a:solidFill>
          </a:ln>
        </p:spPr>
        <p:txBody>
          <a:bodyPr wrap="square" lIns="0" tIns="0" rIns="0" bIns="0" rtlCol="0"/>
          <a:lstStyle/>
          <a:p>
            <a:endParaRPr/>
          </a:p>
        </p:txBody>
      </p:sp>
      <p:sp>
        <p:nvSpPr>
          <p:cNvPr id="4" name="object 4"/>
          <p:cNvSpPr/>
          <p:nvPr/>
        </p:nvSpPr>
        <p:spPr>
          <a:xfrm>
            <a:off x="6234684" y="2691223"/>
            <a:ext cx="2559365" cy="1446597"/>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6228588" y="2630423"/>
            <a:ext cx="2778760" cy="1568450"/>
          </a:xfrm>
          <a:custGeom>
            <a:avLst/>
            <a:gdLst/>
            <a:ahLst/>
            <a:cxnLst/>
            <a:rect l="l" t="t" r="r" b="b"/>
            <a:pathLst>
              <a:path w="2778759" h="1568450">
                <a:moveTo>
                  <a:pt x="0" y="1568195"/>
                </a:moveTo>
                <a:lnTo>
                  <a:pt x="2778252" y="1568195"/>
                </a:lnTo>
                <a:lnTo>
                  <a:pt x="2778252" y="0"/>
                </a:lnTo>
                <a:lnTo>
                  <a:pt x="0" y="0"/>
                </a:lnTo>
                <a:lnTo>
                  <a:pt x="0" y="1568195"/>
                </a:lnTo>
                <a:close/>
              </a:path>
            </a:pathLst>
          </a:custGeom>
          <a:ln w="12192">
            <a:solidFill>
              <a:srgbClr val="A6A6A6"/>
            </a:solidFill>
          </a:ln>
        </p:spPr>
        <p:txBody>
          <a:bodyPr wrap="square" lIns="0" tIns="0" rIns="0" bIns="0" rtlCol="0"/>
          <a:lstStyle/>
          <a:p>
            <a:endParaRPr/>
          </a:p>
        </p:txBody>
      </p:sp>
      <p:sp>
        <p:nvSpPr>
          <p:cNvPr id="6" name="object 6"/>
          <p:cNvSpPr/>
          <p:nvPr/>
        </p:nvSpPr>
        <p:spPr>
          <a:xfrm>
            <a:off x="3249167" y="2636520"/>
            <a:ext cx="2577603" cy="1549925"/>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3243072" y="2630423"/>
            <a:ext cx="2778760" cy="1568450"/>
          </a:xfrm>
          <a:custGeom>
            <a:avLst/>
            <a:gdLst/>
            <a:ahLst/>
            <a:cxnLst/>
            <a:rect l="l" t="t" r="r" b="b"/>
            <a:pathLst>
              <a:path w="2778760" h="1568450">
                <a:moveTo>
                  <a:pt x="0" y="1568195"/>
                </a:moveTo>
                <a:lnTo>
                  <a:pt x="2778252" y="1568195"/>
                </a:lnTo>
                <a:lnTo>
                  <a:pt x="2778252" y="0"/>
                </a:lnTo>
                <a:lnTo>
                  <a:pt x="0" y="0"/>
                </a:lnTo>
                <a:lnTo>
                  <a:pt x="0" y="1568195"/>
                </a:lnTo>
                <a:close/>
              </a:path>
            </a:pathLst>
          </a:custGeom>
          <a:ln w="12192">
            <a:solidFill>
              <a:srgbClr val="A6A6A6"/>
            </a:solidFill>
          </a:ln>
        </p:spPr>
        <p:txBody>
          <a:bodyPr wrap="square" lIns="0" tIns="0" rIns="0" bIns="0" rtlCol="0"/>
          <a:lstStyle/>
          <a:p>
            <a:endParaRPr/>
          </a:p>
        </p:txBody>
      </p:sp>
      <p:sp>
        <p:nvSpPr>
          <p:cNvPr id="8" name="object 8"/>
          <p:cNvSpPr/>
          <p:nvPr/>
        </p:nvSpPr>
        <p:spPr>
          <a:xfrm>
            <a:off x="9174480" y="2727692"/>
            <a:ext cx="2559365" cy="1410128"/>
          </a:xfrm>
          <a:prstGeom prst="rect">
            <a:avLst/>
          </a:prstGeom>
          <a:blipFill>
            <a:blip r:embed="rId5" cstate="print"/>
            <a:stretch>
              <a:fillRect/>
            </a:stretch>
          </a:blipFill>
        </p:spPr>
        <p:txBody>
          <a:bodyPr wrap="square" lIns="0" tIns="0" rIns="0" bIns="0" rtlCol="0"/>
          <a:lstStyle/>
          <a:p>
            <a:endParaRPr/>
          </a:p>
        </p:txBody>
      </p:sp>
      <p:sp>
        <p:nvSpPr>
          <p:cNvPr id="9" name="object 9"/>
          <p:cNvSpPr/>
          <p:nvPr/>
        </p:nvSpPr>
        <p:spPr>
          <a:xfrm>
            <a:off x="9168383" y="2630423"/>
            <a:ext cx="2778760" cy="1568450"/>
          </a:xfrm>
          <a:custGeom>
            <a:avLst/>
            <a:gdLst/>
            <a:ahLst/>
            <a:cxnLst/>
            <a:rect l="l" t="t" r="r" b="b"/>
            <a:pathLst>
              <a:path w="2778759" h="1568450">
                <a:moveTo>
                  <a:pt x="0" y="1568195"/>
                </a:moveTo>
                <a:lnTo>
                  <a:pt x="2778252" y="1568195"/>
                </a:lnTo>
                <a:lnTo>
                  <a:pt x="2778252" y="0"/>
                </a:lnTo>
                <a:lnTo>
                  <a:pt x="0" y="0"/>
                </a:lnTo>
                <a:lnTo>
                  <a:pt x="0" y="1568195"/>
                </a:lnTo>
                <a:close/>
              </a:path>
            </a:pathLst>
          </a:custGeom>
          <a:ln w="12192">
            <a:solidFill>
              <a:srgbClr val="A6A6A6"/>
            </a:solidFill>
          </a:ln>
        </p:spPr>
        <p:txBody>
          <a:bodyPr wrap="square" lIns="0" tIns="0" rIns="0" bIns="0" rtlCol="0"/>
          <a:lstStyle/>
          <a:p>
            <a:endParaRPr/>
          </a:p>
        </p:txBody>
      </p:sp>
      <p:sp>
        <p:nvSpPr>
          <p:cNvPr id="10" name="object 10"/>
          <p:cNvSpPr/>
          <p:nvPr/>
        </p:nvSpPr>
        <p:spPr>
          <a:xfrm>
            <a:off x="251459" y="4455818"/>
            <a:ext cx="2687029" cy="1408747"/>
          </a:xfrm>
          <a:prstGeom prst="rect">
            <a:avLst/>
          </a:prstGeom>
          <a:blipFill>
            <a:blip r:embed="rId6" cstate="print"/>
            <a:stretch>
              <a:fillRect/>
            </a:stretch>
          </a:blipFill>
        </p:spPr>
        <p:txBody>
          <a:bodyPr wrap="square" lIns="0" tIns="0" rIns="0" bIns="0" rtlCol="0"/>
          <a:lstStyle/>
          <a:p>
            <a:endParaRPr/>
          </a:p>
        </p:txBody>
      </p:sp>
      <p:sp>
        <p:nvSpPr>
          <p:cNvPr id="11" name="object 11"/>
          <p:cNvSpPr/>
          <p:nvPr/>
        </p:nvSpPr>
        <p:spPr>
          <a:xfrm>
            <a:off x="245363" y="4358640"/>
            <a:ext cx="2778760" cy="1567180"/>
          </a:xfrm>
          <a:custGeom>
            <a:avLst/>
            <a:gdLst/>
            <a:ahLst/>
            <a:cxnLst/>
            <a:rect l="l" t="t" r="r" b="b"/>
            <a:pathLst>
              <a:path w="2778760" h="1567179">
                <a:moveTo>
                  <a:pt x="0" y="1566672"/>
                </a:moveTo>
                <a:lnTo>
                  <a:pt x="2778252" y="1566672"/>
                </a:lnTo>
                <a:lnTo>
                  <a:pt x="2778252" y="0"/>
                </a:lnTo>
                <a:lnTo>
                  <a:pt x="0" y="0"/>
                </a:lnTo>
                <a:lnTo>
                  <a:pt x="0" y="1566672"/>
                </a:lnTo>
                <a:close/>
              </a:path>
            </a:pathLst>
          </a:custGeom>
          <a:ln w="12192">
            <a:solidFill>
              <a:srgbClr val="A6A6A6"/>
            </a:solidFill>
          </a:ln>
        </p:spPr>
        <p:txBody>
          <a:bodyPr wrap="square" lIns="0" tIns="0" rIns="0" bIns="0" rtlCol="0"/>
          <a:lstStyle/>
          <a:p>
            <a:endParaRPr/>
          </a:p>
        </p:txBody>
      </p:sp>
      <p:sp>
        <p:nvSpPr>
          <p:cNvPr id="12" name="object 12"/>
          <p:cNvSpPr/>
          <p:nvPr/>
        </p:nvSpPr>
        <p:spPr>
          <a:xfrm>
            <a:off x="3226307" y="4455818"/>
            <a:ext cx="2559365" cy="1408747"/>
          </a:xfrm>
          <a:prstGeom prst="rect">
            <a:avLst/>
          </a:prstGeom>
          <a:blipFill>
            <a:blip r:embed="rId7" cstate="print"/>
            <a:stretch>
              <a:fillRect/>
            </a:stretch>
          </a:blipFill>
        </p:spPr>
        <p:txBody>
          <a:bodyPr wrap="square" lIns="0" tIns="0" rIns="0" bIns="0" rtlCol="0"/>
          <a:lstStyle/>
          <a:p>
            <a:endParaRPr/>
          </a:p>
        </p:txBody>
      </p:sp>
      <p:sp>
        <p:nvSpPr>
          <p:cNvPr id="13" name="object 13"/>
          <p:cNvSpPr/>
          <p:nvPr/>
        </p:nvSpPr>
        <p:spPr>
          <a:xfrm>
            <a:off x="3220211" y="4358640"/>
            <a:ext cx="2778760" cy="1567180"/>
          </a:xfrm>
          <a:custGeom>
            <a:avLst/>
            <a:gdLst/>
            <a:ahLst/>
            <a:cxnLst/>
            <a:rect l="l" t="t" r="r" b="b"/>
            <a:pathLst>
              <a:path w="2778760" h="1567179">
                <a:moveTo>
                  <a:pt x="0" y="1566672"/>
                </a:moveTo>
                <a:lnTo>
                  <a:pt x="2778252" y="1566672"/>
                </a:lnTo>
                <a:lnTo>
                  <a:pt x="2778252" y="0"/>
                </a:lnTo>
                <a:lnTo>
                  <a:pt x="0" y="0"/>
                </a:lnTo>
                <a:lnTo>
                  <a:pt x="0" y="1566672"/>
                </a:lnTo>
                <a:close/>
              </a:path>
            </a:pathLst>
          </a:custGeom>
          <a:ln w="12192">
            <a:solidFill>
              <a:srgbClr val="A6A6A6"/>
            </a:solidFill>
          </a:ln>
        </p:spPr>
        <p:txBody>
          <a:bodyPr wrap="square" lIns="0" tIns="0" rIns="0" bIns="0" rtlCol="0"/>
          <a:lstStyle/>
          <a:p>
            <a:endParaRPr/>
          </a:p>
        </p:txBody>
      </p:sp>
      <p:sp>
        <p:nvSpPr>
          <p:cNvPr id="14" name="object 14"/>
          <p:cNvSpPr/>
          <p:nvPr/>
        </p:nvSpPr>
        <p:spPr>
          <a:xfrm>
            <a:off x="9174480" y="4455818"/>
            <a:ext cx="2662712" cy="1408747"/>
          </a:xfrm>
          <a:prstGeom prst="rect">
            <a:avLst/>
          </a:prstGeom>
          <a:blipFill>
            <a:blip r:embed="rId8" cstate="print"/>
            <a:stretch>
              <a:fillRect/>
            </a:stretch>
          </a:blipFill>
        </p:spPr>
        <p:txBody>
          <a:bodyPr wrap="square" lIns="0" tIns="0" rIns="0" bIns="0" rtlCol="0"/>
          <a:lstStyle/>
          <a:p>
            <a:endParaRPr/>
          </a:p>
        </p:txBody>
      </p:sp>
      <p:sp>
        <p:nvSpPr>
          <p:cNvPr id="15" name="object 15"/>
          <p:cNvSpPr/>
          <p:nvPr/>
        </p:nvSpPr>
        <p:spPr>
          <a:xfrm>
            <a:off x="9168383" y="4358640"/>
            <a:ext cx="2778760" cy="1567180"/>
          </a:xfrm>
          <a:custGeom>
            <a:avLst/>
            <a:gdLst/>
            <a:ahLst/>
            <a:cxnLst/>
            <a:rect l="l" t="t" r="r" b="b"/>
            <a:pathLst>
              <a:path w="2778759" h="1567179">
                <a:moveTo>
                  <a:pt x="0" y="1566672"/>
                </a:moveTo>
                <a:lnTo>
                  <a:pt x="2778252" y="1566672"/>
                </a:lnTo>
                <a:lnTo>
                  <a:pt x="2778252" y="0"/>
                </a:lnTo>
                <a:lnTo>
                  <a:pt x="0" y="0"/>
                </a:lnTo>
                <a:lnTo>
                  <a:pt x="0" y="1566672"/>
                </a:lnTo>
                <a:close/>
              </a:path>
            </a:pathLst>
          </a:custGeom>
          <a:ln w="12192">
            <a:solidFill>
              <a:srgbClr val="A6A6A6"/>
            </a:solidFill>
          </a:ln>
        </p:spPr>
        <p:txBody>
          <a:bodyPr wrap="square" lIns="0" tIns="0" rIns="0" bIns="0" rtlCol="0"/>
          <a:lstStyle/>
          <a:p>
            <a:endParaRPr/>
          </a:p>
        </p:txBody>
      </p:sp>
      <p:sp>
        <p:nvSpPr>
          <p:cNvPr id="16" name="object 16"/>
          <p:cNvSpPr/>
          <p:nvPr/>
        </p:nvSpPr>
        <p:spPr>
          <a:xfrm>
            <a:off x="6236208" y="4455818"/>
            <a:ext cx="2607999" cy="1408747"/>
          </a:xfrm>
          <a:prstGeom prst="rect">
            <a:avLst/>
          </a:prstGeom>
          <a:blipFill>
            <a:blip r:embed="rId9" cstate="print"/>
            <a:stretch>
              <a:fillRect/>
            </a:stretch>
          </a:blipFill>
        </p:spPr>
        <p:txBody>
          <a:bodyPr wrap="square" lIns="0" tIns="0" rIns="0" bIns="0" rtlCol="0"/>
          <a:lstStyle/>
          <a:p>
            <a:endParaRPr/>
          </a:p>
        </p:txBody>
      </p:sp>
      <p:sp>
        <p:nvSpPr>
          <p:cNvPr id="17" name="object 17"/>
          <p:cNvSpPr/>
          <p:nvPr/>
        </p:nvSpPr>
        <p:spPr>
          <a:xfrm>
            <a:off x="6230111" y="4358640"/>
            <a:ext cx="2778760" cy="1567180"/>
          </a:xfrm>
          <a:custGeom>
            <a:avLst/>
            <a:gdLst/>
            <a:ahLst/>
            <a:cxnLst/>
            <a:rect l="l" t="t" r="r" b="b"/>
            <a:pathLst>
              <a:path w="2778759" h="1567179">
                <a:moveTo>
                  <a:pt x="0" y="1566672"/>
                </a:moveTo>
                <a:lnTo>
                  <a:pt x="2778251" y="1566672"/>
                </a:lnTo>
                <a:lnTo>
                  <a:pt x="2778251" y="0"/>
                </a:lnTo>
                <a:lnTo>
                  <a:pt x="0" y="0"/>
                </a:lnTo>
                <a:lnTo>
                  <a:pt x="0" y="1566672"/>
                </a:lnTo>
                <a:close/>
              </a:path>
            </a:pathLst>
          </a:custGeom>
          <a:ln w="12192">
            <a:solidFill>
              <a:srgbClr val="A6A6A6"/>
            </a:solidFill>
          </a:ln>
        </p:spPr>
        <p:txBody>
          <a:bodyPr wrap="square" lIns="0" tIns="0" rIns="0" bIns="0" rtlCol="0"/>
          <a:lstStyle/>
          <a:p>
            <a:endParaRPr/>
          </a:p>
        </p:txBody>
      </p:sp>
      <p:sp>
        <p:nvSpPr>
          <p:cNvPr id="18" name="object 18"/>
          <p:cNvSpPr/>
          <p:nvPr/>
        </p:nvSpPr>
        <p:spPr>
          <a:xfrm>
            <a:off x="7109459" y="2668523"/>
            <a:ext cx="1152525" cy="1485900"/>
          </a:xfrm>
          <a:custGeom>
            <a:avLst/>
            <a:gdLst/>
            <a:ahLst/>
            <a:cxnLst/>
            <a:rect l="l" t="t" r="r" b="b"/>
            <a:pathLst>
              <a:path w="1152525" h="1485900">
                <a:moveTo>
                  <a:pt x="0" y="1485900"/>
                </a:moveTo>
                <a:lnTo>
                  <a:pt x="1152144" y="1485900"/>
                </a:lnTo>
                <a:lnTo>
                  <a:pt x="1152144" y="0"/>
                </a:lnTo>
                <a:lnTo>
                  <a:pt x="0" y="0"/>
                </a:lnTo>
                <a:lnTo>
                  <a:pt x="0" y="1485900"/>
                </a:lnTo>
                <a:close/>
              </a:path>
            </a:pathLst>
          </a:custGeom>
          <a:solidFill>
            <a:srgbClr val="FFFFFF"/>
          </a:solidFill>
        </p:spPr>
        <p:txBody>
          <a:bodyPr wrap="square" lIns="0" tIns="0" rIns="0" bIns="0" rtlCol="0"/>
          <a:lstStyle/>
          <a:p>
            <a:endParaRPr/>
          </a:p>
        </p:txBody>
      </p:sp>
      <p:sp>
        <p:nvSpPr>
          <p:cNvPr id="19" name="object 19"/>
          <p:cNvSpPr/>
          <p:nvPr/>
        </p:nvSpPr>
        <p:spPr>
          <a:xfrm>
            <a:off x="6284976" y="2930651"/>
            <a:ext cx="2583179" cy="1117092"/>
          </a:xfrm>
          <a:prstGeom prst="rect">
            <a:avLst/>
          </a:prstGeom>
          <a:blipFill>
            <a:blip r:embed="rId10" cstate="print"/>
            <a:stretch>
              <a:fillRect/>
            </a:stretch>
          </a:blipFill>
        </p:spPr>
        <p:txBody>
          <a:bodyPr wrap="square" lIns="0" tIns="0" rIns="0" bIns="0" rtlCol="0"/>
          <a:lstStyle/>
          <a:p>
            <a:endParaRPr/>
          </a:p>
        </p:txBody>
      </p:sp>
      <p:sp>
        <p:nvSpPr>
          <p:cNvPr id="20" name="object 20"/>
          <p:cNvSpPr txBox="1">
            <a:spLocks noGrp="1"/>
          </p:cNvSpPr>
          <p:nvPr>
            <p:ph type="title"/>
          </p:nvPr>
        </p:nvSpPr>
        <p:spPr>
          <a:xfrm>
            <a:off x="214680" y="318896"/>
            <a:ext cx="6750050" cy="422275"/>
          </a:xfrm>
          <a:prstGeom prst="rect">
            <a:avLst/>
          </a:prstGeom>
        </p:spPr>
        <p:txBody>
          <a:bodyPr vert="horz" wrap="square" lIns="0" tIns="12700" rIns="0" bIns="0" rtlCol="0">
            <a:spAutoFit/>
          </a:bodyPr>
          <a:lstStyle/>
          <a:p>
            <a:pPr marL="12700">
              <a:lnSpc>
                <a:spcPct val="100000"/>
              </a:lnSpc>
              <a:spcBef>
                <a:spcPts val="100"/>
              </a:spcBef>
            </a:pPr>
            <a:r>
              <a:rPr sz="2600" spc="-5"/>
              <a:t>Designing User </a:t>
            </a:r>
            <a:r>
              <a:rPr sz="2600"/>
              <a:t>Journeys – Sample</a:t>
            </a:r>
            <a:r>
              <a:rPr sz="2600" spc="-40"/>
              <a:t> </a:t>
            </a:r>
            <a:r>
              <a:rPr sz="2600" spc="-55"/>
              <a:t>Tools</a:t>
            </a:r>
            <a:endParaRPr sz="2600"/>
          </a:p>
        </p:txBody>
      </p:sp>
      <p:sp>
        <p:nvSpPr>
          <p:cNvPr id="22" name="object 2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3" name="object 23"/>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6</a:t>
            </a:fld>
            <a:endParaRPr/>
          </a:p>
        </p:txBody>
      </p:sp>
      <p:sp>
        <p:nvSpPr>
          <p:cNvPr id="21" name="object 21"/>
          <p:cNvSpPr txBox="1"/>
          <p:nvPr/>
        </p:nvSpPr>
        <p:spPr>
          <a:xfrm>
            <a:off x="251459" y="1129283"/>
            <a:ext cx="11689080" cy="1325880"/>
          </a:xfrm>
          <a:prstGeom prst="rect">
            <a:avLst/>
          </a:prstGeom>
          <a:solidFill>
            <a:srgbClr val="421F5D"/>
          </a:solidFill>
        </p:spPr>
        <p:txBody>
          <a:bodyPr vert="horz" wrap="square" lIns="0" tIns="128270" rIns="0" bIns="0" rtlCol="0">
            <a:spAutoFit/>
          </a:bodyPr>
          <a:lstStyle/>
          <a:p>
            <a:pPr marL="91440">
              <a:lnSpc>
                <a:spcPct val="100000"/>
              </a:lnSpc>
              <a:spcBef>
                <a:spcPts val="1010"/>
              </a:spcBef>
            </a:pPr>
            <a:r>
              <a:rPr sz="1400" spc="-30">
                <a:solidFill>
                  <a:srgbClr val="FFFFFF"/>
                </a:solidFill>
                <a:latin typeface="Verdana"/>
                <a:cs typeface="Verdana"/>
              </a:rPr>
              <a:t>We </a:t>
            </a:r>
            <a:r>
              <a:rPr sz="1400">
                <a:solidFill>
                  <a:srgbClr val="FFFFFF"/>
                </a:solidFill>
                <a:latin typeface="Verdana"/>
                <a:cs typeface="Verdana"/>
              </a:rPr>
              <a:t>can also bring cutting edge capabilities for ideating and co-designing the most effective user</a:t>
            </a:r>
            <a:r>
              <a:rPr sz="1400" spc="-315">
                <a:solidFill>
                  <a:srgbClr val="FFFFFF"/>
                </a:solidFill>
                <a:latin typeface="Verdana"/>
                <a:cs typeface="Verdana"/>
              </a:rPr>
              <a:t> </a:t>
            </a:r>
            <a:r>
              <a:rPr sz="1400">
                <a:solidFill>
                  <a:srgbClr val="FFFFFF"/>
                </a:solidFill>
                <a:latin typeface="Verdana"/>
                <a:cs typeface="Verdana"/>
              </a:rPr>
              <a:t>journeys</a:t>
            </a:r>
            <a:endParaRPr sz="1400">
              <a:latin typeface="Verdana"/>
              <a:cs typeface="Verdana"/>
            </a:endParaRPr>
          </a:p>
          <a:p>
            <a:pPr marL="91440" marR="130810">
              <a:lnSpc>
                <a:spcPct val="100000"/>
              </a:lnSpc>
              <a:spcBef>
                <a:spcPts val="5"/>
              </a:spcBef>
            </a:pPr>
            <a:r>
              <a:rPr sz="1400" spc="5">
                <a:solidFill>
                  <a:srgbClr val="FFFFFF"/>
                </a:solidFill>
                <a:latin typeface="Verdana"/>
                <a:cs typeface="Verdana"/>
              </a:rPr>
              <a:t>allowing </a:t>
            </a:r>
            <a:r>
              <a:rPr sz="1400" spc="-5">
                <a:solidFill>
                  <a:srgbClr val="FFFFFF"/>
                </a:solidFill>
                <a:latin typeface="Verdana"/>
                <a:cs typeface="Verdana"/>
              </a:rPr>
              <a:t>the </a:t>
            </a:r>
            <a:r>
              <a:rPr sz="1400">
                <a:solidFill>
                  <a:srgbClr val="FFFFFF"/>
                </a:solidFill>
                <a:latin typeface="Verdana"/>
                <a:cs typeface="Verdana"/>
              </a:rPr>
              <a:t>business </a:t>
            </a:r>
            <a:r>
              <a:rPr sz="1400" spc="-5">
                <a:solidFill>
                  <a:srgbClr val="FFFFFF"/>
                </a:solidFill>
                <a:latin typeface="Verdana"/>
                <a:cs typeface="Verdana"/>
              </a:rPr>
              <a:t>team to eradicate </a:t>
            </a:r>
            <a:r>
              <a:rPr sz="1400">
                <a:solidFill>
                  <a:srgbClr val="FFFFFF"/>
                </a:solidFill>
                <a:latin typeface="Verdana"/>
                <a:cs typeface="Verdana"/>
              </a:rPr>
              <a:t>root causes of their current business issues where digital approaches </a:t>
            </a:r>
            <a:r>
              <a:rPr sz="1400" spc="-5">
                <a:solidFill>
                  <a:srgbClr val="FFFFFF"/>
                </a:solidFill>
                <a:latin typeface="Verdana"/>
                <a:cs typeface="Verdana"/>
              </a:rPr>
              <a:t>may be</a:t>
            </a:r>
            <a:r>
              <a:rPr sz="1400" spc="-254">
                <a:solidFill>
                  <a:srgbClr val="FFFFFF"/>
                </a:solidFill>
                <a:latin typeface="Verdana"/>
                <a:cs typeface="Verdana"/>
              </a:rPr>
              <a:t> </a:t>
            </a:r>
            <a:r>
              <a:rPr sz="1400" spc="-5">
                <a:solidFill>
                  <a:srgbClr val="FFFFFF"/>
                </a:solidFill>
                <a:latin typeface="Verdana"/>
                <a:cs typeface="Verdana"/>
              </a:rPr>
              <a:t>leveraged  </a:t>
            </a:r>
            <a:r>
              <a:rPr sz="1400">
                <a:solidFill>
                  <a:srgbClr val="FFFFFF"/>
                </a:solidFill>
                <a:latin typeface="Verdana"/>
                <a:cs typeface="Verdana"/>
              </a:rPr>
              <a:t>Below are a few sample tools used in this </a:t>
            </a:r>
            <a:r>
              <a:rPr sz="1400" spc="-15">
                <a:solidFill>
                  <a:srgbClr val="FFFFFF"/>
                </a:solidFill>
                <a:latin typeface="Verdana"/>
                <a:cs typeface="Verdana"/>
              </a:rPr>
              <a:t>activity. </a:t>
            </a:r>
            <a:r>
              <a:rPr sz="1400">
                <a:solidFill>
                  <a:srgbClr val="FFFFFF"/>
                </a:solidFill>
                <a:latin typeface="Verdana"/>
                <a:cs typeface="Verdana"/>
              </a:rPr>
              <a:t>Among </a:t>
            </a:r>
            <a:r>
              <a:rPr sz="1400" spc="-5">
                <a:solidFill>
                  <a:srgbClr val="FFFFFF"/>
                </a:solidFill>
                <a:latin typeface="Verdana"/>
                <a:cs typeface="Verdana"/>
              </a:rPr>
              <a:t>the </a:t>
            </a:r>
            <a:r>
              <a:rPr sz="1400">
                <a:solidFill>
                  <a:srgbClr val="FFFFFF"/>
                </a:solidFill>
                <a:latin typeface="Verdana"/>
                <a:cs typeface="Verdana"/>
              </a:rPr>
              <a:t>design tools we use stakeholders mapping, causes analysis,  personas, storyboarding, user </a:t>
            </a:r>
            <a:r>
              <a:rPr sz="1400" spc="-5">
                <a:solidFill>
                  <a:srgbClr val="FFFFFF"/>
                </a:solidFill>
                <a:latin typeface="Verdana"/>
                <a:cs typeface="Verdana"/>
              </a:rPr>
              <a:t>journeys, </a:t>
            </a:r>
            <a:r>
              <a:rPr sz="1400" spc="-10">
                <a:solidFill>
                  <a:srgbClr val="FFFFFF"/>
                </a:solidFill>
                <a:latin typeface="Verdana"/>
                <a:cs typeface="Verdana"/>
              </a:rPr>
              <a:t>Kano </a:t>
            </a:r>
            <a:r>
              <a:rPr sz="1400">
                <a:solidFill>
                  <a:srgbClr val="FFFFFF"/>
                </a:solidFill>
                <a:latin typeface="Verdana"/>
                <a:cs typeface="Verdana"/>
              </a:rPr>
              <a:t>prioritization and when required wireframe sketching and</a:t>
            </a:r>
            <a:r>
              <a:rPr sz="1400" spc="-225">
                <a:solidFill>
                  <a:srgbClr val="FFFFFF"/>
                </a:solidFill>
                <a:latin typeface="Verdana"/>
                <a:cs typeface="Verdana"/>
              </a:rPr>
              <a:t> </a:t>
            </a:r>
            <a:r>
              <a:rPr sz="1400" spc="-5">
                <a:solidFill>
                  <a:srgbClr val="FFFFFF"/>
                </a:solidFill>
                <a:latin typeface="Verdana"/>
                <a:cs typeface="Verdana"/>
              </a:rPr>
              <a:t>prototyping.</a:t>
            </a:r>
            <a:endParaRPr sz="1400">
              <a:latin typeface="Verdana"/>
              <a:cs typeface="Verdana"/>
            </a:endParaRPr>
          </a:p>
          <a:p>
            <a:pPr marL="91440">
              <a:lnSpc>
                <a:spcPct val="100000"/>
              </a:lnSpc>
            </a:pPr>
            <a:r>
              <a:rPr sz="1400" b="1">
                <a:solidFill>
                  <a:srgbClr val="FFFFFF"/>
                </a:solidFill>
                <a:latin typeface="Verdana"/>
                <a:cs typeface="Verdana"/>
              </a:rPr>
              <a:t>We </a:t>
            </a:r>
            <a:r>
              <a:rPr sz="1400" b="1" spc="-5">
                <a:solidFill>
                  <a:srgbClr val="FFFFFF"/>
                </a:solidFill>
                <a:latin typeface="Verdana"/>
                <a:cs typeface="Verdana"/>
              </a:rPr>
              <a:t>come prepared and perform these tasks </a:t>
            </a:r>
            <a:r>
              <a:rPr sz="1400" b="1">
                <a:solidFill>
                  <a:srgbClr val="FFFFFF"/>
                </a:solidFill>
                <a:latin typeface="Verdana"/>
                <a:cs typeface="Verdana"/>
              </a:rPr>
              <a:t>with </a:t>
            </a:r>
            <a:r>
              <a:rPr sz="1400" b="1" spc="-5">
                <a:solidFill>
                  <a:srgbClr val="FFFFFF"/>
                </a:solidFill>
                <a:latin typeface="Verdana"/>
                <a:cs typeface="Verdana"/>
              </a:rPr>
              <a:t>you </a:t>
            </a:r>
            <a:r>
              <a:rPr sz="1400" b="1">
                <a:solidFill>
                  <a:srgbClr val="FFFFFF"/>
                </a:solidFill>
                <a:latin typeface="Verdana"/>
                <a:cs typeface="Verdana"/>
              </a:rPr>
              <a:t>in a </a:t>
            </a:r>
            <a:r>
              <a:rPr sz="1400" b="1" spc="-5">
                <a:solidFill>
                  <a:srgbClr val="FFFFFF"/>
                </a:solidFill>
                <a:latin typeface="Verdana"/>
                <a:cs typeface="Verdana"/>
              </a:rPr>
              <a:t>matter of</a:t>
            </a:r>
            <a:r>
              <a:rPr sz="1400" b="1" spc="-135">
                <a:solidFill>
                  <a:srgbClr val="FFFFFF"/>
                </a:solidFill>
                <a:latin typeface="Verdana"/>
                <a:cs typeface="Verdana"/>
              </a:rPr>
              <a:t> </a:t>
            </a:r>
            <a:r>
              <a:rPr sz="1400" b="1" spc="-5">
                <a:solidFill>
                  <a:srgbClr val="FFFFFF"/>
                </a:solidFill>
                <a:latin typeface="Verdana"/>
                <a:cs typeface="Verdana"/>
              </a:rPr>
              <a:t>days</a:t>
            </a:r>
            <a:endParaRPr sz="1400">
              <a:latin typeface="Verdana"/>
              <a:cs typeface="Verdana"/>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6" name="object 6"/>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7" name="object 7"/>
          <p:cNvSpPr txBox="1"/>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latin typeface="Verdana"/>
                <a:cs typeface="Verdana"/>
              </a:rPr>
              <a:t>06.2</a:t>
            </a:r>
            <a:endParaRPr sz="4400">
              <a:latin typeface="Verdana"/>
              <a:cs typeface="Verdana"/>
            </a:endParaRPr>
          </a:p>
        </p:txBody>
      </p:sp>
      <p:sp>
        <p:nvSpPr>
          <p:cNvPr id="8" name="object 8"/>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9" name="object 9"/>
          <p:cNvSpPr txBox="1"/>
          <p:nvPr/>
        </p:nvSpPr>
        <p:spPr>
          <a:xfrm>
            <a:off x="540207" y="2902153"/>
            <a:ext cx="1830070" cy="331470"/>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Test</a:t>
            </a:r>
            <a:r>
              <a:rPr sz="2000" b="1" spc="-75">
                <a:solidFill>
                  <a:srgbClr val="FFFFFF"/>
                </a:solidFill>
                <a:latin typeface="Verdana"/>
                <a:cs typeface="Verdana"/>
              </a:rPr>
              <a:t> </a:t>
            </a:r>
            <a:r>
              <a:rPr sz="2000" b="1" spc="-5">
                <a:solidFill>
                  <a:srgbClr val="FFFFFF"/>
                </a:solidFill>
                <a:latin typeface="Verdana"/>
                <a:cs typeface="Verdana"/>
              </a:rPr>
              <a:t>Process</a:t>
            </a:r>
            <a:endParaRPr sz="2000">
              <a:latin typeface="Verdana"/>
              <a:cs typeface="Verdana"/>
            </a:endParaRPr>
          </a:p>
        </p:txBody>
      </p:sp>
      <p:sp>
        <p:nvSpPr>
          <p:cNvPr id="10" name="object 10"/>
          <p:cNvSpPr txBox="1"/>
          <p:nvPr/>
        </p:nvSpPr>
        <p:spPr>
          <a:xfrm>
            <a:off x="214680" y="6638097"/>
            <a:ext cx="1945639"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11" name="object 1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7</a:t>
            </a:fld>
            <a:endParaRPr/>
          </a:p>
        </p:txBody>
      </p:sp>
      <p:pic>
        <p:nvPicPr>
          <p:cNvPr id="12" name="Picture 11">
            <a:extLst>
              <a:ext uri="{FF2B5EF4-FFF2-40B4-BE49-F238E27FC236}">
                <a16:creationId xmlns:a16="http://schemas.microsoft.com/office/drawing/2014/main" id="{E14F6A0C-C429-4618-9A12-F58E1664CBE4}"/>
              </a:ext>
            </a:extLst>
          </p:cNvPr>
          <p:cNvPicPr>
            <a:picLocks noChangeAspect="1"/>
          </p:cNvPicPr>
          <p:nvPr/>
        </p:nvPicPr>
        <p:blipFill>
          <a:blip r:embed="rId3">
            <a:alphaModFix/>
          </a:blip>
          <a:stretch>
            <a:fillRect/>
          </a:stretch>
        </p:blipFill>
        <p:spPr>
          <a:xfrm>
            <a:off x="6173969" y="1628775"/>
            <a:ext cx="5094106" cy="2828925"/>
          </a:xfrm>
          <a:prstGeom prst="rect">
            <a:avLst/>
          </a:prstGeom>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9086215" cy="422275"/>
          </a:xfrm>
          <a:prstGeom prst="rect">
            <a:avLst/>
          </a:prstGeom>
        </p:spPr>
        <p:txBody>
          <a:bodyPr vert="horz" wrap="square" lIns="0" tIns="12700" rIns="0" bIns="0" rtlCol="0">
            <a:spAutoFit/>
          </a:bodyPr>
          <a:lstStyle/>
          <a:p>
            <a:pPr marL="12700">
              <a:lnSpc>
                <a:spcPct val="100000"/>
              </a:lnSpc>
              <a:spcBef>
                <a:spcPts val="100"/>
              </a:spcBef>
            </a:pPr>
            <a:r>
              <a:rPr sz="2600" spc="-65"/>
              <a:t>We </a:t>
            </a:r>
            <a:r>
              <a:rPr sz="2600" spc="-10"/>
              <a:t>Follow </a:t>
            </a:r>
            <a:r>
              <a:rPr sz="2600"/>
              <a:t>a Risk Based </a:t>
            </a:r>
            <a:r>
              <a:rPr sz="2600" spc="-5"/>
              <a:t>Approach to Define </a:t>
            </a:r>
            <a:r>
              <a:rPr sz="2600" spc="-70"/>
              <a:t>Test</a:t>
            </a:r>
            <a:r>
              <a:rPr sz="2600" spc="-25"/>
              <a:t> </a:t>
            </a:r>
            <a:r>
              <a:rPr sz="2600" spc="-5"/>
              <a:t>Cases</a:t>
            </a:r>
            <a:endParaRPr sz="2600"/>
          </a:p>
        </p:txBody>
      </p:sp>
      <p:sp>
        <p:nvSpPr>
          <p:cNvPr id="3" name="object 3"/>
          <p:cNvSpPr txBox="1"/>
          <p:nvPr/>
        </p:nvSpPr>
        <p:spPr>
          <a:xfrm>
            <a:off x="214680" y="1103502"/>
            <a:ext cx="10784205" cy="1174115"/>
          </a:xfrm>
          <a:prstGeom prst="rect">
            <a:avLst/>
          </a:prstGeom>
        </p:spPr>
        <p:txBody>
          <a:bodyPr vert="horz" wrap="square" lIns="0" tIns="13335" rIns="0" bIns="0" rtlCol="0">
            <a:spAutoFit/>
          </a:bodyPr>
          <a:lstStyle/>
          <a:p>
            <a:pPr marL="12700">
              <a:lnSpc>
                <a:spcPct val="100000"/>
              </a:lnSpc>
              <a:spcBef>
                <a:spcPts val="105"/>
              </a:spcBef>
            </a:pPr>
            <a:r>
              <a:rPr sz="2000">
                <a:solidFill>
                  <a:srgbClr val="12ABDB"/>
                </a:solidFill>
                <a:latin typeface="Verdana"/>
                <a:cs typeface="Verdana"/>
              </a:rPr>
              <a:t>Which </a:t>
            </a:r>
            <a:r>
              <a:rPr sz="2000" spc="-10">
                <a:solidFill>
                  <a:srgbClr val="12ABDB"/>
                </a:solidFill>
                <a:latin typeface="Verdana"/>
                <a:cs typeface="Verdana"/>
              </a:rPr>
              <a:t>makes </a:t>
            </a:r>
            <a:r>
              <a:rPr sz="2000">
                <a:solidFill>
                  <a:srgbClr val="12ABDB"/>
                </a:solidFill>
                <a:latin typeface="Verdana"/>
                <a:cs typeface="Verdana"/>
              </a:rPr>
              <a:t>sense </a:t>
            </a:r>
            <a:r>
              <a:rPr sz="2000" spc="-5">
                <a:solidFill>
                  <a:srgbClr val="12ABDB"/>
                </a:solidFill>
                <a:latin typeface="Verdana"/>
                <a:cs typeface="Verdana"/>
              </a:rPr>
              <a:t>particularly in </a:t>
            </a:r>
            <a:r>
              <a:rPr sz="2000">
                <a:solidFill>
                  <a:srgbClr val="12ABDB"/>
                </a:solidFill>
                <a:latin typeface="Verdana"/>
                <a:cs typeface="Verdana"/>
              </a:rPr>
              <a:t>an </a:t>
            </a:r>
            <a:r>
              <a:rPr sz="2000" spc="-5">
                <a:solidFill>
                  <a:srgbClr val="12ABDB"/>
                </a:solidFill>
                <a:latin typeface="Verdana"/>
                <a:cs typeface="Verdana"/>
              </a:rPr>
              <a:t>environment with low-code </a:t>
            </a:r>
            <a:r>
              <a:rPr sz="2000">
                <a:solidFill>
                  <a:srgbClr val="12ABDB"/>
                </a:solidFill>
                <a:latin typeface="Verdana"/>
                <a:cs typeface="Verdana"/>
              </a:rPr>
              <a:t>such as</a:t>
            </a:r>
            <a:r>
              <a:rPr sz="2000" spc="-114">
                <a:solidFill>
                  <a:srgbClr val="12ABDB"/>
                </a:solidFill>
                <a:latin typeface="Verdana"/>
                <a:cs typeface="Verdana"/>
              </a:rPr>
              <a:t> </a:t>
            </a:r>
            <a:r>
              <a:rPr sz="2000">
                <a:solidFill>
                  <a:srgbClr val="12ABDB"/>
                </a:solidFill>
                <a:latin typeface="Verdana"/>
                <a:cs typeface="Verdana"/>
              </a:rPr>
              <a:t>Salesforce</a:t>
            </a:r>
            <a:endParaRPr sz="2000">
              <a:latin typeface="Verdana"/>
              <a:cs typeface="Verdana"/>
            </a:endParaRPr>
          </a:p>
          <a:p>
            <a:pPr>
              <a:lnSpc>
                <a:spcPct val="100000"/>
              </a:lnSpc>
              <a:spcBef>
                <a:spcPts val="45"/>
              </a:spcBef>
            </a:pPr>
            <a:endParaRPr sz="2600">
              <a:latin typeface="Times New Roman"/>
              <a:cs typeface="Times New Roman"/>
            </a:endParaRPr>
          </a:p>
          <a:p>
            <a:pPr marL="12700">
              <a:lnSpc>
                <a:spcPct val="100000"/>
              </a:lnSpc>
            </a:pPr>
            <a:r>
              <a:rPr sz="1500" spc="-45">
                <a:latin typeface="Verdana"/>
                <a:cs typeface="Verdana"/>
              </a:rPr>
              <a:t>Test</a:t>
            </a:r>
            <a:r>
              <a:rPr sz="1500">
                <a:latin typeface="Verdana"/>
                <a:cs typeface="Verdana"/>
              </a:rPr>
              <a:t> </a:t>
            </a:r>
            <a:r>
              <a:rPr sz="1500" spc="-5">
                <a:latin typeface="Verdana"/>
                <a:cs typeface="Verdana"/>
              </a:rPr>
              <a:t>management approach</a:t>
            </a:r>
            <a:r>
              <a:rPr sz="1500" spc="15">
                <a:latin typeface="Verdana"/>
                <a:cs typeface="Verdana"/>
              </a:rPr>
              <a:t> </a:t>
            </a:r>
            <a:r>
              <a:rPr sz="1500">
                <a:latin typeface="Verdana"/>
                <a:cs typeface="Verdana"/>
              </a:rPr>
              <a:t>(</a:t>
            </a:r>
            <a:r>
              <a:rPr sz="1500" u="sng" spc="-10">
                <a:solidFill>
                  <a:srgbClr val="87D4EC"/>
                </a:solidFill>
                <a:uFill>
                  <a:solidFill>
                    <a:srgbClr val="87D4EC"/>
                  </a:solidFill>
                </a:uFill>
                <a:latin typeface="Verdana"/>
                <a:cs typeface="Verdana"/>
                <a:hlinkClick r:id="rId2"/>
              </a:rPr>
              <a:t>TMAP’s</a:t>
            </a:r>
            <a:r>
              <a:rPr sz="1500" spc="-10">
                <a:latin typeface="Verdana"/>
                <a:cs typeface="Verdana"/>
              </a:rPr>
              <a:t>)</a:t>
            </a:r>
            <a:r>
              <a:rPr sz="1500" spc="-25">
                <a:latin typeface="Verdana"/>
                <a:cs typeface="Verdana"/>
              </a:rPr>
              <a:t> </a:t>
            </a:r>
            <a:r>
              <a:rPr sz="1500" spc="-5">
                <a:latin typeface="Verdana"/>
                <a:cs typeface="Verdana"/>
              </a:rPr>
              <a:t>approach</a:t>
            </a:r>
            <a:r>
              <a:rPr sz="1500" spc="10">
                <a:latin typeface="Verdana"/>
                <a:cs typeface="Verdana"/>
              </a:rPr>
              <a:t> </a:t>
            </a:r>
            <a:r>
              <a:rPr sz="1500" spc="-5">
                <a:latin typeface="Verdana"/>
                <a:cs typeface="Verdana"/>
              </a:rPr>
              <a:t>to</a:t>
            </a:r>
            <a:r>
              <a:rPr sz="1500">
                <a:latin typeface="Verdana"/>
                <a:cs typeface="Verdana"/>
              </a:rPr>
              <a:t> </a:t>
            </a:r>
            <a:r>
              <a:rPr sz="1500" b="1" spc="-5">
                <a:latin typeface="Verdana"/>
                <a:cs typeface="Verdana"/>
              </a:rPr>
              <a:t>Business-Driven</a:t>
            </a:r>
            <a:r>
              <a:rPr sz="1500" b="1">
                <a:latin typeface="Verdana"/>
                <a:cs typeface="Verdana"/>
              </a:rPr>
              <a:t> Test</a:t>
            </a:r>
            <a:r>
              <a:rPr sz="1500" b="1" spc="5">
                <a:latin typeface="Verdana"/>
                <a:cs typeface="Verdana"/>
              </a:rPr>
              <a:t> </a:t>
            </a:r>
            <a:r>
              <a:rPr sz="1500" b="1" spc="-5">
                <a:latin typeface="Verdana"/>
                <a:cs typeface="Verdana"/>
              </a:rPr>
              <a:t>Management</a:t>
            </a:r>
            <a:endParaRPr sz="1500">
              <a:latin typeface="Verdana"/>
              <a:cs typeface="Verdana"/>
            </a:endParaRPr>
          </a:p>
          <a:p>
            <a:pPr marL="12700">
              <a:lnSpc>
                <a:spcPct val="100000"/>
              </a:lnSpc>
              <a:tabLst>
                <a:tab pos="1074420" algn="l"/>
              </a:tabLst>
            </a:pPr>
            <a:r>
              <a:rPr sz="1500" spc="-5">
                <a:latin typeface="Verdana"/>
                <a:cs typeface="Verdana"/>
              </a:rPr>
              <a:t>ensures</a:t>
            </a:r>
            <a:r>
              <a:rPr sz="1500" spc="5">
                <a:latin typeface="Verdana"/>
                <a:cs typeface="Verdana"/>
              </a:rPr>
              <a:t> </a:t>
            </a:r>
            <a:r>
              <a:rPr sz="1500">
                <a:latin typeface="Verdana"/>
                <a:cs typeface="Verdana"/>
              </a:rPr>
              <a:t>a	</a:t>
            </a:r>
            <a:r>
              <a:rPr sz="1500" spc="-5">
                <a:latin typeface="Verdana"/>
                <a:cs typeface="Verdana"/>
              </a:rPr>
              <a:t>truly </a:t>
            </a:r>
            <a:r>
              <a:rPr sz="1500" b="1" spc="-5">
                <a:latin typeface="Verdana"/>
                <a:cs typeface="Verdana"/>
              </a:rPr>
              <a:t>risk based</a:t>
            </a:r>
            <a:r>
              <a:rPr sz="1500" b="1" spc="25">
                <a:latin typeface="Verdana"/>
                <a:cs typeface="Verdana"/>
              </a:rPr>
              <a:t> </a:t>
            </a:r>
            <a:r>
              <a:rPr sz="1500" b="1" spc="-5">
                <a:latin typeface="Verdana"/>
                <a:cs typeface="Verdana"/>
              </a:rPr>
              <a:t>approach</a:t>
            </a:r>
            <a:r>
              <a:rPr sz="1500" spc="-5">
                <a:latin typeface="Verdana"/>
                <a:cs typeface="Verdana"/>
              </a:rPr>
              <a:t>:</a:t>
            </a:r>
            <a:endParaRPr sz="1500">
              <a:latin typeface="Verdana"/>
              <a:cs typeface="Verdana"/>
            </a:endParaRPr>
          </a:p>
        </p:txBody>
      </p:sp>
      <p:sp>
        <p:nvSpPr>
          <p:cNvPr id="4" name="object 4"/>
          <p:cNvSpPr txBox="1"/>
          <p:nvPr/>
        </p:nvSpPr>
        <p:spPr>
          <a:xfrm>
            <a:off x="214680" y="2353817"/>
            <a:ext cx="8267700" cy="2819400"/>
          </a:xfrm>
          <a:prstGeom prst="rect">
            <a:avLst/>
          </a:prstGeom>
        </p:spPr>
        <p:txBody>
          <a:bodyPr vert="horz" wrap="square" lIns="0" tIns="12700" rIns="0" bIns="0" rtlCol="0">
            <a:spAutoFit/>
          </a:bodyPr>
          <a:lstStyle/>
          <a:p>
            <a:pPr marL="299085" indent="-287020">
              <a:lnSpc>
                <a:spcPct val="100000"/>
              </a:lnSpc>
              <a:spcBef>
                <a:spcPts val="100"/>
              </a:spcBef>
              <a:buClr>
                <a:srgbClr val="006FAC"/>
              </a:buClr>
              <a:buFont typeface="Wingdings"/>
              <a:buChar char=""/>
              <a:tabLst>
                <a:tab pos="299085" algn="l"/>
                <a:tab pos="299720" algn="l"/>
              </a:tabLst>
            </a:pPr>
            <a:r>
              <a:rPr sz="1500" b="1" spc="-5">
                <a:latin typeface="Verdana"/>
                <a:cs typeface="Verdana"/>
              </a:rPr>
              <a:t>Product risk </a:t>
            </a:r>
            <a:r>
              <a:rPr sz="1500" b="1">
                <a:latin typeface="Verdana"/>
                <a:cs typeface="Verdana"/>
              </a:rPr>
              <a:t>analysis </a:t>
            </a:r>
            <a:r>
              <a:rPr sz="1500" spc="-5">
                <a:latin typeface="Verdana"/>
                <a:cs typeface="Verdana"/>
              </a:rPr>
              <a:t>(PRA) </a:t>
            </a:r>
            <a:r>
              <a:rPr sz="1500">
                <a:latin typeface="Verdana"/>
                <a:cs typeface="Verdana"/>
              </a:rPr>
              <a:t>as a </a:t>
            </a:r>
            <a:r>
              <a:rPr sz="1500" b="1">
                <a:latin typeface="Verdana"/>
                <a:cs typeface="Verdana"/>
              </a:rPr>
              <a:t>collaborative activity </a:t>
            </a:r>
            <a:r>
              <a:rPr sz="1500" spc="-5">
                <a:latin typeface="Verdana"/>
                <a:cs typeface="Verdana"/>
              </a:rPr>
              <a:t>ensuring the</a:t>
            </a:r>
            <a:r>
              <a:rPr sz="1500" spc="-90">
                <a:latin typeface="Verdana"/>
                <a:cs typeface="Verdana"/>
              </a:rPr>
              <a:t> </a:t>
            </a:r>
            <a:r>
              <a:rPr sz="1500" b="1" spc="-5">
                <a:latin typeface="Verdana"/>
                <a:cs typeface="Verdana"/>
              </a:rPr>
              <a:t>business</a:t>
            </a:r>
            <a:endParaRPr sz="1500">
              <a:latin typeface="Verdana"/>
              <a:cs typeface="Verdana"/>
            </a:endParaRPr>
          </a:p>
          <a:p>
            <a:pPr marL="299085">
              <a:lnSpc>
                <a:spcPct val="100000"/>
              </a:lnSpc>
            </a:pPr>
            <a:r>
              <a:rPr sz="1500" b="1" spc="-5">
                <a:latin typeface="Verdana"/>
                <a:cs typeface="Verdana"/>
              </a:rPr>
              <a:t>focus </a:t>
            </a:r>
            <a:r>
              <a:rPr sz="1500" b="1">
                <a:latin typeface="Verdana"/>
                <a:cs typeface="Verdana"/>
              </a:rPr>
              <a:t>on</a:t>
            </a:r>
            <a:r>
              <a:rPr sz="1500" b="1" spc="-40">
                <a:latin typeface="Verdana"/>
                <a:cs typeface="Verdana"/>
              </a:rPr>
              <a:t> </a:t>
            </a:r>
            <a:r>
              <a:rPr sz="1500" b="1" spc="-5">
                <a:latin typeface="Verdana"/>
                <a:cs typeface="Verdana"/>
              </a:rPr>
              <a:t>risks</a:t>
            </a:r>
            <a:endParaRPr sz="1500">
              <a:latin typeface="Verdana"/>
              <a:cs typeface="Verdana"/>
            </a:endParaRPr>
          </a:p>
          <a:p>
            <a:pPr marL="299085" marR="137160" indent="-287020">
              <a:lnSpc>
                <a:spcPct val="100000"/>
              </a:lnSpc>
              <a:spcBef>
                <a:spcPts val="795"/>
              </a:spcBef>
              <a:buClr>
                <a:srgbClr val="006FAC"/>
              </a:buClr>
              <a:buFont typeface="Wingdings"/>
              <a:buChar char=""/>
              <a:tabLst>
                <a:tab pos="299085" algn="l"/>
                <a:tab pos="299720" algn="l"/>
              </a:tabLst>
            </a:pPr>
            <a:r>
              <a:rPr sz="1500" b="1" spc="-5">
                <a:latin typeface="Verdana"/>
                <a:cs typeface="Verdana"/>
              </a:rPr>
              <a:t>Identification </a:t>
            </a:r>
            <a:r>
              <a:rPr sz="1500" b="1">
                <a:latin typeface="Verdana"/>
                <a:cs typeface="Verdana"/>
              </a:rPr>
              <a:t>of test </a:t>
            </a:r>
            <a:r>
              <a:rPr sz="1500" b="1" spc="-5">
                <a:latin typeface="Verdana"/>
                <a:cs typeface="Verdana"/>
              </a:rPr>
              <a:t>strategy </a:t>
            </a:r>
            <a:r>
              <a:rPr sz="1500" spc="-5">
                <a:latin typeface="Verdana"/>
                <a:cs typeface="Verdana"/>
              </a:rPr>
              <a:t>based </a:t>
            </a:r>
            <a:r>
              <a:rPr sz="1500">
                <a:latin typeface="Verdana"/>
                <a:cs typeface="Verdana"/>
              </a:rPr>
              <a:t>on </a:t>
            </a:r>
            <a:r>
              <a:rPr sz="1500" spc="-5">
                <a:latin typeface="Verdana"/>
                <a:cs typeface="Verdana"/>
              </a:rPr>
              <a:t>PRA, ensuring </a:t>
            </a:r>
            <a:r>
              <a:rPr sz="1500" b="1" spc="-5">
                <a:latin typeface="Verdana"/>
                <a:cs typeface="Verdana"/>
              </a:rPr>
              <a:t>early and continuous  focus </a:t>
            </a:r>
            <a:r>
              <a:rPr sz="1500">
                <a:latin typeface="Verdana"/>
                <a:cs typeface="Verdana"/>
              </a:rPr>
              <a:t>on </a:t>
            </a:r>
            <a:r>
              <a:rPr sz="1500" b="1" spc="-5">
                <a:latin typeface="Verdana"/>
                <a:cs typeface="Verdana"/>
              </a:rPr>
              <a:t>mitigating product risks </a:t>
            </a:r>
            <a:r>
              <a:rPr sz="1500" spc="-10">
                <a:latin typeface="Verdana"/>
                <a:cs typeface="Verdana"/>
              </a:rPr>
              <a:t>with </a:t>
            </a:r>
            <a:r>
              <a:rPr sz="1500" spc="-5">
                <a:latin typeface="Verdana"/>
                <a:cs typeface="Verdana"/>
              </a:rPr>
              <a:t>proper </a:t>
            </a:r>
            <a:r>
              <a:rPr sz="1500" spc="-10">
                <a:latin typeface="Verdana"/>
                <a:cs typeface="Verdana"/>
              </a:rPr>
              <a:t>intensity </a:t>
            </a:r>
            <a:r>
              <a:rPr sz="1500">
                <a:latin typeface="Verdana"/>
                <a:cs typeface="Verdana"/>
              </a:rPr>
              <a:t>of</a:t>
            </a:r>
            <a:r>
              <a:rPr sz="1500" spc="110">
                <a:latin typeface="Verdana"/>
                <a:cs typeface="Verdana"/>
              </a:rPr>
              <a:t> </a:t>
            </a:r>
            <a:r>
              <a:rPr sz="1500" spc="-5">
                <a:latin typeface="Verdana"/>
                <a:cs typeface="Verdana"/>
              </a:rPr>
              <a:t>test</a:t>
            </a:r>
            <a:endParaRPr sz="1500">
              <a:latin typeface="Verdana"/>
              <a:cs typeface="Verdana"/>
            </a:endParaRPr>
          </a:p>
          <a:p>
            <a:pPr marL="299085" marR="109855" indent="-287020">
              <a:lnSpc>
                <a:spcPct val="100000"/>
              </a:lnSpc>
              <a:spcBef>
                <a:spcPts val="800"/>
              </a:spcBef>
              <a:buClr>
                <a:srgbClr val="006FAC"/>
              </a:buClr>
              <a:buFont typeface="Wingdings"/>
              <a:buChar char=""/>
              <a:tabLst>
                <a:tab pos="299085" algn="l"/>
                <a:tab pos="299720" algn="l"/>
              </a:tabLst>
            </a:pPr>
            <a:r>
              <a:rPr sz="1500" b="1" spc="-5">
                <a:latin typeface="Verdana"/>
                <a:cs typeface="Verdana"/>
              </a:rPr>
              <a:t>Selection </a:t>
            </a:r>
            <a:r>
              <a:rPr sz="1500" b="1">
                <a:latin typeface="Verdana"/>
                <a:cs typeface="Verdana"/>
              </a:rPr>
              <a:t>of test </a:t>
            </a:r>
            <a:r>
              <a:rPr sz="1500" b="1" spc="-5">
                <a:latin typeface="Verdana"/>
                <a:cs typeface="Verdana"/>
              </a:rPr>
              <a:t>design techniques </a:t>
            </a:r>
            <a:r>
              <a:rPr sz="1500" spc="-5">
                <a:latin typeface="Verdana"/>
                <a:cs typeface="Verdana"/>
              </a:rPr>
              <a:t>to </a:t>
            </a:r>
            <a:r>
              <a:rPr sz="1500" spc="-10">
                <a:latin typeface="Verdana"/>
                <a:cs typeface="Verdana"/>
              </a:rPr>
              <a:t>specify </a:t>
            </a:r>
            <a:r>
              <a:rPr sz="1500" spc="-5">
                <a:latin typeface="Verdana"/>
                <a:cs typeface="Verdana"/>
              </a:rPr>
              <a:t>test </a:t>
            </a:r>
            <a:r>
              <a:rPr sz="1500" spc="-10">
                <a:latin typeface="Verdana"/>
                <a:cs typeface="Verdana"/>
              </a:rPr>
              <a:t>with </a:t>
            </a:r>
            <a:r>
              <a:rPr sz="1500" spc="-5">
                <a:latin typeface="Verdana"/>
                <a:cs typeface="Verdana"/>
              </a:rPr>
              <a:t>the </a:t>
            </a:r>
            <a:r>
              <a:rPr sz="1500">
                <a:latin typeface="Verdana"/>
                <a:cs typeface="Verdana"/>
              </a:rPr>
              <a:t>focus of </a:t>
            </a:r>
            <a:r>
              <a:rPr sz="1500" spc="-10">
                <a:latin typeface="Verdana"/>
                <a:cs typeface="Verdana"/>
              </a:rPr>
              <a:t>mitigating  </a:t>
            </a:r>
            <a:r>
              <a:rPr sz="1500" spc="-5">
                <a:latin typeface="Verdana"/>
                <a:cs typeface="Verdana"/>
              </a:rPr>
              <a:t>product risks </a:t>
            </a:r>
            <a:r>
              <a:rPr sz="1500" spc="-10">
                <a:latin typeface="Verdana"/>
                <a:cs typeface="Verdana"/>
              </a:rPr>
              <a:t>with </a:t>
            </a:r>
            <a:r>
              <a:rPr sz="1500" spc="-5">
                <a:latin typeface="Verdana"/>
                <a:cs typeface="Verdana"/>
              </a:rPr>
              <a:t>proper </a:t>
            </a:r>
            <a:r>
              <a:rPr sz="1500" spc="-10">
                <a:latin typeface="Verdana"/>
                <a:cs typeface="Verdana"/>
              </a:rPr>
              <a:t>coverage </a:t>
            </a:r>
            <a:r>
              <a:rPr sz="1500">
                <a:latin typeface="Verdana"/>
                <a:cs typeface="Verdana"/>
              </a:rPr>
              <a:t>of</a:t>
            </a:r>
            <a:r>
              <a:rPr sz="1500" spc="55">
                <a:latin typeface="Verdana"/>
                <a:cs typeface="Verdana"/>
              </a:rPr>
              <a:t> </a:t>
            </a:r>
            <a:r>
              <a:rPr sz="1500" spc="-5">
                <a:latin typeface="Verdana"/>
                <a:cs typeface="Verdana"/>
              </a:rPr>
              <a:t>test.</a:t>
            </a:r>
            <a:endParaRPr sz="1500">
              <a:latin typeface="Verdana"/>
              <a:cs typeface="Verdana"/>
            </a:endParaRPr>
          </a:p>
          <a:p>
            <a:pPr marL="299085" indent="-287020">
              <a:lnSpc>
                <a:spcPct val="100000"/>
              </a:lnSpc>
              <a:spcBef>
                <a:spcPts val="805"/>
              </a:spcBef>
              <a:buClr>
                <a:srgbClr val="006FAC"/>
              </a:buClr>
              <a:buFont typeface="Wingdings"/>
              <a:buChar char=""/>
              <a:tabLst>
                <a:tab pos="299085" algn="l"/>
                <a:tab pos="299720" algn="l"/>
              </a:tabLst>
            </a:pPr>
            <a:r>
              <a:rPr sz="1500" b="1">
                <a:latin typeface="Verdana"/>
                <a:cs typeface="Verdana"/>
              </a:rPr>
              <a:t>A </a:t>
            </a:r>
            <a:r>
              <a:rPr sz="1500" b="1" spc="-5">
                <a:latin typeface="Verdana"/>
                <a:cs typeface="Verdana"/>
              </a:rPr>
              <a:t>structured </a:t>
            </a:r>
            <a:r>
              <a:rPr sz="1500" b="1">
                <a:latin typeface="Verdana"/>
                <a:cs typeface="Verdana"/>
              </a:rPr>
              <a:t>and </a:t>
            </a:r>
            <a:r>
              <a:rPr sz="1500" b="1" spc="-5">
                <a:latin typeface="Verdana"/>
                <a:cs typeface="Verdana"/>
              </a:rPr>
              <a:t>efficient </a:t>
            </a:r>
            <a:r>
              <a:rPr sz="1500" spc="-5">
                <a:latin typeface="Verdana"/>
                <a:cs typeface="Verdana"/>
              </a:rPr>
              <a:t>approach to test design and</a:t>
            </a:r>
            <a:r>
              <a:rPr sz="1500" spc="55">
                <a:latin typeface="Verdana"/>
                <a:cs typeface="Verdana"/>
              </a:rPr>
              <a:t> </a:t>
            </a:r>
            <a:r>
              <a:rPr sz="1500" spc="-10">
                <a:latin typeface="Verdana"/>
                <a:cs typeface="Verdana"/>
              </a:rPr>
              <a:t>implementation</a:t>
            </a:r>
            <a:endParaRPr sz="1500">
              <a:latin typeface="Verdana"/>
              <a:cs typeface="Verdana"/>
            </a:endParaRPr>
          </a:p>
          <a:p>
            <a:pPr marL="299085" marR="5080" indent="-287020">
              <a:lnSpc>
                <a:spcPct val="100000"/>
              </a:lnSpc>
              <a:spcBef>
                <a:spcPts val="795"/>
              </a:spcBef>
              <a:buClr>
                <a:srgbClr val="006FAC"/>
              </a:buClr>
              <a:buFont typeface="Wingdings"/>
              <a:buChar char=""/>
              <a:tabLst>
                <a:tab pos="299085" algn="l"/>
                <a:tab pos="299720" algn="l"/>
              </a:tabLst>
            </a:pPr>
            <a:r>
              <a:rPr sz="1500" b="1" spc="-5">
                <a:latin typeface="Verdana"/>
                <a:cs typeface="Verdana"/>
              </a:rPr>
              <a:t>Prioritization </a:t>
            </a:r>
            <a:r>
              <a:rPr sz="1500">
                <a:latin typeface="Verdana"/>
                <a:cs typeface="Verdana"/>
              </a:rPr>
              <a:t>of </a:t>
            </a:r>
            <a:r>
              <a:rPr sz="1500" spc="-5">
                <a:latin typeface="Verdana"/>
                <a:cs typeface="Verdana"/>
              </a:rPr>
              <a:t>test </a:t>
            </a:r>
            <a:r>
              <a:rPr sz="1500" spc="-10">
                <a:latin typeface="Verdana"/>
                <a:cs typeface="Verdana"/>
              </a:rPr>
              <a:t>execution </a:t>
            </a:r>
            <a:r>
              <a:rPr sz="1500" b="1" spc="-5">
                <a:latin typeface="Verdana"/>
                <a:cs typeface="Verdana"/>
              </a:rPr>
              <a:t>according </a:t>
            </a:r>
            <a:r>
              <a:rPr sz="1500" b="1">
                <a:latin typeface="Verdana"/>
                <a:cs typeface="Verdana"/>
              </a:rPr>
              <a:t>to </a:t>
            </a:r>
            <a:r>
              <a:rPr sz="1500" b="1" spc="-5">
                <a:latin typeface="Verdana"/>
                <a:cs typeface="Verdana"/>
              </a:rPr>
              <a:t>product risk</a:t>
            </a:r>
            <a:r>
              <a:rPr sz="1500" spc="-5">
                <a:latin typeface="Verdana"/>
                <a:cs typeface="Verdana"/>
              </a:rPr>
              <a:t>; </a:t>
            </a:r>
            <a:r>
              <a:rPr sz="1500">
                <a:latin typeface="Verdana"/>
                <a:cs typeface="Verdana"/>
              </a:rPr>
              <a:t>focus on </a:t>
            </a:r>
            <a:r>
              <a:rPr sz="1500" spc="-5">
                <a:latin typeface="Verdana"/>
                <a:cs typeface="Verdana"/>
              </a:rPr>
              <a:t>highest </a:t>
            </a:r>
            <a:r>
              <a:rPr sz="1500" spc="-10">
                <a:latin typeface="Verdana"/>
                <a:cs typeface="Verdana"/>
              </a:rPr>
              <a:t>risk  </a:t>
            </a:r>
            <a:r>
              <a:rPr sz="1500" spc="-5">
                <a:latin typeface="Verdana"/>
                <a:cs typeface="Verdana"/>
              </a:rPr>
              <a:t>first</a:t>
            </a:r>
            <a:endParaRPr sz="1500">
              <a:latin typeface="Verdana"/>
              <a:cs typeface="Verdana"/>
            </a:endParaRPr>
          </a:p>
          <a:p>
            <a:pPr marL="299085" indent="-287020">
              <a:lnSpc>
                <a:spcPct val="100000"/>
              </a:lnSpc>
              <a:spcBef>
                <a:spcPts val="805"/>
              </a:spcBef>
              <a:buClr>
                <a:srgbClr val="006FAC"/>
              </a:buClr>
              <a:buFont typeface="Wingdings"/>
              <a:buChar char=""/>
              <a:tabLst>
                <a:tab pos="299085" algn="l"/>
                <a:tab pos="299720" algn="l"/>
              </a:tabLst>
            </a:pPr>
            <a:r>
              <a:rPr sz="1500" b="1">
                <a:latin typeface="Verdana"/>
                <a:cs typeface="Verdana"/>
              </a:rPr>
              <a:t>A </a:t>
            </a:r>
            <a:r>
              <a:rPr sz="1500" b="1" spc="-5">
                <a:latin typeface="Verdana"/>
                <a:cs typeface="Verdana"/>
              </a:rPr>
              <a:t>red </a:t>
            </a:r>
            <a:r>
              <a:rPr sz="1500" b="1">
                <a:latin typeface="Verdana"/>
                <a:cs typeface="Verdana"/>
              </a:rPr>
              <a:t>thread </a:t>
            </a:r>
            <a:r>
              <a:rPr sz="1500" spc="-5">
                <a:latin typeface="Verdana"/>
                <a:cs typeface="Verdana"/>
              </a:rPr>
              <a:t>from </a:t>
            </a:r>
            <a:r>
              <a:rPr sz="1500" b="1" spc="-5">
                <a:latin typeface="Verdana"/>
                <a:cs typeface="Verdana"/>
              </a:rPr>
              <a:t>product risk </a:t>
            </a:r>
            <a:r>
              <a:rPr sz="1500" b="1">
                <a:latin typeface="Verdana"/>
                <a:cs typeface="Verdana"/>
              </a:rPr>
              <a:t>to test </a:t>
            </a:r>
            <a:r>
              <a:rPr sz="1500" b="1" spc="-5">
                <a:latin typeface="Verdana"/>
                <a:cs typeface="Verdana"/>
              </a:rPr>
              <a:t>result </a:t>
            </a:r>
            <a:r>
              <a:rPr sz="1500">
                <a:latin typeface="Verdana"/>
                <a:cs typeface="Verdana"/>
              </a:rPr>
              <a:t>and</a:t>
            </a:r>
            <a:r>
              <a:rPr sz="1500" spc="40">
                <a:latin typeface="Verdana"/>
                <a:cs typeface="Verdana"/>
              </a:rPr>
              <a:t> </a:t>
            </a:r>
            <a:r>
              <a:rPr sz="1500" b="1" spc="-5">
                <a:latin typeface="Verdana"/>
                <a:cs typeface="Verdana"/>
              </a:rPr>
              <a:t>reporting</a:t>
            </a:r>
            <a:endParaRPr sz="1500">
              <a:latin typeface="Verdana"/>
              <a:cs typeface="Verdana"/>
            </a:endParaRPr>
          </a:p>
        </p:txBody>
      </p:sp>
      <p:sp>
        <p:nvSpPr>
          <p:cNvPr id="5" name="object 5"/>
          <p:cNvSpPr/>
          <p:nvPr/>
        </p:nvSpPr>
        <p:spPr>
          <a:xfrm>
            <a:off x="10066019" y="2135123"/>
            <a:ext cx="1842515" cy="477012"/>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10121265" y="2252217"/>
            <a:ext cx="1733550" cy="223520"/>
          </a:xfrm>
          <a:prstGeom prst="rect">
            <a:avLst/>
          </a:prstGeom>
        </p:spPr>
        <p:txBody>
          <a:bodyPr vert="horz" wrap="square" lIns="0" tIns="12065" rIns="0" bIns="0" rtlCol="0">
            <a:spAutoFit/>
          </a:bodyPr>
          <a:lstStyle/>
          <a:p>
            <a:pPr marL="12700">
              <a:lnSpc>
                <a:spcPct val="100000"/>
              </a:lnSpc>
              <a:spcBef>
                <a:spcPts val="95"/>
              </a:spcBef>
            </a:pPr>
            <a:r>
              <a:rPr sz="1300" spc="-5">
                <a:solidFill>
                  <a:srgbClr val="FFFFFF"/>
                </a:solidFill>
                <a:latin typeface="Verdana"/>
                <a:cs typeface="Verdana"/>
              </a:rPr>
              <a:t>Product risk</a:t>
            </a:r>
            <a:r>
              <a:rPr sz="1300" spc="-15">
                <a:solidFill>
                  <a:srgbClr val="FFFFFF"/>
                </a:solidFill>
                <a:latin typeface="Verdana"/>
                <a:cs typeface="Verdana"/>
              </a:rPr>
              <a:t> </a:t>
            </a:r>
            <a:r>
              <a:rPr sz="1300" spc="-5">
                <a:solidFill>
                  <a:srgbClr val="FFFFFF"/>
                </a:solidFill>
                <a:latin typeface="Verdana"/>
                <a:cs typeface="Verdana"/>
              </a:rPr>
              <a:t>analysis</a:t>
            </a:r>
            <a:endParaRPr sz="1300">
              <a:latin typeface="Verdana"/>
              <a:cs typeface="Verdana"/>
            </a:endParaRPr>
          </a:p>
        </p:txBody>
      </p:sp>
      <p:sp>
        <p:nvSpPr>
          <p:cNvPr id="7" name="object 7"/>
          <p:cNvSpPr/>
          <p:nvPr/>
        </p:nvSpPr>
        <p:spPr>
          <a:xfrm>
            <a:off x="10879835" y="2641092"/>
            <a:ext cx="214884" cy="179832"/>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10066019" y="2849879"/>
            <a:ext cx="1842515" cy="477012"/>
          </a:xfrm>
          <a:prstGeom prst="rect">
            <a:avLst/>
          </a:prstGeom>
          <a:blipFill>
            <a:blip r:embed="rId5" cstate="print"/>
            <a:stretch>
              <a:fillRect/>
            </a:stretch>
          </a:blipFill>
        </p:spPr>
        <p:txBody>
          <a:bodyPr wrap="square" lIns="0" tIns="0" rIns="0" bIns="0" rtlCol="0"/>
          <a:lstStyle/>
          <a:p>
            <a:endParaRPr/>
          </a:p>
        </p:txBody>
      </p:sp>
      <p:sp>
        <p:nvSpPr>
          <p:cNvPr id="9" name="object 9"/>
          <p:cNvSpPr txBox="1"/>
          <p:nvPr/>
        </p:nvSpPr>
        <p:spPr>
          <a:xfrm>
            <a:off x="10440161" y="2967989"/>
            <a:ext cx="1097280" cy="223520"/>
          </a:xfrm>
          <a:prstGeom prst="rect">
            <a:avLst/>
          </a:prstGeom>
        </p:spPr>
        <p:txBody>
          <a:bodyPr vert="horz" wrap="square" lIns="0" tIns="12065" rIns="0" bIns="0" rtlCol="0">
            <a:spAutoFit/>
          </a:bodyPr>
          <a:lstStyle/>
          <a:p>
            <a:pPr marL="12700">
              <a:lnSpc>
                <a:spcPct val="100000"/>
              </a:lnSpc>
              <a:spcBef>
                <a:spcPts val="95"/>
              </a:spcBef>
            </a:pPr>
            <a:r>
              <a:rPr sz="1300" spc="-40">
                <a:solidFill>
                  <a:srgbClr val="FFFFFF"/>
                </a:solidFill>
                <a:latin typeface="Verdana"/>
                <a:cs typeface="Verdana"/>
              </a:rPr>
              <a:t>Test</a:t>
            </a:r>
            <a:r>
              <a:rPr sz="1300" spc="-45">
                <a:solidFill>
                  <a:srgbClr val="FFFFFF"/>
                </a:solidFill>
                <a:latin typeface="Verdana"/>
                <a:cs typeface="Verdana"/>
              </a:rPr>
              <a:t> </a:t>
            </a:r>
            <a:r>
              <a:rPr sz="1300" spc="-10">
                <a:solidFill>
                  <a:srgbClr val="FFFFFF"/>
                </a:solidFill>
                <a:latin typeface="Verdana"/>
                <a:cs typeface="Verdana"/>
              </a:rPr>
              <a:t>strategy</a:t>
            </a:r>
            <a:endParaRPr sz="1300">
              <a:latin typeface="Verdana"/>
              <a:cs typeface="Verdana"/>
            </a:endParaRPr>
          </a:p>
        </p:txBody>
      </p:sp>
      <p:sp>
        <p:nvSpPr>
          <p:cNvPr id="10" name="object 10"/>
          <p:cNvSpPr/>
          <p:nvPr/>
        </p:nvSpPr>
        <p:spPr>
          <a:xfrm>
            <a:off x="10879835" y="3357371"/>
            <a:ext cx="214884" cy="178307"/>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10066019" y="3566159"/>
            <a:ext cx="1842515" cy="477012"/>
          </a:xfrm>
          <a:prstGeom prst="rect">
            <a:avLst/>
          </a:prstGeom>
          <a:blipFill>
            <a:blip r:embed="rId6" cstate="print"/>
            <a:stretch>
              <a:fillRect/>
            </a:stretch>
          </a:blipFill>
        </p:spPr>
        <p:txBody>
          <a:bodyPr wrap="square" lIns="0" tIns="0" rIns="0" bIns="0" rtlCol="0"/>
          <a:lstStyle/>
          <a:p>
            <a:endParaRPr/>
          </a:p>
        </p:txBody>
      </p:sp>
      <p:sp>
        <p:nvSpPr>
          <p:cNvPr id="12" name="object 12"/>
          <p:cNvSpPr txBox="1"/>
          <p:nvPr/>
        </p:nvSpPr>
        <p:spPr>
          <a:xfrm>
            <a:off x="10133456" y="3683634"/>
            <a:ext cx="1709420" cy="223520"/>
          </a:xfrm>
          <a:prstGeom prst="rect">
            <a:avLst/>
          </a:prstGeom>
        </p:spPr>
        <p:txBody>
          <a:bodyPr vert="horz" wrap="square" lIns="0" tIns="12065" rIns="0" bIns="0" rtlCol="0">
            <a:spAutoFit/>
          </a:bodyPr>
          <a:lstStyle/>
          <a:p>
            <a:pPr marL="12700">
              <a:lnSpc>
                <a:spcPct val="100000"/>
              </a:lnSpc>
              <a:spcBef>
                <a:spcPts val="95"/>
              </a:spcBef>
            </a:pPr>
            <a:r>
              <a:rPr sz="1300" spc="-40">
                <a:solidFill>
                  <a:srgbClr val="FFFFFF"/>
                </a:solidFill>
                <a:latin typeface="Verdana"/>
                <a:cs typeface="Verdana"/>
              </a:rPr>
              <a:t>Test</a:t>
            </a:r>
            <a:r>
              <a:rPr sz="1300" spc="-45">
                <a:solidFill>
                  <a:srgbClr val="FFFFFF"/>
                </a:solidFill>
                <a:latin typeface="Verdana"/>
                <a:cs typeface="Verdana"/>
              </a:rPr>
              <a:t> </a:t>
            </a:r>
            <a:r>
              <a:rPr sz="1300" spc="-5">
                <a:solidFill>
                  <a:srgbClr val="FFFFFF"/>
                </a:solidFill>
                <a:latin typeface="Verdana"/>
                <a:cs typeface="Verdana"/>
              </a:rPr>
              <a:t>implementation</a:t>
            </a:r>
            <a:endParaRPr sz="1300">
              <a:latin typeface="Verdana"/>
              <a:cs typeface="Verdana"/>
            </a:endParaRPr>
          </a:p>
        </p:txBody>
      </p:sp>
      <p:sp>
        <p:nvSpPr>
          <p:cNvPr id="13" name="object 13"/>
          <p:cNvSpPr/>
          <p:nvPr/>
        </p:nvSpPr>
        <p:spPr>
          <a:xfrm>
            <a:off x="10879835" y="4072128"/>
            <a:ext cx="214884" cy="179832"/>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10066019" y="4280915"/>
            <a:ext cx="1842515" cy="477011"/>
          </a:xfrm>
          <a:prstGeom prst="rect">
            <a:avLst/>
          </a:prstGeom>
          <a:blipFill>
            <a:blip r:embed="rId8" cstate="print"/>
            <a:stretch>
              <a:fillRect/>
            </a:stretch>
          </a:blipFill>
        </p:spPr>
        <p:txBody>
          <a:bodyPr wrap="square" lIns="0" tIns="0" rIns="0" bIns="0" rtlCol="0"/>
          <a:lstStyle/>
          <a:p>
            <a:endParaRPr/>
          </a:p>
        </p:txBody>
      </p:sp>
      <p:sp>
        <p:nvSpPr>
          <p:cNvPr id="15" name="object 15"/>
          <p:cNvSpPr txBox="1"/>
          <p:nvPr/>
        </p:nvSpPr>
        <p:spPr>
          <a:xfrm>
            <a:off x="10382250" y="4398975"/>
            <a:ext cx="1212215" cy="223520"/>
          </a:xfrm>
          <a:prstGeom prst="rect">
            <a:avLst/>
          </a:prstGeom>
        </p:spPr>
        <p:txBody>
          <a:bodyPr vert="horz" wrap="square" lIns="0" tIns="12065" rIns="0" bIns="0" rtlCol="0">
            <a:spAutoFit/>
          </a:bodyPr>
          <a:lstStyle/>
          <a:p>
            <a:pPr marL="12700">
              <a:lnSpc>
                <a:spcPct val="100000"/>
              </a:lnSpc>
              <a:spcBef>
                <a:spcPts val="95"/>
              </a:spcBef>
            </a:pPr>
            <a:r>
              <a:rPr sz="1300" spc="-45">
                <a:solidFill>
                  <a:srgbClr val="FFFFFF"/>
                </a:solidFill>
                <a:latin typeface="Verdana"/>
                <a:cs typeface="Verdana"/>
              </a:rPr>
              <a:t>Test</a:t>
            </a:r>
            <a:r>
              <a:rPr sz="1300" spc="-30">
                <a:solidFill>
                  <a:srgbClr val="FFFFFF"/>
                </a:solidFill>
                <a:latin typeface="Verdana"/>
                <a:cs typeface="Verdana"/>
              </a:rPr>
              <a:t> </a:t>
            </a:r>
            <a:r>
              <a:rPr sz="1300" spc="-10">
                <a:solidFill>
                  <a:srgbClr val="FFFFFF"/>
                </a:solidFill>
                <a:latin typeface="Verdana"/>
                <a:cs typeface="Verdana"/>
              </a:rPr>
              <a:t>execution</a:t>
            </a:r>
            <a:endParaRPr sz="1300">
              <a:latin typeface="Verdana"/>
              <a:cs typeface="Verdana"/>
            </a:endParaRPr>
          </a:p>
        </p:txBody>
      </p:sp>
      <p:sp>
        <p:nvSpPr>
          <p:cNvPr id="16" name="object 16"/>
          <p:cNvSpPr/>
          <p:nvPr/>
        </p:nvSpPr>
        <p:spPr>
          <a:xfrm>
            <a:off x="10879835" y="4788408"/>
            <a:ext cx="214884" cy="178308"/>
          </a:xfrm>
          <a:prstGeom prst="rect">
            <a:avLst/>
          </a:prstGeom>
          <a:blipFill>
            <a:blip r:embed="rId7" cstate="print"/>
            <a:stretch>
              <a:fillRect/>
            </a:stretch>
          </a:blipFill>
        </p:spPr>
        <p:txBody>
          <a:bodyPr wrap="square" lIns="0" tIns="0" rIns="0" bIns="0" rtlCol="0"/>
          <a:lstStyle/>
          <a:p>
            <a:endParaRPr/>
          </a:p>
        </p:txBody>
      </p:sp>
      <p:sp>
        <p:nvSpPr>
          <p:cNvPr id="17" name="object 17"/>
          <p:cNvSpPr/>
          <p:nvPr/>
        </p:nvSpPr>
        <p:spPr>
          <a:xfrm>
            <a:off x="10066019" y="4997196"/>
            <a:ext cx="1842515" cy="477012"/>
          </a:xfrm>
          <a:prstGeom prst="rect">
            <a:avLst/>
          </a:prstGeom>
          <a:blipFill>
            <a:blip r:embed="rId9" cstate="print"/>
            <a:stretch>
              <a:fillRect/>
            </a:stretch>
          </a:blipFill>
        </p:spPr>
        <p:txBody>
          <a:bodyPr wrap="square" lIns="0" tIns="0" rIns="0" bIns="0" rtlCol="0"/>
          <a:lstStyle/>
          <a:p>
            <a:endParaRPr/>
          </a:p>
        </p:txBody>
      </p:sp>
      <p:sp>
        <p:nvSpPr>
          <p:cNvPr id="18" name="object 18"/>
          <p:cNvSpPr txBox="1"/>
          <p:nvPr/>
        </p:nvSpPr>
        <p:spPr>
          <a:xfrm>
            <a:off x="10400538" y="5115305"/>
            <a:ext cx="1174750" cy="223520"/>
          </a:xfrm>
          <a:prstGeom prst="rect">
            <a:avLst/>
          </a:prstGeom>
        </p:spPr>
        <p:txBody>
          <a:bodyPr vert="horz" wrap="square" lIns="0" tIns="12065" rIns="0" bIns="0" rtlCol="0">
            <a:spAutoFit/>
          </a:bodyPr>
          <a:lstStyle/>
          <a:p>
            <a:pPr marL="12700">
              <a:lnSpc>
                <a:spcPct val="100000"/>
              </a:lnSpc>
              <a:spcBef>
                <a:spcPts val="95"/>
              </a:spcBef>
            </a:pPr>
            <a:r>
              <a:rPr sz="1300" spc="-40">
                <a:solidFill>
                  <a:srgbClr val="FFFFFF"/>
                </a:solidFill>
                <a:latin typeface="Verdana"/>
                <a:cs typeface="Verdana"/>
              </a:rPr>
              <a:t>Test</a:t>
            </a:r>
            <a:r>
              <a:rPr sz="1300" spc="-60">
                <a:solidFill>
                  <a:srgbClr val="FFFFFF"/>
                </a:solidFill>
                <a:latin typeface="Verdana"/>
                <a:cs typeface="Verdana"/>
              </a:rPr>
              <a:t> </a:t>
            </a:r>
            <a:r>
              <a:rPr sz="1300" spc="-5">
                <a:solidFill>
                  <a:srgbClr val="FFFFFF"/>
                </a:solidFill>
                <a:latin typeface="Verdana"/>
                <a:cs typeface="Verdana"/>
              </a:rPr>
              <a:t>reporting</a:t>
            </a:r>
            <a:endParaRPr sz="1300">
              <a:latin typeface="Verdana"/>
              <a:cs typeface="Verdana"/>
            </a:endParaRPr>
          </a:p>
        </p:txBody>
      </p:sp>
      <p:sp>
        <p:nvSpPr>
          <p:cNvPr id="19" name="object 19"/>
          <p:cNvSpPr/>
          <p:nvPr/>
        </p:nvSpPr>
        <p:spPr>
          <a:xfrm>
            <a:off x="9169722" y="2005127"/>
            <a:ext cx="673735" cy="639445"/>
          </a:xfrm>
          <a:custGeom>
            <a:avLst/>
            <a:gdLst/>
            <a:ahLst/>
            <a:cxnLst/>
            <a:rect l="l" t="t" r="r" b="b"/>
            <a:pathLst>
              <a:path w="673734" h="639444">
                <a:moveTo>
                  <a:pt x="319098" y="0"/>
                </a:moveTo>
                <a:lnTo>
                  <a:pt x="271805" y="5999"/>
                </a:lnTo>
                <a:lnTo>
                  <a:pt x="225281" y="18500"/>
                </a:lnTo>
                <a:lnTo>
                  <a:pt x="180228" y="37613"/>
                </a:lnTo>
                <a:lnTo>
                  <a:pt x="137345" y="63448"/>
                </a:lnTo>
                <a:lnTo>
                  <a:pt x="99505" y="94958"/>
                </a:lnTo>
                <a:lnTo>
                  <a:pt x="67532" y="130611"/>
                </a:lnTo>
                <a:lnTo>
                  <a:pt x="41549" y="169690"/>
                </a:lnTo>
                <a:lnTo>
                  <a:pt x="21681" y="211477"/>
                </a:lnTo>
                <a:lnTo>
                  <a:pt x="8051" y="255255"/>
                </a:lnTo>
                <a:lnTo>
                  <a:pt x="783" y="300304"/>
                </a:lnTo>
                <a:lnTo>
                  <a:pt x="0" y="345908"/>
                </a:lnTo>
                <a:lnTo>
                  <a:pt x="5825" y="391347"/>
                </a:lnTo>
                <a:lnTo>
                  <a:pt x="18384" y="435905"/>
                </a:lnTo>
                <a:lnTo>
                  <a:pt x="37798" y="478864"/>
                </a:lnTo>
                <a:lnTo>
                  <a:pt x="64193" y="519505"/>
                </a:lnTo>
                <a:lnTo>
                  <a:pt x="96278" y="555492"/>
                </a:lnTo>
                <a:lnTo>
                  <a:pt x="132252" y="585004"/>
                </a:lnTo>
                <a:lnTo>
                  <a:pt x="171468" y="608096"/>
                </a:lnTo>
                <a:lnTo>
                  <a:pt x="213282" y="624825"/>
                </a:lnTo>
                <a:lnTo>
                  <a:pt x="257046" y="635245"/>
                </a:lnTo>
                <a:lnTo>
                  <a:pt x="302116" y="639413"/>
                </a:lnTo>
                <a:lnTo>
                  <a:pt x="347845" y="637383"/>
                </a:lnTo>
                <a:lnTo>
                  <a:pt x="393588" y="629211"/>
                </a:lnTo>
                <a:lnTo>
                  <a:pt x="438699" y="614953"/>
                </a:lnTo>
                <a:lnTo>
                  <a:pt x="482532" y="594664"/>
                </a:lnTo>
                <a:lnTo>
                  <a:pt x="524441" y="568400"/>
                </a:lnTo>
                <a:lnTo>
                  <a:pt x="563323" y="537319"/>
                </a:lnTo>
                <a:lnTo>
                  <a:pt x="596695" y="502842"/>
                </a:lnTo>
                <a:lnTo>
                  <a:pt x="624338" y="465520"/>
                </a:lnTo>
                <a:lnTo>
                  <a:pt x="646031" y="425905"/>
                </a:lnTo>
                <a:lnTo>
                  <a:pt x="661555" y="384549"/>
                </a:lnTo>
                <a:lnTo>
                  <a:pt x="670690" y="342004"/>
                </a:lnTo>
                <a:lnTo>
                  <a:pt x="673216" y="298821"/>
                </a:lnTo>
                <a:lnTo>
                  <a:pt x="668913" y="255554"/>
                </a:lnTo>
                <a:lnTo>
                  <a:pt x="657561" y="212753"/>
                </a:lnTo>
                <a:lnTo>
                  <a:pt x="638941" y="170970"/>
                </a:lnTo>
                <a:lnTo>
                  <a:pt x="612833" y="130758"/>
                </a:lnTo>
                <a:lnTo>
                  <a:pt x="579774" y="94342"/>
                </a:lnTo>
                <a:lnTo>
                  <a:pt x="542580" y="63654"/>
                </a:lnTo>
                <a:lnTo>
                  <a:pt x="501951" y="38804"/>
                </a:lnTo>
                <a:lnTo>
                  <a:pt x="458587" y="19904"/>
                </a:lnTo>
                <a:lnTo>
                  <a:pt x="413190" y="7062"/>
                </a:lnTo>
                <a:lnTo>
                  <a:pt x="366460" y="391"/>
                </a:lnTo>
                <a:lnTo>
                  <a:pt x="319098" y="0"/>
                </a:lnTo>
                <a:close/>
              </a:path>
            </a:pathLst>
          </a:custGeom>
          <a:solidFill>
            <a:srgbClr val="CC1574"/>
          </a:solidFill>
        </p:spPr>
        <p:txBody>
          <a:bodyPr wrap="square" lIns="0" tIns="0" rIns="0" bIns="0" rtlCol="0"/>
          <a:lstStyle/>
          <a:p>
            <a:endParaRPr/>
          </a:p>
        </p:txBody>
      </p:sp>
      <p:sp>
        <p:nvSpPr>
          <p:cNvPr id="20" name="object 20"/>
          <p:cNvSpPr/>
          <p:nvPr/>
        </p:nvSpPr>
        <p:spPr>
          <a:xfrm>
            <a:off x="9421672" y="2111857"/>
            <a:ext cx="301625" cy="302895"/>
          </a:xfrm>
          <a:custGeom>
            <a:avLst/>
            <a:gdLst/>
            <a:ahLst/>
            <a:cxnLst/>
            <a:rect l="l" t="t" r="r" b="b"/>
            <a:pathLst>
              <a:path w="301625" h="302894">
                <a:moveTo>
                  <a:pt x="172492" y="0"/>
                </a:moveTo>
                <a:lnTo>
                  <a:pt x="126455" y="0"/>
                </a:lnTo>
                <a:lnTo>
                  <a:pt x="82466" y="14020"/>
                </a:lnTo>
                <a:lnTo>
                  <a:pt x="43891" y="42062"/>
                </a:lnTo>
                <a:lnTo>
                  <a:pt x="14630" y="82519"/>
                </a:lnTo>
                <a:lnTo>
                  <a:pt x="0" y="127822"/>
                </a:lnTo>
                <a:lnTo>
                  <a:pt x="0" y="174741"/>
                </a:lnTo>
                <a:lnTo>
                  <a:pt x="14630" y="220045"/>
                </a:lnTo>
                <a:lnTo>
                  <a:pt x="43891" y="260502"/>
                </a:lnTo>
                <a:lnTo>
                  <a:pt x="82466" y="288543"/>
                </a:lnTo>
                <a:lnTo>
                  <a:pt x="126455" y="302564"/>
                </a:lnTo>
                <a:lnTo>
                  <a:pt x="172492" y="302564"/>
                </a:lnTo>
                <a:lnTo>
                  <a:pt x="217212" y="288543"/>
                </a:lnTo>
                <a:lnTo>
                  <a:pt x="257251" y="260502"/>
                </a:lnTo>
                <a:lnTo>
                  <a:pt x="286512" y="220045"/>
                </a:lnTo>
                <a:lnTo>
                  <a:pt x="301142" y="174741"/>
                </a:lnTo>
                <a:lnTo>
                  <a:pt x="301142" y="127822"/>
                </a:lnTo>
                <a:lnTo>
                  <a:pt x="286512" y="82519"/>
                </a:lnTo>
                <a:lnTo>
                  <a:pt x="257251" y="42062"/>
                </a:lnTo>
                <a:lnTo>
                  <a:pt x="217212" y="14020"/>
                </a:lnTo>
                <a:lnTo>
                  <a:pt x="172492" y="0"/>
                </a:lnTo>
                <a:close/>
              </a:path>
            </a:pathLst>
          </a:custGeom>
          <a:solidFill>
            <a:srgbClr val="FFFFFF"/>
          </a:solidFill>
        </p:spPr>
        <p:txBody>
          <a:bodyPr wrap="square" lIns="0" tIns="0" rIns="0" bIns="0" rtlCol="0"/>
          <a:lstStyle/>
          <a:p>
            <a:endParaRPr/>
          </a:p>
        </p:txBody>
      </p:sp>
      <p:sp>
        <p:nvSpPr>
          <p:cNvPr id="21" name="object 21"/>
          <p:cNvSpPr/>
          <p:nvPr/>
        </p:nvSpPr>
        <p:spPr>
          <a:xfrm>
            <a:off x="9288780" y="2141283"/>
            <a:ext cx="402336" cy="397668"/>
          </a:xfrm>
          <a:prstGeom prst="rect">
            <a:avLst/>
          </a:prstGeom>
          <a:blipFill>
            <a:blip r:embed="rId10" cstate="print"/>
            <a:stretch>
              <a:fillRect/>
            </a:stretch>
          </a:blipFill>
        </p:spPr>
        <p:txBody>
          <a:bodyPr wrap="square" lIns="0" tIns="0" rIns="0" bIns="0" rtlCol="0"/>
          <a:lstStyle/>
          <a:p>
            <a:endParaRPr/>
          </a:p>
        </p:txBody>
      </p:sp>
      <p:sp>
        <p:nvSpPr>
          <p:cNvPr id="22" name="object 22"/>
          <p:cNvSpPr/>
          <p:nvPr/>
        </p:nvSpPr>
        <p:spPr>
          <a:xfrm>
            <a:off x="9173545" y="2750768"/>
            <a:ext cx="668020" cy="633730"/>
          </a:xfrm>
          <a:custGeom>
            <a:avLst/>
            <a:gdLst/>
            <a:ahLst/>
            <a:cxnLst/>
            <a:rect l="l" t="t" r="r" b="b"/>
            <a:pathLst>
              <a:path w="668020" h="633729">
                <a:moveTo>
                  <a:pt x="313044" y="0"/>
                </a:moveTo>
                <a:lnTo>
                  <a:pt x="265941" y="5704"/>
                </a:lnTo>
                <a:lnTo>
                  <a:pt x="219614" y="18018"/>
                </a:lnTo>
                <a:lnTo>
                  <a:pt x="174797" y="37135"/>
                </a:lnTo>
                <a:lnTo>
                  <a:pt x="132776" y="63177"/>
                </a:lnTo>
                <a:lnTo>
                  <a:pt x="96080" y="94035"/>
                </a:lnTo>
                <a:lnTo>
                  <a:pt x="64929" y="129043"/>
                </a:lnTo>
                <a:lnTo>
                  <a:pt x="39542" y="167538"/>
                </a:lnTo>
                <a:lnTo>
                  <a:pt x="20136" y="208856"/>
                </a:lnTo>
                <a:lnTo>
                  <a:pt x="6932" y="252331"/>
                </a:lnTo>
                <a:lnTo>
                  <a:pt x="147" y="297301"/>
                </a:lnTo>
                <a:lnTo>
                  <a:pt x="0" y="343101"/>
                </a:lnTo>
                <a:lnTo>
                  <a:pt x="6709" y="389067"/>
                </a:lnTo>
                <a:lnTo>
                  <a:pt x="20495" y="434535"/>
                </a:lnTo>
                <a:lnTo>
                  <a:pt x="41574" y="478841"/>
                </a:lnTo>
                <a:lnTo>
                  <a:pt x="68067" y="518615"/>
                </a:lnTo>
                <a:lnTo>
                  <a:pt x="99198" y="552567"/>
                </a:lnTo>
                <a:lnTo>
                  <a:pt x="134355" y="580656"/>
                </a:lnTo>
                <a:lnTo>
                  <a:pt x="172925" y="602840"/>
                </a:lnTo>
                <a:lnTo>
                  <a:pt x="214294" y="619078"/>
                </a:lnTo>
                <a:lnTo>
                  <a:pt x="257849" y="629328"/>
                </a:lnTo>
                <a:lnTo>
                  <a:pt x="302978" y="633551"/>
                </a:lnTo>
                <a:lnTo>
                  <a:pt x="349067" y="631703"/>
                </a:lnTo>
                <a:lnTo>
                  <a:pt x="395503" y="623745"/>
                </a:lnTo>
                <a:lnTo>
                  <a:pt x="441673" y="609634"/>
                </a:lnTo>
                <a:lnTo>
                  <a:pt x="486963" y="589331"/>
                </a:lnTo>
                <a:lnTo>
                  <a:pt x="528442" y="564475"/>
                </a:lnTo>
                <a:lnTo>
                  <a:pt x="565117" y="535413"/>
                </a:lnTo>
                <a:lnTo>
                  <a:pt x="596687" y="502659"/>
                </a:lnTo>
                <a:lnTo>
                  <a:pt x="622851" y="466724"/>
                </a:lnTo>
                <a:lnTo>
                  <a:pt x="643307" y="428118"/>
                </a:lnTo>
                <a:lnTo>
                  <a:pt x="657755" y="387355"/>
                </a:lnTo>
                <a:lnTo>
                  <a:pt x="665894" y="344946"/>
                </a:lnTo>
                <a:lnTo>
                  <a:pt x="667422" y="301403"/>
                </a:lnTo>
                <a:lnTo>
                  <a:pt x="662038" y="257238"/>
                </a:lnTo>
                <a:lnTo>
                  <a:pt x="649441" y="212962"/>
                </a:lnTo>
                <a:lnTo>
                  <a:pt x="629330" y="169088"/>
                </a:lnTo>
                <a:lnTo>
                  <a:pt x="602556" y="128882"/>
                </a:lnTo>
                <a:lnTo>
                  <a:pt x="570663" y="93738"/>
                </a:lnTo>
                <a:lnTo>
                  <a:pt x="534386" y="63848"/>
                </a:lnTo>
                <a:lnTo>
                  <a:pt x="494463" y="39407"/>
                </a:lnTo>
                <a:lnTo>
                  <a:pt x="451630" y="20609"/>
                </a:lnTo>
                <a:lnTo>
                  <a:pt x="406625" y="7645"/>
                </a:lnTo>
                <a:lnTo>
                  <a:pt x="360184" y="711"/>
                </a:lnTo>
                <a:lnTo>
                  <a:pt x="313044" y="0"/>
                </a:lnTo>
                <a:close/>
              </a:path>
            </a:pathLst>
          </a:custGeom>
          <a:solidFill>
            <a:srgbClr val="2C1A39"/>
          </a:solidFill>
        </p:spPr>
        <p:txBody>
          <a:bodyPr wrap="square" lIns="0" tIns="0" rIns="0" bIns="0" rtlCol="0"/>
          <a:lstStyle/>
          <a:p>
            <a:endParaRPr/>
          </a:p>
        </p:txBody>
      </p:sp>
      <p:sp>
        <p:nvSpPr>
          <p:cNvPr id="23" name="object 23"/>
          <p:cNvSpPr/>
          <p:nvPr/>
        </p:nvSpPr>
        <p:spPr>
          <a:xfrm>
            <a:off x="9258300" y="2830067"/>
            <a:ext cx="475488" cy="477012"/>
          </a:xfrm>
          <a:prstGeom prst="rect">
            <a:avLst/>
          </a:prstGeom>
          <a:blipFill>
            <a:blip r:embed="rId11" cstate="print"/>
            <a:stretch>
              <a:fillRect/>
            </a:stretch>
          </a:blipFill>
        </p:spPr>
        <p:txBody>
          <a:bodyPr wrap="square" lIns="0" tIns="0" rIns="0" bIns="0" rtlCol="0"/>
          <a:lstStyle/>
          <a:p>
            <a:endParaRPr/>
          </a:p>
        </p:txBody>
      </p:sp>
      <p:sp>
        <p:nvSpPr>
          <p:cNvPr id="24" name="object 24"/>
          <p:cNvSpPr/>
          <p:nvPr/>
        </p:nvSpPr>
        <p:spPr>
          <a:xfrm>
            <a:off x="9172012" y="4987505"/>
            <a:ext cx="669290" cy="633095"/>
          </a:xfrm>
          <a:custGeom>
            <a:avLst/>
            <a:gdLst/>
            <a:ahLst/>
            <a:cxnLst/>
            <a:rect l="l" t="t" r="r" b="b"/>
            <a:pathLst>
              <a:path w="669290" h="633095">
                <a:moveTo>
                  <a:pt x="313608" y="0"/>
                </a:moveTo>
                <a:lnTo>
                  <a:pt x="266207" y="6128"/>
                </a:lnTo>
                <a:lnTo>
                  <a:pt x="219369" y="18989"/>
                </a:lnTo>
                <a:lnTo>
                  <a:pt x="173791" y="38773"/>
                </a:lnTo>
                <a:lnTo>
                  <a:pt x="131740" y="64729"/>
                </a:lnTo>
                <a:lnTo>
                  <a:pt x="95138" y="95459"/>
                </a:lnTo>
                <a:lnTo>
                  <a:pt x="64162" y="130289"/>
                </a:lnTo>
                <a:lnTo>
                  <a:pt x="38990" y="168544"/>
                </a:lnTo>
                <a:lnTo>
                  <a:pt x="19798" y="209551"/>
                </a:lnTo>
                <a:lnTo>
                  <a:pt x="6765" y="252637"/>
                </a:lnTo>
                <a:lnTo>
                  <a:pt x="67" y="297127"/>
                </a:lnTo>
                <a:lnTo>
                  <a:pt x="0" y="343154"/>
                </a:lnTo>
                <a:lnTo>
                  <a:pt x="6390" y="387624"/>
                </a:lnTo>
                <a:lnTo>
                  <a:pt x="19766" y="432284"/>
                </a:lnTo>
                <a:lnTo>
                  <a:pt x="40187" y="475653"/>
                </a:lnTo>
                <a:lnTo>
                  <a:pt x="66722" y="516002"/>
                </a:lnTo>
                <a:lnTo>
                  <a:pt x="97913" y="550419"/>
                </a:lnTo>
                <a:lnTo>
                  <a:pt x="133143" y="578876"/>
                </a:lnTo>
                <a:lnTo>
                  <a:pt x="171796" y="601346"/>
                </a:lnTo>
                <a:lnTo>
                  <a:pt x="213256" y="617802"/>
                </a:lnTo>
                <a:lnTo>
                  <a:pt x="256907" y="628215"/>
                </a:lnTo>
                <a:lnTo>
                  <a:pt x="302132" y="632558"/>
                </a:lnTo>
                <a:lnTo>
                  <a:pt x="348317" y="630804"/>
                </a:lnTo>
                <a:lnTo>
                  <a:pt x="394845" y="622925"/>
                </a:lnTo>
                <a:lnTo>
                  <a:pt x="441099" y="608894"/>
                </a:lnTo>
                <a:lnTo>
                  <a:pt x="486465" y="588683"/>
                </a:lnTo>
                <a:lnTo>
                  <a:pt x="528797" y="563153"/>
                </a:lnTo>
                <a:lnTo>
                  <a:pt x="566161" y="533592"/>
                </a:lnTo>
                <a:lnTo>
                  <a:pt x="598257" y="500509"/>
                </a:lnTo>
                <a:lnTo>
                  <a:pt x="624783" y="464414"/>
                </a:lnTo>
                <a:lnTo>
                  <a:pt x="645438" y="425817"/>
                </a:lnTo>
                <a:lnTo>
                  <a:pt x="659921" y="385227"/>
                </a:lnTo>
                <a:lnTo>
                  <a:pt x="667930" y="343154"/>
                </a:lnTo>
                <a:lnTo>
                  <a:pt x="669165" y="300107"/>
                </a:lnTo>
                <a:lnTo>
                  <a:pt x="663325" y="256596"/>
                </a:lnTo>
                <a:lnTo>
                  <a:pt x="650108" y="213129"/>
                </a:lnTo>
                <a:lnTo>
                  <a:pt x="629213" y="170218"/>
                </a:lnTo>
                <a:lnTo>
                  <a:pt x="602464" y="129420"/>
                </a:lnTo>
                <a:lnTo>
                  <a:pt x="570689" y="93815"/>
                </a:lnTo>
                <a:lnTo>
                  <a:pt x="534587" y="63594"/>
                </a:lnTo>
                <a:lnTo>
                  <a:pt x="494855" y="38951"/>
                </a:lnTo>
                <a:lnTo>
                  <a:pt x="452193" y="20078"/>
                </a:lnTo>
                <a:lnTo>
                  <a:pt x="407299" y="7167"/>
                </a:lnTo>
                <a:lnTo>
                  <a:pt x="360871" y="410"/>
                </a:lnTo>
                <a:lnTo>
                  <a:pt x="313608" y="0"/>
                </a:lnTo>
                <a:close/>
              </a:path>
            </a:pathLst>
          </a:custGeom>
          <a:solidFill>
            <a:srgbClr val="88165A"/>
          </a:solidFill>
        </p:spPr>
        <p:txBody>
          <a:bodyPr wrap="square" lIns="0" tIns="0" rIns="0" bIns="0" rtlCol="0"/>
          <a:lstStyle/>
          <a:p>
            <a:endParaRPr/>
          </a:p>
        </p:txBody>
      </p:sp>
      <p:sp>
        <p:nvSpPr>
          <p:cNvPr id="25" name="object 25"/>
          <p:cNvSpPr/>
          <p:nvPr/>
        </p:nvSpPr>
        <p:spPr>
          <a:xfrm>
            <a:off x="9317735" y="5135879"/>
            <a:ext cx="379730" cy="190500"/>
          </a:xfrm>
          <a:custGeom>
            <a:avLst/>
            <a:gdLst/>
            <a:ahLst/>
            <a:cxnLst/>
            <a:rect l="l" t="t" r="r" b="b"/>
            <a:pathLst>
              <a:path w="379729" h="190500">
                <a:moveTo>
                  <a:pt x="154813" y="61468"/>
                </a:moveTo>
                <a:lnTo>
                  <a:pt x="116550" y="83498"/>
                </a:lnTo>
                <a:lnTo>
                  <a:pt x="78549" y="104076"/>
                </a:lnTo>
                <a:lnTo>
                  <a:pt x="39977" y="124082"/>
                </a:lnTo>
                <a:lnTo>
                  <a:pt x="0" y="144399"/>
                </a:lnTo>
                <a:lnTo>
                  <a:pt x="3837" y="158496"/>
                </a:lnTo>
                <a:lnTo>
                  <a:pt x="12509" y="169735"/>
                </a:lnTo>
                <a:lnTo>
                  <a:pt x="21752" y="179832"/>
                </a:lnTo>
                <a:lnTo>
                  <a:pt x="27305" y="190500"/>
                </a:lnTo>
                <a:lnTo>
                  <a:pt x="145669" y="125984"/>
                </a:lnTo>
                <a:lnTo>
                  <a:pt x="252532" y="125984"/>
                </a:lnTo>
                <a:lnTo>
                  <a:pt x="278266" y="110605"/>
                </a:lnTo>
                <a:lnTo>
                  <a:pt x="299238" y="98298"/>
                </a:lnTo>
                <a:lnTo>
                  <a:pt x="194310" y="98298"/>
                </a:lnTo>
                <a:lnTo>
                  <a:pt x="189738" y="94992"/>
                </a:lnTo>
                <a:lnTo>
                  <a:pt x="185166" y="90233"/>
                </a:lnTo>
                <a:lnTo>
                  <a:pt x="180594" y="84903"/>
                </a:lnTo>
                <a:lnTo>
                  <a:pt x="176022" y="79883"/>
                </a:lnTo>
                <a:lnTo>
                  <a:pt x="171475" y="73094"/>
                </a:lnTo>
                <a:lnTo>
                  <a:pt x="166608" y="67198"/>
                </a:lnTo>
                <a:lnTo>
                  <a:pt x="161145" y="63041"/>
                </a:lnTo>
                <a:lnTo>
                  <a:pt x="154813" y="61468"/>
                </a:lnTo>
                <a:close/>
              </a:path>
              <a:path w="379729" h="190500">
                <a:moveTo>
                  <a:pt x="252532" y="125984"/>
                </a:moveTo>
                <a:lnTo>
                  <a:pt x="145669" y="125984"/>
                </a:lnTo>
                <a:lnTo>
                  <a:pt x="151526" y="131052"/>
                </a:lnTo>
                <a:lnTo>
                  <a:pt x="155956" y="136715"/>
                </a:lnTo>
                <a:lnTo>
                  <a:pt x="159813" y="142378"/>
                </a:lnTo>
                <a:lnTo>
                  <a:pt x="163973" y="147458"/>
                </a:lnTo>
                <a:lnTo>
                  <a:pt x="170271" y="152092"/>
                </a:lnTo>
                <a:lnTo>
                  <a:pt x="175704" y="156702"/>
                </a:lnTo>
                <a:lnTo>
                  <a:pt x="180566" y="161288"/>
                </a:lnTo>
                <a:lnTo>
                  <a:pt x="185166" y="165862"/>
                </a:lnTo>
                <a:lnTo>
                  <a:pt x="216616" y="147447"/>
                </a:lnTo>
                <a:lnTo>
                  <a:pt x="252532" y="125984"/>
                </a:lnTo>
                <a:close/>
              </a:path>
              <a:path w="379729" h="190500">
                <a:moveTo>
                  <a:pt x="358332" y="92202"/>
                </a:moveTo>
                <a:lnTo>
                  <a:pt x="309625" y="92202"/>
                </a:lnTo>
                <a:lnTo>
                  <a:pt x="315196" y="104536"/>
                </a:lnTo>
                <a:lnTo>
                  <a:pt x="322183" y="114871"/>
                </a:lnTo>
                <a:lnTo>
                  <a:pt x="329717" y="124634"/>
                </a:lnTo>
                <a:lnTo>
                  <a:pt x="336931" y="135255"/>
                </a:lnTo>
                <a:lnTo>
                  <a:pt x="353008" y="105300"/>
                </a:lnTo>
                <a:lnTo>
                  <a:pt x="358332" y="92202"/>
                </a:lnTo>
                <a:close/>
              </a:path>
              <a:path w="379729" h="190500">
                <a:moveTo>
                  <a:pt x="258064" y="0"/>
                </a:moveTo>
                <a:lnTo>
                  <a:pt x="262300" y="11477"/>
                </a:lnTo>
                <a:lnTo>
                  <a:pt x="266811" y="22669"/>
                </a:lnTo>
                <a:lnTo>
                  <a:pt x="273012" y="33289"/>
                </a:lnTo>
                <a:lnTo>
                  <a:pt x="282321" y="43053"/>
                </a:lnTo>
                <a:lnTo>
                  <a:pt x="260032" y="56864"/>
                </a:lnTo>
                <a:lnTo>
                  <a:pt x="216598" y="84486"/>
                </a:lnTo>
                <a:lnTo>
                  <a:pt x="194310" y="98298"/>
                </a:lnTo>
                <a:lnTo>
                  <a:pt x="299238" y="98298"/>
                </a:lnTo>
                <a:lnTo>
                  <a:pt x="309625" y="92202"/>
                </a:lnTo>
                <a:lnTo>
                  <a:pt x="358332" y="92202"/>
                </a:lnTo>
                <a:lnTo>
                  <a:pt x="365061" y="75644"/>
                </a:lnTo>
                <a:lnTo>
                  <a:pt x="373685" y="46583"/>
                </a:lnTo>
                <a:lnTo>
                  <a:pt x="379475" y="18415"/>
                </a:lnTo>
                <a:lnTo>
                  <a:pt x="379475" y="15367"/>
                </a:lnTo>
                <a:lnTo>
                  <a:pt x="349396" y="11251"/>
                </a:lnTo>
                <a:lnTo>
                  <a:pt x="288143" y="4115"/>
                </a:lnTo>
                <a:lnTo>
                  <a:pt x="258064" y="0"/>
                </a:lnTo>
                <a:close/>
              </a:path>
            </a:pathLst>
          </a:custGeom>
          <a:solidFill>
            <a:srgbClr val="FFFFFF"/>
          </a:solidFill>
        </p:spPr>
        <p:txBody>
          <a:bodyPr wrap="square" lIns="0" tIns="0" rIns="0" bIns="0" rtlCol="0"/>
          <a:lstStyle/>
          <a:p>
            <a:endParaRPr/>
          </a:p>
        </p:txBody>
      </p:sp>
      <p:sp>
        <p:nvSpPr>
          <p:cNvPr id="26" name="object 26"/>
          <p:cNvSpPr/>
          <p:nvPr/>
        </p:nvSpPr>
        <p:spPr>
          <a:xfrm>
            <a:off x="9572243" y="5254752"/>
            <a:ext cx="52069" cy="203200"/>
          </a:xfrm>
          <a:custGeom>
            <a:avLst/>
            <a:gdLst/>
            <a:ahLst/>
            <a:cxnLst/>
            <a:rect l="l" t="t" r="r" b="b"/>
            <a:pathLst>
              <a:path w="52070" h="203200">
                <a:moveTo>
                  <a:pt x="45720" y="0"/>
                </a:moveTo>
                <a:lnTo>
                  <a:pt x="39624" y="3048"/>
                </a:lnTo>
                <a:lnTo>
                  <a:pt x="30479" y="8169"/>
                </a:lnTo>
                <a:lnTo>
                  <a:pt x="12191" y="19460"/>
                </a:lnTo>
                <a:lnTo>
                  <a:pt x="3048" y="24511"/>
                </a:lnTo>
                <a:lnTo>
                  <a:pt x="0" y="27686"/>
                </a:lnTo>
                <a:lnTo>
                  <a:pt x="0" y="199644"/>
                </a:lnTo>
                <a:lnTo>
                  <a:pt x="3048" y="202692"/>
                </a:lnTo>
                <a:lnTo>
                  <a:pt x="48767" y="202692"/>
                </a:lnTo>
                <a:lnTo>
                  <a:pt x="51815" y="199644"/>
                </a:lnTo>
                <a:lnTo>
                  <a:pt x="51815" y="6096"/>
                </a:lnTo>
                <a:lnTo>
                  <a:pt x="45720" y="0"/>
                </a:lnTo>
                <a:close/>
              </a:path>
            </a:pathLst>
          </a:custGeom>
          <a:solidFill>
            <a:srgbClr val="A7C509"/>
          </a:solidFill>
        </p:spPr>
        <p:txBody>
          <a:bodyPr wrap="square" lIns="0" tIns="0" rIns="0" bIns="0" rtlCol="0"/>
          <a:lstStyle/>
          <a:p>
            <a:endParaRPr/>
          </a:p>
        </p:txBody>
      </p:sp>
      <p:sp>
        <p:nvSpPr>
          <p:cNvPr id="27" name="object 27"/>
          <p:cNvSpPr/>
          <p:nvPr/>
        </p:nvSpPr>
        <p:spPr>
          <a:xfrm>
            <a:off x="9427464" y="5289803"/>
            <a:ext cx="53340" cy="167640"/>
          </a:xfrm>
          <a:custGeom>
            <a:avLst/>
            <a:gdLst/>
            <a:ahLst/>
            <a:cxnLst/>
            <a:rect l="l" t="t" r="r" b="b"/>
            <a:pathLst>
              <a:path w="53340" h="167639">
                <a:moveTo>
                  <a:pt x="35559" y="0"/>
                </a:moveTo>
                <a:lnTo>
                  <a:pt x="26669" y="0"/>
                </a:lnTo>
                <a:lnTo>
                  <a:pt x="20700" y="3048"/>
                </a:lnTo>
                <a:lnTo>
                  <a:pt x="14858" y="9144"/>
                </a:lnTo>
                <a:lnTo>
                  <a:pt x="5968" y="12192"/>
                </a:lnTo>
                <a:lnTo>
                  <a:pt x="2920" y="12192"/>
                </a:lnTo>
                <a:lnTo>
                  <a:pt x="0" y="18288"/>
                </a:lnTo>
                <a:lnTo>
                  <a:pt x="0" y="164592"/>
                </a:lnTo>
                <a:lnTo>
                  <a:pt x="5968" y="167640"/>
                </a:lnTo>
                <a:lnTo>
                  <a:pt x="47370" y="167640"/>
                </a:lnTo>
                <a:lnTo>
                  <a:pt x="53339" y="164592"/>
                </a:lnTo>
                <a:lnTo>
                  <a:pt x="53339" y="18288"/>
                </a:lnTo>
                <a:lnTo>
                  <a:pt x="50418" y="12192"/>
                </a:lnTo>
                <a:lnTo>
                  <a:pt x="44450" y="6096"/>
                </a:lnTo>
                <a:lnTo>
                  <a:pt x="38480" y="3048"/>
                </a:lnTo>
                <a:lnTo>
                  <a:pt x="35559" y="0"/>
                </a:lnTo>
                <a:close/>
              </a:path>
            </a:pathLst>
          </a:custGeom>
          <a:solidFill>
            <a:srgbClr val="A7C509"/>
          </a:solidFill>
        </p:spPr>
        <p:txBody>
          <a:bodyPr wrap="square" lIns="0" tIns="0" rIns="0" bIns="0" rtlCol="0"/>
          <a:lstStyle/>
          <a:p>
            <a:endParaRPr/>
          </a:p>
        </p:txBody>
      </p:sp>
      <p:sp>
        <p:nvSpPr>
          <p:cNvPr id="28" name="object 28"/>
          <p:cNvSpPr/>
          <p:nvPr/>
        </p:nvSpPr>
        <p:spPr>
          <a:xfrm>
            <a:off x="9500616" y="5297423"/>
            <a:ext cx="50800" cy="160020"/>
          </a:xfrm>
          <a:custGeom>
            <a:avLst/>
            <a:gdLst/>
            <a:ahLst/>
            <a:cxnLst/>
            <a:rect l="l" t="t" r="r" b="b"/>
            <a:pathLst>
              <a:path w="50800" h="160020">
                <a:moveTo>
                  <a:pt x="44323" y="0"/>
                </a:moveTo>
                <a:lnTo>
                  <a:pt x="5968" y="24637"/>
                </a:lnTo>
                <a:lnTo>
                  <a:pt x="2920" y="24637"/>
                </a:lnTo>
                <a:lnTo>
                  <a:pt x="0" y="27685"/>
                </a:lnTo>
                <a:lnTo>
                  <a:pt x="0" y="156972"/>
                </a:lnTo>
                <a:lnTo>
                  <a:pt x="5968" y="160019"/>
                </a:lnTo>
                <a:lnTo>
                  <a:pt x="47370" y="160019"/>
                </a:lnTo>
                <a:lnTo>
                  <a:pt x="50291" y="156972"/>
                </a:lnTo>
                <a:lnTo>
                  <a:pt x="50291" y="3047"/>
                </a:lnTo>
                <a:lnTo>
                  <a:pt x="44323" y="0"/>
                </a:lnTo>
                <a:close/>
              </a:path>
            </a:pathLst>
          </a:custGeom>
          <a:solidFill>
            <a:srgbClr val="27A9D7"/>
          </a:solidFill>
        </p:spPr>
        <p:txBody>
          <a:bodyPr wrap="square" lIns="0" tIns="0" rIns="0" bIns="0" rtlCol="0"/>
          <a:lstStyle/>
          <a:p>
            <a:endParaRPr/>
          </a:p>
        </p:txBody>
      </p:sp>
      <p:sp>
        <p:nvSpPr>
          <p:cNvPr id="29" name="object 29"/>
          <p:cNvSpPr/>
          <p:nvPr/>
        </p:nvSpPr>
        <p:spPr>
          <a:xfrm>
            <a:off x="9346692" y="5315711"/>
            <a:ext cx="53340" cy="142240"/>
          </a:xfrm>
          <a:custGeom>
            <a:avLst/>
            <a:gdLst/>
            <a:ahLst/>
            <a:cxnLst/>
            <a:rect l="l" t="t" r="r" b="b"/>
            <a:pathLst>
              <a:path w="53340" h="142239">
                <a:moveTo>
                  <a:pt x="47116" y="0"/>
                </a:moveTo>
                <a:lnTo>
                  <a:pt x="40766" y="3047"/>
                </a:lnTo>
                <a:lnTo>
                  <a:pt x="3175" y="21590"/>
                </a:lnTo>
                <a:lnTo>
                  <a:pt x="0" y="24637"/>
                </a:lnTo>
                <a:lnTo>
                  <a:pt x="0" y="138684"/>
                </a:lnTo>
                <a:lnTo>
                  <a:pt x="3175" y="141731"/>
                </a:lnTo>
                <a:lnTo>
                  <a:pt x="50164" y="141731"/>
                </a:lnTo>
                <a:lnTo>
                  <a:pt x="53339" y="138684"/>
                </a:lnTo>
                <a:lnTo>
                  <a:pt x="53339" y="6222"/>
                </a:lnTo>
                <a:lnTo>
                  <a:pt x="47116" y="0"/>
                </a:lnTo>
                <a:close/>
              </a:path>
            </a:pathLst>
          </a:custGeom>
          <a:solidFill>
            <a:srgbClr val="27A9D7"/>
          </a:solidFill>
        </p:spPr>
        <p:txBody>
          <a:bodyPr wrap="square" lIns="0" tIns="0" rIns="0" bIns="0" rtlCol="0"/>
          <a:lstStyle/>
          <a:p>
            <a:endParaRPr/>
          </a:p>
        </p:txBody>
      </p:sp>
      <p:sp>
        <p:nvSpPr>
          <p:cNvPr id="30" name="object 30"/>
          <p:cNvSpPr/>
          <p:nvPr/>
        </p:nvSpPr>
        <p:spPr>
          <a:xfrm>
            <a:off x="9168627" y="3493492"/>
            <a:ext cx="679450" cy="638810"/>
          </a:xfrm>
          <a:custGeom>
            <a:avLst/>
            <a:gdLst/>
            <a:ahLst/>
            <a:cxnLst/>
            <a:rect l="l" t="t" r="r" b="b"/>
            <a:pathLst>
              <a:path w="679450" h="638810">
                <a:moveTo>
                  <a:pt x="350749" y="0"/>
                </a:moveTo>
                <a:lnTo>
                  <a:pt x="306420" y="878"/>
                </a:lnTo>
                <a:lnTo>
                  <a:pt x="261977" y="7580"/>
                </a:lnTo>
                <a:lnTo>
                  <a:pt x="217943" y="20343"/>
                </a:lnTo>
                <a:lnTo>
                  <a:pt x="172059" y="40181"/>
                </a:lnTo>
                <a:lnTo>
                  <a:pt x="130897" y="65661"/>
                </a:lnTo>
                <a:lnTo>
                  <a:pt x="94760" y="96126"/>
                </a:lnTo>
                <a:lnTo>
                  <a:pt x="63949" y="130920"/>
                </a:lnTo>
                <a:lnTo>
                  <a:pt x="38766" y="169387"/>
                </a:lnTo>
                <a:lnTo>
                  <a:pt x="19512" y="210871"/>
                </a:lnTo>
                <a:lnTo>
                  <a:pt x="6489" y="254717"/>
                </a:lnTo>
                <a:lnTo>
                  <a:pt x="0" y="300267"/>
                </a:lnTo>
                <a:lnTo>
                  <a:pt x="344" y="346866"/>
                </a:lnTo>
                <a:lnTo>
                  <a:pt x="7825" y="393858"/>
                </a:lnTo>
                <a:lnTo>
                  <a:pt x="22744" y="440586"/>
                </a:lnTo>
                <a:lnTo>
                  <a:pt x="43977" y="484363"/>
                </a:lnTo>
                <a:lnTo>
                  <a:pt x="70745" y="522927"/>
                </a:lnTo>
                <a:lnTo>
                  <a:pt x="102411" y="556162"/>
                </a:lnTo>
                <a:lnTo>
                  <a:pt x="138339" y="583951"/>
                </a:lnTo>
                <a:lnTo>
                  <a:pt x="177892" y="606175"/>
                </a:lnTo>
                <a:lnTo>
                  <a:pt x="220434" y="622717"/>
                </a:lnTo>
                <a:lnTo>
                  <a:pt x="265327" y="633461"/>
                </a:lnTo>
                <a:lnTo>
                  <a:pt x="311936" y="638289"/>
                </a:lnTo>
                <a:lnTo>
                  <a:pt x="359623" y="637083"/>
                </a:lnTo>
                <a:lnTo>
                  <a:pt x="407752" y="629726"/>
                </a:lnTo>
                <a:lnTo>
                  <a:pt x="455687" y="616100"/>
                </a:lnTo>
                <a:lnTo>
                  <a:pt x="501301" y="596265"/>
                </a:lnTo>
                <a:lnTo>
                  <a:pt x="542580" y="571704"/>
                </a:lnTo>
                <a:lnTo>
                  <a:pt x="579155" y="542881"/>
                </a:lnTo>
                <a:lnTo>
                  <a:pt x="610659" y="510261"/>
                </a:lnTo>
                <a:lnTo>
                  <a:pt x="636723" y="474306"/>
                </a:lnTo>
                <a:lnTo>
                  <a:pt x="656978" y="435481"/>
                </a:lnTo>
                <a:lnTo>
                  <a:pt x="671058" y="394248"/>
                </a:lnTo>
                <a:lnTo>
                  <a:pt x="678593" y="351073"/>
                </a:lnTo>
                <a:lnTo>
                  <a:pt x="679216" y="306419"/>
                </a:lnTo>
                <a:lnTo>
                  <a:pt x="672558" y="260748"/>
                </a:lnTo>
                <a:lnTo>
                  <a:pt x="658252" y="214526"/>
                </a:lnTo>
                <a:lnTo>
                  <a:pt x="638490" y="173797"/>
                </a:lnTo>
                <a:lnTo>
                  <a:pt x="613906" y="136731"/>
                </a:lnTo>
                <a:lnTo>
                  <a:pt x="585024" y="103568"/>
                </a:lnTo>
                <a:lnTo>
                  <a:pt x="552366" y="74549"/>
                </a:lnTo>
                <a:lnTo>
                  <a:pt x="516456" y="49913"/>
                </a:lnTo>
                <a:lnTo>
                  <a:pt x="477816" y="29900"/>
                </a:lnTo>
                <a:lnTo>
                  <a:pt x="436970" y="14750"/>
                </a:lnTo>
                <a:lnTo>
                  <a:pt x="394440" y="4703"/>
                </a:lnTo>
                <a:lnTo>
                  <a:pt x="350749" y="0"/>
                </a:lnTo>
                <a:close/>
              </a:path>
            </a:pathLst>
          </a:custGeom>
          <a:solidFill>
            <a:srgbClr val="FF2F4B"/>
          </a:solidFill>
        </p:spPr>
        <p:txBody>
          <a:bodyPr wrap="square" lIns="0" tIns="0" rIns="0" bIns="0" rtlCol="0"/>
          <a:lstStyle/>
          <a:p>
            <a:endParaRPr/>
          </a:p>
        </p:txBody>
      </p:sp>
      <p:sp>
        <p:nvSpPr>
          <p:cNvPr id="31" name="object 31"/>
          <p:cNvSpPr/>
          <p:nvPr/>
        </p:nvSpPr>
        <p:spPr>
          <a:xfrm>
            <a:off x="9468342" y="3590258"/>
            <a:ext cx="78422" cy="78327"/>
          </a:xfrm>
          <a:prstGeom prst="rect">
            <a:avLst/>
          </a:prstGeom>
          <a:blipFill>
            <a:blip r:embed="rId12" cstate="print"/>
            <a:stretch>
              <a:fillRect/>
            </a:stretch>
          </a:blipFill>
        </p:spPr>
        <p:txBody>
          <a:bodyPr wrap="square" lIns="0" tIns="0" rIns="0" bIns="0" rtlCol="0"/>
          <a:lstStyle/>
          <a:p>
            <a:endParaRPr/>
          </a:p>
        </p:txBody>
      </p:sp>
      <p:sp>
        <p:nvSpPr>
          <p:cNvPr id="32" name="object 32"/>
          <p:cNvSpPr/>
          <p:nvPr/>
        </p:nvSpPr>
        <p:spPr>
          <a:xfrm>
            <a:off x="9302170" y="3788664"/>
            <a:ext cx="170759" cy="188975"/>
          </a:xfrm>
          <a:prstGeom prst="rect">
            <a:avLst/>
          </a:prstGeom>
          <a:blipFill>
            <a:blip r:embed="rId13" cstate="print"/>
            <a:stretch>
              <a:fillRect/>
            </a:stretch>
          </a:blipFill>
        </p:spPr>
        <p:txBody>
          <a:bodyPr wrap="square" lIns="0" tIns="0" rIns="0" bIns="0" rtlCol="0"/>
          <a:lstStyle/>
          <a:p>
            <a:endParaRPr/>
          </a:p>
        </p:txBody>
      </p:sp>
      <p:sp>
        <p:nvSpPr>
          <p:cNvPr id="33" name="object 33"/>
          <p:cNvSpPr/>
          <p:nvPr/>
        </p:nvSpPr>
        <p:spPr>
          <a:xfrm>
            <a:off x="9293352" y="3662171"/>
            <a:ext cx="283845" cy="200025"/>
          </a:xfrm>
          <a:custGeom>
            <a:avLst/>
            <a:gdLst/>
            <a:ahLst/>
            <a:cxnLst/>
            <a:rect l="l" t="t" r="r" b="b"/>
            <a:pathLst>
              <a:path w="283845" h="200025">
                <a:moveTo>
                  <a:pt x="12573" y="59562"/>
                </a:moveTo>
                <a:lnTo>
                  <a:pt x="5461" y="62610"/>
                </a:lnTo>
                <a:lnTo>
                  <a:pt x="2667" y="68833"/>
                </a:lnTo>
                <a:lnTo>
                  <a:pt x="0" y="75310"/>
                </a:lnTo>
                <a:lnTo>
                  <a:pt x="2667" y="82550"/>
                </a:lnTo>
                <a:lnTo>
                  <a:pt x="9144" y="85216"/>
                </a:lnTo>
                <a:lnTo>
                  <a:pt x="270637" y="199644"/>
                </a:lnTo>
                <a:lnTo>
                  <a:pt x="283464" y="177926"/>
                </a:lnTo>
                <a:lnTo>
                  <a:pt x="234442" y="156463"/>
                </a:lnTo>
                <a:lnTo>
                  <a:pt x="233340" y="148341"/>
                </a:lnTo>
                <a:lnTo>
                  <a:pt x="232512" y="142620"/>
                </a:lnTo>
                <a:lnTo>
                  <a:pt x="202565" y="142620"/>
                </a:lnTo>
                <a:lnTo>
                  <a:pt x="150749" y="119887"/>
                </a:lnTo>
                <a:lnTo>
                  <a:pt x="171003" y="90677"/>
                </a:lnTo>
                <a:lnTo>
                  <a:pt x="83947" y="90677"/>
                </a:lnTo>
                <a:lnTo>
                  <a:pt x="56006" y="78485"/>
                </a:lnTo>
                <a:lnTo>
                  <a:pt x="63033" y="66547"/>
                </a:lnTo>
                <a:lnTo>
                  <a:pt x="28448" y="66547"/>
                </a:lnTo>
                <a:lnTo>
                  <a:pt x="18796" y="62356"/>
                </a:lnTo>
                <a:lnTo>
                  <a:pt x="12573" y="59562"/>
                </a:lnTo>
                <a:close/>
              </a:path>
              <a:path w="283845" h="200025">
                <a:moveTo>
                  <a:pt x="218493" y="66039"/>
                </a:moveTo>
                <a:lnTo>
                  <a:pt x="188087" y="66039"/>
                </a:lnTo>
                <a:lnTo>
                  <a:pt x="190057" y="74229"/>
                </a:lnTo>
                <a:lnTo>
                  <a:pt x="192182" y="83835"/>
                </a:lnTo>
                <a:lnTo>
                  <a:pt x="194730" y="96347"/>
                </a:lnTo>
                <a:lnTo>
                  <a:pt x="197612" y="111632"/>
                </a:lnTo>
                <a:lnTo>
                  <a:pt x="198868" y="119975"/>
                </a:lnTo>
                <a:lnTo>
                  <a:pt x="200136" y="127984"/>
                </a:lnTo>
                <a:lnTo>
                  <a:pt x="201380" y="135564"/>
                </a:lnTo>
                <a:lnTo>
                  <a:pt x="202565" y="142620"/>
                </a:lnTo>
                <a:lnTo>
                  <a:pt x="232512" y="142620"/>
                </a:lnTo>
                <a:lnTo>
                  <a:pt x="231632" y="136540"/>
                </a:lnTo>
                <a:lnTo>
                  <a:pt x="229423" y="122191"/>
                </a:lnTo>
                <a:lnTo>
                  <a:pt x="226822" y="106425"/>
                </a:lnTo>
                <a:lnTo>
                  <a:pt x="220521" y="74229"/>
                </a:lnTo>
                <a:lnTo>
                  <a:pt x="218493" y="66039"/>
                </a:lnTo>
                <a:close/>
              </a:path>
              <a:path w="283845" h="200025">
                <a:moveTo>
                  <a:pt x="203734" y="30352"/>
                </a:moveTo>
                <a:lnTo>
                  <a:pt x="124714" y="30352"/>
                </a:lnTo>
                <a:lnTo>
                  <a:pt x="109922" y="52208"/>
                </a:lnTo>
                <a:lnTo>
                  <a:pt x="92799" y="77626"/>
                </a:lnTo>
                <a:lnTo>
                  <a:pt x="83947" y="90677"/>
                </a:lnTo>
                <a:lnTo>
                  <a:pt x="171003" y="90677"/>
                </a:lnTo>
                <a:lnTo>
                  <a:pt x="188087" y="66039"/>
                </a:lnTo>
                <a:lnTo>
                  <a:pt x="218493" y="66039"/>
                </a:lnTo>
                <a:lnTo>
                  <a:pt x="215376" y="53451"/>
                </a:lnTo>
                <a:lnTo>
                  <a:pt x="211159" y="41221"/>
                </a:lnTo>
                <a:lnTo>
                  <a:pt x="207645" y="34670"/>
                </a:lnTo>
                <a:lnTo>
                  <a:pt x="203734" y="30352"/>
                </a:lnTo>
                <a:close/>
              </a:path>
              <a:path w="283845" h="200025">
                <a:moveTo>
                  <a:pt x="133984" y="0"/>
                </a:moveTo>
                <a:lnTo>
                  <a:pt x="132206" y="0"/>
                </a:lnTo>
                <a:lnTo>
                  <a:pt x="121310" y="702"/>
                </a:lnTo>
                <a:lnTo>
                  <a:pt x="68072" y="12953"/>
                </a:lnTo>
                <a:lnTo>
                  <a:pt x="36764" y="52208"/>
                </a:lnTo>
                <a:lnTo>
                  <a:pt x="28448" y="66547"/>
                </a:lnTo>
                <a:lnTo>
                  <a:pt x="63033" y="66547"/>
                </a:lnTo>
                <a:lnTo>
                  <a:pt x="64333" y="64339"/>
                </a:lnTo>
                <a:lnTo>
                  <a:pt x="72231" y="52181"/>
                </a:lnTo>
                <a:lnTo>
                  <a:pt x="111928" y="31763"/>
                </a:lnTo>
                <a:lnTo>
                  <a:pt x="124714" y="30352"/>
                </a:lnTo>
                <a:lnTo>
                  <a:pt x="203734" y="30352"/>
                </a:lnTo>
                <a:lnTo>
                  <a:pt x="194635" y="20306"/>
                </a:lnTo>
                <a:lnTo>
                  <a:pt x="177196" y="9382"/>
                </a:lnTo>
                <a:lnTo>
                  <a:pt x="156567" y="2434"/>
                </a:lnTo>
                <a:lnTo>
                  <a:pt x="133984" y="0"/>
                </a:lnTo>
                <a:close/>
              </a:path>
            </a:pathLst>
          </a:custGeom>
          <a:solidFill>
            <a:srgbClr val="7D39B9"/>
          </a:solidFill>
        </p:spPr>
        <p:txBody>
          <a:bodyPr wrap="square" lIns="0" tIns="0" rIns="0" bIns="0" rtlCol="0"/>
          <a:lstStyle/>
          <a:p>
            <a:endParaRPr/>
          </a:p>
        </p:txBody>
      </p:sp>
      <p:sp>
        <p:nvSpPr>
          <p:cNvPr id="34" name="object 34"/>
          <p:cNvSpPr/>
          <p:nvPr/>
        </p:nvSpPr>
        <p:spPr>
          <a:xfrm>
            <a:off x="9492995" y="3820921"/>
            <a:ext cx="252983" cy="156717"/>
          </a:xfrm>
          <a:prstGeom prst="rect">
            <a:avLst/>
          </a:prstGeom>
          <a:blipFill>
            <a:blip r:embed="rId14" cstate="print"/>
            <a:stretch>
              <a:fillRect/>
            </a:stretch>
          </a:blipFill>
        </p:spPr>
        <p:txBody>
          <a:bodyPr wrap="square" lIns="0" tIns="0" rIns="0" bIns="0" rtlCol="0"/>
          <a:lstStyle/>
          <a:p>
            <a:endParaRPr/>
          </a:p>
        </p:txBody>
      </p:sp>
      <p:sp>
        <p:nvSpPr>
          <p:cNvPr id="35" name="object 35"/>
          <p:cNvSpPr/>
          <p:nvPr/>
        </p:nvSpPr>
        <p:spPr>
          <a:xfrm>
            <a:off x="9167780" y="4239004"/>
            <a:ext cx="678815" cy="641985"/>
          </a:xfrm>
          <a:custGeom>
            <a:avLst/>
            <a:gdLst/>
            <a:ahLst/>
            <a:cxnLst/>
            <a:rect l="l" t="t" r="r" b="b"/>
            <a:pathLst>
              <a:path w="678815" h="641985">
                <a:moveTo>
                  <a:pt x="323641" y="0"/>
                </a:moveTo>
                <a:lnTo>
                  <a:pt x="275888" y="6036"/>
                </a:lnTo>
                <a:lnTo>
                  <a:pt x="228901" y="18541"/>
                </a:lnTo>
                <a:lnTo>
                  <a:pt x="183417" y="37619"/>
                </a:lnTo>
                <a:lnTo>
                  <a:pt x="140176" y="63374"/>
                </a:lnTo>
                <a:lnTo>
                  <a:pt x="101331" y="94862"/>
                </a:lnTo>
                <a:lnTo>
                  <a:pt x="68558" y="130575"/>
                </a:lnTo>
                <a:lnTo>
                  <a:pt x="41977" y="169777"/>
                </a:lnTo>
                <a:lnTo>
                  <a:pt x="21710" y="211731"/>
                </a:lnTo>
                <a:lnTo>
                  <a:pt x="7878" y="255701"/>
                </a:lnTo>
                <a:lnTo>
                  <a:pt x="601" y="300948"/>
                </a:lnTo>
                <a:lnTo>
                  <a:pt x="0" y="346738"/>
                </a:lnTo>
                <a:lnTo>
                  <a:pt x="6195" y="392332"/>
                </a:lnTo>
                <a:lnTo>
                  <a:pt x="19308" y="436994"/>
                </a:lnTo>
                <a:lnTo>
                  <a:pt x="39459" y="479987"/>
                </a:lnTo>
                <a:lnTo>
                  <a:pt x="66770" y="520574"/>
                </a:lnTo>
                <a:lnTo>
                  <a:pt x="98932" y="557238"/>
                </a:lnTo>
                <a:lnTo>
                  <a:pt x="134949" y="587209"/>
                </a:lnTo>
                <a:lnTo>
                  <a:pt x="174202" y="610577"/>
                </a:lnTo>
                <a:lnTo>
                  <a:pt x="216075" y="627432"/>
                </a:lnTo>
                <a:lnTo>
                  <a:pt x="259951" y="637865"/>
                </a:lnTo>
                <a:lnTo>
                  <a:pt x="305213" y="641964"/>
                </a:lnTo>
                <a:lnTo>
                  <a:pt x="351242" y="639821"/>
                </a:lnTo>
                <a:lnTo>
                  <a:pt x="397423" y="631524"/>
                </a:lnTo>
                <a:lnTo>
                  <a:pt x="443138" y="617163"/>
                </a:lnTo>
                <a:lnTo>
                  <a:pt x="487769" y="596830"/>
                </a:lnTo>
                <a:lnTo>
                  <a:pt x="530701" y="570612"/>
                </a:lnTo>
                <a:lnTo>
                  <a:pt x="569782" y="539589"/>
                </a:lnTo>
                <a:lnTo>
                  <a:pt x="603213" y="505140"/>
                </a:lnTo>
                <a:lnTo>
                  <a:pt x="630798" y="467803"/>
                </a:lnTo>
                <a:lnTo>
                  <a:pt x="652340" y="428121"/>
                </a:lnTo>
                <a:lnTo>
                  <a:pt x="667643" y="386633"/>
                </a:lnTo>
                <a:lnTo>
                  <a:pt x="676510" y="343879"/>
                </a:lnTo>
                <a:lnTo>
                  <a:pt x="678746" y="300401"/>
                </a:lnTo>
                <a:lnTo>
                  <a:pt x="674153" y="256739"/>
                </a:lnTo>
                <a:lnTo>
                  <a:pt x="662536" y="213432"/>
                </a:lnTo>
                <a:lnTo>
                  <a:pt x="643697" y="171022"/>
                </a:lnTo>
                <a:lnTo>
                  <a:pt x="617442" y="130049"/>
                </a:lnTo>
                <a:lnTo>
                  <a:pt x="584969" y="93743"/>
                </a:lnTo>
                <a:lnTo>
                  <a:pt x="548100" y="63171"/>
                </a:lnTo>
                <a:lnTo>
                  <a:pt x="507575" y="38438"/>
                </a:lnTo>
                <a:lnTo>
                  <a:pt x="464128" y="19650"/>
                </a:lnTo>
                <a:lnTo>
                  <a:pt x="418499" y="6911"/>
                </a:lnTo>
                <a:lnTo>
                  <a:pt x="371424" y="326"/>
                </a:lnTo>
                <a:lnTo>
                  <a:pt x="323641" y="0"/>
                </a:lnTo>
                <a:close/>
              </a:path>
            </a:pathLst>
          </a:custGeom>
          <a:solidFill>
            <a:srgbClr val="0075B0"/>
          </a:solidFill>
        </p:spPr>
        <p:txBody>
          <a:bodyPr wrap="square" lIns="0" tIns="0" rIns="0" bIns="0" rtlCol="0"/>
          <a:lstStyle/>
          <a:p>
            <a:endParaRPr/>
          </a:p>
        </p:txBody>
      </p:sp>
      <p:sp>
        <p:nvSpPr>
          <p:cNvPr id="36" name="object 36"/>
          <p:cNvSpPr/>
          <p:nvPr/>
        </p:nvSpPr>
        <p:spPr>
          <a:xfrm>
            <a:off x="9348216" y="4386071"/>
            <a:ext cx="316991" cy="336803"/>
          </a:xfrm>
          <a:prstGeom prst="rect">
            <a:avLst/>
          </a:prstGeom>
          <a:blipFill>
            <a:blip r:embed="rId15" cstate="print"/>
            <a:stretch>
              <a:fillRect/>
            </a:stretch>
          </a:blipFill>
        </p:spPr>
        <p:txBody>
          <a:bodyPr wrap="square" lIns="0" tIns="0" rIns="0" bIns="0" rtlCol="0"/>
          <a:lstStyle/>
          <a:p>
            <a:endParaRPr/>
          </a:p>
        </p:txBody>
      </p:sp>
      <p:sp>
        <p:nvSpPr>
          <p:cNvPr id="37" name="object 3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8" name="object 38"/>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8</a:t>
            </a:fld>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8602980" cy="422275"/>
          </a:xfrm>
          <a:prstGeom prst="rect">
            <a:avLst/>
          </a:prstGeom>
        </p:spPr>
        <p:txBody>
          <a:bodyPr vert="horz" wrap="square" lIns="0" tIns="12700" rIns="0" bIns="0" rtlCol="0">
            <a:spAutoFit/>
          </a:bodyPr>
          <a:lstStyle/>
          <a:p>
            <a:pPr marL="12700">
              <a:lnSpc>
                <a:spcPct val="100000"/>
              </a:lnSpc>
              <a:spcBef>
                <a:spcPts val="100"/>
              </a:spcBef>
            </a:pPr>
            <a:r>
              <a:rPr sz="2600" spc="-5"/>
              <a:t>And </a:t>
            </a:r>
            <a:r>
              <a:rPr sz="2600"/>
              <a:t>Use </a:t>
            </a:r>
            <a:r>
              <a:rPr sz="2600" spc="-5"/>
              <a:t>that to Create </a:t>
            </a:r>
            <a:r>
              <a:rPr sz="2600"/>
              <a:t>an </a:t>
            </a:r>
            <a:r>
              <a:rPr sz="2600" spc="-5"/>
              <a:t>End </a:t>
            </a:r>
            <a:r>
              <a:rPr sz="2600" spc="5"/>
              <a:t>to </a:t>
            </a:r>
            <a:r>
              <a:rPr sz="2600" spc="-5"/>
              <a:t>End </a:t>
            </a:r>
            <a:r>
              <a:rPr sz="2600" spc="-70"/>
              <a:t>Test</a:t>
            </a:r>
            <a:r>
              <a:rPr sz="2600" spc="-45"/>
              <a:t> </a:t>
            </a:r>
            <a:r>
              <a:rPr sz="2600" spc="-5"/>
              <a:t>Strategy</a:t>
            </a:r>
            <a:endParaRPr sz="2600"/>
          </a:p>
        </p:txBody>
      </p:sp>
      <p:sp>
        <p:nvSpPr>
          <p:cNvPr id="3" name="object 3"/>
          <p:cNvSpPr/>
          <p:nvPr/>
        </p:nvSpPr>
        <p:spPr>
          <a:xfrm>
            <a:off x="2257044" y="3456940"/>
            <a:ext cx="489584" cy="415925"/>
          </a:xfrm>
          <a:custGeom>
            <a:avLst/>
            <a:gdLst/>
            <a:ahLst/>
            <a:cxnLst/>
            <a:rect l="l" t="t" r="r" b="b"/>
            <a:pathLst>
              <a:path w="489585" h="415925">
                <a:moveTo>
                  <a:pt x="99060" y="0"/>
                </a:moveTo>
                <a:lnTo>
                  <a:pt x="0" y="150368"/>
                </a:lnTo>
                <a:lnTo>
                  <a:pt x="289179" y="340868"/>
                </a:lnTo>
                <a:lnTo>
                  <a:pt x="239649" y="415925"/>
                </a:lnTo>
                <a:lnTo>
                  <a:pt x="489076" y="364617"/>
                </a:lnTo>
                <a:lnTo>
                  <a:pt x="453242" y="190500"/>
                </a:lnTo>
                <a:lnTo>
                  <a:pt x="388238" y="190500"/>
                </a:lnTo>
                <a:lnTo>
                  <a:pt x="99060" y="0"/>
                </a:lnTo>
                <a:close/>
              </a:path>
              <a:path w="489585" h="415925">
                <a:moveTo>
                  <a:pt x="437769" y="115315"/>
                </a:moveTo>
                <a:lnTo>
                  <a:pt x="388238" y="190500"/>
                </a:lnTo>
                <a:lnTo>
                  <a:pt x="453242" y="190500"/>
                </a:lnTo>
                <a:lnTo>
                  <a:pt x="437769" y="115315"/>
                </a:lnTo>
                <a:close/>
              </a:path>
            </a:pathLst>
          </a:custGeom>
          <a:solidFill>
            <a:srgbClr val="B0B0B0"/>
          </a:solidFill>
        </p:spPr>
        <p:txBody>
          <a:bodyPr wrap="square" lIns="0" tIns="0" rIns="0" bIns="0" rtlCol="0"/>
          <a:lstStyle/>
          <a:p>
            <a:endParaRPr/>
          </a:p>
        </p:txBody>
      </p:sp>
      <p:sp>
        <p:nvSpPr>
          <p:cNvPr id="4" name="object 4"/>
          <p:cNvSpPr/>
          <p:nvPr/>
        </p:nvSpPr>
        <p:spPr>
          <a:xfrm>
            <a:off x="3910838" y="3435096"/>
            <a:ext cx="495934" cy="411480"/>
          </a:xfrm>
          <a:custGeom>
            <a:avLst/>
            <a:gdLst/>
            <a:ahLst/>
            <a:cxnLst/>
            <a:rect l="l" t="t" r="r" b="b"/>
            <a:pathLst>
              <a:path w="495935" h="411479">
                <a:moveTo>
                  <a:pt x="248031" y="0"/>
                </a:moveTo>
                <a:lnTo>
                  <a:pt x="295148" y="76707"/>
                </a:lnTo>
                <a:lnTo>
                  <a:pt x="0" y="257682"/>
                </a:lnTo>
                <a:lnTo>
                  <a:pt x="94107" y="411098"/>
                </a:lnTo>
                <a:lnTo>
                  <a:pt x="389254" y="230123"/>
                </a:lnTo>
                <a:lnTo>
                  <a:pt x="454664" y="230123"/>
                </a:lnTo>
                <a:lnTo>
                  <a:pt x="495681" y="59308"/>
                </a:lnTo>
                <a:lnTo>
                  <a:pt x="248031" y="0"/>
                </a:lnTo>
                <a:close/>
              </a:path>
              <a:path w="495935" h="411479">
                <a:moveTo>
                  <a:pt x="454664" y="230123"/>
                </a:moveTo>
                <a:lnTo>
                  <a:pt x="389254" y="230123"/>
                </a:lnTo>
                <a:lnTo>
                  <a:pt x="436245" y="306831"/>
                </a:lnTo>
                <a:lnTo>
                  <a:pt x="454664" y="230123"/>
                </a:lnTo>
                <a:close/>
              </a:path>
            </a:pathLst>
          </a:custGeom>
          <a:solidFill>
            <a:srgbClr val="B0B0B0"/>
          </a:solidFill>
        </p:spPr>
        <p:txBody>
          <a:bodyPr wrap="square" lIns="0" tIns="0" rIns="0" bIns="0" rtlCol="0"/>
          <a:lstStyle/>
          <a:p>
            <a:endParaRPr/>
          </a:p>
        </p:txBody>
      </p:sp>
      <p:sp>
        <p:nvSpPr>
          <p:cNvPr id="5" name="object 5"/>
          <p:cNvSpPr txBox="1"/>
          <p:nvPr/>
        </p:nvSpPr>
        <p:spPr>
          <a:xfrm>
            <a:off x="306120" y="3474465"/>
            <a:ext cx="1409065" cy="1505585"/>
          </a:xfrm>
          <a:prstGeom prst="rect">
            <a:avLst/>
          </a:prstGeom>
        </p:spPr>
        <p:txBody>
          <a:bodyPr vert="horz" wrap="square" lIns="0" tIns="13335" rIns="0" bIns="0" rtlCol="0">
            <a:spAutoFit/>
          </a:bodyPr>
          <a:lstStyle/>
          <a:p>
            <a:pPr marL="12700" marR="5080">
              <a:lnSpc>
                <a:spcPct val="100000"/>
              </a:lnSpc>
              <a:spcBef>
                <a:spcPts val="105"/>
              </a:spcBef>
            </a:pPr>
            <a:r>
              <a:rPr sz="1050">
                <a:latin typeface="Verdana"/>
                <a:cs typeface="Verdana"/>
              </a:rPr>
              <a:t>Product </a:t>
            </a:r>
            <a:r>
              <a:rPr sz="1050" spc="-5">
                <a:latin typeface="Verdana"/>
                <a:cs typeface="Verdana"/>
              </a:rPr>
              <a:t>risk</a:t>
            </a:r>
            <a:r>
              <a:rPr sz="1050" spc="-85">
                <a:latin typeface="Verdana"/>
                <a:cs typeface="Verdana"/>
              </a:rPr>
              <a:t> </a:t>
            </a:r>
            <a:r>
              <a:rPr sz="1050">
                <a:latin typeface="Verdana"/>
                <a:cs typeface="Verdana"/>
              </a:rPr>
              <a:t>analysis  </a:t>
            </a:r>
            <a:r>
              <a:rPr sz="1050" spc="-5">
                <a:latin typeface="Verdana"/>
                <a:cs typeface="Verdana"/>
              </a:rPr>
              <a:t>(PRA)</a:t>
            </a:r>
            <a:r>
              <a:rPr sz="1050" spc="-40">
                <a:latin typeface="Verdana"/>
                <a:cs typeface="Verdana"/>
              </a:rPr>
              <a:t> </a:t>
            </a:r>
            <a:r>
              <a:rPr sz="1050">
                <a:latin typeface="Verdana"/>
                <a:cs typeface="Verdana"/>
              </a:rPr>
              <a:t>workshop:</a:t>
            </a:r>
          </a:p>
          <a:p>
            <a:pPr marL="194945" marR="6350" indent="-182880">
              <a:lnSpc>
                <a:spcPct val="100000"/>
              </a:lnSpc>
              <a:spcBef>
                <a:spcPts val="95"/>
              </a:spcBef>
              <a:buClr>
                <a:srgbClr val="006FAC"/>
              </a:buClr>
              <a:buFont typeface="Wingdings"/>
              <a:buChar char=""/>
              <a:tabLst>
                <a:tab pos="195580" algn="l"/>
              </a:tabLst>
            </a:pPr>
            <a:r>
              <a:rPr sz="1050">
                <a:latin typeface="Verdana"/>
                <a:cs typeface="Verdana"/>
              </a:rPr>
              <a:t>Integrated </a:t>
            </a:r>
            <a:r>
              <a:rPr sz="1050" spc="-5">
                <a:latin typeface="Verdana"/>
                <a:cs typeface="Verdana"/>
              </a:rPr>
              <a:t>part</a:t>
            </a:r>
            <a:r>
              <a:rPr sz="1050" spc="-120">
                <a:latin typeface="Verdana"/>
                <a:cs typeface="Verdana"/>
              </a:rPr>
              <a:t> </a:t>
            </a:r>
            <a:r>
              <a:rPr sz="1050" spc="-5">
                <a:latin typeface="Verdana"/>
                <a:cs typeface="Verdana"/>
              </a:rPr>
              <a:t>of  </a:t>
            </a:r>
            <a:r>
              <a:rPr sz="1050">
                <a:latin typeface="Verdana"/>
                <a:cs typeface="Verdana"/>
              </a:rPr>
              <a:t>the Preparation  phase</a:t>
            </a:r>
          </a:p>
          <a:p>
            <a:pPr marL="194945" marR="22860" indent="-182880">
              <a:lnSpc>
                <a:spcPct val="100000"/>
              </a:lnSpc>
              <a:spcBef>
                <a:spcPts val="110"/>
              </a:spcBef>
              <a:buClr>
                <a:srgbClr val="006FAC"/>
              </a:buClr>
              <a:buFont typeface="Wingdings"/>
              <a:buChar char=""/>
              <a:tabLst>
                <a:tab pos="195580" algn="l"/>
              </a:tabLst>
            </a:pPr>
            <a:r>
              <a:rPr sz="1050" spc="-5">
                <a:latin typeface="Verdana"/>
                <a:cs typeface="Verdana"/>
              </a:rPr>
              <a:t>Foundation </a:t>
            </a:r>
            <a:r>
              <a:rPr sz="1050">
                <a:latin typeface="Verdana"/>
                <a:cs typeface="Verdana"/>
              </a:rPr>
              <a:t>of</a:t>
            </a:r>
            <a:r>
              <a:rPr sz="1050" spc="-75">
                <a:latin typeface="Verdana"/>
                <a:cs typeface="Verdana"/>
              </a:rPr>
              <a:t> </a:t>
            </a:r>
            <a:r>
              <a:rPr sz="1050">
                <a:latin typeface="Verdana"/>
                <a:cs typeface="Verdana"/>
              </a:rPr>
              <a:t>the  test</a:t>
            </a:r>
            <a:r>
              <a:rPr sz="1050" spc="-20">
                <a:latin typeface="Verdana"/>
                <a:cs typeface="Verdana"/>
              </a:rPr>
              <a:t> </a:t>
            </a:r>
            <a:r>
              <a:rPr sz="1050">
                <a:latin typeface="Verdana"/>
                <a:cs typeface="Verdana"/>
              </a:rPr>
              <a:t>strategy.</a:t>
            </a:r>
          </a:p>
          <a:p>
            <a:pPr marL="194945" marR="148590" indent="-182880">
              <a:lnSpc>
                <a:spcPct val="100000"/>
              </a:lnSpc>
              <a:spcBef>
                <a:spcPts val="95"/>
              </a:spcBef>
              <a:buClr>
                <a:srgbClr val="006FAC"/>
              </a:buClr>
              <a:buFont typeface="Wingdings"/>
              <a:buChar char=""/>
              <a:tabLst>
                <a:tab pos="195580" algn="l"/>
              </a:tabLst>
            </a:pPr>
            <a:r>
              <a:rPr sz="1050" spc="-5">
                <a:latin typeface="Verdana"/>
                <a:cs typeface="Verdana"/>
              </a:rPr>
              <a:t>Initial </a:t>
            </a:r>
            <a:r>
              <a:rPr sz="1050">
                <a:latin typeface="Verdana"/>
                <a:cs typeface="Verdana"/>
              </a:rPr>
              <a:t>PRA </a:t>
            </a:r>
            <a:r>
              <a:rPr sz="1050" spc="-5">
                <a:latin typeface="Verdana"/>
                <a:cs typeface="Verdana"/>
              </a:rPr>
              <a:t>is</a:t>
            </a:r>
            <a:r>
              <a:rPr sz="1050" spc="-100">
                <a:latin typeface="Verdana"/>
                <a:cs typeface="Verdana"/>
              </a:rPr>
              <a:t> </a:t>
            </a:r>
            <a:r>
              <a:rPr sz="1050">
                <a:latin typeface="Verdana"/>
                <a:cs typeface="Verdana"/>
              </a:rPr>
              <a:t>on  EPIC</a:t>
            </a:r>
            <a:r>
              <a:rPr sz="1050" spc="-30">
                <a:latin typeface="Verdana"/>
                <a:cs typeface="Verdana"/>
              </a:rPr>
              <a:t> </a:t>
            </a:r>
            <a:r>
              <a:rPr sz="1050" spc="-5">
                <a:latin typeface="Verdana"/>
                <a:cs typeface="Verdana"/>
              </a:rPr>
              <a:t>level</a:t>
            </a:r>
            <a:endParaRPr sz="1050">
              <a:latin typeface="Verdana"/>
              <a:cs typeface="Verdana"/>
            </a:endParaRPr>
          </a:p>
        </p:txBody>
      </p:sp>
      <p:sp>
        <p:nvSpPr>
          <p:cNvPr id="6" name="object 6"/>
          <p:cNvSpPr txBox="1"/>
          <p:nvPr/>
        </p:nvSpPr>
        <p:spPr>
          <a:xfrm>
            <a:off x="4830571" y="4050919"/>
            <a:ext cx="2075814" cy="186690"/>
          </a:xfrm>
          <a:prstGeom prst="rect">
            <a:avLst/>
          </a:prstGeom>
        </p:spPr>
        <p:txBody>
          <a:bodyPr vert="horz" wrap="square" lIns="0" tIns="13335" rIns="0" bIns="0" rtlCol="0">
            <a:spAutoFit/>
          </a:bodyPr>
          <a:lstStyle/>
          <a:p>
            <a:pPr marL="12700">
              <a:lnSpc>
                <a:spcPct val="100000"/>
              </a:lnSpc>
              <a:spcBef>
                <a:spcPts val="105"/>
              </a:spcBef>
            </a:pPr>
            <a:r>
              <a:rPr sz="1050">
                <a:latin typeface="Verdana"/>
                <a:cs typeface="Verdana"/>
              </a:rPr>
              <a:t>Overall </a:t>
            </a:r>
            <a:r>
              <a:rPr sz="1050" spc="-5">
                <a:latin typeface="Verdana"/>
                <a:cs typeface="Verdana"/>
              </a:rPr>
              <a:t>Test </a:t>
            </a:r>
            <a:r>
              <a:rPr sz="1050">
                <a:latin typeface="Verdana"/>
                <a:cs typeface="Verdana"/>
              </a:rPr>
              <a:t>Strategy</a:t>
            </a:r>
            <a:r>
              <a:rPr sz="1050" spc="-70">
                <a:latin typeface="Verdana"/>
                <a:cs typeface="Verdana"/>
              </a:rPr>
              <a:t> </a:t>
            </a:r>
            <a:r>
              <a:rPr sz="1050">
                <a:latin typeface="Verdana"/>
                <a:cs typeface="Verdana"/>
              </a:rPr>
              <a:t>Defined:</a:t>
            </a:r>
          </a:p>
        </p:txBody>
      </p:sp>
      <p:sp>
        <p:nvSpPr>
          <p:cNvPr id="7" name="object 7"/>
          <p:cNvSpPr txBox="1"/>
          <p:nvPr/>
        </p:nvSpPr>
        <p:spPr>
          <a:xfrm>
            <a:off x="4830571" y="4222825"/>
            <a:ext cx="2238375" cy="2145665"/>
          </a:xfrm>
          <a:prstGeom prst="rect">
            <a:avLst/>
          </a:prstGeom>
        </p:spPr>
        <p:txBody>
          <a:bodyPr vert="horz" wrap="square" lIns="0" tIns="13335" rIns="0" bIns="0" rtlCol="0">
            <a:spAutoFit/>
          </a:bodyPr>
          <a:lstStyle/>
          <a:p>
            <a:pPr marL="195580" indent="-182880">
              <a:lnSpc>
                <a:spcPct val="100000"/>
              </a:lnSpc>
              <a:spcBef>
                <a:spcPts val="105"/>
              </a:spcBef>
              <a:buClr>
                <a:srgbClr val="006FAC"/>
              </a:buClr>
              <a:buFont typeface="Wingdings"/>
              <a:buChar char=""/>
              <a:tabLst>
                <a:tab pos="195580" algn="l"/>
              </a:tabLst>
            </a:pPr>
            <a:r>
              <a:rPr sz="1050">
                <a:latin typeface="Verdana"/>
                <a:cs typeface="Verdana"/>
              </a:rPr>
              <a:t>Identification </a:t>
            </a:r>
            <a:r>
              <a:rPr sz="1050" spc="-5">
                <a:latin typeface="Verdana"/>
                <a:cs typeface="Verdana"/>
              </a:rPr>
              <a:t>of </a:t>
            </a:r>
            <a:r>
              <a:rPr sz="1050">
                <a:latin typeface="Verdana"/>
                <a:cs typeface="Verdana"/>
              </a:rPr>
              <a:t>relevant</a:t>
            </a:r>
            <a:r>
              <a:rPr sz="1050" spc="-90">
                <a:latin typeface="Verdana"/>
                <a:cs typeface="Verdana"/>
              </a:rPr>
              <a:t> </a:t>
            </a:r>
            <a:r>
              <a:rPr sz="1050">
                <a:latin typeface="Verdana"/>
                <a:cs typeface="Verdana"/>
              </a:rPr>
              <a:t>test</a:t>
            </a:r>
          </a:p>
          <a:p>
            <a:pPr marL="194945">
              <a:lnSpc>
                <a:spcPct val="100000"/>
              </a:lnSpc>
              <a:spcBef>
                <a:spcPts val="5"/>
              </a:spcBef>
            </a:pPr>
            <a:r>
              <a:rPr sz="1050" spc="-5">
                <a:latin typeface="Verdana"/>
                <a:cs typeface="Verdana"/>
              </a:rPr>
              <a:t>levels</a:t>
            </a:r>
            <a:endParaRPr sz="1050">
              <a:latin typeface="Verdana"/>
              <a:cs typeface="Verdana"/>
            </a:endParaRPr>
          </a:p>
          <a:p>
            <a:pPr marL="194945" marR="185420" indent="-182880">
              <a:lnSpc>
                <a:spcPct val="100000"/>
              </a:lnSpc>
              <a:spcBef>
                <a:spcPts val="105"/>
              </a:spcBef>
              <a:buClr>
                <a:srgbClr val="006FAC"/>
              </a:buClr>
              <a:buFont typeface="Wingdings"/>
              <a:buChar char=""/>
              <a:tabLst>
                <a:tab pos="195580" algn="l"/>
              </a:tabLst>
            </a:pPr>
            <a:r>
              <a:rPr sz="1050" spc="-5">
                <a:latin typeface="Verdana"/>
                <a:cs typeface="Verdana"/>
              </a:rPr>
              <a:t>Identification of </a:t>
            </a:r>
            <a:r>
              <a:rPr sz="1050">
                <a:latin typeface="Verdana"/>
                <a:cs typeface="Verdana"/>
              </a:rPr>
              <a:t>intensity</a:t>
            </a:r>
            <a:r>
              <a:rPr sz="1050" spc="-70">
                <a:latin typeface="Verdana"/>
                <a:cs typeface="Verdana"/>
              </a:rPr>
              <a:t> </a:t>
            </a:r>
            <a:r>
              <a:rPr sz="1050" spc="-5">
                <a:latin typeface="Verdana"/>
                <a:cs typeface="Verdana"/>
              </a:rPr>
              <a:t>of  </a:t>
            </a:r>
            <a:r>
              <a:rPr sz="1050">
                <a:latin typeface="Verdana"/>
                <a:cs typeface="Verdana"/>
              </a:rPr>
              <a:t>test</a:t>
            </a:r>
            <a:r>
              <a:rPr sz="1050" spc="-10">
                <a:latin typeface="Verdana"/>
                <a:cs typeface="Verdana"/>
              </a:rPr>
              <a:t> </a:t>
            </a:r>
            <a:r>
              <a:rPr sz="1050" spc="-5">
                <a:latin typeface="Verdana"/>
                <a:cs typeface="Verdana"/>
              </a:rPr>
              <a:t>on</a:t>
            </a:r>
            <a:endParaRPr sz="1050">
              <a:latin typeface="Verdana"/>
              <a:cs typeface="Verdana"/>
            </a:endParaRPr>
          </a:p>
          <a:p>
            <a:pPr marL="194945">
              <a:lnSpc>
                <a:spcPct val="100000"/>
              </a:lnSpc>
            </a:pPr>
            <a:r>
              <a:rPr sz="1050">
                <a:latin typeface="Verdana"/>
                <a:cs typeface="Verdana"/>
              </a:rPr>
              <a:t>each test</a:t>
            </a:r>
            <a:r>
              <a:rPr sz="1050" spc="-35">
                <a:latin typeface="Verdana"/>
                <a:cs typeface="Verdana"/>
              </a:rPr>
              <a:t> </a:t>
            </a:r>
            <a:r>
              <a:rPr sz="1050" spc="-5">
                <a:latin typeface="Verdana"/>
                <a:cs typeface="Verdana"/>
              </a:rPr>
              <a:t>level</a:t>
            </a:r>
            <a:endParaRPr sz="1050">
              <a:latin typeface="Verdana"/>
              <a:cs typeface="Verdana"/>
            </a:endParaRPr>
          </a:p>
          <a:p>
            <a:pPr marL="194945" marR="182880" indent="-182880">
              <a:lnSpc>
                <a:spcPct val="100000"/>
              </a:lnSpc>
              <a:spcBef>
                <a:spcPts val="100"/>
              </a:spcBef>
              <a:buClr>
                <a:srgbClr val="006FAC"/>
              </a:buClr>
              <a:buFont typeface="Wingdings"/>
              <a:buChar char=""/>
              <a:tabLst>
                <a:tab pos="195580" algn="l"/>
              </a:tabLst>
            </a:pPr>
            <a:r>
              <a:rPr sz="1050">
                <a:latin typeface="Verdana"/>
                <a:cs typeface="Verdana"/>
              </a:rPr>
              <a:t>Focus </a:t>
            </a:r>
            <a:r>
              <a:rPr sz="1050" spc="-5">
                <a:latin typeface="Verdana"/>
                <a:cs typeface="Verdana"/>
              </a:rPr>
              <a:t>on </a:t>
            </a:r>
            <a:r>
              <a:rPr sz="1050">
                <a:latin typeface="Verdana"/>
                <a:cs typeface="Verdana"/>
              </a:rPr>
              <a:t>addressing </a:t>
            </a:r>
            <a:r>
              <a:rPr sz="1050" spc="-5">
                <a:latin typeface="Verdana"/>
                <a:cs typeface="Verdana"/>
              </a:rPr>
              <a:t>risk</a:t>
            </a:r>
            <a:r>
              <a:rPr sz="1050" spc="-114">
                <a:latin typeface="Verdana"/>
                <a:cs typeface="Verdana"/>
              </a:rPr>
              <a:t> </a:t>
            </a:r>
            <a:r>
              <a:rPr sz="1050">
                <a:latin typeface="Verdana"/>
                <a:cs typeface="Verdana"/>
              </a:rPr>
              <a:t>as  early</a:t>
            </a:r>
            <a:r>
              <a:rPr sz="1050" spc="-20">
                <a:latin typeface="Verdana"/>
                <a:cs typeface="Verdana"/>
              </a:rPr>
              <a:t> </a:t>
            </a:r>
            <a:r>
              <a:rPr sz="1050">
                <a:latin typeface="Verdana"/>
                <a:cs typeface="Verdana"/>
              </a:rPr>
              <a:t>as</a:t>
            </a:r>
          </a:p>
          <a:p>
            <a:pPr marL="194945" marR="5080">
              <a:lnSpc>
                <a:spcPct val="100000"/>
              </a:lnSpc>
            </a:pPr>
            <a:r>
              <a:rPr sz="1050">
                <a:latin typeface="Verdana"/>
                <a:cs typeface="Verdana"/>
              </a:rPr>
              <a:t>possible with highest</a:t>
            </a:r>
            <a:r>
              <a:rPr sz="1050" spc="-120">
                <a:latin typeface="Verdana"/>
                <a:cs typeface="Verdana"/>
              </a:rPr>
              <a:t> </a:t>
            </a:r>
            <a:r>
              <a:rPr sz="1050">
                <a:latin typeface="Verdana"/>
                <a:cs typeface="Verdana"/>
              </a:rPr>
              <a:t>intensity  </a:t>
            </a:r>
            <a:r>
              <a:rPr sz="1050" spc="-5">
                <a:latin typeface="Verdana"/>
                <a:cs typeface="Verdana"/>
              </a:rPr>
              <a:t>of</a:t>
            </a:r>
            <a:r>
              <a:rPr sz="1050" spc="10">
                <a:latin typeface="Verdana"/>
                <a:cs typeface="Verdana"/>
              </a:rPr>
              <a:t> </a:t>
            </a:r>
            <a:r>
              <a:rPr sz="1050">
                <a:latin typeface="Verdana"/>
                <a:cs typeface="Verdana"/>
              </a:rPr>
              <a:t>test</a:t>
            </a:r>
          </a:p>
          <a:p>
            <a:pPr marL="195580" indent="-182880">
              <a:lnSpc>
                <a:spcPct val="100000"/>
              </a:lnSpc>
              <a:spcBef>
                <a:spcPts val="95"/>
              </a:spcBef>
              <a:buClr>
                <a:srgbClr val="006FAC"/>
              </a:buClr>
              <a:buFont typeface="Wingdings"/>
              <a:buChar char=""/>
              <a:tabLst>
                <a:tab pos="195580" algn="l"/>
              </a:tabLst>
            </a:pPr>
            <a:r>
              <a:rPr sz="1050">
                <a:latin typeface="Verdana"/>
                <a:cs typeface="Verdana"/>
              </a:rPr>
              <a:t>Dot indication </a:t>
            </a:r>
            <a:r>
              <a:rPr sz="1050" spc="-5">
                <a:latin typeface="Verdana"/>
                <a:cs typeface="Verdana"/>
              </a:rPr>
              <a:t>is</a:t>
            </a:r>
            <a:r>
              <a:rPr sz="1050" spc="-65">
                <a:latin typeface="Verdana"/>
                <a:cs typeface="Verdana"/>
              </a:rPr>
              <a:t> </a:t>
            </a:r>
            <a:r>
              <a:rPr sz="1050">
                <a:latin typeface="Verdana"/>
                <a:cs typeface="Verdana"/>
              </a:rPr>
              <a:t>intensity:</a:t>
            </a:r>
          </a:p>
          <a:p>
            <a:pPr marL="194945">
              <a:lnSpc>
                <a:spcPct val="100000"/>
              </a:lnSpc>
            </a:pPr>
            <a:r>
              <a:rPr sz="1050">
                <a:latin typeface="Verdana"/>
                <a:cs typeface="Verdana"/>
              </a:rPr>
              <a:t>* </a:t>
            </a:r>
            <a:r>
              <a:rPr sz="1050" spc="-5">
                <a:latin typeface="Verdana"/>
                <a:cs typeface="Verdana"/>
              </a:rPr>
              <a:t>low</a:t>
            </a:r>
            <a:r>
              <a:rPr sz="1050" spc="-10">
                <a:latin typeface="Verdana"/>
                <a:cs typeface="Verdana"/>
              </a:rPr>
              <a:t> </a:t>
            </a:r>
            <a:r>
              <a:rPr sz="1050">
                <a:latin typeface="Verdana"/>
                <a:cs typeface="Verdana"/>
              </a:rPr>
              <a:t>intensity</a:t>
            </a:r>
          </a:p>
          <a:p>
            <a:pPr marL="194945">
              <a:lnSpc>
                <a:spcPct val="100000"/>
              </a:lnSpc>
            </a:pPr>
            <a:r>
              <a:rPr sz="1050">
                <a:latin typeface="Verdana"/>
                <a:cs typeface="Verdana"/>
              </a:rPr>
              <a:t>** Medium</a:t>
            </a:r>
            <a:r>
              <a:rPr sz="1050" spc="-40">
                <a:latin typeface="Verdana"/>
                <a:cs typeface="Verdana"/>
              </a:rPr>
              <a:t> </a:t>
            </a:r>
            <a:r>
              <a:rPr sz="1050">
                <a:latin typeface="Verdana"/>
                <a:cs typeface="Verdana"/>
              </a:rPr>
              <a:t>intensity</a:t>
            </a:r>
          </a:p>
          <a:p>
            <a:pPr marL="194945">
              <a:lnSpc>
                <a:spcPct val="100000"/>
              </a:lnSpc>
            </a:pPr>
            <a:r>
              <a:rPr sz="1050">
                <a:latin typeface="Verdana"/>
                <a:cs typeface="Verdana"/>
              </a:rPr>
              <a:t>*** </a:t>
            </a:r>
            <a:r>
              <a:rPr sz="1050" spc="-5">
                <a:latin typeface="Verdana"/>
                <a:cs typeface="Verdana"/>
              </a:rPr>
              <a:t>High</a:t>
            </a:r>
            <a:r>
              <a:rPr sz="1050" spc="-45">
                <a:latin typeface="Verdana"/>
                <a:cs typeface="Verdana"/>
              </a:rPr>
              <a:t> </a:t>
            </a:r>
            <a:r>
              <a:rPr sz="1050">
                <a:latin typeface="Verdana"/>
                <a:cs typeface="Verdana"/>
              </a:rPr>
              <a:t>intensity</a:t>
            </a:r>
          </a:p>
        </p:txBody>
      </p:sp>
      <p:sp>
        <p:nvSpPr>
          <p:cNvPr id="8" name="object 8"/>
          <p:cNvSpPr/>
          <p:nvPr/>
        </p:nvSpPr>
        <p:spPr>
          <a:xfrm>
            <a:off x="239257" y="1830299"/>
            <a:ext cx="3380269" cy="1502747"/>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2232674" y="4061426"/>
            <a:ext cx="2500858" cy="1906575"/>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4608622" y="1815000"/>
            <a:ext cx="2313338" cy="1911243"/>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7339583" y="4258055"/>
            <a:ext cx="4690856" cy="1568184"/>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7050913" y="3638677"/>
            <a:ext cx="732155" cy="657860"/>
          </a:xfrm>
          <a:custGeom>
            <a:avLst/>
            <a:gdLst/>
            <a:ahLst/>
            <a:cxnLst/>
            <a:rect l="l" t="t" r="r" b="b"/>
            <a:pathLst>
              <a:path w="732154" h="657860">
                <a:moveTo>
                  <a:pt x="185419" y="0"/>
                </a:moveTo>
                <a:lnTo>
                  <a:pt x="0" y="281559"/>
                </a:lnTo>
                <a:lnTo>
                  <a:pt x="357631" y="517144"/>
                </a:lnTo>
                <a:lnTo>
                  <a:pt x="264921" y="657860"/>
                </a:lnTo>
                <a:lnTo>
                  <a:pt x="731901" y="561848"/>
                </a:lnTo>
                <a:lnTo>
                  <a:pt x="664731" y="235585"/>
                </a:lnTo>
                <a:lnTo>
                  <a:pt x="543051" y="235585"/>
                </a:lnTo>
                <a:lnTo>
                  <a:pt x="185419" y="0"/>
                </a:lnTo>
                <a:close/>
              </a:path>
              <a:path w="732154" h="657860">
                <a:moveTo>
                  <a:pt x="635761" y="94868"/>
                </a:moveTo>
                <a:lnTo>
                  <a:pt x="543051" y="235585"/>
                </a:lnTo>
                <a:lnTo>
                  <a:pt x="664731" y="235585"/>
                </a:lnTo>
                <a:lnTo>
                  <a:pt x="635761" y="94868"/>
                </a:lnTo>
                <a:close/>
              </a:path>
            </a:pathLst>
          </a:custGeom>
          <a:solidFill>
            <a:srgbClr val="94E616"/>
          </a:solidFill>
        </p:spPr>
        <p:txBody>
          <a:bodyPr wrap="square" lIns="0" tIns="0" rIns="0" bIns="0" rtlCol="0"/>
          <a:lstStyle/>
          <a:p>
            <a:endParaRPr/>
          </a:p>
        </p:txBody>
      </p:sp>
      <p:sp>
        <p:nvSpPr>
          <p:cNvPr id="13" name="object 13"/>
          <p:cNvSpPr/>
          <p:nvPr/>
        </p:nvSpPr>
        <p:spPr>
          <a:xfrm>
            <a:off x="7050913" y="3638677"/>
            <a:ext cx="732155" cy="657860"/>
          </a:xfrm>
          <a:custGeom>
            <a:avLst/>
            <a:gdLst/>
            <a:ahLst/>
            <a:cxnLst/>
            <a:rect l="l" t="t" r="r" b="b"/>
            <a:pathLst>
              <a:path w="732154" h="657860">
                <a:moveTo>
                  <a:pt x="185419" y="0"/>
                </a:moveTo>
                <a:lnTo>
                  <a:pt x="543051" y="235585"/>
                </a:lnTo>
                <a:lnTo>
                  <a:pt x="635761" y="94868"/>
                </a:lnTo>
                <a:lnTo>
                  <a:pt x="731901" y="561848"/>
                </a:lnTo>
                <a:lnTo>
                  <a:pt x="264921" y="657860"/>
                </a:lnTo>
                <a:lnTo>
                  <a:pt x="357631" y="517144"/>
                </a:lnTo>
                <a:lnTo>
                  <a:pt x="0" y="281559"/>
                </a:lnTo>
                <a:lnTo>
                  <a:pt x="185419" y="0"/>
                </a:lnTo>
              </a:path>
            </a:pathLst>
          </a:custGeom>
          <a:ln w="12699">
            <a:solidFill>
              <a:srgbClr val="94E616"/>
            </a:solidFill>
          </a:ln>
        </p:spPr>
        <p:txBody>
          <a:bodyPr wrap="square" lIns="0" tIns="0" rIns="0" bIns="0" rtlCol="0"/>
          <a:lstStyle/>
          <a:p>
            <a:endParaRPr/>
          </a:p>
        </p:txBody>
      </p:sp>
      <p:sp>
        <p:nvSpPr>
          <p:cNvPr id="14" name="object 14"/>
          <p:cNvSpPr txBox="1"/>
          <p:nvPr/>
        </p:nvSpPr>
        <p:spPr>
          <a:xfrm>
            <a:off x="214680" y="1073022"/>
            <a:ext cx="11609070" cy="1785620"/>
          </a:xfrm>
          <a:prstGeom prst="rect">
            <a:avLst/>
          </a:prstGeom>
        </p:spPr>
        <p:txBody>
          <a:bodyPr vert="horz" wrap="square" lIns="0" tIns="71755" rIns="0" bIns="0" rtlCol="0">
            <a:spAutoFit/>
          </a:bodyPr>
          <a:lstStyle/>
          <a:p>
            <a:pPr marL="12700" marR="5080">
              <a:lnSpc>
                <a:spcPts val="1920"/>
              </a:lnSpc>
              <a:spcBef>
                <a:spcPts val="565"/>
              </a:spcBef>
            </a:pPr>
            <a:r>
              <a:rPr sz="2000" spc="-10">
                <a:solidFill>
                  <a:srgbClr val="12ABDB"/>
                </a:solidFill>
                <a:latin typeface="Verdana"/>
                <a:cs typeface="Verdana"/>
              </a:rPr>
              <a:t>Focusing </a:t>
            </a:r>
            <a:r>
              <a:rPr sz="2000">
                <a:solidFill>
                  <a:srgbClr val="12ABDB"/>
                </a:solidFill>
                <a:latin typeface="Verdana"/>
                <a:cs typeface="Verdana"/>
              </a:rPr>
              <a:t>on </a:t>
            </a:r>
            <a:r>
              <a:rPr sz="2000" spc="-5">
                <a:solidFill>
                  <a:srgbClr val="12ABDB"/>
                </a:solidFill>
                <a:latin typeface="Verdana"/>
                <a:cs typeface="Verdana"/>
              </a:rPr>
              <a:t>the high-risk areas regardless if the functionality is </a:t>
            </a:r>
            <a:r>
              <a:rPr sz="2000" spc="-10">
                <a:solidFill>
                  <a:srgbClr val="12ABDB"/>
                </a:solidFill>
                <a:latin typeface="Verdana"/>
                <a:cs typeface="Verdana"/>
              </a:rPr>
              <a:t>delivered </a:t>
            </a:r>
            <a:r>
              <a:rPr sz="2000">
                <a:solidFill>
                  <a:srgbClr val="12ABDB"/>
                </a:solidFill>
                <a:latin typeface="Verdana"/>
                <a:cs typeface="Verdana"/>
              </a:rPr>
              <a:t>via </a:t>
            </a:r>
            <a:r>
              <a:rPr sz="2000" spc="-5">
                <a:solidFill>
                  <a:srgbClr val="12ABDB"/>
                </a:solidFill>
                <a:latin typeface="Verdana"/>
                <a:cs typeface="Verdana"/>
              </a:rPr>
              <a:t>configuration  </a:t>
            </a:r>
            <a:r>
              <a:rPr sz="2000">
                <a:solidFill>
                  <a:srgbClr val="12ABDB"/>
                </a:solidFill>
                <a:latin typeface="Verdana"/>
                <a:cs typeface="Verdana"/>
              </a:rPr>
              <a:t>or</a:t>
            </a:r>
            <a:r>
              <a:rPr sz="2000" spc="-25">
                <a:solidFill>
                  <a:srgbClr val="12ABDB"/>
                </a:solidFill>
                <a:latin typeface="Verdana"/>
                <a:cs typeface="Verdana"/>
              </a:rPr>
              <a:t> </a:t>
            </a:r>
            <a:r>
              <a:rPr sz="2000" spc="-5">
                <a:solidFill>
                  <a:srgbClr val="12ABDB"/>
                </a:solidFill>
                <a:latin typeface="Verdana"/>
                <a:cs typeface="Verdana"/>
              </a:rPr>
              <a:t>customization</a:t>
            </a:r>
            <a:endParaRPr sz="2000">
              <a:latin typeface="Verdana"/>
              <a:cs typeface="Verdana"/>
            </a:endParaRPr>
          </a:p>
          <a:p>
            <a:pPr marL="6853555" marR="367665">
              <a:lnSpc>
                <a:spcPct val="100000"/>
              </a:lnSpc>
              <a:spcBef>
                <a:spcPts val="1685"/>
              </a:spcBef>
            </a:pPr>
            <a:r>
              <a:rPr sz="1050">
                <a:latin typeface="Verdana"/>
                <a:cs typeface="Verdana"/>
              </a:rPr>
              <a:t>Product </a:t>
            </a:r>
            <a:r>
              <a:rPr sz="1050" spc="-5">
                <a:latin typeface="Verdana"/>
                <a:cs typeface="Verdana"/>
              </a:rPr>
              <a:t>risk </a:t>
            </a:r>
            <a:r>
              <a:rPr sz="1050">
                <a:latin typeface="Verdana"/>
                <a:cs typeface="Verdana"/>
              </a:rPr>
              <a:t>analysis during development when EPICs are</a:t>
            </a:r>
            <a:r>
              <a:rPr sz="1050" spc="-170">
                <a:latin typeface="Verdana"/>
                <a:cs typeface="Verdana"/>
              </a:rPr>
              <a:t> </a:t>
            </a:r>
            <a:r>
              <a:rPr sz="1050">
                <a:latin typeface="Verdana"/>
                <a:cs typeface="Verdana"/>
              </a:rPr>
              <a:t>broken  down to</a:t>
            </a:r>
            <a:r>
              <a:rPr sz="1050" spc="-30">
                <a:latin typeface="Verdana"/>
                <a:cs typeface="Verdana"/>
              </a:rPr>
              <a:t> </a:t>
            </a:r>
            <a:r>
              <a:rPr sz="1050" spc="-5">
                <a:latin typeface="Verdana"/>
                <a:cs typeface="Verdana"/>
              </a:rPr>
              <a:t>stories:</a:t>
            </a:r>
            <a:endParaRPr sz="1050">
              <a:latin typeface="Verdana"/>
              <a:cs typeface="Verdana"/>
            </a:endParaRPr>
          </a:p>
          <a:p>
            <a:pPr marL="7036434" indent="-183515">
              <a:lnSpc>
                <a:spcPct val="100000"/>
              </a:lnSpc>
              <a:spcBef>
                <a:spcPts val="100"/>
              </a:spcBef>
              <a:buClr>
                <a:srgbClr val="006FAC"/>
              </a:buClr>
              <a:buFont typeface="Wingdings"/>
              <a:buChar char=""/>
              <a:tabLst>
                <a:tab pos="7037070" algn="l"/>
              </a:tabLst>
            </a:pPr>
            <a:r>
              <a:rPr sz="1050">
                <a:latin typeface="Verdana"/>
                <a:cs typeface="Verdana"/>
              </a:rPr>
              <a:t>Each story has a </a:t>
            </a:r>
            <a:r>
              <a:rPr sz="1050" spc="-5">
                <a:latin typeface="Verdana"/>
                <a:cs typeface="Verdana"/>
              </a:rPr>
              <a:t>risk </a:t>
            </a:r>
            <a:r>
              <a:rPr sz="1050">
                <a:latin typeface="Verdana"/>
                <a:cs typeface="Verdana"/>
              </a:rPr>
              <a:t>class</a:t>
            </a:r>
            <a:r>
              <a:rPr sz="1050" spc="-75">
                <a:latin typeface="Verdana"/>
                <a:cs typeface="Verdana"/>
              </a:rPr>
              <a:t> </a:t>
            </a:r>
            <a:r>
              <a:rPr sz="1050">
                <a:latin typeface="Verdana"/>
                <a:cs typeface="Verdana"/>
              </a:rPr>
              <a:t>allocated</a:t>
            </a:r>
          </a:p>
          <a:p>
            <a:pPr marL="7036434" indent="-183515">
              <a:lnSpc>
                <a:spcPct val="100000"/>
              </a:lnSpc>
              <a:spcBef>
                <a:spcPts val="105"/>
              </a:spcBef>
              <a:buClr>
                <a:srgbClr val="006FAC"/>
              </a:buClr>
              <a:buFont typeface="Wingdings"/>
              <a:buChar char=""/>
              <a:tabLst>
                <a:tab pos="7037070" algn="l"/>
              </a:tabLst>
            </a:pPr>
            <a:r>
              <a:rPr sz="1050" spc="-5">
                <a:latin typeface="Verdana"/>
                <a:cs typeface="Verdana"/>
              </a:rPr>
              <a:t>Identification of </a:t>
            </a:r>
            <a:r>
              <a:rPr sz="1050">
                <a:latin typeface="Verdana"/>
                <a:cs typeface="Verdana"/>
              </a:rPr>
              <a:t>intensity </a:t>
            </a:r>
            <a:r>
              <a:rPr sz="1050" spc="-5">
                <a:latin typeface="Verdana"/>
                <a:cs typeface="Verdana"/>
              </a:rPr>
              <a:t>of </a:t>
            </a:r>
            <a:r>
              <a:rPr sz="1050">
                <a:latin typeface="Verdana"/>
                <a:cs typeface="Verdana"/>
              </a:rPr>
              <a:t>test </a:t>
            </a:r>
            <a:r>
              <a:rPr sz="1050" spc="-5">
                <a:latin typeface="Verdana"/>
                <a:cs typeface="Verdana"/>
              </a:rPr>
              <a:t>on </a:t>
            </a:r>
            <a:r>
              <a:rPr sz="1050">
                <a:latin typeface="Verdana"/>
                <a:cs typeface="Verdana"/>
              </a:rPr>
              <a:t>each</a:t>
            </a:r>
            <a:r>
              <a:rPr sz="1050" spc="-55">
                <a:latin typeface="Verdana"/>
                <a:cs typeface="Verdana"/>
              </a:rPr>
              <a:t> </a:t>
            </a:r>
            <a:r>
              <a:rPr sz="1050" spc="-5">
                <a:latin typeface="Verdana"/>
                <a:cs typeface="Verdana"/>
              </a:rPr>
              <a:t>level</a:t>
            </a:r>
            <a:endParaRPr sz="1050">
              <a:latin typeface="Verdana"/>
              <a:cs typeface="Verdana"/>
            </a:endParaRPr>
          </a:p>
          <a:p>
            <a:pPr marL="7036434" marR="5715" indent="-182880">
              <a:lnSpc>
                <a:spcPct val="100000"/>
              </a:lnSpc>
              <a:spcBef>
                <a:spcPts val="95"/>
              </a:spcBef>
              <a:buClr>
                <a:srgbClr val="006FAC"/>
              </a:buClr>
              <a:buFont typeface="Wingdings"/>
              <a:buChar char=""/>
              <a:tabLst>
                <a:tab pos="7037070" algn="l"/>
              </a:tabLst>
            </a:pPr>
            <a:r>
              <a:rPr sz="1050" spc="-5">
                <a:latin typeface="Verdana"/>
                <a:cs typeface="Verdana"/>
              </a:rPr>
              <a:t>Identification of </a:t>
            </a:r>
            <a:r>
              <a:rPr sz="1050">
                <a:latin typeface="Verdana"/>
                <a:cs typeface="Verdana"/>
              </a:rPr>
              <a:t>relevant test design techniques to address </a:t>
            </a:r>
            <a:r>
              <a:rPr sz="1050" spc="-5">
                <a:latin typeface="Verdana"/>
                <a:cs typeface="Verdana"/>
              </a:rPr>
              <a:t>risk </a:t>
            </a:r>
            <a:r>
              <a:rPr sz="1050">
                <a:latin typeface="Verdana"/>
                <a:cs typeface="Verdana"/>
              </a:rPr>
              <a:t>– to  get sufficient</a:t>
            </a:r>
            <a:r>
              <a:rPr sz="1050" spc="-35">
                <a:latin typeface="Verdana"/>
                <a:cs typeface="Verdana"/>
              </a:rPr>
              <a:t> </a:t>
            </a:r>
            <a:r>
              <a:rPr sz="1050">
                <a:latin typeface="Verdana"/>
                <a:cs typeface="Verdana"/>
              </a:rPr>
              <a:t>coverage</a:t>
            </a:r>
          </a:p>
        </p:txBody>
      </p:sp>
      <p:sp>
        <p:nvSpPr>
          <p:cNvPr id="15" name="object 1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6" name="object 1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79</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79" y="318896"/>
            <a:ext cx="6593027" cy="412934"/>
          </a:xfrm>
          <a:prstGeom prst="rect">
            <a:avLst/>
          </a:prstGeom>
        </p:spPr>
        <p:txBody>
          <a:bodyPr vert="horz" wrap="square" lIns="0" tIns="12700" rIns="0" bIns="0" rtlCol="0">
            <a:spAutoFit/>
          </a:bodyPr>
          <a:lstStyle/>
          <a:p>
            <a:pPr marL="12700">
              <a:lnSpc>
                <a:spcPct val="100000"/>
              </a:lnSpc>
              <a:spcBef>
                <a:spcPts val="100"/>
              </a:spcBef>
            </a:pPr>
            <a:r>
              <a:rPr sz="2600" spc="-5"/>
              <a:t>Summary </a:t>
            </a:r>
            <a:r>
              <a:rPr sz="2600"/>
              <a:t>of </a:t>
            </a:r>
            <a:r>
              <a:rPr sz="2600" spc="-5"/>
              <a:t>the project</a:t>
            </a:r>
            <a:r>
              <a:rPr sz="2600" spc="-65"/>
              <a:t> </a:t>
            </a:r>
            <a:r>
              <a:rPr sz="2600"/>
              <a:t>plan</a:t>
            </a:r>
            <a:r>
              <a:rPr lang="it-IT" sz="2600"/>
              <a:t> (1/2)</a:t>
            </a:r>
            <a:endParaRPr sz="2600"/>
          </a:p>
        </p:txBody>
      </p:sp>
      <p:sp>
        <p:nvSpPr>
          <p:cNvPr id="392" name="object 39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93" name="object 393"/>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8</a:t>
            </a:fld>
            <a:endParaRPr sz="800">
              <a:latin typeface="Verdana"/>
              <a:cs typeface="Verdana"/>
            </a:endParaRPr>
          </a:p>
        </p:txBody>
      </p:sp>
      <p:sp>
        <p:nvSpPr>
          <p:cNvPr id="394" name="Rectangle: Rounded Corners 212">
            <a:extLst>
              <a:ext uri="{FF2B5EF4-FFF2-40B4-BE49-F238E27FC236}">
                <a16:creationId xmlns:a16="http://schemas.microsoft.com/office/drawing/2014/main" id="{297ED502-5AA7-4D7E-AA4B-8F5CBBAE7ED2}"/>
              </a:ext>
            </a:extLst>
          </p:cNvPr>
          <p:cNvSpPr/>
          <p:nvPr/>
        </p:nvSpPr>
        <p:spPr>
          <a:xfrm>
            <a:off x="511702" y="2643834"/>
            <a:ext cx="5417954" cy="279092"/>
          </a:xfrm>
          <a:prstGeom prst="homePlat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5 weeks</a:t>
            </a:r>
          </a:p>
        </p:txBody>
      </p:sp>
      <p:sp>
        <p:nvSpPr>
          <p:cNvPr id="395" name="TextBox 394">
            <a:extLst>
              <a:ext uri="{FF2B5EF4-FFF2-40B4-BE49-F238E27FC236}">
                <a16:creationId xmlns:a16="http://schemas.microsoft.com/office/drawing/2014/main" id="{AADAE74B-4355-4636-B313-D8584BBDB129}"/>
              </a:ext>
            </a:extLst>
          </p:cNvPr>
          <p:cNvSpPr txBox="1"/>
          <p:nvPr/>
        </p:nvSpPr>
        <p:spPr>
          <a:xfrm>
            <a:off x="1362792" y="2455153"/>
            <a:ext cx="4196080" cy="230832"/>
          </a:xfrm>
          <a:prstGeom prst="rect">
            <a:avLst/>
          </a:prstGeom>
          <a:noFill/>
        </p:spPr>
        <p:txBody>
          <a:bodyPr wrap="square" rtlCol="0">
            <a:spAutoFit/>
          </a:bodyPr>
          <a:lstStyle/>
          <a:p>
            <a:r>
              <a:rPr lang="nl-BE" sz="900"/>
              <a:t>Light work shops for 3 Bl’s/Solution desgin phase for 3 Bl’s</a:t>
            </a:r>
          </a:p>
        </p:txBody>
      </p:sp>
      <p:sp>
        <p:nvSpPr>
          <p:cNvPr id="396" name="Rectangle: Rounded Corners 222">
            <a:extLst>
              <a:ext uri="{FF2B5EF4-FFF2-40B4-BE49-F238E27FC236}">
                <a16:creationId xmlns:a16="http://schemas.microsoft.com/office/drawing/2014/main" id="{5D5DE46F-C85A-450E-A720-86D3A8C83ABA}"/>
              </a:ext>
            </a:extLst>
          </p:cNvPr>
          <p:cNvSpPr/>
          <p:nvPr/>
        </p:nvSpPr>
        <p:spPr>
          <a:xfrm>
            <a:off x="511702" y="2128578"/>
            <a:ext cx="409074" cy="339201"/>
          </a:xfrm>
          <a:prstGeom prst="homePlate">
            <a:avLst>
              <a:gd name="adj" fmla="val 26535"/>
            </a:avLst>
          </a:prstGeom>
          <a:solidFill>
            <a:srgbClr val="0170A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 week</a:t>
            </a:r>
          </a:p>
        </p:txBody>
      </p:sp>
      <p:sp>
        <p:nvSpPr>
          <p:cNvPr id="397" name="Rectangle: Rounded Corners 217">
            <a:extLst>
              <a:ext uri="{FF2B5EF4-FFF2-40B4-BE49-F238E27FC236}">
                <a16:creationId xmlns:a16="http://schemas.microsoft.com/office/drawing/2014/main" id="{D8213381-88F9-4B8A-9B7A-9F7BCEB4D667}"/>
              </a:ext>
            </a:extLst>
          </p:cNvPr>
          <p:cNvSpPr/>
          <p:nvPr/>
        </p:nvSpPr>
        <p:spPr>
          <a:xfrm>
            <a:off x="511702" y="3140204"/>
            <a:ext cx="1567314" cy="261655"/>
          </a:xfrm>
          <a:prstGeom prst="homePlat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4</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398" name="Rectangle 397">
            <a:extLst>
              <a:ext uri="{FF2B5EF4-FFF2-40B4-BE49-F238E27FC236}">
                <a16:creationId xmlns:a16="http://schemas.microsoft.com/office/drawing/2014/main" id="{E477FD05-EAB6-4A9A-9522-F9B32AE540EF}"/>
              </a:ext>
            </a:extLst>
          </p:cNvPr>
          <p:cNvSpPr/>
          <p:nvPr/>
        </p:nvSpPr>
        <p:spPr>
          <a:xfrm>
            <a:off x="451243" y="2922926"/>
            <a:ext cx="2619375" cy="230832"/>
          </a:xfrm>
          <a:prstGeom prst="rect">
            <a:avLst/>
          </a:prstGeom>
        </p:spPr>
        <p:txBody>
          <a:bodyPr wrap="square">
            <a:spAutoFit/>
          </a:bodyPr>
          <a:lstStyle/>
          <a:p>
            <a:r>
              <a:rPr lang="nl-BE" sz="900"/>
              <a:t>Discovery phase for platfrom optimzation </a:t>
            </a:r>
          </a:p>
        </p:txBody>
      </p:sp>
      <p:sp>
        <p:nvSpPr>
          <p:cNvPr id="399" name="Rectangle 398">
            <a:extLst>
              <a:ext uri="{FF2B5EF4-FFF2-40B4-BE49-F238E27FC236}">
                <a16:creationId xmlns:a16="http://schemas.microsoft.com/office/drawing/2014/main" id="{43EE9CEF-3D4B-475C-90C0-76AF7902BD17}"/>
              </a:ext>
            </a:extLst>
          </p:cNvPr>
          <p:cNvSpPr/>
          <p:nvPr/>
        </p:nvSpPr>
        <p:spPr>
          <a:xfrm>
            <a:off x="2942616" y="3250099"/>
            <a:ext cx="2357120" cy="369332"/>
          </a:xfrm>
          <a:prstGeom prst="rect">
            <a:avLst/>
          </a:prstGeom>
        </p:spPr>
        <p:txBody>
          <a:bodyPr wrap="square">
            <a:spAutoFit/>
          </a:bodyPr>
          <a:lstStyle/>
          <a:p>
            <a:r>
              <a:rPr lang="en-AU" sz="900"/>
              <a:t>Platform Optimization build phase </a:t>
            </a:r>
            <a:endParaRPr lang="en-AU" sz="900">
              <a:solidFill>
                <a:srgbClr val="000000"/>
              </a:solidFill>
              <a:latin typeface="Calibri" panose="020F0502020204030204" pitchFamily="34" charset="0"/>
            </a:endParaRPr>
          </a:p>
          <a:p>
            <a:endParaRPr lang="en-AU" sz="900"/>
          </a:p>
        </p:txBody>
      </p:sp>
      <p:sp>
        <p:nvSpPr>
          <p:cNvPr id="400" name="Rectangle: Rounded Corners 212">
            <a:extLst>
              <a:ext uri="{FF2B5EF4-FFF2-40B4-BE49-F238E27FC236}">
                <a16:creationId xmlns:a16="http://schemas.microsoft.com/office/drawing/2014/main" id="{5C20F264-F6B8-4C0E-91CA-59C49764CB31}"/>
              </a:ext>
            </a:extLst>
          </p:cNvPr>
          <p:cNvSpPr/>
          <p:nvPr/>
        </p:nvSpPr>
        <p:spPr>
          <a:xfrm>
            <a:off x="2079016" y="3503721"/>
            <a:ext cx="3850640" cy="261654"/>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4 weeks</a:t>
            </a:r>
          </a:p>
        </p:txBody>
      </p:sp>
      <p:sp>
        <p:nvSpPr>
          <p:cNvPr id="401" name="Rectangle: Rounded Corners 212">
            <a:extLst>
              <a:ext uri="{FF2B5EF4-FFF2-40B4-BE49-F238E27FC236}">
                <a16:creationId xmlns:a16="http://schemas.microsoft.com/office/drawing/2014/main" id="{6B5B155E-DDCB-407F-9DBD-691F6A247B8D}"/>
              </a:ext>
            </a:extLst>
          </p:cNvPr>
          <p:cNvSpPr/>
          <p:nvPr/>
        </p:nvSpPr>
        <p:spPr>
          <a:xfrm>
            <a:off x="6722136" y="3503721"/>
            <a:ext cx="792480" cy="261654"/>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solidFill>
              <a:effectLst/>
              <a:uLnTx/>
              <a:uFillTx/>
              <a:latin typeface="Verdana"/>
              <a:ea typeface="+mn-ea"/>
              <a:cs typeface="+mn-cs"/>
            </a:endParaRPr>
          </a:p>
        </p:txBody>
      </p:sp>
      <p:sp>
        <p:nvSpPr>
          <p:cNvPr id="402" name="Rectangle: Rounded Corners 222">
            <a:extLst>
              <a:ext uri="{FF2B5EF4-FFF2-40B4-BE49-F238E27FC236}">
                <a16:creationId xmlns:a16="http://schemas.microsoft.com/office/drawing/2014/main" id="{F6473138-9106-4F46-BEB8-81A5C5EC94D0}"/>
              </a:ext>
            </a:extLst>
          </p:cNvPr>
          <p:cNvSpPr/>
          <p:nvPr/>
        </p:nvSpPr>
        <p:spPr>
          <a:xfrm>
            <a:off x="7514615" y="3635316"/>
            <a:ext cx="3532835" cy="181365"/>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9</a:t>
            </a:r>
            <a:r>
              <a:rPr kumimoji="0" lang="en-AU" sz="800" b="0" i="0" u="none" strike="noStrike" kern="1200" cap="none" spc="0" normalizeH="0" baseline="0" noProof="0">
                <a:ln>
                  <a:noFill/>
                </a:ln>
                <a:solidFill>
                  <a:srgbClr val="FFFFFF"/>
                </a:solidFill>
                <a:effectLst/>
                <a:uLnTx/>
                <a:uFillTx/>
                <a:latin typeface="Verdana"/>
                <a:ea typeface="+mn-ea"/>
                <a:cs typeface="+mn-cs"/>
              </a:rPr>
              <a:t> weeks </a:t>
            </a:r>
          </a:p>
        </p:txBody>
      </p:sp>
      <p:sp>
        <p:nvSpPr>
          <p:cNvPr id="403" name="Rectangle 402">
            <a:extLst>
              <a:ext uri="{FF2B5EF4-FFF2-40B4-BE49-F238E27FC236}">
                <a16:creationId xmlns:a16="http://schemas.microsoft.com/office/drawing/2014/main" id="{4BB68065-8630-4B0E-BFC7-4F0F34B4884B}"/>
              </a:ext>
            </a:extLst>
          </p:cNvPr>
          <p:cNvSpPr/>
          <p:nvPr/>
        </p:nvSpPr>
        <p:spPr>
          <a:xfrm>
            <a:off x="8235976" y="3401859"/>
            <a:ext cx="2164080" cy="369332"/>
          </a:xfrm>
          <a:prstGeom prst="rect">
            <a:avLst/>
          </a:prstGeom>
        </p:spPr>
        <p:txBody>
          <a:bodyPr wrap="square">
            <a:spAutoFit/>
          </a:bodyPr>
          <a:lstStyle/>
          <a:p>
            <a:r>
              <a:rPr lang="en-AU" sz="900"/>
              <a:t>3 BL’s build phase </a:t>
            </a:r>
            <a:endParaRPr lang="en-AU" sz="900">
              <a:solidFill>
                <a:srgbClr val="000000"/>
              </a:solidFill>
              <a:latin typeface="Calibri" panose="020F0502020204030204" pitchFamily="34" charset="0"/>
            </a:endParaRPr>
          </a:p>
          <a:p>
            <a:endParaRPr lang="en-AU" sz="900"/>
          </a:p>
        </p:txBody>
      </p:sp>
      <p:sp>
        <p:nvSpPr>
          <p:cNvPr id="404" name="Rectangle: Rounded Corners 222">
            <a:extLst>
              <a:ext uri="{FF2B5EF4-FFF2-40B4-BE49-F238E27FC236}">
                <a16:creationId xmlns:a16="http://schemas.microsoft.com/office/drawing/2014/main" id="{21B95233-87A6-4797-840C-F3B49970A353}"/>
              </a:ext>
            </a:extLst>
          </p:cNvPr>
          <p:cNvSpPr/>
          <p:nvPr/>
        </p:nvSpPr>
        <p:spPr>
          <a:xfrm>
            <a:off x="11047451" y="3954399"/>
            <a:ext cx="1059485" cy="260899"/>
          </a:xfrm>
          <a:prstGeom prst="homePlate">
            <a:avLst/>
          </a:prstGeom>
          <a:solidFill>
            <a:srgbClr val="70A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05" name="Rectangle: Rounded Corners 222">
            <a:extLst>
              <a:ext uri="{FF2B5EF4-FFF2-40B4-BE49-F238E27FC236}">
                <a16:creationId xmlns:a16="http://schemas.microsoft.com/office/drawing/2014/main" id="{6F674C92-935F-4269-9FE3-88DC771774CD}"/>
              </a:ext>
            </a:extLst>
          </p:cNvPr>
          <p:cNvSpPr/>
          <p:nvPr/>
        </p:nvSpPr>
        <p:spPr>
          <a:xfrm>
            <a:off x="10326091" y="4353016"/>
            <a:ext cx="1059485" cy="260899"/>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3</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06" name="Rectangle: Rounded Corners 222">
            <a:extLst>
              <a:ext uri="{FF2B5EF4-FFF2-40B4-BE49-F238E27FC236}">
                <a16:creationId xmlns:a16="http://schemas.microsoft.com/office/drawing/2014/main" id="{C49DC93A-C766-43F0-9196-0B2F50FCC9A3}"/>
              </a:ext>
            </a:extLst>
          </p:cNvPr>
          <p:cNvSpPr/>
          <p:nvPr/>
        </p:nvSpPr>
        <p:spPr>
          <a:xfrm>
            <a:off x="11059270" y="4802432"/>
            <a:ext cx="1059485" cy="449187"/>
          </a:xfrm>
          <a:prstGeom prst="homePlate">
            <a:avLst/>
          </a:prstGeom>
          <a:solidFill>
            <a:srgbClr val="00C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07" name="Rectangle: Rounded Corners 225">
            <a:extLst>
              <a:ext uri="{FF2B5EF4-FFF2-40B4-BE49-F238E27FC236}">
                <a16:creationId xmlns:a16="http://schemas.microsoft.com/office/drawing/2014/main" id="{E3DAE3D7-BB43-4997-964A-12B6DDA2A92E}"/>
              </a:ext>
            </a:extLst>
          </p:cNvPr>
          <p:cNvSpPr/>
          <p:nvPr/>
        </p:nvSpPr>
        <p:spPr>
          <a:xfrm>
            <a:off x="2444777" y="5539906"/>
            <a:ext cx="3566160" cy="179073"/>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20 weeks</a:t>
            </a:r>
          </a:p>
        </p:txBody>
      </p:sp>
      <p:sp>
        <p:nvSpPr>
          <p:cNvPr id="408" name="Rectangle: Rounded Corners 225">
            <a:extLst>
              <a:ext uri="{FF2B5EF4-FFF2-40B4-BE49-F238E27FC236}">
                <a16:creationId xmlns:a16="http://schemas.microsoft.com/office/drawing/2014/main" id="{7662B1CE-84B0-402C-8331-0C877C11A4E2}"/>
              </a:ext>
            </a:extLst>
          </p:cNvPr>
          <p:cNvSpPr/>
          <p:nvPr/>
        </p:nvSpPr>
        <p:spPr>
          <a:xfrm>
            <a:off x="6722136" y="5539905"/>
            <a:ext cx="3860800" cy="179073"/>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20 weeks</a:t>
            </a:r>
          </a:p>
        </p:txBody>
      </p:sp>
      <p:sp>
        <p:nvSpPr>
          <p:cNvPr id="409" name="TextBox 408">
            <a:extLst>
              <a:ext uri="{FF2B5EF4-FFF2-40B4-BE49-F238E27FC236}">
                <a16:creationId xmlns:a16="http://schemas.microsoft.com/office/drawing/2014/main" id="{78B96F71-6F0B-4D5F-91B6-A978FB921C14}"/>
              </a:ext>
            </a:extLst>
          </p:cNvPr>
          <p:cNvSpPr txBox="1"/>
          <p:nvPr/>
        </p:nvSpPr>
        <p:spPr>
          <a:xfrm>
            <a:off x="512202" y="880455"/>
            <a:ext cx="10833175" cy="369332"/>
          </a:xfrm>
          <a:prstGeom prst="rect">
            <a:avLst/>
          </a:prstGeom>
          <a:noFill/>
        </p:spPr>
        <p:txBody>
          <a:bodyPr wrap="square" rtlCol="0">
            <a:spAutoFit/>
          </a:bodyPr>
          <a:lstStyle/>
          <a:p>
            <a:r>
              <a:rPr lang="en-US"/>
              <a:t>It’s possible to match Marelli’s guidelines for project elapsed for wave 1:</a:t>
            </a:r>
          </a:p>
        </p:txBody>
      </p:sp>
      <p:graphicFrame>
        <p:nvGraphicFramePr>
          <p:cNvPr id="410" name="Table 23">
            <a:extLst>
              <a:ext uri="{FF2B5EF4-FFF2-40B4-BE49-F238E27FC236}">
                <a16:creationId xmlns:a16="http://schemas.microsoft.com/office/drawing/2014/main" id="{D97077E3-E4E9-4E3B-9E35-7D9B3E5A8283}"/>
              </a:ext>
            </a:extLst>
          </p:cNvPr>
          <p:cNvGraphicFramePr>
            <a:graphicFrameLocks noGrp="1"/>
          </p:cNvGraphicFramePr>
          <p:nvPr/>
        </p:nvGraphicFramePr>
        <p:xfrm>
          <a:off x="142284" y="1249787"/>
          <a:ext cx="11964651" cy="5542663"/>
        </p:xfrm>
        <a:graphic>
          <a:graphicData uri="http://schemas.openxmlformats.org/drawingml/2006/table">
            <a:tbl>
              <a:tblPr firstRow="1" bandRow="1">
                <a:tableStyleId>{5C22544A-7EE6-4342-B048-85BDC9FD1C3A}</a:tableStyleId>
              </a:tblPr>
              <a:tblGrid>
                <a:gridCol w="3519015">
                  <a:extLst>
                    <a:ext uri="{9D8B030D-6E8A-4147-A177-3AD203B41FA5}">
                      <a16:colId xmlns:a16="http://schemas.microsoft.com/office/drawing/2014/main" val="2058319549"/>
                    </a:ext>
                  </a:extLst>
                </a:gridCol>
                <a:gridCol w="703803">
                  <a:extLst>
                    <a:ext uri="{9D8B030D-6E8A-4147-A177-3AD203B41FA5}">
                      <a16:colId xmlns:a16="http://schemas.microsoft.com/office/drawing/2014/main" val="2467215531"/>
                    </a:ext>
                  </a:extLst>
                </a:gridCol>
                <a:gridCol w="703803">
                  <a:extLst>
                    <a:ext uri="{9D8B030D-6E8A-4147-A177-3AD203B41FA5}">
                      <a16:colId xmlns:a16="http://schemas.microsoft.com/office/drawing/2014/main" val="3102627647"/>
                    </a:ext>
                  </a:extLst>
                </a:gridCol>
                <a:gridCol w="703803">
                  <a:extLst>
                    <a:ext uri="{9D8B030D-6E8A-4147-A177-3AD203B41FA5}">
                      <a16:colId xmlns:a16="http://schemas.microsoft.com/office/drawing/2014/main" val="2133483002"/>
                    </a:ext>
                  </a:extLst>
                </a:gridCol>
                <a:gridCol w="703803">
                  <a:extLst>
                    <a:ext uri="{9D8B030D-6E8A-4147-A177-3AD203B41FA5}">
                      <a16:colId xmlns:a16="http://schemas.microsoft.com/office/drawing/2014/main" val="2389248"/>
                    </a:ext>
                  </a:extLst>
                </a:gridCol>
                <a:gridCol w="703803">
                  <a:extLst>
                    <a:ext uri="{9D8B030D-6E8A-4147-A177-3AD203B41FA5}">
                      <a16:colId xmlns:a16="http://schemas.microsoft.com/office/drawing/2014/main" val="1537544387"/>
                    </a:ext>
                  </a:extLst>
                </a:gridCol>
                <a:gridCol w="703803">
                  <a:extLst>
                    <a:ext uri="{9D8B030D-6E8A-4147-A177-3AD203B41FA5}">
                      <a16:colId xmlns:a16="http://schemas.microsoft.com/office/drawing/2014/main" val="3169443578"/>
                    </a:ext>
                  </a:extLst>
                </a:gridCol>
                <a:gridCol w="703803">
                  <a:extLst>
                    <a:ext uri="{9D8B030D-6E8A-4147-A177-3AD203B41FA5}">
                      <a16:colId xmlns:a16="http://schemas.microsoft.com/office/drawing/2014/main" val="1659952536"/>
                    </a:ext>
                  </a:extLst>
                </a:gridCol>
                <a:gridCol w="703803">
                  <a:extLst>
                    <a:ext uri="{9D8B030D-6E8A-4147-A177-3AD203B41FA5}">
                      <a16:colId xmlns:a16="http://schemas.microsoft.com/office/drawing/2014/main" val="87924735"/>
                    </a:ext>
                  </a:extLst>
                </a:gridCol>
                <a:gridCol w="703803">
                  <a:extLst>
                    <a:ext uri="{9D8B030D-6E8A-4147-A177-3AD203B41FA5}">
                      <a16:colId xmlns:a16="http://schemas.microsoft.com/office/drawing/2014/main" val="460079320"/>
                    </a:ext>
                  </a:extLst>
                </a:gridCol>
                <a:gridCol w="703803">
                  <a:extLst>
                    <a:ext uri="{9D8B030D-6E8A-4147-A177-3AD203B41FA5}">
                      <a16:colId xmlns:a16="http://schemas.microsoft.com/office/drawing/2014/main" val="3406486822"/>
                    </a:ext>
                  </a:extLst>
                </a:gridCol>
                <a:gridCol w="703803">
                  <a:extLst>
                    <a:ext uri="{9D8B030D-6E8A-4147-A177-3AD203B41FA5}">
                      <a16:colId xmlns:a16="http://schemas.microsoft.com/office/drawing/2014/main" val="2553443513"/>
                    </a:ext>
                  </a:extLst>
                </a:gridCol>
                <a:gridCol w="703803">
                  <a:extLst>
                    <a:ext uri="{9D8B030D-6E8A-4147-A177-3AD203B41FA5}">
                      <a16:colId xmlns:a16="http://schemas.microsoft.com/office/drawing/2014/main" val="1574556157"/>
                    </a:ext>
                  </a:extLst>
                </a:gridCol>
              </a:tblGrid>
              <a:tr h="355244">
                <a:tc>
                  <a:txBody>
                    <a:bodyPr/>
                    <a:lstStyle/>
                    <a:p>
                      <a:r>
                        <a:rPr lang="it-IT" sz="1300" err="1"/>
                        <a:t>Phase</a:t>
                      </a:r>
                      <a:endParaRPr lang="it-IT" sz="1300"/>
                    </a:p>
                  </a:txBody>
                  <a:tcPr/>
                </a:tc>
                <a:tc>
                  <a:txBody>
                    <a:bodyPr/>
                    <a:lstStyle/>
                    <a:p>
                      <a:pPr algn="ctr"/>
                      <a:r>
                        <a:rPr lang="it-IT" sz="1200"/>
                        <a:t>M1</a:t>
                      </a:r>
                    </a:p>
                  </a:txBody>
                  <a:tcPr/>
                </a:tc>
                <a:tc>
                  <a:txBody>
                    <a:bodyPr/>
                    <a:lstStyle/>
                    <a:p>
                      <a:pPr algn="ctr"/>
                      <a:r>
                        <a:rPr lang="it-IT" sz="1200"/>
                        <a:t>M2</a:t>
                      </a:r>
                    </a:p>
                  </a:txBody>
                  <a:tcPr/>
                </a:tc>
                <a:tc>
                  <a:txBody>
                    <a:bodyPr/>
                    <a:lstStyle/>
                    <a:p>
                      <a:pPr algn="ctr"/>
                      <a:r>
                        <a:rPr lang="it-IT" sz="1200"/>
                        <a:t>M3</a:t>
                      </a:r>
                    </a:p>
                  </a:txBody>
                  <a:tcPr/>
                </a:tc>
                <a:tc>
                  <a:txBody>
                    <a:bodyPr/>
                    <a:lstStyle/>
                    <a:p>
                      <a:pPr algn="ctr"/>
                      <a:r>
                        <a:rPr lang="it-IT" sz="1200"/>
                        <a:t>M4</a:t>
                      </a:r>
                    </a:p>
                  </a:txBody>
                  <a:tcPr/>
                </a:tc>
                <a:tc>
                  <a:txBody>
                    <a:bodyPr/>
                    <a:lstStyle/>
                    <a:p>
                      <a:pPr algn="ctr"/>
                      <a:r>
                        <a:rPr lang="it-IT" sz="1200"/>
                        <a:t>M5</a:t>
                      </a:r>
                    </a:p>
                  </a:txBody>
                  <a:tcPr/>
                </a:tc>
                <a:tc>
                  <a:txBody>
                    <a:bodyPr/>
                    <a:lstStyle/>
                    <a:p>
                      <a:pPr algn="ctr"/>
                      <a:r>
                        <a:rPr lang="it-IT" sz="1200"/>
                        <a:t>M6</a:t>
                      </a:r>
                    </a:p>
                  </a:txBody>
                  <a:tcPr/>
                </a:tc>
                <a:tc>
                  <a:txBody>
                    <a:bodyPr/>
                    <a:lstStyle/>
                    <a:p>
                      <a:pPr algn="ctr"/>
                      <a:r>
                        <a:rPr lang="it-IT" sz="1200"/>
                        <a:t>M7</a:t>
                      </a:r>
                    </a:p>
                  </a:txBody>
                  <a:tcPr/>
                </a:tc>
                <a:tc>
                  <a:txBody>
                    <a:bodyPr/>
                    <a:lstStyle/>
                    <a:p>
                      <a:pPr algn="ctr"/>
                      <a:r>
                        <a:rPr lang="it-IT" sz="1200"/>
                        <a:t>M8</a:t>
                      </a:r>
                    </a:p>
                  </a:txBody>
                  <a:tcPr/>
                </a:tc>
                <a:tc>
                  <a:txBody>
                    <a:bodyPr/>
                    <a:lstStyle/>
                    <a:p>
                      <a:pPr algn="ctr"/>
                      <a:r>
                        <a:rPr lang="it-IT" sz="1200"/>
                        <a:t>M9</a:t>
                      </a:r>
                    </a:p>
                  </a:txBody>
                  <a:tcPr/>
                </a:tc>
                <a:tc>
                  <a:txBody>
                    <a:bodyPr/>
                    <a:lstStyle/>
                    <a:p>
                      <a:pPr algn="ctr"/>
                      <a:r>
                        <a:rPr lang="it-IT" sz="1200"/>
                        <a:t>M10</a:t>
                      </a:r>
                    </a:p>
                  </a:txBody>
                  <a:tcPr/>
                </a:tc>
                <a:tc>
                  <a:txBody>
                    <a:bodyPr/>
                    <a:lstStyle/>
                    <a:p>
                      <a:pPr algn="ctr"/>
                      <a:r>
                        <a:rPr lang="it-IT" sz="1200"/>
                        <a:t>M11</a:t>
                      </a:r>
                    </a:p>
                  </a:txBody>
                  <a:tcPr/>
                </a:tc>
                <a:tc>
                  <a:txBody>
                    <a:bodyPr/>
                    <a:lstStyle/>
                    <a:p>
                      <a:pPr algn="ctr"/>
                      <a:r>
                        <a:rPr lang="it-IT" sz="1200"/>
                        <a:t>M12</a:t>
                      </a:r>
                    </a:p>
                  </a:txBody>
                  <a:tcPr/>
                </a:tc>
                <a:extLst>
                  <a:ext uri="{0D108BD9-81ED-4DB2-BD59-A6C34878D82A}">
                    <a16:rowId xmlns:a16="http://schemas.microsoft.com/office/drawing/2014/main" val="4179442656"/>
                  </a:ext>
                </a:extLst>
              </a:tr>
              <a:tr h="355244">
                <a:tc>
                  <a:txBody>
                    <a:bodyPr/>
                    <a:lstStyle/>
                    <a:p>
                      <a:r>
                        <a:rPr lang="it-IT" sz="1300" b="1"/>
                        <a:t>Pre Gam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257929853"/>
                  </a:ext>
                </a:extLst>
              </a:tr>
              <a:tr h="355244">
                <a:tc>
                  <a:txBody>
                    <a:bodyPr/>
                    <a:lstStyle/>
                    <a:p>
                      <a:pPr algn="r"/>
                      <a:r>
                        <a:rPr lang="it-IT" sz="1300" i="1"/>
                        <a:t>Scoping &amp; Design</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193094994"/>
                  </a:ext>
                </a:extLst>
              </a:tr>
              <a:tr h="355244">
                <a:tc>
                  <a:txBody>
                    <a:bodyPr/>
                    <a:lstStyle/>
                    <a:p>
                      <a:pPr algn="r"/>
                      <a:r>
                        <a:rPr lang="it-IT" sz="1300" i="1"/>
                        <a:t>Discovery</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35115718"/>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b="0" i="1"/>
                        <a:t>Data Migration Strategy Definition</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114295306"/>
                  </a:ext>
                </a:extLst>
              </a:tr>
              <a:tr h="355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b="1"/>
                        <a:t>Developmen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802072026"/>
                  </a:ext>
                </a:extLst>
              </a:tr>
              <a:tr h="355244">
                <a:tc>
                  <a:txBody>
                    <a:bodyPr/>
                    <a:lstStyle/>
                    <a:p>
                      <a:pPr algn="r"/>
                      <a:r>
                        <a:rPr lang="it-IT" sz="1300" i="1"/>
                        <a:t>Build Sprint (Platform Op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975907233"/>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i="1"/>
                        <a:t>Build Sprint (3 BU Rollou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640433066"/>
                  </a:ext>
                </a:extLst>
              </a:tr>
              <a:tr h="355244">
                <a:tc>
                  <a:txBody>
                    <a:bodyPr/>
                    <a:lstStyle/>
                    <a:p>
                      <a:pPr algn="r"/>
                      <a:r>
                        <a:rPr lang="it-IT" sz="1300" i="1"/>
                        <a:t>Build Data Migrat. Procedur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85399689"/>
                  </a:ext>
                </a:extLst>
              </a:tr>
              <a:tr h="355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b="1"/>
                        <a:t>Closur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23002114"/>
                  </a:ext>
                </a:extLst>
              </a:tr>
              <a:tr h="355244">
                <a:tc>
                  <a:txBody>
                    <a:bodyPr/>
                    <a:lstStyle/>
                    <a:p>
                      <a:pPr algn="r"/>
                      <a:r>
                        <a:rPr lang="it-IT" sz="1300" b="0" i="1"/>
                        <a:t>System Integration Tes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727101672"/>
                  </a:ext>
                </a:extLst>
              </a:tr>
              <a:tr h="355244">
                <a:tc>
                  <a:txBody>
                    <a:bodyPr/>
                    <a:lstStyle/>
                    <a:p>
                      <a:pPr algn="r"/>
                      <a:r>
                        <a:rPr lang="it-IT" sz="1300" b="0" i="1"/>
                        <a:t>User Acceptance Tes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96230489"/>
                  </a:ext>
                </a:extLst>
              </a:tr>
              <a:tr h="432539">
                <a:tc>
                  <a:txBody>
                    <a:bodyPr/>
                    <a:lstStyle/>
                    <a:p>
                      <a:pPr algn="r"/>
                      <a:r>
                        <a:rPr lang="it-IT" sz="1300" i="1"/>
                        <a:t>Train the Trainer</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506471454"/>
                  </a:ext>
                </a:extLst>
              </a:tr>
              <a:tr h="355244">
                <a:tc>
                  <a:txBody>
                    <a:bodyPr/>
                    <a:lstStyle/>
                    <a:p>
                      <a:pPr algn="r"/>
                      <a:r>
                        <a:rPr lang="it-IT" sz="1300" i="1"/>
                        <a:t>Cutover &amp; Go-Liv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504816445"/>
                  </a:ext>
                </a:extLst>
              </a:tr>
              <a:tr h="355244">
                <a:tc>
                  <a:txBody>
                    <a:bodyPr/>
                    <a:lstStyle/>
                    <a:p>
                      <a:pPr algn="r"/>
                      <a:r>
                        <a:rPr lang="it-IT" sz="1300" i="1"/>
                        <a:t>Post Go Live Suppor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084968413"/>
                  </a:ext>
                </a:extLst>
              </a:tr>
            </a:tbl>
          </a:graphicData>
        </a:graphic>
      </p:graphicFrame>
      <p:sp>
        <p:nvSpPr>
          <p:cNvPr id="411" name="Rectangle: Rounded Corners 212">
            <a:extLst>
              <a:ext uri="{FF2B5EF4-FFF2-40B4-BE49-F238E27FC236}">
                <a16:creationId xmlns:a16="http://schemas.microsoft.com/office/drawing/2014/main" id="{79B753EE-F396-4CE3-B81B-9DD859196F94}"/>
              </a:ext>
            </a:extLst>
          </p:cNvPr>
          <p:cNvSpPr/>
          <p:nvPr/>
        </p:nvSpPr>
        <p:spPr>
          <a:xfrm>
            <a:off x="3683280" y="1994969"/>
            <a:ext cx="2279428" cy="216000"/>
          </a:xfrm>
          <a:prstGeom prst="homePlat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15 weeks</a:t>
            </a:r>
          </a:p>
        </p:txBody>
      </p:sp>
      <p:sp>
        <p:nvSpPr>
          <p:cNvPr id="412" name="Rectangle: Rounded Corners 217">
            <a:extLst>
              <a:ext uri="{FF2B5EF4-FFF2-40B4-BE49-F238E27FC236}">
                <a16:creationId xmlns:a16="http://schemas.microsoft.com/office/drawing/2014/main" id="{F0B8E50F-6AF6-4790-86E4-8445DA6FBB99}"/>
              </a:ext>
            </a:extLst>
          </p:cNvPr>
          <p:cNvSpPr/>
          <p:nvPr/>
        </p:nvSpPr>
        <p:spPr>
          <a:xfrm>
            <a:off x="3671039" y="2361523"/>
            <a:ext cx="693554" cy="216000"/>
          </a:xfrm>
          <a:prstGeom prst="homePlat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4</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13" name="Rectangle 412">
            <a:extLst>
              <a:ext uri="{FF2B5EF4-FFF2-40B4-BE49-F238E27FC236}">
                <a16:creationId xmlns:a16="http://schemas.microsoft.com/office/drawing/2014/main" id="{74254203-60F3-41CE-967E-88A98B9357EF}"/>
              </a:ext>
            </a:extLst>
          </p:cNvPr>
          <p:cNvSpPr/>
          <p:nvPr/>
        </p:nvSpPr>
        <p:spPr>
          <a:xfrm>
            <a:off x="3671038" y="1629502"/>
            <a:ext cx="2339897" cy="24485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p>
        </p:txBody>
      </p:sp>
      <p:sp>
        <p:nvSpPr>
          <p:cNvPr id="414" name="TextBox 413">
            <a:extLst>
              <a:ext uri="{FF2B5EF4-FFF2-40B4-BE49-F238E27FC236}">
                <a16:creationId xmlns:a16="http://schemas.microsoft.com/office/drawing/2014/main" id="{C8ECC9A4-0157-4851-8AAD-7AF38602E9D7}"/>
              </a:ext>
            </a:extLst>
          </p:cNvPr>
          <p:cNvSpPr txBox="1"/>
          <p:nvPr/>
        </p:nvSpPr>
        <p:spPr>
          <a:xfrm>
            <a:off x="5992443" y="2018876"/>
            <a:ext cx="4196080" cy="230832"/>
          </a:xfrm>
          <a:prstGeom prst="rect">
            <a:avLst/>
          </a:prstGeom>
          <a:noFill/>
        </p:spPr>
        <p:txBody>
          <a:bodyPr wrap="square" rtlCol="0">
            <a:spAutoFit/>
          </a:bodyPr>
          <a:lstStyle/>
          <a:p>
            <a:r>
              <a:rPr lang="en-AU" sz="900"/>
              <a:t>Light work shops for 3 Bl’s/Solution </a:t>
            </a:r>
            <a:r>
              <a:rPr lang="en-AU" sz="900" err="1"/>
              <a:t>desgin</a:t>
            </a:r>
            <a:r>
              <a:rPr lang="en-AU" sz="900"/>
              <a:t> phase for 3 Bl’s</a:t>
            </a:r>
          </a:p>
        </p:txBody>
      </p:sp>
      <p:sp>
        <p:nvSpPr>
          <p:cNvPr id="415" name="Rectangle 414">
            <a:extLst>
              <a:ext uri="{FF2B5EF4-FFF2-40B4-BE49-F238E27FC236}">
                <a16:creationId xmlns:a16="http://schemas.microsoft.com/office/drawing/2014/main" id="{7B14A28E-6248-405E-82D9-2CDEF6C08292}"/>
              </a:ext>
            </a:extLst>
          </p:cNvPr>
          <p:cNvSpPr/>
          <p:nvPr/>
        </p:nvSpPr>
        <p:spPr>
          <a:xfrm>
            <a:off x="4388922" y="3158668"/>
            <a:ext cx="3456000" cy="24485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6" name="Rectangle: Rounded Corners 212">
            <a:extLst>
              <a:ext uri="{FF2B5EF4-FFF2-40B4-BE49-F238E27FC236}">
                <a16:creationId xmlns:a16="http://schemas.microsoft.com/office/drawing/2014/main" id="{CF39AB7C-5234-4DA3-AB5F-49F2A303DD87}"/>
              </a:ext>
            </a:extLst>
          </p:cNvPr>
          <p:cNvSpPr/>
          <p:nvPr/>
        </p:nvSpPr>
        <p:spPr>
          <a:xfrm>
            <a:off x="4388923" y="3501762"/>
            <a:ext cx="1418813" cy="217865"/>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9</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17" name="Rectangle: Rounded Corners 212">
            <a:extLst>
              <a:ext uri="{FF2B5EF4-FFF2-40B4-BE49-F238E27FC236}">
                <a16:creationId xmlns:a16="http://schemas.microsoft.com/office/drawing/2014/main" id="{AB8F48BD-1F51-428E-AF49-159B2AAE1E77}"/>
              </a:ext>
            </a:extLst>
          </p:cNvPr>
          <p:cNvSpPr/>
          <p:nvPr/>
        </p:nvSpPr>
        <p:spPr>
          <a:xfrm>
            <a:off x="5727688" y="3864661"/>
            <a:ext cx="2124000" cy="224298"/>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14</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18" name="Rectangle 417">
            <a:extLst>
              <a:ext uri="{FF2B5EF4-FFF2-40B4-BE49-F238E27FC236}">
                <a16:creationId xmlns:a16="http://schemas.microsoft.com/office/drawing/2014/main" id="{1ECD0843-F378-4627-9352-2C64579D3793}"/>
              </a:ext>
            </a:extLst>
          </p:cNvPr>
          <p:cNvSpPr/>
          <p:nvPr/>
        </p:nvSpPr>
        <p:spPr>
          <a:xfrm>
            <a:off x="6801622" y="3554983"/>
            <a:ext cx="2357120" cy="369332"/>
          </a:xfrm>
          <a:prstGeom prst="rect">
            <a:avLst/>
          </a:prstGeom>
        </p:spPr>
        <p:txBody>
          <a:bodyPr wrap="square">
            <a:spAutoFit/>
          </a:bodyPr>
          <a:lstStyle/>
          <a:p>
            <a:r>
              <a:rPr lang="en-AU" sz="900"/>
              <a:t>Platform Optimization build phase </a:t>
            </a:r>
            <a:endParaRPr lang="en-AU" sz="900">
              <a:solidFill>
                <a:srgbClr val="000000"/>
              </a:solidFill>
              <a:latin typeface="Calibri" panose="020F0502020204030204" pitchFamily="34" charset="0"/>
            </a:endParaRPr>
          </a:p>
          <a:p>
            <a:endParaRPr lang="en-AU" sz="900"/>
          </a:p>
        </p:txBody>
      </p:sp>
      <p:sp>
        <p:nvSpPr>
          <p:cNvPr id="419" name="Rectangle 418">
            <a:extLst>
              <a:ext uri="{FF2B5EF4-FFF2-40B4-BE49-F238E27FC236}">
                <a16:creationId xmlns:a16="http://schemas.microsoft.com/office/drawing/2014/main" id="{F09E0743-770B-4956-8A2C-DD7FA38C3CA0}"/>
              </a:ext>
            </a:extLst>
          </p:cNvPr>
          <p:cNvSpPr/>
          <p:nvPr/>
        </p:nvSpPr>
        <p:spPr>
          <a:xfrm>
            <a:off x="9270127" y="3652389"/>
            <a:ext cx="1418814" cy="52642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tx1"/>
                </a:solidFill>
              </a:rPr>
              <a:t>3-week Sprints</a:t>
            </a:r>
          </a:p>
        </p:txBody>
      </p:sp>
      <p:cxnSp>
        <p:nvCxnSpPr>
          <p:cNvPr id="420" name="Straight Connector 419">
            <a:extLst>
              <a:ext uri="{FF2B5EF4-FFF2-40B4-BE49-F238E27FC236}">
                <a16:creationId xmlns:a16="http://schemas.microsoft.com/office/drawing/2014/main" id="{3497DA7A-2CE5-4BD9-8FC8-683944C24D73}"/>
              </a:ext>
            </a:extLst>
          </p:cNvPr>
          <p:cNvCxnSpPr>
            <a:cxnSpLocks/>
            <a:endCxn id="417" idx="3"/>
          </p:cNvCxnSpPr>
          <p:nvPr/>
        </p:nvCxnSpPr>
        <p:spPr>
          <a:xfrm flipH="1">
            <a:off x="7851688" y="3935334"/>
            <a:ext cx="1258946" cy="41476"/>
          </a:xfrm>
          <a:prstGeom prst="line">
            <a:avLst/>
          </a:prstGeom>
        </p:spPr>
        <p:style>
          <a:lnRef idx="1">
            <a:schemeClr val="accent1"/>
          </a:lnRef>
          <a:fillRef idx="0">
            <a:schemeClr val="accent1"/>
          </a:fillRef>
          <a:effectRef idx="0">
            <a:schemeClr val="accent1"/>
          </a:effectRef>
          <a:fontRef idx="minor">
            <a:schemeClr val="tx1"/>
          </a:fontRef>
        </p:style>
      </p:cxnSp>
      <p:sp>
        <p:nvSpPr>
          <p:cNvPr id="421" name="Rectangle 420">
            <a:extLst>
              <a:ext uri="{FF2B5EF4-FFF2-40B4-BE49-F238E27FC236}">
                <a16:creationId xmlns:a16="http://schemas.microsoft.com/office/drawing/2014/main" id="{6958AF16-9449-486C-ADB7-9BCDADEF86E3}"/>
              </a:ext>
            </a:extLst>
          </p:cNvPr>
          <p:cNvSpPr/>
          <p:nvPr/>
        </p:nvSpPr>
        <p:spPr>
          <a:xfrm>
            <a:off x="6779380" y="2678661"/>
            <a:ext cx="1418814" cy="52642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tx1"/>
                </a:solidFill>
              </a:rPr>
              <a:t>2-week Sprints</a:t>
            </a:r>
          </a:p>
        </p:txBody>
      </p:sp>
      <p:cxnSp>
        <p:nvCxnSpPr>
          <p:cNvPr id="422" name="Straight Connector 421">
            <a:extLst>
              <a:ext uri="{FF2B5EF4-FFF2-40B4-BE49-F238E27FC236}">
                <a16:creationId xmlns:a16="http://schemas.microsoft.com/office/drawing/2014/main" id="{1CF915F6-EECD-453D-B927-228EB0C3EB66}"/>
              </a:ext>
            </a:extLst>
          </p:cNvPr>
          <p:cNvCxnSpPr>
            <a:cxnSpLocks/>
            <a:stCxn id="421" idx="1"/>
          </p:cNvCxnSpPr>
          <p:nvPr/>
        </p:nvCxnSpPr>
        <p:spPr>
          <a:xfrm flipH="1">
            <a:off x="5558872" y="2941875"/>
            <a:ext cx="1220508" cy="552163"/>
          </a:xfrm>
          <a:prstGeom prst="line">
            <a:avLst/>
          </a:prstGeom>
        </p:spPr>
        <p:style>
          <a:lnRef idx="1">
            <a:schemeClr val="accent1"/>
          </a:lnRef>
          <a:fillRef idx="0">
            <a:schemeClr val="accent1"/>
          </a:fillRef>
          <a:effectRef idx="0">
            <a:schemeClr val="accent1"/>
          </a:effectRef>
          <a:fontRef idx="minor">
            <a:schemeClr val="tx1"/>
          </a:fontRef>
        </p:style>
      </p:cxnSp>
      <p:sp>
        <p:nvSpPr>
          <p:cNvPr id="423" name="Rectangle 422">
            <a:extLst>
              <a:ext uri="{FF2B5EF4-FFF2-40B4-BE49-F238E27FC236}">
                <a16:creationId xmlns:a16="http://schemas.microsoft.com/office/drawing/2014/main" id="{E7189D1A-9D0E-48EC-AAAC-971DB84523DF}"/>
              </a:ext>
            </a:extLst>
          </p:cNvPr>
          <p:cNvSpPr/>
          <p:nvPr/>
        </p:nvSpPr>
        <p:spPr>
          <a:xfrm>
            <a:off x="7998469" y="3982958"/>
            <a:ext cx="2164080" cy="369332"/>
          </a:xfrm>
          <a:prstGeom prst="rect">
            <a:avLst/>
          </a:prstGeom>
        </p:spPr>
        <p:txBody>
          <a:bodyPr wrap="square">
            <a:spAutoFit/>
          </a:bodyPr>
          <a:lstStyle/>
          <a:p>
            <a:r>
              <a:rPr lang="en-AU" sz="900"/>
              <a:t>3 BL’s build phase </a:t>
            </a:r>
            <a:endParaRPr lang="en-AU" sz="900">
              <a:solidFill>
                <a:srgbClr val="000000"/>
              </a:solidFill>
              <a:latin typeface="Calibri" panose="020F0502020204030204" pitchFamily="34" charset="0"/>
            </a:endParaRPr>
          </a:p>
          <a:p>
            <a:endParaRPr lang="en-AU" sz="900"/>
          </a:p>
        </p:txBody>
      </p:sp>
      <p:sp>
        <p:nvSpPr>
          <p:cNvPr id="424" name="Rectangle: Rounded Corners 225">
            <a:extLst>
              <a:ext uri="{FF2B5EF4-FFF2-40B4-BE49-F238E27FC236}">
                <a16:creationId xmlns:a16="http://schemas.microsoft.com/office/drawing/2014/main" id="{9D1CCBB1-194D-4C46-AFC6-4C80522626A2}"/>
              </a:ext>
            </a:extLst>
          </p:cNvPr>
          <p:cNvSpPr/>
          <p:nvPr/>
        </p:nvSpPr>
        <p:spPr>
          <a:xfrm>
            <a:off x="4386762" y="2784098"/>
            <a:ext cx="1543384" cy="216000"/>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10 weeks</a:t>
            </a:r>
          </a:p>
        </p:txBody>
      </p:sp>
      <p:sp>
        <p:nvSpPr>
          <p:cNvPr id="425" name="Rectangle: Rounded Corners 225">
            <a:extLst>
              <a:ext uri="{FF2B5EF4-FFF2-40B4-BE49-F238E27FC236}">
                <a16:creationId xmlns:a16="http://schemas.microsoft.com/office/drawing/2014/main" id="{D22F3935-B353-4411-BB35-BE26D2DB2EE9}"/>
              </a:ext>
            </a:extLst>
          </p:cNvPr>
          <p:cNvSpPr/>
          <p:nvPr/>
        </p:nvSpPr>
        <p:spPr>
          <a:xfrm>
            <a:off x="6029929" y="4278162"/>
            <a:ext cx="1804997" cy="216000"/>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FFFFFF"/>
                </a:solidFill>
                <a:effectLst/>
                <a:uLnTx/>
                <a:uFillTx/>
                <a:latin typeface="Verdana"/>
                <a:ea typeface="+mn-ea"/>
                <a:cs typeface="+mn-cs"/>
              </a:rPr>
              <a:t>11 week</a:t>
            </a:r>
          </a:p>
        </p:txBody>
      </p:sp>
      <p:sp>
        <p:nvSpPr>
          <p:cNvPr id="426" name="Rectangle 425">
            <a:extLst>
              <a:ext uri="{FF2B5EF4-FFF2-40B4-BE49-F238E27FC236}">
                <a16:creationId xmlns:a16="http://schemas.microsoft.com/office/drawing/2014/main" id="{284D8560-5B82-46C3-8B35-A3B8A8238D4E}"/>
              </a:ext>
            </a:extLst>
          </p:cNvPr>
          <p:cNvSpPr/>
          <p:nvPr/>
        </p:nvSpPr>
        <p:spPr>
          <a:xfrm>
            <a:off x="7843983" y="4566177"/>
            <a:ext cx="2124000" cy="24485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7" name="Rectangle: Rounded Corners 222">
            <a:extLst>
              <a:ext uri="{FF2B5EF4-FFF2-40B4-BE49-F238E27FC236}">
                <a16:creationId xmlns:a16="http://schemas.microsoft.com/office/drawing/2014/main" id="{2F28B36F-95E2-426B-8C03-7D339951066F}"/>
              </a:ext>
            </a:extLst>
          </p:cNvPr>
          <p:cNvSpPr/>
          <p:nvPr/>
        </p:nvSpPr>
        <p:spPr>
          <a:xfrm>
            <a:off x="7855000" y="4914569"/>
            <a:ext cx="540000" cy="216000"/>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700">
                <a:solidFill>
                  <a:srgbClr val="FFFFFF"/>
                </a:solidFill>
                <a:latin typeface="Verdana"/>
              </a:rPr>
              <a:t>3</a:t>
            </a:r>
            <a:r>
              <a:rPr kumimoji="0" lang="en-AU"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8" name="Rectangle: Rounded Corners 222">
            <a:extLst>
              <a:ext uri="{FF2B5EF4-FFF2-40B4-BE49-F238E27FC236}">
                <a16:creationId xmlns:a16="http://schemas.microsoft.com/office/drawing/2014/main" id="{A5E694A7-A3D2-40DD-BB9C-A281A7EA8DBA}"/>
              </a:ext>
            </a:extLst>
          </p:cNvPr>
          <p:cNvSpPr/>
          <p:nvPr/>
        </p:nvSpPr>
        <p:spPr>
          <a:xfrm>
            <a:off x="8315876" y="5309343"/>
            <a:ext cx="540000" cy="216000"/>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700">
                <a:solidFill>
                  <a:srgbClr val="FFFFFF"/>
                </a:solidFill>
                <a:latin typeface="Verdana"/>
              </a:rPr>
              <a:t>3</a:t>
            </a:r>
            <a:r>
              <a:rPr kumimoji="0" lang="en-AU"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9" name="Rectangle: Rounded Corners 222">
            <a:extLst>
              <a:ext uri="{FF2B5EF4-FFF2-40B4-BE49-F238E27FC236}">
                <a16:creationId xmlns:a16="http://schemas.microsoft.com/office/drawing/2014/main" id="{CA50442A-1A5A-48BA-B121-CB5D84D68573}"/>
              </a:ext>
            </a:extLst>
          </p:cNvPr>
          <p:cNvSpPr/>
          <p:nvPr/>
        </p:nvSpPr>
        <p:spPr>
          <a:xfrm>
            <a:off x="8740384" y="5670730"/>
            <a:ext cx="540000" cy="216000"/>
          </a:xfrm>
          <a:prstGeom prst="homePlate">
            <a:avLst/>
          </a:prstGeom>
          <a:solidFill>
            <a:srgbClr val="70A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700">
                <a:solidFill>
                  <a:srgbClr val="FFFFFF"/>
                </a:solidFill>
                <a:latin typeface="Verdana"/>
              </a:rPr>
              <a:t>3</a:t>
            </a:r>
            <a:r>
              <a:rPr kumimoji="0" lang="en-AU"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30" name="Rectangle: Rounded Corners 222">
            <a:extLst>
              <a:ext uri="{FF2B5EF4-FFF2-40B4-BE49-F238E27FC236}">
                <a16:creationId xmlns:a16="http://schemas.microsoft.com/office/drawing/2014/main" id="{4EAD4411-84E0-4DA6-933D-B69F15760F7A}"/>
              </a:ext>
            </a:extLst>
          </p:cNvPr>
          <p:cNvSpPr/>
          <p:nvPr/>
        </p:nvSpPr>
        <p:spPr>
          <a:xfrm>
            <a:off x="9306999" y="6110344"/>
            <a:ext cx="540000" cy="216000"/>
          </a:xfrm>
          <a:prstGeom prst="homePlate">
            <a:avLst/>
          </a:prstGeom>
          <a:solidFill>
            <a:srgbClr val="00C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700">
                <a:solidFill>
                  <a:srgbClr val="FFFFFF"/>
                </a:solidFill>
                <a:latin typeface="Verdana"/>
              </a:rPr>
              <a:t>3</a:t>
            </a:r>
            <a:r>
              <a:rPr kumimoji="0" lang="en-AU"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31" name="Rectangle: Rounded Corners 217">
            <a:extLst>
              <a:ext uri="{FF2B5EF4-FFF2-40B4-BE49-F238E27FC236}">
                <a16:creationId xmlns:a16="http://schemas.microsoft.com/office/drawing/2014/main" id="{92E5569C-50DE-4BE5-9363-4323A93522BD}"/>
              </a:ext>
            </a:extLst>
          </p:cNvPr>
          <p:cNvSpPr/>
          <p:nvPr/>
        </p:nvSpPr>
        <p:spPr>
          <a:xfrm>
            <a:off x="9357001" y="6478100"/>
            <a:ext cx="693554" cy="216000"/>
          </a:xfrm>
          <a:prstGeom prst="homePlate">
            <a:avLst>
              <a:gd name="adj" fmla="val 500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800">
                <a:solidFill>
                  <a:srgbClr val="FFFFFF"/>
                </a:solidFill>
                <a:latin typeface="Verdana"/>
              </a:rPr>
              <a:t>4</a:t>
            </a:r>
            <a:r>
              <a:rPr kumimoji="0" lang="en-AU"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32" name="Star: 5 Points 431">
            <a:extLst>
              <a:ext uri="{FF2B5EF4-FFF2-40B4-BE49-F238E27FC236}">
                <a16:creationId xmlns:a16="http://schemas.microsoft.com/office/drawing/2014/main" id="{58A76A07-F25B-474A-8996-5769521F086B}"/>
              </a:ext>
            </a:extLst>
          </p:cNvPr>
          <p:cNvSpPr/>
          <p:nvPr/>
        </p:nvSpPr>
        <p:spPr>
          <a:xfrm>
            <a:off x="9069954" y="6106280"/>
            <a:ext cx="342634" cy="216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3" name="Arrow: Chevron 432">
            <a:extLst>
              <a:ext uri="{FF2B5EF4-FFF2-40B4-BE49-F238E27FC236}">
                <a16:creationId xmlns:a16="http://schemas.microsoft.com/office/drawing/2014/main" id="{EACCC42F-FF12-4CBC-B4A1-018A82735A20}"/>
              </a:ext>
            </a:extLst>
          </p:cNvPr>
          <p:cNvSpPr/>
          <p:nvPr/>
        </p:nvSpPr>
        <p:spPr>
          <a:xfrm>
            <a:off x="10050555" y="6478100"/>
            <a:ext cx="2056380" cy="244676"/>
          </a:xfrm>
          <a:prstGeom prst="chevron">
            <a:avLst/>
          </a:prstGeom>
          <a:no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solidFill>
                  <a:schemeClr val="tx1"/>
                </a:solidFill>
              </a:rPr>
              <a:t>AMS</a:t>
            </a:r>
          </a:p>
        </p:txBody>
      </p:sp>
      <p:sp>
        <p:nvSpPr>
          <p:cNvPr id="434" name="TextBox 433">
            <a:extLst>
              <a:ext uri="{FF2B5EF4-FFF2-40B4-BE49-F238E27FC236}">
                <a16:creationId xmlns:a16="http://schemas.microsoft.com/office/drawing/2014/main" id="{5E2E4B8F-D871-4FA9-92B2-638BD44C8B47}"/>
              </a:ext>
            </a:extLst>
          </p:cNvPr>
          <p:cNvSpPr txBox="1"/>
          <p:nvPr/>
        </p:nvSpPr>
        <p:spPr>
          <a:xfrm>
            <a:off x="8470069" y="6096543"/>
            <a:ext cx="771202" cy="230832"/>
          </a:xfrm>
          <a:prstGeom prst="rect">
            <a:avLst/>
          </a:prstGeom>
          <a:noFill/>
        </p:spPr>
        <p:txBody>
          <a:bodyPr wrap="square" rtlCol="0">
            <a:spAutoFit/>
          </a:bodyPr>
          <a:lstStyle/>
          <a:p>
            <a:r>
              <a:rPr lang="en-AU" sz="900"/>
              <a:t>Go Live</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888480" y="1104900"/>
            <a:ext cx="5038725" cy="5347970"/>
          </a:xfrm>
          <a:custGeom>
            <a:avLst/>
            <a:gdLst/>
            <a:ahLst/>
            <a:cxnLst/>
            <a:rect l="l" t="t" r="r" b="b"/>
            <a:pathLst>
              <a:path w="5038725" h="5347970">
                <a:moveTo>
                  <a:pt x="0" y="5347716"/>
                </a:moveTo>
                <a:lnTo>
                  <a:pt x="5038344" y="5347716"/>
                </a:lnTo>
                <a:lnTo>
                  <a:pt x="5038344" y="0"/>
                </a:lnTo>
                <a:lnTo>
                  <a:pt x="0" y="0"/>
                </a:lnTo>
                <a:lnTo>
                  <a:pt x="0" y="5347716"/>
                </a:lnTo>
                <a:close/>
              </a:path>
            </a:pathLst>
          </a:custGeom>
          <a:solidFill>
            <a:srgbClr val="F1F1F1"/>
          </a:solidFill>
        </p:spPr>
        <p:txBody>
          <a:bodyPr wrap="square" lIns="0" tIns="0" rIns="0" bIns="0" rtlCol="0"/>
          <a:lstStyle/>
          <a:p>
            <a:endParaRPr/>
          </a:p>
        </p:txBody>
      </p:sp>
      <p:sp>
        <p:nvSpPr>
          <p:cNvPr id="3" name="object 3"/>
          <p:cNvSpPr/>
          <p:nvPr/>
        </p:nvSpPr>
        <p:spPr>
          <a:xfrm>
            <a:off x="6888480" y="1104900"/>
            <a:ext cx="5038725" cy="5347970"/>
          </a:xfrm>
          <a:custGeom>
            <a:avLst/>
            <a:gdLst/>
            <a:ahLst/>
            <a:cxnLst/>
            <a:rect l="l" t="t" r="r" b="b"/>
            <a:pathLst>
              <a:path w="5038725" h="5347970">
                <a:moveTo>
                  <a:pt x="0" y="5347716"/>
                </a:moveTo>
                <a:lnTo>
                  <a:pt x="5038344" y="5347716"/>
                </a:lnTo>
                <a:lnTo>
                  <a:pt x="5038344" y="0"/>
                </a:lnTo>
                <a:lnTo>
                  <a:pt x="0" y="0"/>
                </a:lnTo>
                <a:lnTo>
                  <a:pt x="0" y="5347716"/>
                </a:lnTo>
                <a:close/>
              </a:path>
            </a:pathLst>
          </a:custGeom>
          <a:ln w="12192">
            <a:solidFill>
              <a:srgbClr val="F1F1F1"/>
            </a:solidFill>
          </a:ln>
        </p:spPr>
        <p:txBody>
          <a:bodyPr wrap="square" lIns="0" tIns="0" rIns="0" bIns="0" rtlCol="0"/>
          <a:lstStyle/>
          <a:p>
            <a:endParaRPr/>
          </a:p>
        </p:txBody>
      </p:sp>
      <p:sp>
        <p:nvSpPr>
          <p:cNvPr id="4" name="object 4"/>
          <p:cNvSpPr txBox="1">
            <a:spLocks noGrp="1"/>
          </p:cNvSpPr>
          <p:nvPr>
            <p:ph type="title"/>
          </p:nvPr>
        </p:nvSpPr>
        <p:spPr>
          <a:xfrm>
            <a:off x="214680" y="318896"/>
            <a:ext cx="10834320" cy="412934"/>
          </a:xfrm>
          <a:prstGeom prst="rect">
            <a:avLst/>
          </a:prstGeom>
        </p:spPr>
        <p:txBody>
          <a:bodyPr vert="horz" wrap="square" lIns="0" tIns="12700" rIns="0" bIns="0" rtlCol="0">
            <a:spAutoFit/>
          </a:bodyPr>
          <a:lstStyle/>
          <a:p>
            <a:pPr marL="12700">
              <a:lnSpc>
                <a:spcPct val="100000"/>
              </a:lnSpc>
              <a:spcBef>
                <a:spcPts val="100"/>
              </a:spcBef>
            </a:pPr>
            <a:r>
              <a:rPr sz="2600" spc="-65"/>
              <a:t>We </a:t>
            </a:r>
            <a:r>
              <a:rPr sz="2600" spc="-10"/>
              <a:t>Follow </a:t>
            </a:r>
            <a:r>
              <a:rPr sz="2600"/>
              <a:t>a Structure</a:t>
            </a:r>
            <a:r>
              <a:rPr lang="it-IT" sz="2600"/>
              <a:t>d</a:t>
            </a:r>
            <a:r>
              <a:rPr sz="2600"/>
              <a:t> Approach </a:t>
            </a:r>
            <a:r>
              <a:rPr sz="2600" spc="-5"/>
              <a:t>to Design </a:t>
            </a:r>
            <a:r>
              <a:rPr sz="2600" spc="-70"/>
              <a:t>Test</a:t>
            </a:r>
            <a:r>
              <a:rPr sz="2600" spc="-25"/>
              <a:t> </a:t>
            </a:r>
            <a:r>
              <a:rPr sz="2600" spc="-5"/>
              <a:t>Cases</a:t>
            </a:r>
            <a:endParaRPr sz="2600"/>
          </a:p>
        </p:txBody>
      </p:sp>
      <p:sp>
        <p:nvSpPr>
          <p:cNvPr id="5" name="object 5"/>
          <p:cNvSpPr txBox="1"/>
          <p:nvPr/>
        </p:nvSpPr>
        <p:spPr>
          <a:xfrm>
            <a:off x="214680" y="1103502"/>
            <a:ext cx="6238875" cy="4535805"/>
          </a:xfrm>
          <a:prstGeom prst="rect">
            <a:avLst/>
          </a:prstGeom>
        </p:spPr>
        <p:txBody>
          <a:bodyPr vert="horz" wrap="square" lIns="0" tIns="13335" rIns="0" bIns="0" rtlCol="0">
            <a:spAutoFit/>
          </a:bodyPr>
          <a:lstStyle/>
          <a:p>
            <a:pPr marL="12700">
              <a:lnSpc>
                <a:spcPct val="100000"/>
              </a:lnSpc>
              <a:spcBef>
                <a:spcPts val="105"/>
              </a:spcBef>
            </a:pPr>
            <a:r>
              <a:rPr sz="2000" spc="-5">
                <a:solidFill>
                  <a:srgbClr val="12ABDB"/>
                </a:solidFill>
                <a:latin typeface="Verdana"/>
                <a:cs typeface="Verdana"/>
              </a:rPr>
              <a:t>This approach is followed </a:t>
            </a:r>
            <a:r>
              <a:rPr sz="2000">
                <a:solidFill>
                  <a:srgbClr val="12ABDB"/>
                </a:solidFill>
                <a:latin typeface="Verdana"/>
                <a:cs typeface="Verdana"/>
              </a:rPr>
              <a:t>for </a:t>
            </a:r>
            <a:r>
              <a:rPr sz="2000" spc="-5">
                <a:solidFill>
                  <a:srgbClr val="12ABDB"/>
                </a:solidFill>
                <a:latin typeface="Verdana"/>
                <a:cs typeface="Verdana"/>
              </a:rPr>
              <a:t>all type of</a:t>
            </a:r>
            <a:r>
              <a:rPr sz="2000" spc="-45">
                <a:solidFill>
                  <a:srgbClr val="12ABDB"/>
                </a:solidFill>
                <a:latin typeface="Verdana"/>
                <a:cs typeface="Verdana"/>
              </a:rPr>
              <a:t> </a:t>
            </a:r>
            <a:r>
              <a:rPr sz="2000" spc="-5">
                <a:solidFill>
                  <a:srgbClr val="12ABDB"/>
                </a:solidFill>
                <a:latin typeface="Verdana"/>
                <a:cs typeface="Verdana"/>
              </a:rPr>
              <a:t>tests</a:t>
            </a:r>
            <a:endParaRPr sz="2000">
              <a:latin typeface="Verdana"/>
              <a:cs typeface="Verdana"/>
            </a:endParaRPr>
          </a:p>
          <a:p>
            <a:pPr>
              <a:lnSpc>
                <a:spcPct val="100000"/>
              </a:lnSpc>
              <a:spcBef>
                <a:spcPts val="50"/>
              </a:spcBef>
            </a:pPr>
            <a:endParaRPr sz="2650">
              <a:latin typeface="Times New Roman"/>
              <a:cs typeface="Times New Roman"/>
            </a:endParaRPr>
          </a:p>
          <a:p>
            <a:pPr marL="287020" indent="-274320">
              <a:lnSpc>
                <a:spcPct val="100000"/>
              </a:lnSpc>
              <a:spcBef>
                <a:spcPts val="5"/>
              </a:spcBef>
              <a:buClr>
                <a:srgbClr val="006FAC"/>
              </a:buClr>
              <a:buFont typeface="Wingdings"/>
              <a:buChar char=""/>
              <a:tabLst>
                <a:tab pos="286385" algn="l"/>
                <a:tab pos="287020" algn="l"/>
              </a:tabLst>
            </a:pPr>
            <a:r>
              <a:rPr sz="1400">
                <a:latin typeface="Verdana"/>
                <a:cs typeface="Verdana"/>
              </a:rPr>
              <a:t>Use of </a:t>
            </a:r>
            <a:r>
              <a:rPr sz="1400" b="1" spc="-5">
                <a:latin typeface="Verdana"/>
                <a:cs typeface="Verdana"/>
              </a:rPr>
              <a:t>test </a:t>
            </a:r>
            <a:r>
              <a:rPr sz="1400" b="1">
                <a:latin typeface="Verdana"/>
                <a:cs typeface="Verdana"/>
              </a:rPr>
              <a:t>design techniques </a:t>
            </a:r>
            <a:r>
              <a:rPr sz="1400">
                <a:latin typeface="Verdana"/>
                <a:cs typeface="Verdana"/>
              </a:rPr>
              <a:t>across all </a:t>
            </a:r>
            <a:r>
              <a:rPr sz="1400" spc="-5">
                <a:latin typeface="Verdana"/>
                <a:cs typeface="Verdana"/>
              </a:rPr>
              <a:t>test </a:t>
            </a:r>
            <a:r>
              <a:rPr sz="1400">
                <a:latin typeface="Verdana"/>
                <a:cs typeface="Verdana"/>
              </a:rPr>
              <a:t>levels will</a:t>
            </a:r>
            <a:r>
              <a:rPr sz="1400" spc="-260">
                <a:latin typeface="Verdana"/>
                <a:cs typeface="Verdana"/>
              </a:rPr>
              <a:t> </a:t>
            </a:r>
            <a:r>
              <a:rPr sz="1400">
                <a:latin typeface="Verdana"/>
                <a:cs typeface="Verdana"/>
              </a:rPr>
              <a:t>ensure</a:t>
            </a:r>
          </a:p>
          <a:p>
            <a:pPr marL="286385">
              <a:lnSpc>
                <a:spcPct val="100000"/>
              </a:lnSpc>
            </a:pPr>
            <a:r>
              <a:rPr sz="1400" b="1" spc="-5">
                <a:latin typeface="Verdana"/>
                <a:cs typeface="Verdana"/>
              </a:rPr>
              <a:t>efficient test implementation </a:t>
            </a:r>
            <a:r>
              <a:rPr sz="1400">
                <a:latin typeface="Verdana"/>
                <a:cs typeface="Verdana"/>
              </a:rPr>
              <a:t>and </a:t>
            </a:r>
            <a:r>
              <a:rPr sz="1400" b="1" spc="-5">
                <a:latin typeface="Verdana"/>
                <a:cs typeface="Verdana"/>
              </a:rPr>
              <a:t>sufficient</a:t>
            </a:r>
            <a:r>
              <a:rPr sz="1400" b="1" spc="-85">
                <a:latin typeface="Verdana"/>
                <a:cs typeface="Verdana"/>
              </a:rPr>
              <a:t> </a:t>
            </a:r>
            <a:r>
              <a:rPr sz="1400" b="1" spc="-5">
                <a:latin typeface="Verdana"/>
                <a:cs typeface="Verdana"/>
              </a:rPr>
              <a:t>coverage</a:t>
            </a:r>
            <a:r>
              <a:rPr sz="1400" spc="-5">
                <a:latin typeface="Verdana"/>
                <a:cs typeface="Verdana"/>
              </a:rPr>
              <a:t>.</a:t>
            </a:r>
            <a:endParaRPr sz="1400">
              <a:latin typeface="Verdana"/>
              <a:cs typeface="Verdana"/>
            </a:endParaRPr>
          </a:p>
          <a:p>
            <a:pPr marL="287020" indent="-274320">
              <a:lnSpc>
                <a:spcPct val="100000"/>
              </a:lnSpc>
              <a:spcBef>
                <a:spcPts val="790"/>
              </a:spcBef>
              <a:buClr>
                <a:srgbClr val="006FAC"/>
              </a:buClr>
              <a:buFont typeface="Wingdings"/>
              <a:buChar char=""/>
              <a:tabLst>
                <a:tab pos="286385" algn="l"/>
                <a:tab pos="287020" algn="l"/>
              </a:tabLst>
            </a:pPr>
            <a:r>
              <a:rPr sz="1400" b="1" spc="-5">
                <a:latin typeface="Verdana"/>
                <a:cs typeface="Verdana"/>
              </a:rPr>
              <a:t>Selection </a:t>
            </a:r>
            <a:r>
              <a:rPr sz="1400">
                <a:latin typeface="Verdana"/>
                <a:cs typeface="Verdana"/>
              </a:rPr>
              <a:t>of </a:t>
            </a:r>
            <a:r>
              <a:rPr sz="1400" spc="-5">
                <a:latin typeface="Verdana"/>
                <a:cs typeface="Verdana"/>
              </a:rPr>
              <a:t>test </a:t>
            </a:r>
            <a:r>
              <a:rPr sz="1400">
                <a:latin typeface="Verdana"/>
                <a:cs typeface="Verdana"/>
              </a:rPr>
              <a:t>design </a:t>
            </a:r>
            <a:r>
              <a:rPr sz="1400" spc="-5">
                <a:latin typeface="Verdana"/>
                <a:cs typeface="Verdana"/>
              </a:rPr>
              <a:t>technique </a:t>
            </a:r>
            <a:r>
              <a:rPr sz="1400">
                <a:latin typeface="Verdana"/>
                <a:cs typeface="Verdana"/>
              </a:rPr>
              <a:t>depending on </a:t>
            </a:r>
            <a:r>
              <a:rPr sz="1400" b="1">
                <a:latin typeface="Verdana"/>
                <a:cs typeface="Verdana"/>
              </a:rPr>
              <a:t>identified</a:t>
            </a:r>
            <a:r>
              <a:rPr sz="1400" b="1" spc="-140">
                <a:latin typeface="Verdana"/>
                <a:cs typeface="Verdana"/>
              </a:rPr>
              <a:t> </a:t>
            </a:r>
            <a:r>
              <a:rPr sz="1400" b="1" spc="-5">
                <a:latin typeface="Verdana"/>
                <a:cs typeface="Verdana"/>
              </a:rPr>
              <a:t>risk</a:t>
            </a:r>
            <a:endParaRPr sz="1400">
              <a:latin typeface="Verdana"/>
              <a:cs typeface="Verdana"/>
            </a:endParaRPr>
          </a:p>
          <a:p>
            <a:pPr marL="286385">
              <a:lnSpc>
                <a:spcPct val="100000"/>
              </a:lnSpc>
            </a:pPr>
            <a:r>
              <a:rPr sz="1400" b="1">
                <a:latin typeface="Verdana"/>
                <a:cs typeface="Verdana"/>
              </a:rPr>
              <a:t>level </a:t>
            </a:r>
            <a:r>
              <a:rPr sz="1400">
                <a:latin typeface="Verdana"/>
                <a:cs typeface="Verdana"/>
              </a:rPr>
              <a:t>combined with </a:t>
            </a:r>
            <a:r>
              <a:rPr sz="1400" b="1">
                <a:latin typeface="Verdana"/>
                <a:cs typeface="Verdana"/>
              </a:rPr>
              <a:t>type of </a:t>
            </a:r>
            <a:r>
              <a:rPr sz="1400" b="1" spc="-5">
                <a:latin typeface="Verdana"/>
                <a:cs typeface="Verdana"/>
              </a:rPr>
              <a:t>functionality </a:t>
            </a:r>
            <a:r>
              <a:rPr sz="1400">
                <a:latin typeface="Verdana"/>
                <a:cs typeface="Verdana"/>
              </a:rPr>
              <a:t>to</a:t>
            </a:r>
            <a:r>
              <a:rPr sz="1400" spc="-110">
                <a:latin typeface="Verdana"/>
                <a:cs typeface="Verdana"/>
              </a:rPr>
              <a:t> </a:t>
            </a:r>
            <a:r>
              <a:rPr sz="1400" spc="-5">
                <a:latin typeface="Verdana"/>
                <a:cs typeface="Verdana"/>
              </a:rPr>
              <a:t>test.</a:t>
            </a:r>
            <a:endParaRPr sz="1400">
              <a:latin typeface="Verdana"/>
              <a:cs typeface="Verdana"/>
            </a:endParaRPr>
          </a:p>
          <a:p>
            <a:pPr marL="287020" indent="-274320">
              <a:lnSpc>
                <a:spcPct val="100000"/>
              </a:lnSpc>
              <a:spcBef>
                <a:spcPts val="805"/>
              </a:spcBef>
              <a:buClr>
                <a:srgbClr val="006FAC"/>
              </a:buClr>
              <a:buFont typeface="Wingdings"/>
              <a:buChar char=""/>
              <a:tabLst>
                <a:tab pos="286385" algn="l"/>
                <a:tab pos="287020" algn="l"/>
              </a:tabLst>
            </a:pPr>
            <a:r>
              <a:rPr sz="1400" b="1">
                <a:latin typeface="Verdana"/>
                <a:cs typeface="Verdana"/>
              </a:rPr>
              <a:t>Test design </a:t>
            </a:r>
            <a:r>
              <a:rPr sz="1400" spc="-5">
                <a:latin typeface="Verdana"/>
                <a:cs typeface="Verdana"/>
              </a:rPr>
              <a:t>techniques </a:t>
            </a:r>
            <a:r>
              <a:rPr sz="1400">
                <a:latin typeface="Verdana"/>
                <a:cs typeface="Verdana"/>
              </a:rPr>
              <a:t>is used as </a:t>
            </a:r>
            <a:r>
              <a:rPr sz="1400" b="1">
                <a:latin typeface="Verdana"/>
                <a:cs typeface="Verdana"/>
              </a:rPr>
              <a:t>input </a:t>
            </a:r>
            <a:r>
              <a:rPr sz="1400" b="1" spc="-5">
                <a:latin typeface="Verdana"/>
                <a:cs typeface="Verdana"/>
              </a:rPr>
              <a:t>to exploratory</a:t>
            </a:r>
            <a:r>
              <a:rPr sz="1400" b="1" spc="-135">
                <a:latin typeface="Verdana"/>
                <a:cs typeface="Verdana"/>
              </a:rPr>
              <a:t> </a:t>
            </a:r>
            <a:r>
              <a:rPr sz="1400" b="1" spc="-5">
                <a:latin typeface="Verdana"/>
                <a:cs typeface="Verdana"/>
              </a:rPr>
              <a:t>testing</a:t>
            </a:r>
            <a:endParaRPr sz="1400">
              <a:latin typeface="Verdana"/>
              <a:cs typeface="Verdana"/>
            </a:endParaRPr>
          </a:p>
          <a:p>
            <a:pPr marL="286385">
              <a:lnSpc>
                <a:spcPct val="100000"/>
              </a:lnSpc>
            </a:pPr>
            <a:r>
              <a:rPr sz="1400">
                <a:latin typeface="Verdana"/>
                <a:cs typeface="Verdana"/>
              </a:rPr>
              <a:t>as</a:t>
            </a:r>
            <a:r>
              <a:rPr sz="1400" spc="-20">
                <a:latin typeface="Verdana"/>
                <a:cs typeface="Verdana"/>
              </a:rPr>
              <a:t> </a:t>
            </a:r>
            <a:r>
              <a:rPr sz="1400">
                <a:latin typeface="Verdana"/>
                <a:cs typeface="Verdana"/>
              </a:rPr>
              <a:t>well</a:t>
            </a:r>
          </a:p>
          <a:p>
            <a:pPr marL="286385" marR="165100" indent="-274320">
              <a:lnSpc>
                <a:spcPct val="100000"/>
              </a:lnSpc>
              <a:spcBef>
                <a:spcPts val="805"/>
              </a:spcBef>
              <a:buClr>
                <a:srgbClr val="006FAC"/>
              </a:buClr>
              <a:buFont typeface="Wingdings"/>
              <a:buChar char=""/>
              <a:tabLst>
                <a:tab pos="286385" algn="l"/>
                <a:tab pos="287020" algn="l"/>
              </a:tabLst>
            </a:pPr>
            <a:r>
              <a:rPr sz="1400">
                <a:latin typeface="Verdana"/>
                <a:cs typeface="Verdana"/>
              </a:rPr>
              <a:t>Example </a:t>
            </a:r>
            <a:r>
              <a:rPr sz="1400" spc="-5">
                <a:latin typeface="Verdana"/>
                <a:cs typeface="Verdana"/>
              </a:rPr>
              <a:t>technique </a:t>
            </a:r>
            <a:r>
              <a:rPr sz="1400">
                <a:latin typeface="Verdana"/>
                <a:cs typeface="Verdana"/>
              </a:rPr>
              <a:t>which </a:t>
            </a:r>
            <a:r>
              <a:rPr sz="1400" spc="5">
                <a:latin typeface="Verdana"/>
                <a:cs typeface="Verdana"/>
              </a:rPr>
              <a:t>will </a:t>
            </a:r>
            <a:r>
              <a:rPr sz="1400" spc="-5">
                <a:latin typeface="Verdana"/>
                <a:cs typeface="Verdana"/>
              </a:rPr>
              <a:t>be </a:t>
            </a:r>
            <a:r>
              <a:rPr sz="1400">
                <a:latin typeface="Verdana"/>
                <a:cs typeface="Verdana"/>
              </a:rPr>
              <a:t>used for creation of</a:t>
            </a:r>
            <a:r>
              <a:rPr sz="1400" spc="-160">
                <a:latin typeface="Verdana"/>
                <a:cs typeface="Verdana"/>
              </a:rPr>
              <a:t> </a:t>
            </a:r>
            <a:r>
              <a:rPr sz="1400">
                <a:latin typeface="Verdana"/>
                <a:cs typeface="Verdana"/>
              </a:rPr>
              <a:t>end-to-end  scenarios for </a:t>
            </a:r>
            <a:r>
              <a:rPr sz="1400" spc="-30">
                <a:latin typeface="Verdana"/>
                <a:cs typeface="Verdana"/>
              </a:rPr>
              <a:t>UAT </a:t>
            </a:r>
            <a:r>
              <a:rPr sz="1400">
                <a:latin typeface="Verdana"/>
                <a:cs typeface="Verdana"/>
              </a:rPr>
              <a:t>and </a:t>
            </a:r>
            <a:r>
              <a:rPr sz="1400" spc="-5">
                <a:latin typeface="Verdana"/>
                <a:cs typeface="Verdana"/>
              </a:rPr>
              <a:t>E2E test; </a:t>
            </a:r>
            <a:r>
              <a:rPr sz="1400">
                <a:latin typeface="Verdana"/>
                <a:cs typeface="Verdana"/>
              </a:rPr>
              <a:t>Process Cycle</a:t>
            </a:r>
            <a:r>
              <a:rPr sz="1400" spc="-145">
                <a:latin typeface="Verdana"/>
                <a:cs typeface="Verdana"/>
              </a:rPr>
              <a:t> </a:t>
            </a:r>
            <a:r>
              <a:rPr sz="1400" spc="-30">
                <a:latin typeface="Verdana"/>
                <a:cs typeface="Verdana"/>
              </a:rPr>
              <a:t>Test:</a:t>
            </a:r>
            <a:endParaRPr sz="1400">
              <a:latin typeface="Verdana"/>
              <a:cs typeface="Verdana"/>
            </a:endParaRPr>
          </a:p>
          <a:p>
            <a:pPr marL="561340" lvl="1" indent="-274955">
              <a:lnSpc>
                <a:spcPct val="100000"/>
              </a:lnSpc>
              <a:spcBef>
                <a:spcPts val="790"/>
              </a:spcBef>
              <a:buClr>
                <a:srgbClr val="12ABDB"/>
              </a:buClr>
              <a:buFont typeface="Arial"/>
              <a:buChar char="•"/>
              <a:tabLst>
                <a:tab pos="560705" algn="l"/>
                <a:tab pos="561340" algn="l"/>
              </a:tabLst>
            </a:pPr>
            <a:r>
              <a:rPr sz="1400" u="sng">
                <a:uFill>
                  <a:solidFill>
                    <a:srgbClr val="000000"/>
                  </a:solidFill>
                </a:uFill>
                <a:latin typeface="Verdana"/>
                <a:cs typeface="Verdana"/>
              </a:rPr>
              <a:t>Processes/workflows</a:t>
            </a:r>
            <a:r>
              <a:rPr sz="1400">
                <a:latin typeface="Verdana"/>
                <a:cs typeface="Verdana"/>
              </a:rPr>
              <a:t> identified </a:t>
            </a:r>
            <a:r>
              <a:rPr sz="1400" spc="5">
                <a:latin typeface="Verdana"/>
                <a:cs typeface="Verdana"/>
              </a:rPr>
              <a:t>in </a:t>
            </a:r>
            <a:r>
              <a:rPr sz="1400" spc="-5">
                <a:latin typeface="Verdana"/>
                <a:cs typeface="Verdana"/>
              </a:rPr>
              <a:t>collaboration </a:t>
            </a:r>
            <a:r>
              <a:rPr sz="1400">
                <a:latin typeface="Verdana"/>
                <a:cs typeface="Verdana"/>
              </a:rPr>
              <a:t>with</a:t>
            </a:r>
            <a:r>
              <a:rPr sz="1400" spc="-140">
                <a:latin typeface="Verdana"/>
                <a:cs typeface="Verdana"/>
              </a:rPr>
              <a:t> </a:t>
            </a:r>
            <a:r>
              <a:rPr sz="1400">
                <a:latin typeface="Verdana"/>
                <a:cs typeface="Verdana"/>
              </a:rPr>
              <a:t>end-users</a:t>
            </a:r>
          </a:p>
          <a:p>
            <a:pPr marL="561340">
              <a:lnSpc>
                <a:spcPct val="100000"/>
              </a:lnSpc>
              <a:spcBef>
                <a:spcPts val="5"/>
              </a:spcBef>
            </a:pPr>
            <a:r>
              <a:rPr sz="1400">
                <a:latin typeface="Verdana"/>
                <a:cs typeface="Verdana"/>
              </a:rPr>
              <a:t>as a </a:t>
            </a:r>
            <a:r>
              <a:rPr sz="1400" spc="-5">
                <a:latin typeface="Verdana"/>
                <a:cs typeface="Verdana"/>
              </a:rPr>
              <a:t>part </a:t>
            </a:r>
            <a:r>
              <a:rPr sz="1400">
                <a:latin typeface="Verdana"/>
                <a:cs typeface="Verdana"/>
              </a:rPr>
              <a:t>of “Prepare” – focus on </a:t>
            </a:r>
            <a:r>
              <a:rPr sz="1400" spc="-5">
                <a:latin typeface="Verdana"/>
                <a:cs typeface="Verdana"/>
              </a:rPr>
              <a:t>built-in</a:t>
            </a:r>
            <a:r>
              <a:rPr sz="1400" spc="-175">
                <a:latin typeface="Verdana"/>
                <a:cs typeface="Verdana"/>
              </a:rPr>
              <a:t> </a:t>
            </a:r>
            <a:r>
              <a:rPr sz="1400" spc="-5">
                <a:latin typeface="Verdana"/>
                <a:cs typeface="Verdana"/>
              </a:rPr>
              <a:t>quality</a:t>
            </a:r>
            <a:endParaRPr sz="1400">
              <a:latin typeface="Verdana"/>
              <a:cs typeface="Verdana"/>
            </a:endParaRPr>
          </a:p>
          <a:p>
            <a:pPr marL="561340" marR="117475" lvl="1" indent="-274320">
              <a:lnSpc>
                <a:spcPct val="100000"/>
              </a:lnSpc>
              <a:spcBef>
                <a:spcPts val="805"/>
              </a:spcBef>
              <a:buClr>
                <a:srgbClr val="12ABDB"/>
              </a:buClr>
              <a:buFont typeface="Arial"/>
              <a:buChar char="•"/>
              <a:tabLst>
                <a:tab pos="560705" algn="l"/>
                <a:tab pos="561340" algn="l"/>
              </a:tabLst>
            </a:pPr>
            <a:r>
              <a:rPr sz="1400" u="sng">
                <a:uFill>
                  <a:solidFill>
                    <a:srgbClr val="000000"/>
                  </a:solidFill>
                </a:uFill>
                <a:latin typeface="Verdana"/>
                <a:cs typeface="Verdana"/>
              </a:rPr>
              <a:t>Logical </a:t>
            </a:r>
            <a:r>
              <a:rPr sz="1400" u="sng" spc="-5">
                <a:uFill>
                  <a:solidFill>
                    <a:srgbClr val="000000"/>
                  </a:solidFill>
                </a:uFill>
                <a:latin typeface="Verdana"/>
                <a:cs typeface="Verdana"/>
              </a:rPr>
              <a:t>test </a:t>
            </a:r>
            <a:r>
              <a:rPr sz="1400" u="sng">
                <a:uFill>
                  <a:solidFill>
                    <a:srgbClr val="000000"/>
                  </a:solidFill>
                </a:uFill>
                <a:latin typeface="Verdana"/>
                <a:cs typeface="Verdana"/>
              </a:rPr>
              <a:t>cases identified</a:t>
            </a:r>
            <a:r>
              <a:rPr sz="1400">
                <a:latin typeface="Verdana"/>
                <a:cs typeface="Verdana"/>
              </a:rPr>
              <a:t> – </a:t>
            </a:r>
            <a:r>
              <a:rPr sz="1400" spc="-5">
                <a:latin typeface="Verdana"/>
                <a:cs typeface="Verdana"/>
              </a:rPr>
              <a:t>coverage </a:t>
            </a:r>
            <a:r>
              <a:rPr sz="1400">
                <a:latin typeface="Verdana"/>
                <a:cs typeface="Verdana"/>
              </a:rPr>
              <a:t>according </a:t>
            </a:r>
            <a:r>
              <a:rPr sz="1400" spc="-5">
                <a:latin typeface="Verdana"/>
                <a:cs typeface="Verdana"/>
              </a:rPr>
              <a:t>to</a:t>
            </a:r>
            <a:r>
              <a:rPr sz="1400" spc="-140">
                <a:latin typeface="Verdana"/>
                <a:cs typeface="Verdana"/>
              </a:rPr>
              <a:t> </a:t>
            </a:r>
            <a:r>
              <a:rPr sz="1400">
                <a:latin typeface="Verdana"/>
                <a:cs typeface="Verdana"/>
              </a:rPr>
              <a:t>identified  risk level, </a:t>
            </a:r>
            <a:r>
              <a:rPr sz="1400" spc="-5">
                <a:latin typeface="Verdana"/>
                <a:cs typeface="Verdana"/>
              </a:rPr>
              <a:t>based </a:t>
            </a:r>
            <a:r>
              <a:rPr sz="1400">
                <a:latin typeface="Verdana"/>
                <a:cs typeface="Verdana"/>
              </a:rPr>
              <a:t>on workflows, using </a:t>
            </a:r>
            <a:r>
              <a:rPr sz="1400" spc="-5">
                <a:latin typeface="Verdana"/>
                <a:cs typeface="Verdana"/>
              </a:rPr>
              <a:t>test </a:t>
            </a:r>
            <a:r>
              <a:rPr sz="1400">
                <a:latin typeface="Verdana"/>
                <a:cs typeface="Verdana"/>
              </a:rPr>
              <a:t>design </a:t>
            </a:r>
            <a:r>
              <a:rPr sz="1400" spc="-5">
                <a:latin typeface="Verdana"/>
                <a:cs typeface="Verdana"/>
              </a:rPr>
              <a:t>technique  </a:t>
            </a:r>
            <a:r>
              <a:rPr sz="1400">
                <a:latin typeface="Verdana"/>
                <a:cs typeface="Verdana"/>
              </a:rPr>
              <a:t>Process Cycle</a:t>
            </a:r>
            <a:r>
              <a:rPr sz="1400" spc="-80">
                <a:latin typeface="Verdana"/>
                <a:cs typeface="Verdana"/>
              </a:rPr>
              <a:t> </a:t>
            </a:r>
            <a:r>
              <a:rPr sz="1400" spc="-40">
                <a:latin typeface="Verdana"/>
                <a:cs typeface="Verdana"/>
              </a:rPr>
              <a:t>Test</a:t>
            </a:r>
            <a:endParaRPr sz="1400">
              <a:latin typeface="Verdana"/>
              <a:cs typeface="Verdana"/>
            </a:endParaRPr>
          </a:p>
          <a:p>
            <a:pPr marL="561340" marR="618490" lvl="1" indent="-274320">
              <a:lnSpc>
                <a:spcPct val="100000"/>
              </a:lnSpc>
              <a:spcBef>
                <a:spcPts val="805"/>
              </a:spcBef>
              <a:buClr>
                <a:srgbClr val="12ABDB"/>
              </a:buClr>
              <a:buFont typeface="Arial"/>
              <a:buChar char="•"/>
              <a:tabLst>
                <a:tab pos="560705" algn="l"/>
                <a:tab pos="561340" algn="l"/>
              </a:tabLst>
            </a:pPr>
            <a:r>
              <a:rPr sz="1400" u="sng" spc="-5">
                <a:uFill>
                  <a:solidFill>
                    <a:srgbClr val="000000"/>
                  </a:solidFill>
                </a:uFill>
                <a:latin typeface="Verdana"/>
                <a:cs typeface="Verdana"/>
              </a:rPr>
              <a:t>End-to-end test </a:t>
            </a:r>
            <a:r>
              <a:rPr sz="1400" u="sng">
                <a:uFill>
                  <a:solidFill>
                    <a:srgbClr val="000000"/>
                  </a:solidFill>
                </a:uFill>
                <a:latin typeface="Verdana"/>
                <a:cs typeface="Verdana"/>
              </a:rPr>
              <a:t>cases ready</a:t>
            </a:r>
            <a:r>
              <a:rPr sz="1400">
                <a:latin typeface="Verdana"/>
                <a:cs typeface="Verdana"/>
              </a:rPr>
              <a:t> for execution – manually</a:t>
            </a:r>
            <a:r>
              <a:rPr sz="1400" spc="-165">
                <a:latin typeface="Verdana"/>
                <a:cs typeface="Verdana"/>
              </a:rPr>
              <a:t> </a:t>
            </a:r>
            <a:r>
              <a:rPr sz="1400">
                <a:latin typeface="Verdana"/>
                <a:cs typeface="Verdana"/>
              </a:rPr>
              <a:t>or  </a:t>
            </a:r>
            <a:r>
              <a:rPr sz="1400" spc="-5">
                <a:latin typeface="Verdana"/>
                <a:cs typeface="Verdana"/>
              </a:rPr>
              <a:t>automated, </a:t>
            </a:r>
            <a:r>
              <a:rPr sz="1400">
                <a:latin typeface="Verdana"/>
                <a:cs typeface="Verdana"/>
              </a:rPr>
              <a:t>depending on selected</a:t>
            </a:r>
            <a:r>
              <a:rPr sz="1400" spc="-80">
                <a:latin typeface="Verdana"/>
                <a:cs typeface="Verdana"/>
              </a:rPr>
              <a:t> </a:t>
            </a:r>
            <a:r>
              <a:rPr sz="1400">
                <a:latin typeface="Verdana"/>
                <a:cs typeface="Verdana"/>
              </a:rPr>
              <a:t>implementation</a:t>
            </a:r>
          </a:p>
        </p:txBody>
      </p:sp>
      <p:sp>
        <p:nvSpPr>
          <p:cNvPr id="6" name="object 6"/>
          <p:cNvSpPr/>
          <p:nvPr/>
        </p:nvSpPr>
        <p:spPr>
          <a:xfrm>
            <a:off x="8174735" y="1385316"/>
            <a:ext cx="3537204" cy="1187196"/>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084819" y="3070860"/>
            <a:ext cx="3596639" cy="1754124"/>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9448800" y="5446776"/>
            <a:ext cx="510540" cy="419100"/>
          </a:xfrm>
          <a:custGeom>
            <a:avLst/>
            <a:gdLst/>
            <a:ahLst/>
            <a:cxnLst/>
            <a:rect l="l" t="t" r="r" b="b"/>
            <a:pathLst>
              <a:path w="510540" h="419100">
                <a:moveTo>
                  <a:pt x="510540" y="0"/>
                </a:moveTo>
                <a:lnTo>
                  <a:pt x="0" y="0"/>
                </a:lnTo>
                <a:lnTo>
                  <a:pt x="0" y="419100"/>
                </a:lnTo>
                <a:lnTo>
                  <a:pt x="440690" y="419100"/>
                </a:lnTo>
                <a:lnTo>
                  <a:pt x="510540" y="349250"/>
                </a:lnTo>
                <a:lnTo>
                  <a:pt x="510540" y="0"/>
                </a:lnTo>
                <a:close/>
              </a:path>
            </a:pathLst>
          </a:custGeom>
          <a:solidFill>
            <a:srgbClr val="BBE7FF"/>
          </a:solidFill>
        </p:spPr>
        <p:txBody>
          <a:bodyPr wrap="square" lIns="0" tIns="0" rIns="0" bIns="0" rtlCol="0"/>
          <a:lstStyle/>
          <a:p>
            <a:endParaRPr/>
          </a:p>
        </p:txBody>
      </p:sp>
      <p:sp>
        <p:nvSpPr>
          <p:cNvPr id="9" name="object 9"/>
          <p:cNvSpPr/>
          <p:nvPr/>
        </p:nvSpPr>
        <p:spPr>
          <a:xfrm>
            <a:off x="9889490" y="5796026"/>
            <a:ext cx="69850" cy="69850"/>
          </a:xfrm>
          <a:custGeom>
            <a:avLst/>
            <a:gdLst/>
            <a:ahLst/>
            <a:cxnLst/>
            <a:rect l="l" t="t" r="r" b="b"/>
            <a:pathLst>
              <a:path w="69850" h="69850">
                <a:moveTo>
                  <a:pt x="69850" y="0"/>
                </a:moveTo>
                <a:lnTo>
                  <a:pt x="13969" y="13970"/>
                </a:lnTo>
                <a:lnTo>
                  <a:pt x="0" y="69850"/>
                </a:lnTo>
                <a:lnTo>
                  <a:pt x="69850" y="0"/>
                </a:lnTo>
                <a:close/>
              </a:path>
            </a:pathLst>
          </a:custGeom>
          <a:solidFill>
            <a:srgbClr val="96B9CD"/>
          </a:solidFill>
        </p:spPr>
        <p:txBody>
          <a:bodyPr wrap="square" lIns="0" tIns="0" rIns="0" bIns="0" rtlCol="0"/>
          <a:lstStyle/>
          <a:p>
            <a:endParaRPr/>
          </a:p>
        </p:txBody>
      </p:sp>
      <p:sp>
        <p:nvSpPr>
          <p:cNvPr id="10" name="object 10"/>
          <p:cNvSpPr/>
          <p:nvPr/>
        </p:nvSpPr>
        <p:spPr>
          <a:xfrm>
            <a:off x="9448800" y="5446776"/>
            <a:ext cx="510540" cy="419100"/>
          </a:xfrm>
          <a:custGeom>
            <a:avLst/>
            <a:gdLst/>
            <a:ahLst/>
            <a:cxnLst/>
            <a:rect l="l" t="t" r="r" b="b"/>
            <a:pathLst>
              <a:path w="510540" h="419100">
                <a:moveTo>
                  <a:pt x="440690" y="419100"/>
                </a:moveTo>
                <a:lnTo>
                  <a:pt x="454659" y="363220"/>
                </a:lnTo>
                <a:lnTo>
                  <a:pt x="510540" y="349250"/>
                </a:lnTo>
                <a:lnTo>
                  <a:pt x="440690" y="419100"/>
                </a:lnTo>
                <a:lnTo>
                  <a:pt x="0" y="419100"/>
                </a:lnTo>
                <a:lnTo>
                  <a:pt x="0" y="0"/>
                </a:lnTo>
                <a:lnTo>
                  <a:pt x="510540" y="0"/>
                </a:lnTo>
                <a:lnTo>
                  <a:pt x="510540" y="349250"/>
                </a:lnTo>
              </a:path>
            </a:pathLst>
          </a:custGeom>
          <a:ln w="12192">
            <a:solidFill>
              <a:srgbClr val="00507D"/>
            </a:solidFill>
          </a:ln>
        </p:spPr>
        <p:txBody>
          <a:bodyPr wrap="square" lIns="0" tIns="0" rIns="0" bIns="0" rtlCol="0"/>
          <a:lstStyle/>
          <a:p>
            <a:endParaRPr/>
          </a:p>
        </p:txBody>
      </p:sp>
      <p:sp>
        <p:nvSpPr>
          <p:cNvPr id="11" name="object 11"/>
          <p:cNvSpPr/>
          <p:nvPr/>
        </p:nvSpPr>
        <p:spPr>
          <a:xfrm>
            <a:off x="9601200" y="5599176"/>
            <a:ext cx="510540" cy="419100"/>
          </a:xfrm>
          <a:custGeom>
            <a:avLst/>
            <a:gdLst/>
            <a:ahLst/>
            <a:cxnLst/>
            <a:rect l="l" t="t" r="r" b="b"/>
            <a:pathLst>
              <a:path w="510540" h="419100">
                <a:moveTo>
                  <a:pt x="510540" y="0"/>
                </a:moveTo>
                <a:lnTo>
                  <a:pt x="0" y="0"/>
                </a:lnTo>
                <a:lnTo>
                  <a:pt x="0" y="419100"/>
                </a:lnTo>
                <a:lnTo>
                  <a:pt x="440690" y="419100"/>
                </a:lnTo>
                <a:lnTo>
                  <a:pt x="510540" y="349250"/>
                </a:lnTo>
                <a:lnTo>
                  <a:pt x="510540" y="0"/>
                </a:lnTo>
                <a:close/>
              </a:path>
            </a:pathLst>
          </a:custGeom>
          <a:solidFill>
            <a:srgbClr val="BBE7FF"/>
          </a:solidFill>
        </p:spPr>
        <p:txBody>
          <a:bodyPr wrap="square" lIns="0" tIns="0" rIns="0" bIns="0" rtlCol="0"/>
          <a:lstStyle/>
          <a:p>
            <a:endParaRPr/>
          </a:p>
        </p:txBody>
      </p:sp>
      <p:sp>
        <p:nvSpPr>
          <p:cNvPr id="12" name="object 12"/>
          <p:cNvSpPr/>
          <p:nvPr/>
        </p:nvSpPr>
        <p:spPr>
          <a:xfrm>
            <a:off x="10041890" y="5948426"/>
            <a:ext cx="69850" cy="69850"/>
          </a:xfrm>
          <a:custGeom>
            <a:avLst/>
            <a:gdLst/>
            <a:ahLst/>
            <a:cxnLst/>
            <a:rect l="l" t="t" r="r" b="b"/>
            <a:pathLst>
              <a:path w="69850" h="69850">
                <a:moveTo>
                  <a:pt x="69850" y="0"/>
                </a:moveTo>
                <a:lnTo>
                  <a:pt x="13969" y="13970"/>
                </a:lnTo>
                <a:lnTo>
                  <a:pt x="0" y="69850"/>
                </a:lnTo>
                <a:lnTo>
                  <a:pt x="69850" y="0"/>
                </a:lnTo>
                <a:close/>
              </a:path>
            </a:pathLst>
          </a:custGeom>
          <a:solidFill>
            <a:srgbClr val="96B9CD"/>
          </a:solidFill>
        </p:spPr>
        <p:txBody>
          <a:bodyPr wrap="square" lIns="0" tIns="0" rIns="0" bIns="0" rtlCol="0"/>
          <a:lstStyle/>
          <a:p>
            <a:endParaRPr/>
          </a:p>
        </p:txBody>
      </p:sp>
      <p:sp>
        <p:nvSpPr>
          <p:cNvPr id="13" name="object 13"/>
          <p:cNvSpPr/>
          <p:nvPr/>
        </p:nvSpPr>
        <p:spPr>
          <a:xfrm>
            <a:off x="9601200" y="5599176"/>
            <a:ext cx="510540" cy="419100"/>
          </a:xfrm>
          <a:custGeom>
            <a:avLst/>
            <a:gdLst/>
            <a:ahLst/>
            <a:cxnLst/>
            <a:rect l="l" t="t" r="r" b="b"/>
            <a:pathLst>
              <a:path w="510540" h="419100">
                <a:moveTo>
                  <a:pt x="440690" y="419100"/>
                </a:moveTo>
                <a:lnTo>
                  <a:pt x="454659" y="363220"/>
                </a:lnTo>
                <a:lnTo>
                  <a:pt x="510540" y="349250"/>
                </a:lnTo>
                <a:lnTo>
                  <a:pt x="440690" y="419100"/>
                </a:lnTo>
                <a:lnTo>
                  <a:pt x="0" y="419100"/>
                </a:lnTo>
                <a:lnTo>
                  <a:pt x="0" y="0"/>
                </a:lnTo>
                <a:lnTo>
                  <a:pt x="510540" y="0"/>
                </a:lnTo>
                <a:lnTo>
                  <a:pt x="510540" y="349250"/>
                </a:lnTo>
              </a:path>
            </a:pathLst>
          </a:custGeom>
          <a:ln w="12192">
            <a:solidFill>
              <a:srgbClr val="00507D"/>
            </a:solidFill>
          </a:ln>
        </p:spPr>
        <p:txBody>
          <a:bodyPr wrap="square" lIns="0" tIns="0" rIns="0" bIns="0" rtlCol="0"/>
          <a:lstStyle/>
          <a:p>
            <a:endParaRPr/>
          </a:p>
        </p:txBody>
      </p:sp>
      <p:sp>
        <p:nvSpPr>
          <p:cNvPr id="14" name="object 14"/>
          <p:cNvSpPr/>
          <p:nvPr/>
        </p:nvSpPr>
        <p:spPr>
          <a:xfrm>
            <a:off x="9753600" y="5751576"/>
            <a:ext cx="510540" cy="419100"/>
          </a:xfrm>
          <a:custGeom>
            <a:avLst/>
            <a:gdLst/>
            <a:ahLst/>
            <a:cxnLst/>
            <a:rect l="l" t="t" r="r" b="b"/>
            <a:pathLst>
              <a:path w="510540" h="419100">
                <a:moveTo>
                  <a:pt x="510540" y="0"/>
                </a:moveTo>
                <a:lnTo>
                  <a:pt x="0" y="0"/>
                </a:lnTo>
                <a:lnTo>
                  <a:pt x="0" y="419100"/>
                </a:lnTo>
                <a:lnTo>
                  <a:pt x="440690" y="419100"/>
                </a:lnTo>
                <a:lnTo>
                  <a:pt x="510540" y="349250"/>
                </a:lnTo>
                <a:lnTo>
                  <a:pt x="510540" y="0"/>
                </a:lnTo>
                <a:close/>
              </a:path>
            </a:pathLst>
          </a:custGeom>
          <a:solidFill>
            <a:srgbClr val="BBE7FF"/>
          </a:solidFill>
        </p:spPr>
        <p:txBody>
          <a:bodyPr wrap="square" lIns="0" tIns="0" rIns="0" bIns="0" rtlCol="0"/>
          <a:lstStyle/>
          <a:p>
            <a:endParaRPr/>
          </a:p>
        </p:txBody>
      </p:sp>
      <p:sp>
        <p:nvSpPr>
          <p:cNvPr id="15" name="object 15"/>
          <p:cNvSpPr/>
          <p:nvPr/>
        </p:nvSpPr>
        <p:spPr>
          <a:xfrm>
            <a:off x="10194290" y="6100826"/>
            <a:ext cx="69850" cy="69850"/>
          </a:xfrm>
          <a:custGeom>
            <a:avLst/>
            <a:gdLst/>
            <a:ahLst/>
            <a:cxnLst/>
            <a:rect l="l" t="t" r="r" b="b"/>
            <a:pathLst>
              <a:path w="69850" h="69850">
                <a:moveTo>
                  <a:pt x="69850" y="0"/>
                </a:moveTo>
                <a:lnTo>
                  <a:pt x="13969" y="13970"/>
                </a:lnTo>
                <a:lnTo>
                  <a:pt x="0" y="69850"/>
                </a:lnTo>
                <a:lnTo>
                  <a:pt x="69850" y="0"/>
                </a:lnTo>
                <a:close/>
              </a:path>
            </a:pathLst>
          </a:custGeom>
          <a:solidFill>
            <a:srgbClr val="96B9CD"/>
          </a:solidFill>
        </p:spPr>
        <p:txBody>
          <a:bodyPr wrap="square" lIns="0" tIns="0" rIns="0" bIns="0" rtlCol="0"/>
          <a:lstStyle/>
          <a:p>
            <a:endParaRPr/>
          </a:p>
        </p:txBody>
      </p:sp>
      <p:sp>
        <p:nvSpPr>
          <p:cNvPr id="16" name="object 16"/>
          <p:cNvSpPr/>
          <p:nvPr/>
        </p:nvSpPr>
        <p:spPr>
          <a:xfrm>
            <a:off x="9753600" y="5751576"/>
            <a:ext cx="510540" cy="419100"/>
          </a:xfrm>
          <a:custGeom>
            <a:avLst/>
            <a:gdLst/>
            <a:ahLst/>
            <a:cxnLst/>
            <a:rect l="l" t="t" r="r" b="b"/>
            <a:pathLst>
              <a:path w="510540" h="419100">
                <a:moveTo>
                  <a:pt x="440690" y="419100"/>
                </a:moveTo>
                <a:lnTo>
                  <a:pt x="454659" y="363220"/>
                </a:lnTo>
                <a:lnTo>
                  <a:pt x="510540" y="349250"/>
                </a:lnTo>
                <a:lnTo>
                  <a:pt x="440690" y="419100"/>
                </a:lnTo>
                <a:lnTo>
                  <a:pt x="0" y="419100"/>
                </a:lnTo>
                <a:lnTo>
                  <a:pt x="0" y="0"/>
                </a:lnTo>
                <a:lnTo>
                  <a:pt x="510540" y="0"/>
                </a:lnTo>
                <a:lnTo>
                  <a:pt x="510540" y="349250"/>
                </a:lnTo>
              </a:path>
            </a:pathLst>
          </a:custGeom>
          <a:ln w="12192">
            <a:solidFill>
              <a:srgbClr val="00507D"/>
            </a:solidFill>
          </a:ln>
        </p:spPr>
        <p:txBody>
          <a:bodyPr wrap="square" lIns="0" tIns="0" rIns="0" bIns="0" rtlCol="0"/>
          <a:lstStyle/>
          <a:p>
            <a:endParaRPr/>
          </a:p>
        </p:txBody>
      </p:sp>
      <p:sp>
        <p:nvSpPr>
          <p:cNvPr id="17" name="object 17"/>
          <p:cNvSpPr/>
          <p:nvPr/>
        </p:nvSpPr>
        <p:spPr>
          <a:xfrm>
            <a:off x="9906000" y="5903976"/>
            <a:ext cx="510540" cy="419100"/>
          </a:xfrm>
          <a:custGeom>
            <a:avLst/>
            <a:gdLst/>
            <a:ahLst/>
            <a:cxnLst/>
            <a:rect l="l" t="t" r="r" b="b"/>
            <a:pathLst>
              <a:path w="510540" h="419100">
                <a:moveTo>
                  <a:pt x="510540" y="0"/>
                </a:moveTo>
                <a:lnTo>
                  <a:pt x="0" y="0"/>
                </a:lnTo>
                <a:lnTo>
                  <a:pt x="0" y="419100"/>
                </a:lnTo>
                <a:lnTo>
                  <a:pt x="440690" y="419100"/>
                </a:lnTo>
                <a:lnTo>
                  <a:pt x="510540" y="349250"/>
                </a:lnTo>
                <a:lnTo>
                  <a:pt x="510540" y="0"/>
                </a:lnTo>
                <a:close/>
              </a:path>
            </a:pathLst>
          </a:custGeom>
          <a:solidFill>
            <a:srgbClr val="BBE7FF"/>
          </a:solidFill>
        </p:spPr>
        <p:txBody>
          <a:bodyPr wrap="square" lIns="0" tIns="0" rIns="0" bIns="0" rtlCol="0"/>
          <a:lstStyle/>
          <a:p>
            <a:endParaRPr/>
          </a:p>
        </p:txBody>
      </p:sp>
      <p:sp>
        <p:nvSpPr>
          <p:cNvPr id="18" name="object 18"/>
          <p:cNvSpPr/>
          <p:nvPr/>
        </p:nvSpPr>
        <p:spPr>
          <a:xfrm>
            <a:off x="10346690" y="6253226"/>
            <a:ext cx="69850" cy="69850"/>
          </a:xfrm>
          <a:custGeom>
            <a:avLst/>
            <a:gdLst/>
            <a:ahLst/>
            <a:cxnLst/>
            <a:rect l="l" t="t" r="r" b="b"/>
            <a:pathLst>
              <a:path w="69850" h="69850">
                <a:moveTo>
                  <a:pt x="69850" y="0"/>
                </a:moveTo>
                <a:lnTo>
                  <a:pt x="13969" y="13970"/>
                </a:lnTo>
                <a:lnTo>
                  <a:pt x="0" y="69850"/>
                </a:lnTo>
                <a:lnTo>
                  <a:pt x="69850" y="0"/>
                </a:lnTo>
                <a:close/>
              </a:path>
            </a:pathLst>
          </a:custGeom>
          <a:solidFill>
            <a:srgbClr val="96B9CD"/>
          </a:solidFill>
        </p:spPr>
        <p:txBody>
          <a:bodyPr wrap="square" lIns="0" tIns="0" rIns="0" bIns="0" rtlCol="0"/>
          <a:lstStyle/>
          <a:p>
            <a:endParaRPr/>
          </a:p>
        </p:txBody>
      </p:sp>
      <p:sp>
        <p:nvSpPr>
          <p:cNvPr id="19" name="object 19"/>
          <p:cNvSpPr/>
          <p:nvPr/>
        </p:nvSpPr>
        <p:spPr>
          <a:xfrm>
            <a:off x="9906000" y="5903976"/>
            <a:ext cx="510540" cy="419100"/>
          </a:xfrm>
          <a:custGeom>
            <a:avLst/>
            <a:gdLst/>
            <a:ahLst/>
            <a:cxnLst/>
            <a:rect l="l" t="t" r="r" b="b"/>
            <a:pathLst>
              <a:path w="510540" h="419100">
                <a:moveTo>
                  <a:pt x="440690" y="419100"/>
                </a:moveTo>
                <a:lnTo>
                  <a:pt x="454659" y="363220"/>
                </a:lnTo>
                <a:lnTo>
                  <a:pt x="510540" y="349250"/>
                </a:lnTo>
                <a:lnTo>
                  <a:pt x="440690" y="419100"/>
                </a:lnTo>
                <a:lnTo>
                  <a:pt x="0" y="419100"/>
                </a:lnTo>
                <a:lnTo>
                  <a:pt x="0" y="0"/>
                </a:lnTo>
                <a:lnTo>
                  <a:pt x="510540" y="0"/>
                </a:lnTo>
                <a:lnTo>
                  <a:pt x="510540" y="349250"/>
                </a:lnTo>
              </a:path>
            </a:pathLst>
          </a:custGeom>
          <a:ln w="12192">
            <a:solidFill>
              <a:srgbClr val="00507D"/>
            </a:solidFill>
          </a:ln>
        </p:spPr>
        <p:txBody>
          <a:bodyPr wrap="square" lIns="0" tIns="0" rIns="0" bIns="0" rtlCol="0"/>
          <a:lstStyle/>
          <a:p>
            <a:endParaRPr/>
          </a:p>
        </p:txBody>
      </p:sp>
      <p:sp>
        <p:nvSpPr>
          <p:cNvPr id="20" name="object 20"/>
          <p:cNvSpPr/>
          <p:nvPr/>
        </p:nvSpPr>
        <p:spPr>
          <a:xfrm>
            <a:off x="7294673" y="5646769"/>
            <a:ext cx="673100" cy="640715"/>
          </a:xfrm>
          <a:custGeom>
            <a:avLst/>
            <a:gdLst/>
            <a:ahLst/>
            <a:cxnLst/>
            <a:rect l="l" t="t" r="r" b="b"/>
            <a:pathLst>
              <a:path w="673100" h="640714">
                <a:moveTo>
                  <a:pt x="319533" y="0"/>
                </a:moveTo>
                <a:lnTo>
                  <a:pt x="272254" y="6084"/>
                </a:lnTo>
                <a:lnTo>
                  <a:pt x="225797" y="18615"/>
                </a:lnTo>
                <a:lnTo>
                  <a:pt x="180888" y="37677"/>
                </a:lnTo>
                <a:lnTo>
                  <a:pt x="138249" y="63358"/>
                </a:lnTo>
                <a:lnTo>
                  <a:pt x="99948" y="95096"/>
                </a:lnTo>
                <a:lnTo>
                  <a:pt x="67664" y="130904"/>
                </a:lnTo>
                <a:lnTo>
                  <a:pt x="41501" y="170067"/>
                </a:lnTo>
                <a:lnTo>
                  <a:pt x="21555" y="211879"/>
                </a:lnTo>
                <a:lnTo>
                  <a:pt x="7925" y="255632"/>
                </a:lnTo>
                <a:lnTo>
                  <a:pt x="707" y="300617"/>
                </a:lnTo>
                <a:lnTo>
                  <a:pt x="0" y="346128"/>
                </a:lnTo>
                <a:lnTo>
                  <a:pt x="5899" y="391457"/>
                </a:lnTo>
                <a:lnTo>
                  <a:pt x="18503" y="435895"/>
                </a:lnTo>
                <a:lnTo>
                  <a:pt x="37909" y="478736"/>
                </a:lnTo>
                <a:lnTo>
                  <a:pt x="64214" y="519270"/>
                </a:lnTo>
                <a:lnTo>
                  <a:pt x="96590" y="555578"/>
                </a:lnTo>
                <a:lnTo>
                  <a:pt x="132760" y="585339"/>
                </a:lnTo>
                <a:lnTo>
                  <a:pt x="172104" y="608624"/>
                </a:lnTo>
                <a:lnTo>
                  <a:pt x="214000" y="625499"/>
                </a:lnTo>
                <a:lnTo>
                  <a:pt x="257828" y="636034"/>
                </a:lnTo>
                <a:lnTo>
                  <a:pt x="302968" y="640297"/>
                </a:lnTo>
                <a:lnTo>
                  <a:pt x="348799" y="638357"/>
                </a:lnTo>
                <a:lnTo>
                  <a:pt x="394701" y="630282"/>
                </a:lnTo>
                <a:lnTo>
                  <a:pt x="440052" y="616140"/>
                </a:lnTo>
                <a:lnTo>
                  <a:pt x="484232" y="596000"/>
                </a:lnTo>
                <a:lnTo>
                  <a:pt x="526621" y="569931"/>
                </a:lnTo>
                <a:lnTo>
                  <a:pt x="564800" y="538618"/>
                </a:lnTo>
                <a:lnTo>
                  <a:pt x="597582" y="503988"/>
                </a:lnTo>
                <a:lnTo>
                  <a:pt x="624740" y="466572"/>
                </a:lnTo>
                <a:lnTo>
                  <a:pt x="646048" y="426904"/>
                </a:lnTo>
                <a:lnTo>
                  <a:pt x="661278" y="385516"/>
                </a:lnTo>
                <a:lnTo>
                  <a:pt x="670205" y="342940"/>
                </a:lnTo>
                <a:lnTo>
                  <a:pt x="672601" y="299711"/>
                </a:lnTo>
                <a:lnTo>
                  <a:pt x="668240" y="256359"/>
                </a:lnTo>
                <a:lnTo>
                  <a:pt x="656895" y="213419"/>
                </a:lnTo>
                <a:lnTo>
                  <a:pt x="638339" y="171424"/>
                </a:lnTo>
                <a:lnTo>
                  <a:pt x="612346" y="130904"/>
                </a:lnTo>
                <a:lnTo>
                  <a:pt x="579695" y="94201"/>
                </a:lnTo>
                <a:lnTo>
                  <a:pt x="542763" y="63353"/>
                </a:lnTo>
                <a:lnTo>
                  <a:pt x="502303" y="38462"/>
                </a:lnTo>
                <a:lnTo>
                  <a:pt x="459017" y="19594"/>
                </a:lnTo>
                <a:lnTo>
                  <a:pt x="413642" y="6838"/>
                </a:lnTo>
                <a:lnTo>
                  <a:pt x="366905" y="279"/>
                </a:lnTo>
                <a:lnTo>
                  <a:pt x="319533" y="0"/>
                </a:lnTo>
                <a:close/>
              </a:path>
            </a:pathLst>
          </a:custGeom>
          <a:solidFill>
            <a:srgbClr val="2B133C"/>
          </a:solidFill>
        </p:spPr>
        <p:txBody>
          <a:bodyPr wrap="square" lIns="0" tIns="0" rIns="0" bIns="0" rtlCol="0"/>
          <a:lstStyle/>
          <a:p>
            <a:endParaRPr/>
          </a:p>
        </p:txBody>
      </p:sp>
      <p:sp>
        <p:nvSpPr>
          <p:cNvPr id="21" name="object 21"/>
          <p:cNvSpPr/>
          <p:nvPr/>
        </p:nvSpPr>
        <p:spPr>
          <a:xfrm>
            <a:off x="7420356" y="5749429"/>
            <a:ext cx="427271" cy="380206"/>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7291831" y="1339359"/>
            <a:ext cx="673735" cy="638810"/>
          </a:xfrm>
          <a:custGeom>
            <a:avLst/>
            <a:gdLst/>
            <a:ahLst/>
            <a:cxnLst/>
            <a:rect l="l" t="t" r="r" b="b"/>
            <a:pathLst>
              <a:path w="673734" h="638810">
                <a:moveTo>
                  <a:pt x="319928" y="0"/>
                </a:moveTo>
                <a:lnTo>
                  <a:pt x="272633" y="5900"/>
                </a:lnTo>
                <a:lnTo>
                  <a:pt x="226098" y="18333"/>
                </a:lnTo>
                <a:lnTo>
                  <a:pt x="181040" y="37406"/>
                </a:lnTo>
                <a:lnTo>
                  <a:pt x="138176" y="63228"/>
                </a:lnTo>
                <a:lnTo>
                  <a:pt x="99666" y="94744"/>
                </a:lnTo>
                <a:lnTo>
                  <a:pt x="67258" y="130347"/>
                </a:lnTo>
                <a:lnTo>
                  <a:pt x="41044" y="169319"/>
                </a:lnTo>
                <a:lnTo>
                  <a:pt x="21118" y="210943"/>
                </a:lnTo>
                <a:lnTo>
                  <a:pt x="7573" y="254500"/>
                </a:lnTo>
                <a:lnTo>
                  <a:pt x="502" y="299272"/>
                </a:lnTo>
                <a:lnTo>
                  <a:pt x="0" y="344542"/>
                </a:lnTo>
                <a:lnTo>
                  <a:pt x="6158" y="389591"/>
                </a:lnTo>
                <a:lnTo>
                  <a:pt x="19070" y="433702"/>
                </a:lnTo>
                <a:lnTo>
                  <a:pt x="38831" y="476157"/>
                </a:lnTo>
                <a:lnTo>
                  <a:pt x="65532" y="516237"/>
                </a:lnTo>
                <a:lnTo>
                  <a:pt x="97777" y="552610"/>
                </a:lnTo>
                <a:lnTo>
                  <a:pt x="133714" y="582512"/>
                </a:lnTo>
                <a:lnTo>
                  <a:pt x="172750" y="605990"/>
                </a:lnTo>
                <a:lnTo>
                  <a:pt x="214294" y="623090"/>
                </a:lnTo>
                <a:lnTo>
                  <a:pt x="257755" y="633861"/>
                </a:lnTo>
                <a:lnTo>
                  <a:pt x="302541" y="638348"/>
                </a:lnTo>
                <a:lnTo>
                  <a:pt x="348061" y="636599"/>
                </a:lnTo>
                <a:lnTo>
                  <a:pt x="393724" y="628661"/>
                </a:lnTo>
                <a:lnTo>
                  <a:pt x="438937" y="614581"/>
                </a:lnTo>
                <a:lnTo>
                  <a:pt x="483111" y="594405"/>
                </a:lnTo>
                <a:lnTo>
                  <a:pt x="525653" y="568180"/>
                </a:lnTo>
                <a:lnTo>
                  <a:pt x="564485" y="537066"/>
                </a:lnTo>
                <a:lnTo>
                  <a:pt x="597777" y="502566"/>
                </a:lnTo>
                <a:lnTo>
                  <a:pt x="625312" y="465242"/>
                </a:lnTo>
                <a:lnTo>
                  <a:pt x="646871" y="425656"/>
                </a:lnTo>
                <a:lnTo>
                  <a:pt x="662236" y="384370"/>
                </a:lnTo>
                <a:lnTo>
                  <a:pt x="671189" y="341947"/>
                </a:lnTo>
                <a:lnTo>
                  <a:pt x="673512" y="298948"/>
                </a:lnTo>
                <a:lnTo>
                  <a:pt x="668987" y="255936"/>
                </a:lnTo>
                <a:lnTo>
                  <a:pt x="657395" y="213473"/>
                </a:lnTo>
                <a:lnTo>
                  <a:pt x="638519" y="172121"/>
                </a:lnTo>
                <a:lnTo>
                  <a:pt x="612140" y="132443"/>
                </a:lnTo>
                <a:lnTo>
                  <a:pt x="579572" y="95668"/>
                </a:lnTo>
                <a:lnTo>
                  <a:pt x="542752" y="64663"/>
                </a:lnTo>
                <a:lnTo>
                  <a:pt x="502395" y="39537"/>
                </a:lnTo>
                <a:lnTo>
                  <a:pt x="459218" y="20399"/>
                </a:lnTo>
                <a:lnTo>
                  <a:pt x="413937" y="7358"/>
                </a:lnTo>
                <a:lnTo>
                  <a:pt x="367268" y="522"/>
                </a:lnTo>
                <a:lnTo>
                  <a:pt x="319928" y="0"/>
                </a:lnTo>
                <a:close/>
              </a:path>
            </a:pathLst>
          </a:custGeom>
          <a:solidFill>
            <a:srgbClr val="0075B0"/>
          </a:solidFill>
        </p:spPr>
        <p:txBody>
          <a:bodyPr wrap="square" lIns="0" tIns="0" rIns="0" bIns="0" rtlCol="0"/>
          <a:lstStyle/>
          <a:p>
            <a:endParaRPr/>
          </a:p>
        </p:txBody>
      </p:sp>
      <p:sp>
        <p:nvSpPr>
          <p:cNvPr id="23" name="object 23"/>
          <p:cNvSpPr/>
          <p:nvPr/>
        </p:nvSpPr>
        <p:spPr>
          <a:xfrm>
            <a:off x="7440548" y="1524380"/>
            <a:ext cx="141350" cy="151638"/>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7373111" y="1712954"/>
            <a:ext cx="266700" cy="153035"/>
          </a:xfrm>
          <a:custGeom>
            <a:avLst/>
            <a:gdLst/>
            <a:ahLst/>
            <a:cxnLst/>
            <a:rect l="l" t="t" r="r" b="b"/>
            <a:pathLst>
              <a:path w="266700" h="153035">
                <a:moveTo>
                  <a:pt x="161857" y="0"/>
                </a:moveTo>
                <a:lnTo>
                  <a:pt x="100711" y="4212"/>
                </a:lnTo>
                <a:lnTo>
                  <a:pt x="37734" y="39042"/>
                </a:lnTo>
                <a:lnTo>
                  <a:pt x="3429" y="105304"/>
                </a:lnTo>
                <a:lnTo>
                  <a:pt x="0" y="136673"/>
                </a:lnTo>
                <a:lnTo>
                  <a:pt x="37467" y="138123"/>
                </a:lnTo>
                <a:lnTo>
                  <a:pt x="119246" y="150033"/>
                </a:lnTo>
                <a:lnTo>
                  <a:pt x="168217" y="152470"/>
                </a:lnTo>
                <a:lnTo>
                  <a:pt x="225679" y="147214"/>
                </a:lnTo>
                <a:lnTo>
                  <a:pt x="259127" y="121925"/>
                </a:lnTo>
                <a:lnTo>
                  <a:pt x="266237" y="102084"/>
                </a:lnTo>
                <a:lnTo>
                  <a:pt x="263906" y="80920"/>
                </a:lnTo>
                <a:lnTo>
                  <a:pt x="243764" y="43914"/>
                </a:lnTo>
                <a:lnTo>
                  <a:pt x="209645" y="15087"/>
                </a:lnTo>
                <a:lnTo>
                  <a:pt x="161857" y="0"/>
                </a:lnTo>
                <a:close/>
              </a:path>
            </a:pathLst>
          </a:custGeom>
          <a:solidFill>
            <a:srgbClr val="FFFFFF"/>
          </a:solidFill>
        </p:spPr>
        <p:txBody>
          <a:bodyPr wrap="square" lIns="0" tIns="0" rIns="0" bIns="0" rtlCol="0"/>
          <a:lstStyle/>
          <a:p>
            <a:endParaRPr/>
          </a:p>
        </p:txBody>
      </p:sp>
      <p:sp>
        <p:nvSpPr>
          <p:cNvPr id="25" name="object 25"/>
          <p:cNvSpPr/>
          <p:nvPr/>
        </p:nvSpPr>
        <p:spPr>
          <a:xfrm>
            <a:off x="7661147" y="1506092"/>
            <a:ext cx="146303" cy="152019"/>
          </a:xfrm>
          <a:prstGeom prst="rect">
            <a:avLst/>
          </a:prstGeom>
          <a:blipFill>
            <a:blip r:embed="rId6" cstate="print"/>
            <a:stretch>
              <a:fillRect/>
            </a:stretch>
          </a:blipFill>
        </p:spPr>
        <p:txBody>
          <a:bodyPr wrap="square" lIns="0" tIns="0" rIns="0" bIns="0" rtlCol="0"/>
          <a:lstStyle/>
          <a:p>
            <a:endParaRPr/>
          </a:p>
        </p:txBody>
      </p:sp>
      <p:sp>
        <p:nvSpPr>
          <p:cNvPr id="26" name="object 26"/>
          <p:cNvSpPr/>
          <p:nvPr/>
        </p:nvSpPr>
        <p:spPr>
          <a:xfrm>
            <a:off x="7595616" y="1695918"/>
            <a:ext cx="267335" cy="147320"/>
          </a:xfrm>
          <a:custGeom>
            <a:avLst/>
            <a:gdLst/>
            <a:ahLst/>
            <a:cxnLst/>
            <a:rect l="l" t="t" r="r" b="b"/>
            <a:pathLst>
              <a:path w="267334" h="147319">
                <a:moveTo>
                  <a:pt x="163304" y="0"/>
                </a:moveTo>
                <a:lnTo>
                  <a:pt x="100710" y="4103"/>
                </a:lnTo>
                <a:lnTo>
                  <a:pt x="39020" y="38092"/>
                </a:lnTo>
                <a:lnTo>
                  <a:pt x="3428" y="100369"/>
                </a:lnTo>
                <a:lnTo>
                  <a:pt x="0" y="134786"/>
                </a:lnTo>
                <a:lnTo>
                  <a:pt x="37467" y="135829"/>
                </a:lnTo>
                <a:lnTo>
                  <a:pt x="119246" y="145649"/>
                </a:lnTo>
                <a:lnTo>
                  <a:pt x="168217" y="147185"/>
                </a:lnTo>
                <a:lnTo>
                  <a:pt x="225678" y="141644"/>
                </a:lnTo>
                <a:lnTo>
                  <a:pt x="260413" y="119721"/>
                </a:lnTo>
                <a:lnTo>
                  <a:pt x="266719" y="100550"/>
                </a:lnTo>
                <a:lnTo>
                  <a:pt x="263905" y="79795"/>
                </a:lnTo>
                <a:lnTo>
                  <a:pt x="244246" y="43322"/>
                </a:lnTo>
                <a:lnTo>
                  <a:pt x="210931" y="14898"/>
                </a:lnTo>
                <a:lnTo>
                  <a:pt x="163304" y="0"/>
                </a:lnTo>
                <a:close/>
              </a:path>
            </a:pathLst>
          </a:custGeom>
          <a:solidFill>
            <a:srgbClr val="2F0A47"/>
          </a:solidFill>
        </p:spPr>
        <p:txBody>
          <a:bodyPr wrap="square" lIns="0" tIns="0" rIns="0" bIns="0" rtlCol="0"/>
          <a:lstStyle/>
          <a:p>
            <a:endParaRPr/>
          </a:p>
        </p:txBody>
      </p:sp>
      <p:sp>
        <p:nvSpPr>
          <p:cNvPr id="27" name="object 27"/>
          <p:cNvSpPr/>
          <p:nvPr/>
        </p:nvSpPr>
        <p:spPr>
          <a:xfrm>
            <a:off x="7513319" y="1363980"/>
            <a:ext cx="210311" cy="149352"/>
          </a:xfrm>
          <a:prstGeom prst="rect">
            <a:avLst/>
          </a:prstGeom>
          <a:blipFill>
            <a:blip r:embed="rId7" cstate="print"/>
            <a:stretch>
              <a:fillRect/>
            </a:stretch>
          </a:blipFill>
        </p:spPr>
        <p:txBody>
          <a:bodyPr wrap="square" lIns="0" tIns="0" rIns="0" bIns="0" rtlCol="0"/>
          <a:lstStyle/>
          <a:p>
            <a:endParaRPr/>
          </a:p>
        </p:txBody>
      </p:sp>
      <p:sp>
        <p:nvSpPr>
          <p:cNvPr id="28" name="object 28"/>
          <p:cNvSpPr/>
          <p:nvPr/>
        </p:nvSpPr>
        <p:spPr>
          <a:xfrm>
            <a:off x="7256005" y="3114092"/>
            <a:ext cx="673735" cy="640715"/>
          </a:xfrm>
          <a:custGeom>
            <a:avLst/>
            <a:gdLst/>
            <a:ahLst/>
            <a:cxnLst/>
            <a:rect l="l" t="t" r="r" b="b"/>
            <a:pathLst>
              <a:path w="673734" h="640714">
                <a:moveTo>
                  <a:pt x="319632" y="0"/>
                </a:moveTo>
                <a:lnTo>
                  <a:pt x="272271" y="6004"/>
                </a:lnTo>
                <a:lnTo>
                  <a:pt x="225671" y="18448"/>
                </a:lnTo>
                <a:lnTo>
                  <a:pt x="180564" y="37433"/>
                </a:lnTo>
                <a:lnTo>
                  <a:pt x="137680" y="63066"/>
                </a:lnTo>
                <a:lnTo>
                  <a:pt x="99199" y="94406"/>
                </a:lnTo>
                <a:lnTo>
                  <a:pt x="66864" y="129955"/>
                </a:lnTo>
                <a:lnTo>
                  <a:pt x="40749" y="168978"/>
                </a:lnTo>
                <a:lnTo>
                  <a:pt x="20931" y="210742"/>
                </a:lnTo>
                <a:lnTo>
                  <a:pt x="7483" y="254511"/>
                </a:lnTo>
                <a:lnTo>
                  <a:pt x="481" y="299551"/>
                </a:lnTo>
                <a:lnTo>
                  <a:pt x="0" y="345127"/>
                </a:lnTo>
                <a:lnTo>
                  <a:pt x="6114" y="390506"/>
                </a:lnTo>
                <a:lnTo>
                  <a:pt x="18899" y="434951"/>
                </a:lnTo>
                <a:lnTo>
                  <a:pt x="38430" y="477730"/>
                </a:lnTo>
                <a:lnTo>
                  <a:pt x="64782" y="518107"/>
                </a:lnTo>
                <a:lnTo>
                  <a:pt x="96790" y="554687"/>
                </a:lnTo>
                <a:lnTo>
                  <a:pt x="132733" y="584725"/>
                </a:lnTo>
                <a:lnTo>
                  <a:pt x="171955" y="608265"/>
                </a:lnTo>
                <a:lnTo>
                  <a:pt x="213799" y="625351"/>
                </a:lnTo>
                <a:lnTo>
                  <a:pt x="257610" y="636029"/>
                </a:lnTo>
                <a:lnTo>
                  <a:pt x="302731" y="640344"/>
                </a:lnTo>
                <a:lnTo>
                  <a:pt x="348506" y="638338"/>
                </a:lnTo>
                <a:lnTo>
                  <a:pt x="394280" y="630059"/>
                </a:lnTo>
                <a:lnTo>
                  <a:pt x="439396" y="615549"/>
                </a:lnTo>
                <a:lnTo>
                  <a:pt x="483198" y="594854"/>
                </a:lnTo>
                <a:lnTo>
                  <a:pt x="525030" y="568018"/>
                </a:lnTo>
                <a:lnTo>
                  <a:pt x="563893" y="537140"/>
                </a:lnTo>
                <a:lnTo>
                  <a:pt x="597266" y="502846"/>
                </a:lnTo>
                <a:lnTo>
                  <a:pt x="624908" y="465676"/>
                </a:lnTo>
                <a:lnTo>
                  <a:pt x="646583" y="426169"/>
                </a:lnTo>
                <a:lnTo>
                  <a:pt x="662050" y="384865"/>
                </a:lnTo>
                <a:lnTo>
                  <a:pt x="671072" y="342302"/>
                </a:lnTo>
                <a:lnTo>
                  <a:pt x="673408" y="299020"/>
                </a:lnTo>
                <a:lnTo>
                  <a:pt x="668822" y="255558"/>
                </a:lnTo>
                <a:lnTo>
                  <a:pt x="657074" y="212456"/>
                </a:lnTo>
                <a:lnTo>
                  <a:pt x="637925" y="170252"/>
                </a:lnTo>
                <a:lnTo>
                  <a:pt x="611136" y="129487"/>
                </a:lnTo>
                <a:lnTo>
                  <a:pt x="578895" y="93341"/>
                </a:lnTo>
                <a:lnTo>
                  <a:pt x="542302" y="62904"/>
                </a:lnTo>
                <a:lnTo>
                  <a:pt x="502088" y="38280"/>
                </a:lnTo>
                <a:lnTo>
                  <a:pt x="458984" y="19573"/>
                </a:lnTo>
                <a:lnTo>
                  <a:pt x="413720" y="6888"/>
                </a:lnTo>
                <a:lnTo>
                  <a:pt x="367025" y="329"/>
                </a:lnTo>
                <a:lnTo>
                  <a:pt x="319632" y="0"/>
                </a:lnTo>
                <a:close/>
              </a:path>
            </a:pathLst>
          </a:custGeom>
          <a:solidFill>
            <a:srgbClr val="0075B0"/>
          </a:solidFill>
        </p:spPr>
        <p:txBody>
          <a:bodyPr wrap="square" lIns="0" tIns="0" rIns="0" bIns="0" rtlCol="0"/>
          <a:lstStyle/>
          <a:p>
            <a:endParaRPr/>
          </a:p>
        </p:txBody>
      </p:sp>
      <p:sp>
        <p:nvSpPr>
          <p:cNvPr id="29" name="object 29"/>
          <p:cNvSpPr/>
          <p:nvPr/>
        </p:nvSpPr>
        <p:spPr>
          <a:xfrm>
            <a:off x="7426452" y="3296411"/>
            <a:ext cx="330707" cy="268317"/>
          </a:xfrm>
          <a:prstGeom prst="rect">
            <a:avLst/>
          </a:prstGeom>
          <a:blipFill>
            <a:blip r:embed="rId8" cstate="print"/>
            <a:stretch>
              <a:fillRect/>
            </a:stretch>
          </a:blipFill>
        </p:spPr>
        <p:txBody>
          <a:bodyPr wrap="square" lIns="0" tIns="0" rIns="0" bIns="0" rtlCol="0"/>
          <a:lstStyle/>
          <a:p>
            <a:endParaRPr/>
          </a:p>
        </p:txBody>
      </p:sp>
      <p:sp>
        <p:nvSpPr>
          <p:cNvPr id="30" name="object 30"/>
          <p:cNvSpPr/>
          <p:nvPr/>
        </p:nvSpPr>
        <p:spPr>
          <a:xfrm>
            <a:off x="9448800" y="2645664"/>
            <a:ext cx="304800" cy="425450"/>
          </a:xfrm>
          <a:custGeom>
            <a:avLst/>
            <a:gdLst/>
            <a:ahLst/>
            <a:cxnLst/>
            <a:rect l="l" t="t" r="r" b="b"/>
            <a:pathLst>
              <a:path w="304800" h="425450">
                <a:moveTo>
                  <a:pt x="304800" y="272796"/>
                </a:moveTo>
                <a:lnTo>
                  <a:pt x="0" y="272796"/>
                </a:lnTo>
                <a:lnTo>
                  <a:pt x="152400" y="425196"/>
                </a:lnTo>
                <a:lnTo>
                  <a:pt x="304800" y="272796"/>
                </a:lnTo>
                <a:close/>
              </a:path>
              <a:path w="304800" h="425450">
                <a:moveTo>
                  <a:pt x="228600" y="0"/>
                </a:moveTo>
                <a:lnTo>
                  <a:pt x="76200" y="0"/>
                </a:lnTo>
                <a:lnTo>
                  <a:pt x="76200" y="272796"/>
                </a:lnTo>
                <a:lnTo>
                  <a:pt x="228600" y="272796"/>
                </a:lnTo>
                <a:lnTo>
                  <a:pt x="228600" y="0"/>
                </a:lnTo>
                <a:close/>
              </a:path>
            </a:pathLst>
          </a:custGeom>
          <a:solidFill>
            <a:srgbClr val="006FAC"/>
          </a:solidFill>
        </p:spPr>
        <p:txBody>
          <a:bodyPr wrap="square" lIns="0" tIns="0" rIns="0" bIns="0" rtlCol="0"/>
          <a:lstStyle/>
          <a:p>
            <a:endParaRPr/>
          </a:p>
        </p:txBody>
      </p:sp>
      <p:sp>
        <p:nvSpPr>
          <p:cNvPr id="31" name="object 31"/>
          <p:cNvSpPr/>
          <p:nvPr/>
        </p:nvSpPr>
        <p:spPr>
          <a:xfrm>
            <a:off x="9448800" y="2645664"/>
            <a:ext cx="304800" cy="425450"/>
          </a:xfrm>
          <a:custGeom>
            <a:avLst/>
            <a:gdLst/>
            <a:ahLst/>
            <a:cxnLst/>
            <a:rect l="l" t="t" r="r" b="b"/>
            <a:pathLst>
              <a:path w="304800" h="425450">
                <a:moveTo>
                  <a:pt x="0" y="272796"/>
                </a:moveTo>
                <a:lnTo>
                  <a:pt x="76200" y="272796"/>
                </a:lnTo>
                <a:lnTo>
                  <a:pt x="76200" y="0"/>
                </a:lnTo>
                <a:lnTo>
                  <a:pt x="228600" y="0"/>
                </a:lnTo>
                <a:lnTo>
                  <a:pt x="228600" y="272796"/>
                </a:lnTo>
                <a:lnTo>
                  <a:pt x="304800" y="272796"/>
                </a:lnTo>
                <a:lnTo>
                  <a:pt x="152400" y="425196"/>
                </a:lnTo>
                <a:lnTo>
                  <a:pt x="0" y="272796"/>
                </a:lnTo>
                <a:close/>
              </a:path>
            </a:pathLst>
          </a:custGeom>
          <a:ln w="12192">
            <a:solidFill>
              <a:srgbClr val="00507D"/>
            </a:solidFill>
          </a:ln>
        </p:spPr>
        <p:txBody>
          <a:bodyPr wrap="square" lIns="0" tIns="0" rIns="0" bIns="0" rtlCol="0"/>
          <a:lstStyle/>
          <a:p>
            <a:endParaRPr/>
          </a:p>
        </p:txBody>
      </p:sp>
      <p:sp>
        <p:nvSpPr>
          <p:cNvPr id="32" name="object 32"/>
          <p:cNvSpPr/>
          <p:nvPr/>
        </p:nvSpPr>
        <p:spPr>
          <a:xfrm>
            <a:off x="9398507" y="4872228"/>
            <a:ext cx="304800" cy="425450"/>
          </a:xfrm>
          <a:custGeom>
            <a:avLst/>
            <a:gdLst/>
            <a:ahLst/>
            <a:cxnLst/>
            <a:rect l="l" t="t" r="r" b="b"/>
            <a:pathLst>
              <a:path w="304800" h="425450">
                <a:moveTo>
                  <a:pt x="304800" y="272796"/>
                </a:moveTo>
                <a:lnTo>
                  <a:pt x="0" y="272796"/>
                </a:lnTo>
                <a:lnTo>
                  <a:pt x="152400" y="425196"/>
                </a:lnTo>
                <a:lnTo>
                  <a:pt x="304800" y="272796"/>
                </a:lnTo>
                <a:close/>
              </a:path>
              <a:path w="304800" h="425450">
                <a:moveTo>
                  <a:pt x="228600" y="0"/>
                </a:moveTo>
                <a:lnTo>
                  <a:pt x="76200" y="0"/>
                </a:lnTo>
                <a:lnTo>
                  <a:pt x="76200" y="272796"/>
                </a:lnTo>
                <a:lnTo>
                  <a:pt x="228600" y="272796"/>
                </a:lnTo>
                <a:lnTo>
                  <a:pt x="228600" y="0"/>
                </a:lnTo>
                <a:close/>
              </a:path>
            </a:pathLst>
          </a:custGeom>
          <a:solidFill>
            <a:srgbClr val="006FAC"/>
          </a:solidFill>
        </p:spPr>
        <p:txBody>
          <a:bodyPr wrap="square" lIns="0" tIns="0" rIns="0" bIns="0" rtlCol="0"/>
          <a:lstStyle/>
          <a:p>
            <a:endParaRPr/>
          </a:p>
        </p:txBody>
      </p:sp>
      <p:sp>
        <p:nvSpPr>
          <p:cNvPr id="33" name="object 33"/>
          <p:cNvSpPr/>
          <p:nvPr/>
        </p:nvSpPr>
        <p:spPr>
          <a:xfrm>
            <a:off x="9398507" y="4872228"/>
            <a:ext cx="304800" cy="425450"/>
          </a:xfrm>
          <a:custGeom>
            <a:avLst/>
            <a:gdLst/>
            <a:ahLst/>
            <a:cxnLst/>
            <a:rect l="l" t="t" r="r" b="b"/>
            <a:pathLst>
              <a:path w="304800" h="425450">
                <a:moveTo>
                  <a:pt x="0" y="272796"/>
                </a:moveTo>
                <a:lnTo>
                  <a:pt x="76200" y="272796"/>
                </a:lnTo>
                <a:lnTo>
                  <a:pt x="76200" y="0"/>
                </a:lnTo>
                <a:lnTo>
                  <a:pt x="228600" y="0"/>
                </a:lnTo>
                <a:lnTo>
                  <a:pt x="228600" y="272796"/>
                </a:lnTo>
                <a:lnTo>
                  <a:pt x="304800" y="272796"/>
                </a:lnTo>
                <a:lnTo>
                  <a:pt x="152400" y="425196"/>
                </a:lnTo>
                <a:lnTo>
                  <a:pt x="0" y="272796"/>
                </a:lnTo>
                <a:close/>
              </a:path>
            </a:pathLst>
          </a:custGeom>
          <a:ln w="12192">
            <a:solidFill>
              <a:srgbClr val="00507D"/>
            </a:solidFill>
          </a:ln>
        </p:spPr>
        <p:txBody>
          <a:bodyPr wrap="square" lIns="0" tIns="0" rIns="0" bIns="0" rtlCol="0"/>
          <a:lstStyle/>
          <a:p>
            <a:endParaRPr/>
          </a:p>
        </p:txBody>
      </p:sp>
      <p:sp>
        <p:nvSpPr>
          <p:cNvPr id="34" name="object 3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5" name="object 35"/>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0</a:t>
            </a:fld>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5540375" cy="422275"/>
          </a:xfrm>
          <a:prstGeom prst="rect">
            <a:avLst/>
          </a:prstGeom>
        </p:spPr>
        <p:txBody>
          <a:bodyPr vert="horz" wrap="square" lIns="0" tIns="12700" rIns="0" bIns="0" rtlCol="0">
            <a:spAutoFit/>
          </a:bodyPr>
          <a:lstStyle/>
          <a:p>
            <a:pPr marL="12700">
              <a:lnSpc>
                <a:spcPct val="100000"/>
              </a:lnSpc>
              <a:spcBef>
                <a:spcPts val="100"/>
              </a:spcBef>
            </a:pPr>
            <a:r>
              <a:rPr sz="2600" spc="-5"/>
              <a:t>And </a:t>
            </a:r>
            <a:r>
              <a:rPr sz="2600" spc="-10"/>
              <a:t>Cover </a:t>
            </a:r>
            <a:r>
              <a:rPr sz="2600" spc="-15"/>
              <a:t>Several </a:t>
            </a:r>
            <a:r>
              <a:rPr sz="2600" spc="-50"/>
              <a:t>Types </a:t>
            </a:r>
            <a:r>
              <a:rPr sz="2600"/>
              <a:t>of</a:t>
            </a:r>
            <a:r>
              <a:rPr sz="2600" spc="-5"/>
              <a:t> </a:t>
            </a:r>
            <a:r>
              <a:rPr sz="2600" spc="-55"/>
              <a:t>Tests</a:t>
            </a:r>
            <a:endParaRPr sz="2600"/>
          </a:p>
        </p:txBody>
      </p:sp>
      <p:sp>
        <p:nvSpPr>
          <p:cNvPr id="3" name="object 3"/>
          <p:cNvSpPr txBox="1"/>
          <p:nvPr/>
        </p:nvSpPr>
        <p:spPr>
          <a:xfrm>
            <a:off x="240284" y="6054344"/>
            <a:ext cx="11449685" cy="394335"/>
          </a:xfrm>
          <a:prstGeom prst="rect">
            <a:avLst/>
          </a:prstGeom>
        </p:spPr>
        <p:txBody>
          <a:bodyPr vert="horz" wrap="square" lIns="0" tIns="12700" rIns="0" bIns="0" rtlCol="0">
            <a:spAutoFit/>
          </a:bodyPr>
          <a:lstStyle/>
          <a:p>
            <a:pPr marL="12700" marR="5080">
              <a:lnSpc>
                <a:spcPct val="110000"/>
              </a:lnSpc>
              <a:spcBef>
                <a:spcPts val="100"/>
              </a:spcBef>
            </a:pPr>
            <a:r>
              <a:rPr sz="1100">
                <a:latin typeface="Verdana"/>
                <a:cs typeface="Verdana"/>
              </a:rPr>
              <a:t>The </a:t>
            </a:r>
            <a:r>
              <a:rPr sz="1100" spc="-5">
                <a:latin typeface="Verdana"/>
                <a:cs typeface="Verdana"/>
              </a:rPr>
              <a:t>above </a:t>
            </a:r>
            <a:r>
              <a:rPr sz="1100" spc="-10">
                <a:latin typeface="Verdana"/>
                <a:cs typeface="Verdana"/>
              </a:rPr>
              <a:t>is </a:t>
            </a:r>
            <a:r>
              <a:rPr sz="1100">
                <a:latin typeface="Verdana"/>
                <a:cs typeface="Verdana"/>
              </a:rPr>
              <a:t>an </a:t>
            </a:r>
            <a:r>
              <a:rPr sz="1100" spc="-5">
                <a:latin typeface="Verdana"/>
                <a:cs typeface="Verdana"/>
              </a:rPr>
              <a:t>example </a:t>
            </a:r>
            <a:r>
              <a:rPr sz="1100">
                <a:latin typeface="Verdana"/>
                <a:cs typeface="Verdana"/>
              </a:rPr>
              <a:t>and </a:t>
            </a:r>
            <a:r>
              <a:rPr sz="1100" spc="-10">
                <a:latin typeface="Verdana"/>
                <a:cs typeface="Verdana"/>
              </a:rPr>
              <a:t>simplified </a:t>
            </a:r>
            <a:r>
              <a:rPr sz="1100" spc="-5">
                <a:latin typeface="Verdana"/>
                <a:cs typeface="Verdana"/>
              </a:rPr>
              <a:t>definition </a:t>
            </a:r>
            <a:r>
              <a:rPr sz="1100">
                <a:latin typeface="Verdana"/>
                <a:cs typeface="Verdana"/>
              </a:rPr>
              <a:t>of these </a:t>
            </a:r>
            <a:r>
              <a:rPr sz="1100" spc="-5">
                <a:latin typeface="Verdana"/>
                <a:cs typeface="Verdana"/>
              </a:rPr>
              <a:t>types </a:t>
            </a:r>
            <a:r>
              <a:rPr sz="1100">
                <a:latin typeface="Verdana"/>
                <a:cs typeface="Verdana"/>
              </a:rPr>
              <a:t>of tests. There </a:t>
            </a:r>
            <a:r>
              <a:rPr sz="1100" spc="-5">
                <a:latin typeface="Verdana"/>
                <a:cs typeface="Verdana"/>
              </a:rPr>
              <a:t>are </a:t>
            </a:r>
            <a:r>
              <a:rPr sz="1100">
                <a:latin typeface="Verdana"/>
                <a:cs typeface="Verdana"/>
              </a:rPr>
              <a:t>other </a:t>
            </a:r>
            <a:r>
              <a:rPr sz="1100" spc="-5">
                <a:latin typeface="Verdana"/>
                <a:cs typeface="Verdana"/>
              </a:rPr>
              <a:t>types </a:t>
            </a:r>
            <a:r>
              <a:rPr sz="1100">
                <a:latin typeface="Verdana"/>
                <a:cs typeface="Verdana"/>
              </a:rPr>
              <a:t>of </a:t>
            </a:r>
            <a:r>
              <a:rPr sz="1100" spc="-5">
                <a:latin typeface="Verdana"/>
                <a:cs typeface="Verdana"/>
              </a:rPr>
              <a:t>tests that </a:t>
            </a:r>
            <a:r>
              <a:rPr sz="1100">
                <a:latin typeface="Verdana"/>
                <a:cs typeface="Verdana"/>
              </a:rPr>
              <a:t>can </a:t>
            </a:r>
            <a:r>
              <a:rPr sz="1100" spc="-5">
                <a:latin typeface="Verdana"/>
                <a:cs typeface="Verdana"/>
              </a:rPr>
              <a:t>be included </a:t>
            </a:r>
            <a:r>
              <a:rPr sz="1100">
                <a:latin typeface="Verdana"/>
                <a:cs typeface="Verdana"/>
              </a:rPr>
              <a:t>such </a:t>
            </a:r>
            <a:r>
              <a:rPr sz="1100" spc="-5">
                <a:latin typeface="Verdana"/>
                <a:cs typeface="Verdana"/>
              </a:rPr>
              <a:t>as data migration test </a:t>
            </a:r>
            <a:r>
              <a:rPr sz="1100">
                <a:latin typeface="Verdana"/>
                <a:cs typeface="Verdana"/>
              </a:rPr>
              <a:t>and </a:t>
            </a:r>
            <a:r>
              <a:rPr sz="1100" spc="-5">
                <a:latin typeface="Verdana"/>
                <a:cs typeface="Verdana"/>
              </a:rPr>
              <a:t>data  quality </a:t>
            </a:r>
            <a:r>
              <a:rPr sz="1100">
                <a:latin typeface="Verdana"/>
                <a:cs typeface="Verdana"/>
              </a:rPr>
              <a:t>test. The </a:t>
            </a:r>
            <a:r>
              <a:rPr sz="1100" spc="-5">
                <a:latin typeface="Verdana"/>
                <a:cs typeface="Verdana"/>
              </a:rPr>
              <a:t>above </a:t>
            </a:r>
            <a:r>
              <a:rPr sz="1100" spc="-10">
                <a:latin typeface="Verdana"/>
                <a:cs typeface="Verdana"/>
              </a:rPr>
              <a:t>list </a:t>
            </a:r>
            <a:r>
              <a:rPr sz="1100" spc="-5">
                <a:latin typeface="Verdana"/>
                <a:cs typeface="Verdana"/>
              </a:rPr>
              <a:t>should </a:t>
            </a:r>
            <a:r>
              <a:rPr sz="1100">
                <a:latin typeface="Verdana"/>
                <a:cs typeface="Verdana"/>
              </a:rPr>
              <a:t>not </a:t>
            </a:r>
            <a:r>
              <a:rPr sz="1100" spc="-5">
                <a:latin typeface="Verdana"/>
                <a:cs typeface="Verdana"/>
              </a:rPr>
              <a:t>be </a:t>
            </a:r>
            <a:r>
              <a:rPr sz="1100">
                <a:latin typeface="Verdana"/>
                <a:cs typeface="Verdana"/>
              </a:rPr>
              <a:t>considered </a:t>
            </a:r>
            <a:r>
              <a:rPr sz="1100" spc="-5">
                <a:latin typeface="Verdana"/>
                <a:cs typeface="Verdana"/>
              </a:rPr>
              <a:t>comprehensive. </a:t>
            </a:r>
            <a:r>
              <a:rPr sz="1100">
                <a:latin typeface="Verdana"/>
                <a:cs typeface="Verdana"/>
              </a:rPr>
              <a:t>Some references </a:t>
            </a:r>
            <a:r>
              <a:rPr sz="1100" spc="-5">
                <a:latin typeface="Verdana"/>
                <a:cs typeface="Verdana"/>
              </a:rPr>
              <a:t>might also combine </a:t>
            </a:r>
            <a:r>
              <a:rPr sz="1100">
                <a:latin typeface="Verdana"/>
                <a:cs typeface="Verdana"/>
              </a:rPr>
              <a:t>some of </a:t>
            </a:r>
            <a:r>
              <a:rPr sz="1100" spc="-5">
                <a:latin typeface="Verdana"/>
                <a:cs typeface="Verdana"/>
              </a:rPr>
              <a:t>the above tests</a:t>
            </a:r>
            <a:r>
              <a:rPr sz="1100" spc="95">
                <a:latin typeface="Verdana"/>
                <a:cs typeface="Verdana"/>
              </a:rPr>
              <a:t> </a:t>
            </a:r>
            <a:r>
              <a:rPr sz="1100">
                <a:latin typeface="Verdana"/>
                <a:cs typeface="Verdana"/>
              </a:rPr>
              <a:t>together</a:t>
            </a:r>
          </a:p>
        </p:txBody>
      </p:sp>
      <p:sp>
        <p:nvSpPr>
          <p:cNvPr id="4" name="object 4"/>
          <p:cNvSpPr txBox="1"/>
          <p:nvPr/>
        </p:nvSpPr>
        <p:spPr>
          <a:xfrm>
            <a:off x="214680" y="1074801"/>
            <a:ext cx="7945755" cy="330835"/>
          </a:xfrm>
          <a:prstGeom prst="rect">
            <a:avLst/>
          </a:prstGeom>
        </p:spPr>
        <p:txBody>
          <a:bodyPr vert="horz" wrap="square" lIns="0" tIns="13335" rIns="0" bIns="0" rtlCol="0">
            <a:spAutoFit/>
          </a:bodyPr>
          <a:lstStyle/>
          <a:p>
            <a:pPr marL="12700">
              <a:lnSpc>
                <a:spcPct val="100000"/>
              </a:lnSpc>
              <a:spcBef>
                <a:spcPts val="105"/>
              </a:spcBef>
            </a:pPr>
            <a:r>
              <a:rPr sz="2000" spc="-5">
                <a:solidFill>
                  <a:srgbClr val="12ABDB"/>
                </a:solidFill>
                <a:latin typeface="Verdana"/>
                <a:cs typeface="Verdana"/>
              </a:rPr>
              <a:t>Capgemini typically participates in </a:t>
            </a:r>
            <a:r>
              <a:rPr sz="2000">
                <a:solidFill>
                  <a:srgbClr val="12ABDB"/>
                </a:solidFill>
                <a:latin typeface="Verdana"/>
                <a:cs typeface="Verdana"/>
              </a:rPr>
              <a:t>the </a:t>
            </a:r>
            <a:r>
              <a:rPr sz="2000" spc="-5">
                <a:solidFill>
                  <a:srgbClr val="12ABDB"/>
                </a:solidFill>
                <a:latin typeface="Verdana"/>
                <a:cs typeface="Verdana"/>
              </a:rPr>
              <a:t>following types </a:t>
            </a:r>
            <a:r>
              <a:rPr sz="2000">
                <a:solidFill>
                  <a:srgbClr val="12ABDB"/>
                </a:solidFill>
                <a:latin typeface="Verdana"/>
                <a:cs typeface="Verdana"/>
              </a:rPr>
              <a:t>of</a:t>
            </a:r>
            <a:r>
              <a:rPr sz="2000" spc="-30">
                <a:solidFill>
                  <a:srgbClr val="12ABDB"/>
                </a:solidFill>
                <a:latin typeface="Verdana"/>
                <a:cs typeface="Verdana"/>
              </a:rPr>
              <a:t> </a:t>
            </a:r>
            <a:r>
              <a:rPr sz="2000" spc="-5">
                <a:solidFill>
                  <a:srgbClr val="12ABDB"/>
                </a:solidFill>
                <a:latin typeface="Verdana"/>
                <a:cs typeface="Verdana"/>
              </a:rPr>
              <a:t>tests</a:t>
            </a:r>
            <a:endParaRPr sz="2000">
              <a:latin typeface="Verdana"/>
              <a:cs typeface="Verdana"/>
            </a:endParaRPr>
          </a:p>
        </p:txBody>
      </p:sp>
      <p:sp>
        <p:nvSpPr>
          <p:cNvPr id="33" name="object 3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4" name="object 3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1</a:t>
            </a:fld>
            <a:endParaRPr/>
          </a:p>
        </p:txBody>
      </p:sp>
      <p:sp>
        <p:nvSpPr>
          <p:cNvPr id="35" name="Rectangle 34">
            <a:extLst>
              <a:ext uri="{FF2B5EF4-FFF2-40B4-BE49-F238E27FC236}">
                <a16:creationId xmlns:a16="http://schemas.microsoft.com/office/drawing/2014/main" id="{C985CF34-BCAF-4089-830F-58B7647DFA75}"/>
              </a:ext>
            </a:extLst>
          </p:cNvPr>
          <p:cNvSpPr/>
          <p:nvPr/>
        </p:nvSpPr>
        <p:spPr>
          <a:xfrm>
            <a:off x="347960" y="1686560"/>
            <a:ext cx="2779200"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Unit Test</a:t>
            </a:r>
          </a:p>
        </p:txBody>
      </p:sp>
      <p:sp>
        <p:nvSpPr>
          <p:cNvPr id="36" name="Rectangle 35">
            <a:extLst>
              <a:ext uri="{FF2B5EF4-FFF2-40B4-BE49-F238E27FC236}">
                <a16:creationId xmlns:a16="http://schemas.microsoft.com/office/drawing/2014/main" id="{01633EB5-A4FA-4427-A422-E061D08E93FE}"/>
              </a:ext>
            </a:extLst>
          </p:cNvPr>
          <p:cNvSpPr/>
          <p:nvPr/>
        </p:nvSpPr>
        <p:spPr>
          <a:xfrm>
            <a:off x="3257380" y="1686560"/>
            <a:ext cx="5682433"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Functional Test </a:t>
            </a:r>
          </a:p>
        </p:txBody>
      </p:sp>
      <p:sp>
        <p:nvSpPr>
          <p:cNvPr id="37" name="Rectangle 36">
            <a:extLst>
              <a:ext uri="{FF2B5EF4-FFF2-40B4-BE49-F238E27FC236}">
                <a16:creationId xmlns:a16="http://schemas.microsoft.com/office/drawing/2014/main" id="{4DC4A820-B24D-4D0A-9F0C-1D18C9536335}"/>
              </a:ext>
            </a:extLst>
          </p:cNvPr>
          <p:cNvSpPr/>
          <p:nvPr/>
        </p:nvSpPr>
        <p:spPr>
          <a:xfrm>
            <a:off x="9041259" y="1676400"/>
            <a:ext cx="2779200"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User Acceptance Test </a:t>
            </a:r>
          </a:p>
        </p:txBody>
      </p:sp>
      <p:sp>
        <p:nvSpPr>
          <p:cNvPr id="38" name="Rectangle 37">
            <a:extLst>
              <a:ext uri="{FF2B5EF4-FFF2-40B4-BE49-F238E27FC236}">
                <a16:creationId xmlns:a16="http://schemas.microsoft.com/office/drawing/2014/main" id="{C9C38B7F-BF63-4545-AEF7-E9DE6D7CA287}"/>
              </a:ext>
            </a:extLst>
          </p:cNvPr>
          <p:cNvSpPr/>
          <p:nvPr/>
        </p:nvSpPr>
        <p:spPr>
          <a:xfrm>
            <a:off x="1429336" y="4559945"/>
            <a:ext cx="4440156"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No Regression Test </a:t>
            </a:r>
          </a:p>
        </p:txBody>
      </p:sp>
      <p:sp>
        <p:nvSpPr>
          <p:cNvPr id="39" name="Rectangle 38">
            <a:extLst>
              <a:ext uri="{FF2B5EF4-FFF2-40B4-BE49-F238E27FC236}">
                <a16:creationId xmlns:a16="http://schemas.microsoft.com/office/drawing/2014/main" id="{22942D3A-1549-42AE-89DA-98ADC09B2B39}"/>
              </a:ext>
            </a:extLst>
          </p:cNvPr>
          <p:cNvSpPr/>
          <p:nvPr/>
        </p:nvSpPr>
        <p:spPr>
          <a:xfrm>
            <a:off x="4349184" y="3069821"/>
            <a:ext cx="3400476"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Integration Test</a:t>
            </a:r>
          </a:p>
        </p:txBody>
      </p:sp>
      <p:sp>
        <p:nvSpPr>
          <p:cNvPr id="40" name="Rectangle 39">
            <a:extLst>
              <a:ext uri="{FF2B5EF4-FFF2-40B4-BE49-F238E27FC236}">
                <a16:creationId xmlns:a16="http://schemas.microsoft.com/office/drawing/2014/main" id="{064A26A0-D085-45B8-A68A-1FC7FC64BDB5}"/>
              </a:ext>
            </a:extLst>
          </p:cNvPr>
          <p:cNvSpPr/>
          <p:nvPr/>
        </p:nvSpPr>
        <p:spPr>
          <a:xfrm>
            <a:off x="692695" y="3079233"/>
            <a:ext cx="3310860"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Smoke Test</a:t>
            </a:r>
          </a:p>
        </p:txBody>
      </p:sp>
      <p:sp>
        <p:nvSpPr>
          <p:cNvPr id="41" name="Rectangle 40">
            <a:extLst>
              <a:ext uri="{FF2B5EF4-FFF2-40B4-BE49-F238E27FC236}">
                <a16:creationId xmlns:a16="http://schemas.microsoft.com/office/drawing/2014/main" id="{DE36F375-2E13-43E4-9899-1B1966C132D8}"/>
              </a:ext>
            </a:extLst>
          </p:cNvPr>
          <p:cNvSpPr/>
          <p:nvPr/>
        </p:nvSpPr>
        <p:spPr>
          <a:xfrm>
            <a:off x="347960" y="1992085"/>
            <a:ext cx="2772032"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42" name="Text Placeholder 2">
            <a:extLst>
              <a:ext uri="{FF2B5EF4-FFF2-40B4-BE49-F238E27FC236}">
                <a16:creationId xmlns:a16="http://schemas.microsoft.com/office/drawing/2014/main" id="{87E3D647-8891-40F4-BA52-809BEE12DD72}"/>
              </a:ext>
            </a:extLst>
          </p:cNvPr>
          <p:cNvSpPr txBox="1">
            <a:spLocks/>
          </p:cNvSpPr>
          <p:nvPr/>
        </p:nvSpPr>
        <p:spPr>
          <a:xfrm>
            <a:off x="1328927" y="2088043"/>
            <a:ext cx="1706881" cy="677108"/>
          </a:xfrm>
          <a:prstGeom prst="rect">
            <a:avLst/>
          </a:prstGeom>
        </p:spPr>
        <p:txBody>
          <a:bodyPr vert="horz"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Is every building block independently operating the way it is expected to?</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pic>
        <p:nvPicPr>
          <p:cNvPr id="43" name="Picture 42">
            <a:extLst>
              <a:ext uri="{FF2B5EF4-FFF2-40B4-BE49-F238E27FC236}">
                <a16:creationId xmlns:a16="http://schemas.microsoft.com/office/drawing/2014/main" id="{AB8243A3-3374-4753-9498-17A4700C28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0138" y="2109358"/>
            <a:ext cx="849443" cy="633764"/>
          </a:xfrm>
          <a:prstGeom prst="rect">
            <a:avLst/>
          </a:prstGeom>
        </p:spPr>
      </p:pic>
      <p:sp>
        <p:nvSpPr>
          <p:cNvPr id="44" name="Rectangle 43">
            <a:extLst>
              <a:ext uri="{FF2B5EF4-FFF2-40B4-BE49-F238E27FC236}">
                <a16:creationId xmlns:a16="http://schemas.microsoft.com/office/drawing/2014/main" id="{DFABA71E-043A-4DFD-A7EF-6DCC592D1611}"/>
              </a:ext>
            </a:extLst>
          </p:cNvPr>
          <p:cNvSpPr/>
          <p:nvPr/>
        </p:nvSpPr>
        <p:spPr>
          <a:xfrm>
            <a:off x="3257381" y="2004357"/>
            <a:ext cx="5682431"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45" name="Text Placeholder 2">
            <a:extLst>
              <a:ext uri="{FF2B5EF4-FFF2-40B4-BE49-F238E27FC236}">
                <a16:creationId xmlns:a16="http://schemas.microsoft.com/office/drawing/2014/main" id="{210CBB25-E10C-4D3F-B911-548C86E0D298}"/>
              </a:ext>
            </a:extLst>
          </p:cNvPr>
          <p:cNvSpPr txBox="1">
            <a:spLocks/>
          </p:cNvSpPr>
          <p:nvPr/>
        </p:nvSpPr>
        <p:spPr>
          <a:xfrm>
            <a:off x="4349184" y="2180983"/>
            <a:ext cx="4233190" cy="507831"/>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Executed tests based on identified test cas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Automation not taken in consideration as strategy to be defined jointly</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46" name="Rectangle 45">
            <a:extLst>
              <a:ext uri="{FF2B5EF4-FFF2-40B4-BE49-F238E27FC236}">
                <a16:creationId xmlns:a16="http://schemas.microsoft.com/office/drawing/2014/main" id="{4D09A6C9-0D70-4754-A2F1-1B6971DEBAB6}"/>
              </a:ext>
            </a:extLst>
          </p:cNvPr>
          <p:cNvSpPr/>
          <p:nvPr/>
        </p:nvSpPr>
        <p:spPr>
          <a:xfrm>
            <a:off x="9050613" y="1996055"/>
            <a:ext cx="2779200"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47" name="Text Placeholder 2">
            <a:extLst>
              <a:ext uri="{FF2B5EF4-FFF2-40B4-BE49-F238E27FC236}">
                <a16:creationId xmlns:a16="http://schemas.microsoft.com/office/drawing/2014/main" id="{8A7CB34A-A8D9-417F-913B-71C73DFE5558}"/>
              </a:ext>
            </a:extLst>
          </p:cNvPr>
          <p:cNvSpPr txBox="1">
            <a:spLocks/>
          </p:cNvSpPr>
          <p:nvPr/>
        </p:nvSpPr>
        <p:spPr>
          <a:xfrm>
            <a:off x="10038748" y="2172682"/>
            <a:ext cx="1706881" cy="507831"/>
          </a:xfrm>
          <a:prstGeom prst="rect">
            <a:avLst/>
          </a:prstGeom>
        </p:spPr>
        <p:txBody>
          <a:bodyPr vert="horz"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Does the delivered functionality meet the customer expectations</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48" name="Rectangle 47">
            <a:extLst>
              <a:ext uri="{FF2B5EF4-FFF2-40B4-BE49-F238E27FC236}">
                <a16:creationId xmlns:a16="http://schemas.microsoft.com/office/drawing/2014/main" id="{0F16B1B6-3F91-4ECD-B8B2-F6644B3A64E0}"/>
              </a:ext>
            </a:extLst>
          </p:cNvPr>
          <p:cNvSpPr/>
          <p:nvPr/>
        </p:nvSpPr>
        <p:spPr>
          <a:xfrm>
            <a:off x="1429336" y="4883887"/>
            <a:ext cx="4440156"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49" name="Text Placeholder 2">
            <a:extLst>
              <a:ext uri="{FF2B5EF4-FFF2-40B4-BE49-F238E27FC236}">
                <a16:creationId xmlns:a16="http://schemas.microsoft.com/office/drawing/2014/main" id="{940A9CA4-23D3-4869-BCC6-055EF3DAA7AA}"/>
              </a:ext>
            </a:extLst>
          </p:cNvPr>
          <p:cNvSpPr txBox="1">
            <a:spLocks/>
          </p:cNvSpPr>
          <p:nvPr/>
        </p:nvSpPr>
        <p:spPr>
          <a:xfrm>
            <a:off x="2348124" y="4879045"/>
            <a:ext cx="3521367" cy="846386"/>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Existing core functionalities are not impacted after introducing a new feature. It is assumed that Marelli </a:t>
            </a:r>
            <a:r>
              <a:rPr kumimoji="0" lang="en-GB" sz="1100" b="0" i="0" u="none" strike="noStrike" kern="1200" cap="none" spc="0" normalizeH="0" baseline="0" noProof="0" err="1">
                <a:ln>
                  <a:noFill/>
                </a:ln>
                <a:solidFill>
                  <a:prstClr val="black"/>
                </a:solidFill>
                <a:effectLst/>
                <a:uLnTx/>
                <a:uFillTx/>
                <a:latin typeface="Verdana"/>
                <a:ea typeface="+mn-ea"/>
                <a:cs typeface="+mn-cs"/>
              </a:rPr>
              <a:t>wil</a:t>
            </a:r>
            <a:r>
              <a:rPr lang="en-GB" sz="1100">
                <a:solidFill>
                  <a:prstClr val="black"/>
                </a:solidFill>
                <a:latin typeface="Verdana"/>
              </a:rPr>
              <a:t>l provide existing test library with step-by-step scripts for features available in the AS-IS system</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94E48B6F-C2C0-4A04-A373-94FA7CADCB66}"/>
              </a:ext>
            </a:extLst>
          </p:cNvPr>
          <p:cNvSpPr/>
          <p:nvPr/>
        </p:nvSpPr>
        <p:spPr>
          <a:xfrm>
            <a:off x="4349184" y="3375640"/>
            <a:ext cx="3400476"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51" name="Text Placeholder 2">
            <a:extLst>
              <a:ext uri="{FF2B5EF4-FFF2-40B4-BE49-F238E27FC236}">
                <a16:creationId xmlns:a16="http://schemas.microsoft.com/office/drawing/2014/main" id="{86FAD1CD-3E4B-4A66-9AA3-6AF3E87BC474}"/>
              </a:ext>
            </a:extLst>
          </p:cNvPr>
          <p:cNvSpPr txBox="1">
            <a:spLocks/>
          </p:cNvSpPr>
          <p:nvPr/>
        </p:nvSpPr>
        <p:spPr>
          <a:xfrm>
            <a:off x="5337319" y="3552266"/>
            <a:ext cx="2088446" cy="507831"/>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Confirming that the overall parts of the solution work together as expected</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CD2B3676-396A-4DA5-ABD5-5D6B27F57C67}"/>
              </a:ext>
            </a:extLst>
          </p:cNvPr>
          <p:cNvSpPr/>
          <p:nvPr/>
        </p:nvSpPr>
        <p:spPr>
          <a:xfrm>
            <a:off x="692695" y="3401760"/>
            <a:ext cx="3310860"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53" name="Text Placeholder 2">
            <a:extLst>
              <a:ext uri="{FF2B5EF4-FFF2-40B4-BE49-F238E27FC236}">
                <a16:creationId xmlns:a16="http://schemas.microsoft.com/office/drawing/2014/main" id="{0A17EABB-E016-4E53-8F86-11945EBF2C9A}"/>
              </a:ext>
            </a:extLst>
          </p:cNvPr>
          <p:cNvSpPr txBox="1">
            <a:spLocks/>
          </p:cNvSpPr>
          <p:nvPr/>
        </p:nvSpPr>
        <p:spPr>
          <a:xfrm>
            <a:off x="1680830" y="3561678"/>
            <a:ext cx="2033407" cy="507831"/>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Confirm stability based on the compliance of basic functionalities and features</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pic>
        <p:nvPicPr>
          <p:cNvPr id="54" name="Picture 53">
            <a:extLst>
              <a:ext uri="{FF2B5EF4-FFF2-40B4-BE49-F238E27FC236}">
                <a16:creationId xmlns:a16="http://schemas.microsoft.com/office/drawing/2014/main" id="{DD7F97BE-7ED6-47CF-A01D-E5F94058C12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91823" y="2154957"/>
            <a:ext cx="656773" cy="564499"/>
          </a:xfrm>
          <a:prstGeom prst="rect">
            <a:avLst/>
          </a:prstGeom>
        </p:spPr>
      </p:pic>
      <p:pic>
        <p:nvPicPr>
          <p:cNvPr id="55" name="Picture 54" descr="A drawing of a face&#10;&#10;Description automatically generated">
            <a:extLst>
              <a:ext uri="{FF2B5EF4-FFF2-40B4-BE49-F238E27FC236}">
                <a16:creationId xmlns:a16="http://schemas.microsoft.com/office/drawing/2014/main" id="{E7E905B5-94CA-48A6-B718-99CED7B6E9E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52392" y="2048908"/>
            <a:ext cx="504612" cy="735653"/>
          </a:xfrm>
          <a:prstGeom prst="rect">
            <a:avLst/>
          </a:prstGeom>
        </p:spPr>
      </p:pic>
      <p:pic>
        <p:nvPicPr>
          <p:cNvPr id="56" name="Picture 55">
            <a:extLst>
              <a:ext uri="{FF2B5EF4-FFF2-40B4-BE49-F238E27FC236}">
                <a16:creationId xmlns:a16="http://schemas.microsoft.com/office/drawing/2014/main" id="{7DDA4DB4-BB62-424C-9615-5B4B481BFF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65461" y="5132960"/>
            <a:ext cx="646540" cy="404685"/>
          </a:xfrm>
          <a:prstGeom prst="rect">
            <a:avLst/>
          </a:prstGeom>
        </p:spPr>
      </p:pic>
      <p:pic>
        <p:nvPicPr>
          <p:cNvPr id="57" name="Picture 56" descr="A close up of a logo&#10;&#10;Description automatically generated">
            <a:extLst>
              <a:ext uri="{FF2B5EF4-FFF2-40B4-BE49-F238E27FC236}">
                <a16:creationId xmlns:a16="http://schemas.microsoft.com/office/drawing/2014/main" id="{19518EBD-83E9-4E37-B6F5-E5C533C5A0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0305" y="3485498"/>
            <a:ext cx="834915" cy="700844"/>
          </a:xfrm>
          <a:prstGeom prst="rect">
            <a:avLst/>
          </a:prstGeom>
        </p:spPr>
      </p:pic>
      <p:pic>
        <p:nvPicPr>
          <p:cNvPr id="58" name="Picture 57" descr="A close up of a sign&#10;&#10;Description automatically generated">
            <a:extLst>
              <a:ext uri="{FF2B5EF4-FFF2-40B4-BE49-F238E27FC236}">
                <a16:creationId xmlns:a16="http://schemas.microsoft.com/office/drawing/2014/main" id="{DF3DFB3D-DB81-444C-8827-E09DB1CB9E1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64056" y="3443594"/>
            <a:ext cx="913157" cy="749559"/>
          </a:xfrm>
          <a:prstGeom prst="rect">
            <a:avLst/>
          </a:prstGeom>
        </p:spPr>
      </p:pic>
      <p:sp>
        <p:nvSpPr>
          <p:cNvPr id="59" name="Rectangle 58">
            <a:extLst>
              <a:ext uri="{FF2B5EF4-FFF2-40B4-BE49-F238E27FC236}">
                <a16:creationId xmlns:a16="http://schemas.microsoft.com/office/drawing/2014/main" id="{4ADA6528-A8F3-48E7-A551-647E6A8B27FE}"/>
              </a:ext>
            </a:extLst>
          </p:cNvPr>
          <p:cNvSpPr/>
          <p:nvPr/>
        </p:nvSpPr>
        <p:spPr>
          <a:xfrm>
            <a:off x="6322509" y="4549230"/>
            <a:ext cx="4451814"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Performance &amp; Load Test </a:t>
            </a:r>
          </a:p>
        </p:txBody>
      </p:sp>
      <p:sp>
        <p:nvSpPr>
          <p:cNvPr id="60" name="Rectangle 59">
            <a:extLst>
              <a:ext uri="{FF2B5EF4-FFF2-40B4-BE49-F238E27FC236}">
                <a16:creationId xmlns:a16="http://schemas.microsoft.com/office/drawing/2014/main" id="{80D51BA1-B08E-4585-BC59-421691FEEED4}"/>
              </a:ext>
            </a:extLst>
          </p:cNvPr>
          <p:cNvSpPr/>
          <p:nvPr/>
        </p:nvSpPr>
        <p:spPr>
          <a:xfrm>
            <a:off x="6316475" y="4871640"/>
            <a:ext cx="4451814"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61" name="Text Placeholder 2">
            <a:extLst>
              <a:ext uri="{FF2B5EF4-FFF2-40B4-BE49-F238E27FC236}">
                <a16:creationId xmlns:a16="http://schemas.microsoft.com/office/drawing/2014/main" id="{579D6A36-4194-4738-A886-717B1D3ED743}"/>
              </a:ext>
            </a:extLst>
          </p:cNvPr>
          <p:cNvSpPr txBox="1">
            <a:spLocks/>
          </p:cNvSpPr>
          <p:nvPr/>
        </p:nvSpPr>
        <p:spPr>
          <a:xfrm>
            <a:off x="7017712" y="4942776"/>
            <a:ext cx="3437606" cy="67710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Verdana"/>
                <a:ea typeface="+mn-ea"/>
                <a:cs typeface="+mn-cs"/>
              </a:rPr>
              <a:t>Not foreseen in current proposal since no information about current performance metrics and targets is available, can be added if further information is provided</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pic>
        <p:nvPicPr>
          <p:cNvPr id="62" name="Picture 61" descr="A close up of a logo&#10;&#10;Description automatically generated">
            <a:extLst>
              <a:ext uri="{FF2B5EF4-FFF2-40B4-BE49-F238E27FC236}">
                <a16:creationId xmlns:a16="http://schemas.microsoft.com/office/drawing/2014/main" id="{1280C315-7FAD-46E6-95DA-42A836726A1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412392" y="5033998"/>
            <a:ext cx="509403" cy="550575"/>
          </a:xfrm>
          <a:prstGeom prst="rect">
            <a:avLst/>
          </a:prstGeom>
        </p:spPr>
      </p:pic>
      <p:sp>
        <p:nvSpPr>
          <p:cNvPr id="63" name="Rectangle 62">
            <a:extLst>
              <a:ext uri="{FF2B5EF4-FFF2-40B4-BE49-F238E27FC236}">
                <a16:creationId xmlns:a16="http://schemas.microsoft.com/office/drawing/2014/main" id="{FD683AE8-8E67-416E-8A9F-08D10EFDA861}"/>
              </a:ext>
            </a:extLst>
          </p:cNvPr>
          <p:cNvSpPr/>
          <p:nvPr/>
        </p:nvSpPr>
        <p:spPr>
          <a:xfrm>
            <a:off x="8056766" y="3064868"/>
            <a:ext cx="3400476" cy="322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Migration Test</a:t>
            </a:r>
          </a:p>
        </p:txBody>
      </p:sp>
      <p:sp>
        <p:nvSpPr>
          <p:cNvPr id="64" name="Rectangle 63">
            <a:extLst>
              <a:ext uri="{FF2B5EF4-FFF2-40B4-BE49-F238E27FC236}">
                <a16:creationId xmlns:a16="http://schemas.microsoft.com/office/drawing/2014/main" id="{DB68229A-F4DC-4A3E-8707-5D5A9792331E}"/>
              </a:ext>
            </a:extLst>
          </p:cNvPr>
          <p:cNvSpPr/>
          <p:nvPr/>
        </p:nvSpPr>
        <p:spPr>
          <a:xfrm>
            <a:off x="8056766" y="3370687"/>
            <a:ext cx="3400476" cy="8610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Verdana"/>
              <a:ea typeface="+mn-ea"/>
              <a:cs typeface="+mn-cs"/>
            </a:endParaRPr>
          </a:p>
        </p:txBody>
      </p:sp>
      <p:sp>
        <p:nvSpPr>
          <p:cNvPr id="65" name="Text Placeholder 2">
            <a:extLst>
              <a:ext uri="{FF2B5EF4-FFF2-40B4-BE49-F238E27FC236}">
                <a16:creationId xmlns:a16="http://schemas.microsoft.com/office/drawing/2014/main" id="{49C04305-12D1-4B89-B356-AD53BE02E65F}"/>
              </a:ext>
            </a:extLst>
          </p:cNvPr>
          <p:cNvSpPr txBox="1">
            <a:spLocks/>
          </p:cNvSpPr>
          <p:nvPr/>
        </p:nvSpPr>
        <p:spPr>
          <a:xfrm>
            <a:off x="9044901" y="3547314"/>
            <a:ext cx="2088446" cy="507831"/>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a:solidFill>
                  <a:prstClr val="black"/>
                </a:solidFill>
                <a:latin typeface="Verdana"/>
              </a:rPr>
              <a:t>Check that data migration procedures are working as expected</a:t>
            </a:r>
            <a:endParaRPr kumimoji="0" lang="en-US" sz="1100" b="0" i="0" u="none" strike="noStrike" kern="1200" cap="none" spc="0" normalizeH="0" baseline="0" noProof="0">
              <a:ln>
                <a:noFill/>
              </a:ln>
              <a:solidFill>
                <a:prstClr val="black"/>
              </a:solidFill>
              <a:effectLst/>
              <a:uLnTx/>
              <a:uFillTx/>
              <a:latin typeface="Verdana"/>
              <a:ea typeface="+mn-ea"/>
              <a:cs typeface="+mn-cs"/>
            </a:endParaRPr>
          </a:p>
        </p:txBody>
      </p:sp>
      <p:grpSp>
        <p:nvGrpSpPr>
          <p:cNvPr id="66" name="Group 65">
            <a:extLst>
              <a:ext uri="{FF2B5EF4-FFF2-40B4-BE49-F238E27FC236}">
                <a16:creationId xmlns:a16="http://schemas.microsoft.com/office/drawing/2014/main" id="{916AFA61-48C5-41E7-8220-F213AD1EAF0D}"/>
              </a:ext>
            </a:extLst>
          </p:cNvPr>
          <p:cNvGrpSpPr/>
          <p:nvPr/>
        </p:nvGrpSpPr>
        <p:grpSpPr>
          <a:xfrm>
            <a:off x="8286218" y="3505132"/>
            <a:ext cx="512327" cy="516238"/>
            <a:chOff x="4394201" y="3362325"/>
            <a:chExt cx="1039813" cy="1047750"/>
          </a:xfrm>
        </p:grpSpPr>
        <p:sp>
          <p:nvSpPr>
            <p:cNvPr id="67" name="Freeform 56">
              <a:extLst>
                <a:ext uri="{FF2B5EF4-FFF2-40B4-BE49-F238E27FC236}">
                  <a16:creationId xmlns:a16="http://schemas.microsoft.com/office/drawing/2014/main" id="{CD6C1327-FF12-4E3F-B787-EF1DA03BB902}"/>
                </a:ext>
              </a:extLst>
            </p:cNvPr>
            <p:cNvSpPr>
              <a:spLocks/>
            </p:cNvSpPr>
            <p:nvPr/>
          </p:nvSpPr>
          <p:spPr bwMode="auto">
            <a:xfrm>
              <a:off x="4703763" y="3990975"/>
              <a:ext cx="419100" cy="419100"/>
            </a:xfrm>
            <a:custGeom>
              <a:avLst/>
              <a:gdLst>
                <a:gd name="T0" fmla="*/ 128 w 176"/>
                <a:gd name="T1" fmla="*/ 176 h 176"/>
                <a:gd name="T2" fmla="*/ 48 w 176"/>
                <a:gd name="T3" fmla="*/ 176 h 176"/>
                <a:gd name="T4" fmla="*/ 0 w 176"/>
                <a:gd name="T5" fmla="*/ 128 h 176"/>
                <a:gd name="T6" fmla="*/ 0 w 176"/>
                <a:gd name="T7" fmla="*/ 48 h 176"/>
                <a:gd name="T8" fmla="*/ 48 w 176"/>
                <a:gd name="T9" fmla="*/ 0 h 176"/>
                <a:gd name="T10" fmla="*/ 128 w 176"/>
                <a:gd name="T11" fmla="*/ 0 h 176"/>
                <a:gd name="T12" fmla="*/ 176 w 176"/>
                <a:gd name="T13" fmla="*/ 48 h 176"/>
                <a:gd name="T14" fmla="*/ 176 w 176"/>
                <a:gd name="T15" fmla="*/ 128 h 176"/>
                <a:gd name="T16" fmla="*/ 128 w 176"/>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28" y="176"/>
                  </a:moveTo>
                  <a:cubicBezTo>
                    <a:pt x="48" y="176"/>
                    <a:pt x="48" y="176"/>
                    <a:pt x="48" y="176"/>
                  </a:cubicBezTo>
                  <a:cubicBezTo>
                    <a:pt x="22" y="176"/>
                    <a:pt x="0" y="154"/>
                    <a:pt x="0" y="128"/>
                  </a:cubicBezTo>
                  <a:cubicBezTo>
                    <a:pt x="0" y="48"/>
                    <a:pt x="0" y="48"/>
                    <a:pt x="0" y="48"/>
                  </a:cubicBezTo>
                  <a:cubicBezTo>
                    <a:pt x="0" y="21"/>
                    <a:pt x="22" y="0"/>
                    <a:pt x="48" y="0"/>
                  </a:cubicBezTo>
                  <a:cubicBezTo>
                    <a:pt x="128" y="0"/>
                    <a:pt x="128" y="0"/>
                    <a:pt x="128" y="0"/>
                  </a:cubicBezTo>
                  <a:cubicBezTo>
                    <a:pt x="154" y="0"/>
                    <a:pt x="176" y="21"/>
                    <a:pt x="176" y="48"/>
                  </a:cubicBezTo>
                  <a:cubicBezTo>
                    <a:pt x="176" y="128"/>
                    <a:pt x="176" y="128"/>
                    <a:pt x="176" y="128"/>
                  </a:cubicBezTo>
                  <a:cubicBezTo>
                    <a:pt x="176" y="154"/>
                    <a:pt x="154" y="176"/>
                    <a:pt x="128" y="176"/>
                  </a:cubicBezTo>
                  <a:close/>
                </a:path>
              </a:pathLst>
            </a:custGeom>
            <a:solidFill>
              <a:schemeClr val="accent3"/>
            </a:solidFill>
            <a:ln w="9525"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68" name="Freeform 57">
              <a:extLst>
                <a:ext uri="{FF2B5EF4-FFF2-40B4-BE49-F238E27FC236}">
                  <a16:creationId xmlns:a16="http://schemas.microsoft.com/office/drawing/2014/main" id="{4631C82B-F6B6-4C2C-B621-8EEC6056875A}"/>
                </a:ext>
              </a:extLst>
            </p:cNvPr>
            <p:cNvSpPr>
              <a:spLocks/>
            </p:cNvSpPr>
            <p:nvPr/>
          </p:nvSpPr>
          <p:spPr bwMode="auto">
            <a:xfrm>
              <a:off x="4573588" y="3778250"/>
              <a:ext cx="681038" cy="212725"/>
            </a:xfrm>
            <a:custGeom>
              <a:avLst/>
              <a:gdLst>
                <a:gd name="T0" fmla="*/ 263 w 286"/>
                <a:gd name="T1" fmla="*/ 0 h 89"/>
                <a:gd name="T2" fmla="*/ 227 w 286"/>
                <a:gd name="T3" fmla="*/ 31 h 89"/>
                <a:gd name="T4" fmla="*/ 59 w 286"/>
                <a:gd name="T5" fmla="*/ 31 h 89"/>
                <a:gd name="T6" fmla="*/ 23 w 286"/>
                <a:gd name="T7" fmla="*/ 0 h 89"/>
                <a:gd name="T8" fmla="*/ 0 w 286"/>
                <a:gd name="T9" fmla="*/ 4 h 89"/>
                <a:gd name="T10" fmla="*/ 59 w 286"/>
                <a:gd name="T11" fmla="*/ 55 h 89"/>
                <a:gd name="T12" fmla="*/ 131 w 286"/>
                <a:gd name="T13" fmla="*/ 55 h 89"/>
                <a:gd name="T14" fmla="*/ 131 w 286"/>
                <a:gd name="T15" fmla="*/ 89 h 89"/>
                <a:gd name="T16" fmla="*/ 155 w 286"/>
                <a:gd name="T17" fmla="*/ 89 h 89"/>
                <a:gd name="T18" fmla="*/ 155 w 286"/>
                <a:gd name="T19" fmla="*/ 55 h 89"/>
                <a:gd name="T20" fmla="*/ 227 w 286"/>
                <a:gd name="T21" fmla="*/ 55 h 89"/>
                <a:gd name="T22" fmla="*/ 286 w 286"/>
                <a:gd name="T23" fmla="*/ 4 h 89"/>
                <a:gd name="T24" fmla="*/ 263 w 286"/>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 h="89">
                  <a:moveTo>
                    <a:pt x="263" y="0"/>
                  </a:moveTo>
                  <a:cubicBezTo>
                    <a:pt x="260" y="18"/>
                    <a:pt x="245" y="31"/>
                    <a:pt x="227" y="31"/>
                  </a:cubicBezTo>
                  <a:cubicBezTo>
                    <a:pt x="59" y="31"/>
                    <a:pt x="59" y="31"/>
                    <a:pt x="59" y="31"/>
                  </a:cubicBezTo>
                  <a:cubicBezTo>
                    <a:pt x="41" y="31"/>
                    <a:pt x="26" y="18"/>
                    <a:pt x="23" y="0"/>
                  </a:cubicBezTo>
                  <a:cubicBezTo>
                    <a:pt x="0" y="4"/>
                    <a:pt x="0" y="4"/>
                    <a:pt x="0" y="4"/>
                  </a:cubicBezTo>
                  <a:cubicBezTo>
                    <a:pt x="4" y="33"/>
                    <a:pt x="29" y="55"/>
                    <a:pt x="59" y="55"/>
                  </a:cubicBezTo>
                  <a:cubicBezTo>
                    <a:pt x="131" y="55"/>
                    <a:pt x="131" y="55"/>
                    <a:pt x="131" y="55"/>
                  </a:cubicBezTo>
                  <a:cubicBezTo>
                    <a:pt x="131" y="89"/>
                    <a:pt x="131" y="89"/>
                    <a:pt x="131" y="89"/>
                  </a:cubicBezTo>
                  <a:cubicBezTo>
                    <a:pt x="155" y="89"/>
                    <a:pt x="155" y="89"/>
                    <a:pt x="155" y="89"/>
                  </a:cubicBezTo>
                  <a:cubicBezTo>
                    <a:pt x="155" y="55"/>
                    <a:pt x="155" y="55"/>
                    <a:pt x="155" y="55"/>
                  </a:cubicBezTo>
                  <a:cubicBezTo>
                    <a:pt x="227" y="55"/>
                    <a:pt x="227" y="55"/>
                    <a:pt x="227" y="55"/>
                  </a:cubicBezTo>
                  <a:cubicBezTo>
                    <a:pt x="257" y="55"/>
                    <a:pt x="282" y="33"/>
                    <a:pt x="286" y="4"/>
                  </a:cubicBezTo>
                  <a:lnTo>
                    <a:pt x="26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69" name="Freeform 58">
              <a:extLst>
                <a:ext uri="{FF2B5EF4-FFF2-40B4-BE49-F238E27FC236}">
                  <a16:creationId xmlns:a16="http://schemas.microsoft.com/office/drawing/2014/main" id="{FF9F68DC-870A-4F88-8D15-D9D484A10A90}"/>
                </a:ext>
              </a:extLst>
            </p:cNvPr>
            <p:cNvSpPr>
              <a:spLocks/>
            </p:cNvSpPr>
            <p:nvPr/>
          </p:nvSpPr>
          <p:spPr bwMode="auto">
            <a:xfrm>
              <a:off x="4394201" y="3362325"/>
              <a:ext cx="419100" cy="420688"/>
            </a:xfrm>
            <a:custGeom>
              <a:avLst/>
              <a:gdLst>
                <a:gd name="T0" fmla="*/ 128 w 176"/>
                <a:gd name="T1" fmla="*/ 176 h 176"/>
                <a:gd name="T2" fmla="*/ 48 w 176"/>
                <a:gd name="T3" fmla="*/ 176 h 176"/>
                <a:gd name="T4" fmla="*/ 0 w 176"/>
                <a:gd name="T5" fmla="*/ 128 h 176"/>
                <a:gd name="T6" fmla="*/ 0 w 176"/>
                <a:gd name="T7" fmla="*/ 48 h 176"/>
                <a:gd name="T8" fmla="*/ 48 w 176"/>
                <a:gd name="T9" fmla="*/ 0 h 176"/>
                <a:gd name="T10" fmla="*/ 128 w 176"/>
                <a:gd name="T11" fmla="*/ 0 h 176"/>
                <a:gd name="T12" fmla="*/ 176 w 176"/>
                <a:gd name="T13" fmla="*/ 48 h 176"/>
                <a:gd name="T14" fmla="*/ 176 w 176"/>
                <a:gd name="T15" fmla="*/ 128 h 176"/>
                <a:gd name="T16" fmla="*/ 128 w 176"/>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28" y="176"/>
                  </a:moveTo>
                  <a:cubicBezTo>
                    <a:pt x="48" y="176"/>
                    <a:pt x="48" y="176"/>
                    <a:pt x="48" y="176"/>
                  </a:cubicBezTo>
                  <a:cubicBezTo>
                    <a:pt x="22" y="176"/>
                    <a:pt x="0" y="154"/>
                    <a:pt x="0" y="128"/>
                  </a:cubicBezTo>
                  <a:cubicBezTo>
                    <a:pt x="0" y="48"/>
                    <a:pt x="0" y="48"/>
                    <a:pt x="0" y="48"/>
                  </a:cubicBezTo>
                  <a:cubicBezTo>
                    <a:pt x="0" y="22"/>
                    <a:pt x="22" y="0"/>
                    <a:pt x="48" y="0"/>
                  </a:cubicBezTo>
                  <a:cubicBezTo>
                    <a:pt x="128" y="0"/>
                    <a:pt x="128" y="0"/>
                    <a:pt x="128" y="0"/>
                  </a:cubicBezTo>
                  <a:cubicBezTo>
                    <a:pt x="154" y="0"/>
                    <a:pt x="176" y="22"/>
                    <a:pt x="176" y="48"/>
                  </a:cubicBezTo>
                  <a:cubicBezTo>
                    <a:pt x="176" y="128"/>
                    <a:pt x="176" y="128"/>
                    <a:pt x="176" y="128"/>
                  </a:cubicBezTo>
                  <a:cubicBezTo>
                    <a:pt x="176" y="154"/>
                    <a:pt x="154" y="176"/>
                    <a:pt x="128" y="176"/>
                  </a:cubicBezTo>
                  <a:close/>
                </a:path>
              </a:pathLst>
            </a:custGeom>
            <a:solidFill>
              <a:schemeClr val="tx2"/>
            </a:solidFill>
            <a:ln w="9525"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70" name="Freeform 59">
              <a:extLst>
                <a:ext uri="{FF2B5EF4-FFF2-40B4-BE49-F238E27FC236}">
                  <a16:creationId xmlns:a16="http://schemas.microsoft.com/office/drawing/2014/main" id="{2C3DD9AA-A20F-4335-9358-35869B29A80E}"/>
                </a:ext>
              </a:extLst>
            </p:cNvPr>
            <p:cNvSpPr>
              <a:spLocks/>
            </p:cNvSpPr>
            <p:nvPr/>
          </p:nvSpPr>
          <p:spPr bwMode="auto">
            <a:xfrm>
              <a:off x="5013326" y="3362325"/>
              <a:ext cx="420688" cy="420688"/>
            </a:xfrm>
            <a:custGeom>
              <a:avLst/>
              <a:gdLst>
                <a:gd name="T0" fmla="*/ 128 w 176"/>
                <a:gd name="T1" fmla="*/ 176 h 176"/>
                <a:gd name="T2" fmla="*/ 48 w 176"/>
                <a:gd name="T3" fmla="*/ 176 h 176"/>
                <a:gd name="T4" fmla="*/ 0 w 176"/>
                <a:gd name="T5" fmla="*/ 128 h 176"/>
                <a:gd name="T6" fmla="*/ 0 w 176"/>
                <a:gd name="T7" fmla="*/ 48 h 176"/>
                <a:gd name="T8" fmla="*/ 48 w 176"/>
                <a:gd name="T9" fmla="*/ 0 h 176"/>
                <a:gd name="T10" fmla="*/ 128 w 176"/>
                <a:gd name="T11" fmla="*/ 0 h 176"/>
                <a:gd name="T12" fmla="*/ 176 w 176"/>
                <a:gd name="T13" fmla="*/ 48 h 176"/>
                <a:gd name="T14" fmla="*/ 176 w 176"/>
                <a:gd name="T15" fmla="*/ 128 h 176"/>
                <a:gd name="T16" fmla="*/ 128 w 176"/>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28" y="176"/>
                  </a:moveTo>
                  <a:cubicBezTo>
                    <a:pt x="48" y="176"/>
                    <a:pt x="48" y="176"/>
                    <a:pt x="48" y="176"/>
                  </a:cubicBezTo>
                  <a:cubicBezTo>
                    <a:pt x="22" y="176"/>
                    <a:pt x="0" y="154"/>
                    <a:pt x="0" y="128"/>
                  </a:cubicBezTo>
                  <a:cubicBezTo>
                    <a:pt x="0" y="48"/>
                    <a:pt x="0" y="48"/>
                    <a:pt x="0" y="48"/>
                  </a:cubicBezTo>
                  <a:cubicBezTo>
                    <a:pt x="0" y="22"/>
                    <a:pt x="22" y="0"/>
                    <a:pt x="48" y="0"/>
                  </a:cubicBezTo>
                  <a:cubicBezTo>
                    <a:pt x="128" y="0"/>
                    <a:pt x="128" y="0"/>
                    <a:pt x="128" y="0"/>
                  </a:cubicBezTo>
                  <a:cubicBezTo>
                    <a:pt x="154" y="0"/>
                    <a:pt x="176" y="22"/>
                    <a:pt x="176" y="48"/>
                  </a:cubicBezTo>
                  <a:cubicBezTo>
                    <a:pt x="176" y="128"/>
                    <a:pt x="176" y="128"/>
                    <a:pt x="176" y="128"/>
                  </a:cubicBezTo>
                  <a:cubicBezTo>
                    <a:pt x="176" y="154"/>
                    <a:pt x="154" y="176"/>
                    <a:pt x="128" y="176"/>
                  </a:cubicBezTo>
                  <a:close/>
                </a:path>
              </a:pathLst>
            </a:custGeom>
            <a:solidFill>
              <a:schemeClr val="tx2"/>
            </a:solidFill>
            <a:ln w="9525"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7075" y="2481072"/>
            <a:ext cx="3712845" cy="4008120"/>
          </a:xfrm>
          <a:custGeom>
            <a:avLst/>
            <a:gdLst/>
            <a:ahLst/>
            <a:cxnLst/>
            <a:rect l="l" t="t" r="r" b="b"/>
            <a:pathLst>
              <a:path w="3712845" h="4008120">
                <a:moveTo>
                  <a:pt x="0" y="4008120"/>
                </a:moveTo>
                <a:lnTo>
                  <a:pt x="3712464" y="4008120"/>
                </a:lnTo>
                <a:lnTo>
                  <a:pt x="3712464" y="0"/>
                </a:lnTo>
                <a:lnTo>
                  <a:pt x="0" y="0"/>
                </a:lnTo>
                <a:lnTo>
                  <a:pt x="0" y="4008120"/>
                </a:lnTo>
                <a:close/>
              </a:path>
            </a:pathLst>
          </a:custGeom>
          <a:ln w="12192">
            <a:solidFill>
              <a:srgbClr val="BEBEBE"/>
            </a:solidFill>
          </a:ln>
        </p:spPr>
        <p:txBody>
          <a:bodyPr wrap="square" lIns="0" tIns="0" rIns="0" bIns="0" rtlCol="0"/>
          <a:lstStyle/>
          <a:p>
            <a:endParaRPr/>
          </a:p>
        </p:txBody>
      </p:sp>
      <p:sp>
        <p:nvSpPr>
          <p:cNvPr id="3" name="object 3"/>
          <p:cNvSpPr txBox="1">
            <a:spLocks noGrp="1"/>
          </p:cNvSpPr>
          <p:nvPr>
            <p:ph type="title"/>
          </p:nvPr>
        </p:nvSpPr>
        <p:spPr>
          <a:xfrm>
            <a:off x="214680" y="140588"/>
            <a:ext cx="8404225" cy="779145"/>
          </a:xfrm>
          <a:prstGeom prst="rect">
            <a:avLst/>
          </a:prstGeom>
        </p:spPr>
        <p:txBody>
          <a:bodyPr vert="horz" wrap="square" lIns="0" tIns="57785" rIns="0" bIns="0" rtlCol="0">
            <a:spAutoFit/>
          </a:bodyPr>
          <a:lstStyle/>
          <a:p>
            <a:pPr marL="12700" marR="5080">
              <a:lnSpc>
                <a:spcPts val="2810"/>
              </a:lnSpc>
              <a:spcBef>
                <a:spcPts val="455"/>
              </a:spcBef>
            </a:pPr>
            <a:r>
              <a:rPr sz="2600" spc="-5"/>
              <a:t>The </a:t>
            </a:r>
            <a:r>
              <a:rPr sz="2600" spc="-70"/>
              <a:t>Test </a:t>
            </a:r>
            <a:r>
              <a:rPr sz="2600" spc="-5"/>
              <a:t>Strategy </a:t>
            </a:r>
            <a:r>
              <a:rPr sz="2600"/>
              <a:t>Should Also Consider Salesforce  </a:t>
            </a:r>
            <a:r>
              <a:rPr sz="2600" spc="-30"/>
              <a:t>Yearly</a:t>
            </a:r>
            <a:r>
              <a:rPr sz="2600" spc="-25"/>
              <a:t> </a:t>
            </a:r>
            <a:r>
              <a:rPr sz="2600" spc="-10"/>
              <a:t>Releases</a:t>
            </a:r>
            <a:endParaRPr sz="2600"/>
          </a:p>
        </p:txBody>
      </p:sp>
      <p:sp>
        <p:nvSpPr>
          <p:cNvPr id="4" name="object 4"/>
          <p:cNvSpPr txBox="1"/>
          <p:nvPr/>
        </p:nvSpPr>
        <p:spPr>
          <a:xfrm>
            <a:off x="214680" y="987410"/>
            <a:ext cx="11504295" cy="1249060"/>
          </a:xfrm>
          <a:prstGeom prst="rect">
            <a:avLst/>
          </a:prstGeom>
        </p:spPr>
        <p:txBody>
          <a:bodyPr vert="horz" wrap="square" lIns="0" tIns="68580" rIns="0" bIns="0" rtlCol="0">
            <a:spAutoFit/>
          </a:bodyPr>
          <a:lstStyle/>
          <a:p>
            <a:pPr marL="12700" marR="287020">
              <a:lnSpc>
                <a:spcPts val="1820"/>
              </a:lnSpc>
              <a:spcBef>
                <a:spcPts val="540"/>
              </a:spcBef>
            </a:pPr>
            <a:r>
              <a:rPr sz="1900" spc="-10">
                <a:solidFill>
                  <a:srgbClr val="12ABDB"/>
                </a:solidFill>
                <a:latin typeface="Verdana"/>
                <a:cs typeface="Verdana"/>
              </a:rPr>
              <a:t>This is particularly applicable </a:t>
            </a:r>
            <a:r>
              <a:rPr sz="1900" spc="-5">
                <a:solidFill>
                  <a:srgbClr val="12ABDB"/>
                </a:solidFill>
                <a:latin typeface="Verdana"/>
                <a:cs typeface="Verdana"/>
              </a:rPr>
              <a:t>for </a:t>
            </a:r>
            <a:r>
              <a:rPr sz="1900" spc="-10">
                <a:solidFill>
                  <a:srgbClr val="12ABDB"/>
                </a:solidFill>
                <a:latin typeface="Verdana"/>
                <a:cs typeface="Verdana"/>
              </a:rPr>
              <a:t>projects that </a:t>
            </a:r>
            <a:r>
              <a:rPr sz="1900" spc="-5">
                <a:solidFill>
                  <a:srgbClr val="12ABDB"/>
                </a:solidFill>
                <a:latin typeface="Verdana"/>
                <a:cs typeface="Verdana"/>
              </a:rPr>
              <a:t>spans across more </a:t>
            </a:r>
            <a:r>
              <a:rPr sz="1900" spc="-10">
                <a:solidFill>
                  <a:srgbClr val="12ABDB"/>
                </a:solidFill>
                <a:latin typeface="Verdana"/>
                <a:cs typeface="Verdana"/>
              </a:rPr>
              <a:t>than </a:t>
            </a:r>
            <a:r>
              <a:rPr sz="1900" spc="-5">
                <a:solidFill>
                  <a:srgbClr val="12ABDB"/>
                </a:solidFill>
                <a:latin typeface="Verdana"/>
                <a:cs typeface="Verdana"/>
              </a:rPr>
              <a:t>one release period or  </a:t>
            </a:r>
            <a:r>
              <a:rPr sz="1900" spc="-10">
                <a:solidFill>
                  <a:srgbClr val="12ABDB"/>
                </a:solidFill>
                <a:latin typeface="Verdana"/>
                <a:cs typeface="Verdana"/>
              </a:rPr>
              <a:t>when Capgemini is </a:t>
            </a:r>
            <a:r>
              <a:rPr sz="1900" spc="-5">
                <a:solidFill>
                  <a:srgbClr val="12ABDB"/>
                </a:solidFill>
                <a:latin typeface="Verdana"/>
                <a:cs typeface="Verdana"/>
              </a:rPr>
              <a:t>also </a:t>
            </a:r>
            <a:r>
              <a:rPr sz="1900" spc="-10">
                <a:solidFill>
                  <a:srgbClr val="12ABDB"/>
                </a:solidFill>
                <a:latin typeface="Verdana"/>
                <a:cs typeface="Verdana"/>
              </a:rPr>
              <a:t>covering application</a:t>
            </a:r>
            <a:r>
              <a:rPr sz="1900" spc="125">
                <a:solidFill>
                  <a:srgbClr val="12ABDB"/>
                </a:solidFill>
                <a:latin typeface="Verdana"/>
                <a:cs typeface="Verdana"/>
              </a:rPr>
              <a:t> </a:t>
            </a:r>
            <a:r>
              <a:rPr sz="1900" spc="-5">
                <a:solidFill>
                  <a:srgbClr val="12ABDB"/>
                </a:solidFill>
                <a:latin typeface="Verdana"/>
                <a:cs typeface="Verdana"/>
              </a:rPr>
              <a:t>maintenance</a:t>
            </a:r>
            <a:endParaRPr sz="1900">
              <a:latin typeface="Verdana"/>
              <a:cs typeface="Verdana"/>
            </a:endParaRPr>
          </a:p>
          <a:p>
            <a:pPr marL="12700" marR="5080">
              <a:lnSpc>
                <a:spcPts val="1190"/>
              </a:lnSpc>
              <a:spcBef>
                <a:spcPts val="960"/>
              </a:spcBef>
            </a:pPr>
            <a:r>
              <a:rPr sz="1100">
                <a:latin typeface="Verdana"/>
                <a:cs typeface="Verdana"/>
              </a:rPr>
              <a:t>Salesforce </a:t>
            </a:r>
            <a:r>
              <a:rPr sz="1100" spc="-5">
                <a:latin typeface="Verdana"/>
                <a:cs typeface="Verdana"/>
              </a:rPr>
              <a:t>delivers </a:t>
            </a:r>
            <a:r>
              <a:rPr sz="1100">
                <a:latin typeface="Verdana"/>
                <a:cs typeface="Verdana"/>
              </a:rPr>
              <a:t>a </a:t>
            </a:r>
            <a:r>
              <a:rPr sz="1100" b="1">
                <a:latin typeface="Verdana"/>
                <a:cs typeface="Verdana"/>
              </a:rPr>
              <a:t>new </a:t>
            </a:r>
            <a:r>
              <a:rPr sz="1100" b="1" spc="-5">
                <a:latin typeface="Verdana"/>
                <a:cs typeface="Verdana"/>
              </a:rPr>
              <a:t>release </a:t>
            </a:r>
            <a:r>
              <a:rPr sz="1100" b="1">
                <a:latin typeface="Verdana"/>
                <a:cs typeface="Verdana"/>
              </a:rPr>
              <a:t>three </a:t>
            </a:r>
            <a:r>
              <a:rPr sz="1100" b="1" spc="-5">
                <a:latin typeface="Verdana"/>
                <a:cs typeface="Verdana"/>
              </a:rPr>
              <a:t>times </a:t>
            </a:r>
            <a:r>
              <a:rPr sz="1100" b="1">
                <a:latin typeface="Verdana"/>
                <a:cs typeface="Verdana"/>
              </a:rPr>
              <a:t>a year</a:t>
            </a:r>
            <a:r>
              <a:rPr sz="1100">
                <a:latin typeface="Verdana"/>
                <a:cs typeface="Verdana"/>
              </a:rPr>
              <a:t>, </a:t>
            </a:r>
            <a:r>
              <a:rPr sz="1100" spc="-5">
                <a:latin typeface="Verdana"/>
                <a:cs typeface="Verdana"/>
              </a:rPr>
              <a:t>with </a:t>
            </a:r>
            <a:r>
              <a:rPr sz="1100">
                <a:latin typeface="Verdana"/>
                <a:cs typeface="Verdana"/>
              </a:rPr>
              <a:t>an </a:t>
            </a:r>
            <a:r>
              <a:rPr sz="1100" spc="-5">
                <a:latin typeface="Verdana"/>
                <a:cs typeface="Verdana"/>
              </a:rPr>
              <a:t>average </a:t>
            </a:r>
            <a:r>
              <a:rPr sz="1100">
                <a:latin typeface="Verdana"/>
                <a:cs typeface="Verdana"/>
              </a:rPr>
              <a:t>of </a:t>
            </a:r>
            <a:r>
              <a:rPr sz="1100" spc="-5">
                <a:latin typeface="Verdana"/>
                <a:cs typeface="Verdana"/>
              </a:rPr>
              <a:t>150+ features being added, </a:t>
            </a:r>
            <a:r>
              <a:rPr sz="1100" b="1" spc="-5">
                <a:latin typeface="Verdana"/>
                <a:cs typeface="Verdana"/>
              </a:rPr>
              <a:t>updated and in </a:t>
            </a:r>
            <a:r>
              <a:rPr sz="1100" b="1">
                <a:latin typeface="Verdana"/>
                <a:cs typeface="Verdana"/>
              </a:rPr>
              <a:t>some </a:t>
            </a:r>
            <a:r>
              <a:rPr sz="1100" b="1" spc="-5">
                <a:latin typeface="Verdana"/>
                <a:cs typeface="Verdana"/>
              </a:rPr>
              <a:t>cases </a:t>
            </a:r>
            <a:r>
              <a:rPr sz="1100" b="1">
                <a:latin typeface="Verdana"/>
                <a:cs typeface="Verdana"/>
              </a:rPr>
              <a:t>removed</a:t>
            </a:r>
            <a:r>
              <a:rPr sz="1100">
                <a:latin typeface="Verdana"/>
                <a:cs typeface="Verdana"/>
              </a:rPr>
              <a:t>. These </a:t>
            </a:r>
            <a:r>
              <a:rPr sz="1100" spc="-5">
                <a:latin typeface="Verdana"/>
                <a:cs typeface="Verdana"/>
              </a:rPr>
              <a:t>upgrades  </a:t>
            </a:r>
            <a:r>
              <a:rPr sz="1100">
                <a:latin typeface="Verdana"/>
                <a:cs typeface="Verdana"/>
              </a:rPr>
              <a:t>come </a:t>
            </a:r>
            <a:r>
              <a:rPr sz="1100" spc="-10">
                <a:latin typeface="Verdana"/>
                <a:cs typeface="Verdana"/>
              </a:rPr>
              <a:t>in </a:t>
            </a:r>
            <a:r>
              <a:rPr sz="1100" spc="-5">
                <a:latin typeface="Verdana"/>
                <a:cs typeface="Verdana"/>
              </a:rPr>
              <a:t>Spring, Summer </a:t>
            </a:r>
            <a:r>
              <a:rPr sz="1100">
                <a:latin typeface="Verdana"/>
                <a:cs typeface="Verdana"/>
              </a:rPr>
              <a:t>and </a:t>
            </a:r>
            <a:r>
              <a:rPr sz="1100" spc="-5">
                <a:latin typeface="Verdana"/>
                <a:cs typeface="Verdana"/>
              </a:rPr>
              <a:t>Winter </a:t>
            </a:r>
            <a:r>
              <a:rPr sz="1100">
                <a:latin typeface="Verdana"/>
                <a:cs typeface="Verdana"/>
              </a:rPr>
              <a:t>releases. </a:t>
            </a:r>
            <a:r>
              <a:rPr sz="1100" spc="-5">
                <a:latin typeface="Verdana"/>
                <a:cs typeface="Verdana"/>
              </a:rPr>
              <a:t>That’s why it’s critical </a:t>
            </a:r>
            <a:r>
              <a:rPr sz="1100">
                <a:latin typeface="Verdana"/>
                <a:cs typeface="Verdana"/>
              </a:rPr>
              <a:t>for Testers and </a:t>
            </a:r>
            <a:r>
              <a:rPr sz="1100" spc="-5">
                <a:latin typeface="Verdana"/>
                <a:cs typeface="Verdana"/>
              </a:rPr>
              <a:t>administrators to be </a:t>
            </a:r>
            <a:r>
              <a:rPr sz="1100" b="1" spc="-5">
                <a:latin typeface="Verdana"/>
                <a:cs typeface="Verdana"/>
              </a:rPr>
              <a:t>prepared </a:t>
            </a:r>
            <a:r>
              <a:rPr sz="1100">
                <a:latin typeface="Verdana"/>
                <a:cs typeface="Verdana"/>
              </a:rPr>
              <a:t>for </a:t>
            </a:r>
            <a:r>
              <a:rPr sz="1100" spc="-5">
                <a:latin typeface="Verdana"/>
                <a:cs typeface="Verdana"/>
              </a:rPr>
              <a:t>the upcoming </a:t>
            </a:r>
            <a:r>
              <a:rPr sz="1100">
                <a:latin typeface="Verdana"/>
                <a:cs typeface="Verdana"/>
              </a:rPr>
              <a:t>Salesforce </a:t>
            </a:r>
            <a:r>
              <a:rPr sz="1100" spc="-5">
                <a:latin typeface="Verdana"/>
                <a:cs typeface="Verdana"/>
              </a:rPr>
              <a:t>release schedule</a:t>
            </a:r>
            <a:r>
              <a:rPr lang="it-IT" sz="1100" spc="-5">
                <a:latin typeface="Verdana"/>
                <a:cs typeface="Verdana"/>
              </a:rPr>
              <a:t>.</a:t>
            </a:r>
          </a:p>
          <a:p>
            <a:pPr marL="12700" marR="5080">
              <a:lnSpc>
                <a:spcPts val="1190"/>
              </a:lnSpc>
              <a:spcBef>
                <a:spcPts val="960"/>
              </a:spcBef>
            </a:pPr>
            <a:r>
              <a:rPr lang="it-IT" sz="1100" err="1">
                <a:latin typeface="Verdana"/>
                <a:cs typeface="Verdana"/>
              </a:rPr>
              <a:t>NRTs</a:t>
            </a:r>
            <a:r>
              <a:rPr lang="it-IT" sz="1100">
                <a:latin typeface="Verdana"/>
                <a:cs typeface="Verdana"/>
              </a:rPr>
              <a:t> and custom </a:t>
            </a:r>
            <a:r>
              <a:rPr lang="it-IT" sz="1100" err="1">
                <a:latin typeface="Verdana"/>
                <a:cs typeface="Verdana"/>
              </a:rPr>
              <a:t>enahancements</a:t>
            </a:r>
            <a:r>
              <a:rPr lang="it-IT" sz="1100">
                <a:latin typeface="Verdana"/>
                <a:cs typeface="Verdana"/>
              </a:rPr>
              <a:t> </a:t>
            </a:r>
            <a:r>
              <a:rPr lang="it-IT" sz="1100" err="1">
                <a:latin typeface="Verdana"/>
                <a:cs typeface="Verdana"/>
              </a:rPr>
              <a:t>adaptations</a:t>
            </a:r>
            <a:r>
              <a:rPr lang="it-IT" sz="1100">
                <a:latin typeface="Verdana"/>
                <a:cs typeface="Verdana"/>
              </a:rPr>
              <a:t>/fixing </a:t>
            </a:r>
            <a:r>
              <a:rPr lang="it-IT" sz="1100" err="1">
                <a:latin typeface="Verdana"/>
                <a:cs typeface="Verdana"/>
              </a:rPr>
              <a:t>required</a:t>
            </a:r>
            <a:r>
              <a:rPr lang="it-IT" sz="1100">
                <a:latin typeface="Verdana"/>
                <a:cs typeface="Verdana"/>
              </a:rPr>
              <a:t> </a:t>
            </a:r>
            <a:r>
              <a:rPr lang="it-IT" sz="1100" err="1">
                <a:latin typeface="Verdana"/>
                <a:cs typeface="Verdana"/>
              </a:rPr>
              <a:t>as</a:t>
            </a:r>
            <a:r>
              <a:rPr lang="it-IT" sz="1100">
                <a:latin typeface="Verdana"/>
                <a:cs typeface="Verdana"/>
              </a:rPr>
              <a:t> a </a:t>
            </a:r>
            <a:r>
              <a:rPr lang="it-IT" sz="1100" err="1">
                <a:latin typeface="Verdana"/>
                <a:cs typeface="Verdana"/>
              </a:rPr>
              <a:t>consequence</a:t>
            </a:r>
            <a:r>
              <a:rPr lang="it-IT" sz="1100">
                <a:latin typeface="Verdana"/>
                <a:cs typeface="Verdana"/>
              </a:rPr>
              <a:t> of new </a:t>
            </a:r>
            <a:r>
              <a:rPr lang="it-IT" sz="1100" err="1">
                <a:latin typeface="Verdana"/>
                <a:cs typeface="Verdana"/>
              </a:rPr>
              <a:t>relases</a:t>
            </a:r>
            <a:r>
              <a:rPr lang="it-IT" sz="1100">
                <a:latin typeface="Verdana"/>
                <a:cs typeface="Verdana"/>
              </a:rPr>
              <a:t> can be </a:t>
            </a:r>
            <a:r>
              <a:rPr lang="it-IT" sz="1100" err="1">
                <a:latin typeface="Verdana"/>
                <a:cs typeface="Verdana"/>
              </a:rPr>
              <a:t>managed</a:t>
            </a:r>
            <a:r>
              <a:rPr lang="it-IT" sz="1100">
                <a:latin typeface="Verdana"/>
                <a:cs typeface="Verdana"/>
              </a:rPr>
              <a:t> </a:t>
            </a:r>
            <a:r>
              <a:rPr lang="it-IT" sz="1100" err="1">
                <a:latin typeface="Verdana"/>
                <a:cs typeface="Verdana"/>
              </a:rPr>
              <a:t>as</a:t>
            </a:r>
            <a:r>
              <a:rPr lang="it-IT" sz="1100">
                <a:latin typeface="Verdana"/>
                <a:cs typeface="Verdana"/>
              </a:rPr>
              <a:t> AMS </a:t>
            </a:r>
            <a:r>
              <a:rPr lang="it-IT" sz="1100" err="1">
                <a:latin typeface="Verdana"/>
                <a:cs typeface="Verdana"/>
              </a:rPr>
              <a:t>additional</a:t>
            </a:r>
            <a:r>
              <a:rPr lang="it-IT" sz="1100">
                <a:latin typeface="Verdana"/>
                <a:cs typeface="Verdana"/>
              </a:rPr>
              <a:t> </a:t>
            </a:r>
            <a:r>
              <a:rPr lang="it-IT" sz="1100" err="1">
                <a:latin typeface="Verdana"/>
                <a:cs typeface="Verdana"/>
              </a:rPr>
              <a:t>services</a:t>
            </a:r>
            <a:r>
              <a:rPr lang="it-IT" sz="1100">
                <a:latin typeface="Verdana"/>
                <a:cs typeface="Verdana"/>
              </a:rPr>
              <a:t>/</a:t>
            </a:r>
            <a:r>
              <a:rPr lang="it-IT" sz="1100" err="1">
                <a:latin typeface="Verdana"/>
                <a:cs typeface="Verdana"/>
              </a:rPr>
              <a:t>change</a:t>
            </a:r>
            <a:r>
              <a:rPr lang="it-IT" sz="1100">
                <a:latin typeface="Verdana"/>
                <a:cs typeface="Verdana"/>
              </a:rPr>
              <a:t> </a:t>
            </a:r>
            <a:r>
              <a:rPr lang="it-IT" sz="1100" err="1">
                <a:latin typeface="Verdana"/>
                <a:cs typeface="Verdana"/>
              </a:rPr>
              <a:t>requests</a:t>
            </a:r>
            <a:r>
              <a:rPr lang="it-IT" sz="1100">
                <a:latin typeface="Verdana"/>
                <a:cs typeface="Verdana"/>
              </a:rPr>
              <a:t>.</a:t>
            </a:r>
            <a:endParaRPr sz="1100">
              <a:latin typeface="Verdana"/>
              <a:cs typeface="Verdana"/>
            </a:endParaRPr>
          </a:p>
        </p:txBody>
      </p:sp>
      <p:sp>
        <p:nvSpPr>
          <p:cNvPr id="5" name="object 5"/>
          <p:cNvSpPr/>
          <p:nvPr/>
        </p:nvSpPr>
        <p:spPr>
          <a:xfrm>
            <a:off x="227075" y="2261616"/>
            <a:ext cx="3712845" cy="683260"/>
          </a:xfrm>
          <a:custGeom>
            <a:avLst/>
            <a:gdLst/>
            <a:ahLst/>
            <a:cxnLst/>
            <a:rect l="l" t="t" r="r" b="b"/>
            <a:pathLst>
              <a:path w="3712845" h="683260">
                <a:moveTo>
                  <a:pt x="0" y="682751"/>
                </a:moveTo>
                <a:lnTo>
                  <a:pt x="3712464" y="682751"/>
                </a:lnTo>
                <a:lnTo>
                  <a:pt x="3712464" y="0"/>
                </a:lnTo>
                <a:lnTo>
                  <a:pt x="0" y="0"/>
                </a:lnTo>
                <a:lnTo>
                  <a:pt x="0" y="682751"/>
                </a:lnTo>
                <a:close/>
              </a:path>
            </a:pathLst>
          </a:custGeom>
          <a:solidFill>
            <a:srgbClr val="006FAC"/>
          </a:solidFill>
        </p:spPr>
        <p:txBody>
          <a:bodyPr wrap="square" lIns="0" tIns="0" rIns="0" bIns="0" rtlCol="0"/>
          <a:lstStyle/>
          <a:p>
            <a:endParaRPr/>
          </a:p>
        </p:txBody>
      </p:sp>
      <p:sp>
        <p:nvSpPr>
          <p:cNvPr id="6" name="object 6"/>
          <p:cNvSpPr txBox="1"/>
          <p:nvPr/>
        </p:nvSpPr>
        <p:spPr>
          <a:xfrm>
            <a:off x="233172" y="2482418"/>
            <a:ext cx="3700779" cy="240029"/>
          </a:xfrm>
          <a:prstGeom prst="rect">
            <a:avLst/>
          </a:prstGeom>
        </p:spPr>
        <p:txBody>
          <a:bodyPr vert="horz" wrap="square" lIns="0" tIns="13335" rIns="0" bIns="0" rtlCol="0">
            <a:spAutoFit/>
          </a:bodyPr>
          <a:lstStyle/>
          <a:p>
            <a:pPr marL="1032510">
              <a:lnSpc>
                <a:spcPct val="100000"/>
              </a:lnSpc>
              <a:spcBef>
                <a:spcPts val="105"/>
              </a:spcBef>
            </a:pPr>
            <a:r>
              <a:rPr sz="1400" b="1">
                <a:solidFill>
                  <a:srgbClr val="FFFFFF"/>
                </a:solidFill>
                <a:latin typeface="Verdana"/>
                <a:cs typeface="Verdana"/>
              </a:rPr>
              <a:t>Learn </a:t>
            </a:r>
            <a:r>
              <a:rPr sz="1400" b="1" spc="5">
                <a:solidFill>
                  <a:srgbClr val="FFFFFF"/>
                </a:solidFill>
                <a:latin typeface="Verdana"/>
                <a:cs typeface="Verdana"/>
              </a:rPr>
              <a:t>&amp;</a:t>
            </a:r>
            <a:r>
              <a:rPr sz="1400" b="1" spc="-40">
                <a:solidFill>
                  <a:srgbClr val="FFFFFF"/>
                </a:solidFill>
                <a:latin typeface="Verdana"/>
                <a:cs typeface="Verdana"/>
              </a:rPr>
              <a:t> </a:t>
            </a:r>
            <a:r>
              <a:rPr sz="1400" b="1" spc="-5">
                <a:solidFill>
                  <a:srgbClr val="FFFFFF"/>
                </a:solidFill>
                <a:latin typeface="Verdana"/>
                <a:cs typeface="Verdana"/>
              </a:rPr>
              <a:t>Educate</a:t>
            </a:r>
            <a:endParaRPr sz="1400">
              <a:latin typeface="Verdana"/>
              <a:cs typeface="Verdana"/>
            </a:endParaRPr>
          </a:p>
        </p:txBody>
      </p:sp>
      <p:sp>
        <p:nvSpPr>
          <p:cNvPr id="7" name="object 7"/>
          <p:cNvSpPr txBox="1"/>
          <p:nvPr/>
        </p:nvSpPr>
        <p:spPr>
          <a:xfrm>
            <a:off x="233172" y="3150870"/>
            <a:ext cx="3700779" cy="3272790"/>
          </a:xfrm>
          <a:prstGeom prst="rect">
            <a:avLst/>
          </a:prstGeom>
        </p:spPr>
        <p:txBody>
          <a:bodyPr vert="horz" wrap="square" lIns="0" tIns="13335" rIns="0" bIns="0" rtlCol="0">
            <a:spAutoFit/>
          </a:bodyPr>
          <a:lstStyle/>
          <a:p>
            <a:pPr marL="247650" marR="185420" indent="-182880">
              <a:lnSpc>
                <a:spcPct val="100000"/>
              </a:lnSpc>
              <a:spcBef>
                <a:spcPts val="105"/>
              </a:spcBef>
              <a:buClr>
                <a:srgbClr val="006FAC"/>
              </a:buClr>
              <a:buFont typeface="Wingdings"/>
              <a:buChar char=""/>
              <a:tabLst>
                <a:tab pos="248285" algn="l"/>
              </a:tabLst>
            </a:pPr>
            <a:r>
              <a:rPr sz="1100">
                <a:latin typeface="Verdana"/>
                <a:cs typeface="Verdana"/>
              </a:rPr>
              <a:t>Salesforce </a:t>
            </a:r>
            <a:r>
              <a:rPr sz="1100" spc="-5">
                <a:latin typeface="Verdana"/>
                <a:cs typeface="Verdana"/>
              </a:rPr>
              <a:t>provides lots </a:t>
            </a:r>
            <a:r>
              <a:rPr sz="1100">
                <a:latin typeface="Verdana"/>
                <a:cs typeface="Verdana"/>
              </a:rPr>
              <a:t>of </a:t>
            </a:r>
            <a:r>
              <a:rPr sz="1100" b="1">
                <a:latin typeface="Verdana"/>
                <a:cs typeface="Verdana"/>
              </a:rPr>
              <a:t>resources to</a:t>
            </a:r>
            <a:r>
              <a:rPr sz="1100" b="1" spc="-100">
                <a:latin typeface="Verdana"/>
                <a:cs typeface="Verdana"/>
              </a:rPr>
              <a:t> </a:t>
            </a:r>
            <a:r>
              <a:rPr sz="1100" b="1" spc="-5">
                <a:latin typeface="Verdana"/>
                <a:cs typeface="Verdana"/>
              </a:rPr>
              <a:t>help  educating </a:t>
            </a:r>
            <a:r>
              <a:rPr sz="1100" spc="-10">
                <a:latin typeface="Verdana"/>
                <a:cs typeface="Verdana"/>
              </a:rPr>
              <a:t>its </a:t>
            </a:r>
            <a:r>
              <a:rPr sz="1100">
                <a:latin typeface="Verdana"/>
                <a:cs typeface="Verdana"/>
              </a:rPr>
              <a:t>customers and </a:t>
            </a:r>
            <a:r>
              <a:rPr sz="1100" spc="-5">
                <a:latin typeface="Verdana"/>
                <a:cs typeface="Verdana"/>
              </a:rPr>
              <a:t>partners </a:t>
            </a:r>
            <a:r>
              <a:rPr sz="1100">
                <a:latin typeface="Verdana"/>
                <a:cs typeface="Verdana"/>
              </a:rPr>
              <a:t>about  </a:t>
            </a:r>
            <a:r>
              <a:rPr sz="1100" spc="-5">
                <a:latin typeface="Verdana"/>
                <a:cs typeface="Verdana"/>
              </a:rPr>
              <a:t>release</a:t>
            </a:r>
            <a:r>
              <a:rPr sz="1100" spc="-20">
                <a:latin typeface="Verdana"/>
                <a:cs typeface="Verdana"/>
              </a:rPr>
              <a:t> </a:t>
            </a:r>
            <a:r>
              <a:rPr sz="1100" spc="-5">
                <a:latin typeface="Verdana"/>
                <a:cs typeface="Verdana"/>
              </a:rPr>
              <a:t>features.</a:t>
            </a:r>
            <a:endParaRPr sz="1100">
              <a:latin typeface="Verdana"/>
              <a:cs typeface="Verdana"/>
            </a:endParaRPr>
          </a:p>
          <a:p>
            <a:pPr marL="247650" marR="106045" indent="-182880">
              <a:lnSpc>
                <a:spcPct val="100000"/>
              </a:lnSpc>
              <a:spcBef>
                <a:spcPts val="595"/>
              </a:spcBef>
              <a:buClr>
                <a:srgbClr val="006FAC"/>
              </a:buClr>
              <a:buFont typeface="Wingdings"/>
              <a:buChar char=""/>
              <a:tabLst>
                <a:tab pos="248285" algn="l"/>
              </a:tabLst>
            </a:pPr>
            <a:r>
              <a:rPr sz="1100" b="1">
                <a:latin typeface="Verdana"/>
                <a:cs typeface="Verdana"/>
              </a:rPr>
              <a:t>Extensive </a:t>
            </a:r>
            <a:r>
              <a:rPr sz="1100" b="1" spc="-5">
                <a:latin typeface="Verdana"/>
                <a:cs typeface="Verdana"/>
              </a:rPr>
              <a:t>release </a:t>
            </a:r>
            <a:r>
              <a:rPr sz="1100" b="1">
                <a:latin typeface="Verdana"/>
                <a:cs typeface="Verdana"/>
              </a:rPr>
              <a:t>notes </a:t>
            </a:r>
            <a:r>
              <a:rPr sz="1100" spc="-5">
                <a:latin typeface="Verdana"/>
                <a:cs typeface="Verdana"/>
              </a:rPr>
              <a:t>are </a:t>
            </a:r>
            <a:r>
              <a:rPr sz="1100" spc="-10">
                <a:latin typeface="Verdana"/>
                <a:cs typeface="Verdana"/>
              </a:rPr>
              <a:t>available </a:t>
            </a:r>
            <a:r>
              <a:rPr sz="1100" spc="-5">
                <a:latin typeface="Verdana"/>
                <a:cs typeface="Verdana"/>
              </a:rPr>
              <a:t>online  </a:t>
            </a:r>
            <a:r>
              <a:rPr sz="1100" spc="-10">
                <a:latin typeface="Verdana"/>
                <a:cs typeface="Verdana"/>
              </a:rPr>
              <a:t>with </a:t>
            </a:r>
            <a:r>
              <a:rPr sz="1100" spc="-5">
                <a:latin typeface="Verdana"/>
                <a:cs typeface="Verdana"/>
              </a:rPr>
              <a:t>in-depth information about </a:t>
            </a:r>
            <a:r>
              <a:rPr sz="1100">
                <a:latin typeface="Verdana"/>
                <a:cs typeface="Verdana"/>
              </a:rPr>
              <a:t>each new  </a:t>
            </a:r>
            <a:r>
              <a:rPr sz="1100" spc="-5">
                <a:latin typeface="Verdana"/>
                <a:cs typeface="Verdana"/>
              </a:rPr>
              <a:t>feature and </a:t>
            </a:r>
            <a:r>
              <a:rPr sz="1100">
                <a:latin typeface="Verdana"/>
                <a:cs typeface="Verdana"/>
              </a:rPr>
              <a:t>enhancement. </a:t>
            </a:r>
            <a:r>
              <a:rPr sz="1100" spc="-5">
                <a:latin typeface="Verdana"/>
                <a:cs typeface="Verdana"/>
              </a:rPr>
              <a:t>Also, </a:t>
            </a:r>
            <a:r>
              <a:rPr sz="1100" b="1" spc="-5">
                <a:latin typeface="Verdana"/>
                <a:cs typeface="Verdana"/>
              </a:rPr>
              <a:t>Trailhead </a:t>
            </a:r>
            <a:r>
              <a:rPr sz="1100" spc="-5">
                <a:latin typeface="Verdana"/>
                <a:cs typeface="Verdana"/>
              </a:rPr>
              <a:t>has  modules with </a:t>
            </a:r>
            <a:r>
              <a:rPr sz="1100" spc="-10">
                <a:latin typeface="Verdana"/>
                <a:cs typeface="Verdana"/>
              </a:rPr>
              <a:t>highlights </a:t>
            </a:r>
            <a:r>
              <a:rPr sz="1100" spc="-5">
                <a:latin typeface="Verdana"/>
                <a:cs typeface="Verdana"/>
              </a:rPr>
              <a:t>broken </a:t>
            </a:r>
            <a:r>
              <a:rPr sz="1100">
                <a:latin typeface="Verdana"/>
                <a:cs typeface="Verdana"/>
              </a:rPr>
              <a:t>down </a:t>
            </a:r>
            <a:r>
              <a:rPr sz="1100" spc="-5">
                <a:latin typeface="Verdana"/>
                <a:cs typeface="Verdana"/>
              </a:rPr>
              <a:t>by</a:t>
            </a:r>
            <a:r>
              <a:rPr sz="1100" spc="120">
                <a:latin typeface="Verdana"/>
                <a:cs typeface="Verdana"/>
              </a:rPr>
              <a:t> </a:t>
            </a:r>
            <a:r>
              <a:rPr sz="1100" spc="-5">
                <a:latin typeface="Verdana"/>
                <a:cs typeface="Verdana"/>
              </a:rPr>
              <a:t>cloud.</a:t>
            </a:r>
            <a:endParaRPr sz="1100">
              <a:latin typeface="Verdana"/>
              <a:cs typeface="Verdana"/>
            </a:endParaRPr>
          </a:p>
          <a:p>
            <a:pPr marL="247650" marR="97790" indent="-182880">
              <a:lnSpc>
                <a:spcPct val="100000"/>
              </a:lnSpc>
              <a:spcBef>
                <a:spcPts val="605"/>
              </a:spcBef>
              <a:buClr>
                <a:srgbClr val="006FAC"/>
              </a:buClr>
              <a:buFont typeface="Wingdings"/>
              <a:buChar char=""/>
              <a:tabLst>
                <a:tab pos="248285" algn="l"/>
              </a:tabLst>
            </a:pPr>
            <a:r>
              <a:rPr sz="1100">
                <a:latin typeface="Verdana"/>
                <a:cs typeface="Verdana"/>
              </a:rPr>
              <a:t>As </a:t>
            </a:r>
            <a:r>
              <a:rPr sz="1100" spc="-5">
                <a:latin typeface="Verdana"/>
                <a:cs typeface="Verdana"/>
              </a:rPr>
              <a:t>you learn </a:t>
            </a:r>
            <a:r>
              <a:rPr sz="1100">
                <a:latin typeface="Verdana"/>
                <a:cs typeface="Verdana"/>
              </a:rPr>
              <a:t>about </a:t>
            </a:r>
            <a:r>
              <a:rPr sz="1100" spc="-5">
                <a:latin typeface="Verdana"/>
                <a:cs typeface="Verdana"/>
              </a:rPr>
              <a:t>what’s coming </a:t>
            </a:r>
            <a:r>
              <a:rPr sz="1100" b="1" spc="-5">
                <a:latin typeface="Verdana"/>
                <a:cs typeface="Verdana"/>
              </a:rPr>
              <a:t>make </a:t>
            </a:r>
            <a:r>
              <a:rPr sz="1100" b="1">
                <a:latin typeface="Verdana"/>
                <a:cs typeface="Verdana"/>
              </a:rPr>
              <a:t>notes  </a:t>
            </a:r>
            <a:r>
              <a:rPr sz="1100">
                <a:latin typeface="Verdana"/>
                <a:cs typeface="Verdana"/>
              </a:rPr>
              <a:t>about </a:t>
            </a:r>
            <a:r>
              <a:rPr sz="1100" b="1" spc="-5">
                <a:latin typeface="Verdana"/>
                <a:cs typeface="Verdana"/>
              </a:rPr>
              <a:t>auto-enabled </a:t>
            </a:r>
            <a:r>
              <a:rPr sz="1100" b="1">
                <a:latin typeface="Verdana"/>
                <a:cs typeface="Verdana"/>
              </a:rPr>
              <a:t>features</a:t>
            </a:r>
            <a:r>
              <a:rPr sz="1100">
                <a:latin typeface="Verdana"/>
                <a:cs typeface="Verdana"/>
              </a:rPr>
              <a:t>, </a:t>
            </a:r>
            <a:r>
              <a:rPr sz="1100" spc="-5">
                <a:latin typeface="Verdana"/>
                <a:cs typeface="Verdana"/>
              </a:rPr>
              <a:t>features you  want to implement </a:t>
            </a:r>
            <a:r>
              <a:rPr sz="1100">
                <a:latin typeface="Verdana"/>
                <a:cs typeface="Verdana"/>
              </a:rPr>
              <a:t>now </a:t>
            </a:r>
            <a:r>
              <a:rPr sz="1100" spc="-5">
                <a:latin typeface="Verdana"/>
                <a:cs typeface="Verdana"/>
              </a:rPr>
              <a:t>versus features to  implement </a:t>
            </a:r>
            <a:r>
              <a:rPr sz="1100" spc="-10">
                <a:latin typeface="Verdana"/>
                <a:cs typeface="Verdana"/>
              </a:rPr>
              <a:t>in </a:t>
            </a:r>
            <a:r>
              <a:rPr sz="1100" spc="-5">
                <a:latin typeface="Verdana"/>
                <a:cs typeface="Verdana"/>
              </a:rPr>
              <a:t>the future, </a:t>
            </a:r>
            <a:r>
              <a:rPr sz="1100">
                <a:latin typeface="Verdana"/>
                <a:cs typeface="Verdana"/>
              </a:rPr>
              <a:t>and </a:t>
            </a:r>
            <a:r>
              <a:rPr sz="1100" b="1" spc="-5">
                <a:latin typeface="Verdana"/>
                <a:cs typeface="Verdana"/>
              </a:rPr>
              <a:t>features </a:t>
            </a:r>
            <a:r>
              <a:rPr sz="1100" b="1">
                <a:latin typeface="Verdana"/>
                <a:cs typeface="Verdana"/>
              </a:rPr>
              <a:t>that  </a:t>
            </a:r>
            <a:r>
              <a:rPr sz="1100" b="1" spc="-5">
                <a:latin typeface="Verdana"/>
                <a:cs typeface="Verdana"/>
              </a:rPr>
              <a:t>may impact customisations </a:t>
            </a:r>
            <a:r>
              <a:rPr sz="1100" spc="-10">
                <a:latin typeface="Verdana"/>
                <a:cs typeface="Verdana"/>
              </a:rPr>
              <a:t>in </a:t>
            </a:r>
            <a:r>
              <a:rPr sz="1100" spc="-5">
                <a:latin typeface="Verdana"/>
                <a:cs typeface="Verdana"/>
              </a:rPr>
              <a:t>your </a:t>
            </a:r>
            <a:r>
              <a:rPr sz="1100">
                <a:latin typeface="Verdana"/>
                <a:cs typeface="Verdana"/>
              </a:rPr>
              <a:t>org </a:t>
            </a:r>
            <a:r>
              <a:rPr sz="1100" spc="-5">
                <a:latin typeface="Verdana"/>
                <a:cs typeface="Verdana"/>
              </a:rPr>
              <a:t>that  </a:t>
            </a:r>
            <a:r>
              <a:rPr sz="1100" spc="-10">
                <a:latin typeface="Verdana"/>
                <a:cs typeface="Verdana"/>
              </a:rPr>
              <a:t>will </a:t>
            </a:r>
            <a:r>
              <a:rPr sz="1100" spc="-5">
                <a:latin typeface="Verdana"/>
                <a:cs typeface="Verdana"/>
              </a:rPr>
              <a:t>require</a:t>
            </a:r>
            <a:r>
              <a:rPr sz="1100" spc="40">
                <a:latin typeface="Verdana"/>
                <a:cs typeface="Verdana"/>
              </a:rPr>
              <a:t> </a:t>
            </a:r>
            <a:r>
              <a:rPr sz="1100" spc="-5">
                <a:latin typeface="Verdana"/>
                <a:cs typeface="Verdana"/>
              </a:rPr>
              <a:t>testing</a:t>
            </a:r>
            <a:endParaRPr sz="1100">
              <a:latin typeface="Verdana"/>
              <a:cs typeface="Verdana"/>
            </a:endParaRPr>
          </a:p>
          <a:p>
            <a:pPr marL="247650" marR="49530" indent="-182880">
              <a:lnSpc>
                <a:spcPct val="100000"/>
              </a:lnSpc>
              <a:spcBef>
                <a:spcPts val="600"/>
              </a:spcBef>
              <a:buClr>
                <a:srgbClr val="006FAC"/>
              </a:buClr>
              <a:buFont typeface="Wingdings"/>
              <a:buChar char=""/>
              <a:tabLst>
                <a:tab pos="248285" algn="l"/>
              </a:tabLst>
            </a:pPr>
            <a:r>
              <a:rPr sz="1100">
                <a:latin typeface="Verdana"/>
                <a:cs typeface="Verdana"/>
              </a:rPr>
              <a:t>After </a:t>
            </a:r>
            <a:r>
              <a:rPr sz="1100" spc="-5">
                <a:latin typeface="Verdana"/>
                <a:cs typeface="Verdana"/>
              </a:rPr>
              <a:t>learning </a:t>
            </a:r>
            <a:r>
              <a:rPr sz="1100">
                <a:latin typeface="Verdana"/>
                <a:cs typeface="Verdana"/>
              </a:rPr>
              <a:t>about </a:t>
            </a:r>
            <a:r>
              <a:rPr sz="1100" spc="-5">
                <a:latin typeface="Verdana"/>
                <a:cs typeface="Verdana"/>
              </a:rPr>
              <a:t>the </a:t>
            </a:r>
            <a:r>
              <a:rPr sz="1100">
                <a:latin typeface="Verdana"/>
                <a:cs typeface="Verdana"/>
              </a:rPr>
              <a:t>release, there </a:t>
            </a:r>
            <a:r>
              <a:rPr sz="1100" spc="-10">
                <a:latin typeface="Verdana"/>
                <a:cs typeface="Verdana"/>
              </a:rPr>
              <a:t>is </a:t>
            </a:r>
            <a:r>
              <a:rPr sz="1100">
                <a:latin typeface="Verdana"/>
                <a:cs typeface="Verdana"/>
              </a:rPr>
              <a:t>a need  </a:t>
            </a:r>
            <a:r>
              <a:rPr sz="1100" spc="-5">
                <a:latin typeface="Verdana"/>
                <a:cs typeface="Verdana"/>
              </a:rPr>
              <a:t>to </a:t>
            </a:r>
            <a:r>
              <a:rPr sz="1100" b="1" spc="-5">
                <a:latin typeface="Verdana"/>
                <a:cs typeface="Verdana"/>
              </a:rPr>
              <a:t>prepare </a:t>
            </a:r>
            <a:r>
              <a:rPr sz="1100" b="1">
                <a:latin typeface="Verdana"/>
                <a:cs typeface="Verdana"/>
              </a:rPr>
              <a:t>the stakeholders</a:t>
            </a:r>
            <a:r>
              <a:rPr sz="1100">
                <a:latin typeface="Verdana"/>
                <a:cs typeface="Verdana"/>
              </a:rPr>
              <a:t>. </a:t>
            </a:r>
            <a:r>
              <a:rPr sz="1100" spc="-5">
                <a:latin typeface="Verdana"/>
                <a:cs typeface="Verdana"/>
              </a:rPr>
              <a:t>Share release  features with </a:t>
            </a:r>
            <a:r>
              <a:rPr sz="1100">
                <a:latin typeface="Verdana"/>
                <a:cs typeface="Verdana"/>
              </a:rPr>
              <a:t>these </a:t>
            </a:r>
            <a:r>
              <a:rPr sz="1100" spc="-5">
                <a:latin typeface="Verdana"/>
                <a:cs typeface="Verdana"/>
              </a:rPr>
              <a:t>stakeholders </a:t>
            </a:r>
            <a:r>
              <a:rPr sz="1100">
                <a:latin typeface="Verdana"/>
                <a:cs typeface="Verdana"/>
              </a:rPr>
              <a:t>and </a:t>
            </a:r>
            <a:r>
              <a:rPr sz="1100" b="1" spc="-5">
                <a:latin typeface="Verdana"/>
                <a:cs typeface="Verdana"/>
              </a:rPr>
              <a:t>work  together </a:t>
            </a:r>
            <a:r>
              <a:rPr sz="1100" spc="-5">
                <a:latin typeface="Verdana"/>
                <a:cs typeface="Verdana"/>
              </a:rPr>
              <a:t>to decide which features to adopt </a:t>
            </a:r>
            <a:r>
              <a:rPr sz="1100">
                <a:latin typeface="Verdana"/>
                <a:cs typeface="Verdana"/>
              </a:rPr>
              <a:t>and  </a:t>
            </a:r>
            <a:r>
              <a:rPr sz="1100" spc="-5">
                <a:latin typeface="Verdana"/>
                <a:cs typeface="Verdana"/>
              </a:rPr>
              <a:t>when</a:t>
            </a:r>
            <a:endParaRPr sz="1100">
              <a:latin typeface="Verdana"/>
              <a:cs typeface="Verdana"/>
            </a:endParaRPr>
          </a:p>
        </p:txBody>
      </p:sp>
      <p:sp>
        <p:nvSpPr>
          <p:cNvPr id="8" name="object 8"/>
          <p:cNvSpPr/>
          <p:nvPr/>
        </p:nvSpPr>
        <p:spPr>
          <a:xfrm>
            <a:off x="4239767" y="2481072"/>
            <a:ext cx="3712845" cy="4008120"/>
          </a:xfrm>
          <a:custGeom>
            <a:avLst/>
            <a:gdLst/>
            <a:ahLst/>
            <a:cxnLst/>
            <a:rect l="l" t="t" r="r" b="b"/>
            <a:pathLst>
              <a:path w="3712845" h="4008120">
                <a:moveTo>
                  <a:pt x="0" y="4008120"/>
                </a:moveTo>
                <a:lnTo>
                  <a:pt x="3712464" y="4008120"/>
                </a:lnTo>
                <a:lnTo>
                  <a:pt x="3712464" y="0"/>
                </a:lnTo>
                <a:lnTo>
                  <a:pt x="0" y="0"/>
                </a:lnTo>
                <a:lnTo>
                  <a:pt x="0" y="4008120"/>
                </a:lnTo>
                <a:close/>
              </a:path>
            </a:pathLst>
          </a:custGeom>
          <a:ln w="12192">
            <a:solidFill>
              <a:srgbClr val="BEBEBE"/>
            </a:solidFill>
          </a:ln>
        </p:spPr>
        <p:txBody>
          <a:bodyPr wrap="square" lIns="0" tIns="0" rIns="0" bIns="0" rtlCol="0"/>
          <a:lstStyle/>
          <a:p>
            <a:endParaRPr/>
          </a:p>
        </p:txBody>
      </p:sp>
      <p:sp>
        <p:nvSpPr>
          <p:cNvPr id="9" name="object 9"/>
          <p:cNvSpPr/>
          <p:nvPr/>
        </p:nvSpPr>
        <p:spPr>
          <a:xfrm>
            <a:off x="4239767" y="2261616"/>
            <a:ext cx="3712845" cy="683260"/>
          </a:xfrm>
          <a:custGeom>
            <a:avLst/>
            <a:gdLst/>
            <a:ahLst/>
            <a:cxnLst/>
            <a:rect l="l" t="t" r="r" b="b"/>
            <a:pathLst>
              <a:path w="3712845" h="683260">
                <a:moveTo>
                  <a:pt x="0" y="682751"/>
                </a:moveTo>
                <a:lnTo>
                  <a:pt x="3712464" y="682751"/>
                </a:lnTo>
                <a:lnTo>
                  <a:pt x="3712464" y="0"/>
                </a:lnTo>
                <a:lnTo>
                  <a:pt x="0" y="0"/>
                </a:lnTo>
                <a:lnTo>
                  <a:pt x="0" y="682751"/>
                </a:lnTo>
                <a:close/>
              </a:path>
            </a:pathLst>
          </a:custGeom>
          <a:solidFill>
            <a:srgbClr val="006FAC"/>
          </a:solidFill>
        </p:spPr>
        <p:txBody>
          <a:bodyPr wrap="square" lIns="0" tIns="0" rIns="0" bIns="0" rtlCol="0"/>
          <a:lstStyle/>
          <a:p>
            <a:endParaRPr/>
          </a:p>
        </p:txBody>
      </p:sp>
      <p:sp>
        <p:nvSpPr>
          <p:cNvPr id="10" name="object 10"/>
          <p:cNvSpPr txBox="1"/>
          <p:nvPr/>
        </p:nvSpPr>
        <p:spPr>
          <a:xfrm>
            <a:off x="4245864" y="2482418"/>
            <a:ext cx="3700779" cy="240029"/>
          </a:xfrm>
          <a:prstGeom prst="rect">
            <a:avLst/>
          </a:prstGeom>
        </p:spPr>
        <p:txBody>
          <a:bodyPr vert="horz" wrap="square" lIns="0" tIns="13335" rIns="0" bIns="0" rtlCol="0">
            <a:spAutoFit/>
          </a:bodyPr>
          <a:lstStyle/>
          <a:p>
            <a:pPr marL="1270" algn="ctr">
              <a:lnSpc>
                <a:spcPct val="100000"/>
              </a:lnSpc>
              <a:spcBef>
                <a:spcPts val="105"/>
              </a:spcBef>
            </a:pPr>
            <a:r>
              <a:rPr sz="1400" b="1">
                <a:solidFill>
                  <a:srgbClr val="FFFFFF"/>
                </a:solidFill>
                <a:latin typeface="Verdana"/>
                <a:cs typeface="Verdana"/>
              </a:rPr>
              <a:t>Plan </a:t>
            </a:r>
            <a:r>
              <a:rPr sz="1400" b="1" spc="5">
                <a:solidFill>
                  <a:srgbClr val="FFFFFF"/>
                </a:solidFill>
                <a:latin typeface="Verdana"/>
                <a:cs typeface="Verdana"/>
              </a:rPr>
              <a:t>&amp;</a:t>
            </a:r>
            <a:r>
              <a:rPr sz="1400" b="1" spc="-30">
                <a:solidFill>
                  <a:srgbClr val="FFFFFF"/>
                </a:solidFill>
                <a:latin typeface="Verdana"/>
                <a:cs typeface="Verdana"/>
              </a:rPr>
              <a:t> </a:t>
            </a:r>
            <a:r>
              <a:rPr sz="1400" b="1">
                <a:solidFill>
                  <a:srgbClr val="FFFFFF"/>
                </a:solidFill>
                <a:latin typeface="Verdana"/>
                <a:cs typeface="Verdana"/>
              </a:rPr>
              <a:t>Test</a:t>
            </a:r>
            <a:endParaRPr sz="1400">
              <a:latin typeface="Verdana"/>
              <a:cs typeface="Verdana"/>
            </a:endParaRPr>
          </a:p>
        </p:txBody>
      </p:sp>
      <p:sp>
        <p:nvSpPr>
          <p:cNvPr id="11" name="object 11"/>
          <p:cNvSpPr txBox="1"/>
          <p:nvPr/>
        </p:nvSpPr>
        <p:spPr>
          <a:xfrm>
            <a:off x="4245864" y="3150870"/>
            <a:ext cx="3700779" cy="2282190"/>
          </a:xfrm>
          <a:prstGeom prst="rect">
            <a:avLst/>
          </a:prstGeom>
        </p:spPr>
        <p:txBody>
          <a:bodyPr vert="horz" wrap="square" lIns="0" tIns="13335" rIns="0" bIns="0" rtlCol="0">
            <a:spAutoFit/>
          </a:bodyPr>
          <a:lstStyle/>
          <a:p>
            <a:pPr marL="287655" marR="95250" indent="-182880">
              <a:lnSpc>
                <a:spcPct val="100000"/>
              </a:lnSpc>
              <a:spcBef>
                <a:spcPts val="105"/>
              </a:spcBef>
              <a:buClr>
                <a:srgbClr val="006FAC"/>
              </a:buClr>
              <a:buFont typeface="Wingdings"/>
              <a:buChar char=""/>
              <a:tabLst>
                <a:tab pos="288290" algn="l"/>
              </a:tabLst>
            </a:pPr>
            <a:r>
              <a:rPr sz="1100">
                <a:latin typeface="Verdana"/>
                <a:cs typeface="Verdana"/>
              </a:rPr>
              <a:t>Once </a:t>
            </a:r>
            <a:r>
              <a:rPr sz="1100" spc="-5">
                <a:latin typeface="Verdana"/>
                <a:cs typeface="Verdana"/>
              </a:rPr>
              <a:t>you </a:t>
            </a:r>
            <a:r>
              <a:rPr sz="1100" spc="-10">
                <a:latin typeface="Verdana"/>
                <a:cs typeface="Verdana"/>
              </a:rPr>
              <a:t>finalise </a:t>
            </a:r>
            <a:r>
              <a:rPr sz="1100" spc="-5">
                <a:latin typeface="Verdana"/>
                <a:cs typeface="Verdana"/>
              </a:rPr>
              <a:t>which features to implement,  it’s </a:t>
            </a:r>
            <a:r>
              <a:rPr sz="1100" b="1">
                <a:latin typeface="Verdana"/>
                <a:cs typeface="Verdana"/>
              </a:rPr>
              <a:t>time to </a:t>
            </a:r>
            <a:r>
              <a:rPr sz="1100" b="1" spc="-5">
                <a:latin typeface="Verdana"/>
                <a:cs typeface="Verdana"/>
              </a:rPr>
              <a:t>plan</a:t>
            </a:r>
            <a:r>
              <a:rPr sz="1100" spc="-5">
                <a:latin typeface="Verdana"/>
                <a:cs typeface="Verdana"/>
              </a:rPr>
              <a:t>. Check the </a:t>
            </a:r>
            <a:r>
              <a:rPr sz="1100" b="1" spc="-5">
                <a:latin typeface="Verdana"/>
                <a:cs typeface="Verdana"/>
              </a:rPr>
              <a:t>release  schedule </a:t>
            </a:r>
            <a:r>
              <a:rPr sz="1100" spc="-5">
                <a:latin typeface="Verdana"/>
                <a:cs typeface="Verdana"/>
              </a:rPr>
              <a:t>to find the </a:t>
            </a:r>
            <a:r>
              <a:rPr sz="1100" b="1">
                <a:latin typeface="Verdana"/>
                <a:cs typeface="Verdana"/>
              </a:rPr>
              <a:t>key </a:t>
            </a:r>
            <a:r>
              <a:rPr sz="1100" b="1" spc="-5">
                <a:latin typeface="Verdana"/>
                <a:cs typeface="Verdana"/>
              </a:rPr>
              <a:t>dates related </a:t>
            </a:r>
            <a:r>
              <a:rPr sz="1100" b="1">
                <a:latin typeface="Verdana"/>
                <a:cs typeface="Verdana"/>
              </a:rPr>
              <a:t>to  </a:t>
            </a:r>
            <a:r>
              <a:rPr sz="1100" b="1" spc="-5">
                <a:latin typeface="Verdana"/>
                <a:cs typeface="Verdana"/>
              </a:rPr>
              <a:t>Sandbox and Production upgrades</a:t>
            </a:r>
            <a:r>
              <a:rPr sz="1100" spc="-5">
                <a:latin typeface="Verdana"/>
                <a:cs typeface="Verdana"/>
              </a:rPr>
              <a:t>. </a:t>
            </a:r>
            <a:r>
              <a:rPr sz="1100">
                <a:latin typeface="Verdana"/>
                <a:cs typeface="Verdana"/>
              </a:rPr>
              <a:t>Then,  </a:t>
            </a:r>
            <a:r>
              <a:rPr sz="1100" spc="-5">
                <a:latin typeface="Verdana"/>
                <a:cs typeface="Verdana"/>
              </a:rPr>
              <a:t>craft </a:t>
            </a:r>
            <a:r>
              <a:rPr sz="1100">
                <a:latin typeface="Verdana"/>
                <a:cs typeface="Verdana"/>
              </a:rPr>
              <a:t>project </a:t>
            </a:r>
            <a:r>
              <a:rPr sz="1100" spc="-5">
                <a:latin typeface="Verdana"/>
                <a:cs typeface="Verdana"/>
              </a:rPr>
              <a:t>plan accordingly. </a:t>
            </a:r>
            <a:r>
              <a:rPr sz="1100">
                <a:latin typeface="Verdana"/>
                <a:cs typeface="Verdana"/>
              </a:rPr>
              <a:t>The project </a:t>
            </a:r>
            <a:r>
              <a:rPr sz="1100" spc="-5">
                <a:latin typeface="Verdana"/>
                <a:cs typeface="Verdana"/>
              </a:rPr>
              <a:t>plan  </a:t>
            </a:r>
            <a:r>
              <a:rPr sz="1100" spc="-10">
                <a:latin typeface="Verdana"/>
                <a:cs typeface="Verdana"/>
              </a:rPr>
              <a:t>will </a:t>
            </a:r>
            <a:r>
              <a:rPr sz="1100">
                <a:latin typeface="Verdana"/>
                <a:cs typeface="Verdana"/>
              </a:rPr>
              <a:t>need </a:t>
            </a:r>
            <a:r>
              <a:rPr sz="1100" spc="-5">
                <a:latin typeface="Verdana"/>
                <a:cs typeface="Verdana"/>
              </a:rPr>
              <a:t>to accommodate </a:t>
            </a:r>
            <a:r>
              <a:rPr sz="1100">
                <a:latin typeface="Verdana"/>
                <a:cs typeface="Verdana"/>
              </a:rPr>
              <a:t>any </a:t>
            </a:r>
            <a:r>
              <a:rPr sz="1100" b="1">
                <a:latin typeface="Verdana"/>
                <a:cs typeface="Verdana"/>
              </a:rPr>
              <a:t>testing  </a:t>
            </a:r>
            <a:r>
              <a:rPr sz="1100" b="1" spc="-5">
                <a:latin typeface="Verdana"/>
                <a:cs typeface="Verdana"/>
              </a:rPr>
              <a:t>updates </a:t>
            </a:r>
            <a:r>
              <a:rPr sz="1100" b="1">
                <a:latin typeface="Verdana"/>
                <a:cs typeface="Verdana"/>
              </a:rPr>
              <a:t>or new tests</a:t>
            </a:r>
            <a:r>
              <a:rPr sz="1100" b="1" spc="-65">
                <a:latin typeface="Verdana"/>
                <a:cs typeface="Verdana"/>
              </a:rPr>
              <a:t> </a:t>
            </a:r>
            <a:r>
              <a:rPr sz="1100" b="1" spc="-5">
                <a:latin typeface="Verdana"/>
                <a:cs typeface="Verdana"/>
              </a:rPr>
              <a:t>required</a:t>
            </a:r>
            <a:endParaRPr sz="1100">
              <a:latin typeface="Verdana"/>
              <a:cs typeface="Verdana"/>
            </a:endParaRPr>
          </a:p>
          <a:p>
            <a:pPr marL="287655" indent="-183515">
              <a:lnSpc>
                <a:spcPct val="100000"/>
              </a:lnSpc>
              <a:spcBef>
                <a:spcPts val="600"/>
              </a:spcBef>
              <a:buClr>
                <a:srgbClr val="006FAC"/>
              </a:buClr>
              <a:buFont typeface="Wingdings"/>
              <a:buChar char=""/>
              <a:tabLst>
                <a:tab pos="288290" algn="l"/>
              </a:tabLst>
            </a:pPr>
            <a:r>
              <a:rPr sz="1100" b="1">
                <a:latin typeface="Verdana"/>
                <a:cs typeface="Verdana"/>
              </a:rPr>
              <a:t>Test new </a:t>
            </a:r>
            <a:r>
              <a:rPr sz="1100" b="1" spc="-5">
                <a:latin typeface="Verdana"/>
                <a:cs typeface="Verdana"/>
              </a:rPr>
              <a:t>features and enhancements </a:t>
            </a:r>
            <a:r>
              <a:rPr sz="1100" spc="-10">
                <a:latin typeface="Verdana"/>
                <a:cs typeface="Verdana"/>
              </a:rPr>
              <a:t>in</a:t>
            </a:r>
            <a:r>
              <a:rPr sz="1100" spc="-55">
                <a:latin typeface="Verdana"/>
                <a:cs typeface="Verdana"/>
              </a:rPr>
              <a:t> </a:t>
            </a:r>
            <a:r>
              <a:rPr sz="1100">
                <a:latin typeface="Verdana"/>
                <a:cs typeface="Verdana"/>
              </a:rPr>
              <a:t>a</a:t>
            </a:r>
          </a:p>
          <a:p>
            <a:pPr marL="287655">
              <a:lnSpc>
                <a:spcPct val="100000"/>
              </a:lnSpc>
            </a:pPr>
            <a:r>
              <a:rPr sz="1100" b="1" spc="-5">
                <a:latin typeface="Verdana"/>
                <a:cs typeface="Verdana"/>
              </a:rPr>
              <a:t>sandbox </a:t>
            </a:r>
            <a:r>
              <a:rPr sz="1100" spc="-5">
                <a:latin typeface="Verdana"/>
                <a:cs typeface="Verdana"/>
              </a:rPr>
              <a:t>with the </a:t>
            </a:r>
            <a:r>
              <a:rPr sz="1100" b="1" spc="-5">
                <a:latin typeface="Verdana"/>
                <a:cs typeface="Verdana"/>
              </a:rPr>
              <a:t>existing </a:t>
            </a:r>
            <a:r>
              <a:rPr sz="1100" b="1">
                <a:latin typeface="Verdana"/>
                <a:cs typeface="Verdana"/>
              </a:rPr>
              <a:t>customisations</a:t>
            </a:r>
            <a:r>
              <a:rPr sz="1100">
                <a:latin typeface="Verdana"/>
                <a:cs typeface="Verdana"/>
              </a:rPr>
              <a:t>.</a:t>
            </a:r>
          </a:p>
          <a:p>
            <a:pPr marL="287655">
              <a:lnSpc>
                <a:spcPct val="100000"/>
              </a:lnSpc>
            </a:pPr>
            <a:r>
              <a:rPr sz="1100" spc="-5">
                <a:latin typeface="Verdana"/>
                <a:cs typeface="Verdana"/>
              </a:rPr>
              <a:t>This </a:t>
            </a:r>
            <a:r>
              <a:rPr sz="1100" spc="-10">
                <a:latin typeface="Verdana"/>
                <a:cs typeface="Verdana"/>
              </a:rPr>
              <a:t>will </a:t>
            </a:r>
            <a:r>
              <a:rPr sz="1100">
                <a:latin typeface="Verdana"/>
                <a:cs typeface="Verdana"/>
              </a:rPr>
              <a:t>prevent users </a:t>
            </a:r>
            <a:r>
              <a:rPr sz="1100" spc="-5">
                <a:latin typeface="Verdana"/>
                <a:cs typeface="Verdana"/>
              </a:rPr>
              <a:t>from</a:t>
            </a:r>
            <a:r>
              <a:rPr sz="1100" spc="30">
                <a:latin typeface="Verdana"/>
                <a:cs typeface="Verdana"/>
              </a:rPr>
              <a:t> </a:t>
            </a:r>
            <a:r>
              <a:rPr sz="1100" spc="-5">
                <a:latin typeface="Verdana"/>
                <a:cs typeface="Verdana"/>
              </a:rPr>
              <a:t>experiencing</a:t>
            </a:r>
            <a:endParaRPr sz="1100">
              <a:latin typeface="Verdana"/>
              <a:cs typeface="Verdana"/>
            </a:endParaRPr>
          </a:p>
          <a:p>
            <a:pPr marL="287655" marR="85090">
              <a:lnSpc>
                <a:spcPct val="100000"/>
              </a:lnSpc>
            </a:pPr>
            <a:r>
              <a:rPr sz="1100" spc="-5">
                <a:latin typeface="Verdana"/>
                <a:cs typeface="Verdana"/>
              </a:rPr>
              <a:t>issues </a:t>
            </a:r>
            <a:r>
              <a:rPr sz="1100" spc="-10">
                <a:latin typeface="Verdana"/>
                <a:cs typeface="Verdana"/>
              </a:rPr>
              <a:t>in </a:t>
            </a:r>
            <a:r>
              <a:rPr sz="1100" spc="-5">
                <a:latin typeface="Verdana"/>
                <a:cs typeface="Verdana"/>
              </a:rPr>
              <a:t>production. </a:t>
            </a:r>
            <a:r>
              <a:rPr sz="1100">
                <a:latin typeface="Verdana"/>
                <a:cs typeface="Verdana"/>
              </a:rPr>
              <a:t>It’s a good </a:t>
            </a:r>
            <a:r>
              <a:rPr sz="1100" spc="-5">
                <a:latin typeface="Verdana"/>
                <a:cs typeface="Verdana"/>
              </a:rPr>
              <a:t>practice to </a:t>
            </a:r>
            <a:r>
              <a:rPr sz="1100">
                <a:latin typeface="Verdana"/>
                <a:cs typeface="Verdana"/>
              </a:rPr>
              <a:t>get  some </a:t>
            </a:r>
            <a:r>
              <a:rPr sz="1100" spc="-10">
                <a:latin typeface="Verdana"/>
                <a:cs typeface="Verdana"/>
              </a:rPr>
              <a:t>initial </a:t>
            </a:r>
            <a:r>
              <a:rPr sz="1100" spc="-5">
                <a:latin typeface="Verdana"/>
                <a:cs typeface="Verdana"/>
              </a:rPr>
              <a:t>feedback from </a:t>
            </a:r>
            <a:r>
              <a:rPr sz="1100">
                <a:latin typeface="Verdana"/>
                <a:cs typeface="Verdana"/>
              </a:rPr>
              <a:t>users </a:t>
            </a:r>
            <a:r>
              <a:rPr sz="1100" spc="-10">
                <a:latin typeface="Verdana"/>
                <a:cs typeface="Verdana"/>
              </a:rPr>
              <a:t>in </a:t>
            </a:r>
            <a:r>
              <a:rPr sz="1100">
                <a:latin typeface="Verdana"/>
                <a:cs typeface="Verdana"/>
              </a:rPr>
              <a:t>order </a:t>
            </a:r>
            <a:r>
              <a:rPr sz="1100" spc="-5">
                <a:latin typeface="Verdana"/>
                <a:cs typeface="Verdana"/>
              </a:rPr>
              <a:t>to  make adjustments </a:t>
            </a:r>
            <a:r>
              <a:rPr sz="1100">
                <a:latin typeface="Verdana"/>
                <a:cs typeface="Verdana"/>
              </a:rPr>
              <a:t>before you </a:t>
            </a:r>
            <a:r>
              <a:rPr sz="1100" spc="-5">
                <a:latin typeface="Verdana"/>
                <a:cs typeface="Verdana"/>
              </a:rPr>
              <a:t>go</a:t>
            </a:r>
            <a:r>
              <a:rPr sz="1100" spc="-30">
                <a:latin typeface="Verdana"/>
                <a:cs typeface="Verdana"/>
              </a:rPr>
              <a:t> </a:t>
            </a:r>
            <a:r>
              <a:rPr sz="1100" spc="-10">
                <a:latin typeface="Verdana"/>
                <a:cs typeface="Verdana"/>
              </a:rPr>
              <a:t>live</a:t>
            </a:r>
            <a:endParaRPr sz="1100">
              <a:latin typeface="Verdana"/>
              <a:cs typeface="Verdana"/>
            </a:endParaRPr>
          </a:p>
        </p:txBody>
      </p:sp>
      <p:sp>
        <p:nvSpPr>
          <p:cNvPr id="12" name="object 12"/>
          <p:cNvSpPr/>
          <p:nvPr/>
        </p:nvSpPr>
        <p:spPr>
          <a:xfrm>
            <a:off x="8129016" y="2481072"/>
            <a:ext cx="3712845" cy="4008120"/>
          </a:xfrm>
          <a:custGeom>
            <a:avLst/>
            <a:gdLst/>
            <a:ahLst/>
            <a:cxnLst/>
            <a:rect l="l" t="t" r="r" b="b"/>
            <a:pathLst>
              <a:path w="3712845" h="4008120">
                <a:moveTo>
                  <a:pt x="0" y="4008120"/>
                </a:moveTo>
                <a:lnTo>
                  <a:pt x="3712464" y="4008120"/>
                </a:lnTo>
                <a:lnTo>
                  <a:pt x="3712464" y="0"/>
                </a:lnTo>
                <a:lnTo>
                  <a:pt x="0" y="0"/>
                </a:lnTo>
                <a:lnTo>
                  <a:pt x="0" y="4008120"/>
                </a:lnTo>
                <a:close/>
              </a:path>
            </a:pathLst>
          </a:custGeom>
          <a:ln w="12192">
            <a:solidFill>
              <a:srgbClr val="BEBEBE"/>
            </a:solidFill>
          </a:ln>
        </p:spPr>
        <p:txBody>
          <a:bodyPr wrap="square" lIns="0" tIns="0" rIns="0" bIns="0" rtlCol="0"/>
          <a:lstStyle/>
          <a:p>
            <a:endParaRPr/>
          </a:p>
        </p:txBody>
      </p:sp>
      <p:sp>
        <p:nvSpPr>
          <p:cNvPr id="13" name="object 13"/>
          <p:cNvSpPr/>
          <p:nvPr/>
        </p:nvSpPr>
        <p:spPr>
          <a:xfrm>
            <a:off x="8129016" y="2261616"/>
            <a:ext cx="3712845" cy="683260"/>
          </a:xfrm>
          <a:custGeom>
            <a:avLst/>
            <a:gdLst/>
            <a:ahLst/>
            <a:cxnLst/>
            <a:rect l="l" t="t" r="r" b="b"/>
            <a:pathLst>
              <a:path w="3712845" h="683260">
                <a:moveTo>
                  <a:pt x="0" y="682751"/>
                </a:moveTo>
                <a:lnTo>
                  <a:pt x="3712464" y="682751"/>
                </a:lnTo>
                <a:lnTo>
                  <a:pt x="3712464" y="0"/>
                </a:lnTo>
                <a:lnTo>
                  <a:pt x="0" y="0"/>
                </a:lnTo>
                <a:lnTo>
                  <a:pt x="0" y="682751"/>
                </a:lnTo>
                <a:close/>
              </a:path>
            </a:pathLst>
          </a:custGeom>
          <a:solidFill>
            <a:srgbClr val="006FAC"/>
          </a:solidFill>
        </p:spPr>
        <p:txBody>
          <a:bodyPr wrap="square" lIns="0" tIns="0" rIns="0" bIns="0" rtlCol="0"/>
          <a:lstStyle/>
          <a:p>
            <a:endParaRPr/>
          </a:p>
        </p:txBody>
      </p:sp>
      <p:sp>
        <p:nvSpPr>
          <p:cNvPr id="14" name="object 14"/>
          <p:cNvSpPr txBox="1"/>
          <p:nvPr/>
        </p:nvSpPr>
        <p:spPr>
          <a:xfrm>
            <a:off x="8135111" y="2482418"/>
            <a:ext cx="3700779" cy="240029"/>
          </a:xfrm>
          <a:prstGeom prst="rect">
            <a:avLst/>
          </a:prstGeom>
        </p:spPr>
        <p:txBody>
          <a:bodyPr vert="horz" wrap="square" lIns="0" tIns="13335" rIns="0" bIns="0" rtlCol="0">
            <a:spAutoFit/>
          </a:bodyPr>
          <a:lstStyle/>
          <a:p>
            <a:pPr marL="917575">
              <a:lnSpc>
                <a:spcPct val="100000"/>
              </a:lnSpc>
              <a:spcBef>
                <a:spcPts val="105"/>
              </a:spcBef>
            </a:pPr>
            <a:r>
              <a:rPr sz="1400" b="1">
                <a:solidFill>
                  <a:srgbClr val="FFFFFF"/>
                </a:solidFill>
                <a:latin typeface="Verdana"/>
                <a:cs typeface="Verdana"/>
              </a:rPr>
              <a:t>Go </a:t>
            </a:r>
            <a:r>
              <a:rPr sz="1400" b="1" spc="-5">
                <a:solidFill>
                  <a:srgbClr val="FFFFFF"/>
                </a:solidFill>
                <a:latin typeface="Verdana"/>
                <a:cs typeface="Verdana"/>
              </a:rPr>
              <a:t>Live </a:t>
            </a:r>
            <a:r>
              <a:rPr sz="1400" b="1" spc="5">
                <a:solidFill>
                  <a:srgbClr val="FFFFFF"/>
                </a:solidFill>
                <a:latin typeface="Verdana"/>
                <a:cs typeface="Verdana"/>
              </a:rPr>
              <a:t>&amp;</a:t>
            </a:r>
            <a:r>
              <a:rPr sz="1400" b="1" spc="-60">
                <a:solidFill>
                  <a:srgbClr val="FFFFFF"/>
                </a:solidFill>
                <a:latin typeface="Verdana"/>
                <a:cs typeface="Verdana"/>
              </a:rPr>
              <a:t> </a:t>
            </a:r>
            <a:r>
              <a:rPr sz="1400" b="1">
                <a:solidFill>
                  <a:srgbClr val="FFFFFF"/>
                </a:solidFill>
                <a:latin typeface="Verdana"/>
                <a:cs typeface="Verdana"/>
              </a:rPr>
              <a:t>Stabilize</a:t>
            </a:r>
            <a:endParaRPr sz="1400">
              <a:latin typeface="Verdana"/>
              <a:cs typeface="Verdana"/>
            </a:endParaRPr>
          </a:p>
        </p:txBody>
      </p:sp>
      <p:sp>
        <p:nvSpPr>
          <p:cNvPr id="15" name="object 15"/>
          <p:cNvSpPr txBox="1"/>
          <p:nvPr/>
        </p:nvSpPr>
        <p:spPr>
          <a:xfrm>
            <a:off x="8135111" y="3150870"/>
            <a:ext cx="3700779" cy="2693670"/>
          </a:xfrm>
          <a:prstGeom prst="rect">
            <a:avLst/>
          </a:prstGeom>
        </p:spPr>
        <p:txBody>
          <a:bodyPr vert="horz" wrap="square" lIns="0" tIns="13335" rIns="0" bIns="0" rtlCol="0">
            <a:spAutoFit/>
          </a:bodyPr>
          <a:lstStyle/>
          <a:p>
            <a:pPr marL="288290" marR="86360" indent="-183515">
              <a:lnSpc>
                <a:spcPct val="100000"/>
              </a:lnSpc>
              <a:spcBef>
                <a:spcPts val="105"/>
              </a:spcBef>
              <a:buClr>
                <a:srgbClr val="006FAC"/>
              </a:buClr>
              <a:buFont typeface="Wingdings"/>
              <a:buChar char=""/>
              <a:tabLst>
                <a:tab pos="288925" algn="l"/>
              </a:tabLst>
            </a:pPr>
            <a:r>
              <a:rPr sz="1100">
                <a:latin typeface="Verdana"/>
                <a:cs typeface="Verdana"/>
              </a:rPr>
              <a:t>The </a:t>
            </a:r>
            <a:r>
              <a:rPr sz="1100" spc="-5">
                <a:latin typeface="Verdana"/>
                <a:cs typeface="Verdana"/>
              </a:rPr>
              <a:t>day </a:t>
            </a:r>
            <a:r>
              <a:rPr sz="1100">
                <a:latin typeface="Verdana"/>
                <a:cs typeface="Verdana"/>
              </a:rPr>
              <a:t>of Go </a:t>
            </a:r>
            <a:r>
              <a:rPr sz="1100" spc="-5">
                <a:latin typeface="Verdana"/>
                <a:cs typeface="Verdana"/>
              </a:rPr>
              <a:t>Live, </a:t>
            </a:r>
            <a:r>
              <a:rPr sz="1100" b="1" spc="-5">
                <a:latin typeface="Verdana"/>
                <a:cs typeface="Verdana"/>
              </a:rPr>
              <a:t>Salesforce will </a:t>
            </a:r>
            <a:r>
              <a:rPr sz="1100" b="1">
                <a:latin typeface="Verdana"/>
                <a:cs typeface="Verdana"/>
              </a:rPr>
              <a:t>push the  </a:t>
            </a:r>
            <a:r>
              <a:rPr sz="1100" b="1" spc="-5">
                <a:latin typeface="Verdana"/>
                <a:cs typeface="Verdana"/>
              </a:rPr>
              <a:t>release automatically </a:t>
            </a:r>
            <a:r>
              <a:rPr sz="1100" b="1">
                <a:latin typeface="Verdana"/>
                <a:cs typeface="Verdana"/>
              </a:rPr>
              <a:t>on the </a:t>
            </a:r>
            <a:r>
              <a:rPr sz="1100" b="1" spc="-5">
                <a:latin typeface="Verdana"/>
                <a:cs typeface="Verdana"/>
              </a:rPr>
              <a:t>scheduled  date</a:t>
            </a:r>
            <a:r>
              <a:rPr sz="1100" spc="-5">
                <a:latin typeface="Verdana"/>
                <a:cs typeface="Verdana"/>
              </a:rPr>
              <a:t>. </a:t>
            </a:r>
            <a:r>
              <a:rPr sz="1100">
                <a:latin typeface="Verdana"/>
                <a:cs typeface="Verdana"/>
              </a:rPr>
              <a:t>Some </a:t>
            </a:r>
            <a:r>
              <a:rPr sz="1100" spc="-5">
                <a:latin typeface="Verdana"/>
                <a:cs typeface="Verdana"/>
              </a:rPr>
              <a:t>features </a:t>
            </a:r>
            <a:r>
              <a:rPr sz="1100" spc="-10">
                <a:latin typeface="Verdana"/>
                <a:cs typeface="Verdana"/>
              </a:rPr>
              <a:t>in </a:t>
            </a:r>
            <a:r>
              <a:rPr sz="1100" spc="-5">
                <a:latin typeface="Verdana"/>
                <a:cs typeface="Verdana"/>
              </a:rPr>
              <a:t>the release affect </a:t>
            </a:r>
            <a:r>
              <a:rPr sz="1100" spc="-10">
                <a:latin typeface="Verdana"/>
                <a:cs typeface="Verdana"/>
              </a:rPr>
              <a:t>all  </a:t>
            </a:r>
            <a:r>
              <a:rPr sz="1100">
                <a:latin typeface="Verdana"/>
                <a:cs typeface="Verdana"/>
              </a:rPr>
              <a:t>users </a:t>
            </a:r>
            <a:r>
              <a:rPr sz="1100" spc="-5">
                <a:latin typeface="Verdana"/>
                <a:cs typeface="Verdana"/>
              </a:rPr>
              <a:t>immediately after the release goes </a:t>
            </a:r>
            <a:r>
              <a:rPr sz="1100" spc="-10">
                <a:latin typeface="Verdana"/>
                <a:cs typeface="Verdana"/>
              </a:rPr>
              <a:t>live;  </a:t>
            </a:r>
            <a:r>
              <a:rPr sz="1100" spc="-5">
                <a:latin typeface="Verdana"/>
                <a:cs typeface="Verdana"/>
              </a:rPr>
              <a:t>it’s automatic. </a:t>
            </a:r>
            <a:r>
              <a:rPr sz="1100" b="1" spc="-5">
                <a:latin typeface="Verdana"/>
                <a:cs typeface="Verdana"/>
              </a:rPr>
              <a:t>Other features require direct  action </a:t>
            </a:r>
            <a:r>
              <a:rPr sz="1100" spc="-5">
                <a:latin typeface="Verdana"/>
                <a:cs typeface="Verdana"/>
              </a:rPr>
              <a:t>by the administrator </a:t>
            </a:r>
            <a:r>
              <a:rPr sz="1100">
                <a:latin typeface="Verdana"/>
                <a:cs typeface="Verdana"/>
              </a:rPr>
              <a:t>before users can  </a:t>
            </a:r>
            <a:r>
              <a:rPr sz="1100" spc="-5">
                <a:latin typeface="Verdana"/>
                <a:cs typeface="Verdana"/>
              </a:rPr>
              <a:t>benefit from the new</a:t>
            </a:r>
            <a:r>
              <a:rPr sz="1100" spc="10">
                <a:latin typeface="Verdana"/>
                <a:cs typeface="Verdana"/>
              </a:rPr>
              <a:t> </a:t>
            </a:r>
            <a:r>
              <a:rPr sz="1100" spc="-5">
                <a:latin typeface="Verdana"/>
                <a:cs typeface="Verdana"/>
              </a:rPr>
              <a:t>functionality</a:t>
            </a:r>
            <a:endParaRPr sz="1100">
              <a:latin typeface="Verdana"/>
              <a:cs typeface="Verdana"/>
            </a:endParaRPr>
          </a:p>
          <a:p>
            <a:pPr marL="288290" marR="127635" indent="-183515">
              <a:lnSpc>
                <a:spcPct val="100000"/>
              </a:lnSpc>
              <a:spcBef>
                <a:spcPts val="600"/>
              </a:spcBef>
              <a:buClr>
                <a:srgbClr val="006FAC"/>
              </a:buClr>
              <a:buFont typeface="Wingdings"/>
              <a:buChar char=""/>
              <a:tabLst>
                <a:tab pos="288925" algn="l"/>
              </a:tabLst>
            </a:pPr>
            <a:r>
              <a:rPr sz="1100">
                <a:latin typeface="Verdana"/>
                <a:cs typeface="Verdana"/>
              </a:rPr>
              <a:t>After </a:t>
            </a:r>
            <a:r>
              <a:rPr sz="1100" spc="-5">
                <a:latin typeface="Verdana"/>
                <a:cs typeface="Verdana"/>
              </a:rPr>
              <a:t>your instance </a:t>
            </a:r>
            <a:r>
              <a:rPr sz="1100" spc="-10">
                <a:latin typeface="Verdana"/>
                <a:cs typeface="Verdana"/>
              </a:rPr>
              <a:t>is </a:t>
            </a:r>
            <a:r>
              <a:rPr sz="1100" spc="-5">
                <a:latin typeface="Verdana"/>
                <a:cs typeface="Verdana"/>
              </a:rPr>
              <a:t>upgraded with the </a:t>
            </a:r>
            <a:r>
              <a:rPr sz="1100" spc="-10">
                <a:latin typeface="Verdana"/>
                <a:cs typeface="Verdana"/>
              </a:rPr>
              <a:t>latest  </a:t>
            </a:r>
            <a:r>
              <a:rPr sz="1100">
                <a:latin typeface="Verdana"/>
                <a:cs typeface="Verdana"/>
              </a:rPr>
              <a:t>release, </a:t>
            </a:r>
            <a:r>
              <a:rPr sz="1100" spc="-5">
                <a:latin typeface="Verdana"/>
                <a:cs typeface="Verdana"/>
              </a:rPr>
              <a:t>it’s </a:t>
            </a:r>
            <a:r>
              <a:rPr sz="1100">
                <a:latin typeface="Verdana"/>
                <a:cs typeface="Verdana"/>
              </a:rPr>
              <a:t>a good </a:t>
            </a:r>
            <a:r>
              <a:rPr sz="1100" spc="-5">
                <a:latin typeface="Verdana"/>
                <a:cs typeface="Verdana"/>
              </a:rPr>
              <a:t>practice to </a:t>
            </a:r>
            <a:r>
              <a:rPr sz="1100" b="1">
                <a:latin typeface="Verdana"/>
                <a:cs typeface="Verdana"/>
              </a:rPr>
              <a:t>run through  everything </a:t>
            </a:r>
            <a:r>
              <a:rPr sz="1100" b="1" spc="-5">
                <a:latin typeface="Verdana"/>
                <a:cs typeface="Verdana"/>
              </a:rPr>
              <a:t>in production </a:t>
            </a:r>
            <a:r>
              <a:rPr sz="1100" b="1">
                <a:latin typeface="Verdana"/>
                <a:cs typeface="Verdana"/>
              </a:rPr>
              <a:t>one more time</a:t>
            </a:r>
            <a:r>
              <a:rPr sz="1100">
                <a:latin typeface="Verdana"/>
                <a:cs typeface="Verdana"/>
              </a:rPr>
              <a:t>.  </a:t>
            </a:r>
            <a:r>
              <a:rPr sz="1100" spc="-5">
                <a:latin typeface="Verdana"/>
                <a:cs typeface="Verdana"/>
              </a:rPr>
              <a:t>This way you </a:t>
            </a:r>
            <a:r>
              <a:rPr sz="1100">
                <a:latin typeface="Verdana"/>
                <a:cs typeface="Verdana"/>
              </a:rPr>
              <a:t>can </a:t>
            </a:r>
            <a:r>
              <a:rPr sz="1100" spc="-5">
                <a:latin typeface="Verdana"/>
                <a:cs typeface="Verdana"/>
              </a:rPr>
              <a:t>make sure everything </a:t>
            </a:r>
            <a:r>
              <a:rPr sz="1100" spc="-10">
                <a:latin typeface="Verdana"/>
                <a:cs typeface="Verdana"/>
              </a:rPr>
              <a:t>is  </a:t>
            </a:r>
            <a:r>
              <a:rPr sz="1100" spc="-5">
                <a:latin typeface="Verdana"/>
                <a:cs typeface="Verdana"/>
              </a:rPr>
              <a:t>working as</a:t>
            </a:r>
            <a:r>
              <a:rPr sz="1100" spc="5">
                <a:latin typeface="Verdana"/>
                <a:cs typeface="Verdana"/>
              </a:rPr>
              <a:t> </a:t>
            </a:r>
            <a:r>
              <a:rPr sz="1100">
                <a:latin typeface="Verdana"/>
                <a:cs typeface="Verdana"/>
              </a:rPr>
              <a:t>expected</a:t>
            </a:r>
          </a:p>
          <a:p>
            <a:pPr marL="288290" marR="161925" indent="-183515">
              <a:lnSpc>
                <a:spcPct val="100000"/>
              </a:lnSpc>
              <a:spcBef>
                <a:spcPts val="600"/>
              </a:spcBef>
              <a:buClr>
                <a:srgbClr val="006FAC"/>
              </a:buClr>
              <a:buFont typeface="Wingdings"/>
              <a:buChar char=""/>
              <a:tabLst>
                <a:tab pos="288925" algn="l"/>
              </a:tabLst>
            </a:pPr>
            <a:r>
              <a:rPr sz="1100" b="1">
                <a:latin typeface="Verdana"/>
                <a:cs typeface="Verdana"/>
              </a:rPr>
              <a:t>Execute </a:t>
            </a:r>
            <a:r>
              <a:rPr sz="1100" spc="-5">
                <a:latin typeface="Verdana"/>
                <a:cs typeface="Verdana"/>
              </a:rPr>
              <a:t>your </a:t>
            </a:r>
            <a:r>
              <a:rPr sz="1100" b="1">
                <a:latin typeface="Verdana"/>
                <a:cs typeface="Verdana"/>
              </a:rPr>
              <a:t>smoke tests </a:t>
            </a:r>
            <a:r>
              <a:rPr sz="1100">
                <a:latin typeface="Verdana"/>
                <a:cs typeface="Verdana"/>
              </a:rPr>
              <a:t>and - </a:t>
            </a:r>
            <a:r>
              <a:rPr sz="1100" spc="-5">
                <a:latin typeface="Verdana"/>
                <a:cs typeface="Verdana"/>
              </a:rPr>
              <a:t>optionally</a:t>
            </a:r>
            <a:r>
              <a:rPr sz="1100" spc="-100">
                <a:latin typeface="Verdana"/>
                <a:cs typeface="Verdana"/>
              </a:rPr>
              <a:t> </a:t>
            </a:r>
            <a:r>
              <a:rPr sz="1100">
                <a:latin typeface="Verdana"/>
                <a:cs typeface="Verdana"/>
              </a:rPr>
              <a:t>-  </a:t>
            </a:r>
            <a:r>
              <a:rPr sz="1100" spc="-5">
                <a:latin typeface="Verdana"/>
                <a:cs typeface="Verdana"/>
              </a:rPr>
              <a:t>regression </a:t>
            </a:r>
            <a:r>
              <a:rPr sz="1100">
                <a:latin typeface="Verdana"/>
                <a:cs typeface="Verdana"/>
              </a:rPr>
              <a:t>tests. </a:t>
            </a:r>
            <a:r>
              <a:rPr sz="1100" spc="-5">
                <a:latin typeface="Verdana"/>
                <a:cs typeface="Verdana"/>
              </a:rPr>
              <a:t>Ensure that everything </a:t>
            </a:r>
            <a:r>
              <a:rPr sz="1100" spc="-10">
                <a:latin typeface="Verdana"/>
                <a:cs typeface="Verdana"/>
              </a:rPr>
              <a:t>is  </a:t>
            </a:r>
            <a:r>
              <a:rPr sz="1100" spc="-5">
                <a:latin typeface="Verdana"/>
                <a:cs typeface="Verdana"/>
              </a:rPr>
              <a:t>working as</a:t>
            </a:r>
            <a:r>
              <a:rPr sz="1100" spc="5">
                <a:latin typeface="Verdana"/>
                <a:cs typeface="Verdana"/>
              </a:rPr>
              <a:t> </a:t>
            </a:r>
            <a:r>
              <a:rPr sz="1100">
                <a:latin typeface="Verdana"/>
                <a:cs typeface="Verdana"/>
              </a:rPr>
              <a:t>expected</a:t>
            </a:r>
          </a:p>
        </p:txBody>
      </p:sp>
      <p:sp>
        <p:nvSpPr>
          <p:cNvPr id="16" name="object 16"/>
          <p:cNvSpPr/>
          <p:nvPr/>
        </p:nvSpPr>
        <p:spPr>
          <a:xfrm>
            <a:off x="382524" y="2284476"/>
            <a:ext cx="638810" cy="637540"/>
          </a:xfrm>
          <a:custGeom>
            <a:avLst/>
            <a:gdLst/>
            <a:ahLst/>
            <a:cxnLst/>
            <a:rect l="l" t="t" r="r" b="b"/>
            <a:pathLst>
              <a:path w="638810" h="637539">
                <a:moveTo>
                  <a:pt x="319277" y="0"/>
                </a:moveTo>
                <a:lnTo>
                  <a:pt x="272098" y="3453"/>
                </a:lnTo>
                <a:lnTo>
                  <a:pt x="227068" y="13486"/>
                </a:lnTo>
                <a:lnTo>
                  <a:pt x="184680" y="29606"/>
                </a:lnTo>
                <a:lnTo>
                  <a:pt x="145430" y="51319"/>
                </a:lnTo>
                <a:lnTo>
                  <a:pt x="109810" y="78132"/>
                </a:lnTo>
                <a:lnTo>
                  <a:pt x="78315" y="109552"/>
                </a:lnTo>
                <a:lnTo>
                  <a:pt x="51439" y="145088"/>
                </a:lnTo>
                <a:lnTo>
                  <a:pt x="29675" y="184244"/>
                </a:lnTo>
                <a:lnTo>
                  <a:pt x="13518" y="226530"/>
                </a:lnTo>
                <a:lnTo>
                  <a:pt x="3461" y="271451"/>
                </a:lnTo>
                <a:lnTo>
                  <a:pt x="0" y="318515"/>
                </a:lnTo>
                <a:lnTo>
                  <a:pt x="3461" y="365580"/>
                </a:lnTo>
                <a:lnTo>
                  <a:pt x="13518" y="410501"/>
                </a:lnTo>
                <a:lnTo>
                  <a:pt x="29675" y="452787"/>
                </a:lnTo>
                <a:lnTo>
                  <a:pt x="51439" y="491943"/>
                </a:lnTo>
                <a:lnTo>
                  <a:pt x="78315" y="527479"/>
                </a:lnTo>
                <a:lnTo>
                  <a:pt x="109810" y="558899"/>
                </a:lnTo>
                <a:lnTo>
                  <a:pt x="145430" y="585712"/>
                </a:lnTo>
                <a:lnTo>
                  <a:pt x="184680" y="607425"/>
                </a:lnTo>
                <a:lnTo>
                  <a:pt x="227068" y="623545"/>
                </a:lnTo>
                <a:lnTo>
                  <a:pt x="272098" y="633578"/>
                </a:lnTo>
                <a:lnTo>
                  <a:pt x="319277" y="637032"/>
                </a:lnTo>
                <a:lnTo>
                  <a:pt x="366457" y="633578"/>
                </a:lnTo>
                <a:lnTo>
                  <a:pt x="411487" y="623545"/>
                </a:lnTo>
                <a:lnTo>
                  <a:pt x="453875" y="607425"/>
                </a:lnTo>
                <a:lnTo>
                  <a:pt x="493125" y="585712"/>
                </a:lnTo>
                <a:lnTo>
                  <a:pt x="528745" y="558899"/>
                </a:lnTo>
                <a:lnTo>
                  <a:pt x="560240" y="527479"/>
                </a:lnTo>
                <a:lnTo>
                  <a:pt x="587116" y="491943"/>
                </a:lnTo>
                <a:lnTo>
                  <a:pt x="608880" y="452787"/>
                </a:lnTo>
                <a:lnTo>
                  <a:pt x="625037" y="410501"/>
                </a:lnTo>
                <a:lnTo>
                  <a:pt x="635094" y="365580"/>
                </a:lnTo>
                <a:lnTo>
                  <a:pt x="638556" y="318515"/>
                </a:lnTo>
                <a:lnTo>
                  <a:pt x="635094" y="271451"/>
                </a:lnTo>
                <a:lnTo>
                  <a:pt x="625037" y="226530"/>
                </a:lnTo>
                <a:lnTo>
                  <a:pt x="608880" y="184244"/>
                </a:lnTo>
                <a:lnTo>
                  <a:pt x="587116" y="145088"/>
                </a:lnTo>
                <a:lnTo>
                  <a:pt x="560240" y="109552"/>
                </a:lnTo>
                <a:lnTo>
                  <a:pt x="528745" y="78132"/>
                </a:lnTo>
                <a:lnTo>
                  <a:pt x="493125" y="51319"/>
                </a:lnTo>
                <a:lnTo>
                  <a:pt x="453875" y="29606"/>
                </a:lnTo>
                <a:lnTo>
                  <a:pt x="411487" y="13486"/>
                </a:lnTo>
                <a:lnTo>
                  <a:pt x="366457" y="3453"/>
                </a:lnTo>
                <a:lnTo>
                  <a:pt x="319277" y="0"/>
                </a:lnTo>
                <a:close/>
              </a:path>
            </a:pathLst>
          </a:custGeom>
          <a:solidFill>
            <a:srgbClr val="FFFFFF"/>
          </a:solidFill>
        </p:spPr>
        <p:txBody>
          <a:bodyPr wrap="square" lIns="0" tIns="0" rIns="0" bIns="0" rtlCol="0"/>
          <a:lstStyle/>
          <a:p>
            <a:endParaRPr/>
          </a:p>
        </p:txBody>
      </p:sp>
      <p:sp>
        <p:nvSpPr>
          <p:cNvPr id="17" name="object 17"/>
          <p:cNvSpPr/>
          <p:nvPr/>
        </p:nvSpPr>
        <p:spPr>
          <a:xfrm>
            <a:off x="4395215" y="2284476"/>
            <a:ext cx="638810" cy="637540"/>
          </a:xfrm>
          <a:custGeom>
            <a:avLst/>
            <a:gdLst/>
            <a:ahLst/>
            <a:cxnLst/>
            <a:rect l="l" t="t" r="r" b="b"/>
            <a:pathLst>
              <a:path w="638810" h="637539">
                <a:moveTo>
                  <a:pt x="319278" y="0"/>
                </a:moveTo>
                <a:lnTo>
                  <a:pt x="272110" y="3453"/>
                </a:lnTo>
                <a:lnTo>
                  <a:pt x="227086" y="13486"/>
                </a:lnTo>
                <a:lnTo>
                  <a:pt x="184702" y="29606"/>
                </a:lnTo>
                <a:lnTo>
                  <a:pt x="145452" y="51319"/>
                </a:lnTo>
                <a:lnTo>
                  <a:pt x="109831" y="78132"/>
                </a:lnTo>
                <a:lnTo>
                  <a:pt x="78332" y="109552"/>
                </a:lnTo>
                <a:lnTo>
                  <a:pt x="51451" y="145088"/>
                </a:lnTo>
                <a:lnTo>
                  <a:pt x="29683" y="184244"/>
                </a:lnTo>
                <a:lnTo>
                  <a:pt x="13522" y="226530"/>
                </a:lnTo>
                <a:lnTo>
                  <a:pt x="3463" y="271451"/>
                </a:lnTo>
                <a:lnTo>
                  <a:pt x="0" y="318515"/>
                </a:lnTo>
                <a:lnTo>
                  <a:pt x="3463" y="365580"/>
                </a:lnTo>
                <a:lnTo>
                  <a:pt x="13522" y="410501"/>
                </a:lnTo>
                <a:lnTo>
                  <a:pt x="29683" y="452787"/>
                </a:lnTo>
                <a:lnTo>
                  <a:pt x="51451" y="491943"/>
                </a:lnTo>
                <a:lnTo>
                  <a:pt x="78332" y="527479"/>
                </a:lnTo>
                <a:lnTo>
                  <a:pt x="109831" y="558899"/>
                </a:lnTo>
                <a:lnTo>
                  <a:pt x="145452" y="585712"/>
                </a:lnTo>
                <a:lnTo>
                  <a:pt x="184702" y="607425"/>
                </a:lnTo>
                <a:lnTo>
                  <a:pt x="227086" y="623545"/>
                </a:lnTo>
                <a:lnTo>
                  <a:pt x="272110" y="633578"/>
                </a:lnTo>
                <a:lnTo>
                  <a:pt x="319278" y="637032"/>
                </a:lnTo>
                <a:lnTo>
                  <a:pt x="366445" y="633578"/>
                </a:lnTo>
                <a:lnTo>
                  <a:pt x="411469" y="623545"/>
                </a:lnTo>
                <a:lnTo>
                  <a:pt x="453853" y="607425"/>
                </a:lnTo>
                <a:lnTo>
                  <a:pt x="493103" y="585712"/>
                </a:lnTo>
                <a:lnTo>
                  <a:pt x="528724" y="558899"/>
                </a:lnTo>
                <a:lnTo>
                  <a:pt x="560223" y="527479"/>
                </a:lnTo>
                <a:lnTo>
                  <a:pt x="587104" y="491943"/>
                </a:lnTo>
                <a:lnTo>
                  <a:pt x="608872" y="452787"/>
                </a:lnTo>
                <a:lnTo>
                  <a:pt x="625033" y="410501"/>
                </a:lnTo>
                <a:lnTo>
                  <a:pt x="635092" y="365580"/>
                </a:lnTo>
                <a:lnTo>
                  <a:pt x="638556" y="318515"/>
                </a:lnTo>
                <a:lnTo>
                  <a:pt x="635092" y="271451"/>
                </a:lnTo>
                <a:lnTo>
                  <a:pt x="625033" y="226530"/>
                </a:lnTo>
                <a:lnTo>
                  <a:pt x="608872" y="184244"/>
                </a:lnTo>
                <a:lnTo>
                  <a:pt x="587104" y="145088"/>
                </a:lnTo>
                <a:lnTo>
                  <a:pt x="560223" y="109552"/>
                </a:lnTo>
                <a:lnTo>
                  <a:pt x="528724" y="78132"/>
                </a:lnTo>
                <a:lnTo>
                  <a:pt x="493103" y="51319"/>
                </a:lnTo>
                <a:lnTo>
                  <a:pt x="453853" y="29606"/>
                </a:lnTo>
                <a:lnTo>
                  <a:pt x="411469" y="13486"/>
                </a:lnTo>
                <a:lnTo>
                  <a:pt x="366445" y="3453"/>
                </a:lnTo>
                <a:lnTo>
                  <a:pt x="319278" y="0"/>
                </a:lnTo>
                <a:close/>
              </a:path>
            </a:pathLst>
          </a:custGeom>
          <a:solidFill>
            <a:srgbClr val="FFFFFF"/>
          </a:solidFill>
        </p:spPr>
        <p:txBody>
          <a:bodyPr wrap="square" lIns="0" tIns="0" rIns="0" bIns="0" rtlCol="0"/>
          <a:lstStyle/>
          <a:p>
            <a:endParaRPr/>
          </a:p>
        </p:txBody>
      </p:sp>
      <p:sp>
        <p:nvSpPr>
          <p:cNvPr id="18" name="object 18"/>
          <p:cNvSpPr/>
          <p:nvPr/>
        </p:nvSpPr>
        <p:spPr>
          <a:xfrm>
            <a:off x="8284464" y="2284476"/>
            <a:ext cx="638810" cy="637540"/>
          </a:xfrm>
          <a:custGeom>
            <a:avLst/>
            <a:gdLst/>
            <a:ahLst/>
            <a:cxnLst/>
            <a:rect l="l" t="t" r="r" b="b"/>
            <a:pathLst>
              <a:path w="638809" h="637539">
                <a:moveTo>
                  <a:pt x="319277" y="0"/>
                </a:moveTo>
                <a:lnTo>
                  <a:pt x="272110" y="3453"/>
                </a:lnTo>
                <a:lnTo>
                  <a:pt x="227086" y="13486"/>
                </a:lnTo>
                <a:lnTo>
                  <a:pt x="184702" y="29606"/>
                </a:lnTo>
                <a:lnTo>
                  <a:pt x="145452" y="51319"/>
                </a:lnTo>
                <a:lnTo>
                  <a:pt x="109831" y="78132"/>
                </a:lnTo>
                <a:lnTo>
                  <a:pt x="78332" y="109552"/>
                </a:lnTo>
                <a:lnTo>
                  <a:pt x="51451" y="145088"/>
                </a:lnTo>
                <a:lnTo>
                  <a:pt x="29683" y="184244"/>
                </a:lnTo>
                <a:lnTo>
                  <a:pt x="13522" y="226530"/>
                </a:lnTo>
                <a:lnTo>
                  <a:pt x="3463" y="271451"/>
                </a:lnTo>
                <a:lnTo>
                  <a:pt x="0" y="318515"/>
                </a:lnTo>
                <a:lnTo>
                  <a:pt x="3463" y="365580"/>
                </a:lnTo>
                <a:lnTo>
                  <a:pt x="13522" y="410501"/>
                </a:lnTo>
                <a:lnTo>
                  <a:pt x="29683" y="452787"/>
                </a:lnTo>
                <a:lnTo>
                  <a:pt x="51451" y="491943"/>
                </a:lnTo>
                <a:lnTo>
                  <a:pt x="78332" y="527479"/>
                </a:lnTo>
                <a:lnTo>
                  <a:pt x="109831" y="558899"/>
                </a:lnTo>
                <a:lnTo>
                  <a:pt x="145452" y="585712"/>
                </a:lnTo>
                <a:lnTo>
                  <a:pt x="184702" y="607425"/>
                </a:lnTo>
                <a:lnTo>
                  <a:pt x="227086" y="623545"/>
                </a:lnTo>
                <a:lnTo>
                  <a:pt x="272110" y="633578"/>
                </a:lnTo>
                <a:lnTo>
                  <a:pt x="319277" y="637032"/>
                </a:lnTo>
                <a:lnTo>
                  <a:pt x="366445" y="633578"/>
                </a:lnTo>
                <a:lnTo>
                  <a:pt x="411469" y="623545"/>
                </a:lnTo>
                <a:lnTo>
                  <a:pt x="453853" y="607425"/>
                </a:lnTo>
                <a:lnTo>
                  <a:pt x="493103" y="585712"/>
                </a:lnTo>
                <a:lnTo>
                  <a:pt x="528724" y="558899"/>
                </a:lnTo>
                <a:lnTo>
                  <a:pt x="560223" y="527479"/>
                </a:lnTo>
                <a:lnTo>
                  <a:pt x="587104" y="491943"/>
                </a:lnTo>
                <a:lnTo>
                  <a:pt x="608872" y="452787"/>
                </a:lnTo>
                <a:lnTo>
                  <a:pt x="625033" y="410501"/>
                </a:lnTo>
                <a:lnTo>
                  <a:pt x="635092" y="365580"/>
                </a:lnTo>
                <a:lnTo>
                  <a:pt x="638555" y="318515"/>
                </a:lnTo>
                <a:lnTo>
                  <a:pt x="635092" y="271451"/>
                </a:lnTo>
                <a:lnTo>
                  <a:pt x="625033" y="226530"/>
                </a:lnTo>
                <a:lnTo>
                  <a:pt x="608872" y="184244"/>
                </a:lnTo>
                <a:lnTo>
                  <a:pt x="587104" y="145088"/>
                </a:lnTo>
                <a:lnTo>
                  <a:pt x="560223" y="109552"/>
                </a:lnTo>
                <a:lnTo>
                  <a:pt x="528724" y="78132"/>
                </a:lnTo>
                <a:lnTo>
                  <a:pt x="493103" y="51319"/>
                </a:lnTo>
                <a:lnTo>
                  <a:pt x="453853" y="29606"/>
                </a:lnTo>
                <a:lnTo>
                  <a:pt x="411469" y="13486"/>
                </a:lnTo>
                <a:lnTo>
                  <a:pt x="366445" y="3453"/>
                </a:lnTo>
                <a:lnTo>
                  <a:pt x="319277" y="0"/>
                </a:lnTo>
                <a:close/>
              </a:path>
            </a:pathLst>
          </a:custGeom>
          <a:solidFill>
            <a:srgbClr val="FFFFFF"/>
          </a:solidFill>
        </p:spPr>
        <p:txBody>
          <a:bodyPr wrap="square" lIns="0" tIns="0" rIns="0" bIns="0" rtlCol="0"/>
          <a:lstStyle/>
          <a:p>
            <a:endParaRPr/>
          </a:p>
        </p:txBody>
      </p:sp>
      <p:sp>
        <p:nvSpPr>
          <p:cNvPr id="19" name="object 19"/>
          <p:cNvSpPr/>
          <p:nvPr/>
        </p:nvSpPr>
        <p:spPr>
          <a:xfrm>
            <a:off x="545591" y="2446020"/>
            <a:ext cx="312420" cy="313943"/>
          </a:xfrm>
          <a:prstGeom prst="rect">
            <a:avLst/>
          </a:prstGeom>
          <a:blipFill>
            <a:blip r:embed="rId2" cstate="print"/>
            <a:stretch>
              <a:fillRect/>
            </a:stretch>
          </a:blipFill>
        </p:spPr>
        <p:txBody>
          <a:bodyPr wrap="square" lIns="0" tIns="0" rIns="0" bIns="0" rtlCol="0"/>
          <a:lstStyle/>
          <a:p>
            <a:endParaRPr/>
          </a:p>
        </p:txBody>
      </p:sp>
      <p:sp>
        <p:nvSpPr>
          <p:cNvPr id="20" name="object 20"/>
          <p:cNvSpPr/>
          <p:nvPr/>
        </p:nvSpPr>
        <p:spPr>
          <a:xfrm>
            <a:off x="4341876" y="2231135"/>
            <a:ext cx="746760" cy="746760"/>
          </a:xfrm>
          <a:prstGeom prst="rect">
            <a:avLst/>
          </a:prstGeom>
          <a:blipFill>
            <a:blip r:embed="rId3" cstate="print"/>
            <a:stretch>
              <a:fillRect/>
            </a:stretch>
          </a:blipFill>
        </p:spPr>
        <p:txBody>
          <a:bodyPr wrap="square" lIns="0" tIns="0" rIns="0" bIns="0" rtlCol="0"/>
          <a:lstStyle/>
          <a:p>
            <a:endParaRPr/>
          </a:p>
        </p:txBody>
      </p:sp>
      <p:sp>
        <p:nvSpPr>
          <p:cNvPr id="21" name="object 21"/>
          <p:cNvSpPr/>
          <p:nvPr/>
        </p:nvSpPr>
        <p:spPr>
          <a:xfrm>
            <a:off x="8423147" y="2430779"/>
            <a:ext cx="348996" cy="348996"/>
          </a:xfrm>
          <a:prstGeom prst="rect">
            <a:avLst/>
          </a:prstGeom>
          <a:blipFill>
            <a:blip r:embed="rId4" cstate="print"/>
            <a:stretch>
              <a:fillRect/>
            </a:stretch>
          </a:blipFill>
        </p:spPr>
        <p:txBody>
          <a:bodyPr wrap="square" lIns="0" tIns="0" rIns="0" bIns="0" rtlCol="0"/>
          <a:lstStyle/>
          <a:p>
            <a:endParaRPr/>
          </a:p>
        </p:txBody>
      </p:sp>
      <p:sp>
        <p:nvSpPr>
          <p:cNvPr id="22" name="object 2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3" name="object 23"/>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2</a:t>
            </a:fld>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108190" cy="422275"/>
          </a:xfrm>
          <a:prstGeom prst="rect">
            <a:avLst/>
          </a:prstGeom>
        </p:spPr>
        <p:txBody>
          <a:bodyPr vert="horz" wrap="square" lIns="0" tIns="12700" rIns="0" bIns="0" rtlCol="0">
            <a:spAutoFit/>
          </a:bodyPr>
          <a:lstStyle/>
          <a:p>
            <a:pPr marL="12700">
              <a:lnSpc>
                <a:spcPct val="100000"/>
              </a:lnSpc>
              <a:spcBef>
                <a:spcPts val="100"/>
              </a:spcBef>
            </a:pPr>
            <a:r>
              <a:rPr sz="2600"/>
              <a:t>Using </a:t>
            </a:r>
            <a:r>
              <a:rPr sz="2600" spc="-5"/>
              <a:t>Suitable </a:t>
            </a:r>
            <a:r>
              <a:rPr sz="2600" spc="-50"/>
              <a:t>Tools </a:t>
            </a:r>
            <a:r>
              <a:rPr sz="2600"/>
              <a:t>for </a:t>
            </a:r>
            <a:r>
              <a:rPr sz="2600" spc="-5"/>
              <a:t>Each </a:t>
            </a:r>
            <a:r>
              <a:rPr sz="2600" spc="-65"/>
              <a:t>Type </a:t>
            </a:r>
            <a:r>
              <a:rPr sz="2600"/>
              <a:t>of </a:t>
            </a:r>
            <a:r>
              <a:rPr sz="2600" spc="-55"/>
              <a:t>Tests</a:t>
            </a:r>
            <a:endParaRPr sz="2600"/>
          </a:p>
        </p:txBody>
      </p:sp>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3</a:t>
            </a:fld>
            <a:endParaRPr/>
          </a:p>
        </p:txBody>
      </p:sp>
      <p:sp>
        <p:nvSpPr>
          <p:cNvPr id="3" name="object 3"/>
          <p:cNvSpPr txBox="1"/>
          <p:nvPr/>
        </p:nvSpPr>
        <p:spPr>
          <a:xfrm>
            <a:off x="214680" y="1103502"/>
            <a:ext cx="11020425" cy="330835"/>
          </a:xfrm>
          <a:prstGeom prst="rect">
            <a:avLst/>
          </a:prstGeom>
        </p:spPr>
        <p:txBody>
          <a:bodyPr vert="horz" wrap="square" lIns="0" tIns="13335" rIns="0" bIns="0" rtlCol="0">
            <a:spAutoFit/>
          </a:bodyPr>
          <a:lstStyle/>
          <a:p>
            <a:pPr marL="12700">
              <a:lnSpc>
                <a:spcPct val="100000"/>
              </a:lnSpc>
              <a:spcBef>
                <a:spcPts val="105"/>
              </a:spcBef>
            </a:pPr>
            <a:r>
              <a:rPr sz="2000">
                <a:solidFill>
                  <a:srgbClr val="12ABDB"/>
                </a:solidFill>
                <a:latin typeface="Verdana"/>
                <a:cs typeface="Verdana"/>
              </a:rPr>
              <a:t>It </a:t>
            </a:r>
            <a:r>
              <a:rPr sz="2000" spc="-5">
                <a:solidFill>
                  <a:srgbClr val="12ABDB"/>
                </a:solidFill>
                <a:latin typeface="Verdana"/>
                <a:cs typeface="Verdana"/>
              </a:rPr>
              <a:t>is important to </a:t>
            </a:r>
            <a:r>
              <a:rPr sz="2000">
                <a:solidFill>
                  <a:srgbClr val="12ABDB"/>
                </a:solidFill>
                <a:latin typeface="Verdana"/>
                <a:cs typeface="Verdana"/>
              </a:rPr>
              <a:t>use </a:t>
            </a:r>
            <a:r>
              <a:rPr sz="2000" spc="-5">
                <a:solidFill>
                  <a:srgbClr val="12ABDB"/>
                </a:solidFill>
                <a:latin typeface="Verdana"/>
                <a:cs typeface="Verdana"/>
              </a:rPr>
              <a:t>the right tool </a:t>
            </a:r>
            <a:r>
              <a:rPr sz="2000">
                <a:solidFill>
                  <a:srgbClr val="12ABDB"/>
                </a:solidFill>
                <a:latin typeface="Verdana"/>
                <a:cs typeface="Verdana"/>
              </a:rPr>
              <a:t>at </a:t>
            </a:r>
            <a:r>
              <a:rPr sz="2000" spc="-5">
                <a:solidFill>
                  <a:srgbClr val="12ABDB"/>
                </a:solidFill>
                <a:latin typeface="Verdana"/>
                <a:cs typeface="Verdana"/>
              </a:rPr>
              <a:t>the right time </a:t>
            </a:r>
            <a:r>
              <a:rPr sz="2000">
                <a:solidFill>
                  <a:srgbClr val="12ABDB"/>
                </a:solidFill>
                <a:latin typeface="Verdana"/>
                <a:cs typeface="Verdana"/>
              </a:rPr>
              <a:t>and </a:t>
            </a:r>
            <a:r>
              <a:rPr sz="2000" spc="-5">
                <a:solidFill>
                  <a:srgbClr val="12ABDB"/>
                </a:solidFill>
                <a:latin typeface="Verdana"/>
                <a:cs typeface="Verdana"/>
              </a:rPr>
              <a:t>to set </a:t>
            </a:r>
            <a:r>
              <a:rPr sz="2000">
                <a:solidFill>
                  <a:srgbClr val="12ABDB"/>
                </a:solidFill>
                <a:latin typeface="Verdana"/>
                <a:cs typeface="Verdana"/>
              </a:rPr>
              <a:t>an owner for </a:t>
            </a:r>
            <a:r>
              <a:rPr sz="2000" spc="-5">
                <a:solidFill>
                  <a:srgbClr val="12ABDB"/>
                </a:solidFill>
                <a:latin typeface="Verdana"/>
                <a:cs typeface="Verdana"/>
              </a:rPr>
              <a:t>each</a:t>
            </a:r>
            <a:r>
              <a:rPr sz="2000" spc="-110">
                <a:solidFill>
                  <a:srgbClr val="12ABDB"/>
                </a:solidFill>
                <a:latin typeface="Verdana"/>
                <a:cs typeface="Verdana"/>
              </a:rPr>
              <a:t> </a:t>
            </a:r>
            <a:r>
              <a:rPr sz="2000" spc="-5">
                <a:solidFill>
                  <a:srgbClr val="12ABDB"/>
                </a:solidFill>
                <a:latin typeface="Verdana"/>
                <a:cs typeface="Verdana"/>
              </a:rPr>
              <a:t>test</a:t>
            </a:r>
            <a:endParaRPr sz="2000">
              <a:latin typeface="Verdana"/>
              <a:cs typeface="Verdana"/>
            </a:endParaRPr>
          </a:p>
        </p:txBody>
      </p:sp>
      <p:graphicFrame>
        <p:nvGraphicFramePr>
          <p:cNvPr id="4" name="object 4"/>
          <p:cNvGraphicFramePr>
            <a:graphicFrameLocks noGrp="1"/>
          </p:cNvGraphicFramePr>
          <p:nvPr>
            <p:extLst>
              <p:ext uri="{D42A27DB-BD31-4B8C-83A1-F6EECF244321}">
                <p14:modId xmlns:p14="http://schemas.microsoft.com/office/powerpoint/2010/main" val="2128404185"/>
              </p:ext>
            </p:extLst>
          </p:nvPr>
        </p:nvGraphicFramePr>
        <p:xfrm>
          <a:off x="200125" y="1442043"/>
          <a:ext cx="11704954" cy="5156197"/>
        </p:xfrm>
        <a:graphic>
          <a:graphicData uri="http://schemas.openxmlformats.org/drawingml/2006/table">
            <a:tbl>
              <a:tblPr firstRow="1" bandRow="1">
                <a:tableStyleId>{2D5ABB26-0587-4C30-8999-92F81FD0307C}</a:tableStyleId>
              </a:tblPr>
              <a:tblGrid>
                <a:gridCol w="1388110">
                  <a:extLst>
                    <a:ext uri="{9D8B030D-6E8A-4147-A177-3AD203B41FA5}">
                      <a16:colId xmlns:a16="http://schemas.microsoft.com/office/drawing/2014/main" val="20000"/>
                    </a:ext>
                  </a:extLst>
                </a:gridCol>
                <a:gridCol w="2217419">
                  <a:extLst>
                    <a:ext uri="{9D8B030D-6E8A-4147-A177-3AD203B41FA5}">
                      <a16:colId xmlns:a16="http://schemas.microsoft.com/office/drawing/2014/main" val="20001"/>
                    </a:ext>
                  </a:extLst>
                </a:gridCol>
                <a:gridCol w="5932805">
                  <a:extLst>
                    <a:ext uri="{9D8B030D-6E8A-4147-A177-3AD203B41FA5}">
                      <a16:colId xmlns:a16="http://schemas.microsoft.com/office/drawing/2014/main" val="20002"/>
                    </a:ext>
                  </a:extLst>
                </a:gridCol>
                <a:gridCol w="2166620">
                  <a:extLst>
                    <a:ext uri="{9D8B030D-6E8A-4147-A177-3AD203B41FA5}">
                      <a16:colId xmlns:a16="http://schemas.microsoft.com/office/drawing/2014/main" val="20003"/>
                    </a:ext>
                  </a:extLst>
                </a:gridCol>
              </a:tblGrid>
              <a:tr h="409321">
                <a:tc>
                  <a:txBody>
                    <a:bodyPr/>
                    <a:lstStyle/>
                    <a:p>
                      <a:pPr marL="90805">
                        <a:lnSpc>
                          <a:spcPct val="100000"/>
                        </a:lnSpc>
                        <a:spcBef>
                          <a:spcPts val="944"/>
                        </a:spcBef>
                      </a:pPr>
                      <a:r>
                        <a:rPr sz="1100" b="1">
                          <a:solidFill>
                            <a:srgbClr val="FFFFFF"/>
                          </a:solidFill>
                          <a:latin typeface="Verdana"/>
                          <a:cs typeface="Verdana"/>
                        </a:rPr>
                        <a:t>Test</a:t>
                      </a:r>
                      <a:r>
                        <a:rPr sz="1100" b="1" spc="-40">
                          <a:solidFill>
                            <a:srgbClr val="FFFFFF"/>
                          </a:solidFill>
                          <a:latin typeface="Verdana"/>
                          <a:cs typeface="Verdana"/>
                        </a:rPr>
                        <a:t> </a:t>
                      </a:r>
                      <a:r>
                        <a:rPr sz="1100" b="1">
                          <a:solidFill>
                            <a:srgbClr val="FFFFFF"/>
                          </a:solidFill>
                          <a:latin typeface="Verdana"/>
                          <a:cs typeface="Verdana"/>
                        </a:rPr>
                        <a:t>Type</a:t>
                      </a:r>
                      <a:endParaRPr sz="1100">
                        <a:latin typeface="Verdana"/>
                        <a:cs typeface="Verdana"/>
                      </a:endParaRPr>
                    </a:p>
                  </a:txBody>
                  <a:tcPr marL="0" marR="0" marT="12001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91440">
                        <a:lnSpc>
                          <a:spcPct val="100000"/>
                        </a:lnSpc>
                        <a:spcBef>
                          <a:spcPts val="944"/>
                        </a:spcBef>
                      </a:pPr>
                      <a:r>
                        <a:rPr sz="1100" b="1">
                          <a:solidFill>
                            <a:srgbClr val="FFFFFF"/>
                          </a:solidFill>
                          <a:latin typeface="Verdana"/>
                          <a:cs typeface="Verdana"/>
                        </a:rPr>
                        <a:t>Tools</a:t>
                      </a:r>
                      <a:endParaRPr sz="1100">
                        <a:latin typeface="Verdana"/>
                        <a:cs typeface="Verdana"/>
                      </a:endParaRPr>
                    </a:p>
                  </a:txBody>
                  <a:tcPr marL="0" marR="0" marT="12001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91440">
                        <a:lnSpc>
                          <a:spcPct val="100000"/>
                        </a:lnSpc>
                        <a:spcBef>
                          <a:spcPts val="944"/>
                        </a:spcBef>
                      </a:pPr>
                      <a:r>
                        <a:rPr sz="1100" b="1" spc="-5">
                          <a:solidFill>
                            <a:srgbClr val="FFFFFF"/>
                          </a:solidFill>
                          <a:latin typeface="Verdana"/>
                          <a:cs typeface="Verdana"/>
                        </a:rPr>
                        <a:t>Purpose</a:t>
                      </a:r>
                      <a:endParaRPr sz="1100">
                        <a:latin typeface="Verdana"/>
                        <a:cs typeface="Verdana"/>
                      </a:endParaRPr>
                    </a:p>
                  </a:txBody>
                  <a:tcPr marL="0" marR="0" marT="12001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tc>
                  <a:txBody>
                    <a:bodyPr/>
                    <a:lstStyle/>
                    <a:p>
                      <a:pPr marL="92710">
                        <a:lnSpc>
                          <a:spcPct val="100000"/>
                        </a:lnSpc>
                        <a:spcBef>
                          <a:spcPts val="944"/>
                        </a:spcBef>
                      </a:pPr>
                      <a:r>
                        <a:rPr sz="1100" b="1">
                          <a:solidFill>
                            <a:srgbClr val="FFFFFF"/>
                          </a:solidFill>
                          <a:latin typeface="Verdana"/>
                          <a:cs typeface="Verdana"/>
                        </a:rPr>
                        <a:t>Done</a:t>
                      </a:r>
                      <a:r>
                        <a:rPr sz="1100" b="1" spc="-25">
                          <a:solidFill>
                            <a:srgbClr val="FFFFFF"/>
                          </a:solidFill>
                          <a:latin typeface="Verdana"/>
                          <a:cs typeface="Verdana"/>
                        </a:rPr>
                        <a:t> </a:t>
                      </a:r>
                      <a:r>
                        <a:rPr sz="1100" b="1" spc="-5">
                          <a:solidFill>
                            <a:srgbClr val="FFFFFF"/>
                          </a:solidFill>
                          <a:latin typeface="Verdana"/>
                          <a:cs typeface="Verdana"/>
                        </a:rPr>
                        <a:t>by/Owner</a:t>
                      </a:r>
                      <a:endParaRPr sz="1100">
                        <a:latin typeface="Verdana"/>
                        <a:cs typeface="Verdana"/>
                      </a:endParaRPr>
                    </a:p>
                  </a:txBody>
                  <a:tcPr marL="0" marR="0" marT="12001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6FAC"/>
                    </a:solidFill>
                  </a:tcPr>
                </a:tc>
                <a:extLst>
                  <a:ext uri="{0D108BD9-81ED-4DB2-BD59-A6C34878D82A}">
                    <a16:rowId xmlns:a16="http://schemas.microsoft.com/office/drawing/2014/main" val="10000"/>
                  </a:ext>
                </a:extLst>
              </a:tr>
              <a:tr h="773684">
                <a:tc>
                  <a:txBody>
                    <a:bodyPr/>
                    <a:lstStyle/>
                    <a:p>
                      <a:pPr>
                        <a:lnSpc>
                          <a:spcPct val="100000"/>
                        </a:lnSpc>
                      </a:pPr>
                      <a:endParaRPr sz="1200">
                        <a:latin typeface="Times New Roman"/>
                        <a:cs typeface="Times New Roman"/>
                      </a:endParaRPr>
                    </a:p>
                    <a:p>
                      <a:pPr marL="90805">
                        <a:lnSpc>
                          <a:spcPct val="100000"/>
                        </a:lnSpc>
                        <a:spcBef>
                          <a:spcPts val="1065"/>
                        </a:spcBef>
                      </a:pPr>
                      <a:r>
                        <a:rPr sz="1000">
                          <a:latin typeface="Verdana"/>
                          <a:cs typeface="Verdana"/>
                        </a:rPr>
                        <a:t>Unit</a:t>
                      </a:r>
                      <a:r>
                        <a:rPr sz="1000" spc="-5">
                          <a:latin typeface="Verdana"/>
                          <a:cs typeface="Verdana"/>
                        </a:rPr>
                        <a:t> test</a:t>
                      </a:r>
                      <a:endParaRPr sz="10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pPr>
                      <a:endParaRPr sz="1200">
                        <a:latin typeface="Times New Roman"/>
                        <a:cs typeface="Times New Roman"/>
                      </a:endParaRPr>
                    </a:p>
                    <a:p>
                      <a:pPr marL="91440">
                        <a:lnSpc>
                          <a:spcPct val="100000"/>
                        </a:lnSpc>
                        <a:spcBef>
                          <a:spcPts val="1065"/>
                        </a:spcBef>
                      </a:pPr>
                      <a:r>
                        <a:rPr sz="1000" spc="-5">
                          <a:latin typeface="Verdana"/>
                          <a:cs typeface="Verdana"/>
                        </a:rPr>
                        <a:t>APEX </a:t>
                      </a:r>
                      <a:r>
                        <a:rPr sz="1000">
                          <a:latin typeface="Verdana"/>
                          <a:cs typeface="Verdana"/>
                        </a:rPr>
                        <a:t>unit </a:t>
                      </a:r>
                      <a:r>
                        <a:rPr sz="1000" spc="-5">
                          <a:latin typeface="Verdana"/>
                          <a:cs typeface="Verdana"/>
                        </a:rPr>
                        <a:t>test</a:t>
                      </a:r>
                      <a:r>
                        <a:rPr sz="1000" spc="35">
                          <a:latin typeface="Verdana"/>
                          <a:cs typeface="Verdana"/>
                        </a:rPr>
                        <a:t> </a:t>
                      </a:r>
                      <a:r>
                        <a:rPr sz="1000" spc="-5">
                          <a:latin typeface="Verdana"/>
                          <a:cs typeface="Verdana"/>
                        </a:rPr>
                        <a:t>classes</a:t>
                      </a:r>
                      <a:endParaRPr sz="10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1440" marR="140970">
                        <a:lnSpc>
                          <a:spcPct val="100000"/>
                        </a:lnSpc>
                        <a:spcBef>
                          <a:spcPts val="645"/>
                        </a:spcBef>
                      </a:pPr>
                      <a:r>
                        <a:rPr sz="1000">
                          <a:latin typeface="Verdana"/>
                          <a:cs typeface="Verdana"/>
                        </a:rPr>
                        <a:t>Unit </a:t>
                      </a:r>
                      <a:r>
                        <a:rPr sz="1000" spc="-5">
                          <a:latin typeface="Verdana"/>
                          <a:cs typeface="Verdana"/>
                        </a:rPr>
                        <a:t>test </a:t>
                      </a:r>
                      <a:r>
                        <a:rPr sz="1000">
                          <a:latin typeface="Verdana"/>
                          <a:cs typeface="Verdana"/>
                        </a:rPr>
                        <a:t>building </a:t>
                      </a:r>
                      <a:r>
                        <a:rPr sz="1000" spc="-5">
                          <a:latin typeface="Verdana"/>
                          <a:cs typeface="Verdana"/>
                        </a:rPr>
                        <a:t>blocks such as apex code and configurations. A must have. And should  be considered the absolute first </a:t>
                      </a:r>
                      <a:r>
                        <a:rPr sz="1000">
                          <a:latin typeface="Verdana"/>
                          <a:cs typeface="Verdana"/>
                        </a:rPr>
                        <a:t>line </a:t>
                      </a:r>
                      <a:r>
                        <a:rPr sz="1000" spc="-10">
                          <a:latin typeface="Verdana"/>
                          <a:cs typeface="Verdana"/>
                        </a:rPr>
                        <a:t>of defense. </a:t>
                      </a:r>
                      <a:r>
                        <a:rPr sz="1000">
                          <a:latin typeface="Verdana"/>
                          <a:cs typeface="Verdana"/>
                        </a:rPr>
                        <a:t>Should </a:t>
                      </a:r>
                      <a:r>
                        <a:rPr sz="1000" spc="-10">
                          <a:latin typeface="Verdana"/>
                          <a:cs typeface="Verdana"/>
                        </a:rPr>
                        <a:t>never </a:t>
                      </a:r>
                      <a:r>
                        <a:rPr sz="1000" spc="-5">
                          <a:latin typeface="Verdana"/>
                          <a:cs typeface="Verdana"/>
                        </a:rPr>
                        <a:t>be overlooked. Tools to  auto generate </a:t>
                      </a:r>
                      <a:r>
                        <a:rPr sz="1000">
                          <a:latin typeface="Verdana"/>
                          <a:cs typeface="Verdana"/>
                        </a:rPr>
                        <a:t>unit </a:t>
                      </a:r>
                      <a:r>
                        <a:rPr sz="1000" spc="-5">
                          <a:latin typeface="Verdana"/>
                          <a:cs typeface="Verdana"/>
                        </a:rPr>
                        <a:t>tests should be avoided </a:t>
                      </a:r>
                      <a:r>
                        <a:rPr sz="1000" spc="-10">
                          <a:latin typeface="Verdana"/>
                          <a:cs typeface="Verdana"/>
                        </a:rPr>
                        <a:t>except </a:t>
                      </a:r>
                      <a:r>
                        <a:rPr sz="1000" spc="-5">
                          <a:latin typeface="Verdana"/>
                          <a:cs typeface="Verdana"/>
                        </a:rPr>
                        <a:t>to generate factory or stub</a:t>
                      </a:r>
                      <a:r>
                        <a:rPr sz="1000" spc="305">
                          <a:latin typeface="Verdana"/>
                          <a:cs typeface="Verdana"/>
                        </a:rPr>
                        <a:t> </a:t>
                      </a:r>
                      <a:r>
                        <a:rPr sz="1000" spc="-5">
                          <a:latin typeface="Verdana"/>
                          <a:cs typeface="Verdana"/>
                        </a:rPr>
                        <a:t>classes.</a:t>
                      </a:r>
                      <a:endParaRPr sz="1000">
                        <a:latin typeface="Verdana"/>
                        <a:cs typeface="Verdana"/>
                      </a:endParaRPr>
                    </a:p>
                    <a:p>
                      <a:pPr marL="91440">
                        <a:lnSpc>
                          <a:spcPct val="100000"/>
                        </a:lnSpc>
                      </a:pPr>
                      <a:r>
                        <a:rPr sz="1000" spc="-5">
                          <a:latin typeface="Verdana"/>
                          <a:cs typeface="Verdana"/>
                        </a:rPr>
                        <a:t>Please </a:t>
                      </a:r>
                      <a:r>
                        <a:rPr sz="1000" spc="-10">
                          <a:latin typeface="Verdana"/>
                          <a:cs typeface="Verdana"/>
                        </a:rPr>
                        <a:t>refer </a:t>
                      </a:r>
                      <a:r>
                        <a:rPr sz="1000" spc="-5">
                          <a:latin typeface="Verdana"/>
                          <a:cs typeface="Verdana"/>
                        </a:rPr>
                        <a:t>to the code </a:t>
                      </a:r>
                      <a:r>
                        <a:rPr sz="1000">
                          <a:latin typeface="Verdana"/>
                          <a:cs typeface="Verdana"/>
                        </a:rPr>
                        <a:t>quality guide </a:t>
                      </a:r>
                      <a:r>
                        <a:rPr sz="1000" spc="-5">
                          <a:latin typeface="Verdana"/>
                          <a:cs typeface="Verdana"/>
                        </a:rPr>
                        <a:t>published by the </a:t>
                      </a:r>
                      <a:r>
                        <a:rPr sz="1000" spc="-10">
                          <a:latin typeface="Verdana"/>
                          <a:cs typeface="Verdana"/>
                        </a:rPr>
                        <a:t>CTO</a:t>
                      </a:r>
                      <a:r>
                        <a:rPr sz="1000" spc="100">
                          <a:latin typeface="Verdana"/>
                          <a:cs typeface="Verdana"/>
                        </a:rPr>
                        <a:t> </a:t>
                      </a:r>
                      <a:r>
                        <a:rPr sz="1000" spc="-5">
                          <a:latin typeface="Verdana"/>
                          <a:cs typeface="Verdana"/>
                        </a:rPr>
                        <a:t>office</a:t>
                      </a:r>
                      <a:endParaRPr sz="1000">
                        <a:latin typeface="Verdana"/>
                        <a:cs typeface="Verdana"/>
                      </a:endParaRPr>
                    </a:p>
                  </a:txBody>
                  <a:tcPr marL="0" marR="0" marT="819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pPr>
                      <a:endParaRPr sz="1200">
                        <a:latin typeface="Times New Roman"/>
                        <a:cs typeface="Times New Roman"/>
                      </a:endParaRPr>
                    </a:p>
                    <a:p>
                      <a:pPr marL="92710">
                        <a:lnSpc>
                          <a:spcPct val="100000"/>
                        </a:lnSpc>
                        <a:spcBef>
                          <a:spcPts val="1065"/>
                        </a:spcBef>
                      </a:pPr>
                      <a:r>
                        <a:rPr sz="1000" spc="-5">
                          <a:latin typeface="Verdana"/>
                          <a:cs typeface="Verdana"/>
                        </a:rPr>
                        <a:t>Capgemini</a:t>
                      </a:r>
                      <a:r>
                        <a:rPr sz="1000" spc="5">
                          <a:latin typeface="Verdana"/>
                          <a:cs typeface="Verdana"/>
                        </a:rPr>
                        <a:t> </a:t>
                      </a:r>
                      <a:r>
                        <a:rPr sz="1000" spc="-10">
                          <a:latin typeface="Verdana"/>
                          <a:cs typeface="Verdana"/>
                        </a:rPr>
                        <a:t>Developers</a:t>
                      </a:r>
                      <a:endParaRPr sz="10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1"/>
                  </a:ext>
                </a:extLst>
              </a:tr>
              <a:tr h="437388">
                <a:tc>
                  <a:txBody>
                    <a:bodyPr/>
                    <a:lstStyle/>
                    <a:p>
                      <a:pPr marL="90805" marR="319405">
                        <a:lnSpc>
                          <a:spcPct val="100000"/>
                        </a:lnSpc>
                        <a:spcBef>
                          <a:spcPts val="520"/>
                        </a:spcBef>
                      </a:pPr>
                      <a:r>
                        <a:rPr sz="1000">
                          <a:latin typeface="Verdana"/>
                          <a:cs typeface="Verdana"/>
                        </a:rPr>
                        <a:t>Functional</a:t>
                      </a:r>
                      <a:r>
                        <a:rPr sz="1000" spc="-60">
                          <a:latin typeface="Verdana"/>
                          <a:cs typeface="Verdana"/>
                        </a:rPr>
                        <a:t> </a:t>
                      </a:r>
                      <a:r>
                        <a:rPr sz="1000" spc="-10">
                          <a:latin typeface="Verdana"/>
                          <a:cs typeface="Verdana"/>
                        </a:rPr>
                        <a:t>Test  </a:t>
                      </a:r>
                      <a:r>
                        <a:rPr sz="1000">
                          <a:latin typeface="Verdana"/>
                          <a:cs typeface="Verdana"/>
                        </a:rPr>
                        <a:t>(Manual)</a:t>
                      </a:r>
                    </a:p>
                  </a:txBody>
                  <a:tcPr marL="0" marR="0" marT="660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30"/>
                        </a:spcBef>
                      </a:pPr>
                      <a:endParaRPr sz="950">
                        <a:latin typeface="Times New Roman"/>
                        <a:cs typeface="Times New Roman"/>
                      </a:endParaRPr>
                    </a:p>
                    <a:p>
                      <a:pPr marL="91440">
                        <a:lnSpc>
                          <a:spcPct val="100000"/>
                        </a:lnSpc>
                      </a:pPr>
                      <a:r>
                        <a:rPr sz="1000" spc="-5">
                          <a:latin typeface="Verdana"/>
                          <a:cs typeface="Verdana"/>
                        </a:rPr>
                        <a:t>Manual test</a:t>
                      </a:r>
                      <a:r>
                        <a:rPr sz="1000" spc="30">
                          <a:latin typeface="Verdana"/>
                          <a:cs typeface="Verdana"/>
                        </a:rPr>
                        <a:t> </a:t>
                      </a:r>
                      <a:r>
                        <a:rPr sz="1000" spc="-5">
                          <a:latin typeface="Verdana"/>
                          <a:cs typeface="Verdana"/>
                        </a:rPr>
                        <a:t>scripts</a:t>
                      </a:r>
                      <a:endParaRPr sz="1000">
                        <a:latin typeface="Verdana"/>
                        <a:cs typeface="Verdana"/>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1440" marR="236854">
                        <a:lnSpc>
                          <a:spcPct val="100000"/>
                        </a:lnSpc>
                        <a:spcBef>
                          <a:spcPts val="520"/>
                        </a:spcBef>
                      </a:pPr>
                      <a:r>
                        <a:rPr sz="1000" spc="-10">
                          <a:latin typeface="Verdana"/>
                          <a:cs typeface="Verdana"/>
                        </a:rPr>
                        <a:t>Test </a:t>
                      </a:r>
                      <a:r>
                        <a:rPr sz="1000">
                          <a:latin typeface="Verdana"/>
                          <a:cs typeface="Verdana"/>
                        </a:rPr>
                        <a:t>specific functionalities </a:t>
                      </a:r>
                      <a:r>
                        <a:rPr sz="1000" spc="-5">
                          <a:latin typeface="Verdana"/>
                          <a:cs typeface="Verdana"/>
                        </a:rPr>
                        <a:t>that have not </a:t>
                      </a:r>
                      <a:r>
                        <a:rPr sz="1000" spc="-10">
                          <a:latin typeface="Verdana"/>
                          <a:cs typeface="Verdana"/>
                        </a:rPr>
                        <a:t>been </a:t>
                      </a:r>
                      <a:r>
                        <a:rPr sz="1000" spc="-5">
                          <a:latin typeface="Verdana"/>
                          <a:cs typeface="Verdana"/>
                        </a:rPr>
                        <a:t>tested by </a:t>
                      </a:r>
                      <a:r>
                        <a:rPr sz="1000">
                          <a:latin typeface="Verdana"/>
                          <a:cs typeface="Verdana"/>
                        </a:rPr>
                        <a:t>Unit </a:t>
                      </a:r>
                      <a:r>
                        <a:rPr sz="1000" spc="-5">
                          <a:latin typeface="Verdana"/>
                          <a:cs typeface="Verdana"/>
                        </a:rPr>
                        <a:t>tests. Likely would target  </a:t>
                      </a:r>
                      <a:r>
                        <a:rPr sz="1000">
                          <a:latin typeface="Verdana"/>
                          <a:cs typeface="Verdana"/>
                        </a:rPr>
                        <a:t>high </a:t>
                      </a:r>
                      <a:r>
                        <a:rPr sz="1000" spc="-5">
                          <a:latin typeface="Verdana"/>
                          <a:cs typeface="Verdana"/>
                        </a:rPr>
                        <a:t>risk use </a:t>
                      </a:r>
                      <a:r>
                        <a:rPr sz="1000" spc="-10">
                          <a:latin typeface="Verdana"/>
                          <a:cs typeface="Verdana"/>
                        </a:rPr>
                        <a:t>cases</a:t>
                      </a:r>
                      <a:endParaRPr sz="1000">
                        <a:latin typeface="Verdana"/>
                        <a:cs typeface="Verdana"/>
                      </a:endParaRPr>
                    </a:p>
                  </a:txBody>
                  <a:tcPr marL="0" marR="0" marT="660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30"/>
                        </a:spcBef>
                      </a:pPr>
                      <a:endParaRPr sz="950">
                        <a:latin typeface="Times New Roman"/>
                        <a:cs typeface="Times New Roman"/>
                      </a:endParaRPr>
                    </a:p>
                    <a:p>
                      <a:pPr marL="92710">
                        <a:lnSpc>
                          <a:spcPct val="100000"/>
                        </a:lnSpc>
                      </a:pPr>
                      <a:r>
                        <a:rPr sz="1000" spc="-5">
                          <a:latin typeface="Verdana"/>
                          <a:cs typeface="Verdana"/>
                        </a:rPr>
                        <a:t>Capgemini</a:t>
                      </a:r>
                      <a:r>
                        <a:rPr sz="1000" spc="5">
                          <a:latin typeface="Verdana"/>
                          <a:cs typeface="Verdana"/>
                        </a:rPr>
                        <a:t> </a:t>
                      </a:r>
                      <a:r>
                        <a:rPr sz="1000" spc="-10">
                          <a:latin typeface="Verdana"/>
                          <a:cs typeface="Verdana"/>
                        </a:rPr>
                        <a:t>Testers</a:t>
                      </a:r>
                      <a:endParaRPr sz="1000">
                        <a:latin typeface="Verdana"/>
                        <a:cs typeface="Verdana"/>
                      </a:endParaRPr>
                    </a:p>
                  </a:txBody>
                  <a:tcPr marL="0" marR="0" marT="38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2"/>
                  </a:ext>
                </a:extLst>
              </a:tr>
              <a:tr h="773683">
                <a:tc>
                  <a:txBody>
                    <a:bodyPr/>
                    <a:lstStyle/>
                    <a:p>
                      <a:pPr>
                        <a:lnSpc>
                          <a:spcPct val="100000"/>
                        </a:lnSpc>
                        <a:spcBef>
                          <a:spcPts val="5"/>
                        </a:spcBef>
                      </a:pPr>
                      <a:endParaRPr sz="1600">
                        <a:latin typeface="Times New Roman"/>
                        <a:cs typeface="Times New Roman"/>
                      </a:endParaRPr>
                    </a:p>
                    <a:p>
                      <a:pPr marL="90805">
                        <a:lnSpc>
                          <a:spcPct val="100000"/>
                        </a:lnSpc>
                      </a:pPr>
                      <a:r>
                        <a:rPr sz="1000">
                          <a:latin typeface="Verdana"/>
                          <a:cs typeface="Verdana"/>
                        </a:rPr>
                        <a:t>Functional</a:t>
                      </a:r>
                      <a:r>
                        <a:rPr sz="1000" spc="5">
                          <a:latin typeface="Verdana"/>
                          <a:cs typeface="Verdana"/>
                        </a:rPr>
                        <a:t> </a:t>
                      </a:r>
                      <a:r>
                        <a:rPr sz="1000" spc="-10">
                          <a:latin typeface="Verdana"/>
                          <a:cs typeface="Verdana"/>
                        </a:rPr>
                        <a:t>Test</a:t>
                      </a:r>
                      <a:endParaRPr sz="1000">
                        <a:latin typeface="Verdana"/>
                        <a:cs typeface="Verdana"/>
                      </a:endParaRPr>
                    </a:p>
                    <a:p>
                      <a:pPr marL="90805">
                        <a:lnSpc>
                          <a:spcPct val="100000"/>
                        </a:lnSpc>
                      </a:pPr>
                      <a:r>
                        <a:rPr sz="1000" spc="-5">
                          <a:latin typeface="Verdana"/>
                          <a:cs typeface="Verdana"/>
                        </a:rPr>
                        <a:t>(Automated)</a:t>
                      </a:r>
                      <a:endParaRPr sz="1000">
                        <a:latin typeface="Verdana"/>
                        <a:cs typeface="Verdana"/>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spcBef>
                          <a:spcPts val="40"/>
                        </a:spcBef>
                      </a:pPr>
                      <a:endParaRPr sz="1050">
                        <a:latin typeface="Times New Roman"/>
                        <a:cs typeface="Times New Roman"/>
                      </a:endParaRPr>
                    </a:p>
                    <a:p>
                      <a:pPr marL="91440" marR="576580">
                        <a:lnSpc>
                          <a:spcPct val="100000"/>
                        </a:lnSpc>
                      </a:pPr>
                      <a:r>
                        <a:rPr sz="1000" spc="-5">
                          <a:latin typeface="Verdana"/>
                          <a:cs typeface="Verdana"/>
                        </a:rPr>
                        <a:t>Automated testing tools  (Selenium … etc) </a:t>
                      </a:r>
                      <a:r>
                        <a:rPr sz="1000">
                          <a:latin typeface="Verdana"/>
                          <a:cs typeface="Verdana"/>
                        </a:rPr>
                        <a:t>with  </a:t>
                      </a:r>
                      <a:r>
                        <a:rPr sz="1000" spc="-5">
                          <a:latin typeface="Verdana"/>
                          <a:cs typeface="Verdana"/>
                        </a:rPr>
                        <a:t>documented test</a:t>
                      </a:r>
                      <a:r>
                        <a:rPr sz="1000" spc="20">
                          <a:latin typeface="Verdana"/>
                          <a:cs typeface="Verdana"/>
                        </a:rPr>
                        <a:t> </a:t>
                      </a:r>
                      <a:r>
                        <a:rPr sz="1000" spc="-5">
                          <a:latin typeface="Verdana"/>
                          <a:cs typeface="Verdana"/>
                        </a:rPr>
                        <a:t>scripts</a:t>
                      </a:r>
                      <a:endParaRPr sz="1000">
                        <a:latin typeface="Verdana"/>
                        <a:cs typeface="Verdana"/>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1440" marR="307340">
                        <a:lnSpc>
                          <a:spcPct val="100000"/>
                        </a:lnSpc>
                      </a:pPr>
                      <a:r>
                        <a:rPr sz="1000" spc="-5">
                          <a:latin typeface="Verdana"/>
                          <a:cs typeface="Verdana"/>
                        </a:rPr>
                        <a:t>Automate the execution of </a:t>
                      </a:r>
                      <a:r>
                        <a:rPr sz="1000">
                          <a:latin typeface="Verdana"/>
                          <a:cs typeface="Verdana"/>
                        </a:rPr>
                        <a:t>specific functional </a:t>
                      </a:r>
                      <a:r>
                        <a:rPr sz="1000" spc="-5">
                          <a:latin typeface="Verdana"/>
                          <a:cs typeface="Verdana"/>
                        </a:rPr>
                        <a:t>tests. Likely to be used </a:t>
                      </a:r>
                      <a:r>
                        <a:rPr sz="1000" spc="-10">
                          <a:latin typeface="Verdana"/>
                          <a:cs typeface="Verdana"/>
                        </a:rPr>
                        <a:t>for regression  </a:t>
                      </a:r>
                      <a:r>
                        <a:rPr sz="1000" spc="-5">
                          <a:latin typeface="Verdana"/>
                          <a:cs typeface="Verdana"/>
                        </a:rPr>
                        <a:t>testing and to automate </a:t>
                      </a:r>
                      <a:r>
                        <a:rPr sz="1000" spc="-10">
                          <a:latin typeface="Verdana"/>
                          <a:cs typeface="Verdana"/>
                        </a:rPr>
                        <a:t>key </a:t>
                      </a:r>
                      <a:r>
                        <a:rPr sz="1000">
                          <a:latin typeface="Verdana"/>
                          <a:cs typeface="Verdana"/>
                        </a:rPr>
                        <a:t>functional </a:t>
                      </a:r>
                      <a:r>
                        <a:rPr sz="1000" spc="-5">
                          <a:latin typeface="Verdana"/>
                          <a:cs typeface="Verdana"/>
                        </a:rPr>
                        <a:t>tests </a:t>
                      </a:r>
                      <a:r>
                        <a:rPr sz="1000" spc="-10">
                          <a:latin typeface="Verdana"/>
                          <a:cs typeface="Verdana"/>
                        </a:rPr>
                        <a:t>for </a:t>
                      </a:r>
                      <a:r>
                        <a:rPr sz="1000">
                          <a:latin typeface="Verdana"/>
                          <a:cs typeface="Verdana"/>
                        </a:rPr>
                        <a:t>high </a:t>
                      </a:r>
                      <a:r>
                        <a:rPr sz="1000" spc="-5">
                          <a:latin typeface="Verdana"/>
                          <a:cs typeface="Verdana"/>
                        </a:rPr>
                        <a:t>risk use </a:t>
                      </a:r>
                      <a:r>
                        <a:rPr sz="1000" spc="-10">
                          <a:latin typeface="Verdana"/>
                          <a:cs typeface="Verdana"/>
                        </a:rPr>
                        <a:t>cases </a:t>
                      </a:r>
                      <a:r>
                        <a:rPr sz="1000" spc="-5">
                          <a:latin typeface="Verdana"/>
                          <a:cs typeface="Verdana"/>
                        </a:rPr>
                        <a:t>that must be  </a:t>
                      </a:r>
                      <a:r>
                        <a:rPr sz="1000" spc="-10">
                          <a:latin typeface="Verdana"/>
                          <a:cs typeface="Verdana"/>
                        </a:rPr>
                        <a:t>executed before </a:t>
                      </a:r>
                      <a:r>
                        <a:rPr sz="1000" spc="-5">
                          <a:latin typeface="Verdana"/>
                          <a:cs typeface="Verdana"/>
                        </a:rPr>
                        <a:t>deploying any new feature to ensure system compliance and</a:t>
                      </a:r>
                      <a:r>
                        <a:rPr sz="1000" spc="20">
                          <a:latin typeface="Verdana"/>
                          <a:cs typeface="Verdana"/>
                        </a:rPr>
                        <a:t> </a:t>
                      </a:r>
                      <a:r>
                        <a:rPr sz="1000">
                          <a:latin typeface="Verdana"/>
                          <a:cs typeface="Verdana"/>
                        </a:rPr>
                        <a:t>stability</a:t>
                      </a:r>
                      <a:r>
                        <a:rPr lang="it-IT" sz="1000">
                          <a:latin typeface="Verdana"/>
                          <a:cs typeface="Verdana"/>
                        </a:rPr>
                        <a:t>. </a:t>
                      </a:r>
                      <a:r>
                        <a:rPr lang="it-IT" sz="1000" err="1">
                          <a:latin typeface="Verdana"/>
                          <a:cs typeface="Verdana"/>
                        </a:rPr>
                        <a:t>Not</a:t>
                      </a:r>
                      <a:r>
                        <a:rPr lang="it-IT" sz="1000">
                          <a:latin typeface="Verdana"/>
                          <a:cs typeface="Verdana"/>
                        </a:rPr>
                        <a:t> </a:t>
                      </a:r>
                      <a:r>
                        <a:rPr lang="it-IT" sz="1000" err="1">
                          <a:latin typeface="Verdana"/>
                          <a:cs typeface="Verdana"/>
                        </a:rPr>
                        <a:t>foreseen</a:t>
                      </a:r>
                      <a:r>
                        <a:rPr lang="it-IT" sz="1000">
                          <a:latin typeface="Verdana"/>
                          <a:cs typeface="Verdana"/>
                        </a:rPr>
                        <a:t> in </a:t>
                      </a:r>
                      <a:r>
                        <a:rPr lang="it-IT" sz="1000" err="1">
                          <a:latin typeface="Verdana"/>
                          <a:cs typeface="Verdana"/>
                        </a:rPr>
                        <a:t>this</a:t>
                      </a:r>
                      <a:r>
                        <a:rPr lang="it-IT" sz="1000">
                          <a:latin typeface="Verdana"/>
                          <a:cs typeface="Verdana"/>
                        </a:rPr>
                        <a:t> </a:t>
                      </a:r>
                      <a:r>
                        <a:rPr lang="it-IT" sz="1000" err="1">
                          <a:latin typeface="Verdana"/>
                          <a:cs typeface="Verdana"/>
                        </a:rPr>
                        <a:t>proposal</a:t>
                      </a:r>
                      <a:r>
                        <a:rPr lang="it-IT" sz="1000">
                          <a:latin typeface="Verdana"/>
                          <a:cs typeface="Verdana"/>
                        </a:rPr>
                        <a:t> </a:t>
                      </a:r>
                      <a:r>
                        <a:rPr lang="it-IT" sz="1000" err="1">
                          <a:latin typeface="Verdana"/>
                          <a:cs typeface="Verdana"/>
                        </a:rPr>
                        <a:t>since</a:t>
                      </a:r>
                      <a:r>
                        <a:rPr lang="it-IT" sz="1000">
                          <a:latin typeface="Verdana"/>
                          <a:cs typeface="Verdana"/>
                        </a:rPr>
                        <a:t> no </a:t>
                      </a:r>
                      <a:r>
                        <a:rPr lang="it-IT" sz="1000" err="1">
                          <a:latin typeface="Verdana"/>
                          <a:cs typeface="Verdana"/>
                        </a:rPr>
                        <a:t>requirements</a:t>
                      </a:r>
                      <a:r>
                        <a:rPr lang="it-IT" sz="1000">
                          <a:latin typeface="Verdana"/>
                          <a:cs typeface="Verdana"/>
                        </a:rPr>
                        <a:t> </a:t>
                      </a:r>
                      <a:r>
                        <a:rPr lang="it-IT" sz="1000" err="1">
                          <a:latin typeface="Verdana"/>
                          <a:cs typeface="Verdana"/>
                        </a:rPr>
                        <a:t>were</a:t>
                      </a:r>
                      <a:r>
                        <a:rPr lang="it-IT" sz="1000">
                          <a:latin typeface="Verdana"/>
                          <a:cs typeface="Verdana"/>
                        </a:rPr>
                        <a:t> </a:t>
                      </a:r>
                      <a:r>
                        <a:rPr lang="it-IT" sz="1000" err="1">
                          <a:latin typeface="Verdana"/>
                          <a:cs typeface="Verdana"/>
                        </a:rPr>
                        <a:t>reported</a:t>
                      </a:r>
                      <a:r>
                        <a:rPr lang="it-IT" sz="1000">
                          <a:latin typeface="Verdana"/>
                          <a:cs typeface="Verdana"/>
                        </a:rPr>
                        <a:t> in the RFQ</a:t>
                      </a:r>
                      <a:endParaRPr sz="1000">
                        <a:latin typeface="Verdana"/>
                        <a:cs typeface="Verdana"/>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pPr>
                      <a:endParaRPr sz="1200">
                        <a:latin typeface="Times New Roman"/>
                        <a:cs typeface="Times New Roman"/>
                      </a:endParaRPr>
                    </a:p>
                    <a:p>
                      <a:pPr marL="92710">
                        <a:lnSpc>
                          <a:spcPct val="100000"/>
                        </a:lnSpc>
                        <a:spcBef>
                          <a:spcPts val="1065"/>
                        </a:spcBef>
                      </a:pPr>
                      <a:r>
                        <a:rPr sz="1000" spc="-5">
                          <a:latin typeface="Verdana"/>
                          <a:cs typeface="Verdana"/>
                        </a:rPr>
                        <a:t>Capgemini</a:t>
                      </a:r>
                      <a:r>
                        <a:rPr sz="1000" spc="5">
                          <a:latin typeface="Verdana"/>
                          <a:cs typeface="Verdana"/>
                        </a:rPr>
                        <a:t> </a:t>
                      </a:r>
                      <a:r>
                        <a:rPr sz="1000" spc="-10">
                          <a:latin typeface="Verdana"/>
                          <a:cs typeface="Verdana"/>
                        </a:rPr>
                        <a:t>Testers</a:t>
                      </a:r>
                      <a:endParaRPr sz="1000">
                        <a:latin typeface="Verdana"/>
                        <a:cs typeface="Verdana"/>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3"/>
                  </a:ext>
                </a:extLst>
              </a:tr>
              <a:tr h="605535">
                <a:tc>
                  <a:txBody>
                    <a:bodyPr/>
                    <a:lstStyle/>
                    <a:p>
                      <a:pPr>
                        <a:lnSpc>
                          <a:spcPct val="100000"/>
                        </a:lnSpc>
                        <a:spcBef>
                          <a:spcPts val="5"/>
                        </a:spcBef>
                      </a:pPr>
                      <a:endParaRPr sz="1550">
                        <a:latin typeface="Times New Roman"/>
                        <a:cs typeface="Times New Roman"/>
                      </a:endParaRPr>
                    </a:p>
                    <a:p>
                      <a:pPr marL="90805">
                        <a:lnSpc>
                          <a:spcPct val="100000"/>
                        </a:lnSpc>
                      </a:pPr>
                      <a:r>
                        <a:rPr sz="1000" spc="-5">
                          <a:latin typeface="Verdana"/>
                          <a:cs typeface="Verdana"/>
                        </a:rPr>
                        <a:t>Integration</a:t>
                      </a:r>
                      <a:r>
                        <a:rPr sz="1000" spc="30">
                          <a:latin typeface="Verdana"/>
                          <a:cs typeface="Verdana"/>
                        </a:rPr>
                        <a:t> </a:t>
                      </a:r>
                      <a:r>
                        <a:rPr sz="1000" spc="-10">
                          <a:latin typeface="Verdana"/>
                          <a:cs typeface="Verdana"/>
                        </a:rPr>
                        <a:t>Test</a:t>
                      </a:r>
                      <a:endParaRPr sz="1000">
                        <a:latin typeface="Verdana"/>
                        <a:cs typeface="Verdana"/>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1440" marR="275590" algn="just">
                        <a:lnSpc>
                          <a:spcPct val="100000"/>
                        </a:lnSpc>
                        <a:spcBef>
                          <a:spcPts val="585"/>
                        </a:spcBef>
                      </a:pPr>
                      <a:r>
                        <a:rPr lang="it-IT" sz="1000" spc="-5">
                          <a:latin typeface="Verdana"/>
                          <a:cs typeface="Verdana"/>
                        </a:rPr>
                        <a:t>T</a:t>
                      </a:r>
                      <a:r>
                        <a:rPr sz="1000" spc="-5" err="1">
                          <a:latin typeface="Verdana"/>
                          <a:cs typeface="Verdana"/>
                        </a:rPr>
                        <a:t>ests</a:t>
                      </a:r>
                      <a:r>
                        <a:rPr sz="1000" spc="-5">
                          <a:latin typeface="Verdana"/>
                          <a:cs typeface="Verdana"/>
                        </a:rPr>
                        <a:t>  that involves </a:t>
                      </a:r>
                      <a:r>
                        <a:rPr sz="1000">
                          <a:latin typeface="Verdana"/>
                          <a:cs typeface="Verdana"/>
                        </a:rPr>
                        <a:t>communicating  with </a:t>
                      </a:r>
                      <a:r>
                        <a:rPr sz="1000" spc="-5">
                          <a:latin typeface="Verdana"/>
                          <a:cs typeface="Verdana"/>
                        </a:rPr>
                        <a:t>an integrated</a:t>
                      </a:r>
                      <a:r>
                        <a:rPr sz="1000" spc="-15">
                          <a:latin typeface="Verdana"/>
                          <a:cs typeface="Verdana"/>
                        </a:rPr>
                        <a:t> </a:t>
                      </a:r>
                      <a:r>
                        <a:rPr sz="1000" spc="-5">
                          <a:latin typeface="Verdana"/>
                          <a:cs typeface="Verdana"/>
                        </a:rPr>
                        <a:t>system,</a:t>
                      </a:r>
                      <a:endParaRPr sz="1000">
                        <a:latin typeface="Verdana"/>
                        <a:cs typeface="Verdana"/>
                      </a:endParaRPr>
                    </a:p>
                  </a:txBody>
                  <a:tcPr marL="0" marR="0" marT="742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35"/>
                        </a:spcBef>
                      </a:pPr>
                      <a:endParaRPr sz="1000">
                        <a:latin typeface="Times New Roman"/>
                        <a:cs typeface="Times New Roman"/>
                      </a:endParaRPr>
                    </a:p>
                    <a:p>
                      <a:pPr marL="91440">
                        <a:lnSpc>
                          <a:spcPct val="100000"/>
                        </a:lnSpc>
                      </a:pPr>
                      <a:r>
                        <a:rPr sz="1000">
                          <a:latin typeface="Verdana"/>
                          <a:cs typeface="Verdana"/>
                        </a:rPr>
                        <a:t>Validating </a:t>
                      </a:r>
                      <a:r>
                        <a:rPr sz="1000" spc="-5">
                          <a:latin typeface="Verdana"/>
                          <a:cs typeface="Verdana"/>
                        </a:rPr>
                        <a:t>and confirming </a:t>
                      </a:r>
                      <a:r>
                        <a:rPr sz="1000">
                          <a:latin typeface="Verdana"/>
                          <a:cs typeface="Verdana"/>
                        </a:rPr>
                        <a:t>that the </a:t>
                      </a:r>
                      <a:r>
                        <a:rPr sz="1000" spc="-5">
                          <a:latin typeface="Verdana"/>
                          <a:cs typeface="Verdana"/>
                        </a:rPr>
                        <a:t>overall parts </a:t>
                      </a:r>
                      <a:r>
                        <a:rPr sz="1000" spc="-10">
                          <a:latin typeface="Verdana"/>
                          <a:cs typeface="Verdana"/>
                        </a:rPr>
                        <a:t>of </a:t>
                      </a:r>
                      <a:r>
                        <a:rPr sz="1000">
                          <a:latin typeface="Verdana"/>
                          <a:cs typeface="Verdana"/>
                        </a:rPr>
                        <a:t>the </a:t>
                      </a:r>
                      <a:r>
                        <a:rPr sz="1000" spc="-5">
                          <a:latin typeface="Verdana"/>
                          <a:cs typeface="Verdana"/>
                        </a:rPr>
                        <a:t>solution </a:t>
                      </a:r>
                      <a:r>
                        <a:rPr sz="1000" spc="-10">
                          <a:latin typeface="Verdana"/>
                          <a:cs typeface="Verdana"/>
                        </a:rPr>
                        <a:t>work </a:t>
                      </a:r>
                      <a:r>
                        <a:rPr sz="1000" spc="-5">
                          <a:latin typeface="Verdana"/>
                          <a:cs typeface="Verdana"/>
                        </a:rPr>
                        <a:t>together</a:t>
                      </a:r>
                      <a:r>
                        <a:rPr sz="1000" spc="160">
                          <a:latin typeface="Verdana"/>
                          <a:cs typeface="Verdana"/>
                        </a:rPr>
                        <a:t> </a:t>
                      </a:r>
                      <a:r>
                        <a:rPr sz="1000" spc="-5">
                          <a:latin typeface="Verdana"/>
                          <a:cs typeface="Verdana"/>
                        </a:rPr>
                        <a:t>as</a:t>
                      </a:r>
                      <a:endParaRPr sz="1000">
                        <a:latin typeface="Verdana"/>
                        <a:cs typeface="Verdana"/>
                      </a:endParaRPr>
                    </a:p>
                    <a:p>
                      <a:pPr marL="91440">
                        <a:lnSpc>
                          <a:spcPct val="100000"/>
                        </a:lnSpc>
                        <a:spcBef>
                          <a:spcPts val="5"/>
                        </a:spcBef>
                      </a:pPr>
                      <a:r>
                        <a:rPr sz="1000" spc="-5">
                          <a:latin typeface="Verdana"/>
                          <a:cs typeface="Verdana"/>
                        </a:rPr>
                        <a:t>expected </a:t>
                      </a:r>
                      <a:r>
                        <a:rPr sz="1000">
                          <a:latin typeface="Verdana"/>
                          <a:cs typeface="Verdana"/>
                        </a:rPr>
                        <a:t>this includes </a:t>
                      </a:r>
                      <a:r>
                        <a:rPr sz="1000" spc="-5">
                          <a:latin typeface="Verdana"/>
                          <a:cs typeface="Verdana"/>
                        </a:rPr>
                        <a:t>any externally integrated</a:t>
                      </a:r>
                      <a:r>
                        <a:rPr sz="1000" spc="80">
                          <a:latin typeface="Verdana"/>
                          <a:cs typeface="Verdana"/>
                        </a:rPr>
                        <a:t> </a:t>
                      </a:r>
                      <a:r>
                        <a:rPr sz="1000" spc="-5">
                          <a:latin typeface="Verdana"/>
                          <a:cs typeface="Verdana"/>
                        </a:rPr>
                        <a:t>system</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5"/>
                        </a:spcBef>
                      </a:pPr>
                      <a:endParaRPr sz="1550">
                        <a:latin typeface="Times New Roman"/>
                        <a:cs typeface="Times New Roman"/>
                      </a:endParaRPr>
                    </a:p>
                    <a:p>
                      <a:pPr marL="92710">
                        <a:lnSpc>
                          <a:spcPct val="100000"/>
                        </a:lnSpc>
                      </a:pPr>
                      <a:r>
                        <a:rPr sz="1000" spc="-5">
                          <a:latin typeface="Verdana"/>
                          <a:cs typeface="Verdana"/>
                        </a:rPr>
                        <a:t>Capgemini</a:t>
                      </a:r>
                      <a:r>
                        <a:rPr sz="1000" spc="5">
                          <a:latin typeface="Verdana"/>
                          <a:cs typeface="Verdana"/>
                        </a:rPr>
                        <a:t> </a:t>
                      </a:r>
                      <a:r>
                        <a:rPr sz="1000" spc="-10">
                          <a:latin typeface="Verdana"/>
                          <a:cs typeface="Verdana"/>
                        </a:rPr>
                        <a:t>Testers</a:t>
                      </a:r>
                      <a:endParaRPr sz="1000">
                        <a:latin typeface="Verdana"/>
                        <a:cs typeface="Verdana"/>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4"/>
                  </a:ext>
                </a:extLst>
              </a:tr>
              <a:tr h="437388">
                <a:tc>
                  <a:txBody>
                    <a:bodyPr/>
                    <a:lstStyle/>
                    <a:p>
                      <a:pPr>
                        <a:lnSpc>
                          <a:spcPct val="100000"/>
                        </a:lnSpc>
                        <a:spcBef>
                          <a:spcPts val="35"/>
                        </a:spcBef>
                      </a:pPr>
                      <a:endParaRPr sz="950">
                        <a:latin typeface="Times New Roman"/>
                        <a:cs typeface="Times New Roman"/>
                      </a:endParaRPr>
                    </a:p>
                    <a:p>
                      <a:pPr marL="90805">
                        <a:lnSpc>
                          <a:spcPct val="100000"/>
                        </a:lnSpc>
                      </a:pPr>
                      <a:r>
                        <a:rPr sz="1000" spc="-5">
                          <a:latin typeface="Verdana"/>
                          <a:cs typeface="Verdana"/>
                        </a:rPr>
                        <a:t>UAT</a:t>
                      </a:r>
                      <a:r>
                        <a:rPr sz="1000">
                          <a:latin typeface="Verdana"/>
                          <a:cs typeface="Verdana"/>
                        </a:rPr>
                        <a:t> </a:t>
                      </a:r>
                      <a:r>
                        <a:rPr sz="1000" spc="-5">
                          <a:latin typeface="Verdana"/>
                          <a:cs typeface="Verdana"/>
                        </a:rPr>
                        <a:t>test</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spcBef>
                          <a:spcPts val="35"/>
                        </a:spcBef>
                      </a:pPr>
                      <a:endParaRPr sz="950">
                        <a:latin typeface="Times New Roman"/>
                        <a:cs typeface="Times New Roman"/>
                      </a:endParaRPr>
                    </a:p>
                    <a:p>
                      <a:pPr marL="91440">
                        <a:lnSpc>
                          <a:spcPct val="100000"/>
                        </a:lnSpc>
                      </a:pPr>
                      <a:r>
                        <a:rPr sz="1000" spc="-5">
                          <a:latin typeface="Verdana"/>
                          <a:cs typeface="Verdana"/>
                        </a:rPr>
                        <a:t>Manual test</a:t>
                      </a:r>
                      <a:r>
                        <a:rPr sz="1000" spc="30">
                          <a:latin typeface="Verdana"/>
                          <a:cs typeface="Verdana"/>
                        </a:rPr>
                        <a:t> </a:t>
                      </a:r>
                      <a:r>
                        <a:rPr sz="1000" spc="-5">
                          <a:latin typeface="Verdana"/>
                          <a:cs typeface="Verdana"/>
                        </a:rPr>
                        <a:t>scripts</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1440" marR="261620">
                        <a:lnSpc>
                          <a:spcPct val="100000"/>
                        </a:lnSpc>
                        <a:spcBef>
                          <a:spcPts val="525"/>
                        </a:spcBef>
                      </a:pPr>
                      <a:r>
                        <a:rPr sz="1000" spc="-10">
                          <a:latin typeface="Verdana"/>
                          <a:cs typeface="Verdana"/>
                        </a:rPr>
                        <a:t>Test </a:t>
                      </a:r>
                      <a:r>
                        <a:rPr sz="1000">
                          <a:latin typeface="Verdana"/>
                          <a:cs typeface="Verdana"/>
                        </a:rPr>
                        <a:t>specific </a:t>
                      </a:r>
                      <a:r>
                        <a:rPr sz="1000" spc="-5">
                          <a:latin typeface="Verdana"/>
                          <a:cs typeface="Verdana"/>
                        </a:rPr>
                        <a:t>UAT scripts/scenarios </a:t>
                      </a:r>
                      <a:r>
                        <a:rPr sz="1000">
                          <a:latin typeface="Verdana"/>
                          <a:cs typeface="Verdana"/>
                        </a:rPr>
                        <a:t>side </a:t>
                      </a:r>
                      <a:r>
                        <a:rPr sz="1000" spc="-5">
                          <a:latin typeface="Verdana"/>
                          <a:cs typeface="Verdana"/>
                        </a:rPr>
                        <a:t>by </a:t>
                      </a:r>
                      <a:r>
                        <a:rPr sz="1000">
                          <a:latin typeface="Verdana"/>
                          <a:cs typeface="Verdana"/>
                        </a:rPr>
                        <a:t>side with </a:t>
                      </a:r>
                      <a:r>
                        <a:rPr sz="1000" spc="-5">
                          <a:latin typeface="Verdana"/>
                          <a:cs typeface="Verdana"/>
                        </a:rPr>
                        <a:t>the </a:t>
                      </a:r>
                      <a:r>
                        <a:rPr sz="1000">
                          <a:latin typeface="Verdana"/>
                          <a:cs typeface="Verdana"/>
                        </a:rPr>
                        <a:t>client. </a:t>
                      </a:r>
                      <a:r>
                        <a:rPr sz="1000" spc="-5">
                          <a:latin typeface="Verdana"/>
                          <a:cs typeface="Verdana"/>
                        </a:rPr>
                        <a:t>Data </a:t>
                      </a:r>
                      <a:r>
                        <a:rPr sz="1000">
                          <a:latin typeface="Verdana"/>
                          <a:cs typeface="Verdana"/>
                        </a:rPr>
                        <a:t>is </a:t>
                      </a:r>
                      <a:r>
                        <a:rPr sz="1000" spc="-10">
                          <a:latin typeface="Verdana"/>
                          <a:cs typeface="Verdana"/>
                        </a:rPr>
                        <a:t>prepared </a:t>
                      </a:r>
                      <a:r>
                        <a:rPr sz="1000" spc="-5">
                          <a:latin typeface="Verdana"/>
                          <a:cs typeface="Verdana"/>
                        </a:rPr>
                        <a:t>by the  </a:t>
                      </a:r>
                      <a:r>
                        <a:rPr sz="1000">
                          <a:latin typeface="Verdana"/>
                          <a:cs typeface="Verdana"/>
                        </a:rPr>
                        <a:t>client </a:t>
                      </a:r>
                      <a:r>
                        <a:rPr sz="1000" spc="-5">
                          <a:latin typeface="Verdana"/>
                          <a:cs typeface="Verdana"/>
                        </a:rPr>
                        <a:t>and Capgemini</a:t>
                      </a:r>
                      <a:r>
                        <a:rPr sz="1000">
                          <a:latin typeface="Verdana"/>
                          <a:cs typeface="Verdana"/>
                        </a:rPr>
                        <a:t> </a:t>
                      </a:r>
                      <a:r>
                        <a:rPr sz="1000" spc="-5">
                          <a:latin typeface="Verdana"/>
                          <a:cs typeface="Verdana"/>
                        </a:rPr>
                        <a:t>testers</a:t>
                      </a:r>
                      <a:endParaRPr sz="1000">
                        <a:latin typeface="Verdana"/>
                        <a:cs typeface="Verdana"/>
                      </a:endParaRPr>
                    </a:p>
                  </a:txBody>
                  <a:tcPr marL="0" marR="0" marT="666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2710" marR="320040">
                        <a:lnSpc>
                          <a:spcPct val="100000"/>
                        </a:lnSpc>
                        <a:spcBef>
                          <a:spcPts val="525"/>
                        </a:spcBef>
                      </a:pPr>
                      <a:r>
                        <a:rPr sz="1000" spc="-5">
                          <a:latin typeface="Verdana"/>
                          <a:cs typeface="Verdana"/>
                        </a:rPr>
                        <a:t>Capgemini </a:t>
                      </a:r>
                      <a:r>
                        <a:rPr sz="1000" spc="-10">
                          <a:latin typeface="Verdana"/>
                          <a:cs typeface="Verdana"/>
                        </a:rPr>
                        <a:t>Testers </a:t>
                      </a:r>
                      <a:r>
                        <a:rPr sz="1000" spc="-5">
                          <a:latin typeface="Verdana"/>
                          <a:cs typeface="Verdana"/>
                        </a:rPr>
                        <a:t>+ </a:t>
                      </a:r>
                      <a:r>
                        <a:rPr sz="1000">
                          <a:latin typeface="Verdana"/>
                          <a:cs typeface="Verdana"/>
                        </a:rPr>
                        <a:t>Client  </a:t>
                      </a:r>
                      <a:r>
                        <a:rPr sz="1000" spc="-5">
                          <a:latin typeface="Verdana"/>
                          <a:cs typeface="Verdana"/>
                        </a:rPr>
                        <a:t>testers/users</a:t>
                      </a:r>
                      <a:endParaRPr sz="1000">
                        <a:latin typeface="Verdana"/>
                        <a:cs typeface="Verdana"/>
                      </a:endParaRPr>
                    </a:p>
                  </a:txBody>
                  <a:tcPr marL="0" marR="0" marT="666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5"/>
                  </a:ext>
                </a:extLst>
              </a:tr>
              <a:tr h="437261">
                <a:tc>
                  <a:txBody>
                    <a:bodyPr/>
                    <a:lstStyle/>
                    <a:p>
                      <a:pPr marL="90805" marR="488950">
                        <a:lnSpc>
                          <a:spcPct val="100000"/>
                        </a:lnSpc>
                        <a:spcBef>
                          <a:spcPts val="525"/>
                        </a:spcBef>
                      </a:pPr>
                      <a:r>
                        <a:rPr sz="1000" spc="-5">
                          <a:latin typeface="Verdana"/>
                          <a:cs typeface="Verdana"/>
                        </a:rPr>
                        <a:t>Load </a:t>
                      </a:r>
                      <a:r>
                        <a:rPr sz="1000" spc="-10">
                          <a:latin typeface="Verdana"/>
                          <a:cs typeface="Verdana"/>
                        </a:rPr>
                        <a:t>Test </a:t>
                      </a:r>
                      <a:r>
                        <a:rPr sz="1000" spc="-5">
                          <a:latin typeface="Verdana"/>
                          <a:cs typeface="Verdana"/>
                        </a:rPr>
                        <a:t>&amp;  </a:t>
                      </a:r>
                      <a:r>
                        <a:rPr sz="1000">
                          <a:latin typeface="Verdana"/>
                          <a:cs typeface="Verdana"/>
                        </a:rPr>
                        <a:t>P</a:t>
                      </a:r>
                      <a:r>
                        <a:rPr sz="1000" spc="-10">
                          <a:latin typeface="Verdana"/>
                          <a:cs typeface="Verdana"/>
                        </a:rPr>
                        <a:t>e</a:t>
                      </a:r>
                      <a:r>
                        <a:rPr sz="1000" spc="-5">
                          <a:latin typeface="Verdana"/>
                          <a:cs typeface="Verdana"/>
                        </a:rPr>
                        <a:t>r</a:t>
                      </a:r>
                      <a:r>
                        <a:rPr sz="1000">
                          <a:latin typeface="Verdana"/>
                          <a:cs typeface="Verdana"/>
                        </a:rPr>
                        <a:t>f</a:t>
                      </a:r>
                      <a:r>
                        <a:rPr sz="1000" spc="-10">
                          <a:latin typeface="Verdana"/>
                          <a:cs typeface="Verdana"/>
                        </a:rPr>
                        <a:t>o</a:t>
                      </a:r>
                      <a:r>
                        <a:rPr sz="1000" spc="-5">
                          <a:latin typeface="Verdana"/>
                          <a:cs typeface="Verdana"/>
                        </a:rPr>
                        <a:t>r</a:t>
                      </a:r>
                      <a:r>
                        <a:rPr sz="1000">
                          <a:latin typeface="Verdana"/>
                          <a:cs typeface="Verdana"/>
                        </a:rPr>
                        <a:t>ma</a:t>
                      </a:r>
                      <a:r>
                        <a:rPr sz="1000" spc="5">
                          <a:latin typeface="Verdana"/>
                          <a:cs typeface="Verdana"/>
                        </a:rPr>
                        <a:t>n</a:t>
                      </a:r>
                      <a:r>
                        <a:rPr sz="1000">
                          <a:latin typeface="Verdana"/>
                          <a:cs typeface="Verdana"/>
                        </a:rPr>
                        <a:t>ce</a:t>
                      </a:r>
                    </a:p>
                  </a:txBody>
                  <a:tcPr marL="0" marR="0" marT="666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35"/>
                        </a:spcBef>
                      </a:pPr>
                      <a:endParaRPr sz="950">
                        <a:latin typeface="Times New Roman"/>
                        <a:cs typeface="Times New Roman"/>
                      </a:endParaRPr>
                    </a:p>
                    <a:p>
                      <a:pPr marL="91440">
                        <a:lnSpc>
                          <a:spcPct val="100000"/>
                        </a:lnSpc>
                      </a:pPr>
                      <a:r>
                        <a:rPr sz="1000" spc="-5">
                          <a:latin typeface="Verdana"/>
                          <a:cs typeface="Verdana"/>
                        </a:rPr>
                        <a:t>As provided by</a:t>
                      </a:r>
                      <a:r>
                        <a:rPr sz="1000" spc="15">
                          <a:latin typeface="Verdana"/>
                          <a:cs typeface="Verdana"/>
                        </a:rPr>
                        <a:t> </a:t>
                      </a:r>
                      <a:r>
                        <a:rPr sz="1000" spc="-5">
                          <a:latin typeface="Verdana"/>
                          <a:cs typeface="Verdana"/>
                        </a:rPr>
                        <a:t>vendor</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1440" marR="208279">
                        <a:lnSpc>
                          <a:spcPct val="100000"/>
                        </a:lnSpc>
                        <a:spcBef>
                          <a:spcPts val="525"/>
                        </a:spcBef>
                      </a:pPr>
                      <a:r>
                        <a:rPr sz="1000" spc="-5">
                          <a:latin typeface="Verdana"/>
                          <a:cs typeface="Verdana"/>
                        </a:rPr>
                        <a:t>Gauge normal system performance after </a:t>
                      </a:r>
                      <a:r>
                        <a:rPr sz="1000">
                          <a:latin typeface="Verdana"/>
                          <a:cs typeface="Verdana"/>
                        </a:rPr>
                        <a:t>loading </a:t>
                      </a:r>
                      <a:r>
                        <a:rPr sz="1000" spc="-5">
                          <a:latin typeface="Verdana"/>
                          <a:cs typeface="Verdana"/>
                        </a:rPr>
                        <a:t>the environment </a:t>
                      </a:r>
                      <a:r>
                        <a:rPr sz="1000">
                          <a:latin typeface="Verdana"/>
                          <a:cs typeface="Verdana"/>
                        </a:rPr>
                        <a:t>with </a:t>
                      </a:r>
                      <a:r>
                        <a:rPr sz="1000" spc="-5">
                          <a:latin typeface="Verdana"/>
                          <a:cs typeface="Verdana"/>
                        </a:rPr>
                        <a:t>a huge data set.  </a:t>
                      </a:r>
                      <a:r>
                        <a:rPr sz="1000">
                          <a:latin typeface="Verdana"/>
                          <a:cs typeface="Verdana"/>
                        </a:rPr>
                        <a:t>Particularly </a:t>
                      </a:r>
                      <a:r>
                        <a:rPr sz="1000" spc="-5">
                          <a:latin typeface="Verdana"/>
                          <a:cs typeface="Verdana"/>
                        </a:rPr>
                        <a:t>important </a:t>
                      </a:r>
                      <a:r>
                        <a:rPr sz="1000" spc="-10">
                          <a:latin typeface="Verdana"/>
                          <a:cs typeface="Verdana"/>
                        </a:rPr>
                        <a:t>for </a:t>
                      </a:r>
                      <a:r>
                        <a:rPr sz="1000" spc="-5">
                          <a:latin typeface="Verdana"/>
                          <a:cs typeface="Verdana"/>
                        </a:rPr>
                        <a:t>solutions </a:t>
                      </a:r>
                      <a:r>
                        <a:rPr sz="1000" spc="-10">
                          <a:latin typeface="Verdana"/>
                          <a:cs typeface="Verdana"/>
                        </a:rPr>
                        <a:t>where </a:t>
                      </a:r>
                      <a:r>
                        <a:rPr sz="1000" spc="-5">
                          <a:latin typeface="Verdana"/>
                          <a:cs typeface="Verdana"/>
                        </a:rPr>
                        <a:t>large data volumes are </a:t>
                      </a:r>
                      <a:r>
                        <a:rPr sz="1000" spc="-10">
                          <a:latin typeface="Verdana"/>
                          <a:cs typeface="Verdana"/>
                        </a:rPr>
                        <a:t>more</a:t>
                      </a:r>
                      <a:r>
                        <a:rPr sz="1000" spc="165">
                          <a:latin typeface="Verdana"/>
                          <a:cs typeface="Verdana"/>
                        </a:rPr>
                        <a:t> </a:t>
                      </a:r>
                      <a:r>
                        <a:rPr sz="1000">
                          <a:latin typeface="Verdana"/>
                          <a:cs typeface="Verdana"/>
                        </a:rPr>
                        <a:t>likely</a:t>
                      </a:r>
                      <a:r>
                        <a:rPr lang="it-IT" sz="1000">
                          <a:latin typeface="Verdana"/>
                          <a:cs typeface="Verdana"/>
                        </a:rPr>
                        <a:t>. </a:t>
                      </a:r>
                      <a:r>
                        <a:rPr lang="it-IT" sz="1000" err="1">
                          <a:latin typeface="Verdana"/>
                          <a:cs typeface="Verdana"/>
                        </a:rPr>
                        <a:t>Not</a:t>
                      </a:r>
                      <a:r>
                        <a:rPr lang="it-IT" sz="1000">
                          <a:latin typeface="Verdana"/>
                          <a:cs typeface="Verdana"/>
                        </a:rPr>
                        <a:t> </a:t>
                      </a:r>
                      <a:r>
                        <a:rPr lang="it-IT" sz="1000" err="1">
                          <a:latin typeface="Verdana"/>
                          <a:cs typeface="Verdana"/>
                        </a:rPr>
                        <a:t>included</a:t>
                      </a:r>
                      <a:r>
                        <a:rPr lang="it-IT" sz="1000">
                          <a:latin typeface="Verdana"/>
                          <a:cs typeface="Verdana"/>
                        </a:rPr>
                        <a:t> in </a:t>
                      </a:r>
                      <a:r>
                        <a:rPr lang="it-IT" sz="1000" err="1">
                          <a:latin typeface="Verdana"/>
                          <a:cs typeface="Verdana"/>
                        </a:rPr>
                        <a:t>this</a:t>
                      </a:r>
                      <a:r>
                        <a:rPr lang="it-IT" sz="1000">
                          <a:latin typeface="Verdana"/>
                          <a:cs typeface="Verdana"/>
                        </a:rPr>
                        <a:t> </a:t>
                      </a:r>
                      <a:r>
                        <a:rPr lang="it-IT" sz="1000" err="1">
                          <a:latin typeface="Verdana"/>
                          <a:cs typeface="Verdana"/>
                        </a:rPr>
                        <a:t>proposal</a:t>
                      </a:r>
                      <a:r>
                        <a:rPr lang="it-IT" sz="1000">
                          <a:latin typeface="Verdana"/>
                          <a:cs typeface="Verdana"/>
                        </a:rPr>
                        <a:t>, </a:t>
                      </a:r>
                      <a:r>
                        <a:rPr lang="it-IT" sz="1000" err="1">
                          <a:latin typeface="Verdana"/>
                          <a:cs typeface="Verdana"/>
                        </a:rPr>
                        <a:t>depending</a:t>
                      </a:r>
                      <a:r>
                        <a:rPr lang="it-IT" sz="1000">
                          <a:latin typeface="Verdana"/>
                          <a:cs typeface="Verdana"/>
                        </a:rPr>
                        <a:t> on </a:t>
                      </a:r>
                      <a:r>
                        <a:rPr lang="it-IT" sz="1000" err="1">
                          <a:latin typeface="Verdana"/>
                          <a:cs typeface="Verdana"/>
                        </a:rPr>
                        <a:t>customer</a:t>
                      </a:r>
                      <a:r>
                        <a:rPr lang="it-IT" sz="1000">
                          <a:latin typeface="Verdana"/>
                          <a:cs typeface="Verdana"/>
                        </a:rPr>
                        <a:t> </a:t>
                      </a:r>
                      <a:r>
                        <a:rPr lang="it-IT" sz="1000" err="1">
                          <a:latin typeface="Verdana"/>
                          <a:cs typeface="Verdana"/>
                        </a:rPr>
                        <a:t>requirements</a:t>
                      </a:r>
                      <a:r>
                        <a:rPr lang="it-IT" sz="1000">
                          <a:latin typeface="Verdana"/>
                          <a:cs typeface="Verdana"/>
                        </a:rPr>
                        <a:t> an ad-hoc </a:t>
                      </a:r>
                      <a:r>
                        <a:rPr lang="it-IT" sz="1000" err="1">
                          <a:latin typeface="Verdana"/>
                          <a:cs typeface="Verdana"/>
                        </a:rPr>
                        <a:t>evaluation</a:t>
                      </a:r>
                      <a:r>
                        <a:rPr lang="it-IT" sz="1000">
                          <a:latin typeface="Verdana"/>
                          <a:cs typeface="Verdana"/>
                        </a:rPr>
                        <a:t> can be </a:t>
                      </a:r>
                      <a:r>
                        <a:rPr lang="it-IT" sz="1000" err="1">
                          <a:latin typeface="Verdana"/>
                          <a:cs typeface="Verdana"/>
                        </a:rPr>
                        <a:t>proposed</a:t>
                      </a:r>
                      <a:endParaRPr sz="1000">
                        <a:latin typeface="Verdana"/>
                        <a:cs typeface="Verdana"/>
                      </a:endParaRPr>
                    </a:p>
                  </a:txBody>
                  <a:tcPr marL="0" marR="0" marT="666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35"/>
                        </a:spcBef>
                      </a:pPr>
                      <a:endParaRPr sz="950">
                        <a:latin typeface="Times New Roman"/>
                        <a:cs typeface="Times New Roman"/>
                      </a:endParaRPr>
                    </a:p>
                    <a:p>
                      <a:pPr marL="92710">
                        <a:lnSpc>
                          <a:spcPct val="100000"/>
                        </a:lnSpc>
                      </a:pPr>
                      <a:r>
                        <a:rPr sz="1000" spc="-5">
                          <a:latin typeface="Verdana"/>
                          <a:cs typeface="Verdana"/>
                        </a:rPr>
                        <a:t>Capgemini + Vendor</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6"/>
                  </a:ext>
                </a:extLst>
              </a:tr>
              <a:tr h="605599">
                <a:tc>
                  <a:txBody>
                    <a:bodyPr/>
                    <a:lstStyle/>
                    <a:p>
                      <a:pPr>
                        <a:lnSpc>
                          <a:spcPct val="100000"/>
                        </a:lnSpc>
                        <a:spcBef>
                          <a:spcPts val="5"/>
                        </a:spcBef>
                      </a:pPr>
                      <a:endParaRPr sz="1550">
                        <a:latin typeface="Times New Roman"/>
                        <a:cs typeface="Times New Roman"/>
                      </a:endParaRPr>
                    </a:p>
                    <a:p>
                      <a:pPr marL="90805">
                        <a:lnSpc>
                          <a:spcPct val="100000"/>
                        </a:lnSpc>
                      </a:pPr>
                      <a:r>
                        <a:rPr sz="1000" spc="-5">
                          <a:latin typeface="Verdana"/>
                          <a:cs typeface="Verdana"/>
                        </a:rPr>
                        <a:t>Smoke</a:t>
                      </a:r>
                      <a:r>
                        <a:rPr sz="1000" spc="15">
                          <a:latin typeface="Verdana"/>
                          <a:cs typeface="Verdana"/>
                        </a:rPr>
                        <a:t> </a:t>
                      </a:r>
                      <a:r>
                        <a:rPr sz="1000" spc="-10">
                          <a:latin typeface="Verdana"/>
                          <a:cs typeface="Verdana"/>
                        </a:rPr>
                        <a:t>Test</a:t>
                      </a:r>
                      <a:endParaRPr sz="1000">
                        <a:latin typeface="Verdana"/>
                        <a:cs typeface="Verdana"/>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a:lnSpc>
                          <a:spcPct val="100000"/>
                        </a:lnSpc>
                        <a:spcBef>
                          <a:spcPts val="5"/>
                        </a:spcBef>
                      </a:pPr>
                      <a:endParaRPr sz="1550">
                        <a:latin typeface="Times New Roman"/>
                        <a:cs typeface="Times New Roman"/>
                      </a:endParaRPr>
                    </a:p>
                    <a:p>
                      <a:pPr marL="91440">
                        <a:lnSpc>
                          <a:spcPct val="100000"/>
                        </a:lnSpc>
                      </a:pPr>
                      <a:r>
                        <a:rPr sz="1000" spc="-5">
                          <a:latin typeface="Verdana"/>
                          <a:cs typeface="Verdana"/>
                        </a:rPr>
                        <a:t>Manual test</a:t>
                      </a:r>
                      <a:r>
                        <a:rPr sz="1000" spc="30">
                          <a:latin typeface="Verdana"/>
                          <a:cs typeface="Verdana"/>
                        </a:rPr>
                        <a:t> </a:t>
                      </a:r>
                      <a:r>
                        <a:rPr sz="1000" spc="-5">
                          <a:latin typeface="Verdana"/>
                          <a:cs typeface="Verdana"/>
                        </a:rPr>
                        <a:t>scripts</a:t>
                      </a:r>
                      <a:endParaRPr sz="1000">
                        <a:latin typeface="Verdana"/>
                        <a:cs typeface="Verdana"/>
                      </a:endParaRPr>
                    </a:p>
                  </a:txBody>
                  <a:tcPr marL="0" marR="0" marT="6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1440" marR="621665">
                        <a:lnSpc>
                          <a:spcPct val="100000"/>
                        </a:lnSpc>
                        <a:spcBef>
                          <a:spcPts val="590"/>
                        </a:spcBef>
                      </a:pPr>
                      <a:r>
                        <a:rPr sz="1000" spc="-5">
                          <a:latin typeface="Verdana"/>
                          <a:cs typeface="Verdana"/>
                        </a:rPr>
                        <a:t>Confirm </a:t>
                      </a:r>
                      <a:r>
                        <a:rPr sz="1000">
                          <a:latin typeface="Verdana"/>
                          <a:cs typeface="Verdana"/>
                        </a:rPr>
                        <a:t>stability </a:t>
                      </a:r>
                      <a:r>
                        <a:rPr sz="1000" spc="-5">
                          <a:latin typeface="Verdana"/>
                          <a:cs typeface="Verdana"/>
                        </a:rPr>
                        <a:t>based on the compliance of </a:t>
                      </a:r>
                      <a:r>
                        <a:rPr sz="1000">
                          <a:latin typeface="Verdana"/>
                          <a:cs typeface="Verdana"/>
                        </a:rPr>
                        <a:t>basic functionalities </a:t>
                      </a:r>
                      <a:r>
                        <a:rPr sz="1000" spc="-5">
                          <a:latin typeface="Verdana"/>
                          <a:cs typeface="Verdana"/>
                        </a:rPr>
                        <a:t>and features by  </a:t>
                      </a:r>
                      <a:r>
                        <a:rPr sz="1000">
                          <a:latin typeface="Verdana"/>
                          <a:cs typeface="Verdana"/>
                        </a:rPr>
                        <a:t>running </a:t>
                      </a:r>
                      <a:r>
                        <a:rPr sz="1000" spc="-5">
                          <a:latin typeface="Verdana"/>
                          <a:cs typeface="Verdana"/>
                        </a:rPr>
                        <a:t>controlled and </a:t>
                      </a:r>
                      <a:r>
                        <a:rPr sz="1000">
                          <a:latin typeface="Verdana"/>
                          <a:cs typeface="Verdana"/>
                        </a:rPr>
                        <a:t>limited </a:t>
                      </a:r>
                      <a:r>
                        <a:rPr sz="1000" spc="-5">
                          <a:latin typeface="Verdana"/>
                          <a:cs typeface="Verdana"/>
                        </a:rPr>
                        <a:t>tests </a:t>
                      </a:r>
                      <a:r>
                        <a:rPr sz="1000">
                          <a:latin typeface="Verdana"/>
                          <a:cs typeface="Verdana"/>
                        </a:rPr>
                        <a:t>in </a:t>
                      </a:r>
                      <a:r>
                        <a:rPr sz="1000" spc="-5">
                          <a:latin typeface="Verdana"/>
                          <a:cs typeface="Verdana"/>
                        </a:rPr>
                        <a:t>production ensuring that any test data </a:t>
                      </a:r>
                      <a:r>
                        <a:rPr sz="1000">
                          <a:latin typeface="Verdana"/>
                          <a:cs typeface="Verdana"/>
                        </a:rPr>
                        <a:t>is  </a:t>
                      </a:r>
                      <a:r>
                        <a:rPr sz="1000" spc="-10">
                          <a:latin typeface="Verdana"/>
                          <a:cs typeface="Verdana"/>
                        </a:rPr>
                        <a:t>destroyed</a:t>
                      </a:r>
                      <a:endParaRPr sz="1000">
                        <a:latin typeface="Verdana"/>
                        <a:cs typeface="Verdana"/>
                      </a:endParaRPr>
                    </a:p>
                  </a:txBody>
                  <a:tcPr marL="0" marR="0" marT="749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92710" marR="320040">
                        <a:lnSpc>
                          <a:spcPct val="100000"/>
                        </a:lnSpc>
                        <a:spcBef>
                          <a:spcPts val="590"/>
                        </a:spcBef>
                      </a:pPr>
                      <a:r>
                        <a:rPr sz="1000" spc="-5">
                          <a:latin typeface="Verdana"/>
                          <a:cs typeface="Verdana"/>
                        </a:rPr>
                        <a:t>Capgemini </a:t>
                      </a:r>
                      <a:r>
                        <a:rPr sz="1000" spc="-10">
                          <a:latin typeface="Verdana"/>
                          <a:cs typeface="Verdana"/>
                        </a:rPr>
                        <a:t>Testers </a:t>
                      </a:r>
                      <a:r>
                        <a:rPr sz="1000" spc="-5">
                          <a:latin typeface="Verdana"/>
                          <a:cs typeface="Verdana"/>
                        </a:rPr>
                        <a:t>+ </a:t>
                      </a:r>
                      <a:r>
                        <a:rPr sz="1000">
                          <a:latin typeface="Verdana"/>
                          <a:cs typeface="Verdana"/>
                        </a:rPr>
                        <a:t>Client  </a:t>
                      </a:r>
                      <a:r>
                        <a:rPr sz="1000" spc="-5">
                          <a:latin typeface="Verdana"/>
                          <a:cs typeface="Verdana"/>
                        </a:rPr>
                        <a:t>testers/users</a:t>
                      </a:r>
                      <a:endParaRPr sz="1000">
                        <a:latin typeface="Verdana"/>
                        <a:cs typeface="Verdana"/>
                      </a:endParaRPr>
                    </a:p>
                  </a:txBody>
                  <a:tcPr marL="0" marR="0" marT="749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7"/>
                  </a:ext>
                </a:extLst>
              </a:tr>
              <a:tr h="437324">
                <a:tc>
                  <a:txBody>
                    <a:bodyPr/>
                    <a:lstStyle/>
                    <a:p>
                      <a:pPr>
                        <a:lnSpc>
                          <a:spcPct val="100000"/>
                        </a:lnSpc>
                        <a:spcBef>
                          <a:spcPts val="35"/>
                        </a:spcBef>
                      </a:pPr>
                      <a:endParaRPr sz="950">
                        <a:latin typeface="Times New Roman"/>
                        <a:cs typeface="Times New Roman"/>
                      </a:endParaRPr>
                    </a:p>
                    <a:p>
                      <a:pPr marL="90805">
                        <a:lnSpc>
                          <a:spcPct val="100000"/>
                        </a:lnSpc>
                      </a:pPr>
                      <a:r>
                        <a:rPr sz="1000" spc="-5">
                          <a:latin typeface="Verdana"/>
                          <a:cs typeface="Verdana"/>
                        </a:rPr>
                        <a:t>Security</a:t>
                      </a:r>
                      <a:r>
                        <a:rPr sz="1000" spc="5">
                          <a:latin typeface="Verdana"/>
                          <a:cs typeface="Verdana"/>
                        </a:rPr>
                        <a:t> </a:t>
                      </a:r>
                      <a:r>
                        <a:rPr sz="1000" spc="-10">
                          <a:latin typeface="Verdana"/>
                          <a:cs typeface="Verdana"/>
                        </a:rPr>
                        <a:t>Test</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a:lnSpc>
                          <a:spcPct val="100000"/>
                        </a:lnSpc>
                        <a:spcBef>
                          <a:spcPts val="35"/>
                        </a:spcBef>
                      </a:pPr>
                      <a:endParaRPr sz="950">
                        <a:latin typeface="Times New Roman"/>
                        <a:cs typeface="Times New Roman"/>
                      </a:endParaRPr>
                    </a:p>
                    <a:p>
                      <a:pPr marL="91440">
                        <a:lnSpc>
                          <a:spcPct val="100000"/>
                        </a:lnSpc>
                      </a:pPr>
                      <a:r>
                        <a:rPr sz="1000" spc="-10">
                          <a:latin typeface="Verdana"/>
                          <a:cs typeface="Verdana"/>
                        </a:rPr>
                        <a:t>CheckMark</a:t>
                      </a:r>
                      <a:endParaRPr sz="1000">
                        <a:latin typeface="Verdana"/>
                        <a:cs typeface="Verdana"/>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1440" marR="165100">
                        <a:lnSpc>
                          <a:spcPct val="100000"/>
                        </a:lnSpc>
                        <a:spcBef>
                          <a:spcPts val="530"/>
                        </a:spcBef>
                      </a:pPr>
                      <a:r>
                        <a:rPr sz="1000">
                          <a:latin typeface="Verdana"/>
                          <a:cs typeface="Verdana"/>
                        </a:rPr>
                        <a:t>Quality </a:t>
                      </a:r>
                      <a:r>
                        <a:rPr sz="1000" spc="-5">
                          <a:latin typeface="Verdana"/>
                          <a:cs typeface="Verdana"/>
                        </a:rPr>
                        <a:t>assurance </a:t>
                      </a:r>
                      <a:r>
                        <a:rPr sz="1000" spc="-10">
                          <a:latin typeface="Verdana"/>
                          <a:cs typeface="Verdana"/>
                        </a:rPr>
                        <a:t>for </a:t>
                      </a:r>
                      <a:r>
                        <a:rPr sz="1000" spc="-5">
                          <a:latin typeface="Verdana"/>
                          <a:cs typeface="Verdana"/>
                        </a:rPr>
                        <a:t>security should be </a:t>
                      </a:r>
                      <a:r>
                        <a:rPr sz="1000">
                          <a:latin typeface="Verdana"/>
                          <a:cs typeface="Verdana"/>
                        </a:rPr>
                        <a:t>built within </a:t>
                      </a:r>
                      <a:r>
                        <a:rPr sz="1000" spc="-10">
                          <a:latin typeface="Verdana"/>
                          <a:cs typeface="Verdana"/>
                        </a:rPr>
                        <a:t>every </a:t>
                      </a:r>
                      <a:r>
                        <a:rPr sz="1000" spc="-5">
                          <a:latin typeface="Verdana"/>
                          <a:cs typeface="Verdana"/>
                        </a:rPr>
                        <a:t>custom </a:t>
                      </a:r>
                      <a:r>
                        <a:rPr sz="1000" spc="-10">
                          <a:latin typeface="Verdana"/>
                          <a:cs typeface="Verdana"/>
                        </a:rPr>
                        <a:t>developed </a:t>
                      </a:r>
                      <a:r>
                        <a:rPr sz="1000" spc="-5">
                          <a:latin typeface="Verdana"/>
                          <a:cs typeface="Verdana"/>
                        </a:rPr>
                        <a:t>element of  the solution, and should be tested and </a:t>
                      </a:r>
                      <a:r>
                        <a:rPr sz="1000" spc="-10">
                          <a:latin typeface="Verdana"/>
                          <a:cs typeface="Verdana"/>
                        </a:rPr>
                        <a:t>reviewed </a:t>
                      </a:r>
                      <a:r>
                        <a:rPr sz="1000" spc="-5">
                          <a:latin typeface="Verdana"/>
                          <a:cs typeface="Verdana"/>
                        </a:rPr>
                        <a:t>at early</a:t>
                      </a:r>
                      <a:r>
                        <a:rPr sz="1000" spc="160">
                          <a:latin typeface="Verdana"/>
                          <a:cs typeface="Verdana"/>
                        </a:rPr>
                        <a:t> </a:t>
                      </a:r>
                      <a:r>
                        <a:rPr sz="1000" spc="-5">
                          <a:latin typeface="Verdana"/>
                          <a:cs typeface="Verdana"/>
                        </a:rPr>
                        <a:t>stages.</a:t>
                      </a:r>
                      <a:endParaRPr sz="1000">
                        <a:latin typeface="Verdana"/>
                        <a:cs typeface="Verdana"/>
                      </a:endParaRPr>
                    </a:p>
                  </a:txBody>
                  <a:tcPr marL="0" marR="0" marT="673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tc>
                  <a:txBody>
                    <a:bodyPr/>
                    <a:lstStyle/>
                    <a:p>
                      <a:pPr marL="92710" marR="102870">
                        <a:lnSpc>
                          <a:spcPct val="100000"/>
                        </a:lnSpc>
                        <a:spcBef>
                          <a:spcPts val="530"/>
                        </a:spcBef>
                      </a:pPr>
                      <a:r>
                        <a:rPr sz="1000" spc="-5">
                          <a:latin typeface="Verdana"/>
                          <a:cs typeface="Verdana"/>
                        </a:rPr>
                        <a:t>Capgemini Architects +  Capgemini Security</a:t>
                      </a:r>
                      <a:r>
                        <a:rPr sz="1000" spc="-10">
                          <a:latin typeface="Verdana"/>
                          <a:cs typeface="Verdana"/>
                        </a:rPr>
                        <a:t> </a:t>
                      </a:r>
                      <a:r>
                        <a:rPr sz="1000">
                          <a:latin typeface="Verdana"/>
                          <a:cs typeface="Verdana"/>
                        </a:rPr>
                        <a:t>Specialists</a:t>
                      </a:r>
                    </a:p>
                  </a:txBody>
                  <a:tcPr marL="0" marR="0" marT="673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3D3D3"/>
                    </a:solid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4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9" name="object 49"/>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4</a:t>
            </a:fld>
            <a:endParaRPr/>
          </a:p>
        </p:txBody>
      </p:sp>
      <p:sp>
        <p:nvSpPr>
          <p:cNvPr id="47" name="object 47"/>
          <p:cNvSpPr txBox="1">
            <a:spLocks noGrp="1"/>
          </p:cNvSpPr>
          <p:nvPr>
            <p:ph type="title"/>
          </p:nvPr>
        </p:nvSpPr>
        <p:spPr>
          <a:xfrm>
            <a:off x="214680" y="318896"/>
            <a:ext cx="6628765" cy="422275"/>
          </a:xfrm>
          <a:prstGeom prst="rect">
            <a:avLst/>
          </a:prstGeom>
        </p:spPr>
        <p:txBody>
          <a:bodyPr vert="horz" wrap="square" lIns="0" tIns="12700" rIns="0" bIns="0" rtlCol="0">
            <a:spAutoFit/>
          </a:bodyPr>
          <a:lstStyle/>
          <a:p>
            <a:pPr marL="12700">
              <a:lnSpc>
                <a:spcPct val="100000"/>
              </a:lnSpc>
              <a:spcBef>
                <a:spcPts val="100"/>
              </a:spcBef>
            </a:pPr>
            <a:r>
              <a:rPr sz="2600" spc="-10"/>
              <a:t>Capgemini’s </a:t>
            </a:r>
            <a:r>
              <a:rPr sz="2600" spc="-40"/>
              <a:t>Testing </a:t>
            </a:r>
            <a:r>
              <a:rPr sz="2600" spc="-5"/>
              <a:t>Strategy </a:t>
            </a:r>
            <a:r>
              <a:rPr sz="2600"/>
              <a:t>for</a:t>
            </a:r>
            <a:r>
              <a:rPr sz="2600" spc="-30"/>
              <a:t> </a:t>
            </a:r>
            <a:r>
              <a:rPr sz="2600"/>
              <a:t>Marelli</a:t>
            </a:r>
          </a:p>
        </p:txBody>
      </p:sp>
      <p:sp>
        <p:nvSpPr>
          <p:cNvPr id="51" name="Rectangle: Rounded Corners 18">
            <a:extLst>
              <a:ext uri="{FF2B5EF4-FFF2-40B4-BE49-F238E27FC236}">
                <a16:creationId xmlns:a16="http://schemas.microsoft.com/office/drawing/2014/main" id="{1245C361-4D74-4762-8200-6AA9C36158B3}"/>
              </a:ext>
            </a:extLst>
          </p:cNvPr>
          <p:cNvSpPr/>
          <p:nvPr/>
        </p:nvSpPr>
        <p:spPr>
          <a:xfrm>
            <a:off x="3238680" y="2133490"/>
            <a:ext cx="5861436" cy="914400"/>
          </a:xfrm>
          <a:prstGeom prst="rect">
            <a:avLst/>
          </a:prstGeom>
          <a:solidFill>
            <a:srgbClr val="FFFFFF"/>
          </a:solidFill>
          <a:ln w="19050">
            <a:solidFill>
              <a:srgbClr val="12ABDB"/>
            </a:solid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cs typeface="Arial" pitchFamily="34" charset="0"/>
            </a:endParaRPr>
          </a:p>
        </p:txBody>
      </p:sp>
      <p:sp>
        <p:nvSpPr>
          <p:cNvPr id="52" name="Rectangle: Rounded Corners 19">
            <a:extLst>
              <a:ext uri="{FF2B5EF4-FFF2-40B4-BE49-F238E27FC236}">
                <a16:creationId xmlns:a16="http://schemas.microsoft.com/office/drawing/2014/main" id="{5CE0919A-0A5A-48C4-9063-78D2883147A3}"/>
              </a:ext>
            </a:extLst>
          </p:cNvPr>
          <p:cNvSpPr/>
          <p:nvPr/>
        </p:nvSpPr>
        <p:spPr>
          <a:xfrm>
            <a:off x="3234431" y="3137361"/>
            <a:ext cx="5861443" cy="914400"/>
          </a:xfrm>
          <a:prstGeom prst="rect">
            <a:avLst/>
          </a:prstGeom>
          <a:solidFill>
            <a:srgbClr val="FFFFFF"/>
          </a:solidFill>
          <a:ln w="19050">
            <a:solidFill>
              <a:srgbClr val="2B143D">
                <a:lumMod val="75000"/>
                <a:lumOff val="25000"/>
              </a:srgbClr>
            </a:solidFill>
          </a:ln>
          <a:effectLst/>
        </p:spPr>
        <p:txBody>
          <a:bodyPr rtlCol="0" anchor="ct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solidFill>
                <a:prstClr val="white"/>
              </a:solidFill>
              <a:effectLst/>
              <a:uLnTx/>
              <a:uFillTx/>
              <a:latin typeface="Verdana"/>
              <a:cs typeface="Arial" pitchFamily="34" charset="0"/>
            </a:endParaRPr>
          </a:p>
        </p:txBody>
      </p:sp>
      <p:sp>
        <p:nvSpPr>
          <p:cNvPr id="53" name="Rectangle: Rounded Corners 20">
            <a:extLst>
              <a:ext uri="{FF2B5EF4-FFF2-40B4-BE49-F238E27FC236}">
                <a16:creationId xmlns:a16="http://schemas.microsoft.com/office/drawing/2014/main" id="{4B099F60-A790-4163-A2AD-32AAB66E27E9}"/>
              </a:ext>
            </a:extLst>
          </p:cNvPr>
          <p:cNvSpPr/>
          <p:nvPr/>
        </p:nvSpPr>
        <p:spPr>
          <a:xfrm>
            <a:off x="3234431" y="4143771"/>
            <a:ext cx="5861443" cy="914400"/>
          </a:xfrm>
          <a:prstGeom prst="rect">
            <a:avLst/>
          </a:prstGeom>
          <a:solidFill>
            <a:srgbClr val="FFFFFF"/>
          </a:solidFill>
          <a:ln w="19050">
            <a:solidFill>
              <a:srgbClr val="FFFFFF">
                <a:lumMod val="75000"/>
              </a:srgbClr>
            </a:solid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Verdana"/>
              <a:cs typeface="Arial" pitchFamily="34" charset="0"/>
            </a:endParaRPr>
          </a:p>
        </p:txBody>
      </p:sp>
      <p:sp>
        <p:nvSpPr>
          <p:cNvPr id="54" name="Rectangle: Rounded Corners 4">
            <a:extLst>
              <a:ext uri="{FF2B5EF4-FFF2-40B4-BE49-F238E27FC236}">
                <a16:creationId xmlns:a16="http://schemas.microsoft.com/office/drawing/2014/main" id="{41CFE645-7A1A-4492-AB12-DE235C29927B}"/>
              </a:ext>
            </a:extLst>
          </p:cNvPr>
          <p:cNvSpPr/>
          <p:nvPr/>
        </p:nvSpPr>
        <p:spPr>
          <a:xfrm>
            <a:off x="3234431" y="1124539"/>
            <a:ext cx="5822661" cy="914400"/>
          </a:xfrm>
          <a:prstGeom prst="rect">
            <a:avLst/>
          </a:prstGeom>
          <a:solidFill>
            <a:srgbClr val="FFFFFF"/>
          </a:solidFill>
          <a:ln w="19050" cap="flat" cmpd="sng" algn="ctr">
            <a:solidFill>
              <a:srgbClr val="0070AD"/>
            </a:solidFill>
            <a:prstDash val="solid"/>
          </a:ln>
          <a:effectLst/>
        </p:spPr>
        <p:txBody>
          <a:bodyPr rtlCol="0" anchor="ctr"/>
          <a:lstStyle/>
          <a:p>
            <a:pPr marL="115888" marR="0" lvl="0" indent="-115888"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solidFill>
                <a:prstClr val="white"/>
              </a:solidFill>
              <a:effectLst/>
              <a:uLnTx/>
              <a:uFillTx/>
              <a:latin typeface="Verdana"/>
              <a:cs typeface="Arial" pitchFamily="34" charset="0"/>
            </a:endParaRPr>
          </a:p>
        </p:txBody>
      </p:sp>
      <p:sp>
        <p:nvSpPr>
          <p:cNvPr id="55" name="Rectangle: Rounded Corners 4">
            <a:extLst>
              <a:ext uri="{FF2B5EF4-FFF2-40B4-BE49-F238E27FC236}">
                <a16:creationId xmlns:a16="http://schemas.microsoft.com/office/drawing/2014/main" id="{7EB9BAE6-9F18-4395-AB08-7A9AE5FBC28D}"/>
              </a:ext>
            </a:extLst>
          </p:cNvPr>
          <p:cNvSpPr/>
          <p:nvPr/>
        </p:nvSpPr>
        <p:spPr>
          <a:xfrm>
            <a:off x="9009246" y="1124539"/>
            <a:ext cx="2716549" cy="914400"/>
          </a:xfrm>
          <a:prstGeom prst="rect">
            <a:avLst/>
          </a:prstGeom>
          <a:solidFill>
            <a:srgbClr val="0070AD"/>
          </a:solidFill>
          <a:ln w="19050" cap="flat" cmpd="sng" algn="ctr">
            <a:noFill/>
            <a:prstDash val="solid"/>
          </a:ln>
          <a:effectLst/>
        </p:spPr>
        <p:txBody>
          <a:bodyPr rtlCol="0" anchor="ctr"/>
          <a:lstStyle/>
          <a:p>
            <a:pPr marL="176213" marR="0" lvl="0" indent="-176213" defTabSz="91440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200" b="0" i="0" u="none" strike="noStrike" kern="0" cap="none" spc="0" normalizeH="0" baseline="0" noProof="0">
                <a:ln>
                  <a:noFill/>
                </a:ln>
                <a:solidFill>
                  <a:prstClr val="white"/>
                </a:solidFill>
                <a:effectLst/>
                <a:uLnTx/>
                <a:uFillTx/>
                <a:latin typeface="Verdana"/>
                <a:cs typeface="Arial" pitchFamily="34" charset="0"/>
              </a:rPr>
              <a:t>Capgemini functional team</a:t>
            </a:r>
          </a:p>
        </p:txBody>
      </p:sp>
      <p:sp>
        <p:nvSpPr>
          <p:cNvPr id="56" name="Round Same Side Corner Rectangle 4">
            <a:extLst>
              <a:ext uri="{FF2B5EF4-FFF2-40B4-BE49-F238E27FC236}">
                <a16:creationId xmlns:a16="http://schemas.microsoft.com/office/drawing/2014/main" id="{AEFDD947-409E-4390-B272-5DE9CC0CD9B4}"/>
              </a:ext>
            </a:extLst>
          </p:cNvPr>
          <p:cNvSpPr/>
          <p:nvPr/>
        </p:nvSpPr>
        <p:spPr>
          <a:xfrm>
            <a:off x="3305259" y="1140723"/>
            <a:ext cx="5273965" cy="914400"/>
          </a:xfrm>
          <a:prstGeom prst="rect">
            <a:avLst/>
          </a:prstGeom>
          <a:noFill/>
          <a:ln>
            <a:noFill/>
          </a:ln>
          <a:effectLst/>
        </p:spPr>
        <p:txBody>
          <a:bodyPr spcFirstLastPara="0" vert="horz" wrap="square" lIns="41910" tIns="20955" rIns="41910" bIns="20955" numCol="1" spcCol="1270" anchor="ctr" anchorCtr="0">
            <a:noAutofit/>
          </a:bodyPr>
          <a:lstStyle/>
          <a:p>
            <a:pPr marL="0" lvl="1" defTabSz="488950">
              <a:lnSpc>
                <a:spcPct val="90000"/>
              </a:lnSpc>
              <a:spcBef>
                <a:spcPct val="0"/>
              </a:spcBef>
              <a:spcAft>
                <a:spcPct val="15000"/>
              </a:spcAft>
              <a:buClr>
                <a:srgbClr val="0070AD"/>
              </a:buClr>
              <a:defRPr/>
            </a:pPr>
            <a:r>
              <a:rPr lang="en-US" sz="1100" i="1" kern="0">
                <a:solidFill>
                  <a:prstClr val="black"/>
                </a:solidFill>
                <a:latin typeface="Verdana"/>
              </a:rPr>
              <a:t>Plan and BuildPrint Phase: </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Test strategy template</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Unit and system integration test plan template</a:t>
            </a:r>
            <a:endParaRPr lang="en-US" sz="1100" kern="0">
              <a:solidFill>
                <a:prstClr val="black"/>
              </a:solidFill>
              <a:latin typeface="Verdana"/>
              <a:ea typeface="Verdana"/>
              <a:cs typeface="Verdana"/>
            </a:endParaRP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Test Environment, Data prep and Scripts/scenarios draft </a:t>
            </a:r>
          </a:p>
        </p:txBody>
      </p:sp>
      <p:sp>
        <p:nvSpPr>
          <p:cNvPr id="57" name="Rounded Rectangle 32">
            <a:extLst>
              <a:ext uri="{FF2B5EF4-FFF2-40B4-BE49-F238E27FC236}">
                <a16:creationId xmlns:a16="http://schemas.microsoft.com/office/drawing/2014/main" id="{4A9CB769-1EFF-493F-B8FE-8BE79D5FE8C8}"/>
              </a:ext>
            </a:extLst>
          </p:cNvPr>
          <p:cNvSpPr/>
          <p:nvPr/>
        </p:nvSpPr>
        <p:spPr>
          <a:xfrm>
            <a:off x="765552" y="1124539"/>
            <a:ext cx="2468879" cy="914400"/>
          </a:xfrm>
          <a:prstGeom prst="rect">
            <a:avLst/>
          </a:prstGeom>
          <a:solidFill>
            <a:srgbClr val="0070AD"/>
          </a:solidFill>
          <a:ln w="19050" cap="flat" cmpd="sng" algn="ctr">
            <a:noFill/>
            <a:prstDash val="solid"/>
          </a:ln>
          <a:effectLst/>
        </p:spPr>
        <p:txBody>
          <a:bodyPr lIns="64008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Verdana"/>
              </a:rPr>
              <a:t>Early Pre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Verdana"/>
              </a:rPr>
              <a:t>(completed in earlier phases)</a:t>
            </a:r>
          </a:p>
        </p:txBody>
      </p:sp>
      <p:sp>
        <p:nvSpPr>
          <p:cNvPr id="58" name="Round Same Side Corner Rectangle 8">
            <a:extLst>
              <a:ext uri="{FF2B5EF4-FFF2-40B4-BE49-F238E27FC236}">
                <a16:creationId xmlns:a16="http://schemas.microsoft.com/office/drawing/2014/main" id="{7D2790E9-3E0C-4960-BBFF-4575AE92ECA0}"/>
              </a:ext>
            </a:extLst>
          </p:cNvPr>
          <p:cNvSpPr/>
          <p:nvPr/>
        </p:nvSpPr>
        <p:spPr>
          <a:xfrm>
            <a:off x="3305258" y="2130950"/>
            <a:ext cx="5703988" cy="914400"/>
          </a:xfrm>
          <a:prstGeom prst="rect">
            <a:avLst/>
          </a:prstGeom>
          <a:noFill/>
          <a:ln>
            <a:noFill/>
          </a:ln>
          <a:effectLst/>
        </p:spPr>
        <p:txBody>
          <a:bodyPr spcFirstLastPara="0" vert="horz" wrap="square" lIns="41910" tIns="20955" rIns="41910" bIns="20955" numCol="1" spcCol="1270" anchor="ctr" anchorCtr="0">
            <a:noAutofit/>
          </a:bodyPr>
          <a:lstStyle/>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Focus on core processes</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virtualization techniques to test un-connected or 3rd party systems</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Real data (20%)</a:t>
            </a:r>
          </a:p>
        </p:txBody>
      </p:sp>
      <p:sp>
        <p:nvSpPr>
          <p:cNvPr id="59" name="Rounded Rectangle 28">
            <a:extLst>
              <a:ext uri="{FF2B5EF4-FFF2-40B4-BE49-F238E27FC236}">
                <a16:creationId xmlns:a16="http://schemas.microsoft.com/office/drawing/2014/main" id="{3B947350-88B1-43D7-AAA5-EAF0928F95A6}"/>
              </a:ext>
            </a:extLst>
          </p:cNvPr>
          <p:cNvSpPr/>
          <p:nvPr/>
        </p:nvSpPr>
        <p:spPr>
          <a:xfrm>
            <a:off x="765552" y="2133490"/>
            <a:ext cx="2468879" cy="914400"/>
          </a:xfrm>
          <a:prstGeom prst="rect">
            <a:avLst/>
          </a:prstGeom>
          <a:solidFill>
            <a:srgbClr val="12ABDB"/>
          </a:solidFill>
          <a:ln w="19050" cap="flat" cmpd="sng" algn="ctr">
            <a:noFill/>
            <a:prstDash val="solid"/>
          </a:ln>
          <a:effectLst/>
        </p:spPr>
        <p:txBody>
          <a:bodyPr lIns="640080" anchor="ct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a:rPr>
              <a:t>System Integration Testing (IT) 1</a:t>
            </a:r>
          </a:p>
        </p:txBody>
      </p:sp>
      <p:sp>
        <p:nvSpPr>
          <p:cNvPr id="60" name="Rounded Rectangle 24">
            <a:extLst>
              <a:ext uri="{FF2B5EF4-FFF2-40B4-BE49-F238E27FC236}">
                <a16:creationId xmlns:a16="http://schemas.microsoft.com/office/drawing/2014/main" id="{B4E47616-6407-443C-A9C8-776CAD87DFCB}"/>
              </a:ext>
            </a:extLst>
          </p:cNvPr>
          <p:cNvSpPr/>
          <p:nvPr/>
        </p:nvSpPr>
        <p:spPr>
          <a:xfrm>
            <a:off x="765552" y="3142440"/>
            <a:ext cx="2468879" cy="914400"/>
          </a:xfrm>
          <a:prstGeom prst="rect">
            <a:avLst/>
          </a:prstGeom>
          <a:solidFill>
            <a:srgbClr val="2B143D">
              <a:lumMod val="90000"/>
              <a:lumOff val="10000"/>
            </a:srgbClr>
          </a:solidFill>
          <a:ln w="19050" cap="flat" cmpd="sng" algn="ctr">
            <a:noFill/>
            <a:prstDash val="solid"/>
          </a:ln>
          <a:effectLst/>
        </p:spPr>
        <p:txBody>
          <a:bodyPr lIns="640080" anchor="ct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a:ln>
                  <a:noFill/>
                </a:ln>
                <a:solidFill>
                  <a:srgbClr val="FFFFFF"/>
                </a:solidFill>
                <a:effectLst/>
                <a:uLnTx/>
                <a:uFillTx/>
                <a:latin typeface="Verdana"/>
              </a:rPr>
              <a:t>System Integration Testing (IT) 2</a:t>
            </a:r>
          </a:p>
        </p:txBody>
      </p:sp>
      <p:sp>
        <p:nvSpPr>
          <p:cNvPr id="61" name="Round Same Side Corner Rectangle 16">
            <a:extLst>
              <a:ext uri="{FF2B5EF4-FFF2-40B4-BE49-F238E27FC236}">
                <a16:creationId xmlns:a16="http://schemas.microsoft.com/office/drawing/2014/main" id="{EA972B8F-9872-422B-8F9A-EA73274FAAEE}"/>
              </a:ext>
            </a:extLst>
          </p:cNvPr>
          <p:cNvSpPr/>
          <p:nvPr/>
        </p:nvSpPr>
        <p:spPr>
          <a:xfrm>
            <a:off x="3305259" y="4218950"/>
            <a:ext cx="5652312" cy="764042"/>
          </a:xfrm>
          <a:prstGeom prst="rect">
            <a:avLst/>
          </a:prstGeom>
          <a:noFill/>
          <a:ln>
            <a:noFill/>
          </a:ln>
          <a:effectLst/>
        </p:spPr>
        <p:txBody>
          <a:bodyPr spcFirstLastPara="0" vert="horz" wrap="square" lIns="41910" tIns="20955" rIns="41910" bIns="20955" numCol="1" spcCol="1270" anchor="ctr" anchorCtr="0">
            <a:noAutofit/>
          </a:bodyPr>
          <a:lstStyle/>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Testing of end-to-end business processes</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Security roles and authorizations</a:t>
            </a:r>
          </a:p>
        </p:txBody>
      </p:sp>
      <p:sp>
        <p:nvSpPr>
          <p:cNvPr id="62" name="Rounded Rectangle 20">
            <a:extLst>
              <a:ext uri="{FF2B5EF4-FFF2-40B4-BE49-F238E27FC236}">
                <a16:creationId xmlns:a16="http://schemas.microsoft.com/office/drawing/2014/main" id="{1E9993D6-8A0C-47DA-BCD8-61D3AF4C2668}"/>
              </a:ext>
            </a:extLst>
          </p:cNvPr>
          <p:cNvSpPr/>
          <p:nvPr/>
        </p:nvSpPr>
        <p:spPr>
          <a:xfrm>
            <a:off x="765552" y="4143771"/>
            <a:ext cx="2468879" cy="914400"/>
          </a:xfrm>
          <a:prstGeom prst="rect">
            <a:avLst/>
          </a:prstGeom>
          <a:solidFill>
            <a:srgbClr val="FFFFFF">
              <a:lumMod val="75000"/>
            </a:srgbClr>
          </a:solidFill>
          <a:ln w="19050" cap="flat" cmpd="sng" algn="ctr">
            <a:noFill/>
            <a:prstDash val="solid"/>
          </a:ln>
          <a:effectLst/>
        </p:spPr>
        <p:txBody>
          <a:bodyPr lIns="64008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Verdana"/>
              </a:rPr>
              <a:t>User </a:t>
            </a:r>
            <a:br>
              <a:rPr kumimoji="0" lang="en-US" sz="1400" b="1" i="0" u="none" strike="noStrike" kern="0" cap="none" spc="0" normalizeH="0" baseline="0" noProof="0">
                <a:ln>
                  <a:noFill/>
                </a:ln>
                <a:solidFill>
                  <a:prstClr val="black"/>
                </a:solidFill>
                <a:effectLst/>
                <a:uLnTx/>
                <a:uFillTx/>
                <a:latin typeface="Verdana"/>
              </a:rPr>
            </a:br>
            <a:r>
              <a:rPr kumimoji="0" lang="en-US" sz="1400" b="1" i="0" u="none" strike="noStrike" kern="0" cap="none" spc="0" normalizeH="0" baseline="0" noProof="0">
                <a:ln>
                  <a:noFill/>
                </a:ln>
                <a:solidFill>
                  <a:prstClr val="black"/>
                </a:solidFill>
                <a:effectLst/>
                <a:uLnTx/>
                <a:uFillTx/>
                <a:latin typeface="Verdana"/>
              </a:rPr>
              <a:t>Acceptance Testing (UAT)</a:t>
            </a:r>
          </a:p>
        </p:txBody>
      </p:sp>
      <p:sp>
        <p:nvSpPr>
          <p:cNvPr id="63" name="Rectangle: Rounded Corners 18">
            <a:extLst>
              <a:ext uri="{FF2B5EF4-FFF2-40B4-BE49-F238E27FC236}">
                <a16:creationId xmlns:a16="http://schemas.microsoft.com/office/drawing/2014/main" id="{40376E38-93F1-42FC-A2BF-59A5D7358347}"/>
              </a:ext>
            </a:extLst>
          </p:cNvPr>
          <p:cNvSpPr/>
          <p:nvPr/>
        </p:nvSpPr>
        <p:spPr>
          <a:xfrm>
            <a:off x="9013490" y="2130950"/>
            <a:ext cx="2716545" cy="914400"/>
          </a:xfrm>
          <a:prstGeom prst="rect">
            <a:avLst/>
          </a:prstGeom>
          <a:solidFill>
            <a:srgbClr val="12ABDB"/>
          </a:solidFill>
          <a:ln w="19050">
            <a:noFill/>
          </a:ln>
          <a:effectLst/>
        </p:spPr>
        <p:txBody>
          <a:bodyPr rtlCol="0" anchor="ctr"/>
          <a:lstStyle/>
          <a:p>
            <a:pPr marL="176213" marR="0" lvl="0" indent="-176213" defTabSz="91440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200" b="0" i="0" u="none" strike="noStrike" kern="0" cap="none" spc="0" normalizeH="0" baseline="0" noProof="0">
                <a:ln>
                  <a:noFill/>
                </a:ln>
                <a:solidFill>
                  <a:prstClr val="white"/>
                </a:solidFill>
                <a:effectLst/>
                <a:uLnTx/>
                <a:uFillTx/>
                <a:latin typeface="Verdana"/>
                <a:cs typeface="Arial" pitchFamily="34" charset="0"/>
              </a:rPr>
              <a:t>Capgemini functional team</a:t>
            </a:r>
          </a:p>
          <a:p>
            <a:pPr marL="176213" marR="0" lvl="0" indent="-176213" defTabSz="91440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200" b="0" i="0" u="none" strike="noStrike" kern="0" cap="none" spc="0" normalizeH="0" baseline="0" noProof="0">
                <a:ln>
                  <a:noFill/>
                </a:ln>
                <a:solidFill>
                  <a:prstClr val="white"/>
                </a:solidFill>
                <a:effectLst/>
                <a:uLnTx/>
                <a:uFillTx/>
                <a:latin typeface="Verdana"/>
                <a:cs typeface="Arial" pitchFamily="34" charset="0"/>
              </a:rPr>
              <a:t>Marelli System Owners</a:t>
            </a:r>
          </a:p>
        </p:txBody>
      </p:sp>
      <p:sp>
        <p:nvSpPr>
          <p:cNvPr id="64" name="Rectangle: Rounded Corners 19">
            <a:extLst>
              <a:ext uri="{FF2B5EF4-FFF2-40B4-BE49-F238E27FC236}">
                <a16:creationId xmlns:a16="http://schemas.microsoft.com/office/drawing/2014/main" id="{68F2D76C-8EF8-4082-B473-5D0A5DF5E8B4}"/>
              </a:ext>
            </a:extLst>
          </p:cNvPr>
          <p:cNvSpPr/>
          <p:nvPr/>
        </p:nvSpPr>
        <p:spPr>
          <a:xfrm>
            <a:off x="9009246" y="3137361"/>
            <a:ext cx="2716549" cy="914400"/>
          </a:xfrm>
          <a:prstGeom prst="rect">
            <a:avLst/>
          </a:prstGeom>
          <a:solidFill>
            <a:srgbClr val="2B143D">
              <a:lumMod val="90000"/>
              <a:lumOff val="10000"/>
            </a:srgbClr>
          </a:solidFill>
          <a:ln w="19050">
            <a:noFill/>
          </a:ln>
          <a:effectLst/>
        </p:spPr>
        <p:txBody>
          <a:bodyPr rtlCol="0" anchor="ctr"/>
          <a:lstStyle/>
          <a:p>
            <a:pPr marL="176213" marR="0" lvl="0" indent="-176213" defTabSz="91440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200" b="0" i="0" u="none" strike="noStrike" kern="0" cap="none" spc="0" normalizeH="0" baseline="0" noProof="0">
                <a:ln>
                  <a:noFill/>
                </a:ln>
                <a:solidFill>
                  <a:srgbClr val="FFFFFF"/>
                </a:solidFill>
                <a:effectLst/>
                <a:uLnTx/>
                <a:uFillTx/>
                <a:latin typeface="Verdana"/>
                <a:cs typeface="Arial" pitchFamily="34" charset="0"/>
              </a:rPr>
              <a:t>Capgemini functional team</a:t>
            </a:r>
          </a:p>
          <a:p>
            <a:pPr marL="176213" marR="0" lvl="0" indent="-176213" defTabSz="91440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200" b="0" i="0" u="none" strike="noStrike" kern="0" cap="none" spc="0" normalizeH="0" baseline="0" noProof="0">
                <a:ln>
                  <a:noFill/>
                </a:ln>
                <a:solidFill>
                  <a:srgbClr val="FFFFFF"/>
                </a:solidFill>
                <a:effectLst/>
                <a:uLnTx/>
                <a:uFillTx/>
                <a:latin typeface="Verdana"/>
                <a:cs typeface="Arial" pitchFamily="34" charset="0"/>
              </a:rPr>
              <a:t>Marelli System Owners</a:t>
            </a:r>
          </a:p>
          <a:p>
            <a:pPr marL="176213" marR="0" lvl="0" indent="-176213" defTabSz="91440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200" b="0" i="0" u="none" strike="noStrike" kern="0" cap="none" spc="0" normalizeH="0" baseline="0" noProof="0">
                <a:ln>
                  <a:noFill/>
                </a:ln>
                <a:solidFill>
                  <a:srgbClr val="FFFFFF"/>
                </a:solidFill>
                <a:effectLst/>
                <a:uLnTx/>
                <a:uFillTx/>
                <a:latin typeface="Verdana"/>
                <a:cs typeface="Arial" pitchFamily="34" charset="0"/>
              </a:rPr>
              <a:t>Marelli Business Process Owners</a:t>
            </a:r>
          </a:p>
        </p:txBody>
      </p:sp>
      <p:sp>
        <p:nvSpPr>
          <p:cNvPr id="65" name="Rectangle: Rounded Corners 20">
            <a:extLst>
              <a:ext uri="{FF2B5EF4-FFF2-40B4-BE49-F238E27FC236}">
                <a16:creationId xmlns:a16="http://schemas.microsoft.com/office/drawing/2014/main" id="{422153AA-97A7-40D5-987B-1333B7E2CCC7}"/>
              </a:ext>
            </a:extLst>
          </p:cNvPr>
          <p:cNvSpPr/>
          <p:nvPr/>
        </p:nvSpPr>
        <p:spPr>
          <a:xfrm>
            <a:off x="9009246" y="4143771"/>
            <a:ext cx="2716549" cy="914400"/>
          </a:xfrm>
          <a:prstGeom prst="rect">
            <a:avLst/>
          </a:prstGeom>
          <a:solidFill>
            <a:srgbClr val="FFFFFF">
              <a:lumMod val="75000"/>
            </a:srgbClr>
          </a:solidFill>
          <a:ln w="19050">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cs typeface="Arial" pitchFamily="34" charset="0"/>
              </a:rPr>
              <a:t>Marelli Super Users / Business Process Owners</a:t>
            </a:r>
          </a:p>
        </p:txBody>
      </p:sp>
      <p:grpSp>
        <p:nvGrpSpPr>
          <p:cNvPr id="66" name="Group 65">
            <a:extLst>
              <a:ext uri="{FF2B5EF4-FFF2-40B4-BE49-F238E27FC236}">
                <a16:creationId xmlns:a16="http://schemas.microsoft.com/office/drawing/2014/main" id="{69635172-AF77-46B1-BDB5-3AE1AD95CC8B}"/>
              </a:ext>
            </a:extLst>
          </p:cNvPr>
          <p:cNvGrpSpPr/>
          <p:nvPr/>
        </p:nvGrpSpPr>
        <p:grpSpPr>
          <a:xfrm>
            <a:off x="457200" y="5230825"/>
            <a:ext cx="11277600" cy="1198550"/>
            <a:chOff x="765552" y="5236681"/>
            <a:chExt cx="8275186" cy="1198550"/>
          </a:xfrm>
        </p:grpSpPr>
        <p:sp>
          <p:nvSpPr>
            <p:cNvPr id="67" name="Round Same Side Corner Rectangle 18">
              <a:extLst>
                <a:ext uri="{FF2B5EF4-FFF2-40B4-BE49-F238E27FC236}">
                  <a16:creationId xmlns:a16="http://schemas.microsoft.com/office/drawing/2014/main" id="{200E47A1-A3D4-44B7-965B-E7373DDF3543}"/>
                </a:ext>
              </a:extLst>
            </p:cNvPr>
            <p:cNvSpPr/>
            <p:nvPr/>
          </p:nvSpPr>
          <p:spPr>
            <a:xfrm rot="5400000">
              <a:off x="4304423" y="1698915"/>
              <a:ext cx="1197444" cy="8275186"/>
            </a:xfrm>
            <a:prstGeom prst="round2SameRect">
              <a:avLst/>
            </a:prstGeom>
            <a:solidFill>
              <a:srgbClr val="FFFFFF">
                <a:lumMod val="95000"/>
              </a:srgbClr>
            </a:solidFill>
            <a:ln w="19050" cap="flat" cmpd="sng" algn="ctr">
              <a:solidFill>
                <a:srgbClr val="00C37B"/>
              </a:solidFill>
              <a:prstDash val="solid"/>
            </a:ln>
            <a:effectLst/>
          </p:spPr>
        </p:sp>
        <p:sp>
          <p:nvSpPr>
            <p:cNvPr id="68" name="Round Same Side Corner Rectangle 20">
              <a:extLst>
                <a:ext uri="{FF2B5EF4-FFF2-40B4-BE49-F238E27FC236}">
                  <a16:creationId xmlns:a16="http://schemas.microsoft.com/office/drawing/2014/main" id="{2D5E90C8-1BD7-48A5-B97B-7E51DD5A53E6}"/>
                </a:ext>
              </a:extLst>
            </p:cNvPr>
            <p:cNvSpPr/>
            <p:nvPr/>
          </p:nvSpPr>
          <p:spPr>
            <a:xfrm>
              <a:off x="1191002" y="5324412"/>
              <a:ext cx="3475334" cy="1024192"/>
            </a:xfrm>
            <a:prstGeom prst="rect">
              <a:avLst/>
            </a:prstGeom>
            <a:noFill/>
            <a:ln>
              <a:noFill/>
            </a:ln>
            <a:effectLst/>
          </p:spPr>
          <p:txBody>
            <a:bodyPr spcFirstLastPara="0" vert="horz" wrap="square" lIns="41910" tIns="20955" rIns="41910" bIns="20955" numCol="1" spcCol="1270" anchor="ctr" anchorCtr="0">
              <a:noAutofit/>
            </a:bodyPr>
            <a:lstStyle/>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Test environments built</a:t>
              </a:r>
            </a:p>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Required development objects, configuration, and data </a:t>
              </a:r>
              <a:b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b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are available in the system integration test environment</a:t>
              </a:r>
            </a:p>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Test scenarios identified</a:t>
              </a:r>
            </a:p>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100% test cases completed</a:t>
              </a:r>
              <a:endParaRPr kumimoji="0" lang="en-US" sz="1100" b="0" i="0" u="none" strike="noStrike" kern="0" cap="none" spc="0" normalizeH="0" baseline="0" noProof="0">
                <a:ln>
                  <a:noFill/>
                </a:ln>
                <a:solidFill>
                  <a:srgbClr val="000000"/>
                </a:solidFill>
                <a:effectLst/>
                <a:uLnTx/>
                <a:uFillTx/>
                <a:latin typeface="Verdana"/>
                <a:ea typeface="Times New Roman" pitchFamily="18" charset="0"/>
                <a:cs typeface="Arial" charset="0"/>
              </a:endParaRPr>
            </a:p>
          </p:txBody>
        </p:sp>
        <p:sp>
          <p:nvSpPr>
            <p:cNvPr id="69" name="Round Same Side Corner Rectangle 20">
              <a:extLst>
                <a:ext uri="{FF2B5EF4-FFF2-40B4-BE49-F238E27FC236}">
                  <a16:creationId xmlns:a16="http://schemas.microsoft.com/office/drawing/2014/main" id="{0EBE7CC8-EC4A-454A-B23B-A981DAD5D92E}"/>
                </a:ext>
              </a:extLst>
            </p:cNvPr>
            <p:cNvSpPr/>
            <p:nvPr/>
          </p:nvSpPr>
          <p:spPr>
            <a:xfrm>
              <a:off x="5335023" y="5294144"/>
              <a:ext cx="3352800" cy="1084729"/>
            </a:xfrm>
            <a:prstGeom prst="rect">
              <a:avLst/>
            </a:prstGeom>
            <a:noFill/>
            <a:ln>
              <a:noFill/>
            </a:ln>
            <a:effectLst/>
          </p:spPr>
          <p:txBody>
            <a:bodyPr spcFirstLastPara="0" vert="horz" wrap="square" lIns="41910" tIns="20955" rIns="41910" bIns="20955" numCol="1" spcCol="1270" anchor="t" anchorCtr="0">
              <a:noAutofit/>
            </a:bodyPr>
            <a:lstStyle/>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IT 1 and 2 scripts successfully executed</a:t>
              </a:r>
            </a:p>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No high severity defects remain open</a:t>
              </a:r>
            </a:p>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Defects of medium or low severity have been assigned</a:t>
              </a:r>
            </a:p>
            <a:p>
              <a:pPr marL="171450" marR="0" lvl="0" indent="-171450" defTabSz="914400" eaLnBrk="1" fontAlgn="base" latinLnBrk="0" hangingPunct="1">
                <a:lnSpc>
                  <a:spcPct val="100000"/>
                </a:lnSpc>
                <a:spcBef>
                  <a:spcPct val="0"/>
                </a:spcBef>
                <a:spcAft>
                  <a:spcPct val="0"/>
                </a:spcAft>
                <a:buClr>
                  <a:srgbClr val="0070AD"/>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hueOff val="0"/>
                      <a:satOff val="0"/>
                      <a:lumOff val="0"/>
                      <a:alphaOff val="0"/>
                    </a:prstClr>
                  </a:solidFill>
                  <a:effectLst/>
                  <a:uLnTx/>
                  <a:uFillTx/>
                  <a:latin typeface="Verdana"/>
                </a:rPr>
                <a:t>Marelli Project Manager provides approval on exit of each cycle</a:t>
              </a:r>
            </a:p>
          </p:txBody>
        </p:sp>
        <p:sp>
          <p:nvSpPr>
            <p:cNvPr id="70" name="TextBox 69">
              <a:extLst>
                <a:ext uri="{FF2B5EF4-FFF2-40B4-BE49-F238E27FC236}">
                  <a16:creationId xmlns:a16="http://schemas.microsoft.com/office/drawing/2014/main" id="{E87CCD67-CAD0-4628-970F-8FDE22D27968}"/>
                </a:ext>
              </a:extLst>
            </p:cNvPr>
            <p:cNvSpPr txBox="1"/>
            <p:nvPr/>
          </p:nvSpPr>
          <p:spPr>
            <a:xfrm>
              <a:off x="777784" y="5236681"/>
              <a:ext cx="406508" cy="1198550"/>
            </a:xfrm>
            <a:prstGeom prst="rect">
              <a:avLst/>
            </a:prstGeom>
            <a:noFill/>
          </p:spPr>
          <p:txBody>
            <a:bodyPr vert="vert270"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00C37B"/>
                  </a:solidFill>
                  <a:effectLst/>
                  <a:uLnTx/>
                  <a:uFillTx/>
                  <a:latin typeface="Verdana"/>
                  <a:cs typeface="Arial" pitchFamily="34" charset="0"/>
                </a:rPr>
                <a:t>Entry Criteria</a:t>
              </a:r>
            </a:p>
          </p:txBody>
        </p:sp>
        <p:sp>
          <p:nvSpPr>
            <p:cNvPr id="71" name="TextBox 70">
              <a:extLst>
                <a:ext uri="{FF2B5EF4-FFF2-40B4-BE49-F238E27FC236}">
                  <a16:creationId xmlns:a16="http://schemas.microsoft.com/office/drawing/2014/main" id="{FA3B41F7-5ED7-4A3E-B6E2-97C22C353776}"/>
                </a:ext>
              </a:extLst>
            </p:cNvPr>
            <p:cNvSpPr txBox="1"/>
            <p:nvPr/>
          </p:nvSpPr>
          <p:spPr>
            <a:xfrm>
              <a:off x="4790321" y="5246228"/>
              <a:ext cx="542011" cy="1189003"/>
            </a:xfrm>
            <a:prstGeom prst="rect">
              <a:avLst/>
            </a:prstGeom>
            <a:noFill/>
          </p:spPr>
          <p:txBody>
            <a:bodyPr vert="vert270"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00C37B"/>
                  </a:solidFill>
                  <a:effectLst/>
                  <a:uLnTx/>
                  <a:uFillTx/>
                  <a:latin typeface="Verdana"/>
                  <a:cs typeface="Arial" pitchFamily="34" charset="0"/>
                </a:rPr>
                <a:t>Exit &amp; Acceptance Criteria</a:t>
              </a:r>
            </a:p>
          </p:txBody>
        </p:sp>
      </p:grpSp>
      <p:grpSp>
        <p:nvGrpSpPr>
          <p:cNvPr id="72" name="Group 56">
            <a:extLst>
              <a:ext uri="{FF2B5EF4-FFF2-40B4-BE49-F238E27FC236}">
                <a16:creationId xmlns:a16="http://schemas.microsoft.com/office/drawing/2014/main" id="{828894D1-2B9D-496E-93C6-14E1F4320820}"/>
              </a:ext>
            </a:extLst>
          </p:cNvPr>
          <p:cNvGrpSpPr/>
          <p:nvPr/>
        </p:nvGrpSpPr>
        <p:grpSpPr>
          <a:xfrm>
            <a:off x="310926" y="1081075"/>
            <a:ext cx="1043758" cy="1001329"/>
            <a:chOff x="310926" y="1052500"/>
            <a:chExt cx="1124712" cy="1078992"/>
          </a:xfrm>
        </p:grpSpPr>
        <p:sp>
          <p:nvSpPr>
            <p:cNvPr id="73" name="Oval 20">
              <a:extLst>
                <a:ext uri="{FF2B5EF4-FFF2-40B4-BE49-F238E27FC236}">
                  <a16:creationId xmlns:a16="http://schemas.microsoft.com/office/drawing/2014/main" id="{53FA2B04-45E7-4936-8312-96C3BDA5532A}"/>
                </a:ext>
              </a:extLst>
            </p:cNvPr>
            <p:cNvSpPr/>
            <p:nvPr/>
          </p:nvSpPr>
          <p:spPr>
            <a:xfrm>
              <a:off x="310926" y="1052500"/>
              <a:ext cx="1124712" cy="107899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prstClr val="white"/>
                </a:solidFill>
                <a:effectLst/>
                <a:uLnTx/>
                <a:uFillTx/>
                <a:latin typeface="Verdana"/>
                <a:ea typeface="+mn-ea"/>
                <a:cs typeface="+mn-cs"/>
              </a:endParaRPr>
            </a:p>
          </p:txBody>
        </p:sp>
        <p:pic>
          <p:nvPicPr>
            <p:cNvPr id="74" name="Graphic 73" descr="Head with Gears">
              <a:extLst>
                <a:ext uri="{FF2B5EF4-FFF2-40B4-BE49-F238E27FC236}">
                  <a16:creationId xmlns:a16="http://schemas.microsoft.com/office/drawing/2014/main" id="{3D50A68B-6397-4301-84DE-6BFF7C651B2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569" y="1310539"/>
              <a:ext cx="561621" cy="561621"/>
            </a:xfrm>
            <a:prstGeom prst="rect">
              <a:avLst/>
            </a:prstGeom>
          </p:spPr>
        </p:pic>
      </p:grpSp>
      <p:grpSp>
        <p:nvGrpSpPr>
          <p:cNvPr id="75" name="Group 62">
            <a:extLst>
              <a:ext uri="{FF2B5EF4-FFF2-40B4-BE49-F238E27FC236}">
                <a16:creationId xmlns:a16="http://schemas.microsoft.com/office/drawing/2014/main" id="{555D0C15-51B4-4493-97B0-8026EA2DDE5D}"/>
              </a:ext>
            </a:extLst>
          </p:cNvPr>
          <p:cNvGrpSpPr/>
          <p:nvPr/>
        </p:nvGrpSpPr>
        <p:grpSpPr>
          <a:xfrm>
            <a:off x="306930" y="2089980"/>
            <a:ext cx="1043042" cy="1001420"/>
            <a:chOff x="306930" y="2143958"/>
            <a:chExt cx="1123940" cy="1079090"/>
          </a:xfrm>
        </p:grpSpPr>
        <p:sp>
          <p:nvSpPr>
            <p:cNvPr id="76" name="Oval 20">
              <a:extLst>
                <a:ext uri="{FF2B5EF4-FFF2-40B4-BE49-F238E27FC236}">
                  <a16:creationId xmlns:a16="http://schemas.microsoft.com/office/drawing/2014/main" id="{77D3210B-ED5D-4AB2-B2E3-2F5C21D40726}"/>
                </a:ext>
              </a:extLst>
            </p:cNvPr>
            <p:cNvSpPr>
              <a:spLocks noChangeAspect="1"/>
            </p:cNvSpPr>
            <p:nvPr/>
          </p:nvSpPr>
          <p:spPr>
            <a:xfrm>
              <a:off x="306930" y="2143958"/>
              <a:ext cx="1123940" cy="107909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prstClr val="white"/>
                </a:solidFill>
                <a:effectLst/>
                <a:uLnTx/>
                <a:uFillTx/>
                <a:latin typeface="Verdana"/>
                <a:ea typeface="+mn-ea"/>
                <a:cs typeface="+mn-cs"/>
              </a:endParaRPr>
            </a:p>
          </p:txBody>
        </p:sp>
        <p:pic>
          <p:nvPicPr>
            <p:cNvPr id="77" name="Graphic 76" descr="Hierarchy">
              <a:extLst>
                <a:ext uri="{FF2B5EF4-FFF2-40B4-BE49-F238E27FC236}">
                  <a16:creationId xmlns:a16="http://schemas.microsoft.com/office/drawing/2014/main" id="{3A70B42E-3E2C-401A-B52B-1EFB6A5F81C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9569" y="2401243"/>
              <a:ext cx="578478" cy="578478"/>
            </a:xfrm>
            <a:prstGeom prst="rect">
              <a:avLst/>
            </a:prstGeom>
          </p:spPr>
        </p:pic>
      </p:grpSp>
      <p:grpSp>
        <p:nvGrpSpPr>
          <p:cNvPr id="78" name="Group 68">
            <a:extLst>
              <a:ext uri="{FF2B5EF4-FFF2-40B4-BE49-F238E27FC236}">
                <a16:creationId xmlns:a16="http://schemas.microsoft.com/office/drawing/2014/main" id="{4345B87B-4354-491F-8F50-A9EFEFEBA251}"/>
              </a:ext>
            </a:extLst>
          </p:cNvPr>
          <p:cNvGrpSpPr/>
          <p:nvPr/>
        </p:nvGrpSpPr>
        <p:grpSpPr>
          <a:xfrm>
            <a:off x="310926" y="3098976"/>
            <a:ext cx="1043758" cy="1001329"/>
            <a:chOff x="310926" y="3228176"/>
            <a:chExt cx="1124712" cy="1078992"/>
          </a:xfrm>
        </p:grpSpPr>
        <p:sp>
          <p:nvSpPr>
            <p:cNvPr id="79" name="Oval 20">
              <a:extLst>
                <a:ext uri="{FF2B5EF4-FFF2-40B4-BE49-F238E27FC236}">
                  <a16:creationId xmlns:a16="http://schemas.microsoft.com/office/drawing/2014/main" id="{BFCF79E3-6420-42F0-A4E9-1AC98123ED09}"/>
                </a:ext>
              </a:extLst>
            </p:cNvPr>
            <p:cNvSpPr/>
            <p:nvPr/>
          </p:nvSpPr>
          <p:spPr>
            <a:xfrm>
              <a:off x="310926" y="3228176"/>
              <a:ext cx="1124712" cy="107899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143D">
                <a:lumMod val="90000"/>
                <a:lumOff val="10000"/>
              </a:srgbClr>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prstClr val="white"/>
                </a:solidFill>
                <a:effectLst/>
                <a:uLnTx/>
                <a:uFillTx/>
                <a:latin typeface="Verdana"/>
                <a:ea typeface="+mn-ea"/>
                <a:cs typeface="+mn-cs"/>
              </a:endParaRPr>
            </a:p>
          </p:txBody>
        </p:sp>
        <p:pic>
          <p:nvPicPr>
            <p:cNvPr id="80" name="Graphic 79" descr="Hierarchy">
              <a:extLst>
                <a:ext uri="{FF2B5EF4-FFF2-40B4-BE49-F238E27FC236}">
                  <a16:creationId xmlns:a16="http://schemas.microsoft.com/office/drawing/2014/main" id="{F43729D1-4F14-49F0-81BC-B82CED2D488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9569" y="3460672"/>
              <a:ext cx="578478" cy="578478"/>
            </a:xfrm>
            <a:prstGeom prst="rect">
              <a:avLst/>
            </a:prstGeom>
          </p:spPr>
        </p:pic>
      </p:grpSp>
      <p:grpSp>
        <p:nvGrpSpPr>
          <p:cNvPr id="81" name="Group 80">
            <a:extLst>
              <a:ext uri="{FF2B5EF4-FFF2-40B4-BE49-F238E27FC236}">
                <a16:creationId xmlns:a16="http://schemas.microsoft.com/office/drawing/2014/main" id="{5025092D-CD9B-43EC-B2CA-330E256596B9}"/>
              </a:ext>
            </a:extLst>
          </p:cNvPr>
          <p:cNvGrpSpPr/>
          <p:nvPr/>
        </p:nvGrpSpPr>
        <p:grpSpPr>
          <a:xfrm>
            <a:off x="310926" y="4107882"/>
            <a:ext cx="1043758" cy="986179"/>
            <a:chOff x="310926" y="4309359"/>
            <a:chExt cx="1124712" cy="1062667"/>
          </a:xfrm>
        </p:grpSpPr>
        <p:sp>
          <p:nvSpPr>
            <p:cNvPr id="82" name="Oval 20">
              <a:extLst>
                <a:ext uri="{FF2B5EF4-FFF2-40B4-BE49-F238E27FC236}">
                  <a16:creationId xmlns:a16="http://schemas.microsoft.com/office/drawing/2014/main" id="{AF92CFA8-CCF1-4594-A34A-28211490FE09}"/>
                </a:ext>
              </a:extLst>
            </p:cNvPr>
            <p:cNvSpPr>
              <a:spLocks noChangeAspect="1"/>
            </p:cNvSpPr>
            <p:nvPr/>
          </p:nvSpPr>
          <p:spPr>
            <a:xfrm>
              <a:off x="310926" y="4309359"/>
              <a:ext cx="1124712" cy="10626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65000"/>
              </a:srgbClr>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prstClr val="white"/>
                </a:solidFill>
                <a:effectLst/>
                <a:uLnTx/>
                <a:uFillTx/>
                <a:latin typeface="Verdana"/>
                <a:ea typeface="+mn-ea"/>
                <a:cs typeface="+mn-cs"/>
              </a:endParaRPr>
            </a:p>
          </p:txBody>
        </p:sp>
        <p:grpSp>
          <p:nvGrpSpPr>
            <p:cNvPr id="83" name="Group 82">
              <a:extLst>
                <a:ext uri="{FF2B5EF4-FFF2-40B4-BE49-F238E27FC236}">
                  <a16:creationId xmlns:a16="http://schemas.microsoft.com/office/drawing/2014/main" id="{A30C7E3E-317A-45B3-9600-E15304093705}"/>
                </a:ext>
              </a:extLst>
            </p:cNvPr>
            <p:cNvGrpSpPr>
              <a:grpSpLocks noChangeAspect="1"/>
            </p:cNvGrpSpPr>
            <p:nvPr/>
          </p:nvGrpSpPr>
          <p:grpSpPr>
            <a:xfrm>
              <a:off x="617575" y="4590981"/>
              <a:ext cx="516401" cy="492873"/>
              <a:chOff x="478631" y="3995303"/>
              <a:chExt cx="464395" cy="464345"/>
            </a:xfrm>
            <a:solidFill>
              <a:srgbClr val="FFFFFF"/>
            </a:solidFill>
          </p:grpSpPr>
          <p:sp>
            <p:nvSpPr>
              <p:cNvPr id="84" name="Freeform 4">
                <a:extLst>
                  <a:ext uri="{FF2B5EF4-FFF2-40B4-BE49-F238E27FC236}">
                    <a16:creationId xmlns:a16="http://schemas.microsoft.com/office/drawing/2014/main" id="{33F56B4F-084F-4C7B-B418-F45D8C46473F}"/>
                  </a:ext>
                </a:extLst>
              </p:cNvPr>
              <p:cNvSpPr/>
              <p:nvPr/>
            </p:nvSpPr>
            <p:spPr>
              <a:xfrm>
                <a:off x="478631" y="3995303"/>
                <a:ext cx="464395" cy="464345"/>
              </a:xfrm>
              <a:custGeom>
                <a:avLst/>
                <a:gdLst>
                  <a:gd name="connsiteX0" fmla="*/ 0 w 464344"/>
                  <a:gd name="connsiteY0" fmla="*/ 232172 h 464344"/>
                  <a:gd name="connsiteX1" fmla="*/ 68002 w 464344"/>
                  <a:gd name="connsiteY1" fmla="*/ 68002 h 464344"/>
                  <a:gd name="connsiteX2" fmla="*/ 232173 w 464344"/>
                  <a:gd name="connsiteY2" fmla="*/ 1 h 464344"/>
                  <a:gd name="connsiteX3" fmla="*/ 396343 w 464344"/>
                  <a:gd name="connsiteY3" fmla="*/ 68003 h 464344"/>
                  <a:gd name="connsiteX4" fmla="*/ 464344 w 464344"/>
                  <a:gd name="connsiteY4" fmla="*/ 232174 h 464344"/>
                  <a:gd name="connsiteX5" fmla="*/ 396342 w 464344"/>
                  <a:gd name="connsiteY5" fmla="*/ 396344 h 464344"/>
                  <a:gd name="connsiteX6" fmla="*/ 232172 w 464344"/>
                  <a:gd name="connsiteY6" fmla="*/ 464346 h 464344"/>
                  <a:gd name="connsiteX7" fmla="*/ 68002 w 464344"/>
                  <a:gd name="connsiteY7" fmla="*/ 396344 h 464344"/>
                  <a:gd name="connsiteX8" fmla="*/ 1 w 464344"/>
                  <a:gd name="connsiteY8" fmla="*/ 232173 h 464344"/>
                  <a:gd name="connsiteX9" fmla="*/ 0 w 464344"/>
                  <a:gd name="connsiteY9" fmla="*/ 232172 h 464344"/>
                  <a:gd name="connsiteX0" fmla="*/ 396342 w 487782"/>
                  <a:gd name="connsiteY0" fmla="*/ 396343 h 487783"/>
                  <a:gd name="connsiteX1" fmla="*/ 232172 w 487782"/>
                  <a:gd name="connsiteY1" fmla="*/ 464345 h 487783"/>
                  <a:gd name="connsiteX2" fmla="*/ 68002 w 487782"/>
                  <a:gd name="connsiteY2" fmla="*/ 396343 h 487783"/>
                  <a:gd name="connsiteX3" fmla="*/ 1 w 487782"/>
                  <a:gd name="connsiteY3" fmla="*/ 232172 h 487783"/>
                  <a:gd name="connsiteX4" fmla="*/ 0 w 487782"/>
                  <a:gd name="connsiteY4" fmla="*/ 232171 h 487783"/>
                  <a:gd name="connsiteX5" fmla="*/ 68002 w 487782"/>
                  <a:gd name="connsiteY5" fmla="*/ 68001 h 487783"/>
                  <a:gd name="connsiteX6" fmla="*/ 232173 w 487782"/>
                  <a:gd name="connsiteY6" fmla="*/ 0 h 487783"/>
                  <a:gd name="connsiteX7" fmla="*/ 396343 w 487782"/>
                  <a:gd name="connsiteY7" fmla="*/ 68002 h 487783"/>
                  <a:gd name="connsiteX8" fmla="*/ 464344 w 487782"/>
                  <a:gd name="connsiteY8" fmla="*/ 232173 h 487783"/>
                  <a:gd name="connsiteX9" fmla="*/ 487782 w 487782"/>
                  <a:gd name="connsiteY9" fmla="*/ 487783 h 487783"/>
                  <a:gd name="connsiteX0" fmla="*/ 396342 w 487782"/>
                  <a:gd name="connsiteY0" fmla="*/ 396343 h 487783"/>
                  <a:gd name="connsiteX1" fmla="*/ 232172 w 487782"/>
                  <a:gd name="connsiteY1" fmla="*/ 464345 h 487783"/>
                  <a:gd name="connsiteX2" fmla="*/ 68002 w 487782"/>
                  <a:gd name="connsiteY2" fmla="*/ 396343 h 487783"/>
                  <a:gd name="connsiteX3" fmla="*/ 1 w 487782"/>
                  <a:gd name="connsiteY3" fmla="*/ 232172 h 487783"/>
                  <a:gd name="connsiteX4" fmla="*/ 0 w 487782"/>
                  <a:gd name="connsiteY4" fmla="*/ 232171 h 487783"/>
                  <a:gd name="connsiteX5" fmla="*/ 68002 w 487782"/>
                  <a:gd name="connsiteY5" fmla="*/ 68001 h 487783"/>
                  <a:gd name="connsiteX6" fmla="*/ 232173 w 487782"/>
                  <a:gd name="connsiteY6" fmla="*/ 0 h 487783"/>
                  <a:gd name="connsiteX7" fmla="*/ 396343 w 487782"/>
                  <a:gd name="connsiteY7" fmla="*/ 68002 h 487783"/>
                  <a:gd name="connsiteX8" fmla="*/ 464344 w 487782"/>
                  <a:gd name="connsiteY8" fmla="*/ 232173 h 487783"/>
                  <a:gd name="connsiteX9" fmla="*/ 459578 w 487782"/>
                  <a:gd name="connsiteY9" fmla="*/ 352426 h 487783"/>
                  <a:gd name="connsiteX10" fmla="*/ 487782 w 487782"/>
                  <a:gd name="connsiteY10" fmla="*/ 487783 h 487783"/>
                  <a:gd name="connsiteX0" fmla="*/ 396342 w 474883"/>
                  <a:gd name="connsiteY0" fmla="*/ 396343 h 464345"/>
                  <a:gd name="connsiteX1" fmla="*/ 232172 w 474883"/>
                  <a:gd name="connsiteY1" fmla="*/ 464345 h 464345"/>
                  <a:gd name="connsiteX2" fmla="*/ 68002 w 474883"/>
                  <a:gd name="connsiteY2" fmla="*/ 396343 h 464345"/>
                  <a:gd name="connsiteX3" fmla="*/ 1 w 474883"/>
                  <a:gd name="connsiteY3" fmla="*/ 232172 h 464345"/>
                  <a:gd name="connsiteX4" fmla="*/ 0 w 474883"/>
                  <a:gd name="connsiteY4" fmla="*/ 232171 h 464345"/>
                  <a:gd name="connsiteX5" fmla="*/ 68002 w 474883"/>
                  <a:gd name="connsiteY5" fmla="*/ 68001 h 464345"/>
                  <a:gd name="connsiteX6" fmla="*/ 232173 w 474883"/>
                  <a:gd name="connsiteY6" fmla="*/ 0 h 464345"/>
                  <a:gd name="connsiteX7" fmla="*/ 396343 w 474883"/>
                  <a:gd name="connsiteY7" fmla="*/ 68002 h 464345"/>
                  <a:gd name="connsiteX8" fmla="*/ 464344 w 474883"/>
                  <a:gd name="connsiteY8" fmla="*/ 232173 h 464345"/>
                  <a:gd name="connsiteX9" fmla="*/ 459578 w 474883"/>
                  <a:gd name="connsiteY9" fmla="*/ 352426 h 464345"/>
                  <a:gd name="connsiteX0" fmla="*/ 396342 w 472502"/>
                  <a:gd name="connsiteY0" fmla="*/ 396343 h 464345"/>
                  <a:gd name="connsiteX1" fmla="*/ 232172 w 472502"/>
                  <a:gd name="connsiteY1" fmla="*/ 464345 h 464345"/>
                  <a:gd name="connsiteX2" fmla="*/ 68002 w 472502"/>
                  <a:gd name="connsiteY2" fmla="*/ 396343 h 464345"/>
                  <a:gd name="connsiteX3" fmla="*/ 1 w 472502"/>
                  <a:gd name="connsiteY3" fmla="*/ 232172 h 464345"/>
                  <a:gd name="connsiteX4" fmla="*/ 0 w 472502"/>
                  <a:gd name="connsiteY4" fmla="*/ 232171 h 464345"/>
                  <a:gd name="connsiteX5" fmla="*/ 68002 w 472502"/>
                  <a:gd name="connsiteY5" fmla="*/ 68001 h 464345"/>
                  <a:gd name="connsiteX6" fmla="*/ 232173 w 472502"/>
                  <a:gd name="connsiteY6" fmla="*/ 0 h 464345"/>
                  <a:gd name="connsiteX7" fmla="*/ 396343 w 472502"/>
                  <a:gd name="connsiteY7" fmla="*/ 68002 h 464345"/>
                  <a:gd name="connsiteX8" fmla="*/ 464344 w 472502"/>
                  <a:gd name="connsiteY8" fmla="*/ 232173 h 464345"/>
                  <a:gd name="connsiteX9" fmla="*/ 445290 w 472502"/>
                  <a:gd name="connsiteY9" fmla="*/ 345282 h 464345"/>
                  <a:gd name="connsiteX0" fmla="*/ 396342 w 472502"/>
                  <a:gd name="connsiteY0" fmla="*/ 396343 h 464345"/>
                  <a:gd name="connsiteX1" fmla="*/ 232172 w 472502"/>
                  <a:gd name="connsiteY1" fmla="*/ 464345 h 464345"/>
                  <a:gd name="connsiteX2" fmla="*/ 68002 w 472502"/>
                  <a:gd name="connsiteY2" fmla="*/ 396343 h 464345"/>
                  <a:gd name="connsiteX3" fmla="*/ 1 w 472502"/>
                  <a:gd name="connsiteY3" fmla="*/ 232172 h 464345"/>
                  <a:gd name="connsiteX4" fmla="*/ 0 w 472502"/>
                  <a:gd name="connsiteY4" fmla="*/ 232171 h 464345"/>
                  <a:gd name="connsiteX5" fmla="*/ 68002 w 472502"/>
                  <a:gd name="connsiteY5" fmla="*/ 68001 h 464345"/>
                  <a:gd name="connsiteX6" fmla="*/ 232173 w 472502"/>
                  <a:gd name="connsiteY6" fmla="*/ 0 h 464345"/>
                  <a:gd name="connsiteX7" fmla="*/ 396343 w 472502"/>
                  <a:gd name="connsiteY7" fmla="*/ 68002 h 464345"/>
                  <a:gd name="connsiteX8" fmla="*/ 464344 w 472502"/>
                  <a:gd name="connsiteY8" fmla="*/ 232173 h 464345"/>
                  <a:gd name="connsiteX9" fmla="*/ 445290 w 472502"/>
                  <a:gd name="connsiteY9" fmla="*/ 345282 h 464345"/>
                  <a:gd name="connsiteX0" fmla="*/ 396342 w 464344"/>
                  <a:gd name="connsiteY0" fmla="*/ 396343 h 464345"/>
                  <a:gd name="connsiteX1" fmla="*/ 232172 w 464344"/>
                  <a:gd name="connsiteY1" fmla="*/ 464345 h 464345"/>
                  <a:gd name="connsiteX2" fmla="*/ 68002 w 464344"/>
                  <a:gd name="connsiteY2" fmla="*/ 396343 h 464345"/>
                  <a:gd name="connsiteX3" fmla="*/ 1 w 464344"/>
                  <a:gd name="connsiteY3" fmla="*/ 232172 h 464345"/>
                  <a:gd name="connsiteX4" fmla="*/ 0 w 464344"/>
                  <a:gd name="connsiteY4" fmla="*/ 232171 h 464345"/>
                  <a:gd name="connsiteX5" fmla="*/ 68002 w 464344"/>
                  <a:gd name="connsiteY5" fmla="*/ 68001 h 464345"/>
                  <a:gd name="connsiteX6" fmla="*/ 232173 w 464344"/>
                  <a:gd name="connsiteY6" fmla="*/ 0 h 464345"/>
                  <a:gd name="connsiteX7" fmla="*/ 396343 w 464344"/>
                  <a:gd name="connsiteY7" fmla="*/ 68002 h 464345"/>
                  <a:gd name="connsiteX8" fmla="*/ 464344 w 464344"/>
                  <a:gd name="connsiteY8" fmla="*/ 232173 h 464345"/>
                  <a:gd name="connsiteX9" fmla="*/ 445290 w 464344"/>
                  <a:gd name="connsiteY9" fmla="*/ 345282 h 464345"/>
                  <a:gd name="connsiteX0" fmla="*/ 396342 w 464344"/>
                  <a:gd name="connsiteY0" fmla="*/ 396343 h 464345"/>
                  <a:gd name="connsiteX1" fmla="*/ 232172 w 464344"/>
                  <a:gd name="connsiteY1" fmla="*/ 464345 h 464345"/>
                  <a:gd name="connsiteX2" fmla="*/ 68002 w 464344"/>
                  <a:gd name="connsiteY2" fmla="*/ 396343 h 464345"/>
                  <a:gd name="connsiteX3" fmla="*/ 1 w 464344"/>
                  <a:gd name="connsiteY3" fmla="*/ 232172 h 464345"/>
                  <a:gd name="connsiteX4" fmla="*/ 0 w 464344"/>
                  <a:gd name="connsiteY4" fmla="*/ 232171 h 464345"/>
                  <a:gd name="connsiteX5" fmla="*/ 68002 w 464344"/>
                  <a:gd name="connsiteY5" fmla="*/ 68001 h 464345"/>
                  <a:gd name="connsiteX6" fmla="*/ 232173 w 464344"/>
                  <a:gd name="connsiteY6" fmla="*/ 0 h 464345"/>
                  <a:gd name="connsiteX7" fmla="*/ 396343 w 464344"/>
                  <a:gd name="connsiteY7" fmla="*/ 68002 h 464345"/>
                  <a:gd name="connsiteX8" fmla="*/ 464344 w 464344"/>
                  <a:gd name="connsiteY8" fmla="*/ 232173 h 464345"/>
                  <a:gd name="connsiteX9" fmla="*/ 435765 w 464344"/>
                  <a:gd name="connsiteY9" fmla="*/ 342901 h 464345"/>
                  <a:gd name="connsiteX0" fmla="*/ 396342 w 464344"/>
                  <a:gd name="connsiteY0" fmla="*/ 396343 h 464345"/>
                  <a:gd name="connsiteX1" fmla="*/ 232172 w 464344"/>
                  <a:gd name="connsiteY1" fmla="*/ 464345 h 464345"/>
                  <a:gd name="connsiteX2" fmla="*/ 68002 w 464344"/>
                  <a:gd name="connsiteY2" fmla="*/ 396343 h 464345"/>
                  <a:gd name="connsiteX3" fmla="*/ 1 w 464344"/>
                  <a:gd name="connsiteY3" fmla="*/ 232172 h 464345"/>
                  <a:gd name="connsiteX4" fmla="*/ 0 w 464344"/>
                  <a:gd name="connsiteY4" fmla="*/ 232171 h 464345"/>
                  <a:gd name="connsiteX5" fmla="*/ 68002 w 464344"/>
                  <a:gd name="connsiteY5" fmla="*/ 68001 h 464345"/>
                  <a:gd name="connsiteX6" fmla="*/ 232173 w 464344"/>
                  <a:gd name="connsiteY6" fmla="*/ 0 h 464345"/>
                  <a:gd name="connsiteX7" fmla="*/ 396343 w 464344"/>
                  <a:gd name="connsiteY7" fmla="*/ 68002 h 464345"/>
                  <a:gd name="connsiteX8" fmla="*/ 464344 w 464344"/>
                  <a:gd name="connsiteY8" fmla="*/ 232173 h 464345"/>
                  <a:gd name="connsiteX9" fmla="*/ 435765 w 464344"/>
                  <a:gd name="connsiteY9" fmla="*/ 342901 h 464345"/>
                  <a:gd name="connsiteX0" fmla="*/ 396342 w 465711"/>
                  <a:gd name="connsiteY0" fmla="*/ 396343 h 464345"/>
                  <a:gd name="connsiteX1" fmla="*/ 232172 w 465711"/>
                  <a:gd name="connsiteY1" fmla="*/ 464345 h 464345"/>
                  <a:gd name="connsiteX2" fmla="*/ 68002 w 465711"/>
                  <a:gd name="connsiteY2" fmla="*/ 396343 h 464345"/>
                  <a:gd name="connsiteX3" fmla="*/ 1 w 465711"/>
                  <a:gd name="connsiteY3" fmla="*/ 232172 h 464345"/>
                  <a:gd name="connsiteX4" fmla="*/ 0 w 465711"/>
                  <a:gd name="connsiteY4" fmla="*/ 232171 h 464345"/>
                  <a:gd name="connsiteX5" fmla="*/ 68002 w 465711"/>
                  <a:gd name="connsiteY5" fmla="*/ 68001 h 464345"/>
                  <a:gd name="connsiteX6" fmla="*/ 232173 w 465711"/>
                  <a:gd name="connsiteY6" fmla="*/ 0 h 464345"/>
                  <a:gd name="connsiteX7" fmla="*/ 396343 w 465711"/>
                  <a:gd name="connsiteY7" fmla="*/ 68002 h 464345"/>
                  <a:gd name="connsiteX8" fmla="*/ 464344 w 465711"/>
                  <a:gd name="connsiteY8" fmla="*/ 232173 h 464345"/>
                  <a:gd name="connsiteX9" fmla="*/ 435765 w 465711"/>
                  <a:gd name="connsiteY9" fmla="*/ 342901 h 464345"/>
                  <a:gd name="connsiteX0" fmla="*/ 396342 w 464395"/>
                  <a:gd name="connsiteY0" fmla="*/ 396343 h 464345"/>
                  <a:gd name="connsiteX1" fmla="*/ 232172 w 464395"/>
                  <a:gd name="connsiteY1" fmla="*/ 464345 h 464345"/>
                  <a:gd name="connsiteX2" fmla="*/ 68002 w 464395"/>
                  <a:gd name="connsiteY2" fmla="*/ 396343 h 464345"/>
                  <a:gd name="connsiteX3" fmla="*/ 1 w 464395"/>
                  <a:gd name="connsiteY3" fmla="*/ 232172 h 464345"/>
                  <a:gd name="connsiteX4" fmla="*/ 0 w 464395"/>
                  <a:gd name="connsiteY4" fmla="*/ 232171 h 464345"/>
                  <a:gd name="connsiteX5" fmla="*/ 68002 w 464395"/>
                  <a:gd name="connsiteY5" fmla="*/ 68001 h 464345"/>
                  <a:gd name="connsiteX6" fmla="*/ 232173 w 464395"/>
                  <a:gd name="connsiteY6" fmla="*/ 0 h 464345"/>
                  <a:gd name="connsiteX7" fmla="*/ 396343 w 464395"/>
                  <a:gd name="connsiteY7" fmla="*/ 68002 h 464345"/>
                  <a:gd name="connsiteX8" fmla="*/ 464344 w 464395"/>
                  <a:gd name="connsiteY8" fmla="*/ 232173 h 464345"/>
                  <a:gd name="connsiteX9" fmla="*/ 435765 w 464395"/>
                  <a:gd name="connsiteY9" fmla="*/ 342901 h 464345"/>
                  <a:gd name="connsiteX10" fmla="*/ 396342 w 464395"/>
                  <a:gd name="connsiteY10" fmla="*/ 396343 h 46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4395" h="464345">
                    <a:moveTo>
                      <a:pt x="396342" y="396343"/>
                    </a:moveTo>
                    <a:cubicBezTo>
                      <a:pt x="352801" y="439884"/>
                      <a:pt x="293747" y="464345"/>
                      <a:pt x="232172" y="464345"/>
                    </a:cubicBezTo>
                    <a:cubicBezTo>
                      <a:pt x="170596" y="464345"/>
                      <a:pt x="111542" y="439884"/>
                      <a:pt x="68002" y="396343"/>
                    </a:cubicBezTo>
                    <a:cubicBezTo>
                      <a:pt x="24461" y="352802"/>
                      <a:pt x="0" y="293748"/>
                      <a:pt x="1" y="232172"/>
                    </a:cubicBezTo>
                    <a:lnTo>
                      <a:pt x="0" y="232171"/>
                    </a:lnTo>
                    <a:cubicBezTo>
                      <a:pt x="0" y="170595"/>
                      <a:pt x="24461" y="111541"/>
                      <a:pt x="68002" y="68001"/>
                    </a:cubicBezTo>
                    <a:cubicBezTo>
                      <a:pt x="111543" y="24460"/>
                      <a:pt x="170597" y="0"/>
                      <a:pt x="232173" y="0"/>
                    </a:cubicBezTo>
                    <a:cubicBezTo>
                      <a:pt x="293749" y="0"/>
                      <a:pt x="352803" y="24461"/>
                      <a:pt x="396343" y="68002"/>
                    </a:cubicBezTo>
                    <a:cubicBezTo>
                      <a:pt x="439884" y="111543"/>
                      <a:pt x="465711" y="183579"/>
                      <a:pt x="464344" y="232173"/>
                    </a:cubicBezTo>
                    <a:cubicBezTo>
                      <a:pt x="462977" y="280767"/>
                      <a:pt x="439003" y="340781"/>
                      <a:pt x="435765" y="342901"/>
                    </a:cubicBezTo>
                    <a:lnTo>
                      <a:pt x="396342" y="396343"/>
                    </a:lnTo>
                    <a:close/>
                  </a:path>
                </a:pathLst>
              </a:custGeom>
              <a:grp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69696">
                      <a:lumMod val="50000"/>
                    </a:srgbClr>
                  </a:solidFill>
                  <a:effectLst/>
                  <a:uLnTx/>
                  <a:uFillTx/>
                  <a:latin typeface="Verdana"/>
                </a:endParaRPr>
              </a:p>
            </p:txBody>
          </p:sp>
          <p:sp>
            <p:nvSpPr>
              <p:cNvPr id="85" name="Freeform 576">
                <a:extLst>
                  <a:ext uri="{FF2B5EF4-FFF2-40B4-BE49-F238E27FC236}">
                    <a16:creationId xmlns:a16="http://schemas.microsoft.com/office/drawing/2014/main" id="{F3E77B2C-F4D9-4F01-A35A-93A49BB8A045}"/>
                  </a:ext>
                </a:extLst>
              </p:cNvPr>
              <p:cNvSpPr>
                <a:spLocks noChangeAspect="1"/>
              </p:cNvSpPr>
              <p:nvPr/>
            </p:nvSpPr>
            <p:spPr bwMode="auto">
              <a:xfrm>
                <a:off x="548297" y="4100090"/>
                <a:ext cx="330001" cy="283334"/>
              </a:xfrm>
              <a:custGeom>
                <a:avLst/>
                <a:gdLst/>
                <a:ahLst/>
                <a:cxnLst>
                  <a:cxn ang="0">
                    <a:pos x="106" y="0"/>
                  </a:cxn>
                  <a:cxn ang="0">
                    <a:pos x="118" y="3"/>
                  </a:cxn>
                  <a:cxn ang="0">
                    <a:pos x="117" y="3"/>
                  </a:cxn>
                  <a:cxn ang="0">
                    <a:pos x="21" y="102"/>
                  </a:cxn>
                  <a:cxn ang="0">
                    <a:pos x="0" y="53"/>
                  </a:cxn>
                  <a:cxn ang="0">
                    <a:pos x="23" y="72"/>
                  </a:cxn>
                  <a:cxn ang="0">
                    <a:pos x="106" y="0"/>
                  </a:cxn>
                </a:cxnLst>
                <a:rect l="0" t="0" r="r" b="b"/>
                <a:pathLst>
                  <a:path w="118" h="102">
                    <a:moveTo>
                      <a:pt x="106" y="0"/>
                    </a:moveTo>
                    <a:cubicBezTo>
                      <a:pt x="114" y="0"/>
                      <a:pt x="118" y="3"/>
                      <a:pt x="118" y="3"/>
                    </a:cubicBezTo>
                    <a:cubicBezTo>
                      <a:pt x="118" y="3"/>
                      <a:pt x="118" y="3"/>
                      <a:pt x="117" y="3"/>
                    </a:cubicBezTo>
                    <a:cubicBezTo>
                      <a:pt x="66" y="3"/>
                      <a:pt x="23" y="97"/>
                      <a:pt x="21" y="102"/>
                    </a:cubicBezTo>
                    <a:cubicBezTo>
                      <a:pt x="0" y="53"/>
                      <a:pt x="0" y="53"/>
                      <a:pt x="0" y="53"/>
                    </a:cubicBezTo>
                    <a:cubicBezTo>
                      <a:pt x="23" y="72"/>
                      <a:pt x="23" y="72"/>
                      <a:pt x="23" y="72"/>
                    </a:cubicBezTo>
                    <a:cubicBezTo>
                      <a:pt x="62" y="10"/>
                      <a:pt x="91" y="0"/>
                      <a:pt x="106" y="0"/>
                    </a:cubicBezTo>
                    <a:close/>
                  </a:path>
                </a:pathLst>
              </a:custGeom>
              <a:solidFill>
                <a:srgbClr val="95E616"/>
              </a:solidFill>
              <a:ln w="28575">
                <a:solidFill>
                  <a:srgbClr val="95E616"/>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ndParaRPr>
              </a:p>
            </p:txBody>
          </p:sp>
        </p:grpSp>
      </p:grpSp>
      <p:sp>
        <p:nvSpPr>
          <p:cNvPr id="86" name="Round Same Side Corner Rectangle 8">
            <a:extLst>
              <a:ext uri="{FF2B5EF4-FFF2-40B4-BE49-F238E27FC236}">
                <a16:creationId xmlns:a16="http://schemas.microsoft.com/office/drawing/2014/main" id="{A084C19B-1EE8-431E-9C21-C7B4EF4FD077}"/>
              </a:ext>
            </a:extLst>
          </p:cNvPr>
          <p:cNvSpPr/>
          <p:nvPr/>
        </p:nvSpPr>
        <p:spPr>
          <a:xfrm>
            <a:off x="3269236" y="3192402"/>
            <a:ext cx="4763140" cy="814477"/>
          </a:xfrm>
          <a:prstGeom prst="rect">
            <a:avLst/>
          </a:prstGeom>
          <a:noFill/>
          <a:ln>
            <a:noFill/>
          </a:ln>
          <a:effectLst/>
        </p:spPr>
        <p:txBody>
          <a:bodyPr spcFirstLastPara="0" vert="horz" wrap="square" lIns="41910" tIns="20955" rIns="41910" bIns="20955" numCol="1" spcCol="1270" anchor="ctr" anchorCtr="0">
            <a:noAutofit/>
          </a:bodyPr>
          <a:lstStyle/>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Re-test end-to-end core processes, plus additional integration scenarios</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Security roles and authorizations</a:t>
            </a:r>
          </a:p>
          <a:p>
            <a:pPr marL="171450" indent="-171450" fontAlgn="base">
              <a:spcBef>
                <a:spcPct val="0"/>
              </a:spcBef>
              <a:spcAft>
                <a:spcPct val="0"/>
              </a:spcAft>
              <a:buClr>
                <a:srgbClr val="0070AD"/>
              </a:buClr>
              <a:buFont typeface="Wingdings" panose="05000000000000000000" pitchFamily="2" charset="2"/>
              <a:buChar char="§"/>
              <a:defRPr/>
            </a:pPr>
            <a:r>
              <a:rPr lang="en-US" sz="1100" kern="0">
                <a:solidFill>
                  <a:prstClr val="black"/>
                </a:solidFill>
                <a:latin typeface="Verdana"/>
              </a:rPr>
              <a:t>Real data (50%)</a:t>
            </a: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7" name="object 7"/>
          <p:cNvSpPr txBox="1"/>
          <p:nvPr/>
        </p:nvSpPr>
        <p:spPr>
          <a:xfrm>
            <a:off x="214680" y="6638645"/>
            <a:ext cx="1945639"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3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8" name="object 8"/>
          <p:cNvSpPr txBox="1"/>
          <p:nvPr/>
        </p:nvSpPr>
        <p:spPr>
          <a:xfrm>
            <a:off x="9604629" y="6638645"/>
            <a:ext cx="2315210" cy="147955"/>
          </a:xfrm>
          <a:prstGeom prst="rect">
            <a:avLst/>
          </a:prstGeom>
        </p:spPr>
        <p:txBody>
          <a:bodyPr vert="horz" wrap="square" lIns="0" tIns="12700" rIns="0" bIns="0" rtlCol="0">
            <a:spAutoFit/>
          </a:bodyPr>
          <a:lstStyle/>
          <a:p>
            <a:pPr marL="12700">
              <a:lnSpc>
                <a:spcPct val="100000"/>
              </a:lnSpc>
              <a:spcBef>
                <a:spcPts val="100"/>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10">
                <a:solidFill>
                  <a:srgbClr val="12ABDB"/>
                </a:solidFill>
                <a:latin typeface="Verdana"/>
                <a:cs typeface="Verdana"/>
              </a:rPr>
              <a:t> </a:t>
            </a:r>
            <a:r>
              <a:rPr sz="800">
                <a:solidFill>
                  <a:srgbClr val="A6A6A6"/>
                </a:solidFill>
                <a:latin typeface="Verdana"/>
                <a:cs typeface="Verdana"/>
              </a:rPr>
              <a:t>83</a:t>
            </a:r>
            <a:endParaRPr sz="800">
              <a:latin typeface="Verdana"/>
              <a:cs typeface="Verdana"/>
            </a:endParaRPr>
          </a:p>
        </p:txBody>
      </p:sp>
      <p:sp>
        <p:nvSpPr>
          <p:cNvPr id="10" name="object 10"/>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11" name="object 11"/>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2" name="object 12"/>
          <p:cNvSpPr txBox="1"/>
          <p:nvPr/>
        </p:nvSpPr>
        <p:spPr>
          <a:xfrm>
            <a:off x="540207" y="2902153"/>
            <a:ext cx="3065145" cy="636270"/>
          </a:xfrm>
          <a:prstGeom prst="rect">
            <a:avLst/>
          </a:prstGeom>
        </p:spPr>
        <p:txBody>
          <a:bodyPr vert="horz" wrap="square" lIns="0" tIns="13335" rIns="0" bIns="0" rtlCol="0">
            <a:spAutoFit/>
          </a:bodyPr>
          <a:lstStyle/>
          <a:p>
            <a:pPr marL="12700">
              <a:lnSpc>
                <a:spcPct val="100000"/>
              </a:lnSpc>
              <a:spcBef>
                <a:spcPts val="105"/>
              </a:spcBef>
            </a:pPr>
            <a:r>
              <a:rPr sz="2000" b="1" spc="-5">
                <a:solidFill>
                  <a:srgbClr val="FFFFFF"/>
                </a:solidFill>
                <a:latin typeface="Verdana"/>
                <a:cs typeface="Verdana"/>
              </a:rPr>
              <a:t>Environment </a:t>
            </a:r>
            <a:r>
              <a:rPr sz="2000" b="1">
                <a:solidFill>
                  <a:srgbClr val="FFFFFF"/>
                </a:solidFill>
                <a:latin typeface="Verdana"/>
                <a:cs typeface="Verdana"/>
              </a:rPr>
              <a:t>Setup</a:t>
            </a:r>
            <a:r>
              <a:rPr sz="2000" b="1" spc="-95">
                <a:solidFill>
                  <a:srgbClr val="FFFFFF"/>
                </a:solidFill>
                <a:latin typeface="Verdana"/>
                <a:cs typeface="Verdana"/>
              </a:rPr>
              <a:t> </a:t>
            </a:r>
            <a:r>
              <a:rPr sz="2000" b="1" spc="5">
                <a:solidFill>
                  <a:srgbClr val="FFFFFF"/>
                </a:solidFill>
                <a:latin typeface="Verdana"/>
                <a:cs typeface="Verdana"/>
              </a:rPr>
              <a:t>&amp;</a:t>
            </a:r>
            <a:endParaRPr sz="2000">
              <a:latin typeface="Verdana"/>
              <a:cs typeface="Verdana"/>
            </a:endParaRPr>
          </a:p>
          <a:p>
            <a:pPr marL="12700">
              <a:lnSpc>
                <a:spcPct val="100000"/>
              </a:lnSpc>
            </a:pPr>
            <a:r>
              <a:rPr sz="2000" b="1">
                <a:solidFill>
                  <a:srgbClr val="FFFFFF"/>
                </a:solidFill>
                <a:latin typeface="Verdana"/>
                <a:cs typeface="Verdana"/>
              </a:rPr>
              <a:t>Operations</a:t>
            </a:r>
            <a:endParaRPr sz="2000">
              <a:latin typeface="Verdana"/>
              <a:cs typeface="Verdana"/>
            </a:endParaRPr>
          </a:p>
        </p:txBody>
      </p:sp>
      <p:sp>
        <p:nvSpPr>
          <p:cNvPr id="13" name="object 13"/>
          <p:cNvSpPr txBox="1">
            <a:spLocks noGrp="1"/>
          </p:cNvSpPr>
          <p:nvPr>
            <p:ph type="title"/>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rPr>
              <a:t>07</a:t>
            </a:r>
            <a:endParaRPr sz="4400"/>
          </a:p>
        </p:txBody>
      </p:sp>
      <p:sp>
        <p:nvSpPr>
          <p:cNvPr id="14" name="object 14"/>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pic>
        <p:nvPicPr>
          <p:cNvPr id="15" name="Picture 14">
            <a:extLst>
              <a:ext uri="{FF2B5EF4-FFF2-40B4-BE49-F238E27FC236}">
                <a16:creationId xmlns:a16="http://schemas.microsoft.com/office/drawing/2014/main" id="{7E75D7AC-6107-4E60-A98E-0B0BBC0DF50F}"/>
              </a:ext>
            </a:extLst>
          </p:cNvPr>
          <p:cNvPicPr>
            <a:picLocks noChangeAspect="1"/>
          </p:cNvPicPr>
          <p:nvPr/>
        </p:nvPicPr>
        <p:blipFill>
          <a:blip r:embed="rId3"/>
          <a:stretch>
            <a:fillRect/>
          </a:stretch>
        </p:blipFill>
        <p:spPr>
          <a:xfrm>
            <a:off x="6182098" y="1638300"/>
            <a:ext cx="5085977" cy="2809876"/>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79" y="318896"/>
            <a:ext cx="9612961" cy="412934"/>
          </a:xfrm>
          <a:prstGeom prst="rect">
            <a:avLst/>
          </a:prstGeom>
        </p:spPr>
        <p:txBody>
          <a:bodyPr vert="horz" wrap="square" lIns="0" tIns="12700" rIns="0" bIns="0" rtlCol="0">
            <a:spAutoFit/>
          </a:bodyPr>
          <a:lstStyle/>
          <a:p>
            <a:pPr marL="12700">
              <a:lnSpc>
                <a:spcPct val="100000"/>
              </a:lnSpc>
              <a:spcBef>
                <a:spcPts val="100"/>
              </a:spcBef>
            </a:pPr>
            <a:r>
              <a:rPr sz="2600" spc="-5"/>
              <a:t>Recommendations </a:t>
            </a:r>
            <a:r>
              <a:rPr sz="2600" spc="-20"/>
              <a:t>For </a:t>
            </a:r>
            <a:r>
              <a:rPr sz="2600"/>
              <a:t>Salesforce</a:t>
            </a:r>
            <a:r>
              <a:rPr sz="2600" spc="-110"/>
              <a:t> </a:t>
            </a:r>
            <a:r>
              <a:rPr sz="2600" spc="-5"/>
              <a:t>Sandbox</a:t>
            </a:r>
            <a:r>
              <a:rPr lang="it-IT" sz="2600" spc="-5"/>
              <a:t> (illustrative)</a:t>
            </a:r>
            <a:endParaRPr sz="2600"/>
          </a:p>
        </p:txBody>
      </p:sp>
      <p:grpSp>
        <p:nvGrpSpPr>
          <p:cNvPr id="85" name="Group 84">
            <a:extLst>
              <a:ext uri="{FF2B5EF4-FFF2-40B4-BE49-F238E27FC236}">
                <a16:creationId xmlns:a16="http://schemas.microsoft.com/office/drawing/2014/main" id="{33F209A3-21DD-4CC7-A284-60CB780D87EB}"/>
              </a:ext>
            </a:extLst>
          </p:cNvPr>
          <p:cNvGrpSpPr/>
          <p:nvPr/>
        </p:nvGrpSpPr>
        <p:grpSpPr>
          <a:xfrm>
            <a:off x="227075" y="1219200"/>
            <a:ext cx="11583162" cy="4466845"/>
            <a:chOff x="227838" y="1705355"/>
            <a:chExt cx="11773661" cy="4657344"/>
          </a:xfrm>
        </p:grpSpPr>
        <p:sp>
          <p:nvSpPr>
            <p:cNvPr id="3" name="object 3"/>
            <p:cNvSpPr/>
            <p:nvPr/>
          </p:nvSpPr>
          <p:spPr>
            <a:xfrm>
              <a:off x="227838" y="2893314"/>
              <a:ext cx="1632585" cy="601980"/>
            </a:xfrm>
            <a:custGeom>
              <a:avLst/>
              <a:gdLst/>
              <a:ahLst/>
              <a:cxnLst/>
              <a:rect l="l" t="t" r="r" b="b"/>
              <a:pathLst>
                <a:path w="1632585" h="601979">
                  <a:moveTo>
                    <a:pt x="1603756" y="0"/>
                  </a:moveTo>
                  <a:lnTo>
                    <a:pt x="28473" y="0"/>
                  </a:lnTo>
                  <a:lnTo>
                    <a:pt x="17391" y="2230"/>
                  </a:lnTo>
                  <a:lnTo>
                    <a:pt x="8340" y="8318"/>
                  </a:lnTo>
                  <a:lnTo>
                    <a:pt x="2237" y="17359"/>
                  </a:lnTo>
                  <a:lnTo>
                    <a:pt x="0" y="28448"/>
                  </a:lnTo>
                  <a:lnTo>
                    <a:pt x="0" y="573532"/>
                  </a:lnTo>
                  <a:lnTo>
                    <a:pt x="2237" y="584620"/>
                  </a:lnTo>
                  <a:lnTo>
                    <a:pt x="8340" y="593661"/>
                  </a:lnTo>
                  <a:lnTo>
                    <a:pt x="17391" y="599749"/>
                  </a:lnTo>
                  <a:lnTo>
                    <a:pt x="28473" y="601980"/>
                  </a:lnTo>
                  <a:lnTo>
                    <a:pt x="1603756" y="601980"/>
                  </a:lnTo>
                  <a:lnTo>
                    <a:pt x="1614844" y="599749"/>
                  </a:lnTo>
                  <a:lnTo>
                    <a:pt x="1623885" y="593661"/>
                  </a:lnTo>
                  <a:lnTo>
                    <a:pt x="1629973" y="584620"/>
                  </a:lnTo>
                  <a:lnTo>
                    <a:pt x="1632204" y="573532"/>
                  </a:lnTo>
                  <a:lnTo>
                    <a:pt x="1632204" y="28448"/>
                  </a:lnTo>
                  <a:lnTo>
                    <a:pt x="1629973" y="17359"/>
                  </a:lnTo>
                  <a:lnTo>
                    <a:pt x="1623885" y="8318"/>
                  </a:lnTo>
                  <a:lnTo>
                    <a:pt x="1614844" y="2230"/>
                  </a:lnTo>
                  <a:lnTo>
                    <a:pt x="1603756" y="0"/>
                  </a:lnTo>
                  <a:close/>
                </a:path>
              </a:pathLst>
            </a:custGeom>
            <a:solidFill>
              <a:srgbClr val="12ABDB"/>
            </a:solidFill>
          </p:spPr>
          <p:txBody>
            <a:bodyPr wrap="square" lIns="0" tIns="0" rIns="0" bIns="0" rtlCol="0"/>
            <a:lstStyle/>
            <a:p>
              <a:endParaRPr/>
            </a:p>
          </p:txBody>
        </p:sp>
        <p:sp>
          <p:nvSpPr>
            <p:cNvPr id="4" name="object 4"/>
            <p:cNvSpPr/>
            <p:nvPr/>
          </p:nvSpPr>
          <p:spPr>
            <a:xfrm>
              <a:off x="227838" y="2893314"/>
              <a:ext cx="1632585" cy="601980"/>
            </a:xfrm>
            <a:custGeom>
              <a:avLst/>
              <a:gdLst/>
              <a:ahLst/>
              <a:cxnLst/>
              <a:rect l="l" t="t" r="r" b="b"/>
              <a:pathLst>
                <a:path w="1632585" h="601979">
                  <a:moveTo>
                    <a:pt x="0" y="28448"/>
                  </a:moveTo>
                  <a:lnTo>
                    <a:pt x="2237" y="17359"/>
                  </a:lnTo>
                  <a:lnTo>
                    <a:pt x="8340" y="8318"/>
                  </a:lnTo>
                  <a:lnTo>
                    <a:pt x="17391" y="2230"/>
                  </a:lnTo>
                  <a:lnTo>
                    <a:pt x="28473" y="0"/>
                  </a:lnTo>
                  <a:lnTo>
                    <a:pt x="1603756" y="0"/>
                  </a:lnTo>
                  <a:lnTo>
                    <a:pt x="1614844" y="2230"/>
                  </a:lnTo>
                  <a:lnTo>
                    <a:pt x="1623885" y="8318"/>
                  </a:lnTo>
                  <a:lnTo>
                    <a:pt x="1629973" y="17359"/>
                  </a:lnTo>
                  <a:lnTo>
                    <a:pt x="1632204" y="28448"/>
                  </a:lnTo>
                  <a:lnTo>
                    <a:pt x="1632204" y="573532"/>
                  </a:lnTo>
                  <a:lnTo>
                    <a:pt x="1629973" y="584620"/>
                  </a:lnTo>
                  <a:lnTo>
                    <a:pt x="1623885" y="593661"/>
                  </a:lnTo>
                  <a:lnTo>
                    <a:pt x="1614844" y="599749"/>
                  </a:lnTo>
                  <a:lnTo>
                    <a:pt x="1603756" y="601980"/>
                  </a:lnTo>
                  <a:lnTo>
                    <a:pt x="28473" y="601980"/>
                  </a:lnTo>
                  <a:lnTo>
                    <a:pt x="17391" y="599749"/>
                  </a:lnTo>
                  <a:lnTo>
                    <a:pt x="8340" y="593661"/>
                  </a:lnTo>
                  <a:lnTo>
                    <a:pt x="2237" y="584620"/>
                  </a:lnTo>
                  <a:lnTo>
                    <a:pt x="0" y="573532"/>
                  </a:lnTo>
                  <a:lnTo>
                    <a:pt x="0" y="28448"/>
                  </a:lnTo>
                  <a:close/>
                </a:path>
              </a:pathLst>
            </a:custGeom>
            <a:ln w="28956">
              <a:solidFill>
                <a:srgbClr val="12ABDB"/>
              </a:solidFill>
            </a:ln>
          </p:spPr>
          <p:txBody>
            <a:bodyPr wrap="square" lIns="0" tIns="0" rIns="0" bIns="0" rtlCol="0"/>
            <a:lstStyle/>
            <a:p>
              <a:endParaRPr/>
            </a:p>
          </p:txBody>
        </p:sp>
        <p:sp>
          <p:nvSpPr>
            <p:cNvPr id="5" name="object 5"/>
            <p:cNvSpPr txBox="1"/>
            <p:nvPr/>
          </p:nvSpPr>
          <p:spPr>
            <a:xfrm>
              <a:off x="251011" y="3073654"/>
              <a:ext cx="1586230" cy="239395"/>
            </a:xfrm>
            <a:prstGeom prst="rect">
              <a:avLst/>
            </a:prstGeom>
          </p:spPr>
          <p:txBody>
            <a:bodyPr vert="horz" wrap="square" lIns="0" tIns="13335" rIns="0" bIns="0" rtlCol="0">
              <a:spAutoFit/>
            </a:bodyPr>
            <a:lstStyle/>
            <a:p>
              <a:pPr marL="503555">
                <a:lnSpc>
                  <a:spcPct val="100000"/>
                </a:lnSpc>
                <a:spcBef>
                  <a:spcPts val="105"/>
                </a:spcBef>
              </a:pPr>
              <a:r>
                <a:rPr sz="1400" b="1">
                  <a:solidFill>
                    <a:srgbClr val="FFFFFF"/>
                  </a:solidFill>
                  <a:latin typeface="Verdana"/>
                  <a:cs typeface="Verdana"/>
                </a:rPr>
                <a:t>Name</a:t>
              </a:r>
              <a:endParaRPr sz="1400">
                <a:latin typeface="Verdana"/>
                <a:cs typeface="Verdana"/>
              </a:endParaRPr>
            </a:p>
          </p:txBody>
        </p:sp>
        <p:sp>
          <p:nvSpPr>
            <p:cNvPr id="6" name="object 6"/>
            <p:cNvSpPr/>
            <p:nvPr/>
          </p:nvSpPr>
          <p:spPr>
            <a:xfrm>
              <a:off x="2260092" y="2909316"/>
              <a:ext cx="1645920" cy="617220"/>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2238755" y="2892551"/>
              <a:ext cx="1630680" cy="601980"/>
            </a:xfrm>
            <a:custGeom>
              <a:avLst/>
              <a:gdLst/>
              <a:ahLst/>
              <a:cxnLst/>
              <a:rect l="l" t="t" r="r" b="b"/>
              <a:pathLst>
                <a:path w="1630679" h="601979">
                  <a:moveTo>
                    <a:pt x="1530349" y="0"/>
                  </a:moveTo>
                  <a:lnTo>
                    <a:pt x="100330" y="0"/>
                  </a:lnTo>
                  <a:lnTo>
                    <a:pt x="61293" y="7889"/>
                  </a:lnTo>
                  <a:lnTo>
                    <a:pt x="29400" y="29400"/>
                  </a:lnTo>
                  <a:lnTo>
                    <a:pt x="7889" y="61293"/>
                  </a:lnTo>
                  <a:lnTo>
                    <a:pt x="0" y="100330"/>
                  </a:lnTo>
                  <a:lnTo>
                    <a:pt x="0" y="501650"/>
                  </a:lnTo>
                  <a:lnTo>
                    <a:pt x="7889" y="540686"/>
                  </a:lnTo>
                  <a:lnTo>
                    <a:pt x="29400" y="572579"/>
                  </a:lnTo>
                  <a:lnTo>
                    <a:pt x="61293" y="594090"/>
                  </a:lnTo>
                  <a:lnTo>
                    <a:pt x="100330" y="601980"/>
                  </a:lnTo>
                  <a:lnTo>
                    <a:pt x="1530349" y="601980"/>
                  </a:lnTo>
                  <a:lnTo>
                    <a:pt x="1569386" y="594090"/>
                  </a:lnTo>
                  <a:lnTo>
                    <a:pt x="1601279" y="572579"/>
                  </a:lnTo>
                  <a:lnTo>
                    <a:pt x="1622790" y="540686"/>
                  </a:lnTo>
                  <a:lnTo>
                    <a:pt x="1630680" y="501650"/>
                  </a:lnTo>
                  <a:lnTo>
                    <a:pt x="1630680" y="100330"/>
                  </a:lnTo>
                  <a:lnTo>
                    <a:pt x="1622790" y="61293"/>
                  </a:lnTo>
                  <a:lnTo>
                    <a:pt x="1601279" y="29400"/>
                  </a:lnTo>
                  <a:lnTo>
                    <a:pt x="1569386" y="7889"/>
                  </a:lnTo>
                  <a:lnTo>
                    <a:pt x="1530349" y="0"/>
                  </a:lnTo>
                  <a:close/>
                </a:path>
              </a:pathLst>
            </a:custGeom>
            <a:solidFill>
              <a:srgbClr val="FFFFFF"/>
            </a:solidFill>
          </p:spPr>
          <p:txBody>
            <a:bodyPr wrap="square" lIns="0" tIns="0" rIns="0" bIns="0" rtlCol="0"/>
            <a:lstStyle/>
            <a:p>
              <a:endParaRPr/>
            </a:p>
          </p:txBody>
        </p:sp>
        <p:sp>
          <p:nvSpPr>
            <p:cNvPr id="8" name="object 8"/>
            <p:cNvSpPr/>
            <p:nvPr/>
          </p:nvSpPr>
          <p:spPr>
            <a:xfrm>
              <a:off x="2238755" y="2892551"/>
              <a:ext cx="1630680" cy="601980"/>
            </a:xfrm>
            <a:custGeom>
              <a:avLst/>
              <a:gdLst/>
              <a:ahLst/>
              <a:cxnLst/>
              <a:rect l="l" t="t" r="r" b="b"/>
              <a:pathLst>
                <a:path w="1630679" h="601979">
                  <a:moveTo>
                    <a:pt x="0" y="100330"/>
                  </a:moveTo>
                  <a:lnTo>
                    <a:pt x="7889" y="61293"/>
                  </a:lnTo>
                  <a:lnTo>
                    <a:pt x="29400" y="29400"/>
                  </a:lnTo>
                  <a:lnTo>
                    <a:pt x="61293" y="7889"/>
                  </a:lnTo>
                  <a:lnTo>
                    <a:pt x="100330" y="0"/>
                  </a:lnTo>
                  <a:lnTo>
                    <a:pt x="1530349" y="0"/>
                  </a:lnTo>
                  <a:lnTo>
                    <a:pt x="1569386" y="7889"/>
                  </a:lnTo>
                  <a:lnTo>
                    <a:pt x="1601279" y="29400"/>
                  </a:lnTo>
                  <a:lnTo>
                    <a:pt x="1622790" y="61293"/>
                  </a:lnTo>
                  <a:lnTo>
                    <a:pt x="1630680" y="100330"/>
                  </a:lnTo>
                  <a:lnTo>
                    <a:pt x="1630680" y="501650"/>
                  </a:lnTo>
                  <a:lnTo>
                    <a:pt x="1622790" y="540686"/>
                  </a:lnTo>
                  <a:lnTo>
                    <a:pt x="1601279" y="572579"/>
                  </a:lnTo>
                  <a:lnTo>
                    <a:pt x="1569386" y="594090"/>
                  </a:lnTo>
                  <a:lnTo>
                    <a:pt x="1530349" y="601980"/>
                  </a:lnTo>
                  <a:lnTo>
                    <a:pt x="100330" y="601980"/>
                  </a:lnTo>
                  <a:lnTo>
                    <a:pt x="61293" y="594090"/>
                  </a:lnTo>
                  <a:lnTo>
                    <a:pt x="29400" y="572579"/>
                  </a:lnTo>
                  <a:lnTo>
                    <a:pt x="7889" y="540686"/>
                  </a:lnTo>
                  <a:lnTo>
                    <a:pt x="0" y="501650"/>
                  </a:lnTo>
                  <a:lnTo>
                    <a:pt x="0" y="100330"/>
                  </a:lnTo>
                  <a:close/>
                </a:path>
              </a:pathLst>
            </a:custGeom>
            <a:ln w="12192">
              <a:solidFill>
                <a:srgbClr val="12ABDB"/>
              </a:solidFill>
            </a:ln>
          </p:spPr>
          <p:txBody>
            <a:bodyPr wrap="square" lIns="0" tIns="0" rIns="0" bIns="0" rtlCol="0"/>
            <a:lstStyle/>
            <a:p>
              <a:endParaRPr/>
            </a:p>
          </p:txBody>
        </p:sp>
        <p:sp>
          <p:nvSpPr>
            <p:cNvPr id="9" name="object 9"/>
            <p:cNvSpPr txBox="1"/>
            <p:nvPr/>
          </p:nvSpPr>
          <p:spPr>
            <a:xfrm>
              <a:off x="2475738" y="3088894"/>
              <a:ext cx="1156335"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Development</a:t>
              </a:r>
              <a:endParaRPr sz="1200">
                <a:latin typeface="Verdana"/>
                <a:cs typeface="Verdana"/>
              </a:endParaRPr>
            </a:p>
          </p:txBody>
        </p:sp>
        <p:sp>
          <p:nvSpPr>
            <p:cNvPr id="10" name="object 10"/>
            <p:cNvSpPr/>
            <p:nvPr/>
          </p:nvSpPr>
          <p:spPr>
            <a:xfrm>
              <a:off x="4271771" y="2909316"/>
              <a:ext cx="1645920" cy="617220"/>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4250435" y="2892551"/>
              <a:ext cx="1630680" cy="601980"/>
            </a:xfrm>
            <a:custGeom>
              <a:avLst/>
              <a:gdLst/>
              <a:ahLst/>
              <a:cxnLst/>
              <a:rect l="l" t="t" r="r" b="b"/>
              <a:pathLst>
                <a:path w="1630679" h="601979">
                  <a:moveTo>
                    <a:pt x="1530350" y="0"/>
                  </a:moveTo>
                  <a:lnTo>
                    <a:pt x="100329" y="0"/>
                  </a:lnTo>
                  <a:lnTo>
                    <a:pt x="61293" y="7889"/>
                  </a:lnTo>
                  <a:lnTo>
                    <a:pt x="29400" y="29400"/>
                  </a:lnTo>
                  <a:lnTo>
                    <a:pt x="7889" y="61293"/>
                  </a:lnTo>
                  <a:lnTo>
                    <a:pt x="0" y="100330"/>
                  </a:lnTo>
                  <a:lnTo>
                    <a:pt x="0" y="501650"/>
                  </a:lnTo>
                  <a:lnTo>
                    <a:pt x="7889" y="540686"/>
                  </a:lnTo>
                  <a:lnTo>
                    <a:pt x="29400" y="572579"/>
                  </a:lnTo>
                  <a:lnTo>
                    <a:pt x="61293" y="594090"/>
                  </a:lnTo>
                  <a:lnTo>
                    <a:pt x="100329" y="601980"/>
                  </a:lnTo>
                  <a:lnTo>
                    <a:pt x="1530350" y="601980"/>
                  </a:lnTo>
                  <a:lnTo>
                    <a:pt x="1569386" y="594090"/>
                  </a:lnTo>
                  <a:lnTo>
                    <a:pt x="1601279" y="572579"/>
                  </a:lnTo>
                  <a:lnTo>
                    <a:pt x="1622790" y="540686"/>
                  </a:lnTo>
                  <a:lnTo>
                    <a:pt x="1630679" y="501650"/>
                  </a:lnTo>
                  <a:lnTo>
                    <a:pt x="1630679" y="100330"/>
                  </a:lnTo>
                  <a:lnTo>
                    <a:pt x="1622790" y="61293"/>
                  </a:lnTo>
                  <a:lnTo>
                    <a:pt x="1601279" y="29400"/>
                  </a:lnTo>
                  <a:lnTo>
                    <a:pt x="1569386" y="7889"/>
                  </a:lnTo>
                  <a:lnTo>
                    <a:pt x="1530350" y="0"/>
                  </a:lnTo>
                  <a:close/>
                </a:path>
              </a:pathLst>
            </a:custGeom>
            <a:solidFill>
              <a:srgbClr val="FFFFFF"/>
            </a:solidFill>
          </p:spPr>
          <p:txBody>
            <a:bodyPr wrap="square" lIns="0" tIns="0" rIns="0" bIns="0" rtlCol="0"/>
            <a:lstStyle/>
            <a:p>
              <a:endParaRPr/>
            </a:p>
          </p:txBody>
        </p:sp>
        <p:sp>
          <p:nvSpPr>
            <p:cNvPr id="12" name="object 12"/>
            <p:cNvSpPr/>
            <p:nvPr/>
          </p:nvSpPr>
          <p:spPr>
            <a:xfrm>
              <a:off x="4250435" y="2892551"/>
              <a:ext cx="1630680" cy="601980"/>
            </a:xfrm>
            <a:custGeom>
              <a:avLst/>
              <a:gdLst/>
              <a:ahLst/>
              <a:cxnLst/>
              <a:rect l="l" t="t" r="r" b="b"/>
              <a:pathLst>
                <a:path w="1630679" h="601979">
                  <a:moveTo>
                    <a:pt x="0" y="100330"/>
                  </a:moveTo>
                  <a:lnTo>
                    <a:pt x="7889" y="61293"/>
                  </a:lnTo>
                  <a:lnTo>
                    <a:pt x="29400" y="29400"/>
                  </a:lnTo>
                  <a:lnTo>
                    <a:pt x="61293" y="7889"/>
                  </a:lnTo>
                  <a:lnTo>
                    <a:pt x="100329" y="0"/>
                  </a:lnTo>
                  <a:lnTo>
                    <a:pt x="1530350" y="0"/>
                  </a:lnTo>
                  <a:lnTo>
                    <a:pt x="1569386" y="7889"/>
                  </a:lnTo>
                  <a:lnTo>
                    <a:pt x="1601279" y="29400"/>
                  </a:lnTo>
                  <a:lnTo>
                    <a:pt x="1622790" y="61293"/>
                  </a:lnTo>
                  <a:lnTo>
                    <a:pt x="1630679" y="100330"/>
                  </a:lnTo>
                  <a:lnTo>
                    <a:pt x="1630679" y="501650"/>
                  </a:lnTo>
                  <a:lnTo>
                    <a:pt x="1622790" y="540686"/>
                  </a:lnTo>
                  <a:lnTo>
                    <a:pt x="1601279" y="572579"/>
                  </a:lnTo>
                  <a:lnTo>
                    <a:pt x="1569386" y="594090"/>
                  </a:lnTo>
                  <a:lnTo>
                    <a:pt x="1530350" y="601980"/>
                  </a:lnTo>
                  <a:lnTo>
                    <a:pt x="100329" y="601980"/>
                  </a:lnTo>
                  <a:lnTo>
                    <a:pt x="61293" y="594090"/>
                  </a:lnTo>
                  <a:lnTo>
                    <a:pt x="29400" y="572579"/>
                  </a:lnTo>
                  <a:lnTo>
                    <a:pt x="7889" y="540686"/>
                  </a:lnTo>
                  <a:lnTo>
                    <a:pt x="0" y="501650"/>
                  </a:lnTo>
                  <a:lnTo>
                    <a:pt x="0" y="100330"/>
                  </a:lnTo>
                  <a:close/>
                </a:path>
              </a:pathLst>
            </a:custGeom>
            <a:ln w="12192">
              <a:solidFill>
                <a:srgbClr val="12ABDB"/>
              </a:solidFill>
            </a:ln>
          </p:spPr>
          <p:txBody>
            <a:bodyPr wrap="square" lIns="0" tIns="0" rIns="0" bIns="0" rtlCol="0"/>
            <a:lstStyle/>
            <a:p>
              <a:endParaRPr/>
            </a:p>
          </p:txBody>
        </p:sp>
        <p:sp>
          <p:nvSpPr>
            <p:cNvPr id="13" name="object 13"/>
            <p:cNvSpPr txBox="1"/>
            <p:nvPr/>
          </p:nvSpPr>
          <p:spPr>
            <a:xfrm>
              <a:off x="4836414" y="3088894"/>
              <a:ext cx="459740"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Build</a:t>
              </a:r>
              <a:endParaRPr sz="1200">
                <a:latin typeface="Verdana"/>
                <a:cs typeface="Verdana"/>
              </a:endParaRPr>
            </a:p>
          </p:txBody>
        </p:sp>
        <p:sp>
          <p:nvSpPr>
            <p:cNvPr id="14" name="object 14"/>
            <p:cNvSpPr/>
            <p:nvPr/>
          </p:nvSpPr>
          <p:spPr>
            <a:xfrm>
              <a:off x="6283452" y="2909316"/>
              <a:ext cx="1645920" cy="617220"/>
            </a:xfrm>
            <a:prstGeom prst="rect">
              <a:avLst/>
            </a:prstGeom>
            <a:blipFill>
              <a:blip r:embed="rId2" cstate="print"/>
              <a:stretch>
                <a:fillRect/>
              </a:stretch>
            </a:blipFill>
          </p:spPr>
          <p:txBody>
            <a:bodyPr wrap="square" lIns="0" tIns="0" rIns="0" bIns="0" rtlCol="0"/>
            <a:lstStyle/>
            <a:p>
              <a:endParaRPr/>
            </a:p>
          </p:txBody>
        </p:sp>
        <p:sp>
          <p:nvSpPr>
            <p:cNvPr id="15" name="object 15"/>
            <p:cNvSpPr/>
            <p:nvPr/>
          </p:nvSpPr>
          <p:spPr>
            <a:xfrm>
              <a:off x="6262115" y="2892551"/>
              <a:ext cx="1630680" cy="601980"/>
            </a:xfrm>
            <a:custGeom>
              <a:avLst/>
              <a:gdLst/>
              <a:ahLst/>
              <a:cxnLst/>
              <a:rect l="l" t="t" r="r" b="b"/>
              <a:pathLst>
                <a:path w="1630679" h="601979">
                  <a:moveTo>
                    <a:pt x="1530350" y="0"/>
                  </a:moveTo>
                  <a:lnTo>
                    <a:pt x="100330" y="0"/>
                  </a:lnTo>
                  <a:lnTo>
                    <a:pt x="61293" y="7889"/>
                  </a:lnTo>
                  <a:lnTo>
                    <a:pt x="29400" y="29400"/>
                  </a:lnTo>
                  <a:lnTo>
                    <a:pt x="7889" y="61293"/>
                  </a:lnTo>
                  <a:lnTo>
                    <a:pt x="0" y="100330"/>
                  </a:lnTo>
                  <a:lnTo>
                    <a:pt x="0" y="501650"/>
                  </a:lnTo>
                  <a:lnTo>
                    <a:pt x="7889" y="540686"/>
                  </a:lnTo>
                  <a:lnTo>
                    <a:pt x="29400" y="572579"/>
                  </a:lnTo>
                  <a:lnTo>
                    <a:pt x="61293" y="594090"/>
                  </a:lnTo>
                  <a:lnTo>
                    <a:pt x="100330" y="601980"/>
                  </a:lnTo>
                  <a:lnTo>
                    <a:pt x="1530350" y="601980"/>
                  </a:lnTo>
                  <a:lnTo>
                    <a:pt x="1569386" y="594090"/>
                  </a:lnTo>
                  <a:lnTo>
                    <a:pt x="1601279" y="572579"/>
                  </a:lnTo>
                  <a:lnTo>
                    <a:pt x="1622790" y="540686"/>
                  </a:lnTo>
                  <a:lnTo>
                    <a:pt x="1630680" y="501650"/>
                  </a:lnTo>
                  <a:lnTo>
                    <a:pt x="1630680" y="100330"/>
                  </a:lnTo>
                  <a:lnTo>
                    <a:pt x="1622790" y="61293"/>
                  </a:lnTo>
                  <a:lnTo>
                    <a:pt x="1601279" y="29400"/>
                  </a:lnTo>
                  <a:lnTo>
                    <a:pt x="1569386" y="7889"/>
                  </a:lnTo>
                  <a:lnTo>
                    <a:pt x="1530350" y="0"/>
                  </a:lnTo>
                  <a:close/>
                </a:path>
              </a:pathLst>
            </a:custGeom>
            <a:solidFill>
              <a:srgbClr val="FFFFFF"/>
            </a:solidFill>
          </p:spPr>
          <p:txBody>
            <a:bodyPr wrap="square" lIns="0" tIns="0" rIns="0" bIns="0" rtlCol="0"/>
            <a:lstStyle/>
            <a:p>
              <a:endParaRPr/>
            </a:p>
          </p:txBody>
        </p:sp>
        <p:sp>
          <p:nvSpPr>
            <p:cNvPr id="16" name="object 16"/>
            <p:cNvSpPr/>
            <p:nvPr/>
          </p:nvSpPr>
          <p:spPr>
            <a:xfrm>
              <a:off x="6262115" y="2892551"/>
              <a:ext cx="1630680" cy="601980"/>
            </a:xfrm>
            <a:custGeom>
              <a:avLst/>
              <a:gdLst/>
              <a:ahLst/>
              <a:cxnLst/>
              <a:rect l="l" t="t" r="r" b="b"/>
              <a:pathLst>
                <a:path w="1630679" h="601979">
                  <a:moveTo>
                    <a:pt x="0" y="100330"/>
                  </a:moveTo>
                  <a:lnTo>
                    <a:pt x="7889" y="61293"/>
                  </a:lnTo>
                  <a:lnTo>
                    <a:pt x="29400" y="29400"/>
                  </a:lnTo>
                  <a:lnTo>
                    <a:pt x="61293" y="7889"/>
                  </a:lnTo>
                  <a:lnTo>
                    <a:pt x="100330" y="0"/>
                  </a:lnTo>
                  <a:lnTo>
                    <a:pt x="1530350" y="0"/>
                  </a:lnTo>
                  <a:lnTo>
                    <a:pt x="1569386" y="7889"/>
                  </a:lnTo>
                  <a:lnTo>
                    <a:pt x="1601279" y="29400"/>
                  </a:lnTo>
                  <a:lnTo>
                    <a:pt x="1622790" y="61293"/>
                  </a:lnTo>
                  <a:lnTo>
                    <a:pt x="1630680" y="100330"/>
                  </a:lnTo>
                  <a:lnTo>
                    <a:pt x="1630680" y="501650"/>
                  </a:lnTo>
                  <a:lnTo>
                    <a:pt x="1622790" y="540686"/>
                  </a:lnTo>
                  <a:lnTo>
                    <a:pt x="1601279" y="572579"/>
                  </a:lnTo>
                  <a:lnTo>
                    <a:pt x="1569386" y="594090"/>
                  </a:lnTo>
                  <a:lnTo>
                    <a:pt x="1530350" y="601980"/>
                  </a:lnTo>
                  <a:lnTo>
                    <a:pt x="100330" y="601980"/>
                  </a:lnTo>
                  <a:lnTo>
                    <a:pt x="61293" y="594090"/>
                  </a:lnTo>
                  <a:lnTo>
                    <a:pt x="29400" y="572579"/>
                  </a:lnTo>
                  <a:lnTo>
                    <a:pt x="7889" y="540686"/>
                  </a:lnTo>
                  <a:lnTo>
                    <a:pt x="0" y="501650"/>
                  </a:lnTo>
                  <a:lnTo>
                    <a:pt x="0" y="100330"/>
                  </a:lnTo>
                  <a:close/>
                </a:path>
              </a:pathLst>
            </a:custGeom>
            <a:ln w="12192">
              <a:solidFill>
                <a:srgbClr val="12ABDB"/>
              </a:solidFill>
            </a:ln>
          </p:spPr>
          <p:txBody>
            <a:bodyPr wrap="square" lIns="0" tIns="0" rIns="0" bIns="0" rtlCol="0"/>
            <a:lstStyle/>
            <a:p>
              <a:endParaRPr/>
            </a:p>
          </p:txBody>
        </p:sp>
        <p:sp>
          <p:nvSpPr>
            <p:cNvPr id="17" name="object 17"/>
            <p:cNvSpPr txBox="1"/>
            <p:nvPr/>
          </p:nvSpPr>
          <p:spPr>
            <a:xfrm>
              <a:off x="6941057" y="3088894"/>
              <a:ext cx="273685"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QA</a:t>
              </a:r>
              <a:endParaRPr sz="1200">
                <a:latin typeface="Verdana"/>
                <a:cs typeface="Verdana"/>
              </a:endParaRPr>
            </a:p>
          </p:txBody>
        </p:sp>
        <p:sp>
          <p:nvSpPr>
            <p:cNvPr id="18" name="object 18"/>
            <p:cNvSpPr/>
            <p:nvPr/>
          </p:nvSpPr>
          <p:spPr>
            <a:xfrm>
              <a:off x="8295131" y="2909316"/>
              <a:ext cx="1645920" cy="617220"/>
            </a:xfrm>
            <a:prstGeom prst="rect">
              <a:avLst/>
            </a:prstGeom>
            <a:blipFill>
              <a:blip r:embed="rId2" cstate="print"/>
              <a:stretch>
                <a:fillRect/>
              </a:stretch>
            </a:blipFill>
          </p:spPr>
          <p:txBody>
            <a:bodyPr wrap="square" lIns="0" tIns="0" rIns="0" bIns="0" rtlCol="0"/>
            <a:lstStyle/>
            <a:p>
              <a:endParaRPr/>
            </a:p>
          </p:txBody>
        </p:sp>
        <p:sp>
          <p:nvSpPr>
            <p:cNvPr id="19" name="object 19"/>
            <p:cNvSpPr/>
            <p:nvPr/>
          </p:nvSpPr>
          <p:spPr>
            <a:xfrm>
              <a:off x="8273795" y="2892551"/>
              <a:ext cx="1630680" cy="601980"/>
            </a:xfrm>
            <a:custGeom>
              <a:avLst/>
              <a:gdLst/>
              <a:ahLst/>
              <a:cxnLst/>
              <a:rect l="l" t="t" r="r" b="b"/>
              <a:pathLst>
                <a:path w="1630679" h="601979">
                  <a:moveTo>
                    <a:pt x="1530350" y="0"/>
                  </a:moveTo>
                  <a:lnTo>
                    <a:pt x="100329" y="0"/>
                  </a:lnTo>
                  <a:lnTo>
                    <a:pt x="61293" y="7889"/>
                  </a:lnTo>
                  <a:lnTo>
                    <a:pt x="29400" y="29400"/>
                  </a:lnTo>
                  <a:lnTo>
                    <a:pt x="7889" y="61293"/>
                  </a:lnTo>
                  <a:lnTo>
                    <a:pt x="0" y="100330"/>
                  </a:lnTo>
                  <a:lnTo>
                    <a:pt x="0" y="501650"/>
                  </a:lnTo>
                  <a:lnTo>
                    <a:pt x="7889" y="540686"/>
                  </a:lnTo>
                  <a:lnTo>
                    <a:pt x="29400" y="572579"/>
                  </a:lnTo>
                  <a:lnTo>
                    <a:pt x="61293" y="594090"/>
                  </a:lnTo>
                  <a:lnTo>
                    <a:pt x="100329" y="601980"/>
                  </a:lnTo>
                  <a:lnTo>
                    <a:pt x="1530350" y="601980"/>
                  </a:lnTo>
                  <a:lnTo>
                    <a:pt x="1569386" y="594090"/>
                  </a:lnTo>
                  <a:lnTo>
                    <a:pt x="1601279" y="572579"/>
                  </a:lnTo>
                  <a:lnTo>
                    <a:pt x="1622790" y="540686"/>
                  </a:lnTo>
                  <a:lnTo>
                    <a:pt x="1630679" y="501650"/>
                  </a:lnTo>
                  <a:lnTo>
                    <a:pt x="1630679" y="100330"/>
                  </a:lnTo>
                  <a:lnTo>
                    <a:pt x="1622790" y="61293"/>
                  </a:lnTo>
                  <a:lnTo>
                    <a:pt x="1601279" y="29400"/>
                  </a:lnTo>
                  <a:lnTo>
                    <a:pt x="1569386" y="7889"/>
                  </a:lnTo>
                  <a:lnTo>
                    <a:pt x="1530350" y="0"/>
                  </a:lnTo>
                  <a:close/>
                </a:path>
              </a:pathLst>
            </a:custGeom>
            <a:solidFill>
              <a:srgbClr val="FFFFFF"/>
            </a:solidFill>
          </p:spPr>
          <p:txBody>
            <a:bodyPr wrap="square" lIns="0" tIns="0" rIns="0" bIns="0" rtlCol="0"/>
            <a:lstStyle/>
            <a:p>
              <a:endParaRPr/>
            </a:p>
          </p:txBody>
        </p:sp>
        <p:sp>
          <p:nvSpPr>
            <p:cNvPr id="20" name="object 20"/>
            <p:cNvSpPr/>
            <p:nvPr/>
          </p:nvSpPr>
          <p:spPr>
            <a:xfrm>
              <a:off x="8273795" y="2892551"/>
              <a:ext cx="1630680" cy="601980"/>
            </a:xfrm>
            <a:custGeom>
              <a:avLst/>
              <a:gdLst/>
              <a:ahLst/>
              <a:cxnLst/>
              <a:rect l="l" t="t" r="r" b="b"/>
              <a:pathLst>
                <a:path w="1630679" h="601979">
                  <a:moveTo>
                    <a:pt x="0" y="100330"/>
                  </a:moveTo>
                  <a:lnTo>
                    <a:pt x="7889" y="61293"/>
                  </a:lnTo>
                  <a:lnTo>
                    <a:pt x="29400" y="29400"/>
                  </a:lnTo>
                  <a:lnTo>
                    <a:pt x="61293" y="7889"/>
                  </a:lnTo>
                  <a:lnTo>
                    <a:pt x="100329" y="0"/>
                  </a:lnTo>
                  <a:lnTo>
                    <a:pt x="1530350" y="0"/>
                  </a:lnTo>
                  <a:lnTo>
                    <a:pt x="1569386" y="7889"/>
                  </a:lnTo>
                  <a:lnTo>
                    <a:pt x="1601279" y="29400"/>
                  </a:lnTo>
                  <a:lnTo>
                    <a:pt x="1622790" y="61293"/>
                  </a:lnTo>
                  <a:lnTo>
                    <a:pt x="1630679" y="100330"/>
                  </a:lnTo>
                  <a:lnTo>
                    <a:pt x="1630679" y="501650"/>
                  </a:lnTo>
                  <a:lnTo>
                    <a:pt x="1622790" y="540686"/>
                  </a:lnTo>
                  <a:lnTo>
                    <a:pt x="1601279" y="572579"/>
                  </a:lnTo>
                  <a:lnTo>
                    <a:pt x="1569386" y="594090"/>
                  </a:lnTo>
                  <a:lnTo>
                    <a:pt x="1530350" y="601980"/>
                  </a:lnTo>
                  <a:lnTo>
                    <a:pt x="100329" y="601980"/>
                  </a:lnTo>
                  <a:lnTo>
                    <a:pt x="61293" y="594090"/>
                  </a:lnTo>
                  <a:lnTo>
                    <a:pt x="29400" y="572579"/>
                  </a:lnTo>
                  <a:lnTo>
                    <a:pt x="7889" y="540686"/>
                  </a:lnTo>
                  <a:lnTo>
                    <a:pt x="0" y="501650"/>
                  </a:lnTo>
                  <a:lnTo>
                    <a:pt x="0" y="100330"/>
                  </a:lnTo>
                  <a:close/>
                </a:path>
              </a:pathLst>
            </a:custGeom>
            <a:ln w="12192">
              <a:solidFill>
                <a:srgbClr val="12ABDB"/>
              </a:solidFill>
            </a:ln>
          </p:spPr>
          <p:txBody>
            <a:bodyPr wrap="square" lIns="0" tIns="0" rIns="0" bIns="0" rtlCol="0"/>
            <a:lstStyle/>
            <a:p>
              <a:endParaRPr/>
            </a:p>
          </p:txBody>
        </p:sp>
        <p:sp>
          <p:nvSpPr>
            <p:cNvPr id="21" name="object 21"/>
            <p:cNvSpPr txBox="1"/>
            <p:nvPr/>
          </p:nvSpPr>
          <p:spPr>
            <a:xfrm>
              <a:off x="8928354" y="3088894"/>
              <a:ext cx="321310"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S</a:t>
              </a:r>
              <a:r>
                <a:rPr sz="1200" b="1">
                  <a:latin typeface="Verdana"/>
                  <a:cs typeface="Verdana"/>
                </a:rPr>
                <a:t>IT</a:t>
              </a:r>
              <a:endParaRPr sz="1200">
                <a:latin typeface="Verdana"/>
                <a:cs typeface="Verdana"/>
              </a:endParaRPr>
            </a:p>
          </p:txBody>
        </p:sp>
        <p:sp>
          <p:nvSpPr>
            <p:cNvPr id="22" name="object 22"/>
            <p:cNvSpPr/>
            <p:nvPr/>
          </p:nvSpPr>
          <p:spPr>
            <a:xfrm>
              <a:off x="10305288" y="2909316"/>
              <a:ext cx="1647444" cy="617220"/>
            </a:xfrm>
            <a:prstGeom prst="rect">
              <a:avLst/>
            </a:prstGeom>
            <a:blipFill>
              <a:blip r:embed="rId3" cstate="print"/>
              <a:stretch>
                <a:fillRect/>
              </a:stretch>
            </a:blipFill>
          </p:spPr>
          <p:txBody>
            <a:bodyPr wrap="square" lIns="0" tIns="0" rIns="0" bIns="0" rtlCol="0"/>
            <a:lstStyle/>
            <a:p>
              <a:endParaRPr/>
            </a:p>
          </p:txBody>
        </p:sp>
        <p:sp>
          <p:nvSpPr>
            <p:cNvPr id="23" name="object 23"/>
            <p:cNvSpPr/>
            <p:nvPr/>
          </p:nvSpPr>
          <p:spPr>
            <a:xfrm>
              <a:off x="10283952" y="2892551"/>
              <a:ext cx="1632585" cy="601980"/>
            </a:xfrm>
            <a:custGeom>
              <a:avLst/>
              <a:gdLst/>
              <a:ahLst/>
              <a:cxnLst/>
              <a:rect l="l" t="t" r="r" b="b"/>
              <a:pathLst>
                <a:path w="1632584" h="601979">
                  <a:moveTo>
                    <a:pt x="1531874" y="0"/>
                  </a:moveTo>
                  <a:lnTo>
                    <a:pt x="100329" y="0"/>
                  </a:lnTo>
                  <a:lnTo>
                    <a:pt x="61293" y="7889"/>
                  </a:lnTo>
                  <a:lnTo>
                    <a:pt x="29400" y="29400"/>
                  </a:lnTo>
                  <a:lnTo>
                    <a:pt x="7889" y="61293"/>
                  </a:lnTo>
                  <a:lnTo>
                    <a:pt x="0" y="100330"/>
                  </a:lnTo>
                  <a:lnTo>
                    <a:pt x="0" y="501650"/>
                  </a:lnTo>
                  <a:lnTo>
                    <a:pt x="7889" y="540686"/>
                  </a:lnTo>
                  <a:lnTo>
                    <a:pt x="29400" y="572579"/>
                  </a:lnTo>
                  <a:lnTo>
                    <a:pt x="61293" y="594090"/>
                  </a:lnTo>
                  <a:lnTo>
                    <a:pt x="100329" y="601980"/>
                  </a:lnTo>
                  <a:lnTo>
                    <a:pt x="1531874" y="601980"/>
                  </a:lnTo>
                  <a:lnTo>
                    <a:pt x="1570910" y="594090"/>
                  </a:lnTo>
                  <a:lnTo>
                    <a:pt x="1602803" y="572579"/>
                  </a:lnTo>
                  <a:lnTo>
                    <a:pt x="1624314" y="540686"/>
                  </a:lnTo>
                  <a:lnTo>
                    <a:pt x="1632203" y="501650"/>
                  </a:lnTo>
                  <a:lnTo>
                    <a:pt x="1632203" y="100330"/>
                  </a:lnTo>
                  <a:lnTo>
                    <a:pt x="1624314" y="61293"/>
                  </a:lnTo>
                  <a:lnTo>
                    <a:pt x="1602803" y="29400"/>
                  </a:lnTo>
                  <a:lnTo>
                    <a:pt x="1570910" y="7889"/>
                  </a:lnTo>
                  <a:lnTo>
                    <a:pt x="1531874" y="0"/>
                  </a:lnTo>
                  <a:close/>
                </a:path>
              </a:pathLst>
            </a:custGeom>
            <a:solidFill>
              <a:srgbClr val="FFFFFF"/>
            </a:solidFill>
          </p:spPr>
          <p:txBody>
            <a:bodyPr wrap="square" lIns="0" tIns="0" rIns="0" bIns="0" rtlCol="0"/>
            <a:lstStyle/>
            <a:p>
              <a:endParaRPr/>
            </a:p>
          </p:txBody>
        </p:sp>
        <p:sp>
          <p:nvSpPr>
            <p:cNvPr id="24" name="object 24"/>
            <p:cNvSpPr/>
            <p:nvPr/>
          </p:nvSpPr>
          <p:spPr>
            <a:xfrm>
              <a:off x="10283952" y="2892551"/>
              <a:ext cx="1632585" cy="601980"/>
            </a:xfrm>
            <a:custGeom>
              <a:avLst/>
              <a:gdLst/>
              <a:ahLst/>
              <a:cxnLst/>
              <a:rect l="l" t="t" r="r" b="b"/>
              <a:pathLst>
                <a:path w="1632584" h="601979">
                  <a:moveTo>
                    <a:pt x="0" y="100330"/>
                  </a:moveTo>
                  <a:lnTo>
                    <a:pt x="7889" y="61293"/>
                  </a:lnTo>
                  <a:lnTo>
                    <a:pt x="29400" y="29400"/>
                  </a:lnTo>
                  <a:lnTo>
                    <a:pt x="61293" y="7889"/>
                  </a:lnTo>
                  <a:lnTo>
                    <a:pt x="100329" y="0"/>
                  </a:lnTo>
                  <a:lnTo>
                    <a:pt x="1531874" y="0"/>
                  </a:lnTo>
                  <a:lnTo>
                    <a:pt x="1570910" y="7889"/>
                  </a:lnTo>
                  <a:lnTo>
                    <a:pt x="1602803" y="29400"/>
                  </a:lnTo>
                  <a:lnTo>
                    <a:pt x="1624314" y="61293"/>
                  </a:lnTo>
                  <a:lnTo>
                    <a:pt x="1632203" y="100330"/>
                  </a:lnTo>
                  <a:lnTo>
                    <a:pt x="1632203" y="501650"/>
                  </a:lnTo>
                  <a:lnTo>
                    <a:pt x="1624314" y="540686"/>
                  </a:lnTo>
                  <a:lnTo>
                    <a:pt x="1602803" y="572579"/>
                  </a:lnTo>
                  <a:lnTo>
                    <a:pt x="1570910" y="594090"/>
                  </a:lnTo>
                  <a:lnTo>
                    <a:pt x="1531874" y="601980"/>
                  </a:lnTo>
                  <a:lnTo>
                    <a:pt x="100329" y="601980"/>
                  </a:lnTo>
                  <a:lnTo>
                    <a:pt x="61293" y="594090"/>
                  </a:lnTo>
                  <a:lnTo>
                    <a:pt x="29400" y="572579"/>
                  </a:lnTo>
                  <a:lnTo>
                    <a:pt x="7889" y="540686"/>
                  </a:lnTo>
                  <a:lnTo>
                    <a:pt x="0" y="501650"/>
                  </a:lnTo>
                  <a:lnTo>
                    <a:pt x="0" y="100330"/>
                  </a:lnTo>
                  <a:close/>
                </a:path>
              </a:pathLst>
            </a:custGeom>
            <a:ln w="12192">
              <a:solidFill>
                <a:srgbClr val="12ABDB"/>
              </a:solidFill>
            </a:ln>
          </p:spPr>
          <p:txBody>
            <a:bodyPr wrap="square" lIns="0" tIns="0" rIns="0" bIns="0" rtlCol="0"/>
            <a:lstStyle/>
            <a:p>
              <a:endParaRPr/>
            </a:p>
          </p:txBody>
        </p:sp>
        <p:sp>
          <p:nvSpPr>
            <p:cNvPr id="25" name="object 25"/>
            <p:cNvSpPr txBox="1"/>
            <p:nvPr/>
          </p:nvSpPr>
          <p:spPr>
            <a:xfrm>
              <a:off x="10915650" y="3088894"/>
              <a:ext cx="371475"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UAT</a:t>
              </a:r>
              <a:endParaRPr sz="1200">
                <a:latin typeface="Verdana"/>
                <a:cs typeface="Verdana"/>
              </a:endParaRPr>
            </a:p>
          </p:txBody>
        </p:sp>
        <p:sp>
          <p:nvSpPr>
            <p:cNvPr id="26" name="object 26"/>
            <p:cNvSpPr/>
            <p:nvPr/>
          </p:nvSpPr>
          <p:spPr>
            <a:xfrm>
              <a:off x="227838" y="4082034"/>
              <a:ext cx="1632585" cy="601980"/>
            </a:xfrm>
            <a:custGeom>
              <a:avLst/>
              <a:gdLst/>
              <a:ahLst/>
              <a:cxnLst/>
              <a:rect l="l" t="t" r="r" b="b"/>
              <a:pathLst>
                <a:path w="1632585" h="601979">
                  <a:moveTo>
                    <a:pt x="1603756" y="0"/>
                  </a:moveTo>
                  <a:lnTo>
                    <a:pt x="28473" y="0"/>
                  </a:lnTo>
                  <a:lnTo>
                    <a:pt x="17391" y="2230"/>
                  </a:lnTo>
                  <a:lnTo>
                    <a:pt x="8340" y="8318"/>
                  </a:lnTo>
                  <a:lnTo>
                    <a:pt x="2237" y="17359"/>
                  </a:lnTo>
                  <a:lnTo>
                    <a:pt x="0" y="28448"/>
                  </a:lnTo>
                  <a:lnTo>
                    <a:pt x="0" y="573532"/>
                  </a:lnTo>
                  <a:lnTo>
                    <a:pt x="2237" y="584620"/>
                  </a:lnTo>
                  <a:lnTo>
                    <a:pt x="8340" y="593661"/>
                  </a:lnTo>
                  <a:lnTo>
                    <a:pt x="17391" y="599749"/>
                  </a:lnTo>
                  <a:lnTo>
                    <a:pt x="28473" y="601980"/>
                  </a:lnTo>
                  <a:lnTo>
                    <a:pt x="1603756" y="601980"/>
                  </a:lnTo>
                  <a:lnTo>
                    <a:pt x="1614844" y="599749"/>
                  </a:lnTo>
                  <a:lnTo>
                    <a:pt x="1623885" y="593661"/>
                  </a:lnTo>
                  <a:lnTo>
                    <a:pt x="1629973" y="584620"/>
                  </a:lnTo>
                  <a:lnTo>
                    <a:pt x="1632204" y="573532"/>
                  </a:lnTo>
                  <a:lnTo>
                    <a:pt x="1632204" y="28448"/>
                  </a:lnTo>
                  <a:lnTo>
                    <a:pt x="1629973" y="17359"/>
                  </a:lnTo>
                  <a:lnTo>
                    <a:pt x="1623885" y="8318"/>
                  </a:lnTo>
                  <a:lnTo>
                    <a:pt x="1614844" y="2230"/>
                  </a:lnTo>
                  <a:lnTo>
                    <a:pt x="1603756" y="0"/>
                  </a:lnTo>
                  <a:close/>
                </a:path>
              </a:pathLst>
            </a:custGeom>
            <a:solidFill>
              <a:srgbClr val="12ABDB"/>
            </a:solidFill>
          </p:spPr>
          <p:txBody>
            <a:bodyPr wrap="square" lIns="0" tIns="0" rIns="0" bIns="0" rtlCol="0"/>
            <a:lstStyle/>
            <a:p>
              <a:endParaRPr/>
            </a:p>
          </p:txBody>
        </p:sp>
        <p:sp>
          <p:nvSpPr>
            <p:cNvPr id="27" name="object 27"/>
            <p:cNvSpPr/>
            <p:nvPr/>
          </p:nvSpPr>
          <p:spPr>
            <a:xfrm>
              <a:off x="227838" y="4082034"/>
              <a:ext cx="1632585" cy="601980"/>
            </a:xfrm>
            <a:custGeom>
              <a:avLst/>
              <a:gdLst/>
              <a:ahLst/>
              <a:cxnLst/>
              <a:rect l="l" t="t" r="r" b="b"/>
              <a:pathLst>
                <a:path w="1632585" h="601979">
                  <a:moveTo>
                    <a:pt x="0" y="28448"/>
                  </a:moveTo>
                  <a:lnTo>
                    <a:pt x="2237" y="17359"/>
                  </a:lnTo>
                  <a:lnTo>
                    <a:pt x="8340" y="8318"/>
                  </a:lnTo>
                  <a:lnTo>
                    <a:pt x="17391" y="2230"/>
                  </a:lnTo>
                  <a:lnTo>
                    <a:pt x="28473" y="0"/>
                  </a:lnTo>
                  <a:lnTo>
                    <a:pt x="1603756" y="0"/>
                  </a:lnTo>
                  <a:lnTo>
                    <a:pt x="1614844" y="2230"/>
                  </a:lnTo>
                  <a:lnTo>
                    <a:pt x="1623885" y="8318"/>
                  </a:lnTo>
                  <a:lnTo>
                    <a:pt x="1629973" y="17359"/>
                  </a:lnTo>
                  <a:lnTo>
                    <a:pt x="1632204" y="28448"/>
                  </a:lnTo>
                  <a:lnTo>
                    <a:pt x="1632204" y="573532"/>
                  </a:lnTo>
                  <a:lnTo>
                    <a:pt x="1629973" y="584620"/>
                  </a:lnTo>
                  <a:lnTo>
                    <a:pt x="1623885" y="593661"/>
                  </a:lnTo>
                  <a:lnTo>
                    <a:pt x="1614844" y="599749"/>
                  </a:lnTo>
                  <a:lnTo>
                    <a:pt x="1603756" y="601980"/>
                  </a:lnTo>
                  <a:lnTo>
                    <a:pt x="28473" y="601980"/>
                  </a:lnTo>
                  <a:lnTo>
                    <a:pt x="17391" y="599749"/>
                  </a:lnTo>
                  <a:lnTo>
                    <a:pt x="8340" y="593661"/>
                  </a:lnTo>
                  <a:lnTo>
                    <a:pt x="2237" y="584620"/>
                  </a:lnTo>
                  <a:lnTo>
                    <a:pt x="0" y="573532"/>
                  </a:lnTo>
                  <a:lnTo>
                    <a:pt x="0" y="28448"/>
                  </a:lnTo>
                  <a:close/>
                </a:path>
              </a:pathLst>
            </a:custGeom>
            <a:ln w="28955">
              <a:solidFill>
                <a:srgbClr val="12ABDB"/>
              </a:solidFill>
            </a:ln>
          </p:spPr>
          <p:txBody>
            <a:bodyPr wrap="square" lIns="0" tIns="0" rIns="0" bIns="0" rtlCol="0"/>
            <a:lstStyle/>
            <a:p>
              <a:endParaRPr/>
            </a:p>
          </p:txBody>
        </p:sp>
        <p:sp>
          <p:nvSpPr>
            <p:cNvPr id="28" name="object 28"/>
            <p:cNvSpPr txBox="1"/>
            <p:nvPr/>
          </p:nvSpPr>
          <p:spPr>
            <a:xfrm>
              <a:off x="251011" y="4262373"/>
              <a:ext cx="1586230" cy="239395"/>
            </a:xfrm>
            <a:prstGeom prst="rect">
              <a:avLst/>
            </a:prstGeom>
          </p:spPr>
          <p:txBody>
            <a:bodyPr vert="horz" wrap="square" lIns="0" tIns="12700" rIns="0" bIns="0" rtlCol="0">
              <a:spAutoFit/>
            </a:bodyPr>
            <a:lstStyle/>
            <a:p>
              <a:pPr marL="153035">
                <a:lnSpc>
                  <a:spcPct val="100000"/>
                </a:lnSpc>
                <a:spcBef>
                  <a:spcPts val="100"/>
                </a:spcBef>
              </a:pPr>
              <a:r>
                <a:rPr sz="1400" b="1" spc="-5">
                  <a:solidFill>
                    <a:srgbClr val="FFFFFF"/>
                  </a:solidFill>
                  <a:latin typeface="Verdana"/>
                  <a:cs typeface="Verdana"/>
                </a:rPr>
                <a:t>Environment</a:t>
              </a:r>
              <a:endParaRPr sz="1400">
                <a:latin typeface="Verdana"/>
                <a:cs typeface="Verdana"/>
              </a:endParaRPr>
            </a:p>
          </p:txBody>
        </p:sp>
        <p:sp>
          <p:nvSpPr>
            <p:cNvPr id="29" name="object 29"/>
            <p:cNvSpPr/>
            <p:nvPr/>
          </p:nvSpPr>
          <p:spPr>
            <a:xfrm>
              <a:off x="2260092" y="4098035"/>
              <a:ext cx="1645920" cy="617219"/>
            </a:xfrm>
            <a:prstGeom prst="rect">
              <a:avLst/>
            </a:prstGeom>
            <a:blipFill>
              <a:blip r:embed="rId2" cstate="print"/>
              <a:stretch>
                <a:fillRect/>
              </a:stretch>
            </a:blipFill>
          </p:spPr>
          <p:txBody>
            <a:bodyPr wrap="square" lIns="0" tIns="0" rIns="0" bIns="0" rtlCol="0"/>
            <a:lstStyle/>
            <a:p>
              <a:endParaRPr/>
            </a:p>
          </p:txBody>
        </p:sp>
        <p:sp>
          <p:nvSpPr>
            <p:cNvPr id="30" name="object 30"/>
            <p:cNvSpPr/>
            <p:nvPr/>
          </p:nvSpPr>
          <p:spPr>
            <a:xfrm>
              <a:off x="2238755" y="4081271"/>
              <a:ext cx="1630680" cy="601980"/>
            </a:xfrm>
            <a:custGeom>
              <a:avLst/>
              <a:gdLst/>
              <a:ahLst/>
              <a:cxnLst/>
              <a:rect l="l" t="t" r="r" b="b"/>
              <a:pathLst>
                <a:path w="1630679" h="601979">
                  <a:moveTo>
                    <a:pt x="1530349" y="0"/>
                  </a:moveTo>
                  <a:lnTo>
                    <a:pt x="100330" y="0"/>
                  </a:lnTo>
                  <a:lnTo>
                    <a:pt x="61293" y="7889"/>
                  </a:lnTo>
                  <a:lnTo>
                    <a:pt x="29400" y="29400"/>
                  </a:lnTo>
                  <a:lnTo>
                    <a:pt x="7889" y="61293"/>
                  </a:lnTo>
                  <a:lnTo>
                    <a:pt x="0" y="100329"/>
                  </a:lnTo>
                  <a:lnTo>
                    <a:pt x="0" y="501650"/>
                  </a:lnTo>
                  <a:lnTo>
                    <a:pt x="7889" y="540686"/>
                  </a:lnTo>
                  <a:lnTo>
                    <a:pt x="29400" y="572579"/>
                  </a:lnTo>
                  <a:lnTo>
                    <a:pt x="61293" y="594090"/>
                  </a:lnTo>
                  <a:lnTo>
                    <a:pt x="100330" y="601979"/>
                  </a:lnTo>
                  <a:lnTo>
                    <a:pt x="1530349" y="601979"/>
                  </a:lnTo>
                  <a:lnTo>
                    <a:pt x="1569386" y="594090"/>
                  </a:lnTo>
                  <a:lnTo>
                    <a:pt x="1601279" y="572579"/>
                  </a:lnTo>
                  <a:lnTo>
                    <a:pt x="1622790" y="540686"/>
                  </a:lnTo>
                  <a:lnTo>
                    <a:pt x="1630680" y="501650"/>
                  </a:lnTo>
                  <a:lnTo>
                    <a:pt x="1630680" y="100329"/>
                  </a:lnTo>
                  <a:lnTo>
                    <a:pt x="1622790" y="61293"/>
                  </a:lnTo>
                  <a:lnTo>
                    <a:pt x="1601279" y="29400"/>
                  </a:lnTo>
                  <a:lnTo>
                    <a:pt x="1569386" y="7889"/>
                  </a:lnTo>
                  <a:lnTo>
                    <a:pt x="1530349" y="0"/>
                  </a:lnTo>
                  <a:close/>
                </a:path>
              </a:pathLst>
            </a:custGeom>
            <a:solidFill>
              <a:srgbClr val="FFFFFF"/>
            </a:solidFill>
          </p:spPr>
          <p:txBody>
            <a:bodyPr wrap="square" lIns="0" tIns="0" rIns="0" bIns="0" rtlCol="0"/>
            <a:lstStyle/>
            <a:p>
              <a:endParaRPr/>
            </a:p>
          </p:txBody>
        </p:sp>
        <p:sp>
          <p:nvSpPr>
            <p:cNvPr id="31" name="object 31"/>
            <p:cNvSpPr/>
            <p:nvPr/>
          </p:nvSpPr>
          <p:spPr>
            <a:xfrm>
              <a:off x="2238755" y="4081271"/>
              <a:ext cx="1630680" cy="601980"/>
            </a:xfrm>
            <a:custGeom>
              <a:avLst/>
              <a:gdLst/>
              <a:ahLst/>
              <a:cxnLst/>
              <a:rect l="l" t="t" r="r" b="b"/>
              <a:pathLst>
                <a:path w="1630679" h="601979">
                  <a:moveTo>
                    <a:pt x="0" y="100329"/>
                  </a:moveTo>
                  <a:lnTo>
                    <a:pt x="7889" y="61293"/>
                  </a:lnTo>
                  <a:lnTo>
                    <a:pt x="29400" y="29400"/>
                  </a:lnTo>
                  <a:lnTo>
                    <a:pt x="61293" y="7889"/>
                  </a:lnTo>
                  <a:lnTo>
                    <a:pt x="100330" y="0"/>
                  </a:lnTo>
                  <a:lnTo>
                    <a:pt x="1530349" y="0"/>
                  </a:lnTo>
                  <a:lnTo>
                    <a:pt x="1569386" y="7889"/>
                  </a:lnTo>
                  <a:lnTo>
                    <a:pt x="1601279" y="29400"/>
                  </a:lnTo>
                  <a:lnTo>
                    <a:pt x="1622790" y="61293"/>
                  </a:lnTo>
                  <a:lnTo>
                    <a:pt x="1630680" y="100329"/>
                  </a:lnTo>
                  <a:lnTo>
                    <a:pt x="1630680" y="501650"/>
                  </a:lnTo>
                  <a:lnTo>
                    <a:pt x="1622790" y="540686"/>
                  </a:lnTo>
                  <a:lnTo>
                    <a:pt x="1601279" y="572579"/>
                  </a:lnTo>
                  <a:lnTo>
                    <a:pt x="1569386" y="594090"/>
                  </a:lnTo>
                  <a:lnTo>
                    <a:pt x="1530349" y="601979"/>
                  </a:lnTo>
                  <a:lnTo>
                    <a:pt x="100330" y="601979"/>
                  </a:lnTo>
                  <a:lnTo>
                    <a:pt x="61293" y="594090"/>
                  </a:lnTo>
                  <a:lnTo>
                    <a:pt x="29400" y="572579"/>
                  </a:lnTo>
                  <a:lnTo>
                    <a:pt x="7889" y="540686"/>
                  </a:lnTo>
                  <a:lnTo>
                    <a:pt x="0" y="501650"/>
                  </a:lnTo>
                  <a:lnTo>
                    <a:pt x="0" y="100329"/>
                  </a:lnTo>
                  <a:close/>
                </a:path>
              </a:pathLst>
            </a:custGeom>
            <a:ln w="12192">
              <a:solidFill>
                <a:srgbClr val="12ABDB"/>
              </a:solidFill>
            </a:ln>
          </p:spPr>
          <p:txBody>
            <a:bodyPr wrap="square" lIns="0" tIns="0" rIns="0" bIns="0" rtlCol="0"/>
            <a:lstStyle/>
            <a:p>
              <a:endParaRPr/>
            </a:p>
          </p:txBody>
        </p:sp>
        <p:sp>
          <p:nvSpPr>
            <p:cNvPr id="32" name="object 32"/>
            <p:cNvSpPr txBox="1"/>
            <p:nvPr/>
          </p:nvSpPr>
          <p:spPr>
            <a:xfrm>
              <a:off x="2672333" y="4277614"/>
              <a:ext cx="764540"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Sandb</a:t>
              </a:r>
              <a:r>
                <a:rPr sz="1200" b="1">
                  <a:latin typeface="Verdana"/>
                  <a:cs typeface="Verdana"/>
                </a:rPr>
                <a:t>ox</a:t>
              </a:r>
              <a:endParaRPr sz="1200">
                <a:latin typeface="Verdana"/>
                <a:cs typeface="Verdana"/>
              </a:endParaRPr>
            </a:p>
          </p:txBody>
        </p:sp>
        <p:sp>
          <p:nvSpPr>
            <p:cNvPr id="33" name="object 33"/>
            <p:cNvSpPr/>
            <p:nvPr/>
          </p:nvSpPr>
          <p:spPr>
            <a:xfrm>
              <a:off x="4271771" y="4098035"/>
              <a:ext cx="1645920" cy="617219"/>
            </a:xfrm>
            <a:prstGeom prst="rect">
              <a:avLst/>
            </a:prstGeom>
            <a:blipFill>
              <a:blip r:embed="rId2" cstate="print"/>
              <a:stretch>
                <a:fillRect/>
              </a:stretch>
            </a:blipFill>
          </p:spPr>
          <p:txBody>
            <a:bodyPr wrap="square" lIns="0" tIns="0" rIns="0" bIns="0" rtlCol="0"/>
            <a:lstStyle/>
            <a:p>
              <a:endParaRPr/>
            </a:p>
          </p:txBody>
        </p:sp>
        <p:sp>
          <p:nvSpPr>
            <p:cNvPr id="34" name="object 34"/>
            <p:cNvSpPr/>
            <p:nvPr/>
          </p:nvSpPr>
          <p:spPr>
            <a:xfrm>
              <a:off x="4250435" y="4081271"/>
              <a:ext cx="1630680" cy="601980"/>
            </a:xfrm>
            <a:custGeom>
              <a:avLst/>
              <a:gdLst/>
              <a:ahLst/>
              <a:cxnLst/>
              <a:rect l="l" t="t" r="r" b="b"/>
              <a:pathLst>
                <a:path w="1630679" h="601979">
                  <a:moveTo>
                    <a:pt x="1530350" y="0"/>
                  </a:moveTo>
                  <a:lnTo>
                    <a:pt x="100329" y="0"/>
                  </a:lnTo>
                  <a:lnTo>
                    <a:pt x="61293" y="7889"/>
                  </a:lnTo>
                  <a:lnTo>
                    <a:pt x="29400" y="29400"/>
                  </a:lnTo>
                  <a:lnTo>
                    <a:pt x="7889" y="61293"/>
                  </a:lnTo>
                  <a:lnTo>
                    <a:pt x="0" y="100329"/>
                  </a:lnTo>
                  <a:lnTo>
                    <a:pt x="0" y="501650"/>
                  </a:lnTo>
                  <a:lnTo>
                    <a:pt x="7889" y="540686"/>
                  </a:lnTo>
                  <a:lnTo>
                    <a:pt x="29400" y="572579"/>
                  </a:lnTo>
                  <a:lnTo>
                    <a:pt x="61293" y="594090"/>
                  </a:lnTo>
                  <a:lnTo>
                    <a:pt x="100329" y="601979"/>
                  </a:lnTo>
                  <a:lnTo>
                    <a:pt x="1530350" y="601979"/>
                  </a:lnTo>
                  <a:lnTo>
                    <a:pt x="1569386" y="594090"/>
                  </a:lnTo>
                  <a:lnTo>
                    <a:pt x="1601279" y="572579"/>
                  </a:lnTo>
                  <a:lnTo>
                    <a:pt x="1622790" y="540686"/>
                  </a:lnTo>
                  <a:lnTo>
                    <a:pt x="1630679" y="501650"/>
                  </a:lnTo>
                  <a:lnTo>
                    <a:pt x="1630679" y="100329"/>
                  </a:lnTo>
                  <a:lnTo>
                    <a:pt x="1622790" y="61293"/>
                  </a:lnTo>
                  <a:lnTo>
                    <a:pt x="1601279" y="29400"/>
                  </a:lnTo>
                  <a:lnTo>
                    <a:pt x="1569386" y="7889"/>
                  </a:lnTo>
                  <a:lnTo>
                    <a:pt x="1530350" y="0"/>
                  </a:lnTo>
                  <a:close/>
                </a:path>
              </a:pathLst>
            </a:custGeom>
            <a:solidFill>
              <a:srgbClr val="FFFFFF"/>
            </a:solidFill>
          </p:spPr>
          <p:txBody>
            <a:bodyPr wrap="square" lIns="0" tIns="0" rIns="0" bIns="0" rtlCol="0"/>
            <a:lstStyle/>
            <a:p>
              <a:endParaRPr/>
            </a:p>
          </p:txBody>
        </p:sp>
        <p:sp>
          <p:nvSpPr>
            <p:cNvPr id="35" name="object 35"/>
            <p:cNvSpPr/>
            <p:nvPr/>
          </p:nvSpPr>
          <p:spPr>
            <a:xfrm>
              <a:off x="4250435" y="4081271"/>
              <a:ext cx="1630680" cy="601980"/>
            </a:xfrm>
            <a:custGeom>
              <a:avLst/>
              <a:gdLst/>
              <a:ahLst/>
              <a:cxnLst/>
              <a:rect l="l" t="t" r="r" b="b"/>
              <a:pathLst>
                <a:path w="1630679" h="601979">
                  <a:moveTo>
                    <a:pt x="0" y="100329"/>
                  </a:moveTo>
                  <a:lnTo>
                    <a:pt x="7889" y="61293"/>
                  </a:lnTo>
                  <a:lnTo>
                    <a:pt x="29400" y="29400"/>
                  </a:lnTo>
                  <a:lnTo>
                    <a:pt x="61293" y="7889"/>
                  </a:lnTo>
                  <a:lnTo>
                    <a:pt x="100329" y="0"/>
                  </a:lnTo>
                  <a:lnTo>
                    <a:pt x="1530350" y="0"/>
                  </a:lnTo>
                  <a:lnTo>
                    <a:pt x="1569386" y="7889"/>
                  </a:lnTo>
                  <a:lnTo>
                    <a:pt x="1601279" y="29400"/>
                  </a:lnTo>
                  <a:lnTo>
                    <a:pt x="1622790" y="61293"/>
                  </a:lnTo>
                  <a:lnTo>
                    <a:pt x="1630679" y="100329"/>
                  </a:lnTo>
                  <a:lnTo>
                    <a:pt x="1630679" y="501650"/>
                  </a:lnTo>
                  <a:lnTo>
                    <a:pt x="1622790" y="540686"/>
                  </a:lnTo>
                  <a:lnTo>
                    <a:pt x="1601279" y="572579"/>
                  </a:lnTo>
                  <a:lnTo>
                    <a:pt x="1569386" y="594090"/>
                  </a:lnTo>
                  <a:lnTo>
                    <a:pt x="1530350" y="601979"/>
                  </a:lnTo>
                  <a:lnTo>
                    <a:pt x="100329" y="601979"/>
                  </a:lnTo>
                  <a:lnTo>
                    <a:pt x="61293" y="594090"/>
                  </a:lnTo>
                  <a:lnTo>
                    <a:pt x="29400" y="572579"/>
                  </a:lnTo>
                  <a:lnTo>
                    <a:pt x="7889" y="540686"/>
                  </a:lnTo>
                  <a:lnTo>
                    <a:pt x="0" y="501650"/>
                  </a:lnTo>
                  <a:lnTo>
                    <a:pt x="0" y="100329"/>
                  </a:lnTo>
                  <a:close/>
                </a:path>
              </a:pathLst>
            </a:custGeom>
            <a:ln w="12192">
              <a:solidFill>
                <a:srgbClr val="12ABDB"/>
              </a:solidFill>
            </a:ln>
          </p:spPr>
          <p:txBody>
            <a:bodyPr wrap="square" lIns="0" tIns="0" rIns="0" bIns="0" rtlCol="0"/>
            <a:lstStyle/>
            <a:p>
              <a:endParaRPr/>
            </a:p>
          </p:txBody>
        </p:sp>
        <p:sp>
          <p:nvSpPr>
            <p:cNvPr id="36" name="object 36"/>
            <p:cNvSpPr txBox="1"/>
            <p:nvPr/>
          </p:nvSpPr>
          <p:spPr>
            <a:xfrm>
              <a:off x="4684014" y="4277614"/>
              <a:ext cx="764540"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Sandb</a:t>
              </a:r>
              <a:r>
                <a:rPr sz="1200" b="1">
                  <a:latin typeface="Verdana"/>
                  <a:cs typeface="Verdana"/>
                </a:rPr>
                <a:t>ox</a:t>
              </a:r>
              <a:endParaRPr sz="1200">
                <a:latin typeface="Verdana"/>
                <a:cs typeface="Verdana"/>
              </a:endParaRPr>
            </a:p>
          </p:txBody>
        </p:sp>
        <p:sp>
          <p:nvSpPr>
            <p:cNvPr id="37" name="object 37"/>
            <p:cNvSpPr/>
            <p:nvPr/>
          </p:nvSpPr>
          <p:spPr>
            <a:xfrm>
              <a:off x="6283452" y="4098035"/>
              <a:ext cx="1645920" cy="617219"/>
            </a:xfrm>
            <a:prstGeom prst="rect">
              <a:avLst/>
            </a:prstGeom>
            <a:blipFill>
              <a:blip r:embed="rId2" cstate="print"/>
              <a:stretch>
                <a:fillRect/>
              </a:stretch>
            </a:blipFill>
          </p:spPr>
          <p:txBody>
            <a:bodyPr wrap="square" lIns="0" tIns="0" rIns="0" bIns="0" rtlCol="0"/>
            <a:lstStyle/>
            <a:p>
              <a:endParaRPr/>
            </a:p>
          </p:txBody>
        </p:sp>
        <p:sp>
          <p:nvSpPr>
            <p:cNvPr id="38" name="object 38"/>
            <p:cNvSpPr/>
            <p:nvPr/>
          </p:nvSpPr>
          <p:spPr>
            <a:xfrm>
              <a:off x="6262115" y="4081271"/>
              <a:ext cx="1630680" cy="601980"/>
            </a:xfrm>
            <a:custGeom>
              <a:avLst/>
              <a:gdLst/>
              <a:ahLst/>
              <a:cxnLst/>
              <a:rect l="l" t="t" r="r" b="b"/>
              <a:pathLst>
                <a:path w="1630679" h="601979">
                  <a:moveTo>
                    <a:pt x="1530350" y="0"/>
                  </a:moveTo>
                  <a:lnTo>
                    <a:pt x="100330" y="0"/>
                  </a:lnTo>
                  <a:lnTo>
                    <a:pt x="61293" y="7889"/>
                  </a:lnTo>
                  <a:lnTo>
                    <a:pt x="29400" y="29400"/>
                  </a:lnTo>
                  <a:lnTo>
                    <a:pt x="7889" y="61293"/>
                  </a:lnTo>
                  <a:lnTo>
                    <a:pt x="0" y="100329"/>
                  </a:lnTo>
                  <a:lnTo>
                    <a:pt x="0" y="501650"/>
                  </a:lnTo>
                  <a:lnTo>
                    <a:pt x="7889" y="540686"/>
                  </a:lnTo>
                  <a:lnTo>
                    <a:pt x="29400" y="572579"/>
                  </a:lnTo>
                  <a:lnTo>
                    <a:pt x="61293" y="594090"/>
                  </a:lnTo>
                  <a:lnTo>
                    <a:pt x="100330" y="601979"/>
                  </a:lnTo>
                  <a:lnTo>
                    <a:pt x="1530350" y="601979"/>
                  </a:lnTo>
                  <a:lnTo>
                    <a:pt x="1569386" y="594090"/>
                  </a:lnTo>
                  <a:lnTo>
                    <a:pt x="1601279" y="572579"/>
                  </a:lnTo>
                  <a:lnTo>
                    <a:pt x="1622790" y="540686"/>
                  </a:lnTo>
                  <a:lnTo>
                    <a:pt x="1630680" y="501650"/>
                  </a:lnTo>
                  <a:lnTo>
                    <a:pt x="1630680" y="100329"/>
                  </a:lnTo>
                  <a:lnTo>
                    <a:pt x="1622790" y="61293"/>
                  </a:lnTo>
                  <a:lnTo>
                    <a:pt x="1601279" y="29400"/>
                  </a:lnTo>
                  <a:lnTo>
                    <a:pt x="1569386" y="7889"/>
                  </a:lnTo>
                  <a:lnTo>
                    <a:pt x="1530350" y="0"/>
                  </a:lnTo>
                  <a:close/>
                </a:path>
              </a:pathLst>
            </a:custGeom>
            <a:solidFill>
              <a:srgbClr val="FFFFFF"/>
            </a:solidFill>
          </p:spPr>
          <p:txBody>
            <a:bodyPr wrap="square" lIns="0" tIns="0" rIns="0" bIns="0" rtlCol="0"/>
            <a:lstStyle/>
            <a:p>
              <a:endParaRPr/>
            </a:p>
          </p:txBody>
        </p:sp>
        <p:sp>
          <p:nvSpPr>
            <p:cNvPr id="39" name="object 39"/>
            <p:cNvSpPr/>
            <p:nvPr/>
          </p:nvSpPr>
          <p:spPr>
            <a:xfrm>
              <a:off x="6262115" y="4081271"/>
              <a:ext cx="1630680" cy="601980"/>
            </a:xfrm>
            <a:custGeom>
              <a:avLst/>
              <a:gdLst/>
              <a:ahLst/>
              <a:cxnLst/>
              <a:rect l="l" t="t" r="r" b="b"/>
              <a:pathLst>
                <a:path w="1630679" h="601979">
                  <a:moveTo>
                    <a:pt x="0" y="100329"/>
                  </a:moveTo>
                  <a:lnTo>
                    <a:pt x="7889" y="61293"/>
                  </a:lnTo>
                  <a:lnTo>
                    <a:pt x="29400" y="29400"/>
                  </a:lnTo>
                  <a:lnTo>
                    <a:pt x="61293" y="7889"/>
                  </a:lnTo>
                  <a:lnTo>
                    <a:pt x="100330" y="0"/>
                  </a:lnTo>
                  <a:lnTo>
                    <a:pt x="1530350" y="0"/>
                  </a:lnTo>
                  <a:lnTo>
                    <a:pt x="1569386" y="7889"/>
                  </a:lnTo>
                  <a:lnTo>
                    <a:pt x="1601279" y="29400"/>
                  </a:lnTo>
                  <a:lnTo>
                    <a:pt x="1622790" y="61293"/>
                  </a:lnTo>
                  <a:lnTo>
                    <a:pt x="1630680" y="100329"/>
                  </a:lnTo>
                  <a:lnTo>
                    <a:pt x="1630680" y="501650"/>
                  </a:lnTo>
                  <a:lnTo>
                    <a:pt x="1622790" y="540686"/>
                  </a:lnTo>
                  <a:lnTo>
                    <a:pt x="1601279" y="572579"/>
                  </a:lnTo>
                  <a:lnTo>
                    <a:pt x="1569386" y="594090"/>
                  </a:lnTo>
                  <a:lnTo>
                    <a:pt x="1530350" y="601979"/>
                  </a:lnTo>
                  <a:lnTo>
                    <a:pt x="100330" y="601979"/>
                  </a:lnTo>
                  <a:lnTo>
                    <a:pt x="61293" y="594090"/>
                  </a:lnTo>
                  <a:lnTo>
                    <a:pt x="29400" y="572579"/>
                  </a:lnTo>
                  <a:lnTo>
                    <a:pt x="7889" y="540686"/>
                  </a:lnTo>
                  <a:lnTo>
                    <a:pt x="0" y="501650"/>
                  </a:lnTo>
                  <a:lnTo>
                    <a:pt x="0" y="100329"/>
                  </a:lnTo>
                  <a:close/>
                </a:path>
              </a:pathLst>
            </a:custGeom>
            <a:ln w="12192">
              <a:solidFill>
                <a:srgbClr val="12ABDB"/>
              </a:solidFill>
            </a:ln>
          </p:spPr>
          <p:txBody>
            <a:bodyPr wrap="square" lIns="0" tIns="0" rIns="0" bIns="0" rtlCol="0"/>
            <a:lstStyle/>
            <a:p>
              <a:endParaRPr/>
            </a:p>
          </p:txBody>
        </p:sp>
        <p:sp>
          <p:nvSpPr>
            <p:cNvPr id="40" name="object 40"/>
            <p:cNvSpPr txBox="1"/>
            <p:nvPr/>
          </p:nvSpPr>
          <p:spPr>
            <a:xfrm>
              <a:off x="6546342" y="4277614"/>
              <a:ext cx="1062990"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Partial</a:t>
              </a:r>
              <a:r>
                <a:rPr sz="1200" b="1" spc="-75">
                  <a:latin typeface="Verdana"/>
                  <a:cs typeface="Verdana"/>
                </a:rPr>
                <a:t> </a:t>
              </a:r>
              <a:r>
                <a:rPr sz="1200" b="1" spc="-5">
                  <a:latin typeface="Verdana"/>
                  <a:cs typeface="Verdana"/>
                </a:rPr>
                <a:t>Copy</a:t>
              </a:r>
              <a:endParaRPr sz="1200">
                <a:latin typeface="Verdana"/>
                <a:cs typeface="Verdana"/>
              </a:endParaRPr>
            </a:p>
          </p:txBody>
        </p:sp>
        <p:sp>
          <p:nvSpPr>
            <p:cNvPr id="41" name="object 41"/>
            <p:cNvSpPr/>
            <p:nvPr/>
          </p:nvSpPr>
          <p:spPr>
            <a:xfrm>
              <a:off x="8295131" y="4098035"/>
              <a:ext cx="1645920" cy="617219"/>
            </a:xfrm>
            <a:prstGeom prst="rect">
              <a:avLst/>
            </a:prstGeom>
            <a:blipFill>
              <a:blip r:embed="rId2" cstate="print"/>
              <a:stretch>
                <a:fillRect/>
              </a:stretch>
            </a:blipFill>
          </p:spPr>
          <p:txBody>
            <a:bodyPr wrap="square" lIns="0" tIns="0" rIns="0" bIns="0" rtlCol="0"/>
            <a:lstStyle/>
            <a:p>
              <a:endParaRPr/>
            </a:p>
          </p:txBody>
        </p:sp>
        <p:sp>
          <p:nvSpPr>
            <p:cNvPr id="42" name="object 42"/>
            <p:cNvSpPr/>
            <p:nvPr/>
          </p:nvSpPr>
          <p:spPr>
            <a:xfrm>
              <a:off x="8273795" y="4081271"/>
              <a:ext cx="1630680" cy="601980"/>
            </a:xfrm>
            <a:custGeom>
              <a:avLst/>
              <a:gdLst/>
              <a:ahLst/>
              <a:cxnLst/>
              <a:rect l="l" t="t" r="r" b="b"/>
              <a:pathLst>
                <a:path w="1630679" h="601979">
                  <a:moveTo>
                    <a:pt x="1530350" y="0"/>
                  </a:moveTo>
                  <a:lnTo>
                    <a:pt x="100329" y="0"/>
                  </a:lnTo>
                  <a:lnTo>
                    <a:pt x="61293" y="7889"/>
                  </a:lnTo>
                  <a:lnTo>
                    <a:pt x="29400" y="29400"/>
                  </a:lnTo>
                  <a:lnTo>
                    <a:pt x="7889" y="61293"/>
                  </a:lnTo>
                  <a:lnTo>
                    <a:pt x="0" y="100329"/>
                  </a:lnTo>
                  <a:lnTo>
                    <a:pt x="0" y="501650"/>
                  </a:lnTo>
                  <a:lnTo>
                    <a:pt x="7889" y="540686"/>
                  </a:lnTo>
                  <a:lnTo>
                    <a:pt x="29400" y="572579"/>
                  </a:lnTo>
                  <a:lnTo>
                    <a:pt x="61293" y="594090"/>
                  </a:lnTo>
                  <a:lnTo>
                    <a:pt x="100329" y="601979"/>
                  </a:lnTo>
                  <a:lnTo>
                    <a:pt x="1530350" y="601979"/>
                  </a:lnTo>
                  <a:lnTo>
                    <a:pt x="1569386" y="594090"/>
                  </a:lnTo>
                  <a:lnTo>
                    <a:pt x="1601279" y="572579"/>
                  </a:lnTo>
                  <a:lnTo>
                    <a:pt x="1622790" y="540686"/>
                  </a:lnTo>
                  <a:lnTo>
                    <a:pt x="1630679" y="501650"/>
                  </a:lnTo>
                  <a:lnTo>
                    <a:pt x="1630679" y="100329"/>
                  </a:lnTo>
                  <a:lnTo>
                    <a:pt x="1622790" y="61293"/>
                  </a:lnTo>
                  <a:lnTo>
                    <a:pt x="1601279" y="29400"/>
                  </a:lnTo>
                  <a:lnTo>
                    <a:pt x="1569386" y="7889"/>
                  </a:lnTo>
                  <a:lnTo>
                    <a:pt x="1530350" y="0"/>
                  </a:lnTo>
                  <a:close/>
                </a:path>
              </a:pathLst>
            </a:custGeom>
            <a:solidFill>
              <a:srgbClr val="FFFFFF"/>
            </a:solidFill>
          </p:spPr>
          <p:txBody>
            <a:bodyPr wrap="square" lIns="0" tIns="0" rIns="0" bIns="0" rtlCol="0"/>
            <a:lstStyle/>
            <a:p>
              <a:endParaRPr/>
            </a:p>
          </p:txBody>
        </p:sp>
        <p:sp>
          <p:nvSpPr>
            <p:cNvPr id="43" name="object 43"/>
            <p:cNvSpPr/>
            <p:nvPr/>
          </p:nvSpPr>
          <p:spPr>
            <a:xfrm>
              <a:off x="8273795" y="4081271"/>
              <a:ext cx="1630680" cy="601980"/>
            </a:xfrm>
            <a:custGeom>
              <a:avLst/>
              <a:gdLst/>
              <a:ahLst/>
              <a:cxnLst/>
              <a:rect l="l" t="t" r="r" b="b"/>
              <a:pathLst>
                <a:path w="1630679" h="601979">
                  <a:moveTo>
                    <a:pt x="0" y="100329"/>
                  </a:moveTo>
                  <a:lnTo>
                    <a:pt x="7889" y="61293"/>
                  </a:lnTo>
                  <a:lnTo>
                    <a:pt x="29400" y="29400"/>
                  </a:lnTo>
                  <a:lnTo>
                    <a:pt x="61293" y="7889"/>
                  </a:lnTo>
                  <a:lnTo>
                    <a:pt x="100329" y="0"/>
                  </a:lnTo>
                  <a:lnTo>
                    <a:pt x="1530350" y="0"/>
                  </a:lnTo>
                  <a:lnTo>
                    <a:pt x="1569386" y="7889"/>
                  </a:lnTo>
                  <a:lnTo>
                    <a:pt x="1601279" y="29400"/>
                  </a:lnTo>
                  <a:lnTo>
                    <a:pt x="1622790" y="61293"/>
                  </a:lnTo>
                  <a:lnTo>
                    <a:pt x="1630679" y="100329"/>
                  </a:lnTo>
                  <a:lnTo>
                    <a:pt x="1630679" y="501650"/>
                  </a:lnTo>
                  <a:lnTo>
                    <a:pt x="1622790" y="540686"/>
                  </a:lnTo>
                  <a:lnTo>
                    <a:pt x="1601279" y="572579"/>
                  </a:lnTo>
                  <a:lnTo>
                    <a:pt x="1569386" y="594090"/>
                  </a:lnTo>
                  <a:lnTo>
                    <a:pt x="1530350" y="601979"/>
                  </a:lnTo>
                  <a:lnTo>
                    <a:pt x="100329" y="601979"/>
                  </a:lnTo>
                  <a:lnTo>
                    <a:pt x="61293" y="594090"/>
                  </a:lnTo>
                  <a:lnTo>
                    <a:pt x="29400" y="572579"/>
                  </a:lnTo>
                  <a:lnTo>
                    <a:pt x="7889" y="540686"/>
                  </a:lnTo>
                  <a:lnTo>
                    <a:pt x="0" y="501650"/>
                  </a:lnTo>
                  <a:lnTo>
                    <a:pt x="0" y="100329"/>
                  </a:lnTo>
                  <a:close/>
                </a:path>
              </a:pathLst>
            </a:custGeom>
            <a:ln w="12192">
              <a:solidFill>
                <a:srgbClr val="12ABDB"/>
              </a:solidFill>
            </a:ln>
          </p:spPr>
          <p:txBody>
            <a:bodyPr wrap="square" lIns="0" tIns="0" rIns="0" bIns="0" rtlCol="0"/>
            <a:lstStyle/>
            <a:p>
              <a:endParaRPr/>
            </a:p>
          </p:txBody>
        </p:sp>
        <p:sp>
          <p:nvSpPr>
            <p:cNvPr id="44" name="object 44"/>
            <p:cNvSpPr txBox="1"/>
            <p:nvPr/>
          </p:nvSpPr>
          <p:spPr>
            <a:xfrm>
              <a:off x="8707373" y="4277614"/>
              <a:ext cx="764540" cy="208279"/>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Sandb</a:t>
              </a:r>
              <a:r>
                <a:rPr sz="1200" b="1">
                  <a:latin typeface="Verdana"/>
                  <a:cs typeface="Verdana"/>
                </a:rPr>
                <a:t>ox</a:t>
              </a:r>
              <a:endParaRPr sz="1200">
                <a:latin typeface="Verdana"/>
                <a:cs typeface="Verdana"/>
              </a:endParaRPr>
            </a:p>
          </p:txBody>
        </p:sp>
        <p:sp>
          <p:nvSpPr>
            <p:cNvPr id="45" name="object 45"/>
            <p:cNvSpPr/>
            <p:nvPr/>
          </p:nvSpPr>
          <p:spPr>
            <a:xfrm>
              <a:off x="10305288" y="4098035"/>
              <a:ext cx="1647444" cy="617219"/>
            </a:xfrm>
            <a:prstGeom prst="rect">
              <a:avLst/>
            </a:prstGeom>
            <a:blipFill>
              <a:blip r:embed="rId3" cstate="print"/>
              <a:stretch>
                <a:fillRect/>
              </a:stretch>
            </a:blipFill>
          </p:spPr>
          <p:txBody>
            <a:bodyPr wrap="square" lIns="0" tIns="0" rIns="0" bIns="0" rtlCol="0"/>
            <a:lstStyle/>
            <a:p>
              <a:endParaRPr/>
            </a:p>
          </p:txBody>
        </p:sp>
        <p:sp>
          <p:nvSpPr>
            <p:cNvPr id="46" name="object 46"/>
            <p:cNvSpPr/>
            <p:nvPr/>
          </p:nvSpPr>
          <p:spPr>
            <a:xfrm>
              <a:off x="10283952" y="4081271"/>
              <a:ext cx="1632585" cy="601980"/>
            </a:xfrm>
            <a:custGeom>
              <a:avLst/>
              <a:gdLst/>
              <a:ahLst/>
              <a:cxnLst/>
              <a:rect l="l" t="t" r="r" b="b"/>
              <a:pathLst>
                <a:path w="1632584" h="601979">
                  <a:moveTo>
                    <a:pt x="1531874" y="0"/>
                  </a:moveTo>
                  <a:lnTo>
                    <a:pt x="100329" y="0"/>
                  </a:lnTo>
                  <a:lnTo>
                    <a:pt x="61293" y="7889"/>
                  </a:lnTo>
                  <a:lnTo>
                    <a:pt x="29400" y="29400"/>
                  </a:lnTo>
                  <a:lnTo>
                    <a:pt x="7889" y="61293"/>
                  </a:lnTo>
                  <a:lnTo>
                    <a:pt x="0" y="100329"/>
                  </a:lnTo>
                  <a:lnTo>
                    <a:pt x="0" y="501650"/>
                  </a:lnTo>
                  <a:lnTo>
                    <a:pt x="7889" y="540686"/>
                  </a:lnTo>
                  <a:lnTo>
                    <a:pt x="29400" y="572579"/>
                  </a:lnTo>
                  <a:lnTo>
                    <a:pt x="61293" y="594090"/>
                  </a:lnTo>
                  <a:lnTo>
                    <a:pt x="100329" y="601979"/>
                  </a:lnTo>
                  <a:lnTo>
                    <a:pt x="1531874" y="601979"/>
                  </a:lnTo>
                  <a:lnTo>
                    <a:pt x="1570910" y="594090"/>
                  </a:lnTo>
                  <a:lnTo>
                    <a:pt x="1602803" y="572579"/>
                  </a:lnTo>
                  <a:lnTo>
                    <a:pt x="1624314" y="540686"/>
                  </a:lnTo>
                  <a:lnTo>
                    <a:pt x="1632203" y="501650"/>
                  </a:lnTo>
                  <a:lnTo>
                    <a:pt x="1632203" y="100329"/>
                  </a:lnTo>
                  <a:lnTo>
                    <a:pt x="1624314" y="61293"/>
                  </a:lnTo>
                  <a:lnTo>
                    <a:pt x="1602803" y="29400"/>
                  </a:lnTo>
                  <a:lnTo>
                    <a:pt x="1570910" y="7889"/>
                  </a:lnTo>
                  <a:lnTo>
                    <a:pt x="1531874" y="0"/>
                  </a:lnTo>
                  <a:close/>
                </a:path>
              </a:pathLst>
            </a:custGeom>
            <a:solidFill>
              <a:srgbClr val="FFFFFF"/>
            </a:solidFill>
          </p:spPr>
          <p:txBody>
            <a:bodyPr wrap="square" lIns="0" tIns="0" rIns="0" bIns="0" rtlCol="0"/>
            <a:lstStyle/>
            <a:p>
              <a:endParaRPr/>
            </a:p>
          </p:txBody>
        </p:sp>
        <p:sp>
          <p:nvSpPr>
            <p:cNvPr id="47" name="object 47"/>
            <p:cNvSpPr/>
            <p:nvPr/>
          </p:nvSpPr>
          <p:spPr>
            <a:xfrm>
              <a:off x="10283952" y="4081271"/>
              <a:ext cx="1632585" cy="601980"/>
            </a:xfrm>
            <a:custGeom>
              <a:avLst/>
              <a:gdLst/>
              <a:ahLst/>
              <a:cxnLst/>
              <a:rect l="l" t="t" r="r" b="b"/>
              <a:pathLst>
                <a:path w="1632584" h="601979">
                  <a:moveTo>
                    <a:pt x="0" y="100329"/>
                  </a:moveTo>
                  <a:lnTo>
                    <a:pt x="7889" y="61293"/>
                  </a:lnTo>
                  <a:lnTo>
                    <a:pt x="29400" y="29400"/>
                  </a:lnTo>
                  <a:lnTo>
                    <a:pt x="61293" y="7889"/>
                  </a:lnTo>
                  <a:lnTo>
                    <a:pt x="100329" y="0"/>
                  </a:lnTo>
                  <a:lnTo>
                    <a:pt x="1531874" y="0"/>
                  </a:lnTo>
                  <a:lnTo>
                    <a:pt x="1570910" y="7889"/>
                  </a:lnTo>
                  <a:lnTo>
                    <a:pt x="1602803" y="29400"/>
                  </a:lnTo>
                  <a:lnTo>
                    <a:pt x="1624314" y="61293"/>
                  </a:lnTo>
                  <a:lnTo>
                    <a:pt x="1632203" y="100329"/>
                  </a:lnTo>
                  <a:lnTo>
                    <a:pt x="1632203" y="501650"/>
                  </a:lnTo>
                  <a:lnTo>
                    <a:pt x="1624314" y="540686"/>
                  </a:lnTo>
                  <a:lnTo>
                    <a:pt x="1602803" y="572579"/>
                  </a:lnTo>
                  <a:lnTo>
                    <a:pt x="1570910" y="594090"/>
                  </a:lnTo>
                  <a:lnTo>
                    <a:pt x="1531874" y="601979"/>
                  </a:lnTo>
                  <a:lnTo>
                    <a:pt x="100329" y="601979"/>
                  </a:lnTo>
                  <a:lnTo>
                    <a:pt x="61293" y="594090"/>
                  </a:lnTo>
                  <a:lnTo>
                    <a:pt x="29400" y="572579"/>
                  </a:lnTo>
                  <a:lnTo>
                    <a:pt x="7889" y="540686"/>
                  </a:lnTo>
                  <a:lnTo>
                    <a:pt x="0" y="501650"/>
                  </a:lnTo>
                  <a:lnTo>
                    <a:pt x="0" y="100329"/>
                  </a:lnTo>
                  <a:close/>
                </a:path>
              </a:pathLst>
            </a:custGeom>
            <a:ln w="12192">
              <a:solidFill>
                <a:srgbClr val="12ABDB"/>
              </a:solidFill>
            </a:ln>
          </p:spPr>
          <p:txBody>
            <a:bodyPr wrap="square" lIns="0" tIns="0" rIns="0" bIns="0" rtlCol="0"/>
            <a:lstStyle/>
            <a:p>
              <a:endParaRPr/>
            </a:p>
          </p:txBody>
        </p:sp>
        <p:sp>
          <p:nvSpPr>
            <p:cNvPr id="48" name="object 48"/>
            <p:cNvSpPr txBox="1"/>
            <p:nvPr/>
          </p:nvSpPr>
          <p:spPr>
            <a:xfrm>
              <a:off x="10569702" y="4277614"/>
              <a:ext cx="1062990" cy="208279"/>
            </a:xfrm>
            <a:prstGeom prst="rect">
              <a:avLst/>
            </a:prstGeom>
          </p:spPr>
          <p:txBody>
            <a:bodyPr vert="horz" wrap="square" lIns="0" tIns="12700" rIns="0" bIns="0" rtlCol="0">
              <a:spAutoFit/>
            </a:bodyPr>
            <a:lstStyle/>
            <a:p>
              <a:pPr marL="12700">
                <a:lnSpc>
                  <a:spcPct val="100000"/>
                </a:lnSpc>
                <a:spcBef>
                  <a:spcPts val="100"/>
                </a:spcBef>
              </a:pPr>
              <a:r>
                <a:rPr sz="1200" b="1">
                  <a:latin typeface="Verdana"/>
                  <a:cs typeface="Verdana"/>
                </a:rPr>
                <a:t>Partial</a:t>
              </a:r>
              <a:r>
                <a:rPr sz="1200" b="1" spc="-75">
                  <a:latin typeface="Verdana"/>
                  <a:cs typeface="Verdana"/>
                </a:rPr>
                <a:t> </a:t>
              </a:r>
              <a:r>
                <a:rPr sz="1200" b="1" spc="-5">
                  <a:latin typeface="Verdana"/>
                  <a:cs typeface="Verdana"/>
                </a:rPr>
                <a:t>Copy</a:t>
              </a:r>
              <a:endParaRPr sz="1200">
                <a:latin typeface="Verdana"/>
                <a:cs typeface="Verdana"/>
              </a:endParaRPr>
            </a:p>
          </p:txBody>
        </p:sp>
        <p:sp>
          <p:nvSpPr>
            <p:cNvPr id="49" name="object 49"/>
            <p:cNvSpPr/>
            <p:nvPr/>
          </p:nvSpPr>
          <p:spPr>
            <a:xfrm>
              <a:off x="227838" y="5270753"/>
              <a:ext cx="1632585" cy="1061085"/>
            </a:xfrm>
            <a:custGeom>
              <a:avLst/>
              <a:gdLst/>
              <a:ahLst/>
              <a:cxnLst/>
              <a:rect l="l" t="t" r="r" b="b"/>
              <a:pathLst>
                <a:path w="1632585" h="1061085">
                  <a:moveTo>
                    <a:pt x="1582039" y="0"/>
                  </a:moveTo>
                  <a:lnTo>
                    <a:pt x="50177" y="0"/>
                  </a:lnTo>
                  <a:lnTo>
                    <a:pt x="30646" y="3944"/>
                  </a:lnTo>
                  <a:lnTo>
                    <a:pt x="14697" y="14700"/>
                  </a:lnTo>
                  <a:lnTo>
                    <a:pt x="3943" y="30646"/>
                  </a:lnTo>
                  <a:lnTo>
                    <a:pt x="0" y="50165"/>
                  </a:lnTo>
                  <a:lnTo>
                    <a:pt x="0" y="1010526"/>
                  </a:lnTo>
                  <a:lnTo>
                    <a:pt x="3943" y="1030057"/>
                  </a:lnTo>
                  <a:lnTo>
                    <a:pt x="14697" y="1046006"/>
                  </a:lnTo>
                  <a:lnTo>
                    <a:pt x="30646" y="1056760"/>
                  </a:lnTo>
                  <a:lnTo>
                    <a:pt x="50177" y="1060704"/>
                  </a:lnTo>
                  <a:lnTo>
                    <a:pt x="1582039" y="1060704"/>
                  </a:lnTo>
                  <a:lnTo>
                    <a:pt x="1601557" y="1056760"/>
                  </a:lnTo>
                  <a:lnTo>
                    <a:pt x="1617503" y="1046006"/>
                  </a:lnTo>
                  <a:lnTo>
                    <a:pt x="1628259" y="1030057"/>
                  </a:lnTo>
                  <a:lnTo>
                    <a:pt x="1632204" y="1010526"/>
                  </a:lnTo>
                  <a:lnTo>
                    <a:pt x="1632204" y="50165"/>
                  </a:lnTo>
                  <a:lnTo>
                    <a:pt x="1628259" y="30646"/>
                  </a:lnTo>
                  <a:lnTo>
                    <a:pt x="1617503" y="14700"/>
                  </a:lnTo>
                  <a:lnTo>
                    <a:pt x="1601557" y="3944"/>
                  </a:lnTo>
                  <a:lnTo>
                    <a:pt x="1582039" y="0"/>
                  </a:lnTo>
                  <a:close/>
                </a:path>
              </a:pathLst>
            </a:custGeom>
            <a:solidFill>
              <a:srgbClr val="12ABDB"/>
            </a:solidFill>
          </p:spPr>
          <p:txBody>
            <a:bodyPr wrap="square" lIns="0" tIns="0" rIns="0" bIns="0" rtlCol="0"/>
            <a:lstStyle/>
            <a:p>
              <a:endParaRPr/>
            </a:p>
          </p:txBody>
        </p:sp>
        <p:sp>
          <p:nvSpPr>
            <p:cNvPr id="50" name="object 50"/>
            <p:cNvSpPr/>
            <p:nvPr/>
          </p:nvSpPr>
          <p:spPr>
            <a:xfrm>
              <a:off x="227838" y="5270753"/>
              <a:ext cx="1632585" cy="1061085"/>
            </a:xfrm>
            <a:custGeom>
              <a:avLst/>
              <a:gdLst/>
              <a:ahLst/>
              <a:cxnLst/>
              <a:rect l="l" t="t" r="r" b="b"/>
              <a:pathLst>
                <a:path w="1632585" h="1061085">
                  <a:moveTo>
                    <a:pt x="0" y="50165"/>
                  </a:moveTo>
                  <a:lnTo>
                    <a:pt x="3943" y="30646"/>
                  </a:lnTo>
                  <a:lnTo>
                    <a:pt x="14697" y="14700"/>
                  </a:lnTo>
                  <a:lnTo>
                    <a:pt x="30646" y="3944"/>
                  </a:lnTo>
                  <a:lnTo>
                    <a:pt x="50177" y="0"/>
                  </a:lnTo>
                  <a:lnTo>
                    <a:pt x="1582039" y="0"/>
                  </a:lnTo>
                  <a:lnTo>
                    <a:pt x="1601557" y="3944"/>
                  </a:lnTo>
                  <a:lnTo>
                    <a:pt x="1617503" y="14700"/>
                  </a:lnTo>
                  <a:lnTo>
                    <a:pt x="1628259" y="30646"/>
                  </a:lnTo>
                  <a:lnTo>
                    <a:pt x="1632204" y="50165"/>
                  </a:lnTo>
                  <a:lnTo>
                    <a:pt x="1632204" y="1010526"/>
                  </a:lnTo>
                  <a:lnTo>
                    <a:pt x="1628259" y="1030057"/>
                  </a:lnTo>
                  <a:lnTo>
                    <a:pt x="1617503" y="1046006"/>
                  </a:lnTo>
                  <a:lnTo>
                    <a:pt x="1601557" y="1056760"/>
                  </a:lnTo>
                  <a:lnTo>
                    <a:pt x="1582039" y="1060704"/>
                  </a:lnTo>
                  <a:lnTo>
                    <a:pt x="50177" y="1060704"/>
                  </a:lnTo>
                  <a:lnTo>
                    <a:pt x="30646" y="1056760"/>
                  </a:lnTo>
                  <a:lnTo>
                    <a:pt x="14697" y="1046006"/>
                  </a:lnTo>
                  <a:lnTo>
                    <a:pt x="3943" y="1030057"/>
                  </a:lnTo>
                  <a:lnTo>
                    <a:pt x="0" y="1010526"/>
                  </a:lnTo>
                  <a:lnTo>
                    <a:pt x="0" y="50165"/>
                  </a:lnTo>
                  <a:close/>
                </a:path>
              </a:pathLst>
            </a:custGeom>
            <a:ln w="28955">
              <a:solidFill>
                <a:srgbClr val="12ABDB"/>
              </a:solidFill>
            </a:ln>
          </p:spPr>
          <p:txBody>
            <a:bodyPr wrap="square" lIns="0" tIns="0" rIns="0" bIns="0" rtlCol="0"/>
            <a:lstStyle/>
            <a:p>
              <a:endParaRPr/>
            </a:p>
          </p:txBody>
        </p:sp>
        <p:sp>
          <p:nvSpPr>
            <p:cNvPr id="51" name="object 51"/>
            <p:cNvSpPr txBox="1"/>
            <p:nvPr/>
          </p:nvSpPr>
          <p:spPr>
            <a:xfrm>
              <a:off x="592937" y="5680964"/>
              <a:ext cx="899160" cy="239395"/>
            </a:xfrm>
            <a:prstGeom prst="rect">
              <a:avLst/>
            </a:prstGeom>
          </p:spPr>
          <p:txBody>
            <a:bodyPr vert="horz" wrap="square" lIns="0" tIns="12700" rIns="0" bIns="0" rtlCol="0">
              <a:spAutoFit/>
            </a:bodyPr>
            <a:lstStyle/>
            <a:p>
              <a:pPr marL="12700">
                <a:lnSpc>
                  <a:spcPct val="100000"/>
                </a:lnSpc>
                <a:spcBef>
                  <a:spcPts val="100"/>
                </a:spcBef>
              </a:pPr>
              <a:r>
                <a:rPr sz="1400" b="1" spc="-5">
                  <a:solidFill>
                    <a:srgbClr val="FFFFFF"/>
                  </a:solidFill>
                  <a:latin typeface="Verdana"/>
                  <a:cs typeface="Verdana"/>
                </a:rPr>
                <a:t>Features</a:t>
              </a:r>
              <a:endParaRPr sz="1400">
                <a:latin typeface="Verdana"/>
                <a:cs typeface="Verdana"/>
              </a:endParaRPr>
            </a:p>
          </p:txBody>
        </p:sp>
        <p:sp>
          <p:nvSpPr>
            <p:cNvPr id="52" name="object 52"/>
            <p:cNvSpPr/>
            <p:nvPr/>
          </p:nvSpPr>
          <p:spPr>
            <a:xfrm>
              <a:off x="2260092" y="5286755"/>
              <a:ext cx="1645920" cy="1075944"/>
            </a:xfrm>
            <a:prstGeom prst="rect">
              <a:avLst/>
            </a:prstGeom>
            <a:blipFill>
              <a:blip r:embed="rId4" cstate="print"/>
              <a:stretch>
                <a:fillRect/>
              </a:stretch>
            </a:blipFill>
          </p:spPr>
          <p:txBody>
            <a:bodyPr wrap="square" lIns="0" tIns="0" rIns="0" bIns="0" rtlCol="0"/>
            <a:lstStyle/>
            <a:p>
              <a:endParaRPr/>
            </a:p>
          </p:txBody>
        </p:sp>
        <p:sp>
          <p:nvSpPr>
            <p:cNvPr id="53" name="object 53"/>
            <p:cNvSpPr/>
            <p:nvPr/>
          </p:nvSpPr>
          <p:spPr>
            <a:xfrm>
              <a:off x="2266188" y="5594603"/>
              <a:ext cx="1690115" cy="505968"/>
            </a:xfrm>
            <a:prstGeom prst="rect">
              <a:avLst/>
            </a:prstGeom>
            <a:blipFill>
              <a:blip r:embed="rId5" cstate="print"/>
              <a:stretch>
                <a:fillRect/>
              </a:stretch>
            </a:blipFill>
          </p:spPr>
          <p:txBody>
            <a:bodyPr wrap="square" lIns="0" tIns="0" rIns="0" bIns="0" rtlCol="0"/>
            <a:lstStyle/>
            <a:p>
              <a:endParaRPr/>
            </a:p>
          </p:txBody>
        </p:sp>
        <p:sp>
          <p:nvSpPr>
            <p:cNvPr id="54" name="object 54"/>
            <p:cNvSpPr/>
            <p:nvPr/>
          </p:nvSpPr>
          <p:spPr>
            <a:xfrm>
              <a:off x="2238755" y="5269991"/>
              <a:ext cx="1630680" cy="1061085"/>
            </a:xfrm>
            <a:custGeom>
              <a:avLst/>
              <a:gdLst/>
              <a:ahLst/>
              <a:cxnLst/>
              <a:rect l="l" t="t" r="r" b="b"/>
              <a:pathLst>
                <a:path w="1630679" h="1061085">
                  <a:moveTo>
                    <a:pt x="1453895" y="0"/>
                  </a:moveTo>
                  <a:lnTo>
                    <a:pt x="176783" y="0"/>
                  </a:lnTo>
                  <a:lnTo>
                    <a:pt x="129778" y="6312"/>
                  </a:lnTo>
                  <a:lnTo>
                    <a:pt x="87545" y="24130"/>
                  </a:lnTo>
                  <a:lnTo>
                    <a:pt x="51768" y="51768"/>
                  </a:lnTo>
                  <a:lnTo>
                    <a:pt x="24130" y="87545"/>
                  </a:lnTo>
                  <a:lnTo>
                    <a:pt x="6312" y="129778"/>
                  </a:lnTo>
                  <a:lnTo>
                    <a:pt x="0" y="176784"/>
                  </a:lnTo>
                  <a:lnTo>
                    <a:pt x="0" y="883920"/>
                  </a:lnTo>
                  <a:lnTo>
                    <a:pt x="6312" y="930917"/>
                  </a:lnTo>
                  <a:lnTo>
                    <a:pt x="24130" y="973147"/>
                  </a:lnTo>
                  <a:lnTo>
                    <a:pt x="51768" y="1008926"/>
                  </a:lnTo>
                  <a:lnTo>
                    <a:pt x="87545" y="1036568"/>
                  </a:lnTo>
                  <a:lnTo>
                    <a:pt x="129778" y="1054389"/>
                  </a:lnTo>
                  <a:lnTo>
                    <a:pt x="176783" y="1060704"/>
                  </a:lnTo>
                  <a:lnTo>
                    <a:pt x="1453895" y="1060704"/>
                  </a:lnTo>
                  <a:lnTo>
                    <a:pt x="1500901" y="1054389"/>
                  </a:lnTo>
                  <a:lnTo>
                    <a:pt x="1543134" y="1036568"/>
                  </a:lnTo>
                  <a:lnTo>
                    <a:pt x="1578911" y="1008926"/>
                  </a:lnTo>
                  <a:lnTo>
                    <a:pt x="1606550" y="973147"/>
                  </a:lnTo>
                  <a:lnTo>
                    <a:pt x="1624367" y="930917"/>
                  </a:lnTo>
                  <a:lnTo>
                    <a:pt x="1630680" y="883920"/>
                  </a:lnTo>
                  <a:lnTo>
                    <a:pt x="1630680" y="176784"/>
                  </a:lnTo>
                  <a:lnTo>
                    <a:pt x="1624367" y="129778"/>
                  </a:lnTo>
                  <a:lnTo>
                    <a:pt x="1606550" y="87545"/>
                  </a:lnTo>
                  <a:lnTo>
                    <a:pt x="1578911" y="51768"/>
                  </a:lnTo>
                  <a:lnTo>
                    <a:pt x="1543134" y="24130"/>
                  </a:lnTo>
                  <a:lnTo>
                    <a:pt x="1500901" y="6312"/>
                  </a:lnTo>
                  <a:lnTo>
                    <a:pt x="1453895" y="0"/>
                  </a:lnTo>
                  <a:close/>
                </a:path>
              </a:pathLst>
            </a:custGeom>
            <a:solidFill>
              <a:srgbClr val="FFFFFF"/>
            </a:solidFill>
          </p:spPr>
          <p:txBody>
            <a:bodyPr wrap="square" lIns="0" tIns="0" rIns="0" bIns="0" rtlCol="0"/>
            <a:lstStyle/>
            <a:p>
              <a:endParaRPr/>
            </a:p>
          </p:txBody>
        </p:sp>
        <p:sp>
          <p:nvSpPr>
            <p:cNvPr id="55" name="object 55"/>
            <p:cNvSpPr/>
            <p:nvPr/>
          </p:nvSpPr>
          <p:spPr>
            <a:xfrm>
              <a:off x="2238755" y="5269991"/>
              <a:ext cx="1630680" cy="1061085"/>
            </a:xfrm>
            <a:custGeom>
              <a:avLst/>
              <a:gdLst/>
              <a:ahLst/>
              <a:cxnLst/>
              <a:rect l="l" t="t" r="r" b="b"/>
              <a:pathLst>
                <a:path w="1630679" h="1061085">
                  <a:moveTo>
                    <a:pt x="0" y="176784"/>
                  </a:moveTo>
                  <a:lnTo>
                    <a:pt x="6312" y="129778"/>
                  </a:lnTo>
                  <a:lnTo>
                    <a:pt x="24130" y="87545"/>
                  </a:lnTo>
                  <a:lnTo>
                    <a:pt x="51768" y="51768"/>
                  </a:lnTo>
                  <a:lnTo>
                    <a:pt x="87545" y="24130"/>
                  </a:lnTo>
                  <a:lnTo>
                    <a:pt x="129778" y="6312"/>
                  </a:lnTo>
                  <a:lnTo>
                    <a:pt x="176783" y="0"/>
                  </a:lnTo>
                  <a:lnTo>
                    <a:pt x="1453895" y="0"/>
                  </a:lnTo>
                  <a:lnTo>
                    <a:pt x="1500901" y="6312"/>
                  </a:lnTo>
                  <a:lnTo>
                    <a:pt x="1543134" y="24130"/>
                  </a:lnTo>
                  <a:lnTo>
                    <a:pt x="1578911" y="51768"/>
                  </a:lnTo>
                  <a:lnTo>
                    <a:pt x="1606550" y="87545"/>
                  </a:lnTo>
                  <a:lnTo>
                    <a:pt x="1624367" y="129778"/>
                  </a:lnTo>
                  <a:lnTo>
                    <a:pt x="1630680" y="176784"/>
                  </a:lnTo>
                  <a:lnTo>
                    <a:pt x="1630680" y="883920"/>
                  </a:lnTo>
                  <a:lnTo>
                    <a:pt x="1624367" y="930917"/>
                  </a:lnTo>
                  <a:lnTo>
                    <a:pt x="1606550" y="973147"/>
                  </a:lnTo>
                  <a:lnTo>
                    <a:pt x="1578911" y="1008926"/>
                  </a:lnTo>
                  <a:lnTo>
                    <a:pt x="1543134" y="1036568"/>
                  </a:lnTo>
                  <a:lnTo>
                    <a:pt x="1500901" y="1054389"/>
                  </a:lnTo>
                  <a:lnTo>
                    <a:pt x="1453895" y="1060704"/>
                  </a:lnTo>
                  <a:lnTo>
                    <a:pt x="176783" y="1060704"/>
                  </a:lnTo>
                  <a:lnTo>
                    <a:pt x="129778" y="1054389"/>
                  </a:lnTo>
                  <a:lnTo>
                    <a:pt x="87545" y="1036568"/>
                  </a:lnTo>
                  <a:lnTo>
                    <a:pt x="51768" y="1008926"/>
                  </a:lnTo>
                  <a:lnTo>
                    <a:pt x="24130" y="973147"/>
                  </a:lnTo>
                  <a:lnTo>
                    <a:pt x="6312" y="930917"/>
                  </a:lnTo>
                  <a:lnTo>
                    <a:pt x="0" y="883920"/>
                  </a:lnTo>
                  <a:lnTo>
                    <a:pt x="0" y="176784"/>
                  </a:lnTo>
                  <a:close/>
                </a:path>
              </a:pathLst>
            </a:custGeom>
            <a:ln w="12192">
              <a:solidFill>
                <a:srgbClr val="12ABDB"/>
              </a:solidFill>
            </a:ln>
          </p:spPr>
          <p:txBody>
            <a:bodyPr wrap="square" lIns="0" tIns="0" rIns="0" bIns="0" rtlCol="0"/>
            <a:lstStyle/>
            <a:p>
              <a:endParaRPr/>
            </a:p>
          </p:txBody>
        </p:sp>
        <p:sp>
          <p:nvSpPr>
            <p:cNvPr id="56" name="object 56"/>
            <p:cNvSpPr txBox="1"/>
            <p:nvPr/>
          </p:nvSpPr>
          <p:spPr>
            <a:xfrm>
              <a:off x="2316860" y="5604764"/>
              <a:ext cx="1475740" cy="391160"/>
            </a:xfrm>
            <a:prstGeom prst="rect">
              <a:avLst/>
            </a:prstGeom>
          </p:spPr>
          <p:txBody>
            <a:bodyPr vert="horz" wrap="square" lIns="0" tIns="12700" rIns="0" bIns="0" rtlCol="0">
              <a:spAutoFit/>
            </a:bodyPr>
            <a:lstStyle/>
            <a:p>
              <a:pPr marL="600710" marR="5080" indent="-588645">
                <a:lnSpc>
                  <a:spcPct val="100000"/>
                </a:lnSpc>
                <a:spcBef>
                  <a:spcPts val="100"/>
                </a:spcBef>
              </a:pPr>
              <a:r>
                <a:rPr sz="1200" spc="-5">
                  <a:latin typeface="Verdana"/>
                  <a:cs typeface="Verdana"/>
                </a:rPr>
                <a:t>Refresh Interval:</a:t>
              </a:r>
              <a:r>
                <a:rPr sz="1200" spc="-75">
                  <a:latin typeface="Verdana"/>
                  <a:cs typeface="Verdana"/>
                </a:rPr>
                <a:t> </a:t>
              </a:r>
              <a:r>
                <a:rPr sz="1200">
                  <a:latin typeface="Verdana"/>
                  <a:cs typeface="Verdana"/>
                </a:rPr>
                <a:t>1  </a:t>
              </a:r>
              <a:r>
                <a:rPr sz="1200" spc="-10">
                  <a:latin typeface="Verdana"/>
                  <a:cs typeface="Verdana"/>
                </a:rPr>
                <a:t>day</a:t>
              </a:r>
              <a:endParaRPr sz="1200">
                <a:latin typeface="Verdana"/>
                <a:cs typeface="Verdana"/>
              </a:endParaRPr>
            </a:p>
          </p:txBody>
        </p:sp>
        <p:sp>
          <p:nvSpPr>
            <p:cNvPr id="57" name="object 57"/>
            <p:cNvSpPr/>
            <p:nvPr/>
          </p:nvSpPr>
          <p:spPr>
            <a:xfrm>
              <a:off x="4271771" y="5286755"/>
              <a:ext cx="1645920" cy="1075944"/>
            </a:xfrm>
            <a:prstGeom prst="rect">
              <a:avLst/>
            </a:prstGeom>
            <a:blipFill>
              <a:blip r:embed="rId4" cstate="print"/>
              <a:stretch>
                <a:fillRect/>
              </a:stretch>
            </a:blipFill>
          </p:spPr>
          <p:txBody>
            <a:bodyPr wrap="square" lIns="0" tIns="0" rIns="0" bIns="0" rtlCol="0"/>
            <a:lstStyle/>
            <a:p>
              <a:endParaRPr/>
            </a:p>
          </p:txBody>
        </p:sp>
        <p:sp>
          <p:nvSpPr>
            <p:cNvPr id="58" name="object 58"/>
            <p:cNvSpPr/>
            <p:nvPr/>
          </p:nvSpPr>
          <p:spPr>
            <a:xfrm>
              <a:off x="4276344" y="5594603"/>
              <a:ext cx="1690116" cy="505968"/>
            </a:xfrm>
            <a:prstGeom prst="rect">
              <a:avLst/>
            </a:prstGeom>
            <a:blipFill>
              <a:blip r:embed="rId6" cstate="print"/>
              <a:stretch>
                <a:fillRect/>
              </a:stretch>
            </a:blipFill>
          </p:spPr>
          <p:txBody>
            <a:bodyPr wrap="square" lIns="0" tIns="0" rIns="0" bIns="0" rtlCol="0"/>
            <a:lstStyle/>
            <a:p>
              <a:endParaRPr/>
            </a:p>
          </p:txBody>
        </p:sp>
        <p:sp>
          <p:nvSpPr>
            <p:cNvPr id="59" name="object 59"/>
            <p:cNvSpPr/>
            <p:nvPr/>
          </p:nvSpPr>
          <p:spPr>
            <a:xfrm>
              <a:off x="4250435" y="5269991"/>
              <a:ext cx="1630680" cy="1061085"/>
            </a:xfrm>
            <a:custGeom>
              <a:avLst/>
              <a:gdLst/>
              <a:ahLst/>
              <a:cxnLst/>
              <a:rect l="l" t="t" r="r" b="b"/>
              <a:pathLst>
                <a:path w="1630679" h="1061085">
                  <a:moveTo>
                    <a:pt x="1453896" y="0"/>
                  </a:moveTo>
                  <a:lnTo>
                    <a:pt x="176784" y="0"/>
                  </a:lnTo>
                  <a:lnTo>
                    <a:pt x="129778" y="6312"/>
                  </a:lnTo>
                  <a:lnTo>
                    <a:pt x="87545" y="24130"/>
                  </a:lnTo>
                  <a:lnTo>
                    <a:pt x="51768" y="51768"/>
                  </a:lnTo>
                  <a:lnTo>
                    <a:pt x="24129" y="87545"/>
                  </a:lnTo>
                  <a:lnTo>
                    <a:pt x="6312" y="129778"/>
                  </a:lnTo>
                  <a:lnTo>
                    <a:pt x="0" y="176784"/>
                  </a:lnTo>
                  <a:lnTo>
                    <a:pt x="0" y="883920"/>
                  </a:lnTo>
                  <a:lnTo>
                    <a:pt x="6312" y="930917"/>
                  </a:lnTo>
                  <a:lnTo>
                    <a:pt x="24129" y="973147"/>
                  </a:lnTo>
                  <a:lnTo>
                    <a:pt x="51768" y="1008926"/>
                  </a:lnTo>
                  <a:lnTo>
                    <a:pt x="87545" y="1036568"/>
                  </a:lnTo>
                  <a:lnTo>
                    <a:pt x="129778" y="1054389"/>
                  </a:lnTo>
                  <a:lnTo>
                    <a:pt x="176784" y="1060704"/>
                  </a:lnTo>
                  <a:lnTo>
                    <a:pt x="1453896" y="1060704"/>
                  </a:lnTo>
                  <a:lnTo>
                    <a:pt x="1500901" y="1054389"/>
                  </a:lnTo>
                  <a:lnTo>
                    <a:pt x="1543134" y="1036568"/>
                  </a:lnTo>
                  <a:lnTo>
                    <a:pt x="1578911" y="1008926"/>
                  </a:lnTo>
                  <a:lnTo>
                    <a:pt x="1606550" y="973147"/>
                  </a:lnTo>
                  <a:lnTo>
                    <a:pt x="1624367" y="930917"/>
                  </a:lnTo>
                  <a:lnTo>
                    <a:pt x="1630679" y="883920"/>
                  </a:lnTo>
                  <a:lnTo>
                    <a:pt x="1630679" y="176784"/>
                  </a:lnTo>
                  <a:lnTo>
                    <a:pt x="1624367" y="129778"/>
                  </a:lnTo>
                  <a:lnTo>
                    <a:pt x="1606550" y="87545"/>
                  </a:lnTo>
                  <a:lnTo>
                    <a:pt x="1578911" y="51768"/>
                  </a:lnTo>
                  <a:lnTo>
                    <a:pt x="1543134" y="24130"/>
                  </a:lnTo>
                  <a:lnTo>
                    <a:pt x="1500901" y="6312"/>
                  </a:lnTo>
                  <a:lnTo>
                    <a:pt x="1453896" y="0"/>
                  </a:lnTo>
                  <a:close/>
                </a:path>
              </a:pathLst>
            </a:custGeom>
            <a:solidFill>
              <a:srgbClr val="FFFFFF"/>
            </a:solidFill>
          </p:spPr>
          <p:txBody>
            <a:bodyPr wrap="square" lIns="0" tIns="0" rIns="0" bIns="0" rtlCol="0"/>
            <a:lstStyle/>
            <a:p>
              <a:endParaRPr/>
            </a:p>
          </p:txBody>
        </p:sp>
        <p:sp>
          <p:nvSpPr>
            <p:cNvPr id="60" name="object 60"/>
            <p:cNvSpPr/>
            <p:nvPr/>
          </p:nvSpPr>
          <p:spPr>
            <a:xfrm>
              <a:off x="4250435" y="5269991"/>
              <a:ext cx="1630680" cy="1061085"/>
            </a:xfrm>
            <a:custGeom>
              <a:avLst/>
              <a:gdLst/>
              <a:ahLst/>
              <a:cxnLst/>
              <a:rect l="l" t="t" r="r" b="b"/>
              <a:pathLst>
                <a:path w="1630679" h="1061085">
                  <a:moveTo>
                    <a:pt x="0" y="176784"/>
                  </a:moveTo>
                  <a:lnTo>
                    <a:pt x="6312" y="129778"/>
                  </a:lnTo>
                  <a:lnTo>
                    <a:pt x="24129" y="87545"/>
                  </a:lnTo>
                  <a:lnTo>
                    <a:pt x="51768" y="51768"/>
                  </a:lnTo>
                  <a:lnTo>
                    <a:pt x="87545" y="24130"/>
                  </a:lnTo>
                  <a:lnTo>
                    <a:pt x="129778" y="6312"/>
                  </a:lnTo>
                  <a:lnTo>
                    <a:pt x="176784" y="0"/>
                  </a:lnTo>
                  <a:lnTo>
                    <a:pt x="1453896" y="0"/>
                  </a:lnTo>
                  <a:lnTo>
                    <a:pt x="1500901" y="6312"/>
                  </a:lnTo>
                  <a:lnTo>
                    <a:pt x="1543134" y="24130"/>
                  </a:lnTo>
                  <a:lnTo>
                    <a:pt x="1578911" y="51768"/>
                  </a:lnTo>
                  <a:lnTo>
                    <a:pt x="1606550" y="87545"/>
                  </a:lnTo>
                  <a:lnTo>
                    <a:pt x="1624367" y="129778"/>
                  </a:lnTo>
                  <a:lnTo>
                    <a:pt x="1630679" y="176784"/>
                  </a:lnTo>
                  <a:lnTo>
                    <a:pt x="1630679" y="883920"/>
                  </a:lnTo>
                  <a:lnTo>
                    <a:pt x="1624367" y="930917"/>
                  </a:lnTo>
                  <a:lnTo>
                    <a:pt x="1606550" y="973147"/>
                  </a:lnTo>
                  <a:lnTo>
                    <a:pt x="1578911" y="1008926"/>
                  </a:lnTo>
                  <a:lnTo>
                    <a:pt x="1543134" y="1036568"/>
                  </a:lnTo>
                  <a:lnTo>
                    <a:pt x="1500901" y="1054389"/>
                  </a:lnTo>
                  <a:lnTo>
                    <a:pt x="1453896" y="1060704"/>
                  </a:lnTo>
                  <a:lnTo>
                    <a:pt x="176784" y="1060704"/>
                  </a:lnTo>
                  <a:lnTo>
                    <a:pt x="129778" y="1054389"/>
                  </a:lnTo>
                  <a:lnTo>
                    <a:pt x="87545" y="1036568"/>
                  </a:lnTo>
                  <a:lnTo>
                    <a:pt x="51768" y="1008926"/>
                  </a:lnTo>
                  <a:lnTo>
                    <a:pt x="24129" y="973147"/>
                  </a:lnTo>
                  <a:lnTo>
                    <a:pt x="6312" y="930917"/>
                  </a:lnTo>
                  <a:lnTo>
                    <a:pt x="0" y="883920"/>
                  </a:lnTo>
                  <a:lnTo>
                    <a:pt x="0" y="176784"/>
                  </a:lnTo>
                  <a:close/>
                </a:path>
              </a:pathLst>
            </a:custGeom>
            <a:ln w="12192">
              <a:solidFill>
                <a:srgbClr val="12ABDB"/>
              </a:solidFill>
            </a:ln>
          </p:spPr>
          <p:txBody>
            <a:bodyPr wrap="square" lIns="0" tIns="0" rIns="0" bIns="0" rtlCol="0"/>
            <a:lstStyle/>
            <a:p>
              <a:endParaRPr/>
            </a:p>
          </p:txBody>
        </p:sp>
        <p:sp>
          <p:nvSpPr>
            <p:cNvPr id="61" name="object 61"/>
            <p:cNvSpPr txBox="1"/>
            <p:nvPr/>
          </p:nvSpPr>
          <p:spPr>
            <a:xfrm>
              <a:off x="4328540" y="5604764"/>
              <a:ext cx="1475740" cy="391160"/>
            </a:xfrm>
            <a:prstGeom prst="rect">
              <a:avLst/>
            </a:prstGeom>
          </p:spPr>
          <p:txBody>
            <a:bodyPr vert="horz" wrap="square" lIns="0" tIns="12700" rIns="0" bIns="0" rtlCol="0">
              <a:spAutoFit/>
            </a:bodyPr>
            <a:lstStyle/>
            <a:p>
              <a:pPr marL="601345" marR="5080" indent="-588645">
                <a:lnSpc>
                  <a:spcPct val="100000"/>
                </a:lnSpc>
                <a:spcBef>
                  <a:spcPts val="100"/>
                </a:spcBef>
              </a:pPr>
              <a:r>
                <a:rPr sz="1200" spc="-5">
                  <a:latin typeface="Verdana"/>
                  <a:cs typeface="Verdana"/>
                </a:rPr>
                <a:t>Refresh Interval:</a:t>
              </a:r>
              <a:r>
                <a:rPr sz="1200" spc="-75">
                  <a:latin typeface="Verdana"/>
                  <a:cs typeface="Verdana"/>
                </a:rPr>
                <a:t> </a:t>
              </a:r>
              <a:r>
                <a:rPr sz="1200">
                  <a:latin typeface="Verdana"/>
                  <a:cs typeface="Verdana"/>
                </a:rPr>
                <a:t>1  </a:t>
              </a:r>
              <a:r>
                <a:rPr sz="1200" spc="-10">
                  <a:latin typeface="Verdana"/>
                  <a:cs typeface="Verdana"/>
                </a:rPr>
                <a:t>day</a:t>
              </a:r>
              <a:endParaRPr sz="1200">
                <a:latin typeface="Verdana"/>
                <a:cs typeface="Verdana"/>
              </a:endParaRPr>
            </a:p>
          </p:txBody>
        </p:sp>
        <p:sp>
          <p:nvSpPr>
            <p:cNvPr id="62" name="object 62"/>
            <p:cNvSpPr/>
            <p:nvPr/>
          </p:nvSpPr>
          <p:spPr>
            <a:xfrm>
              <a:off x="6283452" y="5286755"/>
              <a:ext cx="1645920" cy="1075944"/>
            </a:xfrm>
            <a:prstGeom prst="rect">
              <a:avLst/>
            </a:prstGeom>
            <a:blipFill>
              <a:blip r:embed="rId4" cstate="print"/>
              <a:stretch>
                <a:fillRect/>
              </a:stretch>
            </a:blipFill>
          </p:spPr>
          <p:txBody>
            <a:bodyPr wrap="square" lIns="0" tIns="0" rIns="0" bIns="0" rtlCol="0"/>
            <a:lstStyle/>
            <a:p>
              <a:endParaRPr/>
            </a:p>
          </p:txBody>
        </p:sp>
        <p:sp>
          <p:nvSpPr>
            <p:cNvPr id="63" name="object 63"/>
            <p:cNvSpPr/>
            <p:nvPr/>
          </p:nvSpPr>
          <p:spPr>
            <a:xfrm>
              <a:off x="6288023" y="5594603"/>
              <a:ext cx="1690116" cy="505968"/>
            </a:xfrm>
            <a:prstGeom prst="rect">
              <a:avLst/>
            </a:prstGeom>
            <a:blipFill>
              <a:blip r:embed="rId7" cstate="print"/>
              <a:stretch>
                <a:fillRect/>
              </a:stretch>
            </a:blipFill>
          </p:spPr>
          <p:txBody>
            <a:bodyPr wrap="square" lIns="0" tIns="0" rIns="0" bIns="0" rtlCol="0"/>
            <a:lstStyle/>
            <a:p>
              <a:endParaRPr/>
            </a:p>
          </p:txBody>
        </p:sp>
        <p:sp>
          <p:nvSpPr>
            <p:cNvPr id="64" name="object 64"/>
            <p:cNvSpPr/>
            <p:nvPr/>
          </p:nvSpPr>
          <p:spPr>
            <a:xfrm>
              <a:off x="6262115" y="5269991"/>
              <a:ext cx="1630680" cy="1061085"/>
            </a:xfrm>
            <a:custGeom>
              <a:avLst/>
              <a:gdLst/>
              <a:ahLst/>
              <a:cxnLst/>
              <a:rect l="l" t="t" r="r" b="b"/>
              <a:pathLst>
                <a:path w="1630679" h="1061085">
                  <a:moveTo>
                    <a:pt x="1453895" y="0"/>
                  </a:moveTo>
                  <a:lnTo>
                    <a:pt x="176784" y="0"/>
                  </a:lnTo>
                  <a:lnTo>
                    <a:pt x="129778" y="6312"/>
                  </a:lnTo>
                  <a:lnTo>
                    <a:pt x="87545" y="24130"/>
                  </a:lnTo>
                  <a:lnTo>
                    <a:pt x="51768" y="51768"/>
                  </a:lnTo>
                  <a:lnTo>
                    <a:pt x="24129" y="87545"/>
                  </a:lnTo>
                  <a:lnTo>
                    <a:pt x="6312" y="129778"/>
                  </a:lnTo>
                  <a:lnTo>
                    <a:pt x="0" y="176784"/>
                  </a:lnTo>
                  <a:lnTo>
                    <a:pt x="0" y="883920"/>
                  </a:lnTo>
                  <a:lnTo>
                    <a:pt x="6312" y="930917"/>
                  </a:lnTo>
                  <a:lnTo>
                    <a:pt x="24129" y="973147"/>
                  </a:lnTo>
                  <a:lnTo>
                    <a:pt x="51768" y="1008926"/>
                  </a:lnTo>
                  <a:lnTo>
                    <a:pt x="87545" y="1036568"/>
                  </a:lnTo>
                  <a:lnTo>
                    <a:pt x="129778" y="1054389"/>
                  </a:lnTo>
                  <a:lnTo>
                    <a:pt x="176784" y="1060704"/>
                  </a:lnTo>
                  <a:lnTo>
                    <a:pt x="1453895" y="1060704"/>
                  </a:lnTo>
                  <a:lnTo>
                    <a:pt x="1500901" y="1054389"/>
                  </a:lnTo>
                  <a:lnTo>
                    <a:pt x="1543134" y="1036568"/>
                  </a:lnTo>
                  <a:lnTo>
                    <a:pt x="1578911" y="1008926"/>
                  </a:lnTo>
                  <a:lnTo>
                    <a:pt x="1606550" y="973147"/>
                  </a:lnTo>
                  <a:lnTo>
                    <a:pt x="1624367" y="930917"/>
                  </a:lnTo>
                  <a:lnTo>
                    <a:pt x="1630680" y="883920"/>
                  </a:lnTo>
                  <a:lnTo>
                    <a:pt x="1630680" y="176784"/>
                  </a:lnTo>
                  <a:lnTo>
                    <a:pt x="1624367" y="129778"/>
                  </a:lnTo>
                  <a:lnTo>
                    <a:pt x="1606550" y="87545"/>
                  </a:lnTo>
                  <a:lnTo>
                    <a:pt x="1578911" y="51768"/>
                  </a:lnTo>
                  <a:lnTo>
                    <a:pt x="1543134" y="24130"/>
                  </a:lnTo>
                  <a:lnTo>
                    <a:pt x="1500901" y="6312"/>
                  </a:lnTo>
                  <a:lnTo>
                    <a:pt x="1453895" y="0"/>
                  </a:lnTo>
                  <a:close/>
                </a:path>
              </a:pathLst>
            </a:custGeom>
            <a:solidFill>
              <a:srgbClr val="FFFFFF"/>
            </a:solidFill>
          </p:spPr>
          <p:txBody>
            <a:bodyPr wrap="square" lIns="0" tIns="0" rIns="0" bIns="0" rtlCol="0"/>
            <a:lstStyle/>
            <a:p>
              <a:endParaRPr/>
            </a:p>
          </p:txBody>
        </p:sp>
        <p:sp>
          <p:nvSpPr>
            <p:cNvPr id="65" name="object 65"/>
            <p:cNvSpPr/>
            <p:nvPr/>
          </p:nvSpPr>
          <p:spPr>
            <a:xfrm>
              <a:off x="6262115" y="5269991"/>
              <a:ext cx="1630680" cy="1061085"/>
            </a:xfrm>
            <a:custGeom>
              <a:avLst/>
              <a:gdLst/>
              <a:ahLst/>
              <a:cxnLst/>
              <a:rect l="l" t="t" r="r" b="b"/>
              <a:pathLst>
                <a:path w="1630679" h="1061085">
                  <a:moveTo>
                    <a:pt x="0" y="176784"/>
                  </a:moveTo>
                  <a:lnTo>
                    <a:pt x="6312" y="129778"/>
                  </a:lnTo>
                  <a:lnTo>
                    <a:pt x="24129" y="87545"/>
                  </a:lnTo>
                  <a:lnTo>
                    <a:pt x="51768" y="51768"/>
                  </a:lnTo>
                  <a:lnTo>
                    <a:pt x="87545" y="24130"/>
                  </a:lnTo>
                  <a:lnTo>
                    <a:pt x="129778" y="6312"/>
                  </a:lnTo>
                  <a:lnTo>
                    <a:pt x="176784" y="0"/>
                  </a:lnTo>
                  <a:lnTo>
                    <a:pt x="1453895" y="0"/>
                  </a:lnTo>
                  <a:lnTo>
                    <a:pt x="1500901" y="6312"/>
                  </a:lnTo>
                  <a:lnTo>
                    <a:pt x="1543134" y="24130"/>
                  </a:lnTo>
                  <a:lnTo>
                    <a:pt x="1578911" y="51768"/>
                  </a:lnTo>
                  <a:lnTo>
                    <a:pt x="1606550" y="87545"/>
                  </a:lnTo>
                  <a:lnTo>
                    <a:pt x="1624367" y="129778"/>
                  </a:lnTo>
                  <a:lnTo>
                    <a:pt x="1630680" y="176784"/>
                  </a:lnTo>
                  <a:lnTo>
                    <a:pt x="1630680" y="883920"/>
                  </a:lnTo>
                  <a:lnTo>
                    <a:pt x="1624367" y="930917"/>
                  </a:lnTo>
                  <a:lnTo>
                    <a:pt x="1606550" y="973147"/>
                  </a:lnTo>
                  <a:lnTo>
                    <a:pt x="1578911" y="1008926"/>
                  </a:lnTo>
                  <a:lnTo>
                    <a:pt x="1543134" y="1036568"/>
                  </a:lnTo>
                  <a:lnTo>
                    <a:pt x="1500901" y="1054389"/>
                  </a:lnTo>
                  <a:lnTo>
                    <a:pt x="1453895" y="1060704"/>
                  </a:lnTo>
                  <a:lnTo>
                    <a:pt x="176784" y="1060704"/>
                  </a:lnTo>
                  <a:lnTo>
                    <a:pt x="129778" y="1054389"/>
                  </a:lnTo>
                  <a:lnTo>
                    <a:pt x="87545" y="1036568"/>
                  </a:lnTo>
                  <a:lnTo>
                    <a:pt x="51768" y="1008926"/>
                  </a:lnTo>
                  <a:lnTo>
                    <a:pt x="24129" y="973147"/>
                  </a:lnTo>
                  <a:lnTo>
                    <a:pt x="6312" y="930917"/>
                  </a:lnTo>
                  <a:lnTo>
                    <a:pt x="0" y="883920"/>
                  </a:lnTo>
                  <a:lnTo>
                    <a:pt x="0" y="176784"/>
                  </a:lnTo>
                  <a:close/>
                </a:path>
              </a:pathLst>
            </a:custGeom>
            <a:ln w="12192">
              <a:solidFill>
                <a:srgbClr val="12ABDB"/>
              </a:solidFill>
            </a:ln>
          </p:spPr>
          <p:txBody>
            <a:bodyPr wrap="square" lIns="0" tIns="0" rIns="0" bIns="0" rtlCol="0"/>
            <a:lstStyle/>
            <a:p>
              <a:endParaRPr/>
            </a:p>
          </p:txBody>
        </p:sp>
        <p:sp>
          <p:nvSpPr>
            <p:cNvPr id="66" name="object 66"/>
            <p:cNvSpPr txBox="1"/>
            <p:nvPr/>
          </p:nvSpPr>
          <p:spPr>
            <a:xfrm>
              <a:off x="6340221" y="5604764"/>
              <a:ext cx="1475740" cy="391160"/>
            </a:xfrm>
            <a:prstGeom prst="rect">
              <a:avLst/>
            </a:prstGeom>
          </p:spPr>
          <p:txBody>
            <a:bodyPr vert="horz" wrap="square" lIns="0" tIns="12700" rIns="0" bIns="0" rtlCol="0">
              <a:spAutoFit/>
            </a:bodyPr>
            <a:lstStyle/>
            <a:p>
              <a:pPr marL="601345" marR="5080" indent="-588645">
                <a:lnSpc>
                  <a:spcPct val="100000"/>
                </a:lnSpc>
                <a:spcBef>
                  <a:spcPts val="100"/>
                </a:spcBef>
              </a:pPr>
              <a:r>
                <a:rPr sz="1200" spc="-5">
                  <a:latin typeface="Verdana"/>
                  <a:cs typeface="Verdana"/>
                </a:rPr>
                <a:t>Refresh Interval:</a:t>
              </a:r>
              <a:r>
                <a:rPr sz="1200" spc="-75">
                  <a:latin typeface="Verdana"/>
                  <a:cs typeface="Verdana"/>
                </a:rPr>
                <a:t> </a:t>
              </a:r>
              <a:r>
                <a:rPr sz="1200">
                  <a:latin typeface="Verdana"/>
                  <a:cs typeface="Verdana"/>
                </a:rPr>
                <a:t>5  </a:t>
              </a:r>
              <a:r>
                <a:rPr sz="1200" spc="-10">
                  <a:latin typeface="Verdana"/>
                  <a:cs typeface="Verdana"/>
                </a:rPr>
                <a:t>day</a:t>
              </a:r>
              <a:endParaRPr sz="1200">
                <a:latin typeface="Verdana"/>
                <a:cs typeface="Verdana"/>
              </a:endParaRPr>
            </a:p>
          </p:txBody>
        </p:sp>
        <p:sp>
          <p:nvSpPr>
            <p:cNvPr id="67" name="object 67"/>
            <p:cNvSpPr/>
            <p:nvPr/>
          </p:nvSpPr>
          <p:spPr>
            <a:xfrm>
              <a:off x="8295131" y="5286755"/>
              <a:ext cx="1645920" cy="1075944"/>
            </a:xfrm>
            <a:prstGeom prst="rect">
              <a:avLst/>
            </a:prstGeom>
            <a:blipFill>
              <a:blip r:embed="rId4" cstate="print"/>
              <a:stretch>
                <a:fillRect/>
              </a:stretch>
            </a:blipFill>
          </p:spPr>
          <p:txBody>
            <a:bodyPr wrap="square" lIns="0" tIns="0" rIns="0" bIns="0" rtlCol="0"/>
            <a:lstStyle/>
            <a:p>
              <a:endParaRPr/>
            </a:p>
          </p:txBody>
        </p:sp>
        <p:sp>
          <p:nvSpPr>
            <p:cNvPr id="68" name="object 68"/>
            <p:cNvSpPr/>
            <p:nvPr/>
          </p:nvSpPr>
          <p:spPr>
            <a:xfrm>
              <a:off x="8299704" y="5594603"/>
              <a:ext cx="1690116" cy="505968"/>
            </a:xfrm>
            <a:prstGeom prst="rect">
              <a:avLst/>
            </a:prstGeom>
            <a:blipFill>
              <a:blip r:embed="rId8" cstate="print"/>
              <a:stretch>
                <a:fillRect/>
              </a:stretch>
            </a:blipFill>
          </p:spPr>
          <p:txBody>
            <a:bodyPr wrap="square" lIns="0" tIns="0" rIns="0" bIns="0" rtlCol="0"/>
            <a:lstStyle/>
            <a:p>
              <a:endParaRPr/>
            </a:p>
          </p:txBody>
        </p:sp>
        <p:sp>
          <p:nvSpPr>
            <p:cNvPr id="69" name="object 69"/>
            <p:cNvSpPr/>
            <p:nvPr/>
          </p:nvSpPr>
          <p:spPr>
            <a:xfrm>
              <a:off x="8273795" y="5269991"/>
              <a:ext cx="1630680" cy="1061085"/>
            </a:xfrm>
            <a:custGeom>
              <a:avLst/>
              <a:gdLst/>
              <a:ahLst/>
              <a:cxnLst/>
              <a:rect l="l" t="t" r="r" b="b"/>
              <a:pathLst>
                <a:path w="1630679" h="1061085">
                  <a:moveTo>
                    <a:pt x="1453896" y="0"/>
                  </a:moveTo>
                  <a:lnTo>
                    <a:pt x="176783" y="0"/>
                  </a:lnTo>
                  <a:lnTo>
                    <a:pt x="129778" y="6312"/>
                  </a:lnTo>
                  <a:lnTo>
                    <a:pt x="87545" y="24130"/>
                  </a:lnTo>
                  <a:lnTo>
                    <a:pt x="51768" y="51768"/>
                  </a:lnTo>
                  <a:lnTo>
                    <a:pt x="24129" y="87545"/>
                  </a:lnTo>
                  <a:lnTo>
                    <a:pt x="6312" y="129778"/>
                  </a:lnTo>
                  <a:lnTo>
                    <a:pt x="0" y="176784"/>
                  </a:lnTo>
                  <a:lnTo>
                    <a:pt x="0" y="883920"/>
                  </a:lnTo>
                  <a:lnTo>
                    <a:pt x="6312" y="930917"/>
                  </a:lnTo>
                  <a:lnTo>
                    <a:pt x="24129" y="973147"/>
                  </a:lnTo>
                  <a:lnTo>
                    <a:pt x="51768" y="1008926"/>
                  </a:lnTo>
                  <a:lnTo>
                    <a:pt x="87545" y="1036568"/>
                  </a:lnTo>
                  <a:lnTo>
                    <a:pt x="129778" y="1054389"/>
                  </a:lnTo>
                  <a:lnTo>
                    <a:pt x="176783" y="1060704"/>
                  </a:lnTo>
                  <a:lnTo>
                    <a:pt x="1453896" y="1060704"/>
                  </a:lnTo>
                  <a:lnTo>
                    <a:pt x="1500901" y="1054389"/>
                  </a:lnTo>
                  <a:lnTo>
                    <a:pt x="1543134" y="1036568"/>
                  </a:lnTo>
                  <a:lnTo>
                    <a:pt x="1578911" y="1008926"/>
                  </a:lnTo>
                  <a:lnTo>
                    <a:pt x="1606550" y="973147"/>
                  </a:lnTo>
                  <a:lnTo>
                    <a:pt x="1624367" y="930917"/>
                  </a:lnTo>
                  <a:lnTo>
                    <a:pt x="1630679" y="883920"/>
                  </a:lnTo>
                  <a:lnTo>
                    <a:pt x="1630679" y="176784"/>
                  </a:lnTo>
                  <a:lnTo>
                    <a:pt x="1624367" y="129778"/>
                  </a:lnTo>
                  <a:lnTo>
                    <a:pt x="1606550" y="87545"/>
                  </a:lnTo>
                  <a:lnTo>
                    <a:pt x="1578911" y="51768"/>
                  </a:lnTo>
                  <a:lnTo>
                    <a:pt x="1543134" y="24130"/>
                  </a:lnTo>
                  <a:lnTo>
                    <a:pt x="1500901" y="6312"/>
                  </a:lnTo>
                  <a:lnTo>
                    <a:pt x="1453896" y="0"/>
                  </a:lnTo>
                  <a:close/>
                </a:path>
              </a:pathLst>
            </a:custGeom>
            <a:solidFill>
              <a:srgbClr val="FFFFFF"/>
            </a:solidFill>
          </p:spPr>
          <p:txBody>
            <a:bodyPr wrap="square" lIns="0" tIns="0" rIns="0" bIns="0" rtlCol="0"/>
            <a:lstStyle/>
            <a:p>
              <a:endParaRPr/>
            </a:p>
          </p:txBody>
        </p:sp>
        <p:sp>
          <p:nvSpPr>
            <p:cNvPr id="70" name="object 70"/>
            <p:cNvSpPr/>
            <p:nvPr/>
          </p:nvSpPr>
          <p:spPr>
            <a:xfrm>
              <a:off x="8273795" y="5269991"/>
              <a:ext cx="1630680" cy="1061085"/>
            </a:xfrm>
            <a:custGeom>
              <a:avLst/>
              <a:gdLst/>
              <a:ahLst/>
              <a:cxnLst/>
              <a:rect l="l" t="t" r="r" b="b"/>
              <a:pathLst>
                <a:path w="1630679" h="1061085">
                  <a:moveTo>
                    <a:pt x="0" y="176784"/>
                  </a:moveTo>
                  <a:lnTo>
                    <a:pt x="6312" y="129778"/>
                  </a:lnTo>
                  <a:lnTo>
                    <a:pt x="24129" y="87545"/>
                  </a:lnTo>
                  <a:lnTo>
                    <a:pt x="51768" y="51768"/>
                  </a:lnTo>
                  <a:lnTo>
                    <a:pt x="87545" y="24130"/>
                  </a:lnTo>
                  <a:lnTo>
                    <a:pt x="129778" y="6312"/>
                  </a:lnTo>
                  <a:lnTo>
                    <a:pt x="176783" y="0"/>
                  </a:lnTo>
                  <a:lnTo>
                    <a:pt x="1453896" y="0"/>
                  </a:lnTo>
                  <a:lnTo>
                    <a:pt x="1500901" y="6312"/>
                  </a:lnTo>
                  <a:lnTo>
                    <a:pt x="1543134" y="24130"/>
                  </a:lnTo>
                  <a:lnTo>
                    <a:pt x="1578911" y="51768"/>
                  </a:lnTo>
                  <a:lnTo>
                    <a:pt x="1606550" y="87545"/>
                  </a:lnTo>
                  <a:lnTo>
                    <a:pt x="1624367" y="129778"/>
                  </a:lnTo>
                  <a:lnTo>
                    <a:pt x="1630679" y="176784"/>
                  </a:lnTo>
                  <a:lnTo>
                    <a:pt x="1630679" y="883920"/>
                  </a:lnTo>
                  <a:lnTo>
                    <a:pt x="1624367" y="930917"/>
                  </a:lnTo>
                  <a:lnTo>
                    <a:pt x="1606550" y="973147"/>
                  </a:lnTo>
                  <a:lnTo>
                    <a:pt x="1578911" y="1008926"/>
                  </a:lnTo>
                  <a:lnTo>
                    <a:pt x="1543134" y="1036568"/>
                  </a:lnTo>
                  <a:lnTo>
                    <a:pt x="1500901" y="1054389"/>
                  </a:lnTo>
                  <a:lnTo>
                    <a:pt x="1453896" y="1060704"/>
                  </a:lnTo>
                  <a:lnTo>
                    <a:pt x="176783" y="1060704"/>
                  </a:lnTo>
                  <a:lnTo>
                    <a:pt x="129778" y="1054389"/>
                  </a:lnTo>
                  <a:lnTo>
                    <a:pt x="87545" y="1036568"/>
                  </a:lnTo>
                  <a:lnTo>
                    <a:pt x="51768" y="1008926"/>
                  </a:lnTo>
                  <a:lnTo>
                    <a:pt x="24129" y="973147"/>
                  </a:lnTo>
                  <a:lnTo>
                    <a:pt x="6312" y="930917"/>
                  </a:lnTo>
                  <a:lnTo>
                    <a:pt x="0" y="883920"/>
                  </a:lnTo>
                  <a:lnTo>
                    <a:pt x="0" y="176784"/>
                  </a:lnTo>
                  <a:close/>
                </a:path>
              </a:pathLst>
            </a:custGeom>
            <a:ln w="12192">
              <a:solidFill>
                <a:srgbClr val="12ABDB"/>
              </a:solidFill>
            </a:ln>
          </p:spPr>
          <p:txBody>
            <a:bodyPr wrap="square" lIns="0" tIns="0" rIns="0" bIns="0" rtlCol="0"/>
            <a:lstStyle/>
            <a:p>
              <a:endParaRPr/>
            </a:p>
          </p:txBody>
        </p:sp>
        <p:sp>
          <p:nvSpPr>
            <p:cNvPr id="71" name="object 71"/>
            <p:cNvSpPr txBox="1"/>
            <p:nvPr/>
          </p:nvSpPr>
          <p:spPr>
            <a:xfrm>
              <a:off x="8351901" y="5604764"/>
              <a:ext cx="1475740" cy="391160"/>
            </a:xfrm>
            <a:prstGeom prst="rect">
              <a:avLst/>
            </a:prstGeom>
          </p:spPr>
          <p:txBody>
            <a:bodyPr vert="horz" wrap="square" lIns="0" tIns="12700" rIns="0" bIns="0" rtlCol="0">
              <a:spAutoFit/>
            </a:bodyPr>
            <a:lstStyle/>
            <a:p>
              <a:pPr marL="601345" marR="5080" indent="-588645">
                <a:lnSpc>
                  <a:spcPct val="100000"/>
                </a:lnSpc>
                <a:spcBef>
                  <a:spcPts val="100"/>
                </a:spcBef>
              </a:pPr>
              <a:r>
                <a:rPr sz="1200" spc="-5">
                  <a:latin typeface="Verdana"/>
                  <a:cs typeface="Verdana"/>
                </a:rPr>
                <a:t>Refresh Interval:</a:t>
              </a:r>
              <a:r>
                <a:rPr sz="1200" spc="-75">
                  <a:latin typeface="Verdana"/>
                  <a:cs typeface="Verdana"/>
                </a:rPr>
                <a:t> </a:t>
              </a:r>
              <a:r>
                <a:rPr sz="1200">
                  <a:latin typeface="Verdana"/>
                  <a:cs typeface="Verdana"/>
                </a:rPr>
                <a:t>1  </a:t>
              </a:r>
              <a:r>
                <a:rPr sz="1200" spc="-10">
                  <a:latin typeface="Verdana"/>
                  <a:cs typeface="Verdana"/>
                </a:rPr>
                <a:t>day</a:t>
              </a:r>
              <a:endParaRPr sz="1200">
                <a:latin typeface="Verdana"/>
                <a:cs typeface="Verdana"/>
              </a:endParaRPr>
            </a:p>
          </p:txBody>
        </p:sp>
        <p:sp>
          <p:nvSpPr>
            <p:cNvPr id="72" name="object 72"/>
            <p:cNvSpPr/>
            <p:nvPr/>
          </p:nvSpPr>
          <p:spPr>
            <a:xfrm>
              <a:off x="10305288" y="5286755"/>
              <a:ext cx="1647444" cy="1075944"/>
            </a:xfrm>
            <a:prstGeom prst="rect">
              <a:avLst/>
            </a:prstGeom>
            <a:blipFill>
              <a:blip r:embed="rId9" cstate="print"/>
              <a:stretch>
                <a:fillRect/>
              </a:stretch>
            </a:blipFill>
          </p:spPr>
          <p:txBody>
            <a:bodyPr wrap="square" lIns="0" tIns="0" rIns="0" bIns="0" rtlCol="0"/>
            <a:lstStyle/>
            <a:p>
              <a:endParaRPr/>
            </a:p>
          </p:txBody>
        </p:sp>
        <p:sp>
          <p:nvSpPr>
            <p:cNvPr id="73" name="object 73"/>
            <p:cNvSpPr/>
            <p:nvPr/>
          </p:nvSpPr>
          <p:spPr>
            <a:xfrm>
              <a:off x="10311383" y="5594603"/>
              <a:ext cx="1690116" cy="505968"/>
            </a:xfrm>
            <a:prstGeom prst="rect">
              <a:avLst/>
            </a:prstGeom>
            <a:blipFill>
              <a:blip r:embed="rId10" cstate="print"/>
              <a:stretch>
                <a:fillRect/>
              </a:stretch>
            </a:blipFill>
          </p:spPr>
          <p:txBody>
            <a:bodyPr wrap="square" lIns="0" tIns="0" rIns="0" bIns="0" rtlCol="0"/>
            <a:lstStyle/>
            <a:p>
              <a:endParaRPr/>
            </a:p>
          </p:txBody>
        </p:sp>
        <p:sp>
          <p:nvSpPr>
            <p:cNvPr id="74" name="object 74"/>
            <p:cNvSpPr/>
            <p:nvPr/>
          </p:nvSpPr>
          <p:spPr>
            <a:xfrm>
              <a:off x="10283952" y="5269991"/>
              <a:ext cx="1632585" cy="1061085"/>
            </a:xfrm>
            <a:custGeom>
              <a:avLst/>
              <a:gdLst/>
              <a:ahLst/>
              <a:cxnLst/>
              <a:rect l="l" t="t" r="r" b="b"/>
              <a:pathLst>
                <a:path w="1632584" h="1061085">
                  <a:moveTo>
                    <a:pt x="1455420" y="0"/>
                  </a:moveTo>
                  <a:lnTo>
                    <a:pt x="176783" y="0"/>
                  </a:lnTo>
                  <a:lnTo>
                    <a:pt x="129778" y="6312"/>
                  </a:lnTo>
                  <a:lnTo>
                    <a:pt x="87545" y="24130"/>
                  </a:lnTo>
                  <a:lnTo>
                    <a:pt x="51768" y="51768"/>
                  </a:lnTo>
                  <a:lnTo>
                    <a:pt x="24129" y="87545"/>
                  </a:lnTo>
                  <a:lnTo>
                    <a:pt x="6312" y="129778"/>
                  </a:lnTo>
                  <a:lnTo>
                    <a:pt x="0" y="176784"/>
                  </a:lnTo>
                  <a:lnTo>
                    <a:pt x="0" y="883920"/>
                  </a:lnTo>
                  <a:lnTo>
                    <a:pt x="6312" y="930917"/>
                  </a:lnTo>
                  <a:lnTo>
                    <a:pt x="24129" y="973147"/>
                  </a:lnTo>
                  <a:lnTo>
                    <a:pt x="51768" y="1008926"/>
                  </a:lnTo>
                  <a:lnTo>
                    <a:pt x="87545" y="1036568"/>
                  </a:lnTo>
                  <a:lnTo>
                    <a:pt x="129778" y="1054389"/>
                  </a:lnTo>
                  <a:lnTo>
                    <a:pt x="176783" y="1060704"/>
                  </a:lnTo>
                  <a:lnTo>
                    <a:pt x="1455420" y="1060704"/>
                  </a:lnTo>
                  <a:lnTo>
                    <a:pt x="1502425" y="1054389"/>
                  </a:lnTo>
                  <a:lnTo>
                    <a:pt x="1544658" y="1036568"/>
                  </a:lnTo>
                  <a:lnTo>
                    <a:pt x="1580435" y="1008926"/>
                  </a:lnTo>
                  <a:lnTo>
                    <a:pt x="1608074" y="973147"/>
                  </a:lnTo>
                  <a:lnTo>
                    <a:pt x="1625891" y="930917"/>
                  </a:lnTo>
                  <a:lnTo>
                    <a:pt x="1632203" y="883920"/>
                  </a:lnTo>
                  <a:lnTo>
                    <a:pt x="1632203" y="176784"/>
                  </a:lnTo>
                  <a:lnTo>
                    <a:pt x="1625891" y="129778"/>
                  </a:lnTo>
                  <a:lnTo>
                    <a:pt x="1608074" y="87545"/>
                  </a:lnTo>
                  <a:lnTo>
                    <a:pt x="1580435" y="51768"/>
                  </a:lnTo>
                  <a:lnTo>
                    <a:pt x="1544658" y="24130"/>
                  </a:lnTo>
                  <a:lnTo>
                    <a:pt x="1502425" y="6312"/>
                  </a:lnTo>
                  <a:lnTo>
                    <a:pt x="1455420" y="0"/>
                  </a:lnTo>
                  <a:close/>
                </a:path>
              </a:pathLst>
            </a:custGeom>
            <a:solidFill>
              <a:srgbClr val="FFFFFF"/>
            </a:solidFill>
          </p:spPr>
          <p:txBody>
            <a:bodyPr wrap="square" lIns="0" tIns="0" rIns="0" bIns="0" rtlCol="0"/>
            <a:lstStyle/>
            <a:p>
              <a:endParaRPr/>
            </a:p>
          </p:txBody>
        </p:sp>
        <p:sp>
          <p:nvSpPr>
            <p:cNvPr id="75" name="object 75"/>
            <p:cNvSpPr/>
            <p:nvPr/>
          </p:nvSpPr>
          <p:spPr>
            <a:xfrm>
              <a:off x="10283952" y="5269991"/>
              <a:ext cx="1632585" cy="1061085"/>
            </a:xfrm>
            <a:custGeom>
              <a:avLst/>
              <a:gdLst/>
              <a:ahLst/>
              <a:cxnLst/>
              <a:rect l="l" t="t" r="r" b="b"/>
              <a:pathLst>
                <a:path w="1632584" h="1061085">
                  <a:moveTo>
                    <a:pt x="0" y="176784"/>
                  </a:moveTo>
                  <a:lnTo>
                    <a:pt x="6312" y="129778"/>
                  </a:lnTo>
                  <a:lnTo>
                    <a:pt x="24129" y="87545"/>
                  </a:lnTo>
                  <a:lnTo>
                    <a:pt x="51768" y="51768"/>
                  </a:lnTo>
                  <a:lnTo>
                    <a:pt x="87545" y="24130"/>
                  </a:lnTo>
                  <a:lnTo>
                    <a:pt x="129778" y="6312"/>
                  </a:lnTo>
                  <a:lnTo>
                    <a:pt x="176783" y="0"/>
                  </a:lnTo>
                  <a:lnTo>
                    <a:pt x="1455420" y="0"/>
                  </a:lnTo>
                  <a:lnTo>
                    <a:pt x="1502425" y="6312"/>
                  </a:lnTo>
                  <a:lnTo>
                    <a:pt x="1544658" y="24130"/>
                  </a:lnTo>
                  <a:lnTo>
                    <a:pt x="1580435" y="51768"/>
                  </a:lnTo>
                  <a:lnTo>
                    <a:pt x="1608074" y="87545"/>
                  </a:lnTo>
                  <a:lnTo>
                    <a:pt x="1625891" y="129778"/>
                  </a:lnTo>
                  <a:lnTo>
                    <a:pt x="1632203" y="176784"/>
                  </a:lnTo>
                  <a:lnTo>
                    <a:pt x="1632203" y="883920"/>
                  </a:lnTo>
                  <a:lnTo>
                    <a:pt x="1625891" y="930917"/>
                  </a:lnTo>
                  <a:lnTo>
                    <a:pt x="1608074" y="973147"/>
                  </a:lnTo>
                  <a:lnTo>
                    <a:pt x="1580435" y="1008926"/>
                  </a:lnTo>
                  <a:lnTo>
                    <a:pt x="1544658" y="1036568"/>
                  </a:lnTo>
                  <a:lnTo>
                    <a:pt x="1502425" y="1054389"/>
                  </a:lnTo>
                  <a:lnTo>
                    <a:pt x="1455420" y="1060704"/>
                  </a:lnTo>
                  <a:lnTo>
                    <a:pt x="176783" y="1060704"/>
                  </a:lnTo>
                  <a:lnTo>
                    <a:pt x="129778" y="1054389"/>
                  </a:lnTo>
                  <a:lnTo>
                    <a:pt x="87545" y="1036568"/>
                  </a:lnTo>
                  <a:lnTo>
                    <a:pt x="51768" y="1008926"/>
                  </a:lnTo>
                  <a:lnTo>
                    <a:pt x="24129" y="973147"/>
                  </a:lnTo>
                  <a:lnTo>
                    <a:pt x="6312" y="930917"/>
                  </a:lnTo>
                  <a:lnTo>
                    <a:pt x="0" y="883920"/>
                  </a:lnTo>
                  <a:lnTo>
                    <a:pt x="0" y="176784"/>
                  </a:lnTo>
                  <a:close/>
                </a:path>
              </a:pathLst>
            </a:custGeom>
            <a:ln w="12191">
              <a:solidFill>
                <a:srgbClr val="12ABDB"/>
              </a:solidFill>
            </a:ln>
          </p:spPr>
          <p:txBody>
            <a:bodyPr wrap="square" lIns="0" tIns="0" rIns="0" bIns="0" rtlCol="0"/>
            <a:lstStyle/>
            <a:p>
              <a:endParaRPr/>
            </a:p>
          </p:txBody>
        </p:sp>
        <p:sp>
          <p:nvSpPr>
            <p:cNvPr id="76" name="object 76"/>
            <p:cNvSpPr txBox="1"/>
            <p:nvPr/>
          </p:nvSpPr>
          <p:spPr>
            <a:xfrm>
              <a:off x="10363961" y="5604764"/>
              <a:ext cx="1475740" cy="391160"/>
            </a:xfrm>
            <a:prstGeom prst="rect">
              <a:avLst/>
            </a:prstGeom>
          </p:spPr>
          <p:txBody>
            <a:bodyPr vert="horz" wrap="square" lIns="0" tIns="12700" rIns="0" bIns="0" rtlCol="0">
              <a:spAutoFit/>
            </a:bodyPr>
            <a:lstStyle/>
            <a:p>
              <a:pPr marL="600710" marR="5080" indent="-588645">
                <a:lnSpc>
                  <a:spcPct val="100000"/>
                </a:lnSpc>
                <a:spcBef>
                  <a:spcPts val="100"/>
                </a:spcBef>
              </a:pPr>
              <a:r>
                <a:rPr sz="1200" spc="-5">
                  <a:latin typeface="Verdana"/>
                  <a:cs typeface="Verdana"/>
                </a:rPr>
                <a:t>Refresh Interval:</a:t>
              </a:r>
              <a:r>
                <a:rPr sz="1200" spc="-75">
                  <a:latin typeface="Verdana"/>
                  <a:cs typeface="Verdana"/>
                </a:rPr>
                <a:t> </a:t>
              </a:r>
              <a:r>
                <a:rPr sz="1200">
                  <a:latin typeface="Verdana"/>
                  <a:cs typeface="Verdana"/>
                </a:rPr>
                <a:t>5  </a:t>
              </a:r>
              <a:r>
                <a:rPr sz="1200" spc="-10">
                  <a:latin typeface="Verdana"/>
                  <a:cs typeface="Verdana"/>
                </a:rPr>
                <a:t>day</a:t>
              </a:r>
              <a:endParaRPr sz="1200">
                <a:latin typeface="Verdana"/>
                <a:cs typeface="Verdana"/>
              </a:endParaRPr>
            </a:p>
          </p:txBody>
        </p:sp>
        <p:sp>
          <p:nvSpPr>
            <p:cNvPr id="77" name="object 77"/>
            <p:cNvSpPr/>
            <p:nvPr/>
          </p:nvSpPr>
          <p:spPr>
            <a:xfrm>
              <a:off x="6283452" y="1722120"/>
              <a:ext cx="1645920" cy="615696"/>
            </a:xfrm>
            <a:prstGeom prst="rect">
              <a:avLst/>
            </a:prstGeom>
            <a:blipFill>
              <a:blip r:embed="rId11" cstate="print"/>
              <a:stretch>
                <a:fillRect/>
              </a:stretch>
            </a:blipFill>
          </p:spPr>
          <p:txBody>
            <a:bodyPr wrap="square" lIns="0" tIns="0" rIns="0" bIns="0" rtlCol="0"/>
            <a:lstStyle/>
            <a:p>
              <a:endParaRPr/>
            </a:p>
          </p:txBody>
        </p:sp>
        <p:sp>
          <p:nvSpPr>
            <p:cNvPr id="78" name="object 78"/>
            <p:cNvSpPr/>
            <p:nvPr/>
          </p:nvSpPr>
          <p:spPr>
            <a:xfrm>
              <a:off x="6262115" y="1705355"/>
              <a:ext cx="1630680" cy="600710"/>
            </a:xfrm>
            <a:custGeom>
              <a:avLst/>
              <a:gdLst/>
              <a:ahLst/>
              <a:cxnLst/>
              <a:rect l="l" t="t" r="r" b="b"/>
              <a:pathLst>
                <a:path w="1630679" h="600710">
                  <a:moveTo>
                    <a:pt x="1530604" y="0"/>
                  </a:moveTo>
                  <a:lnTo>
                    <a:pt x="100075" y="0"/>
                  </a:lnTo>
                  <a:lnTo>
                    <a:pt x="61132" y="7868"/>
                  </a:lnTo>
                  <a:lnTo>
                    <a:pt x="29321" y="29321"/>
                  </a:lnTo>
                  <a:lnTo>
                    <a:pt x="7868" y="61132"/>
                  </a:lnTo>
                  <a:lnTo>
                    <a:pt x="0" y="100076"/>
                  </a:lnTo>
                  <a:lnTo>
                    <a:pt x="0" y="500380"/>
                  </a:lnTo>
                  <a:lnTo>
                    <a:pt x="7868" y="539323"/>
                  </a:lnTo>
                  <a:lnTo>
                    <a:pt x="29321" y="571134"/>
                  </a:lnTo>
                  <a:lnTo>
                    <a:pt x="61132" y="592587"/>
                  </a:lnTo>
                  <a:lnTo>
                    <a:pt x="100075" y="600456"/>
                  </a:lnTo>
                  <a:lnTo>
                    <a:pt x="1530604" y="600456"/>
                  </a:lnTo>
                  <a:lnTo>
                    <a:pt x="1569547" y="592587"/>
                  </a:lnTo>
                  <a:lnTo>
                    <a:pt x="1601358" y="571134"/>
                  </a:lnTo>
                  <a:lnTo>
                    <a:pt x="1622811" y="539323"/>
                  </a:lnTo>
                  <a:lnTo>
                    <a:pt x="1630680" y="500380"/>
                  </a:lnTo>
                  <a:lnTo>
                    <a:pt x="1630680" y="100076"/>
                  </a:lnTo>
                  <a:lnTo>
                    <a:pt x="1622811" y="61132"/>
                  </a:lnTo>
                  <a:lnTo>
                    <a:pt x="1601358" y="29321"/>
                  </a:lnTo>
                  <a:lnTo>
                    <a:pt x="1569547" y="7868"/>
                  </a:lnTo>
                  <a:lnTo>
                    <a:pt x="1530604" y="0"/>
                  </a:lnTo>
                  <a:close/>
                </a:path>
              </a:pathLst>
            </a:custGeom>
            <a:solidFill>
              <a:srgbClr val="FFFFFF"/>
            </a:solidFill>
          </p:spPr>
          <p:txBody>
            <a:bodyPr wrap="square" lIns="0" tIns="0" rIns="0" bIns="0" rtlCol="0"/>
            <a:lstStyle/>
            <a:p>
              <a:endParaRPr/>
            </a:p>
          </p:txBody>
        </p:sp>
        <p:sp>
          <p:nvSpPr>
            <p:cNvPr id="79" name="object 79"/>
            <p:cNvSpPr/>
            <p:nvPr/>
          </p:nvSpPr>
          <p:spPr>
            <a:xfrm>
              <a:off x="6262115" y="1705355"/>
              <a:ext cx="1630680" cy="600710"/>
            </a:xfrm>
            <a:custGeom>
              <a:avLst/>
              <a:gdLst/>
              <a:ahLst/>
              <a:cxnLst/>
              <a:rect l="l" t="t" r="r" b="b"/>
              <a:pathLst>
                <a:path w="1630679" h="600710">
                  <a:moveTo>
                    <a:pt x="0" y="100076"/>
                  </a:moveTo>
                  <a:lnTo>
                    <a:pt x="7868" y="61132"/>
                  </a:lnTo>
                  <a:lnTo>
                    <a:pt x="29321" y="29321"/>
                  </a:lnTo>
                  <a:lnTo>
                    <a:pt x="61132" y="7868"/>
                  </a:lnTo>
                  <a:lnTo>
                    <a:pt x="100075" y="0"/>
                  </a:lnTo>
                  <a:lnTo>
                    <a:pt x="1530604" y="0"/>
                  </a:lnTo>
                  <a:lnTo>
                    <a:pt x="1569547" y="7868"/>
                  </a:lnTo>
                  <a:lnTo>
                    <a:pt x="1601358" y="29321"/>
                  </a:lnTo>
                  <a:lnTo>
                    <a:pt x="1622811" y="61132"/>
                  </a:lnTo>
                  <a:lnTo>
                    <a:pt x="1630680" y="100076"/>
                  </a:lnTo>
                  <a:lnTo>
                    <a:pt x="1630680" y="500380"/>
                  </a:lnTo>
                  <a:lnTo>
                    <a:pt x="1622811" y="539323"/>
                  </a:lnTo>
                  <a:lnTo>
                    <a:pt x="1601358" y="571134"/>
                  </a:lnTo>
                  <a:lnTo>
                    <a:pt x="1569547" y="592587"/>
                  </a:lnTo>
                  <a:lnTo>
                    <a:pt x="1530604" y="600456"/>
                  </a:lnTo>
                  <a:lnTo>
                    <a:pt x="100075" y="600456"/>
                  </a:lnTo>
                  <a:lnTo>
                    <a:pt x="61132" y="592587"/>
                  </a:lnTo>
                  <a:lnTo>
                    <a:pt x="29321" y="571134"/>
                  </a:lnTo>
                  <a:lnTo>
                    <a:pt x="7868" y="539323"/>
                  </a:lnTo>
                  <a:lnTo>
                    <a:pt x="0" y="500380"/>
                  </a:lnTo>
                  <a:lnTo>
                    <a:pt x="0" y="100076"/>
                  </a:lnTo>
                  <a:close/>
                </a:path>
              </a:pathLst>
            </a:custGeom>
            <a:ln w="12192">
              <a:solidFill>
                <a:srgbClr val="12ABDB"/>
              </a:solidFill>
            </a:ln>
          </p:spPr>
          <p:txBody>
            <a:bodyPr wrap="square" lIns="0" tIns="0" rIns="0" bIns="0" rtlCol="0"/>
            <a:lstStyle/>
            <a:p>
              <a:endParaRPr/>
            </a:p>
          </p:txBody>
        </p:sp>
        <p:sp>
          <p:nvSpPr>
            <p:cNvPr id="80" name="object 80"/>
            <p:cNvSpPr txBox="1"/>
            <p:nvPr/>
          </p:nvSpPr>
          <p:spPr>
            <a:xfrm>
              <a:off x="6884669" y="1899869"/>
              <a:ext cx="385445" cy="208915"/>
            </a:xfrm>
            <a:prstGeom prst="rect">
              <a:avLst/>
            </a:prstGeom>
          </p:spPr>
          <p:txBody>
            <a:bodyPr vert="horz" wrap="square" lIns="0" tIns="12700" rIns="0" bIns="0" rtlCol="0">
              <a:spAutoFit/>
            </a:bodyPr>
            <a:lstStyle/>
            <a:p>
              <a:pPr marL="12700">
                <a:lnSpc>
                  <a:spcPct val="100000"/>
                </a:lnSpc>
                <a:spcBef>
                  <a:spcPts val="100"/>
                </a:spcBef>
              </a:pPr>
              <a:r>
                <a:rPr sz="1200" b="1" spc="-5">
                  <a:latin typeface="Verdana"/>
                  <a:cs typeface="Verdana"/>
                </a:rPr>
                <a:t>P</a:t>
              </a:r>
              <a:r>
                <a:rPr sz="1200" b="1" spc="-10">
                  <a:latin typeface="Verdana"/>
                  <a:cs typeface="Verdana"/>
                </a:rPr>
                <a:t>R</a:t>
              </a:r>
              <a:r>
                <a:rPr sz="1200" b="1">
                  <a:latin typeface="Verdana"/>
                  <a:cs typeface="Verdana"/>
                </a:rPr>
                <a:t>O</a:t>
              </a:r>
              <a:endParaRPr sz="1200">
                <a:latin typeface="Verdana"/>
                <a:cs typeface="Verdana"/>
              </a:endParaRPr>
            </a:p>
          </p:txBody>
        </p:sp>
        <p:sp>
          <p:nvSpPr>
            <p:cNvPr id="81" name="object 81"/>
            <p:cNvSpPr/>
            <p:nvPr/>
          </p:nvSpPr>
          <p:spPr>
            <a:xfrm>
              <a:off x="2239517" y="2455926"/>
              <a:ext cx="9677400" cy="289560"/>
            </a:xfrm>
            <a:custGeom>
              <a:avLst/>
              <a:gdLst/>
              <a:ahLst/>
              <a:cxnLst/>
              <a:rect l="l" t="t" r="r" b="b"/>
              <a:pathLst>
                <a:path w="9677400" h="289560">
                  <a:moveTo>
                    <a:pt x="0" y="289560"/>
                  </a:moveTo>
                  <a:lnTo>
                    <a:pt x="6778" y="251054"/>
                  </a:lnTo>
                  <a:lnTo>
                    <a:pt x="25907" y="216464"/>
                  </a:lnTo>
                  <a:lnTo>
                    <a:pt x="55578" y="187166"/>
                  </a:lnTo>
                  <a:lnTo>
                    <a:pt x="93980" y="164535"/>
                  </a:lnTo>
                  <a:lnTo>
                    <a:pt x="139303" y="149948"/>
                  </a:lnTo>
                  <a:lnTo>
                    <a:pt x="189737" y="144779"/>
                  </a:lnTo>
                  <a:lnTo>
                    <a:pt x="4648961" y="144779"/>
                  </a:lnTo>
                  <a:lnTo>
                    <a:pt x="4699396" y="139611"/>
                  </a:lnTo>
                  <a:lnTo>
                    <a:pt x="4744720" y="125024"/>
                  </a:lnTo>
                  <a:lnTo>
                    <a:pt x="4783121" y="102393"/>
                  </a:lnTo>
                  <a:lnTo>
                    <a:pt x="4812792" y="73095"/>
                  </a:lnTo>
                  <a:lnTo>
                    <a:pt x="4831921" y="38505"/>
                  </a:lnTo>
                  <a:lnTo>
                    <a:pt x="4838700" y="0"/>
                  </a:lnTo>
                  <a:lnTo>
                    <a:pt x="4845478" y="38505"/>
                  </a:lnTo>
                  <a:lnTo>
                    <a:pt x="4864608" y="73095"/>
                  </a:lnTo>
                  <a:lnTo>
                    <a:pt x="4894278" y="102393"/>
                  </a:lnTo>
                  <a:lnTo>
                    <a:pt x="4932679" y="125024"/>
                  </a:lnTo>
                  <a:lnTo>
                    <a:pt x="4978003" y="139611"/>
                  </a:lnTo>
                  <a:lnTo>
                    <a:pt x="5028437" y="144779"/>
                  </a:lnTo>
                  <a:lnTo>
                    <a:pt x="9487662" y="144779"/>
                  </a:lnTo>
                  <a:lnTo>
                    <a:pt x="9538096" y="149948"/>
                  </a:lnTo>
                  <a:lnTo>
                    <a:pt x="9583420" y="164535"/>
                  </a:lnTo>
                  <a:lnTo>
                    <a:pt x="9621821" y="187166"/>
                  </a:lnTo>
                  <a:lnTo>
                    <a:pt x="9651492" y="216464"/>
                  </a:lnTo>
                  <a:lnTo>
                    <a:pt x="9670621" y="251054"/>
                  </a:lnTo>
                  <a:lnTo>
                    <a:pt x="9677400" y="289560"/>
                  </a:lnTo>
                </a:path>
              </a:pathLst>
            </a:custGeom>
            <a:ln w="19812">
              <a:solidFill>
                <a:srgbClr val="7E7E7E"/>
              </a:solidFill>
            </a:ln>
          </p:spPr>
          <p:txBody>
            <a:bodyPr wrap="square" lIns="0" tIns="0" rIns="0" bIns="0" rtlCol="0"/>
            <a:lstStyle/>
            <a:p>
              <a:endParaRPr/>
            </a:p>
          </p:txBody>
        </p:sp>
      </p:grpSp>
      <p:sp>
        <p:nvSpPr>
          <p:cNvPr id="82" name="object 82"/>
          <p:cNvSpPr txBox="1"/>
          <p:nvPr/>
        </p:nvSpPr>
        <p:spPr>
          <a:xfrm>
            <a:off x="227075" y="914400"/>
            <a:ext cx="11689080" cy="228909"/>
          </a:xfrm>
          <a:prstGeom prst="rect">
            <a:avLst/>
          </a:prstGeom>
          <a:solidFill>
            <a:srgbClr val="421F5D"/>
          </a:solidFill>
        </p:spPr>
        <p:txBody>
          <a:bodyPr vert="horz" wrap="square" lIns="0" tIns="43815" rIns="0" bIns="0" rtlCol="0">
            <a:spAutoFit/>
          </a:bodyPr>
          <a:lstStyle/>
          <a:p>
            <a:pPr marL="635" algn="ctr">
              <a:lnSpc>
                <a:spcPct val="100000"/>
              </a:lnSpc>
              <a:spcBef>
                <a:spcPts val="345"/>
              </a:spcBef>
            </a:pPr>
            <a:r>
              <a:rPr sz="1200" b="1" spc="-5">
                <a:solidFill>
                  <a:srgbClr val="FFFFFF"/>
                </a:solidFill>
                <a:latin typeface="Verdana"/>
                <a:cs typeface="Verdana"/>
              </a:rPr>
              <a:t>Capgemini environment</a:t>
            </a:r>
            <a:r>
              <a:rPr sz="1200" b="1" spc="20">
                <a:solidFill>
                  <a:srgbClr val="FFFFFF"/>
                </a:solidFill>
                <a:latin typeface="Verdana"/>
                <a:cs typeface="Verdana"/>
              </a:rPr>
              <a:t> </a:t>
            </a:r>
            <a:r>
              <a:rPr sz="1200" b="1" spc="-5">
                <a:solidFill>
                  <a:srgbClr val="FFFFFF"/>
                </a:solidFill>
                <a:latin typeface="Verdana"/>
                <a:cs typeface="Verdana"/>
              </a:rPr>
              <a:t>recommendation</a:t>
            </a:r>
            <a:r>
              <a:rPr lang="it-IT" sz="1200" b="1" spc="-5">
                <a:solidFill>
                  <a:srgbClr val="FFFFFF"/>
                </a:solidFill>
                <a:latin typeface="Verdana"/>
                <a:cs typeface="Verdana"/>
              </a:rPr>
              <a:t> (</a:t>
            </a:r>
            <a:r>
              <a:rPr lang="it-IT" sz="1200" b="1" spc="-5" err="1">
                <a:solidFill>
                  <a:srgbClr val="FFFFFF"/>
                </a:solidFill>
                <a:latin typeface="Verdana"/>
                <a:cs typeface="Verdana"/>
              </a:rPr>
              <a:t>not</a:t>
            </a:r>
            <a:r>
              <a:rPr lang="it-IT" sz="1200" b="1" spc="-5">
                <a:solidFill>
                  <a:srgbClr val="FFFFFF"/>
                </a:solidFill>
                <a:latin typeface="Verdana"/>
                <a:cs typeface="Verdana"/>
              </a:rPr>
              <a:t> </a:t>
            </a:r>
            <a:r>
              <a:rPr lang="it-IT" sz="1200" b="1" spc="-5" err="1">
                <a:solidFill>
                  <a:srgbClr val="FFFFFF"/>
                </a:solidFill>
                <a:latin typeface="Verdana"/>
                <a:cs typeface="Verdana"/>
              </a:rPr>
              <a:t>binding</a:t>
            </a:r>
            <a:r>
              <a:rPr lang="it-IT" sz="1200" b="1" spc="-5">
                <a:solidFill>
                  <a:srgbClr val="FFFFFF"/>
                </a:solidFill>
                <a:latin typeface="Verdana"/>
                <a:cs typeface="Verdana"/>
              </a:rPr>
              <a:t>)</a:t>
            </a:r>
            <a:endParaRPr sz="1200">
              <a:latin typeface="Verdana"/>
              <a:cs typeface="Verdana"/>
            </a:endParaRPr>
          </a:p>
        </p:txBody>
      </p:sp>
      <p:sp>
        <p:nvSpPr>
          <p:cNvPr id="83" name="object 83"/>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84" name="object 84"/>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6</a:t>
            </a:fld>
            <a:endParaRPr/>
          </a:p>
        </p:txBody>
      </p:sp>
      <p:sp>
        <p:nvSpPr>
          <p:cNvPr id="86" name="Rectangle 85">
            <a:extLst>
              <a:ext uri="{FF2B5EF4-FFF2-40B4-BE49-F238E27FC236}">
                <a16:creationId xmlns:a16="http://schemas.microsoft.com/office/drawing/2014/main" id="{4E82D4A8-1647-421E-96D4-FDFB5831C717}"/>
              </a:ext>
            </a:extLst>
          </p:cNvPr>
          <p:cNvSpPr/>
          <p:nvPr/>
        </p:nvSpPr>
        <p:spPr>
          <a:xfrm>
            <a:off x="227075" y="5838905"/>
            <a:ext cx="11404986" cy="646331"/>
          </a:xfrm>
          <a:prstGeom prst="rect">
            <a:avLst/>
          </a:prstGeom>
        </p:spPr>
        <p:txBody>
          <a:bodyPr wrap="square">
            <a:spAutoFit/>
          </a:bodyPr>
          <a:lstStyle/>
          <a:p>
            <a:pPr lvl="0"/>
            <a:r>
              <a:rPr lang="en-AU" sz="1200"/>
              <a:t>We generally recommend to have different sandboxes for Dev, QA, UAT, Data Load. This is to ensure that the functionalities are tested thoroughly, that the Data load checks are executed successfully and that it is possible to have separate environments for project and AMS normal running activities.</a:t>
            </a:r>
          </a:p>
          <a:p>
            <a:pPr lvl="0"/>
            <a:r>
              <a:rPr lang="en-AU" sz="1200"/>
              <a:t>We recommend to procure 2 sandboxes for QA and UAT, one with full copy from production environment in order to execute a full load </a:t>
            </a:r>
            <a:r>
              <a:rPr lang="en-AU" sz="1200" err="1"/>
              <a:t>mockup</a:t>
            </a:r>
            <a:r>
              <a:rPr lang="en-AU" sz="1200"/>
              <a:t> for data migration</a:t>
            </a:r>
            <a:endParaRPr lang="en-US" sz="120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1230629"/>
            <a:ext cx="11614785" cy="708025"/>
          </a:xfrm>
          <a:prstGeom prst="rect">
            <a:avLst/>
          </a:prstGeom>
        </p:spPr>
        <p:txBody>
          <a:bodyPr vert="horz" wrap="square" lIns="0" tIns="39370" rIns="0" bIns="0" rtlCol="0">
            <a:spAutoFit/>
          </a:bodyPr>
          <a:lstStyle/>
          <a:p>
            <a:pPr marL="12700" marR="5080">
              <a:lnSpc>
                <a:spcPts val="1730"/>
              </a:lnSpc>
              <a:spcBef>
                <a:spcPts val="310"/>
              </a:spcBef>
            </a:pPr>
            <a:r>
              <a:rPr sz="1600" b="1" spc="-10">
                <a:solidFill>
                  <a:srgbClr val="404040"/>
                </a:solidFill>
                <a:latin typeface="Verdana"/>
                <a:cs typeface="Verdana"/>
              </a:rPr>
              <a:t>DevOps </a:t>
            </a:r>
            <a:r>
              <a:rPr sz="1600" spc="-5">
                <a:solidFill>
                  <a:srgbClr val="404040"/>
                </a:solidFill>
                <a:latin typeface="Verdana"/>
                <a:cs typeface="Verdana"/>
              </a:rPr>
              <a:t>is the new </a:t>
            </a:r>
            <a:r>
              <a:rPr sz="1600" spc="-10">
                <a:solidFill>
                  <a:srgbClr val="404040"/>
                </a:solidFill>
                <a:latin typeface="Verdana"/>
                <a:cs typeface="Verdana"/>
              </a:rPr>
              <a:t>development </a:t>
            </a:r>
            <a:r>
              <a:rPr sz="1600" spc="-5">
                <a:solidFill>
                  <a:srgbClr val="404040"/>
                </a:solidFill>
                <a:latin typeface="Verdana"/>
                <a:cs typeface="Verdana"/>
              </a:rPr>
              <a:t>that addresses </a:t>
            </a:r>
            <a:r>
              <a:rPr sz="1600" spc="-10">
                <a:solidFill>
                  <a:srgbClr val="404040"/>
                </a:solidFill>
                <a:latin typeface="Verdana"/>
                <a:cs typeface="Verdana"/>
              </a:rPr>
              <a:t>inefficiencies. </a:t>
            </a:r>
            <a:r>
              <a:rPr sz="1600">
                <a:solidFill>
                  <a:srgbClr val="404040"/>
                </a:solidFill>
                <a:latin typeface="Verdana"/>
                <a:cs typeface="Verdana"/>
              </a:rPr>
              <a:t>It </a:t>
            </a:r>
            <a:r>
              <a:rPr sz="1600" b="1" spc="-10">
                <a:solidFill>
                  <a:srgbClr val="404040"/>
                </a:solidFill>
                <a:latin typeface="Verdana"/>
                <a:cs typeface="Verdana"/>
              </a:rPr>
              <a:t>connects development, quality </a:t>
            </a:r>
            <a:r>
              <a:rPr sz="1600" b="1" spc="-5">
                <a:solidFill>
                  <a:srgbClr val="404040"/>
                </a:solidFill>
                <a:latin typeface="Verdana"/>
                <a:cs typeface="Verdana"/>
              </a:rPr>
              <a:t>assurance,  </a:t>
            </a:r>
            <a:r>
              <a:rPr sz="1600" spc="-5">
                <a:solidFill>
                  <a:srgbClr val="404040"/>
                </a:solidFill>
                <a:latin typeface="Verdana"/>
                <a:cs typeface="Verdana"/>
              </a:rPr>
              <a:t>and </a:t>
            </a:r>
            <a:r>
              <a:rPr sz="1600" b="1" spc="-5">
                <a:solidFill>
                  <a:srgbClr val="404040"/>
                </a:solidFill>
                <a:latin typeface="Verdana"/>
                <a:cs typeface="Verdana"/>
              </a:rPr>
              <a:t>technical </a:t>
            </a:r>
            <a:r>
              <a:rPr sz="1600" b="1" spc="-10">
                <a:solidFill>
                  <a:srgbClr val="404040"/>
                </a:solidFill>
                <a:latin typeface="Verdana"/>
                <a:cs typeface="Verdana"/>
              </a:rPr>
              <a:t>operations personnel </a:t>
            </a:r>
            <a:r>
              <a:rPr sz="1600" spc="-10">
                <a:solidFill>
                  <a:srgbClr val="404040"/>
                </a:solidFill>
                <a:latin typeface="Verdana"/>
                <a:cs typeface="Verdana"/>
              </a:rPr>
              <a:t>in </a:t>
            </a:r>
            <a:r>
              <a:rPr sz="1600" spc="-5">
                <a:solidFill>
                  <a:srgbClr val="404040"/>
                </a:solidFill>
                <a:latin typeface="Verdana"/>
                <a:cs typeface="Verdana"/>
              </a:rPr>
              <a:t>a </a:t>
            </a:r>
            <a:r>
              <a:rPr sz="1600" spc="-15">
                <a:solidFill>
                  <a:srgbClr val="404040"/>
                </a:solidFill>
                <a:latin typeface="Verdana"/>
                <a:cs typeface="Verdana"/>
              </a:rPr>
              <a:t>way </a:t>
            </a:r>
            <a:r>
              <a:rPr sz="1600" spc="-5">
                <a:solidFill>
                  <a:srgbClr val="404040"/>
                </a:solidFill>
                <a:latin typeface="Verdana"/>
                <a:cs typeface="Verdana"/>
              </a:rPr>
              <a:t>that the </a:t>
            </a:r>
            <a:r>
              <a:rPr sz="1600" spc="-10">
                <a:solidFill>
                  <a:srgbClr val="404040"/>
                </a:solidFill>
                <a:latin typeface="Verdana"/>
                <a:cs typeface="Verdana"/>
              </a:rPr>
              <a:t>entire </a:t>
            </a:r>
            <a:r>
              <a:rPr sz="1600" spc="-5">
                <a:solidFill>
                  <a:srgbClr val="404040"/>
                </a:solidFill>
                <a:latin typeface="Verdana"/>
                <a:cs typeface="Verdana"/>
              </a:rPr>
              <a:t>‘build-release-run-repeat’ process </a:t>
            </a:r>
            <a:r>
              <a:rPr sz="1600" b="1" spc="-10">
                <a:solidFill>
                  <a:srgbClr val="404040"/>
                </a:solidFill>
                <a:latin typeface="Verdana"/>
                <a:cs typeface="Verdana"/>
              </a:rPr>
              <a:t>operates </a:t>
            </a:r>
            <a:r>
              <a:rPr sz="1600" b="1" spc="-5">
                <a:solidFill>
                  <a:srgbClr val="404040"/>
                </a:solidFill>
                <a:latin typeface="Verdana"/>
                <a:cs typeface="Verdana"/>
              </a:rPr>
              <a:t>as a  </a:t>
            </a:r>
            <a:r>
              <a:rPr sz="1600" b="1" spc="-10">
                <a:solidFill>
                  <a:srgbClr val="404040"/>
                </a:solidFill>
                <a:latin typeface="Verdana"/>
                <a:cs typeface="Verdana"/>
              </a:rPr>
              <a:t>factory</a:t>
            </a:r>
            <a:r>
              <a:rPr sz="1600" spc="-10">
                <a:solidFill>
                  <a:srgbClr val="404040"/>
                </a:solidFill>
                <a:latin typeface="Verdana"/>
                <a:cs typeface="Verdana"/>
              </a:rPr>
              <a:t>, </a:t>
            </a:r>
            <a:r>
              <a:rPr sz="1600" spc="-5">
                <a:solidFill>
                  <a:srgbClr val="404040"/>
                </a:solidFill>
                <a:latin typeface="Verdana"/>
                <a:cs typeface="Verdana"/>
              </a:rPr>
              <a:t>having </a:t>
            </a:r>
            <a:r>
              <a:rPr sz="1600" b="1" spc="-10">
                <a:solidFill>
                  <a:srgbClr val="404040"/>
                </a:solidFill>
                <a:latin typeface="Verdana"/>
                <a:cs typeface="Verdana"/>
              </a:rPr>
              <a:t>clear roles </a:t>
            </a:r>
            <a:r>
              <a:rPr sz="1600" spc="-5">
                <a:solidFill>
                  <a:srgbClr val="404040"/>
                </a:solidFill>
                <a:latin typeface="Verdana"/>
                <a:cs typeface="Verdana"/>
              </a:rPr>
              <a:t>and </a:t>
            </a:r>
            <a:r>
              <a:rPr sz="1600" b="1" spc="-10">
                <a:solidFill>
                  <a:srgbClr val="404040"/>
                </a:solidFill>
                <a:latin typeface="Verdana"/>
                <a:cs typeface="Verdana"/>
              </a:rPr>
              <a:t>responsibilities </a:t>
            </a:r>
            <a:r>
              <a:rPr sz="1600" spc="-5">
                <a:solidFill>
                  <a:srgbClr val="404040"/>
                </a:solidFill>
                <a:latin typeface="Verdana"/>
                <a:cs typeface="Verdana"/>
              </a:rPr>
              <a:t>and </a:t>
            </a:r>
            <a:r>
              <a:rPr sz="1600" spc="-10">
                <a:solidFill>
                  <a:srgbClr val="404040"/>
                </a:solidFill>
                <a:latin typeface="Verdana"/>
                <a:cs typeface="Verdana"/>
              </a:rPr>
              <a:t>well-defined inputs </a:t>
            </a:r>
            <a:r>
              <a:rPr sz="1600" spc="-5">
                <a:solidFill>
                  <a:srgbClr val="404040"/>
                </a:solidFill>
                <a:latin typeface="Verdana"/>
                <a:cs typeface="Verdana"/>
              </a:rPr>
              <a:t>and outputs. </a:t>
            </a:r>
            <a:r>
              <a:rPr sz="1600" u="sng" spc="-5">
                <a:solidFill>
                  <a:srgbClr val="87D4EC"/>
                </a:solidFill>
                <a:uFill>
                  <a:solidFill>
                    <a:srgbClr val="87D4EC"/>
                  </a:solidFill>
                </a:uFill>
                <a:latin typeface="Verdana"/>
                <a:cs typeface="Verdana"/>
                <a:hlinkClick r:id="rId2"/>
              </a:rPr>
              <a:t>See</a:t>
            </a:r>
            <a:r>
              <a:rPr sz="1600" u="sng" spc="465">
                <a:solidFill>
                  <a:srgbClr val="87D4EC"/>
                </a:solidFill>
                <a:uFill>
                  <a:solidFill>
                    <a:srgbClr val="87D4EC"/>
                  </a:solidFill>
                </a:uFill>
                <a:latin typeface="Verdana"/>
                <a:cs typeface="Verdana"/>
                <a:hlinkClick r:id="rId2"/>
              </a:rPr>
              <a:t> </a:t>
            </a:r>
            <a:r>
              <a:rPr sz="1600" u="sng" spc="-5">
                <a:solidFill>
                  <a:srgbClr val="87D4EC"/>
                </a:solidFill>
                <a:uFill>
                  <a:solidFill>
                    <a:srgbClr val="87D4EC"/>
                  </a:solidFill>
                </a:uFill>
                <a:latin typeface="Verdana"/>
                <a:cs typeface="Verdana"/>
                <a:hlinkClick r:id="rId2"/>
              </a:rPr>
              <a:t>more</a:t>
            </a:r>
            <a:endParaRPr sz="1600">
              <a:latin typeface="Verdana"/>
              <a:cs typeface="Verdana"/>
            </a:endParaRPr>
          </a:p>
        </p:txBody>
      </p:sp>
      <p:sp>
        <p:nvSpPr>
          <p:cNvPr id="3" name="object 3"/>
          <p:cNvSpPr txBox="1">
            <a:spLocks noGrp="1"/>
          </p:cNvSpPr>
          <p:nvPr>
            <p:ph type="title"/>
          </p:nvPr>
        </p:nvSpPr>
        <p:spPr>
          <a:xfrm>
            <a:off x="214680" y="318896"/>
            <a:ext cx="2849880" cy="422275"/>
          </a:xfrm>
          <a:prstGeom prst="rect">
            <a:avLst/>
          </a:prstGeom>
        </p:spPr>
        <p:txBody>
          <a:bodyPr vert="horz" wrap="square" lIns="0" tIns="12700" rIns="0" bIns="0" rtlCol="0">
            <a:spAutoFit/>
          </a:bodyPr>
          <a:lstStyle/>
          <a:p>
            <a:pPr marL="12700">
              <a:lnSpc>
                <a:spcPct val="100000"/>
              </a:lnSpc>
              <a:spcBef>
                <a:spcPts val="100"/>
              </a:spcBef>
            </a:pPr>
            <a:r>
              <a:rPr sz="2600"/>
              <a:t>What </a:t>
            </a:r>
            <a:r>
              <a:rPr sz="2600" spc="-5"/>
              <a:t>is</a:t>
            </a:r>
            <a:r>
              <a:rPr sz="2600" spc="-80"/>
              <a:t> </a:t>
            </a:r>
            <a:r>
              <a:rPr sz="2600" spc="-5"/>
              <a:t>DevOps?</a:t>
            </a:r>
            <a:endParaRPr sz="2600"/>
          </a:p>
        </p:txBody>
      </p:sp>
      <p:sp>
        <p:nvSpPr>
          <p:cNvPr id="4" name="object 4"/>
          <p:cNvSpPr/>
          <p:nvPr/>
        </p:nvSpPr>
        <p:spPr>
          <a:xfrm>
            <a:off x="10632947" y="2827020"/>
            <a:ext cx="853440" cy="829310"/>
          </a:xfrm>
          <a:custGeom>
            <a:avLst/>
            <a:gdLst/>
            <a:ahLst/>
            <a:cxnLst/>
            <a:rect l="l" t="t" r="r" b="b"/>
            <a:pathLst>
              <a:path w="853440" h="829310">
                <a:moveTo>
                  <a:pt x="426720" y="0"/>
                </a:moveTo>
                <a:lnTo>
                  <a:pt x="376947" y="2788"/>
                </a:lnTo>
                <a:lnTo>
                  <a:pt x="328864" y="10945"/>
                </a:lnTo>
                <a:lnTo>
                  <a:pt x="282788" y="24161"/>
                </a:lnTo>
                <a:lnTo>
                  <a:pt x="239041" y="42125"/>
                </a:lnTo>
                <a:lnTo>
                  <a:pt x="197942" y="64526"/>
                </a:lnTo>
                <a:lnTo>
                  <a:pt x="159811" y="91053"/>
                </a:lnTo>
                <a:lnTo>
                  <a:pt x="124967" y="121396"/>
                </a:lnTo>
                <a:lnTo>
                  <a:pt x="93732" y="155243"/>
                </a:lnTo>
                <a:lnTo>
                  <a:pt x="66425" y="192285"/>
                </a:lnTo>
                <a:lnTo>
                  <a:pt x="43365" y="232210"/>
                </a:lnTo>
                <a:lnTo>
                  <a:pt x="24872" y="274707"/>
                </a:lnTo>
                <a:lnTo>
                  <a:pt x="11267" y="319466"/>
                </a:lnTo>
                <a:lnTo>
                  <a:pt x="2870" y="366177"/>
                </a:lnTo>
                <a:lnTo>
                  <a:pt x="0" y="414527"/>
                </a:lnTo>
                <a:lnTo>
                  <a:pt x="2870" y="462878"/>
                </a:lnTo>
                <a:lnTo>
                  <a:pt x="11267" y="509589"/>
                </a:lnTo>
                <a:lnTo>
                  <a:pt x="24872" y="554348"/>
                </a:lnTo>
                <a:lnTo>
                  <a:pt x="43365" y="596845"/>
                </a:lnTo>
                <a:lnTo>
                  <a:pt x="66425" y="636770"/>
                </a:lnTo>
                <a:lnTo>
                  <a:pt x="93732" y="673812"/>
                </a:lnTo>
                <a:lnTo>
                  <a:pt x="124968" y="707659"/>
                </a:lnTo>
                <a:lnTo>
                  <a:pt x="159811" y="738002"/>
                </a:lnTo>
                <a:lnTo>
                  <a:pt x="197942" y="764529"/>
                </a:lnTo>
                <a:lnTo>
                  <a:pt x="239041" y="786930"/>
                </a:lnTo>
                <a:lnTo>
                  <a:pt x="282788" y="804894"/>
                </a:lnTo>
                <a:lnTo>
                  <a:pt x="328864" y="818110"/>
                </a:lnTo>
                <a:lnTo>
                  <a:pt x="376947" y="826267"/>
                </a:lnTo>
                <a:lnTo>
                  <a:pt x="426720" y="829055"/>
                </a:lnTo>
                <a:lnTo>
                  <a:pt x="476492" y="826267"/>
                </a:lnTo>
                <a:lnTo>
                  <a:pt x="524575" y="818110"/>
                </a:lnTo>
                <a:lnTo>
                  <a:pt x="570651" y="804894"/>
                </a:lnTo>
                <a:lnTo>
                  <a:pt x="614398" y="786930"/>
                </a:lnTo>
                <a:lnTo>
                  <a:pt x="655497" y="764529"/>
                </a:lnTo>
                <a:lnTo>
                  <a:pt x="693628" y="738002"/>
                </a:lnTo>
                <a:lnTo>
                  <a:pt x="728471" y="707659"/>
                </a:lnTo>
                <a:lnTo>
                  <a:pt x="759707" y="673812"/>
                </a:lnTo>
                <a:lnTo>
                  <a:pt x="787014" y="636770"/>
                </a:lnTo>
                <a:lnTo>
                  <a:pt x="810074" y="596845"/>
                </a:lnTo>
                <a:lnTo>
                  <a:pt x="828567" y="554348"/>
                </a:lnTo>
                <a:lnTo>
                  <a:pt x="842172" y="509589"/>
                </a:lnTo>
                <a:lnTo>
                  <a:pt x="850569" y="462878"/>
                </a:lnTo>
                <a:lnTo>
                  <a:pt x="853440" y="414527"/>
                </a:lnTo>
                <a:lnTo>
                  <a:pt x="850569" y="366177"/>
                </a:lnTo>
                <a:lnTo>
                  <a:pt x="842172" y="319466"/>
                </a:lnTo>
                <a:lnTo>
                  <a:pt x="828567" y="274707"/>
                </a:lnTo>
                <a:lnTo>
                  <a:pt x="810074" y="232210"/>
                </a:lnTo>
                <a:lnTo>
                  <a:pt x="787014" y="192285"/>
                </a:lnTo>
                <a:lnTo>
                  <a:pt x="759707" y="155243"/>
                </a:lnTo>
                <a:lnTo>
                  <a:pt x="728471" y="121396"/>
                </a:lnTo>
                <a:lnTo>
                  <a:pt x="693628" y="91053"/>
                </a:lnTo>
                <a:lnTo>
                  <a:pt x="655497" y="64526"/>
                </a:lnTo>
                <a:lnTo>
                  <a:pt x="614398" y="42125"/>
                </a:lnTo>
                <a:lnTo>
                  <a:pt x="570651" y="24161"/>
                </a:lnTo>
                <a:lnTo>
                  <a:pt x="524575" y="10945"/>
                </a:lnTo>
                <a:lnTo>
                  <a:pt x="476492" y="2788"/>
                </a:lnTo>
                <a:lnTo>
                  <a:pt x="426720" y="0"/>
                </a:lnTo>
                <a:close/>
              </a:path>
            </a:pathLst>
          </a:custGeom>
          <a:solidFill>
            <a:srgbClr val="0097CC"/>
          </a:solidFill>
        </p:spPr>
        <p:txBody>
          <a:bodyPr wrap="square" lIns="0" tIns="0" rIns="0" bIns="0" rtlCol="0"/>
          <a:lstStyle/>
          <a:p>
            <a:endParaRPr/>
          </a:p>
        </p:txBody>
      </p:sp>
      <p:sp>
        <p:nvSpPr>
          <p:cNvPr id="5" name="object 5"/>
          <p:cNvSpPr/>
          <p:nvPr/>
        </p:nvSpPr>
        <p:spPr>
          <a:xfrm>
            <a:off x="10827257" y="3435858"/>
            <a:ext cx="501650" cy="0"/>
          </a:xfrm>
          <a:custGeom>
            <a:avLst/>
            <a:gdLst/>
            <a:ahLst/>
            <a:cxnLst/>
            <a:rect l="l" t="t" r="r" b="b"/>
            <a:pathLst>
              <a:path w="501650">
                <a:moveTo>
                  <a:pt x="0" y="0"/>
                </a:moveTo>
                <a:lnTo>
                  <a:pt x="501650" y="0"/>
                </a:lnTo>
              </a:path>
            </a:pathLst>
          </a:custGeom>
          <a:ln w="19812">
            <a:solidFill>
              <a:srgbClr val="FFFFFF"/>
            </a:solidFill>
          </a:ln>
        </p:spPr>
        <p:txBody>
          <a:bodyPr wrap="square" lIns="0" tIns="0" rIns="0" bIns="0" rtlCol="0"/>
          <a:lstStyle/>
          <a:p>
            <a:endParaRPr/>
          </a:p>
        </p:txBody>
      </p:sp>
      <p:sp>
        <p:nvSpPr>
          <p:cNvPr id="6" name="object 6"/>
          <p:cNvSpPr/>
          <p:nvPr/>
        </p:nvSpPr>
        <p:spPr>
          <a:xfrm>
            <a:off x="10831830" y="2986277"/>
            <a:ext cx="0" cy="455930"/>
          </a:xfrm>
          <a:custGeom>
            <a:avLst/>
            <a:gdLst/>
            <a:ahLst/>
            <a:cxnLst/>
            <a:rect l="l" t="t" r="r" b="b"/>
            <a:pathLst>
              <a:path h="455929">
                <a:moveTo>
                  <a:pt x="0" y="455930"/>
                </a:moveTo>
                <a:lnTo>
                  <a:pt x="0" y="0"/>
                </a:lnTo>
              </a:path>
            </a:pathLst>
          </a:custGeom>
          <a:ln w="19812">
            <a:solidFill>
              <a:srgbClr val="FFFFFF"/>
            </a:solidFill>
          </a:ln>
        </p:spPr>
        <p:txBody>
          <a:bodyPr wrap="square" lIns="0" tIns="0" rIns="0" bIns="0" rtlCol="0"/>
          <a:lstStyle/>
          <a:p>
            <a:endParaRPr/>
          </a:p>
        </p:txBody>
      </p:sp>
      <p:sp>
        <p:nvSpPr>
          <p:cNvPr id="7" name="object 7"/>
          <p:cNvSpPr/>
          <p:nvPr/>
        </p:nvSpPr>
        <p:spPr>
          <a:xfrm>
            <a:off x="10833354" y="3245357"/>
            <a:ext cx="70485" cy="36830"/>
          </a:xfrm>
          <a:custGeom>
            <a:avLst/>
            <a:gdLst/>
            <a:ahLst/>
            <a:cxnLst/>
            <a:rect l="l" t="t" r="r" b="b"/>
            <a:pathLst>
              <a:path w="70484" h="36829">
                <a:moveTo>
                  <a:pt x="0" y="36702"/>
                </a:moveTo>
                <a:lnTo>
                  <a:pt x="70103" y="0"/>
                </a:lnTo>
              </a:path>
            </a:pathLst>
          </a:custGeom>
          <a:ln w="19812">
            <a:solidFill>
              <a:srgbClr val="FFFFFF"/>
            </a:solidFill>
          </a:ln>
        </p:spPr>
        <p:txBody>
          <a:bodyPr wrap="square" lIns="0" tIns="0" rIns="0" bIns="0" rtlCol="0"/>
          <a:lstStyle/>
          <a:p>
            <a:endParaRPr/>
          </a:p>
        </p:txBody>
      </p:sp>
      <p:sp>
        <p:nvSpPr>
          <p:cNvPr id="8" name="object 8"/>
          <p:cNvSpPr/>
          <p:nvPr/>
        </p:nvSpPr>
        <p:spPr>
          <a:xfrm>
            <a:off x="10900409" y="3245357"/>
            <a:ext cx="94615" cy="12065"/>
          </a:xfrm>
          <a:custGeom>
            <a:avLst/>
            <a:gdLst/>
            <a:ahLst/>
            <a:cxnLst/>
            <a:rect l="l" t="t" r="r" b="b"/>
            <a:pathLst>
              <a:path w="94615" h="12064">
                <a:moveTo>
                  <a:pt x="0" y="0"/>
                </a:moveTo>
                <a:lnTo>
                  <a:pt x="94234" y="12064"/>
                </a:lnTo>
              </a:path>
            </a:pathLst>
          </a:custGeom>
          <a:ln w="19812">
            <a:solidFill>
              <a:srgbClr val="FFFFFF"/>
            </a:solidFill>
          </a:ln>
        </p:spPr>
        <p:txBody>
          <a:bodyPr wrap="square" lIns="0" tIns="0" rIns="0" bIns="0" rtlCol="0"/>
          <a:lstStyle/>
          <a:p>
            <a:endParaRPr/>
          </a:p>
        </p:txBody>
      </p:sp>
      <p:sp>
        <p:nvSpPr>
          <p:cNvPr id="9" name="object 9"/>
          <p:cNvSpPr/>
          <p:nvPr/>
        </p:nvSpPr>
        <p:spPr>
          <a:xfrm>
            <a:off x="10990326" y="3147822"/>
            <a:ext cx="121285" cy="110489"/>
          </a:xfrm>
          <a:custGeom>
            <a:avLst/>
            <a:gdLst/>
            <a:ahLst/>
            <a:cxnLst/>
            <a:rect l="l" t="t" r="r" b="b"/>
            <a:pathLst>
              <a:path w="121284" h="110489">
                <a:moveTo>
                  <a:pt x="0" y="109981"/>
                </a:moveTo>
                <a:lnTo>
                  <a:pt x="121157" y="0"/>
                </a:lnTo>
              </a:path>
            </a:pathLst>
          </a:custGeom>
          <a:ln w="19811">
            <a:solidFill>
              <a:srgbClr val="FFFFFF"/>
            </a:solidFill>
          </a:ln>
        </p:spPr>
        <p:txBody>
          <a:bodyPr wrap="square" lIns="0" tIns="0" rIns="0" bIns="0" rtlCol="0"/>
          <a:lstStyle/>
          <a:p>
            <a:endParaRPr/>
          </a:p>
        </p:txBody>
      </p:sp>
      <p:sp>
        <p:nvSpPr>
          <p:cNvPr id="10" name="object 10"/>
          <p:cNvSpPr/>
          <p:nvPr/>
        </p:nvSpPr>
        <p:spPr>
          <a:xfrm>
            <a:off x="11107673" y="3149345"/>
            <a:ext cx="181610" cy="158750"/>
          </a:xfrm>
          <a:custGeom>
            <a:avLst/>
            <a:gdLst/>
            <a:ahLst/>
            <a:cxnLst/>
            <a:rect l="l" t="t" r="r" b="b"/>
            <a:pathLst>
              <a:path w="181609" h="158750">
                <a:moveTo>
                  <a:pt x="0" y="0"/>
                </a:moveTo>
                <a:lnTo>
                  <a:pt x="181228" y="158241"/>
                </a:lnTo>
              </a:path>
            </a:pathLst>
          </a:custGeom>
          <a:ln w="19812">
            <a:solidFill>
              <a:srgbClr val="FFFFFF"/>
            </a:solidFill>
          </a:ln>
        </p:spPr>
        <p:txBody>
          <a:bodyPr wrap="square" lIns="0" tIns="0" rIns="0" bIns="0" rtlCol="0"/>
          <a:lstStyle/>
          <a:p>
            <a:endParaRPr/>
          </a:p>
        </p:txBody>
      </p:sp>
      <p:sp>
        <p:nvSpPr>
          <p:cNvPr id="11" name="object 11"/>
          <p:cNvSpPr/>
          <p:nvPr/>
        </p:nvSpPr>
        <p:spPr>
          <a:xfrm>
            <a:off x="10784585" y="2981705"/>
            <a:ext cx="52705" cy="48895"/>
          </a:xfrm>
          <a:custGeom>
            <a:avLst/>
            <a:gdLst/>
            <a:ahLst/>
            <a:cxnLst/>
            <a:rect l="l" t="t" r="r" b="b"/>
            <a:pathLst>
              <a:path w="52704" h="48894">
                <a:moveTo>
                  <a:pt x="0" y="48641"/>
                </a:moveTo>
                <a:lnTo>
                  <a:pt x="52578" y="0"/>
                </a:lnTo>
              </a:path>
            </a:pathLst>
          </a:custGeom>
          <a:ln w="19812">
            <a:solidFill>
              <a:srgbClr val="FFFFFF"/>
            </a:solidFill>
          </a:ln>
        </p:spPr>
        <p:txBody>
          <a:bodyPr wrap="square" lIns="0" tIns="0" rIns="0" bIns="0" rtlCol="0"/>
          <a:lstStyle/>
          <a:p>
            <a:endParaRPr/>
          </a:p>
        </p:txBody>
      </p:sp>
      <p:sp>
        <p:nvSpPr>
          <p:cNvPr id="12" name="object 12"/>
          <p:cNvSpPr/>
          <p:nvPr/>
        </p:nvSpPr>
        <p:spPr>
          <a:xfrm>
            <a:off x="10828781" y="2981705"/>
            <a:ext cx="46990" cy="53340"/>
          </a:xfrm>
          <a:custGeom>
            <a:avLst/>
            <a:gdLst/>
            <a:ahLst/>
            <a:cxnLst/>
            <a:rect l="l" t="t" r="r" b="b"/>
            <a:pathLst>
              <a:path w="46990" h="53339">
                <a:moveTo>
                  <a:pt x="46482" y="52832"/>
                </a:moveTo>
                <a:lnTo>
                  <a:pt x="0" y="0"/>
                </a:lnTo>
              </a:path>
            </a:pathLst>
          </a:custGeom>
          <a:ln w="19812">
            <a:solidFill>
              <a:srgbClr val="FFFFFF"/>
            </a:solidFill>
          </a:ln>
        </p:spPr>
        <p:txBody>
          <a:bodyPr wrap="square" lIns="0" tIns="0" rIns="0" bIns="0" rtlCol="0"/>
          <a:lstStyle/>
          <a:p>
            <a:endParaRPr/>
          </a:p>
        </p:txBody>
      </p:sp>
      <p:sp>
        <p:nvSpPr>
          <p:cNvPr id="13" name="object 13"/>
          <p:cNvSpPr/>
          <p:nvPr/>
        </p:nvSpPr>
        <p:spPr>
          <a:xfrm>
            <a:off x="11278361" y="3388614"/>
            <a:ext cx="50165" cy="51435"/>
          </a:xfrm>
          <a:custGeom>
            <a:avLst/>
            <a:gdLst/>
            <a:ahLst/>
            <a:cxnLst/>
            <a:rect l="l" t="t" r="r" b="b"/>
            <a:pathLst>
              <a:path w="50165" h="51435">
                <a:moveTo>
                  <a:pt x="0" y="0"/>
                </a:moveTo>
                <a:lnTo>
                  <a:pt x="50165" y="51053"/>
                </a:lnTo>
              </a:path>
            </a:pathLst>
          </a:custGeom>
          <a:ln w="19812">
            <a:solidFill>
              <a:srgbClr val="FFFFFF"/>
            </a:solidFill>
          </a:ln>
        </p:spPr>
        <p:txBody>
          <a:bodyPr wrap="square" lIns="0" tIns="0" rIns="0" bIns="0" rtlCol="0"/>
          <a:lstStyle/>
          <a:p>
            <a:endParaRPr/>
          </a:p>
        </p:txBody>
      </p:sp>
      <p:sp>
        <p:nvSpPr>
          <p:cNvPr id="14" name="object 14"/>
          <p:cNvSpPr/>
          <p:nvPr/>
        </p:nvSpPr>
        <p:spPr>
          <a:xfrm>
            <a:off x="11273790" y="3432809"/>
            <a:ext cx="54610" cy="45085"/>
          </a:xfrm>
          <a:custGeom>
            <a:avLst/>
            <a:gdLst/>
            <a:ahLst/>
            <a:cxnLst/>
            <a:rect l="l" t="t" r="r" b="b"/>
            <a:pathLst>
              <a:path w="54609" h="45085">
                <a:moveTo>
                  <a:pt x="0" y="45085"/>
                </a:moveTo>
                <a:lnTo>
                  <a:pt x="54355" y="0"/>
                </a:lnTo>
              </a:path>
            </a:pathLst>
          </a:custGeom>
          <a:ln w="19812">
            <a:solidFill>
              <a:srgbClr val="FFFFFF"/>
            </a:solidFill>
          </a:ln>
        </p:spPr>
        <p:txBody>
          <a:bodyPr wrap="square" lIns="0" tIns="0" rIns="0" bIns="0" rtlCol="0"/>
          <a:lstStyle/>
          <a:p>
            <a:endParaRPr/>
          </a:p>
        </p:txBody>
      </p:sp>
      <p:sp>
        <p:nvSpPr>
          <p:cNvPr id="15" name="object 15"/>
          <p:cNvSpPr/>
          <p:nvPr/>
        </p:nvSpPr>
        <p:spPr>
          <a:xfrm>
            <a:off x="705612" y="2935223"/>
            <a:ext cx="853440" cy="829310"/>
          </a:xfrm>
          <a:custGeom>
            <a:avLst/>
            <a:gdLst/>
            <a:ahLst/>
            <a:cxnLst/>
            <a:rect l="l" t="t" r="r" b="b"/>
            <a:pathLst>
              <a:path w="853440" h="829310">
                <a:moveTo>
                  <a:pt x="426719" y="0"/>
                </a:moveTo>
                <a:lnTo>
                  <a:pt x="376954" y="2788"/>
                </a:lnTo>
                <a:lnTo>
                  <a:pt x="328876" y="10945"/>
                </a:lnTo>
                <a:lnTo>
                  <a:pt x="282803" y="24161"/>
                </a:lnTo>
                <a:lnTo>
                  <a:pt x="239058" y="42125"/>
                </a:lnTo>
                <a:lnTo>
                  <a:pt x="197959" y="64526"/>
                </a:lnTo>
                <a:lnTo>
                  <a:pt x="159827" y="91053"/>
                </a:lnTo>
                <a:lnTo>
                  <a:pt x="124982" y="121396"/>
                </a:lnTo>
                <a:lnTo>
                  <a:pt x="93744" y="155243"/>
                </a:lnTo>
                <a:lnTo>
                  <a:pt x="66434" y="192285"/>
                </a:lnTo>
                <a:lnTo>
                  <a:pt x="43371" y="232210"/>
                </a:lnTo>
                <a:lnTo>
                  <a:pt x="24876" y="274707"/>
                </a:lnTo>
                <a:lnTo>
                  <a:pt x="11269" y="319466"/>
                </a:lnTo>
                <a:lnTo>
                  <a:pt x="2870" y="366177"/>
                </a:lnTo>
                <a:lnTo>
                  <a:pt x="0" y="414527"/>
                </a:lnTo>
                <a:lnTo>
                  <a:pt x="2870" y="462878"/>
                </a:lnTo>
                <a:lnTo>
                  <a:pt x="11269" y="509589"/>
                </a:lnTo>
                <a:lnTo>
                  <a:pt x="24876" y="554348"/>
                </a:lnTo>
                <a:lnTo>
                  <a:pt x="43371" y="596845"/>
                </a:lnTo>
                <a:lnTo>
                  <a:pt x="66434" y="636770"/>
                </a:lnTo>
                <a:lnTo>
                  <a:pt x="93744" y="673812"/>
                </a:lnTo>
                <a:lnTo>
                  <a:pt x="124982" y="707659"/>
                </a:lnTo>
                <a:lnTo>
                  <a:pt x="159827" y="738002"/>
                </a:lnTo>
                <a:lnTo>
                  <a:pt x="197959" y="764529"/>
                </a:lnTo>
                <a:lnTo>
                  <a:pt x="239058" y="786930"/>
                </a:lnTo>
                <a:lnTo>
                  <a:pt x="282803" y="804894"/>
                </a:lnTo>
                <a:lnTo>
                  <a:pt x="328876" y="818110"/>
                </a:lnTo>
                <a:lnTo>
                  <a:pt x="376954" y="826267"/>
                </a:lnTo>
                <a:lnTo>
                  <a:pt x="426719" y="829056"/>
                </a:lnTo>
                <a:lnTo>
                  <a:pt x="476492" y="826267"/>
                </a:lnTo>
                <a:lnTo>
                  <a:pt x="524575" y="818110"/>
                </a:lnTo>
                <a:lnTo>
                  <a:pt x="570651" y="804894"/>
                </a:lnTo>
                <a:lnTo>
                  <a:pt x="614398" y="786930"/>
                </a:lnTo>
                <a:lnTo>
                  <a:pt x="655497" y="764529"/>
                </a:lnTo>
                <a:lnTo>
                  <a:pt x="693628" y="738002"/>
                </a:lnTo>
                <a:lnTo>
                  <a:pt x="728471" y="707659"/>
                </a:lnTo>
                <a:lnTo>
                  <a:pt x="759707" y="673812"/>
                </a:lnTo>
                <a:lnTo>
                  <a:pt x="787014" y="636770"/>
                </a:lnTo>
                <a:lnTo>
                  <a:pt x="810074" y="596845"/>
                </a:lnTo>
                <a:lnTo>
                  <a:pt x="828567" y="554348"/>
                </a:lnTo>
                <a:lnTo>
                  <a:pt x="842172" y="509589"/>
                </a:lnTo>
                <a:lnTo>
                  <a:pt x="850569" y="462878"/>
                </a:lnTo>
                <a:lnTo>
                  <a:pt x="853440" y="414527"/>
                </a:lnTo>
                <a:lnTo>
                  <a:pt x="850569" y="366177"/>
                </a:lnTo>
                <a:lnTo>
                  <a:pt x="842172" y="319466"/>
                </a:lnTo>
                <a:lnTo>
                  <a:pt x="828567" y="274707"/>
                </a:lnTo>
                <a:lnTo>
                  <a:pt x="810074" y="232210"/>
                </a:lnTo>
                <a:lnTo>
                  <a:pt x="787014" y="192285"/>
                </a:lnTo>
                <a:lnTo>
                  <a:pt x="759707" y="155243"/>
                </a:lnTo>
                <a:lnTo>
                  <a:pt x="728472" y="121396"/>
                </a:lnTo>
                <a:lnTo>
                  <a:pt x="693628" y="91053"/>
                </a:lnTo>
                <a:lnTo>
                  <a:pt x="655497" y="64526"/>
                </a:lnTo>
                <a:lnTo>
                  <a:pt x="614398" y="42125"/>
                </a:lnTo>
                <a:lnTo>
                  <a:pt x="570651" y="24161"/>
                </a:lnTo>
                <a:lnTo>
                  <a:pt x="524575" y="10945"/>
                </a:lnTo>
                <a:lnTo>
                  <a:pt x="476492" y="2788"/>
                </a:lnTo>
                <a:lnTo>
                  <a:pt x="426719" y="0"/>
                </a:lnTo>
                <a:close/>
              </a:path>
            </a:pathLst>
          </a:custGeom>
          <a:solidFill>
            <a:srgbClr val="0097C6"/>
          </a:solidFill>
        </p:spPr>
        <p:txBody>
          <a:bodyPr wrap="square" lIns="0" tIns="0" rIns="0" bIns="0" rtlCol="0"/>
          <a:lstStyle/>
          <a:p>
            <a:endParaRPr/>
          </a:p>
        </p:txBody>
      </p:sp>
      <p:sp>
        <p:nvSpPr>
          <p:cNvPr id="16" name="object 16"/>
          <p:cNvSpPr/>
          <p:nvPr/>
        </p:nvSpPr>
        <p:spPr>
          <a:xfrm>
            <a:off x="787145" y="3120389"/>
            <a:ext cx="692150" cy="381000"/>
          </a:xfrm>
          <a:custGeom>
            <a:avLst/>
            <a:gdLst/>
            <a:ahLst/>
            <a:cxnLst/>
            <a:rect l="l" t="t" r="r" b="b"/>
            <a:pathLst>
              <a:path w="692150" h="381000">
                <a:moveTo>
                  <a:pt x="345948" y="0"/>
                </a:moveTo>
                <a:lnTo>
                  <a:pt x="295526" y="3616"/>
                </a:lnTo>
                <a:lnTo>
                  <a:pt x="247295" y="14137"/>
                </a:lnTo>
                <a:lnTo>
                  <a:pt x="201752" y="31066"/>
                </a:lnTo>
                <a:lnTo>
                  <a:pt x="159394" y="53908"/>
                </a:lnTo>
                <a:lnTo>
                  <a:pt x="120719" y="82169"/>
                </a:lnTo>
                <a:lnTo>
                  <a:pt x="86225" y="115351"/>
                </a:lnTo>
                <a:lnTo>
                  <a:pt x="56408" y="152961"/>
                </a:lnTo>
                <a:lnTo>
                  <a:pt x="31767" y="194503"/>
                </a:lnTo>
                <a:lnTo>
                  <a:pt x="12798" y="239481"/>
                </a:lnTo>
                <a:lnTo>
                  <a:pt x="0" y="287400"/>
                </a:lnTo>
                <a:lnTo>
                  <a:pt x="172225" y="334170"/>
                </a:lnTo>
                <a:lnTo>
                  <a:pt x="260665" y="358187"/>
                </a:lnTo>
                <a:lnTo>
                  <a:pt x="293249" y="367035"/>
                </a:lnTo>
                <a:lnTo>
                  <a:pt x="297903" y="368300"/>
                </a:lnTo>
                <a:lnTo>
                  <a:pt x="325679" y="375642"/>
                </a:lnTo>
                <a:lnTo>
                  <a:pt x="339942" y="379412"/>
                </a:lnTo>
                <a:lnTo>
                  <a:pt x="345197" y="380801"/>
                </a:lnTo>
                <a:lnTo>
                  <a:pt x="345948" y="381000"/>
                </a:lnTo>
                <a:lnTo>
                  <a:pt x="373723" y="373657"/>
                </a:lnTo>
                <a:lnTo>
                  <a:pt x="387986" y="369887"/>
                </a:lnTo>
                <a:lnTo>
                  <a:pt x="393241" y="368498"/>
                </a:lnTo>
                <a:lnTo>
                  <a:pt x="393992" y="368300"/>
                </a:lnTo>
                <a:lnTo>
                  <a:pt x="566217" y="321530"/>
                </a:lnTo>
                <a:lnTo>
                  <a:pt x="654658" y="297513"/>
                </a:lnTo>
                <a:lnTo>
                  <a:pt x="687241" y="288665"/>
                </a:lnTo>
                <a:lnTo>
                  <a:pt x="691896" y="287400"/>
                </a:lnTo>
                <a:lnTo>
                  <a:pt x="679085" y="239481"/>
                </a:lnTo>
                <a:lnTo>
                  <a:pt x="660111" y="194503"/>
                </a:lnTo>
                <a:lnTo>
                  <a:pt x="635469" y="152961"/>
                </a:lnTo>
                <a:lnTo>
                  <a:pt x="605655" y="115351"/>
                </a:lnTo>
                <a:lnTo>
                  <a:pt x="571166" y="82168"/>
                </a:lnTo>
                <a:lnTo>
                  <a:pt x="532497" y="53908"/>
                </a:lnTo>
                <a:lnTo>
                  <a:pt x="490145" y="31066"/>
                </a:lnTo>
                <a:lnTo>
                  <a:pt x="444605" y="14137"/>
                </a:lnTo>
                <a:lnTo>
                  <a:pt x="396374" y="3616"/>
                </a:lnTo>
                <a:lnTo>
                  <a:pt x="345948" y="0"/>
                </a:lnTo>
                <a:close/>
              </a:path>
            </a:pathLst>
          </a:custGeom>
          <a:ln w="19812">
            <a:solidFill>
              <a:srgbClr val="FFFFFF"/>
            </a:solidFill>
          </a:ln>
        </p:spPr>
        <p:txBody>
          <a:bodyPr wrap="square" lIns="0" tIns="0" rIns="0" bIns="0" rtlCol="0"/>
          <a:lstStyle/>
          <a:p>
            <a:endParaRPr/>
          </a:p>
        </p:txBody>
      </p:sp>
      <p:sp>
        <p:nvSpPr>
          <p:cNvPr id="17" name="object 17"/>
          <p:cNvSpPr/>
          <p:nvPr/>
        </p:nvSpPr>
        <p:spPr>
          <a:xfrm>
            <a:off x="856513" y="3201670"/>
            <a:ext cx="173570" cy="175894"/>
          </a:xfrm>
          <a:prstGeom prst="rect">
            <a:avLst/>
          </a:prstGeom>
          <a:blipFill>
            <a:blip r:embed="rId3" cstate="print"/>
            <a:stretch>
              <a:fillRect/>
            </a:stretch>
          </a:blipFill>
        </p:spPr>
        <p:txBody>
          <a:bodyPr wrap="square" lIns="0" tIns="0" rIns="0" bIns="0" rtlCol="0"/>
          <a:lstStyle/>
          <a:p>
            <a:endParaRPr/>
          </a:p>
        </p:txBody>
      </p:sp>
      <p:sp>
        <p:nvSpPr>
          <p:cNvPr id="18" name="object 18"/>
          <p:cNvSpPr/>
          <p:nvPr/>
        </p:nvSpPr>
        <p:spPr>
          <a:xfrm>
            <a:off x="1230096" y="3197351"/>
            <a:ext cx="68478" cy="90296"/>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1124089" y="3169666"/>
            <a:ext cx="17780" cy="77470"/>
          </a:xfrm>
          <a:custGeom>
            <a:avLst/>
            <a:gdLst/>
            <a:ahLst/>
            <a:cxnLst/>
            <a:rect l="l" t="t" r="r" b="b"/>
            <a:pathLst>
              <a:path w="17780" h="77469">
                <a:moveTo>
                  <a:pt x="0" y="8509"/>
                </a:moveTo>
                <a:lnTo>
                  <a:pt x="0" y="3556"/>
                </a:lnTo>
                <a:lnTo>
                  <a:pt x="4203" y="0"/>
                </a:lnTo>
                <a:lnTo>
                  <a:pt x="9004" y="0"/>
                </a:lnTo>
                <a:lnTo>
                  <a:pt x="13804" y="0"/>
                </a:lnTo>
                <a:lnTo>
                  <a:pt x="17411" y="3556"/>
                </a:lnTo>
                <a:lnTo>
                  <a:pt x="17411" y="8509"/>
                </a:lnTo>
                <a:lnTo>
                  <a:pt x="17411" y="43237"/>
                </a:lnTo>
                <a:lnTo>
                  <a:pt x="17411" y="61071"/>
                </a:lnTo>
                <a:lnTo>
                  <a:pt x="17411" y="67641"/>
                </a:lnTo>
                <a:lnTo>
                  <a:pt x="17411" y="68580"/>
                </a:lnTo>
                <a:lnTo>
                  <a:pt x="17411" y="72898"/>
                </a:lnTo>
                <a:lnTo>
                  <a:pt x="13804" y="77088"/>
                </a:lnTo>
                <a:lnTo>
                  <a:pt x="9004" y="77088"/>
                </a:lnTo>
                <a:lnTo>
                  <a:pt x="4203" y="77088"/>
                </a:lnTo>
                <a:lnTo>
                  <a:pt x="0" y="72898"/>
                </a:lnTo>
                <a:lnTo>
                  <a:pt x="0" y="68580"/>
                </a:lnTo>
                <a:lnTo>
                  <a:pt x="0" y="8509"/>
                </a:lnTo>
                <a:close/>
              </a:path>
            </a:pathLst>
          </a:custGeom>
          <a:ln w="19812">
            <a:solidFill>
              <a:srgbClr val="FFFFFF"/>
            </a:solidFill>
          </a:ln>
        </p:spPr>
        <p:txBody>
          <a:bodyPr wrap="square" lIns="0" tIns="0" rIns="0" bIns="0" rtlCol="0"/>
          <a:lstStyle/>
          <a:p>
            <a:endParaRPr/>
          </a:p>
        </p:txBody>
      </p:sp>
      <p:sp>
        <p:nvSpPr>
          <p:cNvPr id="20" name="object 20"/>
          <p:cNvSpPr/>
          <p:nvPr/>
        </p:nvSpPr>
        <p:spPr>
          <a:xfrm>
            <a:off x="1116952" y="3253888"/>
            <a:ext cx="236854" cy="220345"/>
          </a:xfrm>
          <a:custGeom>
            <a:avLst/>
            <a:gdLst/>
            <a:ahLst/>
            <a:cxnLst/>
            <a:rect l="l" t="t" r="r" b="b"/>
            <a:pathLst>
              <a:path w="236855" h="220345">
                <a:moveTo>
                  <a:pt x="39560" y="212195"/>
                </a:moveTo>
                <a:lnTo>
                  <a:pt x="38963" y="212195"/>
                </a:lnTo>
                <a:lnTo>
                  <a:pt x="38963" y="212830"/>
                </a:lnTo>
                <a:lnTo>
                  <a:pt x="38366" y="212830"/>
                </a:lnTo>
                <a:lnTo>
                  <a:pt x="38366" y="213465"/>
                </a:lnTo>
                <a:lnTo>
                  <a:pt x="37757" y="214100"/>
                </a:lnTo>
                <a:lnTo>
                  <a:pt x="37160" y="214100"/>
                </a:lnTo>
                <a:lnTo>
                  <a:pt x="29664" y="218767"/>
                </a:lnTo>
                <a:lnTo>
                  <a:pt x="0" y="196256"/>
                </a:lnTo>
                <a:lnTo>
                  <a:pt x="1962" y="187942"/>
                </a:lnTo>
                <a:lnTo>
                  <a:pt x="7137" y="180699"/>
                </a:lnTo>
                <a:lnTo>
                  <a:pt x="7734" y="180699"/>
                </a:lnTo>
                <a:lnTo>
                  <a:pt x="7734" y="180064"/>
                </a:lnTo>
                <a:lnTo>
                  <a:pt x="7734" y="179429"/>
                </a:lnTo>
                <a:lnTo>
                  <a:pt x="8331" y="178794"/>
                </a:lnTo>
                <a:lnTo>
                  <a:pt x="8928" y="178286"/>
                </a:lnTo>
                <a:lnTo>
                  <a:pt x="94009" y="109416"/>
                </a:lnTo>
                <a:lnTo>
                  <a:pt x="137699" y="74050"/>
                </a:lnTo>
                <a:lnTo>
                  <a:pt x="153796" y="61021"/>
                </a:lnTo>
                <a:lnTo>
                  <a:pt x="156095" y="59160"/>
                </a:lnTo>
                <a:lnTo>
                  <a:pt x="197065" y="25753"/>
                </a:lnTo>
                <a:lnTo>
                  <a:pt x="218103" y="8598"/>
                </a:lnTo>
                <a:lnTo>
                  <a:pt x="225854" y="2278"/>
                </a:lnTo>
                <a:lnTo>
                  <a:pt x="226961" y="1375"/>
                </a:lnTo>
                <a:lnTo>
                  <a:pt x="231458" y="0"/>
                </a:lnTo>
                <a:lnTo>
                  <a:pt x="235121" y="2089"/>
                </a:lnTo>
                <a:lnTo>
                  <a:pt x="236641" y="6107"/>
                </a:lnTo>
                <a:lnTo>
                  <a:pt x="234708" y="10519"/>
                </a:lnTo>
                <a:lnTo>
                  <a:pt x="198291" y="48478"/>
                </a:lnTo>
                <a:lnTo>
                  <a:pt x="179590" y="67970"/>
                </a:lnTo>
                <a:lnTo>
                  <a:pt x="172700" y="75152"/>
                </a:lnTo>
                <a:lnTo>
                  <a:pt x="171716" y="76178"/>
                </a:lnTo>
                <a:lnTo>
                  <a:pt x="39560" y="212195"/>
                </a:lnTo>
                <a:close/>
              </a:path>
            </a:pathLst>
          </a:custGeom>
          <a:ln w="19812">
            <a:solidFill>
              <a:srgbClr val="FFFFFF"/>
            </a:solidFill>
          </a:ln>
        </p:spPr>
        <p:txBody>
          <a:bodyPr wrap="square" lIns="0" tIns="0" rIns="0" bIns="0" rtlCol="0"/>
          <a:lstStyle/>
          <a:p>
            <a:endParaRPr/>
          </a:p>
        </p:txBody>
      </p:sp>
      <p:sp>
        <p:nvSpPr>
          <p:cNvPr id="21" name="object 21"/>
          <p:cNvSpPr/>
          <p:nvPr/>
        </p:nvSpPr>
        <p:spPr>
          <a:xfrm>
            <a:off x="1315338" y="3301238"/>
            <a:ext cx="89535" cy="69722"/>
          </a:xfrm>
          <a:prstGeom prst="rect">
            <a:avLst/>
          </a:prstGeom>
          <a:blipFill>
            <a:blip r:embed="rId5" cstate="print"/>
            <a:stretch>
              <a:fillRect/>
            </a:stretch>
          </a:blipFill>
        </p:spPr>
        <p:txBody>
          <a:bodyPr wrap="square" lIns="0" tIns="0" rIns="0" bIns="0" rtlCol="0"/>
          <a:lstStyle/>
          <a:p>
            <a:endParaRPr/>
          </a:p>
        </p:txBody>
      </p:sp>
      <p:sp>
        <p:nvSpPr>
          <p:cNvPr id="22" name="object 22"/>
          <p:cNvSpPr/>
          <p:nvPr/>
        </p:nvSpPr>
        <p:spPr>
          <a:xfrm>
            <a:off x="705612" y="4367784"/>
            <a:ext cx="853440" cy="829310"/>
          </a:xfrm>
          <a:custGeom>
            <a:avLst/>
            <a:gdLst/>
            <a:ahLst/>
            <a:cxnLst/>
            <a:rect l="l" t="t" r="r" b="b"/>
            <a:pathLst>
              <a:path w="853440" h="829310">
                <a:moveTo>
                  <a:pt x="426719" y="0"/>
                </a:moveTo>
                <a:lnTo>
                  <a:pt x="376954" y="2788"/>
                </a:lnTo>
                <a:lnTo>
                  <a:pt x="328876" y="10945"/>
                </a:lnTo>
                <a:lnTo>
                  <a:pt x="282803" y="24161"/>
                </a:lnTo>
                <a:lnTo>
                  <a:pt x="239058" y="42125"/>
                </a:lnTo>
                <a:lnTo>
                  <a:pt x="197959" y="64526"/>
                </a:lnTo>
                <a:lnTo>
                  <a:pt x="159827" y="91053"/>
                </a:lnTo>
                <a:lnTo>
                  <a:pt x="124982" y="121396"/>
                </a:lnTo>
                <a:lnTo>
                  <a:pt x="93744" y="155243"/>
                </a:lnTo>
                <a:lnTo>
                  <a:pt x="66434" y="192285"/>
                </a:lnTo>
                <a:lnTo>
                  <a:pt x="43371" y="232210"/>
                </a:lnTo>
                <a:lnTo>
                  <a:pt x="24876" y="274707"/>
                </a:lnTo>
                <a:lnTo>
                  <a:pt x="11269" y="319466"/>
                </a:lnTo>
                <a:lnTo>
                  <a:pt x="2870" y="366177"/>
                </a:lnTo>
                <a:lnTo>
                  <a:pt x="0" y="414528"/>
                </a:lnTo>
                <a:lnTo>
                  <a:pt x="2870" y="462878"/>
                </a:lnTo>
                <a:lnTo>
                  <a:pt x="11269" y="509589"/>
                </a:lnTo>
                <a:lnTo>
                  <a:pt x="24876" y="554348"/>
                </a:lnTo>
                <a:lnTo>
                  <a:pt x="43371" y="596845"/>
                </a:lnTo>
                <a:lnTo>
                  <a:pt x="66434" y="636770"/>
                </a:lnTo>
                <a:lnTo>
                  <a:pt x="93744" y="673812"/>
                </a:lnTo>
                <a:lnTo>
                  <a:pt x="124982" y="707659"/>
                </a:lnTo>
                <a:lnTo>
                  <a:pt x="159827" y="738002"/>
                </a:lnTo>
                <a:lnTo>
                  <a:pt x="197959" y="764529"/>
                </a:lnTo>
                <a:lnTo>
                  <a:pt x="239058" y="786930"/>
                </a:lnTo>
                <a:lnTo>
                  <a:pt x="282803" y="804894"/>
                </a:lnTo>
                <a:lnTo>
                  <a:pt x="328876" y="818110"/>
                </a:lnTo>
                <a:lnTo>
                  <a:pt x="376954" y="826267"/>
                </a:lnTo>
                <a:lnTo>
                  <a:pt x="426719" y="829056"/>
                </a:lnTo>
                <a:lnTo>
                  <a:pt x="476492" y="826267"/>
                </a:lnTo>
                <a:lnTo>
                  <a:pt x="524575" y="818110"/>
                </a:lnTo>
                <a:lnTo>
                  <a:pt x="570651" y="804894"/>
                </a:lnTo>
                <a:lnTo>
                  <a:pt x="614398" y="786930"/>
                </a:lnTo>
                <a:lnTo>
                  <a:pt x="655497" y="764529"/>
                </a:lnTo>
                <a:lnTo>
                  <a:pt x="693628" y="738002"/>
                </a:lnTo>
                <a:lnTo>
                  <a:pt x="728472" y="707659"/>
                </a:lnTo>
                <a:lnTo>
                  <a:pt x="759707" y="673812"/>
                </a:lnTo>
                <a:lnTo>
                  <a:pt x="787014" y="636770"/>
                </a:lnTo>
                <a:lnTo>
                  <a:pt x="810074" y="596845"/>
                </a:lnTo>
                <a:lnTo>
                  <a:pt x="828567" y="554348"/>
                </a:lnTo>
                <a:lnTo>
                  <a:pt x="842172" y="509589"/>
                </a:lnTo>
                <a:lnTo>
                  <a:pt x="850569" y="462878"/>
                </a:lnTo>
                <a:lnTo>
                  <a:pt x="853440" y="414528"/>
                </a:lnTo>
                <a:lnTo>
                  <a:pt x="850569" y="366177"/>
                </a:lnTo>
                <a:lnTo>
                  <a:pt x="842172" y="319466"/>
                </a:lnTo>
                <a:lnTo>
                  <a:pt x="828567" y="274707"/>
                </a:lnTo>
                <a:lnTo>
                  <a:pt x="810074" y="232210"/>
                </a:lnTo>
                <a:lnTo>
                  <a:pt x="787014" y="192285"/>
                </a:lnTo>
                <a:lnTo>
                  <a:pt x="759707" y="155243"/>
                </a:lnTo>
                <a:lnTo>
                  <a:pt x="728472" y="121396"/>
                </a:lnTo>
                <a:lnTo>
                  <a:pt x="693628" y="91053"/>
                </a:lnTo>
                <a:lnTo>
                  <a:pt x="655497" y="64526"/>
                </a:lnTo>
                <a:lnTo>
                  <a:pt x="614398" y="42125"/>
                </a:lnTo>
                <a:lnTo>
                  <a:pt x="570651" y="24161"/>
                </a:lnTo>
                <a:lnTo>
                  <a:pt x="524575" y="10945"/>
                </a:lnTo>
                <a:lnTo>
                  <a:pt x="476492" y="2788"/>
                </a:lnTo>
                <a:lnTo>
                  <a:pt x="426719" y="0"/>
                </a:lnTo>
                <a:close/>
              </a:path>
            </a:pathLst>
          </a:custGeom>
          <a:solidFill>
            <a:srgbClr val="0097C6"/>
          </a:solidFill>
        </p:spPr>
        <p:txBody>
          <a:bodyPr wrap="square" lIns="0" tIns="0" rIns="0" bIns="0" rtlCol="0"/>
          <a:lstStyle/>
          <a:p>
            <a:endParaRPr/>
          </a:p>
        </p:txBody>
      </p:sp>
      <p:sp>
        <p:nvSpPr>
          <p:cNvPr id="23" name="object 23"/>
          <p:cNvSpPr/>
          <p:nvPr/>
        </p:nvSpPr>
        <p:spPr>
          <a:xfrm>
            <a:off x="898397" y="4975097"/>
            <a:ext cx="501650" cy="0"/>
          </a:xfrm>
          <a:custGeom>
            <a:avLst/>
            <a:gdLst/>
            <a:ahLst/>
            <a:cxnLst/>
            <a:rect l="l" t="t" r="r" b="b"/>
            <a:pathLst>
              <a:path w="501650">
                <a:moveTo>
                  <a:pt x="0" y="0"/>
                </a:moveTo>
                <a:lnTo>
                  <a:pt x="501650" y="0"/>
                </a:lnTo>
              </a:path>
            </a:pathLst>
          </a:custGeom>
          <a:ln w="19812">
            <a:solidFill>
              <a:srgbClr val="FFFFFF"/>
            </a:solidFill>
          </a:ln>
        </p:spPr>
        <p:txBody>
          <a:bodyPr wrap="square" lIns="0" tIns="0" rIns="0" bIns="0" rtlCol="0"/>
          <a:lstStyle/>
          <a:p>
            <a:endParaRPr/>
          </a:p>
        </p:txBody>
      </p:sp>
      <p:sp>
        <p:nvSpPr>
          <p:cNvPr id="24" name="object 24"/>
          <p:cNvSpPr/>
          <p:nvPr/>
        </p:nvSpPr>
        <p:spPr>
          <a:xfrm>
            <a:off x="904494" y="4530090"/>
            <a:ext cx="0" cy="455930"/>
          </a:xfrm>
          <a:custGeom>
            <a:avLst/>
            <a:gdLst/>
            <a:ahLst/>
            <a:cxnLst/>
            <a:rect l="l" t="t" r="r" b="b"/>
            <a:pathLst>
              <a:path h="455929">
                <a:moveTo>
                  <a:pt x="0" y="455930"/>
                </a:moveTo>
                <a:lnTo>
                  <a:pt x="0" y="0"/>
                </a:lnTo>
              </a:path>
            </a:pathLst>
          </a:custGeom>
          <a:ln w="19812">
            <a:solidFill>
              <a:srgbClr val="FFFFFF"/>
            </a:solidFill>
          </a:ln>
        </p:spPr>
        <p:txBody>
          <a:bodyPr wrap="square" lIns="0" tIns="0" rIns="0" bIns="0" rtlCol="0"/>
          <a:lstStyle/>
          <a:p>
            <a:endParaRPr/>
          </a:p>
        </p:txBody>
      </p:sp>
      <p:sp>
        <p:nvSpPr>
          <p:cNvPr id="25" name="object 25"/>
          <p:cNvSpPr/>
          <p:nvPr/>
        </p:nvSpPr>
        <p:spPr>
          <a:xfrm>
            <a:off x="906017" y="4784597"/>
            <a:ext cx="70485" cy="36830"/>
          </a:xfrm>
          <a:custGeom>
            <a:avLst/>
            <a:gdLst/>
            <a:ahLst/>
            <a:cxnLst/>
            <a:rect l="l" t="t" r="r" b="b"/>
            <a:pathLst>
              <a:path w="70484" h="36829">
                <a:moveTo>
                  <a:pt x="0" y="36702"/>
                </a:moveTo>
                <a:lnTo>
                  <a:pt x="70142" y="0"/>
                </a:lnTo>
              </a:path>
            </a:pathLst>
          </a:custGeom>
          <a:ln w="19812">
            <a:solidFill>
              <a:srgbClr val="FFFFFF"/>
            </a:solidFill>
          </a:ln>
        </p:spPr>
        <p:txBody>
          <a:bodyPr wrap="square" lIns="0" tIns="0" rIns="0" bIns="0" rtlCol="0"/>
          <a:lstStyle/>
          <a:p>
            <a:endParaRPr/>
          </a:p>
        </p:txBody>
      </p:sp>
      <p:sp>
        <p:nvSpPr>
          <p:cNvPr id="26" name="object 26"/>
          <p:cNvSpPr/>
          <p:nvPr/>
        </p:nvSpPr>
        <p:spPr>
          <a:xfrm>
            <a:off x="973074" y="4786121"/>
            <a:ext cx="94615" cy="12065"/>
          </a:xfrm>
          <a:custGeom>
            <a:avLst/>
            <a:gdLst/>
            <a:ahLst/>
            <a:cxnLst/>
            <a:rect l="l" t="t" r="r" b="b"/>
            <a:pathLst>
              <a:path w="94615" h="12064">
                <a:moveTo>
                  <a:pt x="0" y="0"/>
                </a:moveTo>
                <a:lnTo>
                  <a:pt x="94246" y="12064"/>
                </a:lnTo>
              </a:path>
            </a:pathLst>
          </a:custGeom>
          <a:ln w="19812">
            <a:solidFill>
              <a:srgbClr val="FFFFFF"/>
            </a:solidFill>
          </a:ln>
        </p:spPr>
        <p:txBody>
          <a:bodyPr wrap="square" lIns="0" tIns="0" rIns="0" bIns="0" rtlCol="0"/>
          <a:lstStyle/>
          <a:p>
            <a:endParaRPr/>
          </a:p>
        </p:txBody>
      </p:sp>
      <p:sp>
        <p:nvSpPr>
          <p:cNvPr id="27" name="object 27"/>
          <p:cNvSpPr/>
          <p:nvPr/>
        </p:nvSpPr>
        <p:spPr>
          <a:xfrm>
            <a:off x="1062989" y="4743450"/>
            <a:ext cx="92075" cy="54610"/>
          </a:xfrm>
          <a:custGeom>
            <a:avLst/>
            <a:gdLst/>
            <a:ahLst/>
            <a:cxnLst/>
            <a:rect l="l" t="t" r="r" b="b"/>
            <a:pathLst>
              <a:path w="92075" h="54610">
                <a:moveTo>
                  <a:pt x="0" y="54229"/>
                </a:moveTo>
                <a:lnTo>
                  <a:pt x="91528" y="0"/>
                </a:lnTo>
              </a:path>
            </a:pathLst>
          </a:custGeom>
          <a:ln w="19812">
            <a:solidFill>
              <a:srgbClr val="FFFFFF"/>
            </a:solidFill>
          </a:ln>
        </p:spPr>
        <p:txBody>
          <a:bodyPr wrap="square" lIns="0" tIns="0" rIns="0" bIns="0" rtlCol="0"/>
          <a:lstStyle/>
          <a:p>
            <a:endParaRPr/>
          </a:p>
        </p:txBody>
      </p:sp>
      <p:sp>
        <p:nvSpPr>
          <p:cNvPr id="28" name="object 28"/>
          <p:cNvSpPr/>
          <p:nvPr/>
        </p:nvSpPr>
        <p:spPr>
          <a:xfrm>
            <a:off x="1154430" y="4706873"/>
            <a:ext cx="222250" cy="37465"/>
          </a:xfrm>
          <a:custGeom>
            <a:avLst/>
            <a:gdLst/>
            <a:ahLst/>
            <a:cxnLst/>
            <a:rect l="l" t="t" r="r" b="b"/>
            <a:pathLst>
              <a:path w="222250" h="37464">
                <a:moveTo>
                  <a:pt x="0" y="36956"/>
                </a:moveTo>
                <a:lnTo>
                  <a:pt x="222122" y="0"/>
                </a:lnTo>
              </a:path>
            </a:pathLst>
          </a:custGeom>
          <a:ln w="19812">
            <a:solidFill>
              <a:srgbClr val="FFFFFF"/>
            </a:solidFill>
          </a:ln>
        </p:spPr>
        <p:txBody>
          <a:bodyPr wrap="square" lIns="0" tIns="0" rIns="0" bIns="0" rtlCol="0"/>
          <a:lstStyle/>
          <a:p>
            <a:endParaRPr/>
          </a:p>
        </p:txBody>
      </p:sp>
      <p:sp>
        <p:nvSpPr>
          <p:cNvPr id="29" name="object 29"/>
          <p:cNvSpPr/>
          <p:nvPr/>
        </p:nvSpPr>
        <p:spPr>
          <a:xfrm>
            <a:off x="855725" y="4520946"/>
            <a:ext cx="52705" cy="48895"/>
          </a:xfrm>
          <a:custGeom>
            <a:avLst/>
            <a:gdLst/>
            <a:ahLst/>
            <a:cxnLst/>
            <a:rect l="l" t="t" r="r" b="b"/>
            <a:pathLst>
              <a:path w="52705" h="48895">
                <a:moveTo>
                  <a:pt x="0" y="48640"/>
                </a:moveTo>
                <a:lnTo>
                  <a:pt x="52603" y="0"/>
                </a:lnTo>
              </a:path>
            </a:pathLst>
          </a:custGeom>
          <a:ln w="19812">
            <a:solidFill>
              <a:srgbClr val="FFFFFF"/>
            </a:solidFill>
          </a:ln>
        </p:spPr>
        <p:txBody>
          <a:bodyPr wrap="square" lIns="0" tIns="0" rIns="0" bIns="0" rtlCol="0"/>
          <a:lstStyle/>
          <a:p>
            <a:endParaRPr/>
          </a:p>
        </p:txBody>
      </p:sp>
      <p:sp>
        <p:nvSpPr>
          <p:cNvPr id="30" name="object 30"/>
          <p:cNvSpPr/>
          <p:nvPr/>
        </p:nvSpPr>
        <p:spPr>
          <a:xfrm>
            <a:off x="901446" y="4520946"/>
            <a:ext cx="46990" cy="53340"/>
          </a:xfrm>
          <a:custGeom>
            <a:avLst/>
            <a:gdLst/>
            <a:ahLst/>
            <a:cxnLst/>
            <a:rect l="l" t="t" r="r" b="b"/>
            <a:pathLst>
              <a:path w="46990" h="53339">
                <a:moveTo>
                  <a:pt x="46418" y="52831"/>
                </a:moveTo>
                <a:lnTo>
                  <a:pt x="0" y="0"/>
                </a:lnTo>
              </a:path>
            </a:pathLst>
          </a:custGeom>
          <a:ln w="19812">
            <a:solidFill>
              <a:srgbClr val="FFFFFF"/>
            </a:solidFill>
          </a:ln>
        </p:spPr>
        <p:txBody>
          <a:bodyPr wrap="square" lIns="0" tIns="0" rIns="0" bIns="0" rtlCol="0"/>
          <a:lstStyle/>
          <a:p>
            <a:endParaRPr/>
          </a:p>
        </p:txBody>
      </p:sp>
      <p:sp>
        <p:nvSpPr>
          <p:cNvPr id="31" name="object 31"/>
          <p:cNvSpPr/>
          <p:nvPr/>
        </p:nvSpPr>
        <p:spPr>
          <a:xfrm>
            <a:off x="1351025" y="4927853"/>
            <a:ext cx="50165" cy="51435"/>
          </a:xfrm>
          <a:custGeom>
            <a:avLst/>
            <a:gdLst/>
            <a:ahLst/>
            <a:cxnLst/>
            <a:rect l="l" t="t" r="r" b="b"/>
            <a:pathLst>
              <a:path w="50165" h="51435">
                <a:moveTo>
                  <a:pt x="0" y="0"/>
                </a:moveTo>
                <a:lnTo>
                  <a:pt x="50165" y="51054"/>
                </a:lnTo>
              </a:path>
            </a:pathLst>
          </a:custGeom>
          <a:ln w="19812">
            <a:solidFill>
              <a:srgbClr val="FFFFFF"/>
            </a:solidFill>
          </a:ln>
        </p:spPr>
        <p:txBody>
          <a:bodyPr wrap="square" lIns="0" tIns="0" rIns="0" bIns="0" rtlCol="0"/>
          <a:lstStyle/>
          <a:p>
            <a:endParaRPr/>
          </a:p>
        </p:txBody>
      </p:sp>
      <p:sp>
        <p:nvSpPr>
          <p:cNvPr id="32" name="object 32"/>
          <p:cNvSpPr/>
          <p:nvPr/>
        </p:nvSpPr>
        <p:spPr>
          <a:xfrm>
            <a:off x="1346453" y="4973573"/>
            <a:ext cx="54610" cy="45085"/>
          </a:xfrm>
          <a:custGeom>
            <a:avLst/>
            <a:gdLst/>
            <a:ahLst/>
            <a:cxnLst/>
            <a:rect l="l" t="t" r="r" b="b"/>
            <a:pathLst>
              <a:path w="54609" h="45085">
                <a:moveTo>
                  <a:pt x="0" y="45084"/>
                </a:moveTo>
                <a:lnTo>
                  <a:pt x="54356" y="0"/>
                </a:lnTo>
              </a:path>
            </a:pathLst>
          </a:custGeom>
          <a:ln w="19812">
            <a:solidFill>
              <a:srgbClr val="FFFFFF"/>
            </a:solidFill>
          </a:ln>
        </p:spPr>
        <p:txBody>
          <a:bodyPr wrap="square" lIns="0" tIns="0" rIns="0" bIns="0" rtlCol="0"/>
          <a:lstStyle/>
          <a:p>
            <a:endParaRPr/>
          </a:p>
        </p:txBody>
      </p:sp>
      <p:sp>
        <p:nvSpPr>
          <p:cNvPr id="33" name="object 33"/>
          <p:cNvSpPr/>
          <p:nvPr/>
        </p:nvSpPr>
        <p:spPr>
          <a:xfrm>
            <a:off x="10632947" y="4268723"/>
            <a:ext cx="853440" cy="829056"/>
          </a:xfrm>
          <a:prstGeom prst="rect">
            <a:avLst/>
          </a:prstGeom>
          <a:blipFill>
            <a:blip r:embed="rId6" cstate="print"/>
            <a:stretch>
              <a:fillRect/>
            </a:stretch>
          </a:blipFill>
        </p:spPr>
        <p:txBody>
          <a:bodyPr wrap="square" lIns="0" tIns="0" rIns="0" bIns="0" rtlCol="0"/>
          <a:lstStyle/>
          <a:p>
            <a:endParaRPr/>
          </a:p>
        </p:txBody>
      </p:sp>
      <p:sp>
        <p:nvSpPr>
          <p:cNvPr id="34" name="object 34"/>
          <p:cNvSpPr txBox="1"/>
          <p:nvPr/>
        </p:nvSpPr>
        <p:spPr>
          <a:xfrm>
            <a:off x="1653285" y="3006597"/>
            <a:ext cx="1121410" cy="621030"/>
          </a:xfrm>
          <a:prstGeom prst="rect">
            <a:avLst/>
          </a:prstGeom>
        </p:spPr>
        <p:txBody>
          <a:bodyPr vert="horz" wrap="square" lIns="0" tIns="12700" rIns="0" bIns="0" rtlCol="0">
            <a:spAutoFit/>
          </a:bodyPr>
          <a:lstStyle/>
          <a:p>
            <a:pPr marL="12700" marR="5080">
              <a:lnSpc>
                <a:spcPct val="100000"/>
              </a:lnSpc>
              <a:spcBef>
                <a:spcPts val="100"/>
              </a:spcBef>
            </a:pPr>
            <a:r>
              <a:rPr sz="900" b="1" spc="-5">
                <a:solidFill>
                  <a:srgbClr val="404040"/>
                </a:solidFill>
                <a:latin typeface="Verdana"/>
                <a:cs typeface="Verdana"/>
              </a:rPr>
              <a:t>Increased</a:t>
            </a:r>
            <a:r>
              <a:rPr sz="900" b="1" spc="-55">
                <a:solidFill>
                  <a:srgbClr val="404040"/>
                </a:solidFill>
                <a:latin typeface="Verdana"/>
                <a:cs typeface="Verdana"/>
              </a:rPr>
              <a:t> </a:t>
            </a:r>
            <a:r>
              <a:rPr sz="900" b="1" spc="-5">
                <a:solidFill>
                  <a:srgbClr val="404040"/>
                </a:solidFill>
                <a:latin typeface="Verdana"/>
                <a:cs typeface="Verdana"/>
              </a:rPr>
              <a:t>Agility  </a:t>
            </a:r>
            <a:r>
              <a:rPr sz="1000" spc="-5">
                <a:solidFill>
                  <a:srgbClr val="404040"/>
                </a:solidFill>
                <a:latin typeface="Verdana"/>
                <a:cs typeface="Verdana"/>
              </a:rPr>
              <a:t>To enable near  </a:t>
            </a:r>
            <a:r>
              <a:rPr sz="1000">
                <a:solidFill>
                  <a:srgbClr val="404040"/>
                </a:solidFill>
                <a:latin typeface="Verdana"/>
                <a:cs typeface="Verdana"/>
              </a:rPr>
              <a:t>instant </a:t>
            </a:r>
            <a:r>
              <a:rPr sz="1000" spc="-5">
                <a:solidFill>
                  <a:srgbClr val="404040"/>
                </a:solidFill>
                <a:latin typeface="Verdana"/>
                <a:cs typeface="Verdana"/>
              </a:rPr>
              <a:t>change  deployment</a:t>
            </a:r>
            <a:endParaRPr sz="1000">
              <a:latin typeface="Verdana"/>
              <a:cs typeface="Verdana"/>
            </a:endParaRPr>
          </a:p>
        </p:txBody>
      </p:sp>
      <p:sp>
        <p:nvSpPr>
          <p:cNvPr id="35" name="object 35"/>
          <p:cNvSpPr txBox="1"/>
          <p:nvPr/>
        </p:nvSpPr>
        <p:spPr>
          <a:xfrm>
            <a:off x="1653285" y="4454144"/>
            <a:ext cx="1125220" cy="650240"/>
          </a:xfrm>
          <a:prstGeom prst="rect">
            <a:avLst/>
          </a:prstGeom>
        </p:spPr>
        <p:txBody>
          <a:bodyPr vert="horz" wrap="square" lIns="0" tIns="12065" rIns="0" bIns="0" rtlCol="0">
            <a:spAutoFit/>
          </a:bodyPr>
          <a:lstStyle/>
          <a:p>
            <a:pPr marL="12700" marR="393700">
              <a:lnSpc>
                <a:spcPct val="100000"/>
              </a:lnSpc>
              <a:spcBef>
                <a:spcPts val="95"/>
              </a:spcBef>
            </a:pPr>
            <a:r>
              <a:rPr sz="1000" b="1" spc="-10">
                <a:solidFill>
                  <a:srgbClr val="404040"/>
                </a:solidFill>
                <a:latin typeface="Verdana"/>
                <a:cs typeface="Verdana"/>
              </a:rPr>
              <a:t>Increase</a:t>
            </a:r>
            <a:r>
              <a:rPr sz="1000" b="1" spc="-5">
                <a:solidFill>
                  <a:srgbClr val="404040"/>
                </a:solidFill>
                <a:latin typeface="Verdana"/>
                <a:cs typeface="Verdana"/>
              </a:rPr>
              <a:t>d  </a:t>
            </a:r>
            <a:r>
              <a:rPr sz="1000" b="1" spc="-10">
                <a:solidFill>
                  <a:srgbClr val="404040"/>
                </a:solidFill>
                <a:latin typeface="Verdana"/>
                <a:cs typeface="Verdana"/>
              </a:rPr>
              <a:t>Quality</a:t>
            </a:r>
            <a:endParaRPr sz="1000">
              <a:latin typeface="Verdana"/>
              <a:cs typeface="Verdana"/>
            </a:endParaRPr>
          </a:p>
          <a:p>
            <a:pPr marL="12700" marR="5080">
              <a:lnSpc>
                <a:spcPct val="100000"/>
              </a:lnSpc>
            </a:pPr>
            <a:r>
              <a:rPr sz="1050">
                <a:solidFill>
                  <a:srgbClr val="404040"/>
                </a:solidFill>
                <a:latin typeface="Verdana"/>
                <a:cs typeface="Verdana"/>
              </a:rPr>
              <a:t>To increase end  user</a:t>
            </a:r>
            <a:r>
              <a:rPr sz="1050" spc="-40">
                <a:solidFill>
                  <a:srgbClr val="404040"/>
                </a:solidFill>
                <a:latin typeface="Verdana"/>
                <a:cs typeface="Verdana"/>
              </a:rPr>
              <a:t> </a:t>
            </a:r>
            <a:r>
              <a:rPr sz="1050" spc="-5">
                <a:solidFill>
                  <a:srgbClr val="404040"/>
                </a:solidFill>
                <a:latin typeface="Verdana"/>
                <a:cs typeface="Verdana"/>
              </a:rPr>
              <a:t>satisfaction</a:t>
            </a:r>
            <a:endParaRPr sz="1050">
              <a:latin typeface="Verdana"/>
              <a:cs typeface="Verdana"/>
            </a:endParaRPr>
          </a:p>
        </p:txBody>
      </p:sp>
      <p:sp>
        <p:nvSpPr>
          <p:cNvPr id="36" name="object 36"/>
          <p:cNvSpPr txBox="1"/>
          <p:nvPr/>
        </p:nvSpPr>
        <p:spPr>
          <a:xfrm>
            <a:off x="9385172" y="2853689"/>
            <a:ext cx="1022985" cy="810260"/>
          </a:xfrm>
          <a:prstGeom prst="rect">
            <a:avLst/>
          </a:prstGeom>
        </p:spPr>
        <p:txBody>
          <a:bodyPr vert="horz" wrap="square" lIns="0" tIns="12065" rIns="0" bIns="0" rtlCol="0">
            <a:spAutoFit/>
          </a:bodyPr>
          <a:lstStyle/>
          <a:p>
            <a:pPr marL="12700" marR="393700">
              <a:lnSpc>
                <a:spcPct val="100000"/>
              </a:lnSpc>
              <a:spcBef>
                <a:spcPts val="95"/>
              </a:spcBef>
            </a:pPr>
            <a:r>
              <a:rPr sz="1000" b="1" spc="-10">
                <a:solidFill>
                  <a:srgbClr val="404040"/>
                </a:solidFill>
                <a:latin typeface="Verdana"/>
                <a:cs typeface="Verdana"/>
              </a:rPr>
              <a:t>Reduced  Outages</a:t>
            </a:r>
            <a:endParaRPr sz="1000">
              <a:latin typeface="Verdana"/>
              <a:cs typeface="Verdana"/>
            </a:endParaRPr>
          </a:p>
          <a:p>
            <a:pPr marL="12700" marR="5080">
              <a:lnSpc>
                <a:spcPts val="1260"/>
              </a:lnSpc>
              <a:spcBef>
                <a:spcPts val="40"/>
              </a:spcBef>
            </a:pPr>
            <a:r>
              <a:rPr sz="1050" spc="-5">
                <a:solidFill>
                  <a:srgbClr val="404040"/>
                </a:solidFill>
                <a:latin typeface="Verdana"/>
                <a:cs typeface="Verdana"/>
              </a:rPr>
              <a:t>Up </a:t>
            </a:r>
            <a:r>
              <a:rPr sz="1050">
                <a:solidFill>
                  <a:srgbClr val="404040"/>
                </a:solidFill>
                <a:latin typeface="Verdana"/>
                <a:cs typeface="Verdana"/>
              </a:rPr>
              <a:t>to 80% </a:t>
            </a:r>
            <a:r>
              <a:rPr sz="1050" spc="-5">
                <a:solidFill>
                  <a:srgbClr val="404040"/>
                </a:solidFill>
                <a:latin typeface="Verdana"/>
                <a:cs typeface="Verdana"/>
              </a:rPr>
              <a:t>of  </a:t>
            </a:r>
            <a:r>
              <a:rPr sz="1050">
                <a:solidFill>
                  <a:srgbClr val="404040"/>
                </a:solidFill>
                <a:latin typeface="Verdana"/>
                <a:cs typeface="Verdana"/>
              </a:rPr>
              <a:t>outages are  change</a:t>
            </a:r>
            <a:r>
              <a:rPr sz="1050" spc="-110">
                <a:solidFill>
                  <a:srgbClr val="404040"/>
                </a:solidFill>
                <a:latin typeface="Verdana"/>
                <a:cs typeface="Verdana"/>
              </a:rPr>
              <a:t> </a:t>
            </a:r>
            <a:r>
              <a:rPr sz="1050">
                <a:solidFill>
                  <a:srgbClr val="404040"/>
                </a:solidFill>
                <a:latin typeface="Verdana"/>
                <a:cs typeface="Verdana"/>
              </a:rPr>
              <a:t>related</a:t>
            </a:r>
            <a:endParaRPr sz="1050">
              <a:latin typeface="Verdana"/>
              <a:cs typeface="Verdana"/>
            </a:endParaRPr>
          </a:p>
        </p:txBody>
      </p:sp>
      <p:sp>
        <p:nvSpPr>
          <p:cNvPr id="37" name="object 37"/>
          <p:cNvSpPr txBox="1"/>
          <p:nvPr/>
        </p:nvSpPr>
        <p:spPr>
          <a:xfrm>
            <a:off x="9385172" y="4286503"/>
            <a:ext cx="804545" cy="810260"/>
          </a:xfrm>
          <a:prstGeom prst="rect">
            <a:avLst/>
          </a:prstGeom>
        </p:spPr>
        <p:txBody>
          <a:bodyPr vert="horz" wrap="square" lIns="0" tIns="12065" rIns="0" bIns="0" rtlCol="0">
            <a:spAutoFit/>
          </a:bodyPr>
          <a:lstStyle/>
          <a:p>
            <a:pPr marL="12700" marR="5080">
              <a:lnSpc>
                <a:spcPct val="100000"/>
              </a:lnSpc>
              <a:spcBef>
                <a:spcPts val="95"/>
              </a:spcBef>
            </a:pPr>
            <a:r>
              <a:rPr sz="1000" b="1" spc="-10">
                <a:solidFill>
                  <a:srgbClr val="404040"/>
                </a:solidFill>
                <a:latin typeface="Verdana"/>
                <a:cs typeface="Verdana"/>
              </a:rPr>
              <a:t>Improves  Innov</a:t>
            </a:r>
            <a:r>
              <a:rPr sz="1000" b="1" spc="-15">
                <a:solidFill>
                  <a:srgbClr val="404040"/>
                </a:solidFill>
                <a:latin typeface="Verdana"/>
                <a:cs typeface="Verdana"/>
              </a:rPr>
              <a:t>a</a:t>
            </a:r>
            <a:r>
              <a:rPr sz="1000" b="1" spc="-5">
                <a:solidFill>
                  <a:srgbClr val="404040"/>
                </a:solidFill>
                <a:latin typeface="Verdana"/>
                <a:cs typeface="Verdana"/>
              </a:rPr>
              <a:t>ti</a:t>
            </a:r>
            <a:r>
              <a:rPr sz="1000" b="1" spc="-10">
                <a:solidFill>
                  <a:srgbClr val="404040"/>
                </a:solidFill>
                <a:latin typeface="Verdana"/>
                <a:cs typeface="Verdana"/>
              </a:rPr>
              <a:t>o</a:t>
            </a:r>
            <a:r>
              <a:rPr sz="1000" b="1" spc="-5">
                <a:solidFill>
                  <a:srgbClr val="404040"/>
                </a:solidFill>
                <a:latin typeface="Verdana"/>
                <a:cs typeface="Verdana"/>
              </a:rPr>
              <a:t>n  </a:t>
            </a:r>
            <a:r>
              <a:rPr sz="1050">
                <a:solidFill>
                  <a:srgbClr val="404040"/>
                </a:solidFill>
                <a:latin typeface="Verdana"/>
                <a:cs typeface="Verdana"/>
              </a:rPr>
              <a:t>Increases  innovation  cycles</a:t>
            </a:r>
            <a:endParaRPr sz="1050">
              <a:latin typeface="Verdana"/>
              <a:cs typeface="Verdana"/>
            </a:endParaRPr>
          </a:p>
        </p:txBody>
      </p:sp>
      <p:sp>
        <p:nvSpPr>
          <p:cNvPr id="38" name="object 38"/>
          <p:cNvSpPr/>
          <p:nvPr/>
        </p:nvSpPr>
        <p:spPr>
          <a:xfrm>
            <a:off x="3282696" y="2275331"/>
            <a:ext cx="5613921" cy="3581400"/>
          </a:xfrm>
          <a:prstGeom prst="rect">
            <a:avLst/>
          </a:prstGeom>
          <a:blipFill>
            <a:blip r:embed="rId7" cstate="print"/>
            <a:stretch>
              <a:fillRect/>
            </a:stretch>
          </a:blipFill>
        </p:spPr>
        <p:txBody>
          <a:bodyPr wrap="square" lIns="0" tIns="0" rIns="0" bIns="0" rtlCol="0"/>
          <a:lstStyle/>
          <a:p>
            <a:endParaRPr/>
          </a:p>
        </p:txBody>
      </p:sp>
      <p:sp>
        <p:nvSpPr>
          <p:cNvPr id="39" name="object 39"/>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40" name="object 40"/>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7</a:t>
            </a:fld>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1230629"/>
            <a:ext cx="11080750" cy="488315"/>
          </a:xfrm>
          <a:prstGeom prst="rect">
            <a:avLst/>
          </a:prstGeom>
        </p:spPr>
        <p:txBody>
          <a:bodyPr vert="horz" wrap="square" lIns="0" tIns="39370" rIns="0" bIns="0" rtlCol="0">
            <a:spAutoFit/>
          </a:bodyPr>
          <a:lstStyle/>
          <a:p>
            <a:pPr marL="12700" marR="5080">
              <a:lnSpc>
                <a:spcPts val="1730"/>
              </a:lnSpc>
              <a:spcBef>
                <a:spcPts val="310"/>
              </a:spcBef>
            </a:pPr>
            <a:r>
              <a:rPr sz="1600" spc="-10">
                <a:solidFill>
                  <a:srgbClr val="404040"/>
                </a:solidFill>
                <a:latin typeface="Verdana"/>
                <a:cs typeface="Verdana"/>
              </a:rPr>
              <a:t>This framework </a:t>
            </a:r>
            <a:r>
              <a:rPr sz="1600" spc="-5">
                <a:solidFill>
                  <a:srgbClr val="404040"/>
                </a:solidFill>
                <a:latin typeface="Verdana"/>
                <a:cs typeface="Verdana"/>
              </a:rPr>
              <a:t>focus on the </a:t>
            </a:r>
            <a:r>
              <a:rPr sz="1600" spc="-10">
                <a:solidFill>
                  <a:srgbClr val="404040"/>
                </a:solidFill>
                <a:latin typeface="Verdana"/>
                <a:cs typeface="Verdana"/>
              </a:rPr>
              <a:t>guidelines </a:t>
            </a:r>
            <a:r>
              <a:rPr sz="1600" spc="-5">
                <a:solidFill>
                  <a:srgbClr val="404040"/>
                </a:solidFill>
                <a:latin typeface="Verdana"/>
                <a:cs typeface="Verdana"/>
              </a:rPr>
              <a:t>to </a:t>
            </a:r>
            <a:r>
              <a:rPr sz="1600" spc="-10">
                <a:solidFill>
                  <a:srgbClr val="404040"/>
                </a:solidFill>
                <a:latin typeface="Verdana"/>
                <a:cs typeface="Verdana"/>
              </a:rPr>
              <a:t>implement </a:t>
            </a:r>
            <a:r>
              <a:rPr sz="1600" spc="-5">
                <a:solidFill>
                  <a:srgbClr val="404040"/>
                </a:solidFill>
                <a:latin typeface="Verdana"/>
                <a:cs typeface="Verdana"/>
              </a:rPr>
              <a:t>a </a:t>
            </a:r>
            <a:r>
              <a:rPr sz="1600" spc="-10">
                <a:solidFill>
                  <a:srgbClr val="404040"/>
                </a:solidFill>
                <a:latin typeface="Verdana"/>
                <a:cs typeface="Verdana"/>
              </a:rPr>
              <a:t>Common </a:t>
            </a:r>
            <a:r>
              <a:rPr sz="1600" spc="-30">
                <a:solidFill>
                  <a:srgbClr val="404040"/>
                </a:solidFill>
                <a:latin typeface="Verdana"/>
                <a:cs typeface="Verdana"/>
              </a:rPr>
              <a:t>Tooling, </a:t>
            </a:r>
            <a:r>
              <a:rPr sz="1600" spc="-10">
                <a:solidFill>
                  <a:srgbClr val="404040"/>
                </a:solidFill>
                <a:latin typeface="Verdana"/>
                <a:cs typeface="Verdana"/>
              </a:rPr>
              <a:t>Environment Reference </a:t>
            </a:r>
            <a:r>
              <a:rPr sz="1600" spc="-5">
                <a:solidFill>
                  <a:srgbClr val="404040"/>
                </a:solidFill>
                <a:latin typeface="Verdana"/>
                <a:cs typeface="Verdana"/>
              </a:rPr>
              <a:t>Model and  </a:t>
            </a:r>
            <a:r>
              <a:rPr sz="1600" spc="-10">
                <a:solidFill>
                  <a:srgbClr val="404040"/>
                </a:solidFill>
                <a:latin typeface="Verdana"/>
                <a:cs typeface="Verdana"/>
              </a:rPr>
              <a:t>Development-to-Operations </a:t>
            </a:r>
            <a:r>
              <a:rPr sz="1600" spc="-5">
                <a:solidFill>
                  <a:srgbClr val="404040"/>
                </a:solidFill>
                <a:latin typeface="Verdana"/>
                <a:cs typeface="Verdana"/>
              </a:rPr>
              <a:t>Lifecycle. </a:t>
            </a:r>
            <a:r>
              <a:rPr sz="1600" u="sng" spc="-5">
                <a:solidFill>
                  <a:srgbClr val="87D4EC"/>
                </a:solidFill>
                <a:uFill>
                  <a:solidFill>
                    <a:srgbClr val="87D4EC"/>
                  </a:solidFill>
                </a:uFill>
                <a:latin typeface="Verdana"/>
                <a:cs typeface="Verdana"/>
                <a:hlinkClick r:id="rId2"/>
              </a:rPr>
              <a:t>See</a:t>
            </a:r>
            <a:r>
              <a:rPr sz="1600" u="sng" spc="95">
                <a:solidFill>
                  <a:srgbClr val="87D4EC"/>
                </a:solidFill>
                <a:uFill>
                  <a:solidFill>
                    <a:srgbClr val="87D4EC"/>
                  </a:solidFill>
                </a:uFill>
                <a:latin typeface="Verdana"/>
                <a:cs typeface="Verdana"/>
                <a:hlinkClick r:id="rId2"/>
              </a:rPr>
              <a:t> </a:t>
            </a:r>
            <a:r>
              <a:rPr sz="1600" u="sng" spc="-10">
                <a:solidFill>
                  <a:srgbClr val="87D4EC"/>
                </a:solidFill>
                <a:uFill>
                  <a:solidFill>
                    <a:srgbClr val="87D4EC"/>
                  </a:solidFill>
                </a:uFill>
                <a:latin typeface="Verdana"/>
                <a:cs typeface="Verdana"/>
                <a:hlinkClick r:id="rId2"/>
              </a:rPr>
              <a:t>Reference.</a:t>
            </a:r>
            <a:endParaRPr sz="1600">
              <a:latin typeface="Verdana"/>
              <a:cs typeface="Verdana"/>
            </a:endParaRPr>
          </a:p>
        </p:txBody>
      </p:sp>
      <p:sp>
        <p:nvSpPr>
          <p:cNvPr id="5" name="object 5"/>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6" name="object 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8</a:t>
            </a:fld>
            <a:endParaRPr/>
          </a:p>
        </p:txBody>
      </p:sp>
      <p:sp>
        <p:nvSpPr>
          <p:cNvPr id="3" name="object 3"/>
          <p:cNvSpPr txBox="1">
            <a:spLocks noGrp="1"/>
          </p:cNvSpPr>
          <p:nvPr>
            <p:ph type="title"/>
          </p:nvPr>
        </p:nvSpPr>
        <p:spPr>
          <a:xfrm>
            <a:off x="214680" y="318896"/>
            <a:ext cx="6198870" cy="422275"/>
          </a:xfrm>
          <a:prstGeom prst="rect">
            <a:avLst/>
          </a:prstGeom>
        </p:spPr>
        <p:txBody>
          <a:bodyPr vert="horz" wrap="square" lIns="0" tIns="12700" rIns="0" bIns="0" rtlCol="0">
            <a:spAutoFit/>
          </a:bodyPr>
          <a:lstStyle/>
          <a:p>
            <a:pPr marL="12700">
              <a:lnSpc>
                <a:spcPct val="100000"/>
              </a:lnSpc>
              <a:spcBef>
                <a:spcPts val="100"/>
              </a:spcBef>
            </a:pPr>
            <a:r>
              <a:rPr sz="2600" spc="-15"/>
              <a:t>Four </a:t>
            </a:r>
            <a:r>
              <a:rPr sz="2600" spc="-30"/>
              <a:t>Key </a:t>
            </a:r>
            <a:r>
              <a:rPr sz="2600" spc="-20"/>
              <a:t>Factors </a:t>
            </a:r>
            <a:r>
              <a:rPr sz="2600"/>
              <a:t>for </a:t>
            </a:r>
            <a:r>
              <a:rPr sz="2600" spc="-5"/>
              <a:t>DevOps</a:t>
            </a:r>
            <a:r>
              <a:rPr sz="2600"/>
              <a:t> </a:t>
            </a:r>
            <a:r>
              <a:rPr sz="2600" spc="-5"/>
              <a:t>Success</a:t>
            </a:r>
            <a:endParaRPr sz="2600"/>
          </a:p>
        </p:txBody>
      </p:sp>
      <p:graphicFrame>
        <p:nvGraphicFramePr>
          <p:cNvPr id="4" name="object 4"/>
          <p:cNvGraphicFramePr>
            <a:graphicFrameLocks noGrp="1"/>
          </p:cNvGraphicFramePr>
          <p:nvPr/>
        </p:nvGraphicFramePr>
        <p:xfrm>
          <a:off x="335279" y="2194560"/>
          <a:ext cx="11522072" cy="3762755"/>
        </p:xfrm>
        <a:graphic>
          <a:graphicData uri="http://schemas.openxmlformats.org/drawingml/2006/table">
            <a:tbl>
              <a:tblPr firstRow="1" bandRow="1">
                <a:tableStyleId>{2D5ABB26-0587-4C30-8999-92F81FD0307C}</a:tableStyleId>
              </a:tblPr>
              <a:tblGrid>
                <a:gridCol w="3957954">
                  <a:extLst>
                    <a:ext uri="{9D8B030D-6E8A-4147-A177-3AD203B41FA5}">
                      <a16:colId xmlns:a16="http://schemas.microsoft.com/office/drawing/2014/main" val="20000"/>
                    </a:ext>
                  </a:extLst>
                </a:gridCol>
                <a:gridCol w="3606164">
                  <a:extLst>
                    <a:ext uri="{9D8B030D-6E8A-4147-A177-3AD203B41FA5}">
                      <a16:colId xmlns:a16="http://schemas.microsoft.com/office/drawing/2014/main" val="20001"/>
                    </a:ext>
                  </a:extLst>
                </a:gridCol>
                <a:gridCol w="3957954">
                  <a:extLst>
                    <a:ext uri="{9D8B030D-6E8A-4147-A177-3AD203B41FA5}">
                      <a16:colId xmlns:a16="http://schemas.microsoft.com/office/drawing/2014/main" val="20002"/>
                    </a:ext>
                  </a:extLst>
                </a:gridCol>
              </a:tblGrid>
              <a:tr h="934974">
                <a:tc gridSpan="2">
                  <a:txBody>
                    <a:bodyPr/>
                    <a:lstStyle/>
                    <a:p>
                      <a:pPr>
                        <a:lnSpc>
                          <a:spcPct val="100000"/>
                        </a:lnSpc>
                        <a:spcBef>
                          <a:spcPts val="30"/>
                        </a:spcBef>
                      </a:pPr>
                      <a:endParaRPr sz="2200">
                        <a:latin typeface="Times New Roman"/>
                        <a:cs typeface="Times New Roman"/>
                      </a:endParaRPr>
                    </a:p>
                    <a:p>
                      <a:pPr algn="ctr">
                        <a:lnSpc>
                          <a:spcPct val="100000"/>
                        </a:lnSpc>
                      </a:pPr>
                      <a:r>
                        <a:rPr sz="1800" b="1" spc="-10">
                          <a:solidFill>
                            <a:srgbClr val="FFFFFF"/>
                          </a:solidFill>
                          <a:latin typeface="Verdana"/>
                          <a:cs typeface="Verdana"/>
                        </a:rPr>
                        <a:t>Establish </a:t>
                      </a:r>
                      <a:r>
                        <a:rPr sz="1800" b="1">
                          <a:solidFill>
                            <a:srgbClr val="FFFFFF"/>
                          </a:solidFill>
                          <a:latin typeface="Verdana"/>
                          <a:cs typeface="Verdana"/>
                        </a:rPr>
                        <a:t>Source</a:t>
                      </a:r>
                      <a:r>
                        <a:rPr sz="1800" b="1" spc="5">
                          <a:solidFill>
                            <a:srgbClr val="FFFFFF"/>
                          </a:solidFill>
                          <a:latin typeface="Verdana"/>
                          <a:cs typeface="Verdana"/>
                        </a:rPr>
                        <a:t> </a:t>
                      </a:r>
                      <a:r>
                        <a:rPr sz="1800" b="1">
                          <a:solidFill>
                            <a:srgbClr val="FFFFFF"/>
                          </a:solidFill>
                          <a:latin typeface="Verdana"/>
                          <a:cs typeface="Verdana"/>
                        </a:rPr>
                        <a:t>Control</a:t>
                      </a:r>
                      <a:endParaRPr sz="1800">
                        <a:latin typeface="Verdana"/>
                        <a:cs typeface="Verdana"/>
                      </a:endParaRPr>
                    </a:p>
                  </a:txBody>
                  <a:tcPr marL="0" marR="0" marT="3810" marB="0">
                    <a:lnB w="19050">
                      <a:solidFill>
                        <a:srgbClr val="FFFFFF"/>
                      </a:solidFill>
                      <a:prstDash val="solid"/>
                    </a:lnB>
                    <a:solidFill>
                      <a:srgbClr val="006FAC"/>
                    </a:solidFill>
                  </a:tcPr>
                </a:tc>
                <a:tc hMerge="1">
                  <a:txBody>
                    <a:bodyPr/>
                    <a:lstStyle/>
                    <a:p>
                      <a:endParaRPr/>
                    </a:p>
                  </a:txBody>
                  <a:tcPr marL="0" marR="0" marT="0" marB="0"/>
                </a:tc>
                <a:tc>
                  <a:txBody>
                    <a:bodyPr/>
                    <a:lstStyle/>
                    <a:p>
                      <a:pPr>
                        <a:lnSpc>
                          <a:spcPct val="100000"/>
                        </a:lnSpc>
                      </a:pPr>
                      <a:endParaRPr sz="1400">
                        <a:latin typeface="Times New Roman"/>
                        <a:cs typeface="Times New Roman"/>
                      </a:endParaRPr>
                    </a:p>
                  </a:txBody>
                  <a:tcPr marL="0" marR="0" marT="0" marB="0">
                    <a:lnB w="19050">
                      <a:solidFill>
                        <a:srgbClr val="FFFFFF"/>
                      </a:solidFill>
                      <a:prstDash val="solid"/>
                    </a:lnB>
                  </a:tcPr>
                </a:tc>
                <a:extLst>
                  <a:ext uri="{0D108BD9-81ED-4DB2-BD59-A6C34878D82A}">
                    <a16:rowId xmlns:a16="http://schemas.microsoft.com/office/drawing/2014/main" val="10000"/>
                  </a:ext>
                </a:extLst>
              </a:tr>
              <a:tr h="946404">
                <a:tc>
                  <a:txBody>
                    <a:bodyPr/>
                    <a:lstStyle/>
                    <a:p>
                      <a:pPr>
                        <a:lnSpc>
                          <a:spcPct val="100000"/>
                        </a:lnSpc>
                      </a:pPr>
                      <a:endParaRPr sz="1400">
                        <a:latin typeface="Times New Roman"/>
                        <a:cs typeface="Times New Roman"/>
                      </a:endParaRPr>
                    </a:p>
                  </a:txBody>
                  <a:tcPr marL="0" marR="0" marT="0" marB="0">
                    <a:lnT w="19050">
                      <a:solidFill>
                        <a:srgbClr val="FFFFFF"/>
                      </a:solidFill>
                      <a:prstDash val="solid"/>
                    </a:lnT>
                    <a:lnB w="28575">
                      <a:solidFill>
                        <a:srgbClr val="FFFFFF"/>
                      </a:solidFill>
                      <a:prstDash val="solid"/>
                    </a:lnB>
                  </a:tcPr>
                </a:tc>
                <a:tc gridSpan="2">
                  <a:txBody>
                    <a:bodyPr/>
                    <a:lstStyle/>
                    <a:p>
                      <a:pPr>
                        <a:lnSpc>
                          <a:spcPct val="100000"/>
                        </a:lnSpc>
                        <a:spcBef>
                          <a:spcPts val="40"/>
                        </a:spcBef>
                      </a:pPr>
                      <a:endParaRPr sz="2250">
                        <a:latin typeface="Times New Roman"/>
                        <a:cs typeface="Times New Roman"/>
                      </a:endParaRPr>
                    </a:p>
                    <a:p>
                      <a:pPr marL="1905" algn="ctr">
                        <a:lnSpc>
                          <a:spcPct val="100000"/>
                        </a:lnSpc>
                        <a:spcBef>
                          <a:spcPts val="5"/>
                        </a:spcBef>
                      </a:pPr>
                      <a:r>
                        <a:rPr sz="1800" b="1">
                          <a:solidFill>
                            <a:srgbClr val="FFFFFF"/>
                          </a:solidFill>
                          <a:latin typeface="Verdana"/>
                          <a:cs typeface="Verdana"/>
                        </a:rPr>
                        <a:t>Empower</a:t>
                      </a:r>
                      <a:r>
                        <a:rPr sz="1800" b="1" spc="-5">
                          <a:solidFill>
                            <a:srgbClr val="FFFFFF"/>
                          </a:solidFill>
                          <a:latin typeface="Verdana"/>
                          <a:cs typeface="Verdana"/>
                        </a:rPr>
                        <a:t> </a:t>
                      </a:r>
                      <a:r>
                        <a:rPr sz="1800" b="1">
                          <a:solidFill>
                            <a:srgbClr val="FFFFFF"/>
                          </a:solidFill>
                          <a:latin typeface="Verdana"/>
                          <a:cs typeface="Verdana"/>
                        </a:rPr>
                        <a:t>Developers</a:t>
                      </a:r>
                      <a:endParaRPr sz="1800">
                        <a:latin typeface="Verdana"/>
                        <a:cs typeface="Verdana"/>
                      </a:endParaRPr>
                    </a:p>
                  </a:txBody>
                  <a:tcPr marL="0" marR="0" marT="5080" marB="0">
                    <a:lnT w="19050">
                      <a:solidFill>
                        <a:srgbClr val="FFFFFF"/>
                      </a:solidFill>
                      <a:prstDash val="solid"/>
                    </a:lnT>
                    <a:lnB w="28575">
                      <a:solidFill>
                        <a:srgbClr val="FFFFFF"/>
                      </a:solidFill>
                      <a:prstDash val="solid"/>
                    </a:lnB>
                    <a:solidFill>
                      <a:srgbClr val="12ABDB"/>
                    </a:solidFill>
                  </a:tcPr>
                </a:tc>
                <a:tc hMerge="1">
                  <a:txBody>
                    <a:bodyPr/>
                    <a:lstStyle/>
                    <a:p>
                      <a:endParaRPr/>
                    </a:p>
                  </a:txBody>
                  <a:tcPr marL="0" marR="0" marT="0" marB="0"/>
                </a:tc>
                <a:extLst>
                  <a:ext uri="{0D108BD9-81ED-4DB2-BD59-A6C34878D82A}">
                    <a16:rowId xmlns:a16="http://schemas.microsoft.com/office/drawing/2014/main" val="10001"/>
                  </a:ext>
                </a:extLst>
              </a:tr>
              <a:tr h="946404">
                <a:tc gridSpan="2">
                  <a:txBody>
                    <a:bodyPr/>
                    <a:lstStyle/>
                    <a:p>
                      <a:pPr>
                        <a:lnSpc>
                          <a:spcPct val="100000"/>
                        </a:lnSpc>
                        <a:spcBef>
                          <a:spcPts val="5"/>
                        </a:spcBef>
                      </a:pPr>
                      <a:endParaRPr sz="2300">
                        <a:latin typeface="Times New Roman"/>
                        <a:cs typeface="Times New Roman"/>
                      </a:endParaRPr>
                    </a:p>
                    <a:p>
                      <a:pPr algn="ctr">
                        <a:lnSpc>
                          <a:spcPct val="100000"/>
                        </a:lnSpc>
                      </a:pPr>
                      <a:r>
                        <a:rPr sz="1800" b="1" spc="-5">
                          <a:solidFill>
                            <a:srgbClr val="FFFFFF"/>
                          </a:solidFill>
                          <a:latin typeface="Verdana"/>
                          <a:cs typeface="Verdana"/>
                        </a:rPr>
                        <a:t>Continuous Integration, </a:t>
                      </a:r>
                      <a:r>
                        <a:rPr sz="1800" b="1">
                          <a:solidFill>
                            <a:srgbClr val="FFFFFF"/>
                          </a:solidFill>
                          <a:latin typeface="Verdana"/>
                          <a:cs typeface="Verdana"/>
                        </a:rPr>
                        <a:t>Test &amp;</a:t>
                      </a:r>
                      <a:r>
                        <a:rPr sz="1800" b="1" spc="25">
                          <a:solidFill>
                            <a:srgbClr val="FFFFFF"/>
                          </a:solidFill>
                          <a:latin typeface="Verdana"/>
                          <a:cs typeface="Verdana"/>
                        </a:rPr>
                        <a:t> </a:t>
                      </a:r>
                      <a:r>
                        <a:rPr sz="1800" b="1" spc="-5">
                          <a:solidFill>
                            <a:srgbClr val="FFFFFF"/>
                          </a:solidFill>
                          <a:latin typeface="Verdana"/>
                          <a:cs typeface="Verdana"/>
                        </a:rPr>
                        <a:t>Delivery</a:t>
                      </a:r>
                      <a:endParaRPr sz="1800">
                        <a:latin typeface="Verdana"/>
                        <a:cs typeface="Verdana"/>
                      </a:endParaRPr>
                    </a:p>
                  </a:txBody>
                  <a:tcPr marL="0" marR="0" marT="635" marB="0">
                    <a:lnT w="28575">
                      <a:solidFill>
                        <a:srgbClr val="FFFFFF"/>
                      </a:solidFill>
                      <a:prstDash val="solid"/>
                    </a:lnT>
                    <a:lnB w="19050">
                      <a:solidFill>
                        <a:srgbClr val="FFFFFF"/>
                      </a:solidFill>
                      <a:prstDash val="solid"/>
                    </a:lnB>
                    <a:solidFill>
                      <a:srgbClr val="94E616"/>
                    </a:solidFill>
                  </a:tcPr>
                </a:tc>
                <a:tc hMerge="1">
                  <a:txBody>
                    <a:bodyPr/>
                    <a:lstStyle/>
                    <a:p>
                      <a:endParaRPr/>
                    </a:p>
                  </a:txBody>
                  <a:tcPr marL="0" marR="0" marT="0" marB="0"/>
                </a:tc>
                <a:tc>
                  <a:txBody>
                    <a:bodyPr/>
                    <a:lstStyle/>
                    <a:p>
                      <a:pPr>
                        <a:lnSpc>
                          <a:spcPct val="100000"/>
                        </a:lnSpc>
                      </a:pPr>
                      <a:endParaRPr sz="1400">
                        <a:latin typeface="Times New Roman"/>
                        <a:cs typeface="Times New Roman"/>
                      </a:endParaRPr>
                    </a:p>
                  </a:txBody>
                  <a:tcPr marL="0" marR="0" marT="0" marB="0">
                    <a:lnT w="28575">
                      <a:solidFill>
                        <a:srgbClr val="FFFFFF"/>
                      </a:solidFill>
                      <a:prstDash val="solid"/>
                    </a:lnT>
                    <a:lnB w="19050">
                      <a:solidFill>
                        <a:srgbClr val="FFFFFF"/>
                      </a:solidFill>
                      <a:prstDash val="solid"/>
                    </a:lnB>
                  </a:tcPr>
                </a:tc>
                <a:extLst>
                  <a:ext uri="{0D108BD9-81ED-4DB2-BD59-A6C34878D82A}">
                    <a16:rowId xmlns:a16="http://schemas.microsoft.com/office/drawing/2014/main" val="10002"/>
                  </a:ext>
                </a:extLst>
              </a:tr>
              <a:tr h="934973">
                <a:tc>
                  <a:txBody>
                    <a:bodyPr/>
                    <a:lstStyle/>
                    <a:p>
                      <a:pPr>
                        <a:lnSpc>
                          <a:spcPct val="100000"/>
                        </a:lnSpc>
                      </a:pPr>
                      <a:endParaRPr sz="1400">
                        <a:latin typeface="Times New Roman"/>
                        <a:cs typeface="Times New Roman"/>
                      </a:endParaRPr>
                    </a:p>
                  </a:txBody>
                  <a:tcPr marL="0" marR="0" marT="0" marB="0">
                    <a:lnT w="19050">
                      <a:solidFill>
                        <a:srgbClr val="FFFFFF"/>
                      </a:solidFill>
                      <a:prstDash val="solid"/>
                    </a:lnT>
                  </a:tcPr>
                </a:tc>
                <a:tc gridSpan="2">
                  <a:txBody>
                    <a:bodyPr/>
                    <a:lstStyle/>
                    <a:p>
                      <a:pPr>
                        <a:lnSpc>
                          <a:spcPct val="100000"/>
                        </a:lnSpc>
                        <a:spcBef>
                          <a:spcPts val="40"/>
                        </a:spcBef>
                      </a:pPr>
                      <a:endParaRPr sz="2250">
                        <a:latin typeface="Times New Roman"/>
                        <a:cs typeface="Times New Roman"/>
                      </a:endParaRPr>
                    </a:p>
                    <a:p>
                      <a:pPr algn="ctr">
                        <a:lnSpc>
                          <a:spcPct val="100000"/>
                        </a:lnSpc>
                      </a:pPr>
                      <a:r>
                        <a:rPr sz="1800" b="1" spc="-5">
                          <a:solidFill>
                            <a:srgbClr val="FFFFFF"/>
                          </a:solidFill>
                          <a:latin typeface="Verdana"/>
                          <a:cs typeface="Verdana"/>
                        </a:rPr>
                        <a:t>Continuous</a:t>
                      </a:r>
                      <a:r>
                        <a:rPr sz="1800" b="1">
                          <a:solidFill>
                            <a:srgbClr val="FFFFFF"/>
                          </a:solidFill>
                          <a:latin typeface="Verdana"/>
                          <a:cs typeface="Verdana"/>
                        </a:rPr>
                        <a:t> </a:t>
                      </a:r>
                      <a:r>
                        <a:rPr sz="1800" b="1" spc="-5">
                          <a:solidFill>
                            <a:srgbClr val="FFFFFF"/>
                          </a:solidFill>
                          <a:latin typeface="Verdana"/>
                          <a:cs typeface="Verdana"/>
                        </a:rPr>
                        <a:t>Feedback</a:t>
                      </a:r>
                      <a:endParaRPr sz="1800">
                        <a:latin typeface="Verdana"/>
                        <a:cs typeface="Verdana"/>
                      </a:endParaRPr>
                    </a:p>
                  </a:txBody>
                  <a:tcPr marL="0" marR="0" marT="5080" marB="0">
                    <a:lnT w="19050">
                      <a:solidFill>
                        <a:srgbClr val="FFFFFF"/>
                      </a:solidFill>
                      <a:prstDash val="solid"/>
                    </a:lnT>
                    <a:solidFill>
                      <a:srgbClr val="FF2F4B"/>
                    </a:solidFill>
                  </a:tcPr>
                </a:tc>
                <a:tc hMerge="1">
                  <a:txBody>
                    <a:bodyPr/>
                    <a:lstStyle/>
                    <a:p>
                      <a:endParaRPr/>
                    </a:p>
                  </a:txBody>
                  <a:tcPr marL="0" marR="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E6E7E7"/>
          </a:solidFill>
        </p:spPr>
        <p:txBody>
          <a:bodyPr wrap="square" lIns="0" tIns="0" rIns="0" bIns="0" rtlCol="0"/>
          <a:lstStyle/>
          <a:p>
            <a:endParaRPr/>
          </a:p>
        </p:txBody>
      </p:sp>
      <p:sp>
        <p:nvSpPr>
          <p:cNvPr id="3" name="object 3"/>
          <p:cNvSpPr/>
          <p:nvPr/>
        </p:nvSpPr>
        <p:spPr>
          <a:xfrm>
            <a:off x="11644883" y="333756"/>
            <a:ext cx="276225" cy="227329"/>
          </a:xfrm>
          <a:custGeom>
            <a:avLst/>
            <a:gdLst/>
            <a:ahLst/>
            <a:cxnLst/>
            <a:rect l="l" t="t" r="r" b="b"/>
            <a:pathLst>
              <a:path w="276225" h="227329">
                <a:moveTo>
                  <a:pt x="206883" y="0"/>
                </a:moveTo>
                <a:lnTo>
                  <a:pt x="174115" y="9665"/>
                </a:lnTo>
                <a:lnTo>
                  <a:pt x="147530" y="34832"/>
                </a:lnTo>
                <a:lnTo>
                  <a:pt x="123828" y="69759"/>
                </a:lnTo>
                <a:lnTo>
                  <a:pt x="99711" y="108703"/>
                </a:lnTo>
                <a:lnTo>
                  <a:pt x="71882" y="145923"/>
                </a:lnTo>
                <a:lnTo>
                  <a:pt x="64775" y="169177"/>
                </a:lnTo>
                <a:lnTo>
                  <a:pt x="49133" y="189087"/>
                </a:lnTo>
                <a:lnTo>
                  <a:pt x="26894" y="204019"/>
                </a:lnTo>
                <a:lnTo>
                  <a:pt x="0" y="212344"/>
                </a:lnTo>
                <a:lnTo>
                  <a:pt x="8669" y="218396"/>
                </a:lnTo>
                <a:lnTo>
                  <a:pt x="21066" y="223043"/>
                </a:lnTo>
                <a:lnTo>
                  <a:pt x="36486" y="226024"/>
                </a:lnTo>
                <a:lnTo>
                  <a:pt x="54229" y="227076"/>
                </a:lnTo>
                <a:lnTo>
                  <a:pt x="89733" y="224549"/>
                </a:lnTo>
                <a:lnTo>
                  <a:pt x="125475" y="216773"/>
                </a:lnTo>
                <a:lnTo>
                  <a:pt x="157884" y="203448"/>
                </a:lnTo>
                <a:lnTo>
                  <a:pt x="183388" y="184277"/>
                </a:lnTo>
                <a:lnTo>
                  <a:pt x="157430" y="180717"/>
                </a:lnTo>
                <a:lnTo>
                  <a:pt x="137366" y="168846"/>
                </a:lnTo>
                <a:lnTo>
                  <a:pt x="124184" y="150308"/>
                </a:lnTo>
                <a:lnTo>
                  <a:pt x="118872" y="126746"/>
                </a:lnTo>
                <a:lnTo>
                  <a:pt x="251001" y="126746"/>
                </a:lnTo>
                <a:lnTo>
                  <a:pt x="268630" y="99923"/>
                </a:lnTo>
                <a:lnTo>
                  <a:pt x="275844" y="63373"/>
                </a:lnTo>
                <a:lnTo>
                  <a:pt x="272087" y="44148"/>
                </a:lnTo>
                <a:lnTo>
                  <a:pt x="262270" y="23399"/>
                </a:lnTo>
                <a:lnTo>
                  <a:pt x="242000" y="6794"/>
                </a:lnTo>
                <a:lnTo>
                  <a:pt x="206883" y="0"/>
                </a:lnTo>
                <a:close/>
              </a:path>
              <a:path w="276225" h="227329">
                <a:moveTo>
                  <a:pt x="251001" y="126746"/>
                </a:moveTo>
                <a:lnTo>
                  <a:pt x="118872" y="126746"/>
                </a:lnTo>
                <a:lnTo>
                  <a:pt x="132845" y="140964"/>
                </a:lnTo>
                <a:lnTo>
                  <a:pt x="148367" y="150574"/>
                </a:lnTo>
                <a:lnTo>
                  <a:pt x="165270" y="156017"/>
                </a:lnTo>
                <a:lnTo>
                  <a:pt x="183388" y="157734"/>
                </a:lnTo>
                <a:lnTo>
                  <a:pt x="219533" y="150258"/>
                </a:lnTo>
                <a:lnTo>
                  <a:pt x="248904" y="129936"/>
                </a:lnTo>
                <a:lnTo>
                  <a:pt x="251001" y="126746"/>
                </a:lnTo>
                <a:close/>
              </a:path>
            </a:pathLst>
          </a:custGeom>
          <a:solidFill>
            <a:srgbClr val="12ABDB"/>
          </a:solidFill>
        </p:spPr>
        <p:txBody>
          <a:bodyPr wrap="square" lIns="0" tIns="0" rIns="0" bIns="0" rtlCol="0"/>
          <a:lstStyle/>
          <a:p>
            <a:endParaRPr/>
          </a:p>
        </p:txBody>
      </p:sp>
      <p:sp>
        <p:nvSpPr>
          <p:cNvPr id="4" name="object 4"/>
          <p:cNvSpPr/>
          <p:nvPr/>
        </p:nvSpPr>
        <p:spPr>
          <a:xfrm>
            <a:off x="11501628" y="172212"/>
            <a:ext cx="419100" cy="354330"/>
          </a:xfrm>
          <a:custGeom>
            <a:avLst/>
            <a:gdLst/>
            <a:ahLst/>
            <a:cxnLst/>
            <a:rect l="l" t="t" r="r" b="b"/>
            <a:pathLst>
              <a:path w="419100" h="354330">
                <a:moveTo>
                  <a:pt x="224154" y="0"/>
                </a:moveTo>
                <a:lnTo>
                  <a:pt x="200229" y="22070"/>
                </a:lnTo>
                <a:lnTo>
                  <a:pt x="168128" y="43878"/>
                </a:lnTo>
                <a:lnTo>
                  <a:pt x="131353" y="66544"/>
                </a:lnTo>
                <a:lnTo>
                  <a:pt x="93408" y="91186"/>
                </a:lnTo>
                <a:lnTo>
                  <a:pt x="57797" y="118923"/>
                </a:lnTo>
                <a:lnTo>
                  <a:pt x="28023" y="150876"/>
                </a:lnTo>
                <a:lnTo>
                  <a:pt x="7589" y="188162"/>
                </a:lnTo>
                <a:lnTo>
                  <a:pt x="0" y="231902"/>
                </a:lnTo>
                <a:lnTo>
                  <a:pt x="5536" y="268354"/>
                </a:lnTo>
                <a:lnTo>
                  <a:pt x="45755" y="328021"/>
                </a:lnTo>
                <a:lnTo>
                  <a:pt x="97462" y="352139"/>
                </a:lnTo>
                <a:lnTo>
                  <a:pt x="117236" y="354234"/>
                </a:lnTo>
                <a:lnTo>
                  <a:pt x="137034" y="352758"/>
                </a:lnTo>
                <a:lnTo>
                  <a:pt x="173583" y="341018"/>
                </a:lnTo>
                <a:lnTo>
                  <a:pt x="215392" y="308229"/>
                </a:lnTo>
                <a:lnTo>
                  <a:pt x="243208" y="271124"/>
                </a:lnTo>
                <a:lnTo>
                  <a:pt x="267293" y="232343"/>
                </a:lnTo>
                <a:lnTo>
                  <a:pt x="290958" y="197586"/>
                </a:lnTo>
                <a:lnTo>
                  <a:pt x="317512" y="172552"/>
                </a:lnTo>
                <a:lnTo>
                  <a:pt x="350266" y="162941"/>
                </a:lnTo>
                <a:lnTo>
                  <a:pt x="407143" y="162941"/>
                </a:lnTo>
                <a:lnTo>
                  <a:pt x="399129" y="141763"/>
                </a:lnTo>
                <a:lnTo>
                  <a:pt x="376451" y="106425"/>
                </a:lnTo>
                <a:lnTo>
                  <a:pt x="347345" y="74803"/>
                </a:lnTo>
                <a:lnTo>
                  <a:pt x="294179" y="34671"/>
                </a:lnTo>
                <a:lnTo>
                  <a:pt x="234442" y="4445"/>
                </a:lnTo>
                <a:lnTo>
                  <a:pt x="231521" y="2921"/>
                </a:lnTo>
                <a:lnTo>
                  <a:pt x="228600" y="1524"/>
                </a:lnTo>
                <a:lnTo>
                  <a:pt x="224154" y="0"/>
                </a:lnTo>
                <a:close/>
              </a:path>
              <a:path w="419100" h="354330">
                <a:moveTo>
                  <a:pt x="407143" y="162941"/>
                </a:moveTo>
                <a:lnTo>
                  <a:pt x="350266" y="162941"/>
                </a:lnTo>
                <a:lnTo>
                  <a:pt x="385310" y="169695"/>
                </a:lnTo>
                <a:lnTo>
                  <a:pt x="405542" y="186213"/>
                </a:lnTo>
                <a:lnTo>
                  <a:pt x="415345" y="206875"/>
                </a:lnTo>
                <a:lnTo>
                  <a:pt x="419100" y="226060"/>
                </a:lnTo>
                <a:lnTo>
                  <a:pt x="419100" y="223012"/>
                </a:lnTo>
                <a:lnTo>
                  <a:pt x="413853" y="180673"/>
                </a:lnTo>
                <a:lnTo>
                  <a:pt x="407143" y="162941"/>
                </a:lnTo>
                <a:close/>
              </a:path>
            </a:pathLst>
          </a:custGeom>
          <a:solidFill>
            <a:srgbClr val="006FAC"/>
          </a:solidFill>
        </p:spPr>
        <p:txBody>
          <a:bodyPr wrap="square" lIns="0" tIns="0" rIns="0" bIns="0" rtlCol="0"/>
          <a:lstStyle/>
          <a:p>
            <a:endParaRPr/>
          </a:p>
        </p:txBody>
      </p:sp>
      <p:sp>
        <p:nvSpPr>
          <p:cNvPr id="5" name="object 5"/>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421F5D"/>
          </a:solidFill>
        </p:spPr>
        <p:txBody>
          <a:bodyPr wrap="square" lIns="0" tIns="0" rIns="0" bIns="0" rtlCol="0"/>
          <a:lstStyle/>
          <a:p>
            <a:endParaRPr/>
          </a:p>
        </p:txBody>
      </p:sp>
      <p:sp>
        <p:nvSpPr>
          <p:cNvPr id="6" name="object 6"/>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9" name="object 9"/>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0" name="object 10"/>
          <p:cNvSpPr/>
          <p:nvPr/>
        </p:nvSpPr>
        <p:spPr>
          <a:xfrm>
            <a:off x="443483" y="4030979"/>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7" y="288036"/>
                </a:lnTo>
                <a:lnTo>
                  <a:pt x="189539" y="280690"/>
                </a:lnTo>
                <a:lnTo>
                  <a:pt x="229073" y="260238"/>
                </a:lnTo>
                <a:lnTo>
                  <a:pt x="260249" y="229057"/>
                </a:lnTo>
                <a:lnTo>
                  <a:pt x="280693" y="189524"/>
                </a:lnTo>
                <a:lnTo>
                  <a:pt x="288036" y="144018"/>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1" name="object 11"/>
          <p:cNvSpPr/>
          <p:nvPr/>
        </p:nvSpPr>
        <p:spPr>
          <a:xfrm>
            <a:off x="502919" y="4099559"/>
            <a:ext cx="169164" cy="150875"/>
          </a:xfrm>
          <a:prstGeom prst="rect">
            <a:avLst/>
          </a:prstGeom>
          <a:blipFill>
            <a:blip r:embed="rId3" cstate="print"/>
            <a:stretch>
              <a:fillRect/>
            </a:stretch>
          </a:blipFill>
        </p:spPr>
        <p:txBody>
          <a:bodyPr wrap="square" lIns="0" tIns="0" rIns="0" bIns="0" rtlCol="0"/>
          <a:lstStyle/>
          <a:p>
            <a:endParaRPr/>
          </a:p>
        </p:txBody>
      </p:sp>
      <p:sp>
        <p:nvSpPr>
          <p:cNvPr id="12" name="object 12"/>
          <p:cNvSpPr txBox="1">
            <a:spLocks noGrp="1"/>
          </p:cNvSpPr>
          <p:nvPr>
            <p:ph type="title"/>
          </p:nvPr>
        </p:nvSpPr>
        <p:spPr>
          <a:xfrm>
            <a:off x="659079" y="1876755"/>
            <a:ext cx="735965" cy="697230"/>
          </a:xfrm>
          <a:prstGeom prst="rect">
            <a:avLst/>
          </a:prstGeom>
        </p:spPr>
        <p:txBody>
          <a:bodyPr vert="horz" wrap="square" lIns="0" tIns="13335" rIns="0" bIns="0" rtlCol="0">
            <a:spAutoFit/>
          </a:bodyPr>
          <a:lstStyle/>
          <a:p>
            <a:pPr marL="12700">
              <a:lnSpc>
                <a:spcPct val="100000"/>
              </a:lnSpc>
              <a:spcBef>
                <a:spcPts val="105"/>
              </a:spcBef>
            </a:pPr>
            <a:r>
              <a:rPr sz="4400" spc="-10">
                <a:solidFill>
                  <a:srgbClr val="FFFFFF"/>
                </a:solidFill>
              </a:rPr>
              <a:t>08</a:t>
            </a:r>
            <a:endParaRPr sz="4400"/>
          </a:p>
        </p:txBody>
      </p:sp>
      <p:sp>
        <p:nvSpPr>
          <p:cNvPr id="13" name="object 13"/>
          <p:cNvSpPr/>
          <p:nvPr/>
        </p:nvSpPr>
        <p:spPr>
          <a:xfrm>
            <a:off x="464819" y="2657855"/>
            <a:ext cx="864235" cy="0"/>
          </a:xfrm>
          <a:custGeom>
            <a:avLst/>
            <a:gdLst/>
            <a:ahLst/>
            <a:cxnLst/>
            <a:rect l="l" t="t" r="r" b="b"/>
            <a:pathLst>
              <a:path w="864235">
                <a:moveTo>
                  <a:pt x="0" y="0"/>
                </a:moveTo>
                <a:lnTo>
                  <a:pt x="863981" y="0"/>
                </a:lnTo>
              </a:path>
            </a:pathLst>
          </a:custGeom>
          <a:ln w="6096">
            <a:solidFill>
              <a:srgbClr val="006FAC"/>
            </a:solidFill>
          </a:ln>
        </p:spPr>
        <p:txBody>
          <a:bodyPr wrap="square" lIns="0" tIns="0" rIns="0" bIns="0" rtlCol="0"/>
          <a:lstStyle/>
          <a:p>
            <a:endParaRPr/>
          </a:p>
        </p:txBody>
      </p:sp>
      <p:sp>
        <p:nvSpPr>
          <p:cNvPr id="14" name="object 14"/>
          <p:cNvSpPr/>
          <p:nvPr/>
        </p:nvSpPr>
        <p:spPr>
          <a:xfrm>
            <a:off x="443483" y="4507991"/>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5" name="object 15"/>
          <p:cNvSpPr/>
          <p:nvPr/>
        </p:nvSpPr>
        <p:spPr>
          <a:xfrm>
            <a:off x="502919" y="4576571"/>
            <a:ext cx="169164" cy="152400"/>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43483" y="4997196"/>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5"/>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endParaRPr/>
          </a:p>
        </p:txBody>
      </p:sp>
      <p:sp>
        <p:nvSpPr>
          <p:cNvPr id="17" name="object 17"/>
          <p:cNvSpPr/>
          <p:nvPr/>
        </p:nvSpPr>
        <p:spPr>
          <a:xfrm>
            <a:off x="502919" y="5065776"/>
            <a:ext cx="169164" cy="150875"/>
          </a:xfrm>
          <a:prstGeom prst="rect">
            <a:avLst/>
          </a:prstGeom>
          <a:blipFill>
            <a:blip r:embed="rId5" cstate="print"/>
            <a:stretch>
              <a:fillRect/>
            </a:stretch>
          </a:blipFill>
        </p:spPr>
        <p:txBody>
          <a:bodyPr wrap="square" lIns="0" tIns="0" rIns="0" bIns="0" rtlCol="0"/>
          <a:lstStyle/>
          <a:p>
            <a:endParaRPr/>
          </a:p>
        </p:txBody>
      </p:sp>
      <p:sp>
        <p:nvSpPr>
          <p:cNvPr id="18" name="object 18"/>
          <p:cNvSpPr/>
          <p:nvPr/>
        </p:nvSpPr>
        <p:spPr>
          <a:xfrm>
            <a:off x="440436" y="5515355"/>
            <a:ext cx="288290" cy="288290"/>
          </a:xfrm>
          <a:custGeom>
            <a:avLst/>
            <a:gdLst/>
            <a:ahLst/>
            <a:cxnLst/>
            <a:rect l="l" t="t" r="r" b="b"/>
            <a:pathLst>
              <a:path w="288290" h="288289">
                <a:moveTo>
                  <a:pt x="144018" y="0"/>
                </a:moveTo>
                <a:lnTo>
                  <a:pt x="98496" y="7345"/>
                </a:lnTo>
                <a:lnTo>
                  <a:pt x="58962" y="27797"/>
                </a:lnTo>
                <a:lnTo>
                  <a:pt x="27786" y="58978"/>
                </a:lnTo>
                <a:lnTo>
                  <a:pt x="7342" y="98511"/>
                </a:lnTo>
                <a:lnTo>
                  <a:pt x="0" y="144018"/>
                </a:lnTo>
                <a:lnTo>
                  <a:pt x="7342" y="189539"/>
                </a:lnTo>
                <a:lnTo>
                  <a:pt x="27786" y="229073"/>
                </a:lnTo>
                <a:lnTo>
                  <a:pt x="58962" y="260249"/>
                </a:lnTo>
                <a:lnTo>
                  <a:pt x="98496" y="280693"/>
                </a:lnTo>
                <a:lnTo>
                  <a:pt x="144018" y="288036"/>
                </a:lnTo>
                <a:lnTo>
                  <a:pt x="189539" y="280693"/>
                </a:lnTo>
                <a:lnTo>
                  <a:pt x="229073" y="260249"/>
                </a:lnTo>
                <a:lnTo>
                  <a:pt x="260249" y="229073"/>
                </a:lnTo>
                <a:lnTo>
                  <a:pt x="280693" y="189539"/>
                </a:lnTo>
                <a:lnTo>
                  <a:pt x="288036" y="144018"/>
                </a:lnTo>
                <a:lnTo>
                  <a:pt x="280693" y="98511"/>
                </a:lnTo>
                <a:lnTo>
                  <a:pt x="260249" y="58978"/>
                </a:lnTo>
                <a:lnTo>
                  <a:pt x="229073" y="27797"/>
                </a:lnTo>
                <a:lnTo>
                  <a:pt x="189539" y="7345"/>
                </a:lnTo>
                <a:lnTo>
                  <a:pt x="144018" y="0"/>
                </a:lnTo>
                <a:close/>
              </a:path>
            </a:pathLst>
          </a:custGeom>
          <a:solidFill>
            <a:srgbClr val="FFFFFF"/>
          </a:solidFill>
        </p:spPr>
        <p:txBody>
          <a:bodyPr wrap="square" lIns="0" tIns="0" rIns="0" bIns="0" rtlCol="0"/>
          <a:lstStyle/>
          <a:p>
            <a:endParaRPr/>
          </a:p>
        </p:txBody>
      </p:sp>
      <p:sp>
        <p:nvSpPr>
          <p:cNvPr id="19" name="object 19"/>
          <p:cNvSpPr/>
          <p:nvPr/>
        </p:nvSpPr>
        <p:spPr>
          <a:xfrm>
            <a:off x="499872" y="5583935"/>
            <a:ext cx="169164" cy="150875"/>
          </a:xfrm>
          <a:prstGeom prst="rect">
            <a:avLst/>
          </a:prstGeom>
          <a:blipFill>
            <a:blip r:embed="rId6" cstate="print"/>
            <a:stretch>
              <a:fillRect/>
            </a:stretch>
          </a:blipFill>
        </p:spPr>
        <p:txBody>
          <a:bodyPr wrap="square" lIns="0" tIns="0" rIns="0" bIns="0" rtlCol="0"/>
          <a:lstStyle/>
          <a:p>
            <a:endParaRPr/>
          </a:p>
        </p:txBody>
      </p:sp>
      <p:sp>
        <p:nvSpPr>
          <p:cNvPr id="20" name="object 20"/>
          <p:cNvSpPr txBox="1"/>
          <p:nvPr/>
        </p:nvSpPr>
        <p:spPr>
          <a:xfrm>
            <a:off x="540207" y="2902153"/>
            <a:ext cx="3207385" cy="2867025"/>
          </a:xfrm>
          <a:prstGeom prst="rect">
            <a:avLst/>
          </a:prstGeom>
        </p:spPr>
        <p:txBody>
          <a:bodyPr vert="horz" wrap="square" lIns="0" tIns="13335" rIns="0" bIns="0" rtlCol="0">
            <a:spAutoFit/>
          </a:bodyPr>
          <a:lstStyle/>
          <a:p>
            <a:pPr marL="12700" marR="5080" algn="just">
              <a:lnSpc>
                <a:spcPct val="100000"/>
              </a:lnSpc>
              <a:spcBef>
                <a:spcPts val="105"/>
              </a:spcBef>
            </a:pPr>
            <a:r>
              <a:rPr sz="2000" b="1">
                <a:solidFill>
                  <a:srgbClr val="FFFFFF"/>
                </a:solidFill>
                <a:latin typeface="Verdana"/>
                <a:cs typeface="Verdana"/>
              </a:rPr>
              <a:t>System</a:t>
            </a:r>
            <a:r>
              <a:rPr sz="2000" b="1" spc="-65">
                <a:solidFill>
                  <a:srgbClr val="FFFFFF"/>
                </a:solidFill>
                <a:latin typeface="Verdana"/>
                <a:cs typeface="Verdana"/>
              </a:rPr>
              <a:t> </a:t>
            </a:r>
            <a:r>
              <a:rPr sz="2000" b="1">
                <a:solidFill>
                  <a:srgbClr val="FFFFFF"/>
                </a:solidFill>
                <a:latin typeface="Verdana"/>
                <a:cs typeface="Verdana"/>
              </a:rPr>
              <a:t>Configuration,  Integration &amp; Custom  Development</a:t>
            </a:r>
            <a:endParaRPr sz="2000">
              <a:latin typeface="Verdana"/>
              <a:cs typeface="Verdana"/>
            </a:endParaRPr>
          </a:p>
          <a:p>
            <a:pPr marL="302895">
              <a:lnSpc>
                <a:spcPct val="100000"/>
              </a:lnSpc>
              <a:spcBef>
                <a:spcPts val="1789"/>
              </a:spcBef>
            </a:pPr>
            <a:r>
              <a:rPr sz="1400" b="1" spc="-5">
                <a:solidFill>
                  <a:srgbClr val="FFFFFF"/>
                </a:solidFill>
                <a:latin typeface="Verdana"/>
                <a:cs typeface="Verdana"/>
              </a:rPr>
              <a:t>Wave</a:t>
            </a:r>
            <a:r>
              <a:rPr sz="1400" b="1" spc="-30">
                <a:solidFill>
                  <a:srgbClr val="FFFFFF"/>
                </a:solidFill>
                <a:latin typeface="Verdana"/>
                <a:cs typeface="Verdana"/>
              </a:rPr>
              <a:t> </a:t>
            </a:r>
            <a:r>
              <a:rPr sz="1400" b="1">
                <a:solidFill>
                  <a:srgbClr val="FFFFFF"/>
                </a:solidFill>
                <a:latin typeface="Verdana"/>
                <a:cs typeface="Verdana"/>
              </a:rPr>
              <a:t>1</a:t>
            </a:r>
            <a:endParaRPr sz="1400">
              <a:latin typeface="Verdana"/>
              <a:cs typeface="Verdana"/>
            </a:endParaRPr>
          </a:p>
          <a:p>
            <a:pPr marL="302895" marR="2068195">
              <a:lnSpc>
                <a:spcPts val="3850"/>
              </a:lnSpc>
              <a:spcBef>
                <a:spcPts val="405"/>
              </a:spcBef>
            </a:pPr>
            <a:r>
              <a:rPr sz="1400" b="1" spc="-5">
                <a:solidFill>
                  <a:srgbClr val="FFFFFF"/>
                </a:solidFill>
                <a:latin typeface="Verdana"/>
                <a:cs typeface="Verdana"/>
              </a:rPr>
              <a:t>Wave </a:t>
            </a:r>
            <a:r>
              <a:rPr sz="1400" b="1">
                <a:solidFill>
                  <a:srgbClr val="FFFFFF"/>
                </a:solidFill>
                <a:latin typeface="Verdana"/>
                <a:cs typeface="Verdana"/>
              </a:rPr>
              <a:t>2  </a:t>
            </a:r>
            <a:r>
              <a:rPr sz="1400" b="1" spc="-5">
                <a:solidFill>
                  <a:srgbClr val="FFFFFF"/>
                </a:solidFill>
                <a:latin typeface="Verdana"/>
                <a:cs typeface="Verdana"/>
              </a:rPr>
              <a:t>S</a:t>
            </a:r>
            <a:r>
              <a:rPr sz="1400" b="1" spc="-10">
                <a:solidFill>
                  <a:srgbClr val="FFFFFF"/>
                </a:solidFill>
                <a:latin typeface="Verdana"/>
                <a:cs typeface="Verdana"/>
              </a:rPr>
              <a:t>t</a:t>
            </a:r>
            <a:r>
              <a:rPr sz="1400" b="1" spc="-5">
                <a:solidFill>
                  <a:srgbClr val="FFFFFF"/>
                </a:solidFill>
                <a:latin typeface="Verdana"/>
                <a:cs typeface="Verdana"/>
              </a:rPr>
              <a:t>reams</a:t>
            </a:r>
            <a:endParaRPr sz="1400">
              <a:latin typeface="Verdana"/>
              <a:cs typeface="Verdana"/>
            </a:endParaRPr>
          </a:p>
          <a:p>
            <a:pPr>
              <a:lnSpc>
                <a:spcPct val="100000"/>
              </a:lnSpc>
              <a:spcBef>
                <a:spcPts val="10"/>
              </a:spcBef>
            </a:pPr>
            <a:endParaRPr sz="1650">
              <a:latin typeface="Times New Roman"/>
              <a:cs typeface="Times New Roman"/>
            </a:endParaRPr>
          </a:p>
          <a:p>
            <a:pPr marL="300990">
              <a:lnSpc>
                <a:spcPct val="100000"/>
              </a:lnSpc>
              <a:spcBef>
                <a:spcPts val="5"/>
              </a:spcBef>
            </a:pPr>
            <a:r>
              <a:rPr sz="1400" b="1">
                <a:solidFill>
                  <a:srgbClr val="FFFFFF"/>
                </a:solidFill>
                <a:latin typeface="Verdana"/>
                <a:cs typeface="Verdana"/>
              </a:rPr>
              <a:t>Overall</a:t>
            </a:r>
            <a:r>
              <a:rPr sz="1400" b="1" spc="-30">
                <a:solidFill>
                  <a:srgbClr val="FFFFFF"/>
                </a:solidFill>
                <a:latin typeface="Verdana"/>
                <a:cs typeface="Verdana"/>
              </a:rPr>
              <a:t> </a:t>
            </a:r>
            <a:r>
              <a:rPr sz="1400" b="1" spc="-5">
                <a:solidFill>
                  <a:srgbClr val="FFFFFF"/>
                </a:solidFill>
                <a:latin typeface="Verdana"/>
                <a:cs typeface="Verdana"/>
              </a:rPr>
              <a:t>Architecture</a:t>
            </a:r>
            <a:endParaRPr sz="1400">
              <a:latin typeface="Verdana"/>
              <a:cs typeface="Verdana"/>
            </a:endParaRPr>
          </a:p>
        </p:txBody>
      </p:sp>
      <p:sp>
        <p:nvSpPr>
          <p:cNvPr id="21" name="object 21"/>
          <p:cNvSpPr txBox="1"/>
          <p:nvPr/>
        </p:nvSpPr>
        <p:spPr>
          <a:xfrm>
            <a:off x="214680" y="6638097"/>
            <a:ext cx="194754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2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22" name="object 2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89</a:t>
            </a:fld>
            <a:endParaRPr/>
          </a:p>
        </p:txBody>
      </p:sp>
      <p:pic>
        <p:nvPicPr>
          <p:cNvPr id="23" name="Picture 22">
            <a:extLst>
              <a:ext uri="{FF2B5EF4-FFF2-40B4-BE49-F238E27FC236}">
                <a16:creationId xmlns:a16="http://schemas.microsoft.com/office/drawing/2014/main" id="{705528AB-B387-49EB-8E3E-D03B9A2C3D16}"/>
              </a:ext>
            </a:extLst>
          </p:cNvPr>
          <p:cNvPicPr>
            <a:picLocks noChangeAspect="1"/>
          </p:cNvPicPr>
          <p:nvPr/>
        </p:nvPicPr>
        <p:blipFill>
          <a:blip r:embed="rId7"/>
          <a:stretch>
            <a:fillRect/>
          </a:stretch>
        </p:blipFill>
        <p:spPr>
          <a:xfrm>
            <a:off x="6182098" y="1638300"/>
            <a:ext cx="5085977" cy="2809876"/>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 name="object 392"/>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393" name="object 393"/>
          <p:cNvSpPr txBox="1"/>
          <p:nvPr/>
        </p:nvSpPr>
        <p:spPr>
          <a:xfrm>
            <a:off x="9604629" y="6638097"/>
            <a:ext cx="229552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95">
                <a:solidFill>
                  <a:srgbClr val="12ABDB"/>
                </a:solidFill>
                <a:latin typeface="Verdana"/>
                <a:cs typeface="Verdana"/>
              </a:rPr>
              <a:t> </a:t>
            </a:r>
            <a:fld id="{81D60167-4931-47E6-BA6A-407CBD079E47}" type="slidenum">
              <a:rPr sz="800" dirty="0">
                <a:solidFill>
                  <a:srgbClr val="A6A6A6"/>
                </a:solidFill>
                <a:latin typeface="Verdana"/>
                <a:cs typeface="Verdana"/>
              </a:rPr>
              <a:t>9</a:t>
            </a:fld>
            <a:endParaRPr sz="800">
              <a:latin typeface="Verdana"/>
              <a:cs typeface="Verdana"/>
            </a:endParaRPr>
          </a:p>
        </p:txBody>
      </p:sp>
      <p:sp>
        <p:nvSpPr>
          <p:cNvPr id="396" name="object 2">
            <a:extLst>
              <a:ext uri="{FF2B5EF4-FFF2-40B4-BE49-F238E27FC236}">
                <a16:creationId xmlns:a16="http://schemas.microsoft.com/office/drawing/2014/main" id="{96CFD5D9-3872-4C29-9D5B-4D6D6395263A}"/>
              </a:ext>
            </a:extLst>
          </p:cNvPr>
          <p:cNvSpPr txBox="1">
            <a:spLocks/>
          </p:cNvSpPr>
          <p:nvPr/>
        </p:nvSpPr>
        <p:spPr>
          <a:xfrm>
            <a:off x="214679" y="318896"/>
            <a:ext cx="6593027" cy="412934"/>
          </a:xfrm>
          <a:prstGeom prst="rect">
            <a:avLst/>
          </a:prstGeom>
        </p:spPr>
        <p:txBody>
          <a:bodyPr vert="horz" wrap="square" lIns="0" tIns="12700" rIns="0" bIns="0" rtlCol="0">
            <a:spAutoFit/>
          </a:bodyPr>
          <a:lstStyle>
            <a:lvl1pPr>
              <a:defRPr sz="2400" b="0" i="0">
                <a:solidFill>
                  <a:srgbClr val="006FAC"/>
                </a:solidFill>
                <a:latin typeface="Verdana"/>
                <a:ea typeface="+mj-ea"/>
                <a:cs typeface="Verdana"/>
              </a:defRPr>
            </a:lvl1pPr>
          </a:lstStyle>
          <a:p>
            <a:pPr marL="12700">
              <a:spcBef>
                <a:spcPts val="100"/>
              </a:spcBef>
            </a:pPr>
            <a:r>
              <a:rPr lang="en-US" sz="2600" kern="0" spc="-5"/>
              <a:t>Summary </a:t>
            </a:r>
            <a:r>
              <a:rPr lang="en-US" sz="2600" kern="0"/>
              <a:t>of </a:t>
            </a:r>
            <a:r>
              <a:rPr lang="en-US" sz="2600" kern="0" spc="-5"/>
              <a:t>the project</a:t>
            </a:r>
            <a:r>
              <a:rPr lang="en-US" sz="2600" kern="0" spc="-65"/>
              <a:t> </a:t>
            </a:r>
            <a:r>
              <a:rPr lang="en-US" sz="2600" kern="0"/>
              <a:t>plan (2/2)</a:t>
            </a:r>
          </a:p>
        </p:txBody>
      </p:sp>
      <p:sp>
        <p:nvSpPr>
          <p:cNvPr id="397" name="Rectangle: Rounded Corners 212">
            <a:extLst>
              <a:ext uri="{FF2B5EF4-FFF2-40B4-BE49-F238E27FC236}">
                <a16:creationId xmlns:a16="http://schemas.microsoft.com/office/drawing/2014/main" id="{33AA6C17-97B7-4526-A7DF-52F3F2DE3F8A}"/>
              </a:ext>
            </a:extLst>
          </p:cNvPr>
          <p:cNvSpPr/>
          <p:nvPr/>
        </p:nvSpPr>
        <p:spPr>
          <a:xfrm>
            <a:off x="596766" y="2675733"/>
            <a:ext cx="5417954" cy="279092"/>
          </a:xfrm>
          <a:prstGeom prst="homePlat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5 weeks</a:t>
            </a:r>
          </a:p>
        </p:txBody>
      </p:sp>
      <p:sp>
        <p:nvSpPr>
          <p:cNvPr id="398" name="TextBox 397">
            <a:extLst>
              <a:ext uri="{FF2B5EF4-FFF2-40B4-BE49-F238E27FC236}">
                <a16:creationId xmlns:a16="http://schemas.microsoft.com/office/drawing/2014/main" id="{7EFA6227-2CA9-444D-9BD1-77ABCA8F7A7B}"/>
              </a:ext>
            </a:extLst>
          </p:cNvPr>
          <p:cNvSpPr txBox="1"/>
          <p:nvPr/>
        </p:nvSpPr>
        <p:spPr>
          <a:xfrm>
            <a:off x="1447856" y="2487052"/>
            <a:ext cx="4196080" cy="230832"/>
          </a:xfrm>
          <a:prstGeom prst="rect">
            <a:avLst/>
          </a:prstGeom>
          <a:noFill/>
        </p:spPr>
        <p:txBody>
          <a:bodyPr wrap="square" rtlCol="0">
            <a:spAutoFit/>
          </a:bodyPr>
          <a:lstStyle/>
          <a:p>
            <a:r>
              <a:rPr lang="nl-BE" sz="900"/>
              <a:t>Light work shops for 3 Bl’s/Solution desgin phase for 3 Bl’s</a:t>
            </a:r>
          </a:p>
        </p:txBody>
      </p:sp>
      <p:sp>
        <p:nvSpPr>
          <p:cNvPr id="399" name="Rectangle: Rounded Corners 222">
            <a:extLst>
              <a:ext uri="{FF2B5EF4-FFF2-40B4-BE49-F238E27FC236}">
                <a16:creationId xmlns:a16="http://schemas.microsoft.com/office/drawing/2014/main" id="{2E4ED5B3-B16A-4E5A-9667-4D7E2B7441A9}"/>
              </a:ext>
            </a:extLst>
          </p:cNvPr>
          <p:cNvSpPr/>
          <p:nvPr/>
        </p:nvSpPr>
        <p:spPr>
          <a:xfrm>
            <a:off x="596766" y="2160477"/>
            <a:ext cx="409074" cy="339201"/>
          </a:xfrm>
          <a:prstGeom prst="homePlate">
            <a:avLst>
              <a:gd name="adj" fmla="val 26535"/>
            </a:avLst>
          </a:prstGeom>
          <a:solidFill>
            <a:srgbClr val="0170A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 week</a:t>
            </a:r>
          </a:p>
        </p:txBody>
      </p:sp>
      <p:sp>
        <p:nvSpPr>
          <p:cNvPr id="400" name="Rectangle: Rounded Corners 217">
            <a:extLst>
              <a:ext uri="{FF2B5EF4-FFF2-40B4-BE49-F238E27FC236}">
                <a16:creationId xmlns:a16="http://schemas.microsoft.com/office/drawing/2014/main" id="{190F807B-F0A5-4F39-AE17-3DBDC4210A3A}"/>
              </a:ext>
            </a:extLst>
          </p:cNvPr>
          <p:cNvSpPr/>
          <p:nvPr/>
        </p:nvSpPr>
        <p:spPr>
          <a:xfrm>
            <a:off x="596766" y="3172103"/>
            <a:ext cx="1567314" cy="261655"/>
          </a:xfrm>
          <a:prstGeom prst="homePlat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4</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01" name="Rectangle 400">
            <a:extLst>
              <a:ext uri="{FF2B5EF4-FFF2-40B4-BE49-F238E27FC236}">
                <a16:creationId xmlns:a16="http://schemas.microsoft.com/office/drawing/2014/main" id="{D4DA0837-F0E9-43C8-9EF2-566617CEA85E}"/>
              </a:ext>
            </a:extLst>
          </p:cNvPr>
          <p:cNvSpPr/>
          <p:nvPr/>
        </p:nvSpPr>
        <p:spPr>
          <a:xfrm>
            <a:off x="536307" y="2954825"/>
            <a:ext cx="2619375" cy="230832"/>
          </a:xfrm>
          <a:prstGeom prst="rect">
            <a:avLst/>
          </a:prstGeom>
        </p:spPr>
        <p:txBody>
          <a:bodyPr wrap="square">
            <a:spAutoFit/>
          </a:bodyPr>
          <a:lstStyle/>
          <a:p>
            <a:r>
              <a:rPr lang="nl-BE" sz="900"/>
              <a:t>Discovery phase for platfrom optimzation </a:t>
            </a:r>
          </a:p>
        </p:txBody>
      </p:sp>
      <p:sp>
        <p:nvSpPr>
          <p:cNvPr id="402" name="Rectangle 401">
            <a:extLst>
              <a:ext uri="{FF2B5EF4-FFF2-40B4-BE49-F238E27FC236}">
                <a16:creationId xmlns:a16="http://schemas.microsoft.com/office/drawing/2014/main" id="{2AC28AA2-715A-4D46-8957-9207DFD9286D}"/>
              </a:ext>
            </a:extLst>
          </p:cNvPr>
          <p:cNvSpPr/>
          <p:nvPr/>
        </p:nvSpPr>
        <p:spPr>
          <a:xfrm>
            <a:off x="3027680" y="3281998"/>
            <a:ext cx="2357120" cy="369332"/>
          </a:xfrm>
          <a:prstGeom prst="rect">
            <a:avLst/>
          </a:prstGeom>
        </p:spPr>
        <p:txBody>
          <a:bodyPr wrap="square">
            <a:spAutoFit/>
          </a:bodyPr>
          <a:lstStyle/>
          <a:p>
            <a:r>
              <a:rPr lang="en-US" sz="900"/>
              <a:t>Platform Optimization build phase </a:t>
            </a:r>
            <a:endParaRPr lang="en-US" sz="900">
              <a:solidFill>
                <a:srgbClr val="000000"/>
              </a:solidFill>
              <a:latin typeface="Calibri" panose="020F0502020204030204" pitchFamily="34" charset="0"/>
            </a:endParaRPr>
          </a:p>
          <a:p>
            <a:endParaRPr lang="nl-BE" sz="900"/>
          </a:p>
        </p:txBody>
      </p:sp>
      <p:sp>
        <p:nvSpPr>
          <p:cNvPr id="403" name="Rectangle: Rounded Corners 212">
            <a:extLst>
              <a:ext uri="{FF2B5EF4-FFF2-40B4-BE49-F238E27FC236}">
                <a16:creationId xmlns:a16="http://schemas.microsoft.com/office/drawing/2014/main" id="{3866F1BE-A2DA-4B92-88F5-769E9FA51C50}"/>
              </a:ext>
            </a:extLst>
          </p:cNvPr>
          <p:cNvSpPr/>
          <p:nvPr/>
        </p:nvSpPr>
        <p:spPr>
          <a:xfrm>
            <a:off x="2164080" y="3535620"/>
            <a:ext cx="3850640" cy="261654"/>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14 weeks</a:t>
            </a:r>
          </a:p>
        </p:txBody>
      </p:sp>
      <p:sp>
        <p:nvSpPr>
          <p:cNvPr id="404" name="Rectangle: Rounded Corners 212">
            <a:extLst>
              <a:ext uri="{FF2B5EF4-FFF2-40B4-BE49-F238E27FC236}">
                <a16:creationId xmlns:a16="http://schemas.microsoft.com/office/drawing/2014/main" id="{A859CFB3-1F0E-4455-982C-48742AC3BB88}"/>
              </a:ext>
            </a:extLst>
          </p:cNvPr>
          <p:cNvSpPr/>
          <p:nvPr/>
        </p:nvSpPr>
        <p:spPr>
          <a:xfrm>
            <a:off x="6807200" y="3535620"/>
            <a:ext cx="792480" cy="261654"/>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Verdana"/>
              <a:ea typeface="+mn-ea"/>
              <a:cs typeface="+mn-cs"/>
            </a:endParaRPr>
          </a:p>
        </p:txBody>
      </p:sp>
      <p:sp>
        <p:nvSpPr>
          <p:cNvPr id="405" name="Rectangle: Rounded Corners 222">
            <a:extLst>
              <a:ext uri="{FF2B5EF4-FFF2-40B4-BE49-F238E27FC236}">
                <a16:creationId xmlns:a16="http://schemas.microsoft.com/office/drawing/2014/main" id="{DC1B50AE-20C9-4D34-B8B3-02A7853DF232}"/>
              </a:ext>
            </a:extLst>
          </p:cNvPr>
          <p:cNvSpPr/>
          <p:nvPr/>
        </p:nvSpPr>
        <p:spPr>
          <a:xfrm>
            <a:off x="7599679" y="3667215"/>
            <a:ext cx="3532835" cy="181365"/>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9</a:t>
            </a:r>
            <a:r>
              <a:rPr kumimoji="0" lang="en-US" sz="800" b="0" i="0" u="none" strike="noStrike" kern="1200" cap="none" spc="0" normalizeH="0" baseline="0" noProof="0">
                <a:ln>
                  <a:noFill/>
                </a:ln>
                <a:solidFill>
                  <a:srgbClr val="FFFFFF"/>
                </a:solidFill>
                <a:effectLst/>
                <a:uLnTx/>
                <a:uFillTx/>
                <a:latin typeface="Verdana"/>
                <a:ea typeface="+mn-ea"/>
                <a:cs typeface="+mn-cs"/>
              </a:rPr>
              <a:t> weeks </a:t>
            </a:r>
          </a:p>
        </p:txBody>
      </p:sp>
      <p:sp>
        <p:nvSpPr>
          <p:cNvPr id="406" name="Rectangle 405">
            <a:extLst>
              <a:ext uri="{FF2B5EF4-FFF2-40B4-BE49-F238E27FC236}">
                <a16:creationId xmlns:a16="http://schemas.microsoft.com/office/drawing/2014/main" id="{870BB23C-674B-40C0-920B-F8104A96B8D3}"/>
              </a:ext>
            </a:extLst>
          </p:cNvPr>
          <p:cNvSpPr/>
          <p:nvPr/>
        </p:nvSpPr>
        <p:spPr>
          <a:xfrm>
            <a:off x="8321040" y="3433758"/>
            <a:ext cx="2164080" cy="369332"/>
          </a:xfrm>
          <a:prstGeom prst="rect">
            <a:avLst/>
          </a:prstGeom>
        </p:spPr>
        <p:txBody>
          <a:bodyPr wrap="square">
            <a:spAutoFit/>
          </a:bodyPr>
          <a:lstStyle/>
          <a:p>
            <a:r>
              <a:rPr lang="en-US" sz="900"/>
              <a:t>3 BL’s build phase </a:t>
            </a:r>
            <a:endParaRPr lang="en-US" sz="900">
              <a:solidFill>
                <a:srgbClr val="000000"/>
              </a:solidFill>
              <a:latin typeface="Calibri" panose="020F0502020204030204" pitchFamily="34" charset="0"/>
            </a:endParaRPr>
          </a:p>
          <a:p>
            <a:endParaRPr lang="nl-BE" sz="900"/>
          </a:p>
        </p:txBody>
      </p:sp>
      <p:sp>
        <p:nvSpPr>
          <p:cNvPr id="407" name="Rectangle: Rounded Corners 222">
            <a:extLst>
              <a:ext uri="{FF2B5EF4-FFF2-40B4-BE49-F238E27FC236}">
                <a16:creationId xmlns:a16="http://schemas.microsoft.com/office/drawing/2014/main" id="{E8FB354D-DD1D-473E-B315-E51452523611}"/>
              </a:ext>
            </a:extLst>
          </p:cNvPr>
          <p:cNvSpPr/>
          <p:nvPr/>
        </p:nvSpPr>
        <p:spPr>
          <a:xfrm>
            <a:off x="11132515" y="3986298"/>
            <a:ext cx="1059485" cy="260899"/>
          </a:xfrm>
          <a:prstGeom prst="homePlate">
            <a:avLst/>
          </a:prstGeom>
          <a:solidFill>
            <a:srgbClr val="70A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08" name="Rectangle: Rounded Corners 222">
            <a:extLst>
              <a:ext uri="{FF2B5EF4-FFF2-40B4-BE49-F238E27FC236}">
                <a16:creationId xmlns:a16="http://schemas.microsoft.com/office/drawing/2014/main" id="{835FCBA8-B9CA-424D-AB11-C4258A55B559}"/>
              </a:ext>
            </a:extLst>
          </p:cNvPr>
          <p:cNvSpPr/>
          <p:nvPr/>
        </p:nvSpPr>
        <p:spPr>
          <a:xfrm>
            <a:off x="10411155" y="4384915"/>
            <a:ext cx="1059485" cy="260899"/>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09" name="Rectangle: Rounded Corners 222">
            <a:extLst>
              <a:ext uri="{FF2B5EF4-FFF2-40B4-BE49-F238E27FC236}">
                <a16:creationId xmlns:a16="http://schemas.microsoft.com/office/drawing/2014/main" id="{7F028718-F5B0-4F6D-AE02-418CECF4B6D4}"/>
              </a:ext>
            </a:extLst>
          </p:cNvPr>
          <p:cNvSpPr/>
          <p:nvPr/>
        </p:nvSpPr>
        <p:spPr>
          <a:xfrm>
            <a:off x="11144334" y="4834331"/>
            <a:ext cx="1059485" cy="449187"/>
          </a:xfrm>
          <a:prstGeom prst="homePlate">
            <a:avLst/>
          </a:prstGeom>
          <a:solidFill>
            <a:srgbClr val="00C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3</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10" name="Rectangle: Rounded Corners 225">
            <a:extLst>
              <a:ext uri="{FF2B5EF4-FFF2-40B4-BE49-F238E27FC236}">
                <a16:creationId xmlns:a16="http://schemas.microsoft.com/office/drawing/2014/main" id="{99D1E039-56B6-4DEC-88BA-521210EB1081}"/>
              </a:ext>
            </a:extLst>
          </p:cNvPr>
          <p:cNvSpPr/>
          <p:nvPr/>
        </p:nvSpPr>
        <p:spPr>
          <a:xfrm>
            <a:off x="2529841" y="5571805"/>
            <a:ext cx="3566160" cy="179073"/>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20 weeks</a:t>
            </a:r>
          </a:p>
        </p:txBody>
      </p:sp>
      <p:sp>
        <p:nvSpPr>
          <p:cNvPr id="411" name="Rectangle: Rounded Corners 225">
            <a:extLst>
              <a:ext uri="{FF2B5EF4-FFF2-40B4-BE49-F238E27FC236}">
                <a16:creationId xmlns:a16="http://schemas.microsoft.com/office/drawing/2014/main" id="{C86C8929-1F2A-4A48-95A5-DF0AABDCAE17}"/>
              </a:ext>
            </a:extLst>
          </p:cNvPr>
          <p:cNvSpPr/>
          <p:nvPr/>
        </p:nvSpPr>
        <p:spPr>
          <a:xfrm>
            <a:off x="5605715" y="4891319"/>
            <a:ext cx="3860800" cy="179073"/>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20 weeks</a:t>
            </a:r>
          </a:p>
        </p:txBody>
      </p:sp>
      <p:graphicFrame>
        <p:nvGraphicFramePr>
          <p:cNvPr id="412" name="Table 23">
            <a:extLst>
              <a:ext uri="{FF2B5EF4-FFF2-40B4-BE49-F238E27FC236}">
                <a16:creationId xmlns:a16="http://schemas.microsoft.com/office/drawing/2014/main" id="{93C14EEB-74CE-4EAF-9E9B-3223102A8BFF}"/>
              </a:ext>
            </a:extLst>
          </p:cNvPr>
          <p:cNvGraphicFramePr>
            <a:graphicFrameLocks noGrp="1"/>
          </p:cNvGraphicFramePr>
          <p:nvPr>
            <p:extLst>
              <p:ext uri="{D42A27DB-BD31-4B8C-83A1-F6EECF244321}">
                <p14:modId xmlns:p14="http://schemas.microsoft.com/office/powerpoint/2010/main" val="1685544393"/>
              </p:ext>
            </p:extLst>
          </p:nvPr>
        </p:nvGraphicFramePr>
        <p:xfrm>
          <a:off x="227348" y="1281686"/>
          <a:ext cx="11964651" cy="4933063"/>
        </p:xfrm>
        <a:graphic>
          <a:graphicData uri="http://schemas.openxmlformats.org/drawingml/2006/table">
            <a:tbl>
              <a:tblPr firstRow="1" bandRow="1">
                <a:tableStyleId>{5C22544A-7EE6-4342-B048-85BDC9FD1C3A}</a:tableStyleId>
              </a:tblPr>
              <a:tblGrid>
                <a:gridCol w="3519015">
                  <a:extLst>
                    <a:ext uri="{9D8B030D-6E8A-4147-A177-3AD203B41FA5}">
                      <a16:colId xmlns:a16="http://schemas.microsoft.com/office/drawing/2014/main" val="2058319549"/>
                    </a:ext>
                  </a:extLst>
                </a:gridCol>
                <a:gridCol w="703803">
                  <a:extLst>
                    <a:ext uri="{9D8B030D-6E8A-4147-A177-3AD203B41FA5}">
                      <a16:colId xmlns:a16="http://schemas.microsoft.com/office/drawing/2014/main" val="2467215531"/>
                    </a:ext>
                  </a:extLst>
                </a:gridCol>
                <a:gridCol w="703803">
                  <a:extLst>
                    <a:ext uri="{9D8B030D-6E8A-4147-A177-3AD203B41FA5}">
                      <a16:colId xmlns:a16="http://schemas.microsoft.com/office/drawing/2014/main" val="3102627647"/>
                    </a:ext>
                  </a:extLst>
                </a:gridCol>
                <a:gridCol w="703803">
                  <a:extLst>
                    <a:ext uri="{9D8B030D-6E8A-4147-A177-3AD203B41FA5}">
                      <a16:colId xmlns:a16="http://schemas.microsoft.com/office/drawing/2014/main" val="2133483002"/>
                    </a:ext>
                  </a:extLst>
                </a:gridCol>
                <a:gridCol w="703803">
                  <a:extLst>
                    <a:ext uri="{9D8B030D-6E8A-4147-A177-3AD203B41FA5}">
                      <a16:colId xmlns:a16="http://schemas.microsoft.com/office/drawing/2014/main" val="2389248"/>
                    </a:ext>
                  </a:extLst>
                </a:gridCol>
                <a:gridCol w="703803">
                  <a:extLst>
                    <a:ext uri="{9D8B030D-6E8A-4147-A177-3AD203B41FA5}">
                      <a16:colId xmlns:a16="http://schemas.microsoft.com/office/drawing/2014/main" val="1537544387"/>
                    </a:ext>
                  </a:extLst>
                </a:gridCol>
                <a:gridCol w="703803">
                  <a:extLst>
                    <a:ext uri="{9D8B030D-6E8A-4147-A177-3AD203B41FA5}">
                      <a16:colId xmlns:a16="http://schemas.microsoft.com/office/drawing/2014/main" val="3169443578"/>
                    </a:ext>
                  </a:extLst>
                </a:gridCol>
                <a:gridCol w="703803">
                  <a:extLst>
                    <a:ext uri="{9D8B030D-6E8A-4147-A177-3AD203B41FA5}">
                      <a16:colId xmlns:a16="http://schemas.microsoft.com/office/drawing/2014/main" val="1659952536"/>
                    </a:ext>
                  </a:extLst>
                </a:gridCol>
                <a:gridCol w="703803">
                  <a:extLst>
                    <a:ext uri="{9D8B030D-6E8A-4147-A177-3AD203B41FA5}">
                      <a16:colId xmlns:a16="http://schemas.microsoft.com/office/drawing/2014/main" val="87924735"/>
                    </a:ext>
                  </a:extLst>
                </a:gridCol>
                <a:gridCol w="703803">
                  <a:extLst>
                    <a:ext uri="{9D8B030D-6E8A-4147-A177-3AD203B41FA5}">
                      <a16:colId xmlns:a16="http://schemas.microsoft.com/office/drawing/2014/main" val="460079320"/>
                    </a:ext>
                  </a:extLst>
                </a:gridCol>
                <a:gridCol w="703803">
                  <a:extLst>
                    <a:ext uri="{9D8B030D-6E8A-4147-A177-3AD203B41FA5}">
                      <a16:colId xmlns:a16="http://schemas.microsoft.com/office/drawing/2014/main" val="3406486822"/>
                    </a:ext>
                  </a:extLst>
                </a:gridCol>
                <a:gridCol w="703803">
                  <a:extLst>
                    <a:ext uri="{9D8B030D-6E8A-4147-A177-3AD203B41FA5}">
                      <a16:colId xmlns:a16="http://schemas.microsoft.com/office/drawing/2014/main" val="2553443513"/>
                    </a:ext>
                  </a:extLst>
                </a:gridCol>
                <a:gridCol w="703803">
                  <a:extLst>
                    <a:ext uri="{9D8B030D-6E8A-4147-A177-3AD203B41FA5}">
                      <a16:colId xmlns:a16="http://schemas.microsoft.com/office/drawing/2014/main" val="1574556157"/>
                    </a:ext>
                  </a:extLst>
                </a:gridCol>
              </a:tblGrid>
              <a:tr h="355244">
                <a:tc>
                  <a:txBody>
                    <a:bodyPr/>
                    <a:lstStyle/>
                    <a:p>
                      <a:r>
                        <a:rPr lang="it-IT" sz="1300"/>
                        <a:t>Phase</a:t>
                      </a:r>
                    </a:p>
                  </a:txBody>
                  <a:tcPr/>
                </a:tc>
                <a:tc>
                  <a:txBody>
                    <a:bodyPr/>
                    <a:lstStyle/>
                    <a:p>
                      <a:pPr algn="ctr"/>
                      <a:r>
                        <a:rPr lang="it-IT" sz="1200"/>
                        <a:t>M1</a:t>
                      </a:r>
                    </a:p>
                  </a:txBody>
                  <a:tcPr/>
                </a:tc>
                <a:tc>
                  <a:txBody>
                    <a:bodyPr/>
                    <a:lstStyle/>
                    <a:p>
                      <a:pPr algn="ctr"/>
                      <a:r>
                        <a:rPr lang="it-IT" sz="1200"/>
                        <a:t>M2</a:t>
                      </a:r>
                    </a:p>
                  </a:txBody>
                  <a:tcPr/>
                </a:tc>
                <a:tc>
                  <a:txBody>
                    <a:bodyPr/>
                    <a:lstStyle/>
                    <a:p>
                      <a:pPr algn="ctr"/>
                      <a:r>
                        <a:rPr lang="it-IT" sz="1200"/>
                        <a:t>M3</a:t>
                      </a:r>
                    </a:p>
                  </a:txBody>
                  <a:tcPr/>
                </a:tc>
                <a:tc>
                  <a:txBody>
                    <a:bodyPr/>
                    <a:lstStyle/>
                    <a:p>
                      <a:pPr algn="ctr"/>
                      <a:r>
                        <a:rPr lang="it-IT" sz="1200"/>
                        <a:t>M4</a:t>
                      </a:r>
                    </a:p>
                  </a:txBody>
                  <a:tcPr/>
                </a:tc>
                <a:tc>
                  <a:txBody>
                    <a:bodyPr/>
                    <a:lstStyle/>
                    <a:p>
                      <a:pPr algn="ctr"/>
                      <a:r>
                        <a:rPr lang="it-IT" sz="1200"/>
                        <a:t>M5</a:t>
                      </a:r>
                    </a:p>
                  </a:txBody>
                  <a:tcPr/>
                </a:tc>
                <a:tc>
                  <a:txBody>
                    <a:bodyPr/>
                    <a:lstStyle/>
                    <a:p>
                      <a:pPr algn="ctr"/>
                      <a:r>
                        <a:rPr lang="it-IT" sz="1200"/>
                        <a:t>M6</a:t>
                      </a:r>
                    </a:p>
                  </a:txBody>
                  <a:tcPr/>
                </a:tc>
                <a:tc>
                  <a:txBody>
                    <a:bodyPr/>
                    <a:lstStyle/>
                    <a:p>
                      <a:pPr algn="ctr"/>
                      <a:r>
                        <a:rPr lang="it-IT" sz="1200"/>
                        <a:t>M7</a:t>
                      </a:r>
                    </a:p>
                  </a:txBody>
                  <a:tcPr/>
                </a:tc>
                <a:tc>
                  <a:txBody>
                    <a:bodyPr/>
                    <a:lstStyle/>
                    <a:p>
                      <a:pPr algn="ctr"/>
                      <a:r>
                        <a:rPr lang="it-IT" sz="1200"/>
                        <a:t>M8</a:t>
                      </a:r>
                    </a:p>
                  </a:txBody>
                  <a:tcPr/>
                </a:tc>
                <a:tc>
                  <a:txBody>
                    <a:bodyPr/>
                    <a:lstStyle/>
                    <a:p>
                      <a:pPr algn="ctr"/>
                      <a:r>
                        <a:rPr lang="it-IT" sz="1200"/>
                        <a:t>M9</a:t>
                      </a:r>
                    </a:p>
                  </a:txBody>
                  <a:tcPr/>
                </a:tc>
                <a:tc>
                  <a:txBody>
                    <a:bodyPr/>
                    <a:lstStyle/>
                    <a:p>
                      <a:pPr algn="ctr"/>
                      <a:r>
                        <a:rPr lang="it-IT" sz="1200"/>
                        <a:t>M10</a:t>
                      </a:r>
                    </a:p>
                  </a:txBody>
                  <a:tcPr/>
                </a:tc>
                <a:tc>
                  <a:txBody>
                    <a:bodyPr/>
                    <a:lstStyle/>
                    <a:p>
                      <a:pPr algn="ctr"/>
                      <a:r>
                        <a:rPr lang="it-IT" sz="1200"/>
                        <a:t>M11</a:t>
                      </a:r>
                    </a:p>
                  </a:txBody>
                  <a:tcPr/>
                </a:tc>
                <a:tc>
                  <a:txBody>
                    <a:bodyPr/>
                    <a:lstStyle/>
                    <a:p>
                      <a:pPr algn="ctr"/>
                      <a:r>
                        <a:rPr lang="it-IT" sz="1200"/>
                        <a:t>M12</a:t>
                      </a:r>
                    </a:p>
                  </a:txBody>
                  <a:tcPr/>
                </a:tc>
                <a:extLst>
                  <a:ext uri="{0D108BD9-81ED-4DB2-BD59-A6C34878D82A}">
                    <a16:rowId xmlns:a16="http://schemas.microsoft.com/office/drawing/2014/main" val="4179442656"/>
                  </a:ext>
                </a:extLst>
              </a:tr>
              <a:tr h="355244">
                <a:tc>
                  <a:txBody>
                    <a:bodyPr/>
                    <a:lstStyle/>
                    <a:p>
                      <a:r>
                        <a:rPr lang="it-IT" sz="1300" b="1"/>
                        <a:t>Pre Gam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257929853"/>
                  </a:ext>
                </a:extLst>
              </a:tr>
              <a:tr h="355244">
                <a:tc>
                  <a:txBody>
                    <a:bodyPr/>
                    <a:lstStyle/>
                    <a:p>
                      <a:pPr algn="r"/>
                      <a:r>
                        <a:rPr lang="it-IT" sz="1300" i="1"/>
                        <a:t>Scoping &amp; Design</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193094994"/>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b="0" i="1"/>
                        <a:t>Data Migration </a:t>
                      </a:r>
                      <a:r>
                        <a:rPr lang="it-IT" sz="1300" b="0" i="1" err="1"/>
                        <a:t>Strategy</a:t>
                      </a:r>
                      <a:r>
                        <a:rPr lang="it-IT" sz="1300" b="0" i="1"/>
                        <a:t> Definition</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35115718"/>
                  </a:ext>
                </a:extLst>
              </a:tr>
              <a:tr h="355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b="1"/>
                        <a:t>Developmen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114295306"/>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i="1" err="1"/>
                        <a:t>Build</a:t>
                      </a:r>
                      <a:r>
                        <a:rPr lang="it-IT" sz="1300" i="1"/>
                        <a:t> Sprint (3 BU </a:t>
                      </a:r>
                      <a:r>
                        <a:rPr lang="it-IT" sz="1300" i="1" err="1"/>
                        <a:t>Rollout</a:t>
                      </a:r>
                      <a:r>
                        <a:rPr lang="it-IT" sz="1300" i="1"/>
                        <a: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802072026"/>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i="1" err="1"/>
                        <a:t>Adjust</a:t>
                      </a:r>
                      <a:r>
                        <a:rPr lang="it-IT" sz="1300" i="1"/>
                        <a:t> Data Migration Procedur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975907233"/>
                  </a:ext>
                </a:extLst>
              </a:tr>
              <a:tr h="355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300" b="1" err="1"/>
                        <a:t>Closure</a:t>
                      </a:r>
                      <a:endParaRPr lang="it-IT" sz="1300" b="1"/>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640433066"/>
                  </a:ext>
                </a:extLst>
              </a:tr>
              <a:tr h="3552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t-IT" sz="1300" b="0" i="1"/>
                        <a:t>System Integration Test</a:t>
                      </a:r>
                    </a:p>
                    <a:p>
                      <a:pPr algn="r"/>
                      <a:endParaRPr lang="it-IT" sz="1300" i="1"/>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285399689"/>
                  </a:ext>
                </a:extLst>
              </a:tr>
              <a:tr h="355244">
                <a:tc>
                  <a:txBody>
                    <a:bodyPr/>
                    <a:lstStyle/>
                    <a:p>
                      <a:pPr algn="r"/>
                      <a:r>
                        <a:rPr lang="it-IT" sz="1300" b="0" i="1"/>
                        <a:t>User </a:t>
                      </a:r>
                      <a:r>
                        <a:rPr lang="it-IT" sz="1300" b="0" i="1" err="1"/>
                        <a:t>Acceptance</a:t>
                      </a:r>
                      <a:r>
                        <a:rPr lang="it-IT" sz="1300" b="0" i="1"/>
                        <a:t> Tes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23002114"/>
                  </a:ext>
                </a:extLst>
              </a:tr>
              <a:tr h="355244">
                <a:tc>
                  <a:txBody>
                    <a:bodyPr/>
                    <a:lstStyle/>
                    <a:p>
                      <a:pPr algn="r"/>
                      <a:r>
                        <a:rPr lang="it-IT" sz="1300" i="1"/>
                        <a:t>Train the Trainer</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727101672"/>
                  </a:ext>
                </a:extLst>
              </a:tr>
              <a:tr h="355244">
                <a:tc>
                  <a:txBody>
                    <a:bodyPr/>
                    <a:lstStyle/>
                    <a:p>
                      <a:pPr algn="r"/>
                      <a:r>
                        <a:rPr lang="it-IT" sz="1300" i="1" err="1"/>
                        <a:t>Cutover</a:t>
                      </a:r>
                      <a:r>
                        <a:rPr lang="it-IT" sz="1300" i="1"/>
                        <a:t> &amp; Go-Live</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3396230489"/>
                  </a:ext>
                </a:extLst>
              </a:tr>
              <a:tr h="432539">
                <a:tc>
                  <a:txBody>
                    <a:bodyPr/>
                    <a:lstStyle/>
                    <a:p>
                      <a:pPr algn="r"/>
                      <a:r>
                        <a:rPr lang="it-IT" sz="1300" i="1"/>
                        <a:t>Post Go Live Support</a:t>
                      </a:r>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tc>
                  <a:txBody>
                    <a:bodyPr/>
                    <a:lstStyle/>
                    <a:p>
                      <a:endParaRPr lang="it-IT"/>
                    </a:p>
                  </a:txBody>
                  <a:tcPr/>
                </a:tc>
                <a:extLst>
                  <a:ext uri="{0D108BD9-81ED-4DB2-BD59-A6C34878D82A}">
                    <a16:rowId xmlns:a16="http://schemas.microsoft.com/office/drawing/2014/main" val="1506471454"/>
                  </a:ext>
                </a:extLst>
              </a:tr>
            </a:tbl>
          </a:graphicData>
        </a:graphic>
      </p:graphicFrame>
      <p:sp>
        <p:nvSpPr>
          <p:cNvPr id="413" name="Rectangle: Rounded Corners 217">
            <a:extLst>
              <a:ext uri="{FF2B5EF4-FFF2-40B4-BE49-F238E27FC236}">
                <a16:creationId xmlns:a16="http://schemas.microsoft.com/office/drawing/2014/main" id="{CF4C7EA5-C2ED-4521-8BE2-23D582C8401E}"/>
              </a:ext>
            </a:extLst>
          </p:cNvPr>
          <p:cNvSpPr/>
          <p:nvPr/>
        </p:nvSpPr>
        <p:spPr>
          <a:xfrm>
            <a:off x="3795190" y="2078611"/>
            <a:ext cx="970411" cy="216000"/>
          </a:xfrm>
          <a:prstGeom prst="homePlate">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FFFFFF"/>
                </a:solidFill>
                <a:latin typeface="Verdana"/>
              </a:rPr>
              <a:t>6 weeks</a:t>
            </a:r>
          </a:p>
        </p:txBody>
      </p:sp>
      <p:sp>
        <p:nvSpPr>
          <p:cNvPr id="414" name="Rectangle 413">
            <a:extLst>
              <a:ext uri="{FF2B5EF4-FFF2-40B4-BE49-F238E27FC236}">
                <a16:creationId xmlns:a16="http://schemas.microsoft.com/office/drawing/2014/main" id="{8C0EBE60-3EA6-4AC3-AD93-C4787A67F4BC}"/>
              </a:ext>
            </a:extLst>
          </p:cNvPr>
          <p:cNvSpPr/>
          <p:nvPr/>
        </p:nvSpPr>
        <p:spPr>
          <a:xfrm>
            <a:off x="3746577" y="1661401"/>
            <a:ext cx="1044497" cy="199931"/>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a:p>
        </p:txBody>
      </p:sp>
      <p:sp>
        <p:nvSpPr>
          <p:cNvPr id="415" name="TextBox 414">
            <a:extLst>
              <a:ext uri="{FF2B5EF4-FFF2-40B4-BE49-F238E27FC236}">
                <a16:creationId xmlns:a16="http://schemas.microsoft.com/office/drawing/2014/main" id="{2FDACF6F-C6D3-4A70-A39E-75C1C0611C37}"/>
              </a:ext>
            </a:extLst>
          </p:cNvPr>
          <p:cNvSpPr txBox="1"/>
          <p:nvPr/>
        </p:nvSpPr>
        <p:spPr>
          <a:xfrm>
            <a:off x="4766404" y="2061302"/>
            <a:ext cx="4196080" cy="230832"/>
          </a:xfrm>
          <a:prstGeom prst="rect">
            <a:avLst/>
          </a:prstGeom>
          <a:noFill/>
        </p:spPr>
        <p:txBody>
          <a:bodyPr wrap="square" rtlCol="0">
            <a:spAutoFit/>
          </a:bodyPr>
          <a:lstStyle/>
          <a:p>
            <a:r>
              <a:rPr lang="nl-BE" sz="900"/>
              <a:t>Light work shops for 4 Bl’s/Solution desgin phase for 4 Bl’s</a:t>
            </a:r>
          </a:p>
        </p:txBody>
      </p:sp>
      <p:sp>
        <p:nvSpPr>
          <p:cNvPr id="416" name="Rectangle 415">
            <a:extLst>
              <a:ext uri="{FF2B5EF4-FFF2-40B4-BE49-F238E27FC236}">
                <a16:creationId xmlns:a16="http://schemas.microsoft.com/office/drawing/2014/main" id="{365A67E0-F266-41C1-8FB5-3250CA307438}"/>
              </a:ext>
            </a:extLst>
          </p:cNvPr>
          <p:cNvSpPr/>
          <p:nvPr/>
        </p:nvSpPr>
        <p:spPr>
          <a:xfrm>
            <a:off x="4836940" y="2751658"/>
            <a:ext cx="1908000" cy="244856"/>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7" name="Rectangle: Rounded Corners 212">
            <a:extLst>
              <a:ext uri="{FF2B5EF4-FFF2-40B4-BE49-F238E27FC236}">
                <a16:creationId xmlns:a16="http://schemas.microsoft.com/office/drawing/2014/main" id="{991EA214-16D5-434E-8892-69D70D0E4C37}"/>
              </a:ext>
            </a:extLst>
          </p:cNvPr>
          <p:cNvSpPr/>
          <p:nvPr/>
        </p:nvSpPr>
        <p:spPr>
          <a:xfrm>
            <a:off x="4836939" y="3167560"/>
            <a:ext cx="1908000" cy="243322"/>
          </a:xfrm>
          <a:prstGeom prst="homePlate">
            <a:avLst/>
          </a:prstGeom>
          <a:solidFill>
            <a:srgbClr val="642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12</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18" name="Rectangle 417">
            <a:extLst>
              <a:ext uri="{FF2B5EF4-FFF2-40B4-BE49-F238E27FC236}">
                <a16:creationId xmlns:a16="http://schemas.microsoft.com/office/drawing/2014/main" id="{BEEAEF19-A837-4A71-9CBD-E797D4788FD8}"/>
              </a:ext>
            </a:extLst>
          </p:cNvPr>
          <p:cNvSpPr/>
          <p:nvPr/>
        </p:nvSpPr>
        <p:spPr>
          <a:xfrm>
            <a:off x="8991047" y="2723560"/>
            <a:ext cx="1418814" cy="52642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a:solidFill>
                  <a:schemeClr val="tx1"/>
                </a:solidFill>
              </a:rPr>
              <a:t>3-week </a:t>
            </a:r>
            <a:r>
              <a:rPr lang="it-IT" sz="1400" err="1">
                <a:solidFill>
                  <a:schemeClr val="tx1"/>
                </a:solidFill>
              </a:rPr>
              <a:t>Sprints</a:t>
            </a:r>
            <a:endParaRPr lang="it-IT" sz="1400">
              <a:solidFill>
                <a:schemeClr val="tx1"/>
              </a:solidFill>
            </a:endParaRPr>
          </a:p>
        </p:txBody>
      </p:sp>
      <p:sp>
        <p:nvSpPr>
          <p:cNvPr id="419" name="Rectangle: Rounded Corners 225">
            <a:extLst>
              <a:ext uri="{FF2B5EF4-FFF2-40B4-BE49-F238E27FC236}">
                <a16:creationId xmlns:a16="http://schemas.microsoft.com/office/drawing/2014/main" id="{CA092E07-059D-4F95-A46A-C46D79BBAABA}"/>
              </a:ext>
            </a:extLst>
          </p:cNvPr>
          <p:cNvSpPr/>
          <p:nvPr/>
        </p:nvSpPr>
        <p:spPr>
          <a:xfrm>
            <a:off x="3916377" y="2436380"/>
            <a:ext cx="759252" cy="230832"/>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4</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0" name="Rectangle: Rounded Corners 222">
            <a:extLst>
              <a:ext uri="{FF2B5EF4-FFF2-40B4-BE49-F238E27FC236}">
                <a16:creationId xmlns:a16="http://schemas.microsoft.com/office/drawing/2014/main" id="{E0ACF23A-5FC5-4096-8814-7498873894BF}"/>
              </a:ext>
            </a:extLst>
          </p:cNvPr>
          <p:cNvSpPr/>
          <p:nvPr/>
        </p:nvSpPr>
        <p:spPr>
          <a:xfrm>
            <a:off x="6738579" y="4265983"/>
            <a:ext cx="540000" cy="216000"/>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FFFFFF"/>
                </a:solidFill>
                <a:latin typeface="Verdana"/>
              </a:rPr>
              <a:t>3</a:t>
            </a:r>
            <a:r>
              <a:rPr kumimoji="0" lang="en-US"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1" name="Rectangle: Rounded Corners 222">
            <a:extLst>
              <a:ext uri="{FF2B5EF4-FFF2-40B4-BE49-F238E27FC236}">
                <a16:creationId xmlns:a16="http://schemas.microsoft.com/office/drawing/2014/main" id="{96056EDE-CE3B-41DD-99EB-521115FA2E41}"/>
              </a:ext>
            </a:extLst>
          </p:cNvPr>
          <p:cNvSpPr/>
          <p:nvPr/>
        </p:nvSpPr>
        <p:spPr>
          <a:xfrm>
            <a:off x="7199455" y="4660757"/>
            <a:ext cx="540000" cy="216000"/>
          </a:xfrm>
          <a:prstGeom prst="homePlate">
            <a:avLst/>
          </a:pr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FFFFFF"/>
                </a:solidFill>
                <a:latin typeface="Verdana"/>
              </a:rPr>
              <a:t>3</a:t>
            </a:r>
            <a:r>
              <a:rPr kumimoji="0" lang="en-US"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2" name="Rectangle: Rounded Corners 222">
            <a:extLst>
              <a:ext uri="{FF2B5EF4-FFF2-40B4-BE49-F238E27FC236}">
                <a16:creationId xmlns:a16="http://schemas.microsoft.com/office/drawing/2014/main" id="{232A4E9A-6BC6-480F-85EE-E4531F44374B}"/>
              </a:ext>
            </a:extLst>
          </p:cNvPr>
          <p:cNvSpPr/>
          <p:nvPr/>
        </p:nvSpPr>
        <p:spPr>
          <a:xfrm>
            <a:off x="7560167" y="5022144"/>
            <a:ext cx="540000" cy="216000"/>
          </a:xfrm>
          <a:prstGeom prst="homePlate">
            <a:avLst/>
          </a:prstGeom>
          <a:solidFill>
            <a:srgbClr val="70A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FFFFFF"/>
                </a:solidFill>
                <a:latin typeface="Verdana"/>
              </a:rPr>
              <a:t>3</a:t>
            </a:r>
            <a:r>
              <a:rPr kumimoji="0" lang="en-US"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3" name="Rectangle: Rounded Corners 222">
            <a:extLst>
              <a:ext uri="{FF2B5EF4-FFF2-40B4-BE49-F238E27FC236}">
                <a16:creationId xmlns:a16="http://schemas.microsoft.com/office/drawing/2014/main" id="{EBF18AF2-7E2F-4277-94D0-6B18AC7FA8A5}"/>
              </a:ext>
            </a:extLst>
          </p:cNvPr>
          <p:cNvSpPr/>
          <p:nvPr/>
        </p:nvSpPr>
        <p:spPr>
          <a:xfrm>
            <a:off x="8062982" y="5461758"/>
            <a:ext cx="540000" cy="216000"/>
          </a:xfrm>
          <a:prstGeom prst="homePlate">
            <a:avLst/>
          </a:prstGeom>
          <a:solidFill>
            <a:srgbClr val="00C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FFFFFF"/>
                </a:solidFill>
                <a:latin typeface="Verdana"/>
              </a:rPr>
              <a:t>3</a:t>
            </a:r>
            <a:r>
              <a:rPr kumimoji="0" lang="en-US" sz="7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4" name="Rectangle: Rounded Corners 217">
            <a:extLst>
              <a:ext uri="{FF2B5EF4-FFF2-40B4-BE49-F238E27FC236}">
                <a16:creationId xmlns:a16="http://schemas.microsoft.com/office/drawing/2014/main" id="{A2781414-132B-4120-B3F2-81C53266538D}"/>
              </a:ext>
            </a:extLst>
          </p:cNvPr>
          <p:cNvSpPr/>
          <p:nvPr/>
        </p:nvSpPr>
        <p:spPr>
          <a:xfrm>
            <a:off x="7942856" y="5829514"/>
            <a:ext cx="693554" cy="216000"/>
          </a:xfrm>
          <a:prstGeom prst="homePlate">
            <a:avLst>
              <a:gd name="adj" fmla="val 500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Verdana"/>
              </a:rPr>
              <a:t>4</a:t>
            </a:r>
            <a:r>
              <a:rPr kumimoji="0" lang="en-US" sz="800" b="0" i="0" u="none" strike="noStrike" kern="1200" cap="none" spc="0" normalizeH="0" baseline="0" noProof="0">
                <a:ln>
                  <a:noFill/>
                </a:ln>
                <a:solidFill>
                  <a:srgbClr val="FFFFFF"/>
                </a:solidFill>
                <a:effectLst/>
                <a:uLnTx/>
                <a:uFillTx/>
                <a:latin typeface="Verdana"/>
                <a:ea typeface="+mn-ea"/>
                <a:cs typeface="+mn-cs"/>
              </a:rPr>
              <a:t> weeks</a:t>
            </a:r>
          </a:p>
        </p:txBody>
      </p:sp>
      <p:sp>
        <p:nvSpPr>
          <p:cNvPr id="425" name="Star: 5 Points 424">
            <a:extLst>
              <a:ext uri="{FF2B5EF4-FFF2-40B4-BE49-F238E27FC236}">
                <a16:creationId xmlns:a16="http://schemas.microsoft.com/office/drawing/2014/main" id="{AEE93C97-11F9-4972-9EAB-A51D6A741F07}"/>
              </a:ext>
            </a:extLst>
          </p:cNvPr>
          <p:cNvSpPr/>
          <p:nvPr/>
        </p:nvSpPr>
        <p:spPr>
          <a:xfrm>
            <a:off x="7825937" y="5457694"/>
            <a:ext cx="342634" cy="216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426" name="Straight Connector 425">
            <a:extLst>
              <a:ext uri="{FF2B5EF4-FFF2-40B4-BE49-F238E27FC236}">
                <a16:creationId xmlns:a16="http://schemas.microsoft.com/office/drawing/2014/main" id="{AE63AC59-A3E7-484B-A5E3-92278E95BE7D}"/>
              </a:ext>
            </a:extLst>
          </p:cNvPr>
          <p:cNvCxnSpPr>
            <a:cxnSpLocks/>
            <a:endCxn id="417" idx="3"/>
          </p:cNvCxnSpPr>
          <p:nvPr/>
        </p:nvCxnSpPr>
        <p:spPr>
          <a:xfrm flipH="1">
            <a:off x="6744939" y="2985132"/>
            <a:ext cx="2234290" cy="304089"/>
          </a:xfrm>
          <a:prstGeom prst="line">
            <a:avLst/>
          </a:prstGeom>
        </p:spPr>
        <p:style>
          <a:lnRef idx="1">
            <a:schemeClr val="accent1"/>
          </a:lnRef>
          <a:fillRef idx="0">
            <a:schemeClr val="accent1"/>
          </a:fillRef>
          <a:effectRef idx="0">
            <a:schemeClr val="accent1"/>
          </a:effectRef>
          <a:fontRef idx="minor">
            <a:schemeClr val="tx1"/>
          </a:fontRef>
        </p:style>
      </p:cxnSp>
      <p:sp>
        <p:nvSpPr>
          <p:cNvPr id="427" name="Rectangle: Rounded Corners 225">
            <a:extLst>
              <a:ext uri="{FF2B5EF4-FFF2-40B4-BE49-F238E27FC236}">
                <a16:creationId xmlns:a16="http://schemas.microsoft.com/office/drawing/2014/main" id="{0356FC1A-6972-4AEB-A566-C70A70B7A4E2}"/>
              </a:ext>
            </a:extLst>
          </p:cNvPr>
          <p:cNvSpPr/>
          <p:nvPr/>
        </p:nvSpPr>
        <p:spPr>
          <a:xfrm>
            <a:off x="5780942" y="3535620"/>
            <a:ext cx="759252" cy="230832"/>
          </a:xfrm>
          <a:prstGeom prst="homePlat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mn-cs"/>
              </a:rPr>
              <a:t>6 weeks</a:t>
            </a:r>
          </a:p>
        </p:txBody>
      </p:sp>
      <p:sp>
        <p:nvSpPr>
          <p:cNvPr id="428" name="Rectangle 427">
            <a:extLst>
              <a:ext uri="{FF2B5EF4-FFF2-40B4-BE49-F238E27FC236}">
                <a16:creationId xmlns:a16="http://schemas.microsoft.com/office/drawing/2014/main" id="{F750EABF-1E08-4F79-A7F2-5CEF5DB7E297}"/>
              </a:ext>
            </a:extLst>
          </p:cNvPr>
          <p:cNvSpPr/>
          <p:nvPr/>
        </p:nvSpPr>
        <p:spPr>
          <a:xfrm>
            <a:off x="6731893" y="3907603"/>
            <a:ext cx="1188000" cy="199931"/>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a:p>
        </p:txBody>
      </p:sp>
      <p:sp>
        <p:nvSpPr>
          <p:cNvPr id="429" name="TextBox 428">
            <a:extLst>
              <a:ext uri="{FF2B5EF4-FFF2-40B4-BE49-F238E27FC236}">
                <a16:creationId xmlns:a16="http://schemas.microsoft.com/office/drawing/2014/main" id="{2A14429D-91CD-4878-9668-9481C98B83AF}"/>
              </a:ext>
            </a:extLst>
          </p:cNvPr>
          <p:cNvSpPr txBox="1"/>
          <p:nvPr/>
        </p:nvSpPr>
        <p:spPr>
          <a:xfrm>
            <a:off x="7173258" y="5484321"/>
            <a:ext cx="771202" cy="230832"/>
          </a:xfrm>
          <a:prstGeom prst="rect">
            <a:avLst/>
          </a:prstGeom>
          <a:noFill/>
        </p:spPr>
        <p:txBody>
          <a:bodyPr wrap="square" rtlCol="0">
            <a:spAutoFit/>
          </a:bodyPr>
          <a:lstStyle/>
          <a:p>
            <a:r>
              <a:rPr lang="en-AU" sz="900"/>
              <a:t>Go Live</a:t>
            </a:r>
          </a:p>
        </p:txBody>
      </p:sp>
      <p:sp>
        <p:nvSpPr>
          <p:cNvPr id="430" name="TextBox 429">
            <a:extLst>
              <a:ext uri="{FF2B5EF4-FFF2-40B4-BE49-F238E27FC236}">
                <a16:creationId xmlns:a16="http://schemas.microsoft.com/office/drawing/2014/main" id="{5C99E195-1CEA-41A0-9CE3-3FBCA0999A9D}"/>
              </a:ext>
            </a:extLst>
          </p:cNvPr>
          <p:cNvSpPr txBox="1"/>
          <p:nvPr/>
        </p:nvSpPr>
        <p:spPr>
          <a:xfrm>
            <a:off x="597266" y="912354"/>
            <a:ext cx="10833175" cy="369332"/>
          </a:xfrm>
          <a:prstGeom prst="rect">
            <a:avLst/>
          </a:prstGeom>
          <a:noFill/>
        </p:spPr>
        <p:txBody>
          <a:bodyPr wrap="square" rtlCol="0">
            <a:spAutoFit/>
          </a:bodyPr>
          <a:lstStyle/>
          <a:p>
            <a:r>
              <a:rPr lang="en-US"/>
              <a:t>It’s possible to complete the Wave 2 in 6 months according to Marelli’s guidelines</a:t>
            </a:r>
          </a:p>
        </p:txBody>
      </p:sp>
    </p:spTree>
    <p:extLst>
      <p:ext uri="{BB962C8B-B14F-4D97-AF65-F5344CB8AC3E}">
        <p14:creationId xmlns:p14="http://schemas.microsoft.com/office/powerpoint/2010/main" val="58624978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62961"/>
            <a:ext cx="7123430" cy="6195060"/>
          </a:xfrm>
          <a:custGeom>
            <a:avLst/>
            <a:gdLst/>
            <a:ahLst/>
            <a:cxnLst/>
            <a:rect l="l" t="t" r="r" b="b"/>
            <a:pathLst>
              <a:path w="7123430" h="6195059">
                <a:moveTo>
                  <a:pt x="2879616" y="0"/>
                </a:moveTo>
                <a:lnTo>
                  <a:pt x="2625045" y="2307"/>
                </a:lnTo>
                <a:lnTo>
                  <a:pt x="2365831" y="9075"/>
                </a:lnTo>
                <a:lnTo>
                  <a:pt x="2107655" y="20433"/>
                </a:lnTo>
                <a:lnTo>
                  <a:pt x="1850725" y="36462"/>
                </a:lnTo>
                <a:lnTo>
                  <a:pt x="1595246" y="57243"/>
                </a:lnTo>
                <a:lnTo>
                  <a:pt x="1341426" y="82857"/>
                </a:lnTo>
                <a:lnTo>
                  <a:pt x="1139704" y="106882"/>
                </a:lnTo>
                <a:lnTo>
                  <a:pt x="939281" y="134093"/>
                </a:lnTo>
                <a:lnTo>
                  <a:pt x="740264" y="164531"/>
                </a:lnTo>
                <a:lnTo>
                  <a:pt x="542759" y="198238"/>
                </a:lnTo>
                <a:lnTo>
                  <a:pt x="346872" y="235255"/>
                </a:lnTo>
                <a:lnTo>
                  <a:pt x="152708" y="275623"/>
                </a:lnTo>
                <a:lnTo>
                  <a:pt x="0" y="310069"/>
                </a:lnTo>
                <a:lnTo>
                  <a:pt x="0" y="6195036"/>
                </a:lnTo>
                <a:lnTo>
                  <a:pt x="7123175" y="6195036"/>
                </a:lnTo>
                <a:lnTo>
                  <a:pt x="7101913" y="6123747"/>
                </a:lnTo>
                <a:lnTo>
                  <a:pt x="7086172" y="6074178"/>
                </a:lnTo>
                <a:lnTo>
                  <a:pt x="7069990" y="6024665"/>
                </a:lnTo>
                <a:lnTo>
                  <a:pt x="7053374" y="5975208"/>
                </a:lnTo>
                <a:lnTo>
                  <a:pt x="7036330" y="5925809"/>
                </a:lnTo>
                <a:lnTo>
                  <a:pt x="7018866" y="5876467"/>
                </a:lnTo>
                <a:lnTo>
                  <a:pt x="7000989" y="5827185"/>
                </a:lnTo>
                <a:lnTo>
                  <a:pt x="6982706" y="5777962"/>
                </a:lnTo>
                <a:lnTo>
                  <a:pt x="6964022" y="5728800"/>
                </a:lnTo>
                <a:lnTo>
                  <a:pt x="6944947" y="5679699"/>
                </a:lnTo>
                <a:lnTo>
                  <a:pt x="6925485" y="5630660"/>
                </a:lnTo>
                <a:lnTo>
                  <a:pt x="6905645" y="5581684"/>
                </a:lnTo>
                <a:lnTo>
                  <a:pt x="6885433" y="5532772"/>
                </a:lnTo>
                <a:lnTo>
                  <a:pt x="6864856" y="5483924"/>
                </a:lnTo>
                <a:lnTo>
                  <a:pt x="6843921" y="5435142"/>
                </a:lnTo>
                <a:lnTo>
                  <a:pt x="6822635" y="5386426"/>
                </a:lnTo>
                <a:lnTo>
                  <a:pt x="6801005" y="5337777"/>
                </a:lnTo>
                <a:lnTo>
                  <a:pt x="6779038" y="5289196"/>
                </a:lnTo>
                <a:lnTo>
                  <a:pt x="6756740" y="5240683"/>
                </a:lnTo>
                <a:lnTo>
                  <a:pt x="6734119" y="5192240"/>
                </a:lnTo>
                <a:lnTo>
                  <a:pt x="6711182" y="5143867"/>
                </a:lnTo>
                <a:lnTo>
                  <a:pt x="6687935" y="5095565"/>
                </a:lnTo>
                <a:lnTo>
                  <a:pt x="6664385" y="5047335"/>
                </a:lnTo>
                <a:lnTo>
                  <a:pt x="6640540" y="4999178"/>
                </a:lnTo>
                <a:lnTo>
                  <a:pt x="6616406" y="4951094"/>
                </a:lnTo>
                <a:lnTo>
                  <a:pt x="6591990" y="4903084"/>
                </a:lnTo>
                <a:lnTo>
                  <a:pt x="6567299" y="4855150"/>
                </a:lnTo>
                <a:lnTo>
                  <a:pt x="6542341" y="4807291"/>
                </a:lnTo>
                <a:lnTo>
                  <a:pt x="6517121" y="4759509"/>
                </a:lnTo>
                <a:lnTo>
                  <a:pt x="6491647" y="4711804"/>
                </a:lnTo>
                <a:lnTo>
                  <a:pt x="6465926" y="4664178"/>
                </a:lnTo>
                <a:lnTo>
                  <a:pt x="6439965" y="4616631"/>
                </a:lnTo>
                <a:lnTo>
                  <a:pt x="6413770" y="4569164"/>
                </a:lnTo>
                <a:lnTo>
                  <a:pt x="6387349" y="4521778"/>
                </a:lnTo>
                <a:lnTo>
                  <a:pt x="6360708" y="4474473"/>
                </a:lnTo>
                <a:lnTo>
                  <a:pt x="6333855" y="4427250"/>
                </a:lnTo>
                <a:lnTo>
                  <a:pt x="6306796" y="4380111"/>
                </a:lnTo>
                <a:lnTo>
                  <a:pt x="6279538" y="4333056"/>
                </a:lnTo>
                <a:lnTo>
                  <a:pt x="6252089" y="4286085"/>
                </a:lnTo>
                <a:lnTo>
                  <a:pt x="6224454" y="4239200"/>
                </a:lnTo>
                <a:lnTo>
                  <a:pt x="6196642" y="4192402"/>
                </a:lnTo>
                <a:lnTo>
                  <a:pt x="6168658" y="4145690"/>
                </a:lnTo>
                <a:lnTo>
                  <a:pt x="6140511" y="4099067"/>
                </a:lnTo>
                <a:lnTo>
                  <a:pt x="6112206" y="4052533"/>
                </a:lnTo>
                <a:lnTo>
                  <a:pt x="6083751" y="4006088"/>
                </a:lnTo>
                <a:lnTo>
                  <a:pt x="6055153" y="3959733"/>
                </a:lnTo>
                <a:lnTo>
                  <a:pt x="6026418" y="3913470"/>
                </a:lnTo>
                <a:lnTo>
                  <a:pt x="5968567" y="3821221"/>
                </a:lnTo>
                <a:lnTo>
                  <a:pt x="5910253" y="3729347"/>
                </a:lnTo>
                <a:lnTo>
                  <a:pt x="5851531" y="3637854"/>
                </a:lnTo>
                <a:lnTo>
                  <a:pt x="5792458" y="3546748"/>
                </a:lnTo>
                <a:lnTo>
                  <a:pt x="5703310" y="3410831"/>
                </a:lnTo>
                <a:lnTo>
                  <a:pt x="5613682" y="3275822"/>
                </a:lnTo>
                <a:lnTo>
                  <a:pt x="5493753" y="3097263"/>
                </a:lnTo>
                <a:lnTo>
                  <a:pt x="4844630" y="2147068"/>
                </a:lnTo>
                <a:lnTo>
                  <a:pt x="4732114" y="1980523"/>
                </a:lnTo>
                <a:lnTo>
                  <a:pt x="4649541" y="1856952"/>
                </a:lnTo>
                <a:lnTo>
                  <a:pt x="4595460" y="1775221"/>
                </a:lnTo>
                <a:lnTo>
                  <a:pt x="4542219" y="1694016"/>
                </a:lnTo>
                <a:lnTo>
                  <a:pt x="4489872" y="1613345"/>
                </a:lnTo>
                <a:lnTo>
                  <a:pt x="4438474" y="1533214"/>
                </a:lnTo>
                <a:lnTo>
                  <a:pt x="4413149" y="1493352"/>
                </a:lnTo>
                <a:lnTo>
                  <a:pt x="4388082" y="1453628"/>
                </a:lnTo>
                <a:lnTo>
                  <a:pt x="4363280" y="1414043"/>
                </a:lnTo>
                <a:lnTo>
                  <a:pt x="4338750" y="1374596"/>
                </a:lnTo>
                <a:lnTo>
                  <a:pt x="4314499" y="1335289"/>
                </a:lnTo>
                <a:lnTo>
                  <a:pt x="4290534" y="1296123"/>
                </a:lnTo>
                <a:lnTo>
                  <a:pt x="4266861" y="1257098"/>
                </a:lnTo>
                <a:lnTo>
                  <a:pt x="4243489" y="1218215"/>
                </a:lnTo>
                <a:lnTo>
                  <a:pt x="4220423" y="1179475"/>
                </a:lnTo>
                <a:lnTo>
                  <a:pt x="4197671" y="1140879"/>
                </a:lnTo>
                <a:lnTo>
                  <a:pt x="4175239" y="1102428"/>
                </a:lnTo>
                <a:lnTo>
                  <a:pt x="4153135" y="1064123"/>
                </a:lnTo>
                <a:lnTo>
                  <a:pt x="4131365" y="1025963"/>
                </a:lnTo>
                <a:lnTo>
                  <a:pt x="4109936" y="987951"/>
                </a:lnTo>
                <a:lnTo>
                  <a:pt x="4088856" y="950086"/>
                </a:lnTo>
                <a:lnTo>
                  <a:pt x="4068131" y="912371"/>
                </a:lnTo>
                <a:lnTo>
                  <a:pt x="4047767" y="874805"/>
                </a:lnTo>
                <a:lnTo>
                  <a:pt x="4027773" y="837389"/>
                </a:lnTo>
                <a:lnTo>
                  <a:pt x="4008155" y="800124"/>
                </a:lnTo>
                <a:lnTo>
                  <a:pt x="3988919" y="763011"/>
                </a:lnTo>
                <a:lnTo>
                  <a:pt x="3970073" y="726051"/>
                </a:lnTo>
                <a:lnTo>
                  <a:pt x="3951624" y="689244"/>
                </a:lnTo>
                <a:lnTo>
                  <a:pt x="3933579" y="652592"/>
                </a:lnTo>
                <a:lnTo>
                  <a:pt x="3915944" y="616095"/>
                </a:lnTo>
                <a:lnTo>
                  <a:pt x="3898726" y="579754"/>
                </a:lnTo>
                <a:lnTo>
                  <a:pt x="3881933" y="543570"/>
                </a:lnTo>
                <a:lnTo>
                  <a:pt x="3865571" y="507543"/>
                </a:lnTo>
                <a:lnTo>
                  <a:pt x="3849647" y="471675"/>
                </a:lnTo>
                <a:lnTo>
                  <a:pt x="3834169" y="435966"/>
                </a:lnTo>
                <a:lnTo>
                  <a:pt x="3819142" y="400417"/>
                </a:lnTo>
                <a:lnTo>
                  <a:pt x="3804575" y="365029"/>
                </a:lnTo>
                <a:lnTo>
                  <a:pt x="3776844" y="294738"/>
                </a:lnTo>
                <a:lnTo>
                  <a:pt x="3751033" y="225101"/>
                </a:lnTo>
                <a:lnTo>
                  <a:pt x="3727196" y="156123"/>
                </a:lnTo>
                <a:lnTo>
                  <a:pt x="3705389" y="87811"/>
                </a:lnTo>
                <a:lnTo>
                  <a:pt x="3685666" y="20171"/>
                </a:lnTo>
                <a:lnTo>
                  <a:pt x="3383094" y="7813"/>
                </a:lnTo>
                <a:lnTo>
                  <a:pt x="3080806" y="1170"/>
                </a:lnTo>
                <a:lnTo>
                  <a:pt x="2879616" y="0"/>
                </a:lnTo>
                <a:close/>
              </a:path>
            </a:pathLst>
          </a:custGeom>
          <a:solidFill>
            <a:srgbClr val="0D80A3"/>
          </a:solidFill>
        </p:spPr>
        <p:txBody>
          <a:bodyPr wrap="square" lIns="0" tIns="0" rIns="0" bIns="0" rtlCol="0"/>
          <a:lstStyle/>
          <a:p>
            <a:endParaRPr/>
          </a:p>
        </p:txBody>
      </p:sp>
      <p:sp>
        <p:nvSpPr>
          <p:cNvPr id="3" name="object 3"/>
          <p:cNvSpPr/>
          <p:nvPr/>
        </p:nvSpPr>
        <p:spPr>
          <a:xfrm>
            <a:off x="5402579" y="1234439"/>
            <a:ext cx="6789420" cy="4849368"/>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521614" y="1876755"/>
            <a:ext cx="1297305" cy="697230"/>
          </a:xfrm>
          <a:prstGeom prst="rect">
            <a:avLst/>
          </a:prstGeom>
        </p:spPr>
        <p:txBody>
          <a:bodyPr vert="horz" wrap="square" lIns="0" tIns="13335" rIns="0" bIns="0" rtlCol="0">
            <a:spAutoFit/>
          </a:bodyPr>
          <a:lstStyle/>
          <a:p>
            <a:pPr marL="12700">
              <a:lnSpc>
                <a:spcPct val="100000"/>
              </a:lnSpc>
              <a:spcBef>
                <a:spcPts val="105"/>
              </a:spcBef>
            </a:pPr>
            <a:r>
              <a:rPr sz="4400">
                <a:solidFill>
                  <a:srgbClr val="FFFFFF"/>
                </a:solidFill>
                <a:latin typeface="Verdana"/>
                <a:cs typeface="Verdana"/>
              </a:rPr>
              <a:t>08.1</a:t>
            </a:r>
            <a:endParaRPr sz="4400">
              <a:latin typeface="Verdana"/>
              <a:cs typeface="Verdana"/>
            </a:endParaRPr>
          </a:p>
        </p:txBody>
      </p:sp>
      <p:sp>
        <p:nvSpPr>
          <p:cNvPr id="6" name="object 6"/>
          <p:cNvSpPr/>
          <p:nvPr/>
        </p:nvSpPr>
        <p:spPr>
          <a:xfrm>
            <a:off x="464819" y="2657855"/>
            <a:ext cx="1463040" cy="0"/>
          </a:xfrm>
          <a:custGeom>
            <a:avLst/>
            <a:gdLst/>
            <a:ahLst/>
            <a:cxnLst/>
            <a:rect l="l" t="t" r="r" b="b"/>
            <a:pathLst>
              <a:path w="1463039">
                <a:moveTo>
                  <a:pt x="0" y="0"/>
                </a:moveTo>
                <a:lnTo>
                  <a:pt x="1463040" y="0"/>
                </a:lnTo>
              </a:path>
            </a:pathLst>
          </a:custGeom>
          <a:ln w="6096">
            <a:solidFill>
              <a:srgbClr val="FFFFFF"/>
            </a:solidFill>
          </a:ln>
        </p:spPr>
        <p:txBody>
          <a:bodyPr wrap="square" lIns="0" tIns="0" rIns="0" bIns="0" rtlCol="0"/>
          <a:lstStyle/>
          <a:p>
            <a:endParaRPr/>
          </a:p>
        </p:txBody>
      </p:sp>
      <p:sp>
        <p:nvSpPr>
          <p:cNvPr id="7" name="object 7"/>
          <p:cNvSpPr txBox="1"/>
          <p:nvPr/>
        </p:nvSpPr>
        <p:spPr>
          <a:xfrm>
            <a:off x="540207" y="2902153"/>
            <a:ext cx="1084580" cy="331470"/>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Verdana"/>
                <a:cs typeface="Verdana"/>
              </a:rPr>
              <a:t>Wave</a:t>
            </a:r>
            <a:r>
              <a:rPr sz="2000" b="1" spc="-85">
                <a:solidFill>
                  <a:srgbClr val="FFFFFF"/>
                </a:solidFill>
                <a:latin typeface="Verdana"/>
                <a:cs typeface="Verdana"/>
              </a:rPr>
              <a:t> </a:t>
            </a:r>
            <a:r>
              <a:rPr sz="2000" b="1">
                <a:solidFill>
                  <a:srgbClr val="FFFFFF"/>
                </a:solidFill>
                <a:latin typeface="Verdana"/>
                <a:cs typeface="Verdana"/>
              </a:rPr>
              <a:t>1</a:t>
            </a:r>
            <a:endParaRPr sz="2000">
              <a:latin typeface="Verdana"/>
              <a:cs typeface="Verdana"/>
            </a:endParaRPr>
          </a:p>
        </p:txBody>
      </p:sp>
      <p:sp>
        <p:nvSpPr>
          <p:cNvPr id="8" name="object 8"/>
          <p:cNvSpPr/>
          <p:nvPr/>
        </p:nvSpPr>
        <p:spPr>
          <a:xfrm>
            <a:off x="11253057" y="5866703"/>
            <a:ext cx="621665" cy="589280"/>
          </a:xfrm>
          <a:custGeom>
            <a:avLst/>
            <a:gdLst/>
            <a:ahLst/>
            <a:cxnLst/>
            <a:rect l="l" t="t" r="r" b="b"/>
            <a:pathLst>
              <a:path w="621665" h="589279">
                <a:moveTo>
                  <a:pt x="325904" y="0"/>
                </a:moveTo>
                <a:lnTo>
                  <a:pt x="282171" y="337"/>
                </a:lnTo>
                <a:lnTo>
                  <a:pt x="239051" y="6474"/>
                </a:lnTo>
                <a:lnTo>
                  <a:pt x="197227" y="18305"/>
                </a:lnTo>
                <a:lnTo>
                  <a:pt x="157382" y="35724"/>
                </a:lnTo>
                <a:lnTo>
                  <a:pt x="120198" y="58629"/>
                </a:lnTo>
                <a:lnTo>
                  <a:pt x="86358" y="86912"/>
                </a:lnTo>
                <a:lnTo>
                  <a:pt x="56546" y="120470"/>
                </a:lnTo>
                <a:lnTo>
                  <a:pt x="30174" y="161319"/>
                </a:lnTo>
                <a:lnTo>
                  <a:pt x="12140" y="203862"/>
                </a:lnTo>
                <a:lnTo>
                  <a:pt x="2172" y="247426"/>
                </a:lnTo>
                <a:lnTo>
                  <a:pt x="0" y="291337"/>
                </a:lnTo>
                <a:lnTo>
                  <a:pt x="5349" y="334919"/>
                </a:lnTo>
                <a:lnTo>
                  <a:pt x="17949" y="377500"/>
                </a:lnTo>
                <a:lnTo>
                  <a:pt x="37528" y="418404"/>
                </a:lnTo>
                <a:lnTo>
                  <a:pt x="63812" y="456958"/>
                </a:lnTo>
                <a:lnTo>
                  <a:pt x="96532" y="492487"/>
                </a:lnTo>
                <a:lnTo>
                  <a:pt x="135413" y="524318"/>
                </a:lnTo>
                <a:lnTo>
                  <a:pt x="178458" y="550477"/>
                </a:lnTo>
                <a:lnTo>
                  <a:pt x="223418" y="570006"/>
                </a:lnTo>
                <a:lnTo>
                  <a:pt x="269535" y="582830"/>
                </a:lnTo>
                <a:lnTo>
                  <a:pt x="316050" y="588877"/>
                </a:lnTo>
                <a:lnTo>
                  <a:pt x="362203" y="588075"/>
                </a:lnTo>
                <a:lnTo>
                  <a:pt x="407237" y="580349"/>
                </a:lnTo>
                <a:lnTo>
                  <a:pt x="450391" y="565628"/>
                </a:lnTo>
                <a:lnTo>
                  <a:pt x="490907" y="543839"/>
                </a:lnTo>
                <a:lnTo>
                  <a:pt x="528027" y="514908"/>
                </a:lnTo>
                <a:lnTo>
                  <a:pt x="560990" y="478763"/>
                </a:lnTo>
                <a:lnTo>
                  <a:pt x="587672" y="437217"/>
                </a:lnTo>
                <a:lnTo>
                  <a:pt x="606546" y="393303"/>
                </a:lnTo>
                <a:lnTo>
                  <a:pt x="617754" y="347869"/>
                </a:lnTo>
                <a:lnTo>
                  <a:pt x="621434" y="301767"/>
                </a:lnTo>
                <a:lnTo>
                  <a:pt x="617727" y="255847"/>
                </a:lnTo>
                <a:lnTo>
                  <a:pt x="606774" y="210960"/>
                </a:lnTo>
                <a:lnTo>
                  <a:pt x="588714" y="167954"/>
                </a:lnTo>
                <a:lnTo>
                  <a:pt x="563688" y="127681"/>
                </a:lnTo>
                <a:lnTo>
                  <a:pt x="531837" y="90992"/>
                </a:lnTo>
                <a:lnTo>
                  <a:pt x="493299" y="58736"/>
                </a:lnTo>
                <a:lnTo>
                  <a:pt x="453946" y="34829"/>
                </a:lnTo>
                <a:lnTo>
                  <a:pt x="412474" y="17140"/>
                </a:lnTo>
                <a:lnTo>
                  <a:pt x="369566" y="5566"/>
                </a:lnTo>
                <a:lnTo>
                  <a:pt x="325904" y="0"/>
                </a:lnTo>
                <a:close/>
              </a:path>
            </a:pathLst>
          </a:custGeom>
          <a:solidFill>
            <a:srgbClr val="421F5D"/>
          </a:solidFill>
        </p:spPr>
        <p:txBody>
          <a:bodyPr wrap="square" lIns="0" tIns="0" rIns="0" bIns="0" rtlCol="0"/>
          <a:lstStyle/>
          <a:p>
            <a:endParaRPr/>
          </a:p>
        </p:txBody>
      </p:sp>
      <p:sp>
        <p:nvSpPr>
          <p:cNvPr id="9" name="object 9"/>
          <p:cNvSpPr/>
          <p:nvPr/>
        </p:nvSpPr>
        <p:spPr>
          <a:xfrm>
            <a:off x="11422157" y="5971913"/>
            <a:ext cx="278130" cy="373380"/>
          </a:xfrm>
          <a:custGeom>
            <a:avLst/>
            <a:gdLst/>
            <a:ahLst/>
            <a:cxnLst/>
            <a:rect l="l" t="t" r="r" b="b"/>
            <a:pathLst>
              <a:path w="278129" h="373379">
                <a:moveTo>
                  <a:pt x="273425" y="0"/>
                </a:moveTo>
                <a:lnTo>
                  <a:pt x="267557" y="3576"/>
                </a:lnTo>
                <a:lnTo>
                  <a:pt x="8477" y="174365"/>
                </a:lnTo>
                <a:lnTo>
                  <a:pt x="2119" y="180587"/>
                </a:lnTo>
                <a:lnTo>
                  <a:pt x="0" y="187508"/>
                </a:lnTo>
                <a:lnTo>
                  <a:pt x="2119" y="194427"/>
                </a:lnTo>
                <a:lnTo>
                  <a:pt x="8477" y="200641"/>
                </a:lnTo>
                <a:lnTo>
                  <a:pt x="267557" y="369564"/>
                </a:lnTo>
                <a:lnTo>
                  <a:pt x="273425" y="373140"/>
                </a:lnTo>
                <a:lnTo>
                  <a:pt x="276875" y="372846"/>
                </a:lnTo>
                <a:lnTo>
                  <a:pt x="277540" y="369034"/>
                </a:lnTo>
                <a:lnTo>
                  <a:pt x="275050" y="362058"/>
                </a:lnTo>
                <a:lnTo>
                  <a:pt x="192373" y="210027"/>
                </a:lnTo>
                <a:lnTo>
                  <a:pt x="189230" y="200413"/>
                </a:lnTo>
                <a:lnTo>
                  <a:pt x="188182" y="189388"/>
                </a:lnTo>
                <a:lnTo>
                  <a:pt x="189230" y="178360"/>
                </a:lnTo>
                <a:lnTo>
                  <a:pt x="192373" y="168739"/>
                </a:lnTo>
                <a:lnTo>
                  <a:pt x="275050" y="11081"/>
                </a:lnTo>
                <a:lnTo>
                  <a:pt x="277540" y="4106"/>
                </a:lnTo>
                <a:lnTo>
                  <a:pt x="276875" y="294"/>
                </a:lnTo>
                <a:lnTo>
                  <a:pt x="273425" y="0"/>
                </a:lnTo>
                <a:close/>
              </a:path>
            </a:pathLst>
          </a:custGeom>
          <a:solidFill>
            <a:srgbClr val="FFFFFF"/>
          </a:solidFill>
        </p:spPr>
        <p:txBody>
          <a:bodyPr wrap="square" lIns="0" tIns="0" rIns="0" bIns="0" rtlCol="0"/>
          <a:lstStyle/>
          <a:p>
            <a:endParaRPr/>
          </a:p>
        </p:txBody>
      </p:sp>
      <p:sp>
        <p:nvSpPr>
          <p:cNvPr id="10" name="object 10"/>
          <p:cNvSpPr txBox="1"/>
          <p:nvPr/>
        </p:nvSpPr>
        <p:spPr>
          <a:xfrm>
            <a:off x="214680" y="6638097"/>
            <a:ext cx="194754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FFFFFF"/>
                </a:solidFill>
                <a:latin typeface="Verdana"/>
                <a:cs typeface="Verdana"/>
              </a:rPr>
              <a:t>Salesforce </a:t>
            </a:r>
            <a:r>
              <a:rPr sz="800" spc="-5">
                <a:solidFill>
                  <a:srgbClr val="FFFFFF"/>
                </a:solidFill>
                <a:latin typeface="Verdana"/>
                <a:cs typeface="Verdana"/>
              </a:rPr>
              <a:t>Rollout Project </a:t>
            </a:r>
            <a:r>
              <a:rPr sz="800">
                <a:solidFill>
                  <a:srgbClr val="FFFFFF"/>
                </a:solidFill>
                <a:latin typeface="Verdana"/>
                <a:cs typeface="Verdana"/>
              </a:rPr>
              <a:t>| Sep</a:t>
            </a:r>
            <a:r>
              <a:rPr sz="800" spc="-20">
                <a:solidFill>
                  <a:srgbClr val="FFFFFF"/>
                </a:solidFill>
                <a:latin typeface="Verdana"/>
                <a:cs typeface="Verdana"/>
              </a:rPr>
              <a:t> </a:t>
            </a:r>
            <a:r>
              <a:rPr sz="800">
                <a:solidFill>
                  <a:srgbClr val="FFFFFF"/>
                </a:solidFill>
                <a:latin typeface="Verdana"/>
                <a:cs typeface="Verdana"/>
              </a:rPr>
              <a:t>2020</a:t>
            </a:r>
            <a:endParaRPr sz="800">
              <a:latin typeface="Verdana"/>
              <a:cs typeface="Verdana"/>
            </a:endParaRPr>
          </a:p>
        </p:txBody>
      </p:sp>
      <p:sp>
        <p:nvSpPr>
          <p:cNvPr id="11" name="object 11"/>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t>© Capgemini 2020. All </a:t>
            </a:r>
            <a:r>
              <a:rPr spc="-5"/>
              <a:t>rights </a:t>
            </a:r>
            <a:r>
              <a:t>reserved </a:t>
            </a:r>
            <a:r>
              <a:rPr>
                <a:solidFill>
                  <a:srgbClr val="12ABDB"/>
                </a:solidFill>
              </a:rPr>
              <a:t>|</a:t>
            </a:r>
            <a:r>
              <a:rPr spc="110">
                <a:solidFill>
                  <a:srgbClr val="12ABDB"/>
                </a:solidFill>
              </a:rPr>
              <a:t> </a:t>
            </a:r>
            <a:fld id="{81D60167-4931-47E6-BA6A-407CBD079E47}" type="slidenum">
              <a:rPr dirty="0"/>
              <a:t>90</a:t>
            </a:fld>
            <a:endParaRPr/>
          </a:p>
        </p:txBody>
      </p:sp>
      <p:pic>
        <p:nvPicPr>
          <p:cNvPr id="12" name="Picture 11">
            <a:extLst>
              <a:ext uri="{FF2B5EF4-FFF2-40B4-BE49-F238E27FC236}">
                <a16:creationId xmlns:a16="http://schemas.microsoft.com/office/drawing/2014/main" id="{954E70AC-4575-42A8-BCCC-FCAF387EF13A}"/>
              </a:ext>
            </a:extLst>
          </p:cNvPr>
          <p:cNvPicPr>
            <a:picLocks noChangeAspect="1"/>
          </p:cNvPicPr>
          <p:nvPr/>
        </p:nvPicPr>
        <p:blipFill>
          <a:blip r:embed="rId3">
            <a:alphaModFix/>
          </a:blip>
          <a:stretch>
            <a:fillRect/>
          </a:stretch>
        </p:blipFill>
        <p:spPr>
          <a:xfrm>
            <a:off x="6173969" y="1628775"/>
            <a:ext cx="5094106" cy="2828925"/>
          </a:xfrm>
          <a:prstGeom prst="rect">
            <a:avLst/>
          </a:prstGeom>
        </p:spPr>
      </p:pic>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626350" cy="422275"/>
          </a:xfrm>
          <a:prstGeom prst="rect">
            <a:avLst/>
          </a:prstGeom>
        </p:spPr>
        <p:txBody>
          <a:bodyPr vert="horz" wrap="square" lIns="0" tIns="12700" rIns="0" bIns="0" rtlCol="0">
            <a:spAutoFit/>
          </a:bodyPr>
          <a:lstStyle/>
          <a:p>
            <a:pPr marL="12700">
              <a:lnSpc>
                <a:spcPct val="100000"/>
              </a:lnSpc>
              <a:spcBef>
                <a:spcPts val="100"/>
              </a:spcBef>
            </a:pPr>
            <a:r>
              <a:rPr sz="2600" spc="-30"/>
              <a:t>Technical </a:t>
            </a:r>
            <a:r>
              <a:rPr sz="2600"/>
              <a:t>Implementation Approach – </a:t>
            </a:r>
            <a:r>
              <a:rPr sz="2600" spc="-45"/>
              <a:t>Wave</a:t>
            </a:r>
            <a:r>
              <a:rPr sz="2600" spc="-105"/>
              <a:t> </a:t>
            </a:r>
            <a:r>
              <a:rPr sz="2600"/>
              <a:t>1</a:t>
            </a:r>
          </a:p>
        </p:txBody>
      </p:sp>
      <p:grpSp>
        <p:nvGrpSpPr>
          <p:cNvPr id="76" name="Group 75">
            <a:extLst>
              <a:ext uri="{FF2B5EF4-FFF2-40B4-BE49-F238E27FC236}">
                <a16:creationId xmlns:a16="http://schemas.microsoft.com/office/drawing/2014/main" id="{09BCE9F4-D85F-4904-B19A-828C8ABFA362}"/>
              </a:ext>
            </a:extLst>
          </p:cNvPr>
          <p:cNvGrpSpPr/>
          <p:nvPr/>
        </p:nvGrpSpPr>
        <p:grpSpPr>
          <a:xfrm>
            <a:off x="1749552" y="899161"/>
            <a:ext cx="8461248" cy="5044440"/>
            <a:chOff x="1749551" y="899160"/>
            <a:chExt cx="8307833" cy="5469255"/>
          </a:xfrm>
        </p:grpSpPr>
        <p:sp>
          <p:nvSpPr>
            <p:cNvPr id="3" name="object 3"/>
            <p:cNvSpPr/>
            <p:nvPr/>
          </p:nvSpPr>
          <p:spPr>
            <a:xfrm>
              <a:off x="2240279" y="5312664"/>
              <a:ext cx="7812405" cy="370840"/>
            </a:xfrm>
            <a:custGeom>
              <a:avLst/>
              <a:gdLst/>
              <a:ahLst/>
              <a:cxnLst/>
              <a:rect l="l" t="t" r="r" b="b"/>
              <a:pathLst>
                <a:path w="7812405" h="370839">
                  <a:moveTo>
                    <a:pt x="0" y="370332"/>
                  </a:moveTo>
                  <a:lnTo>
                    <a:pt x="7812024" y="370332"/>
                  </a:lnTo>
                  <a:lnTo>
                    <a:pt x="7812024" y="0"/>
                  </a:lnTo>
                  <a:lnTo>
                    <a:pt x="0" y="0"/>
                  </a:lnTo>
                  <a:lnTo>
                    <a:pt x="0" y="370332"/>
                  </a:lnTo>
                  <a:close/>
                </a:path>
              </a:pathLst>
            </a:custGeom>
            <a:solidFill>
              <a:srgbClr val="421F5D"/>
            </a:solidFill>
          </p:spPr>
          <p:txBody>
            <a:bodyPr wrap="square" lIns="0" tIns="0" rIns="0" bIns="0" rtlCol="0"/>
            <a:lstStyle/>
            <a:p>
              <a:endParaRPr/>
            </a:p>
          </p:txBody>
        </p:sp>
        <p:sp>
          <p:nvSpPr>
            <p:cNvPr id="4" name="object 4"/>
            <p:cNvSpPr txBox="1"/>
            <p:nvPr/>
          </p:nvSpPr>
          <p:spPr>
            <a:xfrm>
              <a:off x="2240279" y="5349341"/>
              <a:ext cx="7812405" cy="299720"/>
            </a:xfrm>
            <a:prstGeom prst="rect">
              <a:avLst/>
            </a:prstGeom>
          </p:spPr>
          <p:txBody>
            <a:bodyPr vert="horz" wrap="square" lIns="0" tIns="12700" rIns="0" bIns="0" rtlCol="0">
              <a:spAutoFit/>
            </a:bodyPr>
            <a:lstStyle/>
            <a:p>
              <a:pPr algn="ctr">
                <a:lnSpc>
                  <a:spcPct val="100000"/>
                </a:lnSpc>
                <a:spcBef>
                  <a:spcPts val="100"/>
                </a:spcBef>
              </a:pPr>
              <a:r>
                <a:rPr sz="1800" spc="-5">
                  <a:solidFill>
                    <a:srgbClr val="FFFFFF"/>
                  </a:solidFill>
                  <a:latin typeface="Verdana"/>
                  <a:cs typeface="Verdana"/>
                </a:rPr>
                <a:t>CRM </a:t>
              </a:r>
              <a:r>
                <a:rPr sz="1800">
                  <a:solidFill>
                    <a:srgbClr val="FFFFFF"/>
                  </a:solidFill>
                  <a:latin typeface="Verdana"/>
                  <a:cs typeface="Verdana"/>
                </a:rPr>
                <a:t>Functionalities </a:t>
              </a:r>
              <a:r>
                <a:rPr sz="1800" spc="-5">
                  <a:solidFill>
                    <a:srgbClr val="FFFFFF"/>
                  </a:solidFill>
                  <a:latin typeface="Verdana"/>
                  <a:cs typeface="Verdana"/>
                </a:rPr>
                <a:t>(AL </a:t>
              </a:r>
              <a:r>
                <a:rPr sz="1800">
                  <a:solidFill>
                    <a:srgbClr val="FFFFFF"/>
                  </a:solidFill>
                  <a:latin typeface="Verdana"/>
                  <a:cs typeface="Verdana"/>
                </a:rPr>
                <a:t>and</a:t>
              </a:r>
              <a:r>
                <a:rPr sz="1800" spc="-35">
                  <a:solidFill>
                    <a:srgbClr val="FFFFFF"/>
                  </a:solidFill>
                  <a:latin typeface="Verdana"/>
                  <a:cs typeface="Verdana"/>
                </a:rPr>
                <a:t> </a:t>
              </a:r>
              <a:r>
                <a:rPr sz="1800">
                  <a:solidFill>
                    <a:srgbClr val="FFFFFF"/>
                  </a:solidFill>
                  <a:latin typeface="Verdana"/>
                  <a:cs typeface="Verdana"/>
                </a:rPr>
                <a:t>EL)</a:t>
              </a:r>
              <a:endParaRPr sz="1800">
                <a:latin typeface="Verdana"/>
                <a:cs typeface="Verdana"/>
              </a:endParaRPr>
            </a:p>
          </p:txBody>
        </p:sp>
        <p:sp>
          <p:nvSpPr>
            <p:cNvPr id="5" name="object 5"/>
            <p:cNvSpPr/>
            <p:nvPr/>
          </p:nvSpPr>
          <p:spPr>
            <a:xfrm>
              <a:off x="2257044" y="5908547"/>
              <a:ext cx="7795259" cy="370840"/>
            </a:xfrm>
            <a:custGeom>
              <a:avLst/>
              <a:gdLst/>
              <a:ahLst/>
              <a:cxnLst/>
              <a:rect l="l" t="t" r="r" b="b"/>
              <a:pathLst>
                <a:path w="7795259" h="370839">
                  <a:moveTo>
                    <a:pt x="0" y="370331"/>
                  </a:moveTo>
                  <a:lnTo>
                    <a:pt x="7795259" y="370331"/>
                  </a:lnTo>
                  <a:lnTo>
                    <a:pt x="7795259" y="0"/>
                  </a:lnTo>
                  <a:lnTo>
                    <a:pt x="0" y="0"/>
                  </a:lnTo>
                  <a:lnTo>
                    <a:pt x="0" y="370331"/>
                  </a:lnTo>
                  <a:close/>
                </a:path>
              </a:pathLst>
            </a:custGeom>
            <a:solidFill>
              <a:srgbClr val="D22138"/>
            </a:solidFill>
          </p:spPr>
          <p:txBody>
            <a:bodyPr wrap="square" lIns="0" tIns="0" rIns="0" bIns="0" rtlCol="0"/>
            <a:lstStyle/>
            <a:p>
              <a:endParaRPr/>
            </a:p>
          </p:txBody>
        </p:sp>
        <p:sp>
          <p:nvSpPr>
            <p:cNvPr id="6" name="object 6"/>
            <p:cNvSpPr/>
            <p:nvPr/>
          </p:nvSpPr>
          <p:spPr>
            <a:xfrm>
              <a:off x="2257044" y="5908547"/>
              <a:ext cx="7795259" cy="370840"/>
            </a:xfrm>
            <a:custGeom>
              <a:avLst/>
              <a:gdLst/>
              <a:ahLst/>
              <a:cxnLst/>
              <a:rect l="l" t="t" r="r" b="b"/>
              <a:pathLst>
                <a:path w="7795259" h="370839">
                  <a:moveTo>
                    <a:pt x="0" y="370331"/>
                  </a:moveTo>
                  <a:lnTo>
                    <a:pt x="7795259" y="370331"/>
                  </a:lnTo>
                  <a:lnTo>
                    <a:pt x="7795259" y="0"/>
                  </a:lnTo>
                  <a:lnTo>
                    <a:pt x="0" y="0"/>
                  </a:lnTo>
                  <a:lnTo>
                    <a:pt x="0" y="370331"/>
                  </a:lnTo>
                  <a:close/>
                </a:path>
              </a:pathLst>
            </a:custGeom>
            <a:ln w="9143">
              <a:solidFill>
                <a:srgbClr val="D22138"/>
              </a:solidFill>
            </a:ln>
          </p:spPr>
          <p:txBody>
            <a:bodyPr wrap="square" lIns="0" tIns="0" rIns="0" bIns="0" rtlCol="0"/>
            <a:lstStyle/>
            <a:p>
              <a:endParaRPr/>
            </a:p>
          </p:txBody>
        </p:sp>
        <p:sp>
          <p:nvSpPr>
            <p:cNvPr id="7" name="object 7"/>
            <p:cNvSpPr txBox="1"/>
            <p:nvPr/>
          </p:nvSpPr>
          <p:spPr>
            <a:xfrm>
              <a:off x="2257044" y="5945225"/>
              <a:ext cx="7800340" cy="299720"/>
            </a:xfrm>
            <a:prstGeom prst="rect">
              <a:avLst/>
            </a:prstGeom>
          </p:spPr>
          <p:txBody>
            <a:bodyPr vert="horz" wrap="square" lIns="0" tIns="12700" rIns="0" bIns="0" rtlCol="0">
              <a:spAutoFit/>
            </a:bodyPr>
            <a:lstStyle/>
            <a:p>
              <a:pPr algn="ctr">
                <a:lnSpc>
                  <a:spcPct val="100000"/>
                </a:lnSpc>
                <a:spcBef>
                  <a:spcPts val="100"/>
                </a:spcBef>
              </a:pPr>
              <a:r>
                <a:rPr sz="1800" spc="-5">
                  <a:solidFill>
                    <a:srgbClr val="FFFFFF"/>
                  </a:solidFill>
                  <a:latin typeface="Verdana"/>
                  <a:cs typeface="Verdana"/>
                </a:rPr>
                <a:t>Integration (Actual</a:t>
              </a:r>
              <a:r>
                <a:rPr sz="1800" spc="15">
                  <a:solidFill>
                    <a:srgbClr val="FFFFFF"/>
                  </a:solidFill>
                  <a:latin typeface="Verdana"/>
                  <a:cs typeface="Verdana"/>
                </a:rPr>
                <a:t> </a:t>
              </a:r>
              <a:r>
                <a:rPr sz="1800" spc="-10">
                  <a:solidFill>
                    <a:srgbClr val="FFFFFF"/>
                  </a:solidFill>
                  <a:latin typeface="Verdana"/>
                  <a:cs typeface="Verdana"/>
                </a:rPr>
                <a:t>Volume)</a:t>
              </a:r>
              <a:endParaRPr sz="1800">
                <a:latin typeface="Verdana"/>
                <a:cs typeface="Verdana"/>
              </a:endParaRPr>
            </a:p>
          </p:txBody>
        </p:sp>
        <p:sp>
          <p:nvSpPr>
            <p:cNvPr id="8" name="object 8"/>
            <p:cNvSpPr/>
            <p:nvPr/>
          </p:nvSpPr>
          <p:spPr>
            <a:xfrm>
              <a:off x="2139695" y="981455"/>
              <a:ext cx="7912734" cy="2110740"/>
            </a:xfrm>
            <a:custGeom>
              <a:avLst/>
              <a:gdLst/>
              <a:ahLst/>
              <a:cxnLst/>
              <a:rect l="l" t="t" r="r" b="b"/>
              <a:pathLst>
                <a:path w="7912734" h="2110740">
                  <a:moveTo>
                    <a:pt x="0" y="2110740"/>
                  </a:moveTo>
                  <a:lnTo>
                    <a:pt x="7912608" y="2110740"/>
                  </a:lnTo>
                  <a:lnTo>
                    <a:pt x="7912608" y="0"/>
                  </a:lnTo>
                  <a:lnTo>
                    <a:pt x="0" y="0"/>
                  </a:lnTo>
                  <a:lnTo>
                    <a:pt x="0" y="2110740"/>
                  </a:lnTo>
                  <a:close/>
                </a:path>
              </a:pathLst>
            </a:custGeom>
            <a:solidFill>
              <a:srgbClr val="12ABDB">
                <a:alpha val="43920"/>
              </a:srgbClr>
            </a:solidFill>
          </p:spPr>
          <p:txBody>
            <a:bodyPr wrap="square" lIns="0" tIns="0" rIns="0" bIns="0" rtlCol="0"/>
            <a:lstStyle/>
            <a:p>
              <a:endParaRPr/>
            </a:p>
          </p:txBody>
        </p:sp>
        <p:sp>
          <p:nvSpPr>
            <p:cNvPr id="9" name="object 9"/>
            <p:cNvSpPr/>
            <p:nvPr/>
          </p:nvSpPr>
          <p:spPr>
            <a:xfrm>
              <a:off x="6380988" y="1046988"/>
              <a:ext cx="3534410" cy="614680"/>
            </a:xfrm>
            <a:custGeom>
              <a:avLst/>
              <a:gdLst/>
              <a:ahLst/>
              <a:cxnLst/>
              <a:rect l="l" t="t" r="r" b="b"/>
              <a:pathLst>
                <a:path w="3534409" h="614680">
                  <a:moveTo>
                    <a:pt x="3431793" y="0"/>
                  </a:moveTo>
                  <a:lnTo>
                    <a:pt x="102362" y="0"/>
                  </a:lnTo>
                  <a:lnTo>
                    <a:pt x="62525" y="8046"/>
                  </a:lnTo>
                  <a:lnTo>
                    <a:pt x="29987" y="29987"/>
                  </a:lnTo>
                  <a:lnTo>
                    <a:pt x="8046" y="62525"/>
                  </a:lnTo>
                  <a:lnTo>
                    <a:pt x="0" y="102362"/>
                  </a:lnTo>
                  <a:lnTo>
                    <a:pt x="0" y="614172"/>
                  </a:lnTo>
                  <a:lnTo>
                    <a:pt x="3534156" y="614172"/>
                  </a:lnTo>
                  <a:lnTo>
                    <a:pt x="3534156" y="102362"/>
                  </a:lnTo>
                  <a:lnTo>
                    <a:pt x="3526109" y="62525"/>
                  </a:lnTo>
                  <a:lnTo>
                    <a:pt x="3504168" y="29987"/>
                  </a:lnTo>
                  <a:lnTo>
                    <a:pt x="3471630" y="8046"/>
                  </a:lnTo>
                  <a:lnTo>
                    <a:pt x="3431793" y="0"/>
                  </a:lnTo>
                  <a:close/>
                </a:path>
              </a:pathLst>
            </a:custGeom>
            <a:solidFill>
              <a:srgbClr val="12ABDB"/>
            </a:solidFill>
          </p:spPr>
          <p:txBody>
            <a:bodyPr wrap="square" lIns="0" tIns="0" rIns="0" bIns="0" rtlCol="0"/>
            <a:lstStyle/>
            <a:p>
              <a:endParaRPr/>
            </a:p>
          </p:txBody>
        </p:sp>
        <p:sp>
          <p:nvSpPr>
            <p:cNvPr id="10" name="object 10"/>
            <p:cNvSpPr txBox="1"/>
            <p:nvPr/>
          </p:nvSpPr>
          <p:spPr>
            <a:xfrm>
              <a:off x="7079233" y="1141602"/>
              <a:ext cx="1712595" cy="481773"/>
            </a:xfrm>
            <a:prstGeom prst="rect">
              <a:avLst/>
            </a:prstGeom>
          </p:spPr>
          <p:txBody>
            <a:bodyPr vert="horz" wrap="square" lIns="0" tIns="13335" rIns="0" bIns="0" rtlCol="0">
              <a:spAutoFit/>
            </a:bodyPr>
            <a:lstStyle/>
            <a:p>
              <a:pPr>
                <a:lnSpc>
                  <a:spcPct val="100000"/>
                </a:lnSpc>
                <a:spcBef>
                  <a:spcPts val="105"/>
                </a:spcBef>
              </a:pPr>
              <a:r>
                <a:rPr sz="1400" b="1" spc="-5">
                  <a:solidFill>
                    <a:srgbClr val="FFFFFF"/>
                  </a:solidFill>
                  <a:latin typeface="Verdana"/>
                  <a:cs typeface="Verdana"/>
                </a:rPr>
                <a:t>General</a:t>
              </a:r>
              <a:r>
                <a:rPr sz="1400" b="1" spc="-60">
                  <a:solidFill>
                    <a:srgbClr val="FFFFFF"/>
                  </a:solidFill>
                  <a:latin typeface="Verdana"/>
                  <a:cs typeface="Verdana"/>
                </a:rPr>
                <a:t> </a:t>
              </a:r>
              <a:r>
                <a:rPr sz="1400" b="1" spc="-5">
                  <a:solidFill>
                    <a:srgbClr val="FFFFFF"/>
                  </a:solidFill>
                  <a:latin typeface="Verdana"/>
                  <a:cs typeface="Verdana"/>
                </a:rPr>
                <a:t>Platform</a:t>
              </a:r>
              <a:endParaRPr sz="1400">
                <a:latin typeface="Verdana"/>
                <a:cs typeface="Verdana"/>
              </a:endParaRPr>
            </a:p>
            <a:p>
              <a:pPr>
                <a:lnSpc>
                  <a:spcPct val="100000"/>
                </a:lnSpc>
              </a:pPr>
              <a:r>
                <a:rPr sz="1400" b="1">
                  <a:solidFill>
                    <a:srgbClr val="FFFFFF"/>
                  </a:solidFill>
                  <a:latin typeface="Verdana"/>
                  <a:cs typeface="Verdana"/>
                </a:rPr>
                <a:t>Optimization</a:t>
              </a:r>
              <a:endParaRPr sz="1400">
                <a:latin typeface="Verdana"/>
                <a:cs typeface="Verdana"/>
              </a:endParaRPr>
            </a:p>
          </p:txBody>
        </p:sp>
        <p:sp>
          <p:nvSpPr>
            <p:cNvPr id="11" name="object 11"/>
            <p:cNvSpPr/>
            <p:nvPr/>
          </p:nvSpPr>
          <p:spPr>
            <a:xfrm>
              <a:off x="6380988" y="1060703"/>
              <a:ext cx="106679" cy="251460"/>
            </a:xfrm>
            <a:prstGeom prst="rect">
              <a:avLst/>
            </a:prstGeom>
            <a:blipFill>
              <a:blip r:embed="rId2" cstate="print"/>
              <a:stretch>
                <a:fillRect/>
              </a:stretch>
            </a:blipFill>
          </p:spPr>
          <p:txBody>
            <a:bodyPr wrap="square" lIns="0" tIns="0" rIns="0" bIns="0" rtlCol="0"/>
            <a:lstStyle/>
            <a:p>
              <a:endParaRPr/>
            </a:p>
          </p:txBody>
        </p:sp>
        <p:sp>
          <p:nvSpPr>
            <p:cNvPr id="12" name="object 12"/>
            <p:cNvSpPr/>
            <p:nvPr/>
          </p:nvSpPr>
          <p:spPr>
            <a:xfrm>
              <a:off x="6380988" y="1060703"/>
              <a:ext cx="106680" cy="251460"/>
            </a:xfrm>
            <a:custGeom>
              <a:avLst/>
              <a:gdLst/>
              <a:ahLst/>
              <a:cxnLst/>
              <a:rect l="l" t="t" r="r" b="b"/>
              <a:pathLst>
                <a:path w="106679" h="251459">
                  <a:moveTo>
                    <a:pt x="0" y="53340"/>
                  </a:moveTo>
                  <a:lnTo>
                    <a:pt x="4190" y="32575"/>
                  </a:lnTo>
                  <a:lnTo>
                    <a:pt x="15620" y="15620"/>
                  </a:lnTo>
                  <a:lnTo>
                    <a:pt x="32575" y="4190"/>
                  </a:lnTo>
                  <a:lnTo>
                    <a:pt x="53339" y="0"/>
                  </a:lnTo>
                  <a:lnTo>
                    <a:pt x="74104" y="4190"/>
                  </a:lnTo>
                  <a:lnTo>
                    <a:pt x="91058" y="15620"/>
                  </a:lnTo>
                  <a:lnTo>
                    <a:pt x="102488" y="32575"/>
                  </a:lnTo>
                  <a:lnTo>
                    <a:pt x="106679" y="53340"/>
                  </a:lnTo>
                  <a:lnTo>
                    <a:pt x="106679" y="198120"/>
                  </a:lnTo>
                  <a:lnTo>
                    <a:pt x="102488" y="218884"/>
                  </a:lnTo>
                  <a:lnTo>
                    <a:pt x="91059" y="235838"/>
                  </a:lnTo>
                  <a:lnTo>
                    <a:pt x="74104" y="247268"/>
                  </a:lnTo>
                  <a:lnTo>
                    <a:pt x="53339" y="251460"/>
                  </a:lnTo>
                  <a:lnTo>
                    <a:pt x="32575" y="247269"/>
                  </a:lnTo>
                  <a:lnTo>
                    <a:pt x="15621" y="235839"/>
                  </a:lnTo>
                  <a:lnTo>
                    <a:pt x="4191" y="218884"/>
                  </a:lnTo>
                  <a:lnTo>
                    <a:pt x="0" y="198120"/>
                  </a:lnTo>
                  <a:lnTo>
                    <a:pt x="0" y="53340"/>
                  </a:lnTo>
                  <a:close/>
                </a:path>
              </a:pathLst>
            </a:custGeom>
            <a:ln w="9144">
              <a:solidFill>
                <a:srgbClr val="0D80A3"/>
              </a:solidFill>
            </a:ln>
          </p:spPr>
          <p:txBody>
            <a:bodyPr wrap="square" lIns="0" tIns="0" rIns="0" bIns="0" rtlCol="0"/>
            <a:lstStyle/>
            <a:p>
              <a:endParaRPr/>
            </a:p>
          </p:txBody>
        </p:sp>
        <p:sp>
          <p:nvSpPr>
            <p:cNvPr id="13" name="object 13"/>
            <p:cNvSpPr/>
            <p:nvPr/>
          </p:nvSpPr>
          <p:spPr>
            <a:xfrm>
              <a:off x="6380988" y="1421891"/>
              <a:ext cx="106679" cy="25146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6380988" y="1421891"/>
              <a:ext cx="106680" cy="251460"/>
            </a:xfrm>
            <a:custGeom>
              <a:avLst/>
              <a:gdLst/>
              <a:ahLst/>
              <a:cxnLst/>
              <a:rect l="l" t="t" r="r" b="b"/>
              <a:pathLst>
                <a:path w="106679" h="251460">
                  <a:moveTo>
                    <a:pt x="0" y="53340"/>
                  </a:moveTo>
                  <a:lnTo>
                    <a:pt x="4190" y="32575"/>
                  </a:lnTo>
                  <a:lnTo>
                    <a:pt x="15620" y="15620"/>
                  </a:lnTo>
                  <a:lnTo>
                    <a:pt x="32575" y="4190"/>
                  </a:lnTo>
                  <a:lnTo>
                    <a:pt x="53339" y="0"/>
                  </a:lnTo>
                  <a:lnTo>
                    <a:pt x="74104" y="4190"/>
                  </a:lnTo>
                  <a:lnTo>
                    <a:pt x="91058" y="15620"/>
                  </a:lnTo>
                  <a:lnTo>
                    <a:pt x="102488" y="32575"/>
                  </a:lnTo>
                  <a:lnTo>
                    <a:pt x="106679" y="53340"/>
                  </a:lnTo>
                  <a:lnTo>
                    <a:pt x="106679" y="198120"/>
                  </a:lnTo>
                  <a:lnTo>
                    <a:pt x="102488" y="218884"/>
                  </a:lnTo>
                  <a:lnTo>
                    <a:pt x="91059" y="235838"/>
                  </a:lnTo>
                  <a:lnTo>
                    <a:pt x="74104" y="247268"/>
                  </a:lnTo>
                  <a:lnTo>
                    <a:pt x="53339" y="251460"/>
                  </a:lnTo>
                  <a:lnTo>
                    <a:pt x="32575" y="247269"/>
                  </a:lnTo>
                  <a:lnTo>
                    <a:pt x="15621" y="235839"/>
                  </a:lnTo>
                  <a:lnTo>
                    <a:pt x="4191" y="218884"/>
                  </a:lnTo>
                  <a:lnTo>
                    <a:pt x="0" y="198120"/>
                  </a:lnTo>
                  <a:lnTo>
                    <a:pt x="0" y="53340"/>
                  </a:lnTo>
                  <a:close/>
                </a:path>
              </a:pathLst>
            </a:custGeom>
            <a:ln w="9144">
              <a:solidFill>
                <a:srgbClr val="0D80A3"/>
              </a:solidFill>
            </a:ln>
          </p:spPr>
          <p:txBody>
            <a:bodyPr wrap="square" lIns="0" tIns="0" rIns="0" bIns="0" rtlCol="0"/>
            <a:lstStyle/>
            <a:p>
              <a:endParaRPr/>
            </a:p>
          </p:txBody>
        </p:sp>
        <p:sp>
          <p:nvSpPr>
            <p:cNvPr id="15" name="object 15"/>
            <p:cNvSpPr/>
            <p:nvPr/>
          </p:nvSpPr>
          <p:spPr>
            <a:xfrm>
              <a:off x="6380988" y="1118616"/>
              <a:ext cx="573405" cy="498475"/>
            </a:xfrm>
            <a:custGeom>
              <a:avLst/>
              <a:gdLst/>
              <a:ahLst/>
              <a:cxnLst/>
              <a:rect l="l" t="t" r="r" b="b"/>
              <a:pathLst>
                <a:path w="573404" h="498475">
                  <a:moveTo>
                    <a:pt x="425704" y="0"/>
                  </a:moveTo>
                  <a:lnTo>
                    <a:pt x="0" y="0"/>
                  </a:lnTo>
                  <a:lnTo>
                    <a:pt x="0" y="498348"/>
                  </a:lnTo>
                  <a:lnTo>
                    <a:pt x="425704" y="498348"/>
                  </a:lnTo>
                  <a:lnTo>
                    <a:pt x="573023" y="249174"/>
                  </a:lnTo>
                  <a:lnTo>
                    <a:pt x="425704" y="0"/>
                  </a:lnTo>
                  <a:close/>
                </a:path>
              </a:pathLst>
            </a:custGeom>
            <a:solidFill>
              <a:srgbClr val="12ABDB"/>
            </a:solidFill>
          </p:spPr>
          <p:txBody>
            <a:bodyPr wrap="square" lIns="0" tIns="0" rIns="0" bIns="0" rtlCol="0"/>
            <a:lstStyle/>
            <a:p>
              <a:endParaRPr/>
            </a:p>
          </p:txBody>
        </p:sp>
        <p:sp>
          <p:nvSpPr>
            <p:cNvPr id="16" name="object 16"/>
            <p:cNvSpPr/>
            <p:nvPr/>
          </p:nvSpPr>
          <p:spPr>
            <a:xfrm>
              <a:off x="6380988" y="1118616"/>
              <a:ext cx="573405" cy="498475"/>
            </a:xfrm>
            <a:custGeom>
              <a:avLst/>
              <a:gdLst/>
              <a:ahLst/>
              <a:cxnLst/>
              <a:rect l="l" t="t" r="r" b="b"/>
              <a:pathLst>
                <a:path w="573404" h="498475">
                  <a:moveTo>
                    <a:pt x="0" y="0"/>
                  </a:moveTo>
                  <a:lnTo>
                    <a:pt x="425704" y="0"/>
                  </a:lnTo>
                  <a:lnTo>
                    <a:pt x="573023" y="249174"/>
                  </a:lnTo>
                  <a:lnTo>
                    <a:pt x="425704" y="498348"/>
                  </a:lnTo>
                  <a:lnTo>
                    <a:pt x="0" y="498348"/>
                  </a:lnTo>
                  <a:lnTo>
                    <a:pt x="0" y="0"/>
                  </a:lnTo>
                  <a:close/>
                </a:path>
              </a:pathLst>
            </a:custGeom>
            <a:ln w="9144">
              <a:solidFill>
                <a:srgbClr val="FFFFFF"/>
              </a:solidFill>
            </a:ln>
          </p:spPr>
          <p:txBody>
            <a:bodyPr wrap="square" lIns="0" tIns="0" rIns="0" bIns="0" rtlCol="0"/>
            <a:lstStyle/>
            <a:p>
              <a:endParaRPr/>
            </a:p>
          </p:txBody>
        </p:sp>
        <p:sp>
          <p:nvSpPr>
            <p:cNvPr id="17" name="object 17"/>
            <p:cNvSpPr txBox="1"/>
            <p:nvPr/>
          </p:nvSpPr>
          <p:spPr>
            <a:xfrm>
              <a:off x="6473063" y="1262253"/>
              <a:ext cx="284480" cy="208279"/>
            </a:xfrm>
            <a:prstGeom prst="rect">
              <a:avLst/>
            </a:prstGeom>
          </p:spPr>
          <p:txBody>
            <a:bodyPr vert="horz" wrap="square" lIns="0" tIns="12700" rIns="0" bIns="0" rtlCol="0">
              <a:spAutoFit/>
            </a:bodyPr>
            <a:lstStyle/>
            <a:p>
              <a:pPr>
                <a:lnSpc>
                  <a:spcPct val="100000"/>
                </a:lnSpc>
                <a:spcBef>
                  <a:spcPts val="100"/>
                </a:spcBef>
              </a:pPr>
              <a:r>
                <a:rPr sz="1200" b="1" spc="-5">
                  <a:solidFill>
                    <a:srgbClr val="FFFFFF"/>
                  </a:solidFill>
                  <a:latin typeface="Verdana"/>
                  <a:cs typeface="Verdana"/>
                </a:rPr>
                <a:t>1.1</a:t>
              </a:r>
              <a:endParaRPr sz="1200">
                <a:latin typeface="Verdana"/>
                <a:cs typeface="Verdana"/>
              </a:endParaRPr>
            </a:p>
          </p:txBody>
        </p:sp>
        <p:sp>
          <p:nvSpPr>
            <p:cNvPr id="18" name="object 18"/>
            <p:cNvSpPr/>
            <p:nvPr/>
          </p:nvSpPr>
          <p:spPr>
            <a:xfrm>
              <a:off x="6380988" y="1725167"/>
              <a:ext cx="3534410" cy="614680"/>
            </a:xfrm>
            <a:custGeom>
              <a:avLst/>
              <a:gdLst/>
              <a:ahLst/>
              <a:cxnLst/>
              <a:rect l="l" t="t" r="r" b="b"/>
              <a:pathLst>
                <a:path w="3534409" h="614680">
                  <a:moveTo>
                    <a:pt x="3431793" y="0"/>
                  </a:moveTo>
                  <a:lnTo>
                    <a:pt x="102362" y="0"/>
                  </a:lnTo>
                  <a:lnTo>
                    <a:pt x="62525" y="8046"/>
                  </a:lnTo>
                  <a:lnTo>
                    <a:pt x="29987" y="29987"/>
                  </a:lnTo>
                  <a:lnTo>
                    <a:pt x="8046" y="62525"/>
                  </a:lnTo>
                  <a:lnTo>
                    <a:pt x="0" y="102362"/>
                  </a:lnTo>
                  <a:lnTo>
                    <a:pt x="0" y="614172"/>
                  </a:lnTo>
                  <a:lnTo>
                    <a:pt x="3534156" y="614172"/>
                  </a:lnTo>
                  <a:lnTo>
                    <a:pt x="3534156" y="102362"/>
                  </a:lnTo>
                  <a:lnTo>
                    <a:pt x="3526109" y="62525"/>
                  </a:lnTo>
                  <a:lnTo>
                    <a:pt x="3504168" y="29987"/>
                  </a:lnTo>
                  <a:lnTo>
                    <a:pt x="3471630" y="8046"/>
                  </a:lnTo>
                  <a:lnTo>
                    <a:pt x="3431793" y="0"/>
                  </a:lnTo>
                  <a:close/>
                </a:path>
              </a:pathLst>
            </a:custGeom>
            <a:solidFill>
              <a:srgbClr val="12ABDB"/>
            </a:solidFill>
          </p:spPr>
          <p:txBody>
            <a:bodyPr wrap="square" lIns="0" tIns="0" rIns="0" bIns="0" rtlCol="0"/>
            <a:lstStyle/>
            <a:p>
              <a:endParaRPr/>
            </a:p>
          </p:txBody>
        </p:sp>
        <p:sp>
          <p:nvSpPr>
            <p:cNvPr id="19" name="object 19"/>
            <p:cNvSpPr txBox="1"/>
            <p:nvPr/>
          </p:nvSpPr>
          <p:spPr>
            <a:xfrm>
              <a:off x="7079233" y="1926717"/>
              <a:ext cx="1852930" cy="239395"/>
            </a:xfrm>
            <a:prstGeom prst="rect">
              <a:avLst/>
            </a:prstGeom>
          </p:spPr>
          <p:txBody>
            <a:bodyPr vert="horz" wrap="square" lIns="0" tIns="13335" rIns="0" bIns="0" rtlCol="0">
              <a:spAutoFit/>
            </a:bodyPr>
            <a:lstStyle/>
            <a:p>
              <a:pPr>
                <a:lnSpc>
                  <a:spcPct val="100000"/>
                </a:lnSpc>
                <a:spcBef>
                  <a:spcPts val="105"/>
                </a:spcBef>
              </a:pPr>
              <a:r>
                <a:rPr sz="1400" b="1" spc="-5">
                  <a:solidFill>
                    <a:srgbClr val="FFFFFF"/>
                  </a:solidFill>
                  <a:latin typeface="Verdana"/>
                  <a:cs typeface="Verdana"/>
                </a:rPr>
                <a:t>Data</a:t>
              </a:r>
              <a:r>
                <a:rPr sz="1400" b="1" spc="-35">
                  <a:solidFill>
                    <a:srgbClr val="FFFFFF"/>
                  </a:solidFill>
                  <a:latin typeface="Verdana"/>
                  <a:cs typeface="Verdana"/>
                </a:rPr>
                <a:t> </a:t>
              </a:r>
              <a:r>
                <a:rPr sz="1400" b="1" spc="-5">
                  <a:solidFill>
                    <a:srgbClr val="FFFFFF"/>
                  </a:solidFill>
                  <a:latin typeface="Verdana"/>
                  <a:cs typeface="Verdana"/>
                </a:rPr>
                <a:t>management</a:t>
              </a:r>
              <a:endParaRPr sz="1400">
                <a:latin typeface="Verdana"/>
                <a:cs typeface="Verdana"/>
              </a:endParaRPr>
            </a:p>
          </p:txBody>
        </p:sp>
        <p:sp>
          <p:nvSpPr>
            <p:cNvPr id="20" name="object 20"/>
            <p:cNvSpPr/>
            <p:nvPr/>
          </p:nvSpPr>
          <p:spPr>
            <a:xfrm>
              <a:off x="6380988" y="1725167"/>
              <a:ext cx="112775" cy="252984"/>
            </a:xfrm>
            <a:prstGeom prst="rect">
              <a:avLst/>
            </a:prstGeom>
            <a:blipFill>
              <a:blip r:embed="rId4" cstate="print"/>
              <a:stretch>
                <a:fillRect/>
              </a:stretch>
            </a:blipFill>
          </p:spPr>
          <p:txBody>
            <a:bodyPr wrap="square" lIns="0" tIns="0" rIns="0" bIns="0" rtlCol="0"/>
            <a:lstStyle/>
            <a:p>
              <a:endParaRPr/>
            </a:p>
          </p:txBody>
        </p:sp>
        <p:sp>
          <p:nvSpPr>
            <p:cNvPr id="21" name="object 21"/>
            <p:cNvSpPr/>
            <p:nvPr/>
          </p:nvSpPr>
          <p:spPr>
            <a:xfrm>
              <a:off x="6380988" y="1725167"/>
              <a:ext cx="113030" cy="253365"/>
            </a:xfrm>
            <a:custGeom>
              <a:avLst/>
              <a:gdLst/>
              <a:ahLst/>
              <a:cxnLst/>
              <a:rect l="l" t="t" r="r" b="b"/>
              <a:pathLst>
                <a:path w="113029" h="253364">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6596"/>
                  </a:lnTo>
                  <a:lnTo>
                    <a:pt x="108340" y="218533"/>
                  </a:lnTo>
                  <a:lnTo>
                    <a:pt x="96250" y="236458"/>
                  </a:lnTo>
                  <a:lnTo>
                    <a:pt x="78325" y="248548"/>
                  </a:lnTo>
                  <a:lnTo>
                    <a:pt x="56387" y="252984"/>
                  </a:lnTo>
                  <a:lnTo>
                    <a:pt x="34450" y="248548"/>
                  </a:lnTo>
                  <a:lnTo>
                    <a:pt x="16525" y="236458"/>
                  </a:lnTo>
                  <a:lnTo>
                    <a:pt x="4435" y="218533"/>
                  </a:lnTo>
                  <a:lnTo>
                    <a:pt x="0" y="196596"/>
                  </a:lnTo>
                  <a:lnTo>
                    <a:pt x="0" y="56387"/>
                  </a:lnTo>
                  <a:close/>
                </a:path>
              </a:pathLst>
            </a:custGeom>
            <a:ln w="9144">
              <a:solidFill>
                <a:srgbClr val="0D80A3"/>
              </a:solidFill>
            </a:ln>
          </p:spPr>
          <p:txBody>
            <a:bodyPr wrap="square" lIns="0" tIns="0" rIns="0" bIns="0" rtlCol="0"/>
            <a:lstStyle/>
            <a:p>
              <a:endParaRPr/>
            </a:p>
          </p:txBody>
        </p:sp>
        <p:sp>
          <p:nvSpPr>
            <p:cNvPr id="22" name="object 22"/>
            <p:cNvSpPr/>
            <p:nvPr/>
          </p:nvSpPr>
          <p:spPr>
            <a:xfrm>
              <a:off x="6380988" y="2086355"/>
              <a:ext cx="112775" cy="252984"/>
            </a:xfrm>
            <a:prstGeom prst="rect">
              <a:avLst/>
            </a:prstGeom>
            <a:blipFill>
              <a:blip r:embed="rId4" cstate="print"/>
              <a:stretch>
                <a:fillRect/>
              </a:stretch>
            </a:blipFill>
          </p:spPr>
          <p:txBody>
            <a:bodyPr wrap="square" lIns="0" tIns="0" rIns="0" bIns="0" rtlCol="0"/>
            <a:lstStyle/>
            <a:p>
              <a:endParaRPr/>
            </a:p>
          </p:txBody>
        </p:sp>
        <p:sp>
          <p:nvSpPr>
            <p:cNvPr id="23" name="object 23"/>
            <p:cNvSpPr/>
            <p:nvPr/>
          </p:nvSpPr>
          <p:spPr>
            <a:xfrm>
              <a:off x="6380988" y="2086355"/>
              <a:ext cx="113030" cy="253365"/>
            </a:xfrm>
            <a:custGeom>
              <a:avLst/>
              <a:gdLst/>
              <a:ahLst/>
              <a:cxnLst/>
              <a:rect l="l" t="t" r="r" b="b"/>
              <a:pathLst>
                <a:path w="113029" h="253364">
                  <a:moveTo>
                    <a:pt x="0" y="56388"/>
                  </a:moveTo>
                  <a:lnTo>
                    <a:pt x="4435" y="34450"/>
                  </a:lnTo>
                  <a:lnTo>
                    <a:pt x="16525" y="16525"/>
                  </a:lnTo>
                  <a:lnTo>
                    <a:pt x="34450" y="4435"/>
                  </a:lnTo>
                  <a:lnTo>
                    <a:pt x="56387" y="0"/>
                  </a:lnTo>
                  <a:lnTo>
                    <a:pt x="78325" y="4435"/>
                  </a:lnTo>
                  <a:lnTo>
                    <a:pt x="96250" y="16525"/>
                  </a:lnTo>
                  <a:lnTo>
                    <a:pt x="108340" y="34450"/>
                  </a:lnTo>
                  <a:lnTo>
                    <a:pt x="112775" y="56388"/>
                  </a:lnTo>
                  <a:lnTo>
                    <a:pt x="112775" y="196596"/>
                  </a:lnTo>
                  <a:lnTo>
                    <a:pt x="108340" y="218533"/>
                  </a:lnTo>
                  <a:lnTo>
                    <a:pt x="96250" y="236458"/>
                  </a:lnTo>
                  <a:lnTo>
                    <a:pt x="78325" y="248548"/>
                  </a:lnTo>
                  <a:lnTo>
                    <a:pt x="56387" y="252984"/>
                  </a:lnTo>
                  <a:lnTo>
                    <a:pt x="34450" y="248548"/>
                  </a:lnTo>
                  <a:lnTo>
                    <a:pt x="16525" y="236458"/>
                  </a:lnTo>
                  <a:lnTo>
                    <a:pt x="4435" y="218533"/>
                  </a:lnTo>
                  <a:lnTo>
                    <a:pt x="0" y="196596"/>
                  </a:lnTo>
                  <a:lnTo>
                    <a:pt x="0" y="56388"/>
                  </a:lnTo>
                  <a:close/>
                </a:path>
              </a:pathLst>
            </a:custGeom>
            <a:ln w="9144">
              <a:solidFill>
                <a:srgbClr val="0D80A3"/>
              </a:solidFill>
            </a:ln>
          </p:spPr>
          <p:txBody>
            <a:bodyPr wrap="square" lIns="0" tIns="0" rIns="0" bIns="0" rtlCol="0"/>
            <a:lstStyle/>
            <a:p>
              <a:endParaRPr/>
            </a:p>
          </p:txBody>
        </p:sp>
        <p:sp>
          <p:nvSpPr>
            <p:cNvPr id="24" name="object 24"/>
            <p:cNvSpPr/>
            <p:nvPr/>
          </p:nvSpPr>
          <p:spPr>
            <a:xfrm>
              <a:off x="6380988" y="1783079"/>
              <a:ext cx="607060" cy="498475"/>
            </a:xfrm>
            <a:custGeom>
              <a:avLst/>
              <a:gdLst/>
              <a:ahLst/>
              <a:cxnLst/>
              <a:rect l="l" t="t" r="r" b="b"/>
              <a:pathLst>
                <a:path w="607059" h="498475">
                  <a:moveTo>
                    <a:pt x="459232" y="0"/>
                  </a:moveTo>
                  <a:lnTo>
                    <a:pt x="0" y="0"/>
                  </a:lnTo>
                  <a:lnTo>
                    <a:pt x="0" y="498348"/>
                  </a:lnTo>
                  <a:lnTo>
                    <a:pt x="459232" y="498348"/>
                  </a:lnTo>
                  <a:lnTo>
                    <a:pt x="606552" y="249174"/>
                  </a:lnTo>
                  <a:lnTo>
                    <a:pt x="459232" y="0"/>
                  </a:lnTo>
                  <a:close/>
                </a:path>
              </a:pathLst>
            </a:custGeom>
            <a:solidFill>
              <a:srgbClr val="12ABDB"/>
            </a:solidFill>
          </p:spPr>
          <p:txBody>
            <a:bodyPr wrap="square" lIns="0" tIns="0" rIns="0" bIns="0" rtlCol="0"/>
            <a:lstStyle/>
            <a:p>
              <a:endParaRPr/>
            </a:p>
          </p:txBody>
        </p:sp>
        <p:sp>
          <p:nvSpPr>
            <p:cNvPr id="25" name="object 25"/>
            <p:cNvSpPr/>
            <p:nvPr/>
          </p:nvSpPr>
          <p:spPr>
            <a:xfrm>
              <a:off x="6380988" y="1783079"/>
              <a:ext cx="607060" cy="498475"/>
            </a:xfrm>
            <a:custGeom>
              <a:avLst/>
              <a:gdLst/>
              <a:ahLst/>
              <a:cxnLst/>
              <a:rect l="l" t="t" r="r" b="b"/>
              <a:pathLst>
                <a:path w="607059" h="498475">
                  <a:moveTo>
                    <a:pt x="0" y="0"/>
                  </a:moveTo>
                  <a:lnTo>
                    <a:pt x="459232" y="0"/>
                  </a:lnTo>
                  <a:lnTo>
                    <a:pt x="606552" y="249174"/>
                  </a:lnTo>
                  <a:lnTo>
                    <a:pt x="459232" y="498348"/>
                  </a:lnTo>
                  <a:lnTo>
                    <a:pt x="0" y="498348"/>
                  </a:lnTo>
                  <a:lnTo>
                    <a:pt x="0" y="0"/>
                  </a:lnTo>
                  <a:close/>
                </a:path>
              </a:pathLst>
            </a:custGeom>
            <a:ln w="9144">
              <a:solidFill>
                <a:srgbClr val="FFFFFF"/>
              </a:solidFill>
            </a:ln>
          </p:spPr>
          <p:txBody>
            <a:bodyPr wrap="square" lIns="0" tIns="0" rIns="0" bIns="0" rtlCol="0"/>
            <a:lstStyle/>
            <a:p>
              <a:endParaRPr/>
            </a:p>
          </p:txBody>
        </p:sp>
        <p:sp>
          <p:nvSpPr>
            <p:cNvPr id="26" name="object 26"/>
            <p:cNvSpPr txBox="1"/>
            <p:nvPr/>
          </p:nvSpPr>
          <p:spPr>
            <a:xfrm>
              <a:off x="6473063" y="1927097"/>
              <a:ext cx="284480" cy="208279"/>
            </a:xfrm>
            <a:prstGeom prst="rect">
              <a:avLst/>
            </a:prstGeom>
          </p:spPr>
          <p:txBody>
            <a:bodyPr vert="horz" wrap="square" lIns="0" tIns="12700" rIns="0" bIns="0" rtlCol="0">
              <a:spAutoFit/>
            </a:bodyPr>
            <a:lstStyle/>
            <a:p>
              <a:pPr>
                <a:lnSpc>
                  <a:spcPct val="100000"/>
                </a:lnSpc>
                <a:spcBef>
                  <a:spcPts val="100"/>
                </a:spcBef>
              </a:pPr>
              <a:r>
                <a:rPr sz="1200" b="1" spc="-5">
                  <a:solidFill>
                    <a:srgbClr val="FFFFFF"/>
                  </a:solidFill>
                  <a:latin typeface="Verdana"/>
                  <a:cs typeface="Verdana"/>
                </a:rPr>
                <a:t>1.2</a:t>
              </a:r>
              <a:endParaRPr sz="1200">
                <a:latin typeface="Verdana"/>
                <a:cs typeface="Verdana"/>
              </a:endParaRPr>
            </a:p>
          </p:txBody>
        </p:sp>
        <p:sp>
          <p:nvSpPr>
            <p:cNvPr id="27" name="object 27"/>
            <p:cNvSpPr/>
            <p:nvPr/>
          </p:nvSpPr>
          <p:spPr>
            <a:xfrm>
              <a:off x="6391655" y="2389632"/>
              <a:ext cx="3534410" cy="612775"/>
            </a:xfrm>
            <a:custGeom>
              <a:avLst/>
              <a:gdLst/>
              <a:ahLst/>
              <a:cxnLst/>
              <a:rect l="l" t="t" r="r" b="b"/>
              <a:pathLst>
                <a:path w="3534409" h="612775">
                  <a:moveTo>
                    <a:pt x="3432048" y="0"/>
                  </a:moveTo>
                  <a:lnTo>
                    <a:pt x="102108" y="0"/>
                  </a:lnTo>
                  <a:lnTo>
                    <a:pt x="62364" y="8024"/>
                  </a:lnTo>
                  <a:lnTo>
                    <a:pt x="29908" y="29908"/>
                  </a:lnTo>
                  <a:lnTo>
                    <a:pt x="8024" y="62364"/>
                  </a:lnTo>
                  <a:lnTo>
                    <a:pt x="0" y="102107"/>
                  </a:lnTo>
                  <a:lnTo>
                    <a:pt x="0" y="612647"/>
                  </a:lnTo>
                  <a:lnTo>
                    <a:pt x="3534155" y="612647"/>
                  </a:lnTo>
                  <a:lnTo>
                    <a:pt x="3534155" y="102107"/>
                  </a:lnTo>
                  <a:lnTo>
                    <a:pt x="3526131" y="62364"/>
                  </a:lnTo>
                  <a:lnTo>
                    <a:pt x="3504247" y="29908"/>
                  </a:lnTo>
                  <a:lnTo>
                    <a:pt x="3471791" y="8024"/>
                  </a:lnTo>
                  <a:lnTo>
                    <a:pt x="3432048" y="0"/>
                  </a:lnTo>
                  <a:close/>
                </a:path>
              </a:pathLst>
            </a:custGeom>
            <a:solidFill>
              <a:srgbClr val="12ABDB"/>
            </a:solidFill>
          </p:spPr>
          <p:txBody>
            <a:bodyPr wrap="square" lIns="0" tIns="0" rIns="0" bIns="0" rtlCol="0"/>
            <a:lstStyle/>
            <a:p>
              <a:endParaRPr/>
            </a:p>
          </p:txBody>
        </p:sp>
        <p:sp>
          <p:nvSpPr>
            <p:cNvPr id="28" name="object 28"/>
            <p:cNvSpPr txBox="1"/>
            <p:nvPr/>
          </p:nvSpPr>
          <p:spPr>
            <a:xfrm>
              <a:off x="7028942" y="2590545"/>
              <a:ext cx="2058035" cy="239395"/>
            </a:xfrm>
            <a:prstGeom prst="rect">
              <a:avLst/>
            </a:prstGeom>
          </p:spPr>
          <p:txBody>
            <a:bodyPr vert="horz" wrap="square" lIns="0" tIns="13335" rIns="0" bIns="0" rtlCol="0">
              <a:spAutoFit/>
            </a:bodyPr>
            <a:lstStyle/>
            <a:p>
              <a:pPr>
                <a:lnSpc>
                  <a:spcPct val="100000"/>
                </a:lnSpc>
                <a:spcBef>
                  <a:spcPts val="105"/>
                </a:spcBef>
              </a:pPr>
              <a:r>
                <a:rPr sz="1400" b="1">
                  <a:solidFill>
                    <a:srgbClr val="FFFFFF"/>
                  </a:solidFill>
                  <a:latin typeface="Verdana"/>
                  <a:cs typeface="Verdana"/>
                </a:rPr>
                <a:t>Mobile</a:t>
              </a:r>
              <a:r>
                <a:rPr sz="1400" b="1" spc="-85">
                  <a:solidFill>
                    <a:srgbClr val="FFFFFF"/>
                  </a:solidFill>
                  <a:latin typeface="Verdana"/>
                  <a:cs typeface="Verdana"/>
                </a:rPr>
                <a:t> </a:t>
              </a:r>
              <a:r>
                <a:rPr sz="1400" b="1">
                  <a:solidFill>
                    <a:srgbClr val="FFFFFF"/>
                  </a:solidFill>
                  <a:latin typeface="Verdana"/>
                  <a:cs typeface="Verdana"/>
                </a:rPr>
                <a:t>Compatibility</a:t>
              </a:r>
              <a:endParaRPr sz="1400">
                <a:latin typeface="Verdana"/>
                <a:cs typeface="Verdana"/>
              </a:endParaRPr>
            </a:p>
          </p:txBody>
        </p:sp>
        <p:sp>
          <p:nvSpPr>
            <p:cNvPr id="29" name="object 29"/>
            <p:cNvSpPr txBox="1"/>
            <p:nvPr/>
          </p:nvSpPr>
          <p:spPr>
            <a:xfrm>
              <a:off x="2948051" y="1925523"/>
              <a:ext cx="2518410" cy="314230"/>
            </a:xfrm>
            <a:prstGeom prst="rect">
              <a:avLst/>
            </a:prstGeom>
          </p:spPr>
          <p:txBody>
            <a:bodyPr vert="horz" wrap="square" lIns="0" tIns="12700" rIns="0" bIns="0" rtlCol="0">
              <a:spAutoFit/>
            </a:bodyPr>
            <a:lstStyle/>
            <a:p>
              <a:pPr>
                <a:lnSpc>
                  <a:spcPct val="100000"/>
                </a:lnSpc>
                <a:spcBef>
                  <a:spcPts val="100"/>
                </a:spcBef>
              </a:pPr>
              <a:r>
                <a:rPr sz="1800">
                  <a:solidFill>
                    <a:srgbClr val="FFFFFF"/>
                  </a:solidFill>
                  <a:latin typeface="Verdana"/>
                  <a:cs typeface="Verdana"/>
                </a:rPr>
                <a:t>Platform</a:t>
              </a:r>
              <a:r>
                <a:rPr sz="1800" spc="-100">
                  <a:solidFill>
                    <a:srgbClr val="FFFFFF"/>
                  </a:solidFill>
                  <a:latin typeface="Verdana"/>
                  <a:cs typeface="Verdana"/>
                </a:rPr>
                <a:t> </a:t>
              </a:r>
              <a:r>
                <a:rPr sz="1800">
                  <a:solidFill>
                    <a:srgbClr val="FFFFFF"/>
                  </a:solidFill>
                  <a:latin typeface="Verdana"/>
                  <a:cs typeface="Verdana"/>
                </a:rPr>
                <a:t>Optimization</a:t>
              </a:r>
              <a:endParaRPr sz="1800">
                <a:latin typeface="Verdana"/>
                <a:cs typeface="Verdana"/>
              </a:endParaRPr>
            </a:p>
          </p:txBody>
        </p:sp>
        <p:sp>
          <p:nvSpPr>
            <p:cNvPr id="30" name="object 30"/>
            <p:cNvSpPr/>
            <p:nvPr/>
          </p:nvSpPr>
          <p:spPr>
            <a:xfrm>
              <a:off x="2139695" y="3110483"/>
              <a:ext cx="7912734" cy="2112645"/>
            </a:xfrm>
            <a:custGeom>
              <a:avLst/>
              <a:gdLst/>
              <a:ahLst/>
              <a:cxnLst/>
              <a:rect l="l" t="t" r="r" b="b"/>
              <a:pathLst>
                <a:path w="7912734" h="2112645">
                  <a:moveTo>
                    <a:pt x="0" y="2112264"/>
                  </a:moveTo>
                  <a:lnTo>
                    <a:pt x="7912608" y="2112264"/>
                  </a:lnTo>
                  <a:lnTo>
                    <a:pt x="7912608" y="0"/>
                  </a:lnTo>
                  <a:lnTo>
                    <a:pt x="0" y="0"/>
                  </a:lnTo>
                  <a:lnTo>
                    <a:pt x="0" y="2112264"/>
                  </a:lnTo>
                  <a:close/>
                </a:path>
              </a:pathLst>
            </a:custGeom>
            <a:solidFill>
              <a:srgbClr val="006FAC">
                <a:alpha val="30979"/>
              </a:srgbClr>
            </a:solidFill>
          </p:spPr>
          <p:txBody>
            <a:bodyPr wrap="square" lIns="0" tIns="0" rIns="0" bIns="0" rtlCol="0"/>
            <a:lstStyle/>
            <a:p>
              <a:endParaRPr/>
            </a:p>
          </p:txBody>
        </p:sp>
        <p:sp>
          <p:nvSpPr>
            <p:cNvPr id="31" name="object 31"/>
            <p:cNvSpPr txBox="1"/>
            <p:nvPr/>
          </p:nvSpPr>
          <p:spPr>
            <a:xfrm>
              <a:off x="2656077" y="3764407"/>
              <a:ext cx="2959100" cy="574040"/>
            </a:xfrm>
            <a:prstGeom prst="rect">
              <a:avLst/>
            </a:prstGeom>
          </p:spPr>
          <p:txBody>
            <a:bodyPr vert="horz" wrap="square" lIns="0" tIns="12700" rIns="0" bIns="0" rtlCol="0">
              <a:spAutoFit/>
            </a:bodyPr>
            <a:lstStyle/>
            <a:p>
              <a:pPr marL="824230" marR="5080" indent="-824865">
                <a:lnSpc>
                  <a:spcPct val="100000"/>
                </a:lnSpc>
                <a:spcBef>
                  <a:spcPts val="100"/>
                </a:spcBef>
              </a:pPr>
              <a:r>
                <a:rPr sz="1800">
                  <a:solidFill>
                    <a:srgbClr val="FFFFFF"/>
                  </a:solidFill>
                  <a:latin typeface="Verdana"/>
                  <a:cs typeface="Verdana"/>
                </a:rPr>
                <a:t>Salesforce</a:t>
              </a:r>
              <a:r>
                <a:rPr sz="1800" spc="-95">
                  <a:solidFill>
                    <a:srgbClr val="FFFFFF"/>
                  </a:solidFill>
                  <a:latin typeface="Verdana"/>
                  <a:cs typeface="Verdana"/>
                </a:rPr>
                <a:t> </a:t>
              </a:r>
              <a:r>
                <a:rPr sz="1800" spc="-5">
                  <a:solidFill>
                    <a:srgbClr val="FFFFFF"/>
                  </a:solidFill>
                  <a:latin typeface="Verdana"/>
                  <a:cs typeface="Verdana"/>
                </a:rPr>
                <a:t>Enhancements  </a:t>
              </a:r>
              <a:r>
                <a:rPr sz="1800">
                  <a:solidFill>
                    <a:srgbClr val="FFFFFF"/>
                  </a:solidFill>
                  <a:latin typeface="Verdana"/>
                  <a:cs typeface="Verdana"/>
                </a:rPr>
                <a:t>and</a:t>
              </a:r>
              <a:r>
                <a:rPr sz="1800" spc="-20">
                  <a:solidFill>
                    <a:srgbClr val="FFFFFF"/>
                  </a:solidFill>
                  <a:latin typeface="Verdana"/>
                  <a:cs typeface="Verdana"/>
                </a:rPr>
                <a:t> </a:t>
              </a:r>
              <a:r>
                <a:rPr sz="1800" spc="-5">
                  <a:solidFill>
                    <a:srgbClr val="FFFFFF"/>
                  </a:solidFill>
                  <a:latin typeface="Verdana"/>
                  <a:cs typeface="Verdana"/>
                </a:rPr>
                <a:t>Rollout</a:t>
              </a:r>
              <a:endParaRPr sz="1800">
                <a:latin typeface="Verdana"/>
                <a:cs typeface="Verdana"/>
              </a:endParaRPr>
            </a:p>
          </p:txBody>
        </p:sp>
        <p:sp>
          <p:nvSpPr>
            <p:cNvPr id="32" name="object 32"/>
            <p:cNvSpPr/>
            <p:nvPr/>
          </p:nvSpPr>
          <p:spPr>
            <a:xfrm>
              <a:off x="6414515" y="3134867"/>
              <a:ext cx="3589020" cy="612775"/>
            </a:xfrm>
            <a:custGeom>
              <a:avLst/>
              <a:gdLst/>
              <a:ahLst/>
              <a:cxnLst/>
              <a:rect l="l" t="t" r="r" b="b"/>
              <a:pathLst>
                <a:path w="3589020" h="612775">
                  <a:moveTo>
                    <a:pt x="3486912" y="0"/>
                  </a:moveTo>
                  <a:lnTo>
                    <a:pt x="102108" y="0"/>
                  </a:lnTo>
                  <a:lnTo>
                    <a:pt x="62364" y="8024"/>
                  </a:lnTo>
                  <a:lnTo>
                    <a:pt x="29908" y="29908"/>
                  </a:lnTo>
                  <a:lnTo>
                    <a:pt x="8024" y="62364"/>
                  </a:lnTo>
                  <a:lnTo>
                    <a:pt x="0" y="102108"/>
                  </a:lnTo>
                  <a:lnTo>
                    <a:pt x="0" y="612648"/>
                  </a:lnTo>
                  <a:lnTo>
                    <a:pt x="3589019" y="612648"/>
                  </a:lnTo>
                  <a:lnTo>
                    <a:pt x="3589019" y="102108"/>
                  </a:lnTo>
                  <a:lnTo>
                    <a:pt x="3580995" y="62364"/>
                  </a:lnTo>
                  <a:lnTo>
                    <a:pt x="3559111" y="29908"/>
                  </a:lnTo>
                  <a:lnTo>
                    <a:pt x="3526655" y="8024"/>
                  </a:lnTo>
                  <a:lnTo>
                    <a:pt x="3486912" y="0"/>
                  </a:lnTo>
                  <a:close/>
                </a:path>
              </a:pathLst>
            </a:custGeom>
            <a:solidFill>
              <a:srgbClr val="006FAC"/>
            </a:solidFill>
          </p:spPr>
          <p:txBody>
            <a:bodyPr wrap="square" lIns="0" tIns="0" rIns="0" bIns="0" rtlCol="0"/>
            <a:lstStyle/>
            <a:p>
              <a:endParaRPr/>
            </a:p>
          </p:txBody>
        </p:sp>
        <p:sp>
          <p:nvSpPr>
            <p:cNvPr id="33" name="object 33"/>
            <p:cNvSpPr txBox="1"/>
            <p:nvPr/>
          </p:nvSpPr>
          <p:spPr>
            <a:xfrm>
              <a:off x="7051802" y="3335527"/>
              <a:ext cx="2627630" cy="239395"/>
            </a:xfrm>
            <a:prstGeom prst="rect">
              <a:avLst/>
            </a:prstGeom>
          </p:spPr>
          <p:txBody>
            <a:bodyPr vert="horz" wrap="square" lIns="0" tIns="13335" rIns="0" bIns="0" rtlCol="0">
              <a:spAutoFit/>
            </a:bodyPr>
            <a:lstStyle/>
            <a:p>
              <a:pPr>
                <a:lnSpc>
                  <a:spcPct val="100000"/>
                </a:lnSpc>
                <a:spcBef>
                  <a:spcPts val="105"/>
                </a:spcBef>
              </a:pPr>
              <a:r>
                <a:rPr sz="1400" b="1" spc="-5">
                  <a:solidFill>
                    <a:srgbClr val="FFFFFF"/>
                  </a:solidFill>
                  <a:latin typeface="Verdana"/>
                  <a:cs typeface="Verdana"/>
                </a:rPr>
                <a:t>Electric Powertrain</a:t>
              </a:r>
              <a:r>
                <a:rPr sz="1400" b="1" spc="-60">
                  <a:solidFill>
                    <a:srgbClr val="FFFFFF"/>
                  </a:solidFill>
                  <a:latin typeface="Verdana"/>
                  <a:cs typeface="Verdana"/>
                </a:rPr>
                <a:t> </a:t>
              </a:r>
              <a:r>
                <a:rPr sz="1400" b="1">
                  <a:solidFill>
                    <a:srgbClr val="FFFFFF"/>
                  </a:solidFill>
                  <a:latin typeface="Verdana"/>
                  <a:cs typeface="Verdana"/>
                </a:rPr>
                <a:t>(ePW)</a:t>
              </a:r>
              <a:endParaRPr sz="1400">
                <a:latin typeface="Verdana"/>
                <a:cs typeface="Verdana"/>
              </a:endParaRPr>
            </a:p>
          </p:txBody>
        </p:sp>
        <p:sp>
          <p:nvSpPr>
            <p:cNvPr id="34" name="object 34"/>
            <p:cNvSpPr/>
            <p:nvPr/>
          </p:nvSpPr>
          <p:spPr>
            <a:xfrm>
              <a:off x="6414515" y="3134867"/>
              <a:ext cx="105156" cy="251460"/>
            </a:xfrm>
            <a:prstGeom prst="rect">
              <a:avLst/>
            </a:prstGeom>
            <a:blipFill>
              <a:blip r:embed="rId5" cstate="print"/>
              <a:stretch>
                <a:fillRect/>
              </a:stretch>
            </a:blipFill>
          </p:spPr>
          <p:txBody>
            <a:bodyPr wrap="square" lIns="0" tIns="0" rIns="0" bIns="0" rtlCol="0"/>
            <a:lstStyle/>
            <a:p>
              <a:endParaRPr/>
            </a:p>
          </p:txBody>
        </p:sp>
        <p:sp>
          <p:nvSpPr>
            <p:cNvPr id="35" name="object 35"/>
            <p:cNvSpPr/>
            <p:nvPr/>
          </p:nvSpPr>
          <p:spPr>
            <a:xfrm>
              <a:off x="6414515" y="3134867"/>
              <a:ext cx="105410" cy="251460"/>
            </a:xfrm>
            <a:custGeom>
              <a:avLst/>
              <a:gdLst/>
              <a:ahLst/>
              <a:cxnLst/>
              <a:rect l="l" t="t" r="r" b="b"/>
              <a:pathLst>
                <a:path w="105409" h="251460">
                  <a:moveTo>
                    <a:pt x="0" y="52578"/>
                  </a:moveTo>
                  <a:lnTo>
                    <a:pt x="4125" y="32093"/>
                  </a:lnTo>
                  <a:lnTo>
                    <a:pt x="15382" y="15382"/>
                  </a:lnTo>
                  <a:lnTo>
                    <a:pt x="32093" y="4125"/>
                  </a:lnTo>
                  <a:lnTo>
                    <a:pt x="52578" y="0"/>
                  </a:lnTo>
                  <a:lnTo>
                    <a:pt x="73062" y="4125"/>
                  </a:lnTo>
                  <a:lnTo>
                    <a:pt x="89773" y="15382"/>
                  </a:lnTo>
                  <a:lnTo>
                    <a:pt x="101030" y="32093"/>
                  </a:lnTo>
                  <a:lnTo>
                    <a:pt x="105156" y="52578"/>
                  </a:lnTo>
                  <a:lnTo>
                    <a:pt x="105156" y="198882"/>
                  </a:lnTo>
                  <a:lnTo>
                    <a:pt x="101030" y="219366"/>
                  </a:lnTo>
                  <a:lnTo>
                    <a:pt x="89773" y="236077"/>
                  </a:lnTo>
                  <a:lnTo>
                    <a:pt x="73062" y="247334"/>
                  </a:lnTo>
                  <a:lnTo>
                    <a:pt x="52578" y="251460"/>
                  </a:lnTo>
                  <a:lnTo>
                    <a:pt x="32093" y="247334"/>
                  </a:lnTo>
                  <a:lnTo>
                    <a:pt x="15382" y="236077"/>
                  </a:lnTo>
                  <a:lnTo>
                    <a:pt x="4125" y="219366"/>
                  </a:lnTo>
                  <a:lnTo>
                    <a:pt x="0" y="198882"/>
                  </a:lnTo>
                  <a:lnTo>
                    <a:pt x="0" y="52578"/>
                  </a:lnTo>
                  <a:close/>
                </a:path>
              </a:pathLst>
            </a:custGeom>
            <a:ln w="9144">
              <a:solidFill>
                <a:srgbClr val="0D80A3"/>
              </a:solidFill>
            </a:ln>
          </p:spPr>
          <p:txBody>
            <a:bodyPr wrap="square" lIns="0" tIns="0" rIns="0" bIns="0" rtlCol="0"/>
            <a:lstStyle/>
            <a:p>
              <a:endParaRPr/>
            </a:p>
          </p:txBody>
        </p:sp>
        <p:sp>
          <p:nvSpPr>
            <p:cNvPr id="36" name="object 36"/>
            <p:cNvSpPr/>
            <p:nvPr/>
          </p:nvSpPr>
          <p:spPr>
            <a:xfrm>
              <a:off x="6414515" y="3496055"/>
              <a:ext cx="105156" cy="251460"/>
            </a:xfrm>
            <a:prstGeom prst="rect">
              <a:avLst/>
            </a:prstGeom>
            <a:blipFill>
              <a:blip r:embed="rId5" cstate="print"/>
              <a:stretch>
                <a:fillRect/>
              </a:stretch>
            </a:blipFill>
          </p:spPr>
          <p:txBody>
            <a:bodyPr wrap="square" lIns="0" tIns="0" rIns="0" bIns="0" rtlCol="0"/>
            <a:lstStyle/>
            <a:p>
              <a:endParaRPr/>
            </a:p>
          </p:txBody>
        </p:sp>
        <p:sp>
          <p:nvSpPr>
            <p:cNvPr id="37" name="object 37"/>
            <p:cNvSpPr/>
            <p:nvPr/>
          </p:nvSpPr>
          <p:spPr>
            <a:xfrm>
              <a:off x="6414515" y="3496055"/>
              <a:ext cx="105410" cy="251460"/>
            </a:xfrm>
            <a:custGeom>
              <a:avLst/>
              <a:gdLst/>
              <a:ahLst/>
              <a:cxnLst/>
              <a:rect l="l" t="t" r="r" b="b"/>
              <a:pathLst>
                <a:path w="105409" h="251460">
                  <a:moveTo>
                    <a:pt x="0" y="52578"/>
                  </a:moveTo>
                  <a:lnTo>
                    <a:pt x="4125" y="32093"/>
                  </a:lnTo>
                  <a:lnTo>
                    <a:pt x="15382" y="15382"/>
                  </a:lnTo>
                  <a:lnTo>
                    <a:pt x="32093" y="4125"/>
                  </a:lnTo>
                  <a:lnTo>
                    <a:pt x="52578" y="0"/>
                  </a:lnTo>
                  <a:lnTo>
                    <a:pt x="73062" y="4125"/>
                  </a:lnTo>
                  <a:lnTo>
                    <a:pt x="89773" y="15382"/>
                  </a:lnTo>
                  <a:lnTo>
                    <a:pt x="101030" y="32093"/>
                  </a:lnTo>
                  <a:lnTo>
                    <a:pt x="105156" y="52578"/>
                  </a:lnTo>
                  <a:lnTo>
                    <a:pt x="105156" y="198882"/>
                  </a:lnTo>
                  <a:lnTo>
                    <a:pt x="101030" y="219366"/>
                  </a:lnTo>
                  <a:lnTo>
                    <a:pt x="89773" y="236077"/>
                  </a:lnTo>
                  <a:lnTo>
                    <a:pt x="73062" y="247334"/>
                  </a:lnTo>
                  <a:lnTo>
                    <a:pt x="52578" y="251460"/>
                  </a:lnTo>
                  <a:lnTo>
                    <a:pt x="32093" y="247334"/>
                  </a:lnTo>
                  <a:lnTo>
                    <a:pt x="15382" y="236077"/>
                  </a:lnTo>
                  <a:lnTo>
                    <a:pt x="4125" y="219366"/>
                  </a:lnTo>
                  <a:lnTo>
                    <a:pt x="0" y="198882"/>
                  </a:lnTo>
                  <a:lnTo>
                    <a:pt x="0" y="52578"/>
                  </a:lnTo>
                  <a:close/>
                </a:path>
              </a:pathLst>
            </a:custGeom>
            <a:ln w="9144">
              <a:solidFill>
                <a:srgbClr val="0D80A3"/>
              </a:solidFill>
            </a:ln>
          </p:spPr>
          <p:txBody>
            <a:bodyPr wrap="square" lIns="0" tIns="0" rIns="0" bIns="0" rtlCol="0"/>
            <a:lstStyle/>
            <a:p>
              <a:endParaRPr/>
            </a:p>
          </p:txBody>
        </p:sp>
        <p:sp>
          <p:nvSpPr>
            <p:cNvPr id="38" name="object 38"/>
            <p:cNvSpPr/>
            <p:nvPr/>
          </p:nvSpPr>
          <p:spPr>
            <a:xfrm>
              <a:off x="6414515" y="3192779"/>
              <a:ext cx="573405" cy="497205"/>
            </a:xfrm>
            <a:custGeom>
              <a:avLst/>
              <a:gdLst/>
              <a:ahLst/>
              <a:cxnLst/>
              <a:rect l="l" t="t" r="r" b="b"/>
              <a:pathLst>
                <a:path w="573404" h="497204">
                  <a:moveTo>
                    <a:pt x="426085" y="0"/>
                  </a:moveTo>
                  <a:lnTo>
                    <a:pt x="0" y="0"/>
                  </a:lnTo>
                  <a:lnTo>
                    <a:pt x="0" y="496824"/>
                  </a:lnTo>
                  <a:lnTo>
                    <a:pt x="426085" y="496824"/>
                  </a:lnTo>
                  <a:lnTo>
                    <a:pt x="573024" y="248412"/>
                  </a:lnTo>
                  <a:lnTo>
                    <a:pt x="426085" y="0"/>
                  </a:lnTo>
                  <a:close/>
                </a:path>
              </a:pathLst>
            </a:custGeom>
            <a:solidFill>
              <a:srgbClr val="006FAC"/>
            </a:solidFill>
          </p:spPr>
          <p:txBody>
            <a:bodyPr wrap="square" lIns="0" tIns="0" rIns="0" bIns="0" rtlCol="0"/>
            <a:lstStyle/>
            <a:p>
              <a:endParaRPr/>
            </a:p>
          </p:txBody>
        </p:sp>
        <p:sp>
          <p:nvSpPr>
            <p:cNvPr id="39" name="object 39"/>
            <p:cNvSpPr/>
            <p:nvPr/>
          </p:nvSpPr>
          <p:spPr>
            <a:xfrm>
              <a:off x="6414515" y="3192779"/>
              <a:ext cx="573405" cy="497205"/>
            </a:xfrm>
            <a:custGeom>
              <a:avLst/>
              <a:gdLst/>
              <a:ahLst/>
              <a:cxnLst/>
              <a:rect l="l" t="t" r="r" b="b"/>
              <a:pathLst>
                <a:path w="573404" h="497204">
                  <a:moveTo>
                    <a:pt x="0" y="0"/>
                  </a:moveTo>
                  <a:lnTo>
                    <a:pt x="426085" y="0"/>
                  </a:lnTo>
                  <a:lnTo>
                    <a:pt x="573024" y="248412"/>
                  </a:lnTo>
                  <a:lnTo>
                    <a:pt x="426085" y="496824"/>
                  </a:lnTo>
                  <a:lnTo>
                    <a:pt x="0" y="496824"/>
                  </a:lnTo>
                  <a:lnTo>
                    <a:pt x="0" y="0"/>
                  </a:lnTo>
                  <a:close/>
                </a:path>
              </a:pathLst>
            </a:custGeom>
            <a:ln w="9144">
              <a:solidFill>
                <a:srgbClr val="FFFFFF"/>
              </a:solidFill>
            </a:ln>
          </p:spPr>
          <p:txBody>
            <a:bodyPr wrap="square" lIns="0" tIns="0" rIns="0" bIns="0" rtlCol="0"/>
            <a:lstStyle/>
            <a:p>
              <a:endParaRPr/>
            </a:p>
          </p:txBody>
        </p:sp>
        <p:sp>
          <p:nvSpPr>
            <p:cNvPr id="40" name="object 40"/>
            <p:cNvSpPr txBox="1"/>
            <p:nvPr/>
          </p:nvSpPr>
          <p:spPr>
            <a:xfrm>
              <a:off x="6506591" y="3335782"/>
              <a:ext cx="284480" cy="208279"/>
            </a:xfrm>
            <a:prstGeom prst="rect">
              <a:avLst/>
            </a:prstGeom>
          </p:spPr>
          <p:txBody>
            <a:bodyPr vert="horz" wrap="square" lIns="0" tIns="12700" rIns="0" bIns="0" rtlCol="0">
              <a:spAutoFit/>
            </a:bodyPr>
            <a:lstStyle/>
            <a:p>
              <a:pPr>
                <a:lnSpc>
                  <a:spcPct val="100000"/>
                </a:lnSpc>
                <a:spcBef>
                  <a:spcPts val="100"/>
                </a:spcBef>
              </a:pPr>
              <a:r>
                <a:rPr sz="1200" b="1" spc="-5">
                  <a:solidFill>
                    <a:srgbClr val="FFFFFF"/>
                  </a:solidFill>
                  <a:latin typeface="Verdana"/>
                  <a:cs typeface="Verdana"/>
                </a:rPr>
                <a:t>2.1</a:t>
              </a:r>
              <a:endParaRPr sz="1200">
                <a:latin typeface="Verdana"/>
                <a:cs typeface="Verdana"/>
              </a:endParaRPr>
            </a:p>
          </p:txBody>
        </p:sp>
        <p:sp>
          <p:nvSpPr>
            <p:cNvPr id="41" name="object 41"/>
            <p:cNvSpPr/>
            <p:nvPr/>
          </p:nvSpPr>
          <p:spPr>
            <a:xfrm>
              <a:off x="6414515" y="3838955"/>
              <a:ext cx="3589020" cy="612775"/>
            </a:xfrm>
            <a:custGeom>
              <a:avLst/>
              <a:gdLst/>
              <a:ahLst/>
              <a:cxnLst/>
              <a:rect l="l" t="t" r="r" b="b"/>
              <a:pathLst>
                <a:path w="3589020" h="612775">
                  <a:moveTo>
                    <a:pt x="3486912" y="0"/>
                  </a:moveTo>
                  <a:lnTo>
                    <a:pt x="102108" y="0"/>
                  </a:lnTo>
                  <a:lnTo>
                    <a:pt x="62364" y="8024"/>
                  </a:lnTo>
                  <a:lnTo>
                    <a:pt x="29908" y="29908"/>
                  </a:lnTo>
                  <a:lnTo>
                    <a:pt x="8024" y="62364"/>
                  </a:lnTo>
                  <a:lnTo>
                    <a:pt x="0" y="102108"/>
                  </a:lnTo>
                  <a:lnTo>
                    <a:pt x="0" y="612648"/>
                  </a:lnTo>
                  <a:lnTo>
                    <a:pt x="3589019" y="612648"/>
                  </a:lnTo>
                  <a:lnTo>
                    <a:pt x="3589019" y="102108"/>
                  </a:lnTo>
                  <a:lnTo>
                    <a:pt x="3580995" y="62364"/>
                  </a:lnTo>
                  <a:lnTo>
                    <a:pt x="3559111" y="29908"/>
                  </a:lnTo>
                  <a:lnTo>
                    <a:pt x="3526655" y="8024"/>
                  </a:lnTo>
                  <a:lnTo>
                    <a:pt x="3486912" y="0"/>
                  </a:lnTo>
                  <a:close/>
                </a:path>
              </a:pathLst>
            </a:custGeom>
            <a:solidFill>
              <a:srgbClr val="006FAC"/>
            </a:solidFill>
          </p:spPr>
          <p:txBody>
            <a:bodyPr wrap="square" lIns="0" tIns="0" rIns="0" bIns="0" rtlCol="0"/>
            <a:lstStyle/>
            <a:p>
              <a:endParaRPr/>
            </a:p>
          </p:txBody>
        </p:sp>
        <p:sp>
          <p:nvSpPr>
            <p:cNvPr id="42" name="object 42"/>
            <p:cNvSpPr txBox="1"/>
            <p:nvPr/>
          </p:nvSpPr>
          <p:spPr>
            <a:xfrm>
              <a:off x="7051802" y="4040504"/>
              <a:ext cx="1709420" cy="239395"/>
            </a:xfrm>
            <a:prstGeom prst="rect">
              <a:avLst/>
            </a:prstGeom>
          </p:spPr>
          <p:txBody>
            <a:bodyPr vert="horz" wrap="square" lIns="0" tIns="12700" rIns="0" bIns="0" rtlCol="0">
              <a:spAutoFit/>
            </a:bodyPr>
            <a:lstStyle/>
            <a:p>
              <a:pPr>
                <a:lnSpc>
                  <a:spcPct val="100000"/>
                </a:lnSpc>
                <a:spcBef>
                  <a:spcPts val="100"/>
                </a:spcBef>
              </a:pPr>
              <a:r>
                <a:rPr sz="1400" b="1" spc="-5">
                  <a:solidFill>
                    <a:srgbClr val="FFFFFF"/>
                  </a:solidFill>
                  <a:latin typeface="Verdana"/>
                  <a:cs typeface="Verdana"/>
                </a:rPr>
                <a:t>Powertrain</a:t>
              </a:r>
              <a:r>
                <a:rPr sz="1400" b="1" spc="-55">
                  <a:solidFill>
                    <a:srgbClr val="FFFFFF"/>
                  </a:solidFill>
                  <a:latin typeface="Verdana"/>
                  <a:cs typeface="Verdana"/>
                </a:rPr>
                <a:t> </a:t>
              </a:r>
              <a:r>
                <a:rPr sz="1400" b="1">
                  <a:solidFill>
                    <a:srgbClr val="FFFFFF"/>
                  </a:solidFill>
                  <a:latin typeface="Verdana"/>
                  <a:cs typeface="Verdana"/>
                </a:rPr>
                <a:t>(PW)</a:t>
              </a:r>
              <a:endParaRPr sz="1400">
                <a:latin typeface="Verdana"/>
                <a:cs typeface="Verdana"/>
              </a:endParaRPr>
            </a:p>
          </p:txBody>
        </p:sp>
        <p:sp>
          <p:nvSpPr>
            <p:cNvPr id="43" name="object 43"/>
            <p:cNvSpPr/>
            <p:nvPr/>
          </p:nvSpPr>
          <p:spPr>
            <a:xfrm>
              <a:off x="6414515" y="3838955"/>
              <a:ext cx="105156" cy="251460"/>
            </a:xfrm>
            <a:prstGeom prst="rect">
              <a:avLst/>
            </a:prstGeom>
            <a:blipFill>
              <a:blip r:embed="rId5" cstate="print"/>
              <a:stretch>
                <a:fillRect/>
              </a:stretch>
            </a:blipFill>
          </p:spPr>
          <p:txBody>
            <a:bodyPr wrap="square" lIns="0" tIns="0" rIns="0" bIns="0" rtlCol="0"/>
            <a:lstStyle/>
            <a:p>
              <a:endParaRPr/>
            </a:p>
          </p:txBody>
        </p:sp>
        <p:sp>
          <p:nvSpPr>
            <p:cNvPr id="44" name="object 44"/>
            <p:cNvSpPr/>
            <p:nvPr/>
          </p:nvSpPr>
          <p:spPr>
            <a:xfrm>
              <a:off x="6414515" y="3838955"/>
              <a:ext cx="105410" cy="251460"/>
            </a:xfrm>
            <a:custGeom>
              <a:avLst/>
              <a:gdLst/>
              <a:ahLst/>
              <a:cxnLst/>
              <a:rect l="l" t="t" r="r" b="b"/>
              <a:pathLst>
                <a:path w="105409" h="251460">
                  <a:moveTo>
                    <a:pt x="0" y="52578"/>
                  </a:moveTo>
                  <a:lnTo>
                    <a:pt x="4125" y="32093"/>
                  </a:lnTo>
                  <a:lnTo>
                    <a:pt x="15382" y="15382"/>
                  </a:lnTo>
                  <a:lnTo>
                    <a:pt x="32093" y="4125"/>
                  </a:lnTo>
                  <a:lnTo>
                    <a:pt x="52578" y="0"/>
                  </a:lnTo>
                  <a:lnTo>
                    <a:pt x="73062" y="4125"/>
                  </a:lnTo>
                  <a:lnTo>
                    <a:pt x="89773" y="15382"/>
                  </a:lnTo>
                  <a:lnTo>
                    <a:pt x="101030" y="32093"/>
                  </a:lnTo>
                  <a:lnTo>
                    <a:pt x="105156" y="52578"/>
                  </a:lnTo>
                  <a:lnTo>
                    <a:pt x="105156" y="198882"/>
                  </a:lnTo>
                  <a:lnTo>
                    <a:pt x="101030" y="219366"/>
                  </a:lnTo>
                  <a:lnTo>
                    <a:pt x="89773" y="236077"/>
                  </a:lnTo>
                  <a:lnTo>
                    <a:pt x="73062" y="247334"/>
                  </a:lnTo>
                  <a:lnTo>
                    <a:pt x="52578" y="251460"/>
                  </a:lnTo>
                  <a:lnTo>
                    <a:pt x="32093" y="247334"/>
                  </a:lnTo>
                  <a:lnTo>
                    <a:pt x="15382" y="236077"/>
                  </a:lnTo>
                  <a:lnTo>
                    <a:pt x="4125" y="219366"/>
                  </a:lnTo>
                  <a:lnTo>
                    <a:pt x="0" y="198882"/>
                  </a:lnTo>
                  <a:lnTo>
                    <a:pt x="0" y="52578"/>
                  </a:lnTo>
                  <a:close/>
                </a:path>
              </a:pathLst>
            </a:custGeom>
            <a:ln w="9144">
              <a:solidFill>
                <a:srgbClr val="0D80A3"/>
              </a:solidFill>
            </a:ln>
          </p:spPr>
          <p:txBody>
            <a:bodyPr wrap="square" lIns="0" tIns="0" rIns="0" bIns="0" rtlCol="0"/>
            <a:lstStyle/>
            <a:p>
              <a:endParaRPr/>
            </a:p>
          </p:txBody>
        </p:sp>
        <p:sp>
          <p:nvSpPr>
            <p:cNvPr id="45" name="object 45"/>
            <p:cNvSpPr/>
            <p:nvPr/>
          </p:nvSpPr>
          <p:spPr>
            <a:xfrm>
              <a:off x="6414515" y="4200144"/>
              <a:ext cx="105156" cy="251460"/>
            </a:xfrm>
            <a:prstGeom prst="rect">
              <a:avLst/>
            </a:prstGeom>
            <a:blipFill>
              <a:blip r:embed="rId5" cstate="print"/>
              <a:stretch>
                <a:fillRect/>
              </a:stretch>
            </a:blipFill>
          </p:spPr>
          <p:txBody>
            <a:bodyPr wrap="square" lIns="0" tIns="0" rIns="0" bIns="0" rtlCol="0"/>
            <a:lstStyle/>
            <a:p>
              <a:endParaRPr/>
            </a:p>
          </p:txBody>
        </p:sp>
        <p:sp>
          <p:nvSpPr>
            <p:cNvPr id="46" name="object 46"/>
            <p:cNvSpPr/>
            <p:nvPr/>
          </p:nvSpPr>
          <p:spPr>
            <a:xfrm>
              <a:off x="6414515" y="4200144"/>
              <a:ext cx="105410" cy="251460"/>
            </a:xfrm>
            <a:custGeom>
              <a:avLst/>
              <a:gdLst/>
              <a:ahLst/>
              <a:cxnLst/>
              <a:rect l="l" t="t" r="r" b="b"/>
              <a:pathLst>
                <a:path w="105409" h="251460">
                  <a:moveTo>
                    <a:pt x="0" y="52577"/>
                  </a:moveTo>
                  <a:lnTo>
                    <a:pt x="4125" y="32093"/>
                  </a:lnTo>
                  <a:lnTo>
                    <a:pt x="15382" y="15382"/>
                  </a:lnTo>
                  <a:lnTo>
                    <a:pt x="32093" y="4125"/>
                  </a:lnTo>
                  <a:lnTo>
                    <a:pt x="52578" y="0"/>
                  </a:lnTo>
                  <a:lnTo>
                    <a:pt x="73062" y="4125"/>
                  </a:lnTo>
                  <a:lnTo>
                    <a:pt x="89773" y="15382"/>
                  </a:lnTo>
                  <a:lnTo>
                    <a:pt x="101030" y="32093"/>
                  </a:lnTo>
                  <a:lnTo>
                    <a:pt x="105156" y="52577"/>
                  </a:lnTo>
                  <a:lnTo>
                    <a:pt x="105156" y="198881"/>
                  </a:lnTo>
                  <a:lnTo>
                    <a:pt x="101030" y="219366"/>
                  </a:lnTo>
                  <a:lnTo>
                    <a:pt x="89773" y="236077"/>
                  </a:lnTo>
                  <a:lnTo>
                    <a:pt x="73062" y="247334"/>
                  </a:lnTo>
                  <a:lnTo>
                    <a:pt x="52578" y="251459"/>
                  </a:lnTo>
                  <a:lnTo>
                    <a:pt x="32093" y="247334"/>
                  </a:lnTo>
                  <a:lnTo>
                    <a:pt x="15382" y="236077"/>
                  </a:lnTo>
                  <a:lnTo>
                    <a:pt x="4125" y="219366"/>
                  </a:lnTo>
                  <a:lnTo>
                    <a:pt x="0" y="198881"/>
                  </a:lnTo>
                  <a:lnTo>
                    <a:pt x="0" y="52577"/>
                  </a:lnTo>
                  <a:close/>
                </a:path>
              </a:pathLst>
            </a:custGeom>
            <a:ln w="9144">
              <a:solidFill>
                <a:srgbClr val="0D80A3"/>
              </a:solidFill>
            </a:ln>
          </p:spPr>
          <p:txBody>
            <a:bodyPr wrap="square" lIns="0" tIns="0" rIns="0" bIns="0" rtlCol="0"/>
            <a:lstStyle/>
            <a:p>
              <a:endParaRPr/>
            </a:p>
          </p:txBody>
        </p:sp>
        <p:sp>
          <p:nvSpPr>
            <p:cNvPr id="47" name="object 47"/>
            <p:cNvSpPr/>
            <p:nvPr/>
          </p:nvSpPr>
          <p:spPr>
            <a:xfrm>
              <a:off x="6414515" y="3896867"/>
              <a:ext cx="573405" cy="497205"/>
            </a:xfrm>
            <a:custGeom>
              <a:avLst/>
              <a:gdLst/>
              <a:ahLst/>
              <a:cxnLst/>
              <a:rect l="l" t="t" r="r" b="b"/>
              <a:pathLst>
                <a:path w="573404" h="497204">
                  <a:moveTo>
                    <a:pt x="426085" y="0"/>
                  </a:moveTo>
                  <a:lnTo>
                    <a:pt x="0" y="0"/>
                  </a:lnTo>
                  <a:lnTo>
                    <a:pt x="0" y="496823"/>
                  </a:lnTo>
                  <a:lnTo>
                    <a:pt x="426085" y="496823"/>
                  </a:lnTo>
                  <a:lnTo>
                    <a:pt x="573024" y="248411"/>
                  </a:lnTo>
                  <a:lnTo>
                    <a:pt x="426085" y="0"/>
                  </a:lnTo>
                  <a:close/>
                </a:path>
              </a:pathLst>
            </a:custGeom>
            <a:solidFill>
              <a:srgbClr val="006FAC"/>
            </a:solidFill>
          </p:spPr>
          <p:txBody>
            <a:bodyPr wrap="square" lIns="0" tIns="0" rIns="0" bIns="0" rtlCol="0"/>
            <a:lstStyle/>
            <a:p>
              <a:endParaRPr/>
            </a:p>
          </p:txBody>
        </p:sp>
        <p:sp>
          <p:nvSpPr>
            <p:cNvPr id="48" name="object 48"/>
            <p:cNvSpPr/>
            <p:nvPr/>
          </p:nvSpPr>
          <p:spPr>
            <a:xfrm>
              <a:off x="6414515" y="3896867"/>
              <a:ext cx="573405" cy="497205"/>
            </a:xfrm>
            <a:custGeom>
              <a:avLst/>
              <a:gdLst/>
              <a:ahLst/>
              <a:cxnLst/>
              <a:rect l="l" t="t" r="r" b="b"/>
              <a:pathLst>
                <a:path w="573404" h="497204">
                  <a:moveTo>
                    <a:pt x="0" y="0"/>
                  </a:moveTo>
                  <a:lnTo>
                    <a:pt x="426085" y="0"/>
                  </a:lnTo>
                  <a:lnTo>
                    <a:pt x="573024" y="248411"/>
                  </a:lnTo>
                  <a:lnTo>
                    <a:pt x="426085" y="496823"/>
                  </a:lnTo>
                  <a:lnTo>
                    <a:pt x="0" y="496823"/>
                  </a:lnTo>
                  <a:lnTo>
                    <a:pt x="0" y="0"/>
                  </a:lnTo>
                  <a:close/>
                </a:path>
              </a:pathLst>
            </a:custGeom>
            <a:ln w="9144">
              <a:solidFill>
                <a:srgbClr val="FFFFFF"/>
              </a:solidFill>
            </a:ln>
          </p:spPr>
          <p:txBody>
            <a:bodyPr wrap="square" lIns="0" tIns="0" rIns="0" bIns="0" rtlCol="0"/>
            <a:lstStyle/>
            <a:p>
              <a:endParaRPr/>
            </a:p>
          </p:txBody>
        </p:sp>
        <p:sp>
          <p:nvSpPr>
            <p:cNvPr id="49" name="object 49"/>
            <p:cNvSpPr txBox="1"/>
            <p:nvPr/>
          </p:nvSpPr>
          <p:spPr>
            <a:xfrm>
              <a:off x="6506591" y="4040200"/>
              <a:ext cx="284480" cy="208915"/>
            </a:xfrm>
            <a:prstGeom prst="rect">
              <a:avLst/>
            </a:prstGeom>
          </p:spPr>
          <p:txBody>
            <a:bodyPr vert="horz" wrap="square" lIns="0" tIns="12700" rIns="0" bIns="0" rtlCol="0">
              <a:spAutoFit/>
            </a:bodyPr>
            <a:lstStyle/>
            <a:p>
              <a:pPr>
                <a:lnSpc>
                  <a:spcPct val="100000"/>
                </a:lnSpc>
                <a:spcBef>
                  <a:spcPts val="100"/>
                </a:spcBef>
              </a:pPr>
              <a:r>
                <a:rPr sz="1200" b="1" spc="-5">
                  <a:solidFill>
                    <a:srgbClr val="FFFFFF"/>
                  </a:solidFill>
                  <a:latin typeface="Verdana"/>
                  <a:cs typeface="Verdana"/>
                </a:rPr>
                <a:t>2.2</a:t>
              </a:r>
              <a:endParaRPr sz="1200">
                <a:latin typeface="Verdana"/>
                <a:cs typeface="Verdana"/>
              </a:endParaRPr>
            </a:p>
          </p:txBody>
        </p:sp>
        <p:sp>
          <p:nvSpPr>
            <p:cNvPr id="50" name="object 50"/>
            <p:cNvSpPr/>
            <p:nvPr/>
          </p:nvSpPr>
          <p:spPr>
            <a:xfrm>
              <a:off x="6414515" y="4526279"/>
              <a:ext cx="3611879" cy="612775"/>
            </a:xfrm>
            <a:custGeom>
              <a:avLst/>
              <a:gdLst/>
              <a:ahLst/>
              <a:cxnLst/>
              <a:rect l="l" t="t" r="r" b="b"/>
              <a:pathLst>
                <a:path w="3611879" h="612775">
                  <a:moveTo>
                    <a:pt x="3509772" y="0"/>
                  </a:moveTo>
                  <a:lnTo>
                    <a:pt x="102108" y="0"/>
                  </a:lnTo>
                  <a:lnTo>
                    <a:pt x="62364" y="8024"/>
                  </a:lnTo>
                  <a:lnTo>
                    <a:pt x="29908" y="29908"/>
                  </a:lnTo>
                  <a:lnTo>
                    <a:pt x="8024" y="62364"/>
                  </a:lnTo>
                  <a:lnTo>
                    <a:pt x="0" y="102108"/>
                  </a:lnTo>
                  <a:lnTo>
                    <a:pt x="0" y="612648"/>
                  </a:lnTo>
                  <a:lnTo>
                    <a:pt x="3611880" y="612648"/>
                  </a:lnTo>
                  <a:lnTo>
                    <a:pt x="3611880" y="102108"/>
                  </a:lnTo>
                  <a:lnTo>
                    <a:pt x="3603855" y="62364"/>
                  </a:lnTo>
                  <a:lnTo>
                    <a:pt x="3581971" y="29908"/>
                  </a:lnTo>
                  <a:lnTo>
                    <a:pt x="3549515" y="8024"/>
                  </a:lnTo>
                  <a:lnTo>
                    <a:pt x="3509772" y="0"/>
                  </a:lnTo>
                  <a:close/>
                </a:path>
              </a:pathLst>
            </a:custGeom>
            <a:solidFill>
              <a:srgbClr val="006FAC"/>
            </a:solidFill>
          </p:spPr>
          <p:txBody>
            <a:bodyPr wrap="square" lIns="0" tIns="0" rIns="0" bIns="0" rtlCol="0"/>
            <a:lstStyle/>
            <a:p>
              <a:endParaRPr/>
            </a:p>
          </p:txBody>
        </p:sp>
        <p:sp>
          <p:nvSpPr>
            <p:cNvPr id="51" name="object 51"/>
            <p:cNvSpPr txBox="1"/>
            <p:nvPr/>
          </p:nvSpPr>
          <p:spPr>
            <a:xfrm>
              <a:off x="7051802" y="4727575"/>
              <a:ext cx="2802255" cy="239395"/>
            </a:xfrm>
            <a:prstGeom prst="rect">
              <a:avLst/>
            </a:prstGeom>
          </p:spPr>
          <p:txBody>
            <a:bodyPr vert="horz" wrap="square" lIns="0" tIns="12700" rIns="0" bIns="0" rtlCol="0">
              <a:spAutoFit/>
            </a:bodyPr>
            <a:lstStyle/>
            <a:p>
              <a:pPr>
                <a:lnSpc>
                  <a:spcPct val="100000"/>
                </a:lnSpc>
                <a:spcBef>
                  <a:spcPts val="100"/>
                </a:spcBef>
              </a:pPr>
              <a:r>
                <a:rPr sz="1400" b="1">
                  <a:solidFill>
                    <a:srgbClr val="FFFFFF"/>
                  </a:solidFill>
                  <a:latin typeface="Verdana"/>
                  <a:cs typeface="Verdana"/>
                </a:rPr>
                <a:t>Green </a:t>
              </a:r>
              <a:r>
                <a:rPr sz="1400" b="1" spc="-5">
                  <a:solidFill>
                    <a:srgbClr val="FFFFFF"/>
                  </a:solidFill>
                  <a:latin typeface="Verdana"/>
                  <a:cs typeface="Verdana"/>
                </a:rPr>
                <a:t>Technology</a:t>
              </a:r>
              <a:r>
                <a:rPr sz="1400" b="1" spc="-60">
                  <a:solidFill>
                    <a:srgbClr val="FFFFFF"/>
                  </a:solidFill>
                  <a:latin typeface="Verdana"/>
                  <a:cs typeface="Verdana"/>
                </a:rPr>
                <a:t> </a:t>
              </a:r>
              <a:r>
                <a:rPr sz="1400" b="1" spc="-5">
                  <a:solidFill>
                    <a:srgbClr val="FFFFFF"/>
                  </a:solidFill>
                  <a:latin typeface="Verdana"/>
                  <a:cs typeface="Verdana"/>
                </a:rPr>
                <a:t>Solutions</a:t>
              </a:r>
              <a:endParaRPr sz="1400">
                <a:latin typeface="Verdana"/>
                <a:cs typeface="Verdana"/>
              </a:endParaRPr>
            </a:p>
          </p:txBody>
        </p:sp>
        <p:sp>
          <p:nvSpPr>
            <p:cNvPr id="52" name="object 52"/>
            <p:cNvSpPr/>
            <p:nvPr/>
          </p:nvSpPr>
          <p:spPr>
            <a:xfrm>
              <a:off x="6414515" y="4526279"/>
              <a:ext cx="105156" cy="251459"/>
            </a:xfrm>
            <a:prstGeom prst="rect">
              <a:avLst/>
            </a:prstGeom>
            <a:blipFill>
              <a:blip r:embed="rId5" cstate="print"/>
              <a:stretch>
                <a:fillRect/>
              </a:stretch>
            </a:blipFill>
          </p:spPr>
          <p:txBody>
            <a:bodyPr wrap="square" lIns="0" tIns="0" rIns="0" bIns="0" rtlCol="0"/>
            <a:lstStyle/>
            <a:p>
              <a:endParaRPr/>
            </a:p>
          </p:txBody>
        </p:sp>
        <p:sp>
          <p:nvSpPr>
            <p:cNvPr id="53" name="object 53"/>
            <p:cNvSpPr/>
            <p:nvPr/>
          </p:nvSpPr>
          <p:spPr>
            <a:xfrm>
              <a:off x="6414515" y="4526279"/>
              <a:ext cx="105410" cy="251460"/>
            </a:xfrm>
            <a:custGeom>
              <a:avLst/>
              <a:gdLst/>
              <a:ahLst/>
              <a:cxnLst/>
              <a:rect l="l" t="t" r="r" b="b"/>
              <a:pathLst>
                <a:path w="105409" h="251460">
                  <a:moveTo>
                    <a:pt x="0" y="52578"/>
                  </a:moveTo>
                  <a:lnTo>
                    <a:pt x="4125" y="32093"/>
                  </a:lnTo>
                  <a:lnTo>
                    <a:pt x="15382" y="15382"/>
                  </a:lnTo>
                  <a:lnTo>
                    <a:pt x="32093" y="4125"/>
                  </a:lnTo>
                  <a:lnTo>
                    <a:pt x="52578" y="0"/>
                  </a:lnTo>
                  <a:lnTo>
                    <a:pt x="73062" y="4125"/>
                  </a:lnTo>
                  <a:lnTo>
                    <a:pt x="89773" y="15382"/>
                  </a:lnTo>
                  <a:lnTo>
                    <a:pt x="101030" y="32093"/>
                  </a:lnTo>
                  <a:lnTo>
                    <a:pt x="105156" y="52578"/>
                  </a:lnTo>
                  <a:lnTo>
                    <a:pt x="105156" y="198882"/>
                  </a:lnTo>
                  <a:lnTo>
                    <a:pt x="101030" y="219366"/>
                  </a:lnTo>
                  <a:lnTo>
                    <a:pt x="89773" y="236077"/>
                  </a:lnTo>
                  <a:lnTo>
                    <a:pt x="73062" y="247334"/>
                  </a:lnTo>
                  <a:lnTo>
                    <a:pt x="52578" y="251460"/>
                  </a:lnTo>
                  <a:lnTo>
                    <a:pt x="32093" y="247334"/>
                  </a:lnTo>
                  <a:lnTo>
                    <a:pt x="15382" y="236077"/>
                  </a:lnTo>
                  <a:lnTo>
                    <a:pt x="4125" y="219366"/>
                  </a:lnTo>
                  <a:lnTo>
                    <a:pt x="0" y="198882"/>
                  </a:lnTo>
                  <a:lnTo>
                    <a:pt x="0" y="52578"/>
                  </a:lnTo>
                  <a:close/>
                </a:path>
              </a:pathLst>
            </a:custGeom>
            <a:ln w="9143">
              <a:solidFill>
                <a:srgbClr val="0D80A3"/>
              </a:solidFill>
            </a:ln>
          </p:spPr>
          <p:txBody>
            <a:bodyPr wrap="square" lIns="0" tIns="0" rIns="0" bIns="0" rtlCol="0"/>
            <a:lstStyle/>
            <a:p>
              <a:endParaRPr/>
            </a:p>
          </p:txBody>
        </p:sp>
        <p:sp>
          <p:nvSpPr>
            <p:cNvPr id="54" name="object 54"/>
            <p:cNvSpPr/>
            <p:nvPr/>
          </p:nvSpPr>
          <p:spPr>
            <a:xfrm>
              <a:off x="6414515" y="4887467"/>
              <a:ext cx="105156" cy="251459"/>
            </a:xfrm>
            <a:prstGeom prst="rect">
              <a:avLst/>
            </a:prstGeom>
            <a:blipFill>
              <a:blip r:embed="rId5" cstate="print"/>
              <a:stretch>
                <a:fillRect/>
              </a:stretch>
            </a:blipFill>
          </p:spPr>
          <p:txBody>
            <a:bodyPr wrap="square" lIns="0" tIns="0" rIns="0" bIns="0" rtlCol="0"/>
            <a:lstStyle/>
            <a:p>
              <a:endParaRPr/>
            </a:p>
          </p:txBody>
        </p:sp>
        <p:sp>
          <p:nvSpPr>
            <p:cNvPr id="55" name="object 55"/>
            <p:cNvSpPr/>
            <p:nvPr/>
          </p:nvSpPr>
          <p:spPr>
            <a:xfrm>
              <a:off x="6414515" y="4887467"/>
              <a:ext cx="105410" cy="251460"/>
            </a:xfrm>
            <a:custGeom>
              <a:avLst/>
              <a:gdLst/>
              <a:ahLst/>
              <a:cxnLst/>
              <a:rect l="l" t="t" r="r" b="b"/>
              <a:pathLst>
                <a:path w="105409" h="251460">
                  <a:moveTo>
                    <a:pt x="0" y="52577"/>
                  </a:moveTo>
                  <a:lnTo>
                    <a:pt x="4125" y="32093"/>
                  </a:lnTo>
                  <a:lnTo>
                    <a:pt x="15382" y="15382"/>
                  </a:lnTo>
                  <a:lnTo>
                    <a:pt x="32093" y="4125"/>
                  </a:lnTo>
                  <a:lnTo>
                    <a:pt x="52578" y="0"/>
                  </a:lnTo>
                  <a:lnTo>
                    <a:pt x="73062" y="4125"/>
                  </a:lnTo>
                  <a:lnTo>
                    <a:pt x="89773" y="15382"/>
                  </a:lnTo>
                  <a:lnTo>
                    <a:pt x="101030" y="32093"/>
                  </a:lnTo>
                  <a:lnTo>
                    <a:pt x="105156" y="52577"/>
                  </a:lnTo>
                  <a:lnTo>
                    <a:pt x="105156" y="198881"/>
                  </a:lnTo>
                  <a:lnTo>
                    <a:pt x="101030" y="219366"/>
                  </a:lnTo>
                  <a:lnTo>
                    <a:pt x="89773" y="236077"/>
                  </a:lnTo>
                  <a:lnTo>
                    <a:pt x="73062" y="247334"/>
                  </a:lnTo>
                  <a:lnTo>
                    <a:pt x="52578" y="251459"/>
                  </a:lnTo>
                  <a:lnTo>
                    <a:pt x="32093" y="247334"/>
                  </a:lnTo>
                  <a:lnTo>
                    <a:pt x="15382" y="236077"/>
                  </a:lnTo>
                  <a:lnTo>
                    <a:pt x="4125" y="219366"/>
                  </a:lnTo>
                  <a:lnTo>
                    <a:pt x="0" y="198881"/>
                  </a:lnTo>
                  <a:lnTo>
                    <a:pt x="0" y="52577"/>
                  </a:lnTo>
                  <a:close/>
                </a:path>
              </a:pathLst>
            </a:custGeom>
            <a:ln w="9143">
              <a:solidFill>
                <a:srgbClr val="0D80A3"/>
              </a:solidFill>
            </a:ln>
          </p:spPr>
          <p:txBody>
            <a:bodyPr wrap="square" lIns="0" tIns="0" rIns="0" bIns="0" rtlCol="0"/>
            <a:lstStyle/>
            <a:p>
              <a:endParaRPr/>
            </a:p>
          </p:txBody>
        </p:sp>
        <p:sp>
          <p:nvSpPr>
            <p:cNvPr id="56" name="object 56"/>
            <p:cNvSpPr/>
            <p:nvPr/>
          </p:nvSpPr>
          <p:spPr>
            <a:xfrm>
              <a:off x="6414515" y="4584191"/>
              <a:ext cx="573405" cy="497205"/>
            </a:xfrm>
            <a:custGeom>
              <a:avLst/>
              <a:gdLst/>
              <a:ahLst/>
              <a:cxnLst/>
              <a:rect l="l" t="t" r="r" b="b"/>
              <a:pathLst>
                <a:path w="573404" h="497204">
                  <a:moveTo>
                    <a:pt x="426085" y="0"/>
                  </a:moveTo>
                  <a:lnTo>
                    <a:pt x="0" y="0"/>
                  </a:lnTo>
                  <a:lnTo>
                    <a:pt x="0" y="496823"/>
                  </a:lnTo>
                  <a:lnTo>
                    <a:pt x="426085" y="496823"/>
                  </a:lnTo>
                  <a:lnTo>
                    <a:pt x="573024" y="248411"/>
                  </a:lnTo>
                  <a:lnTo>
                    <a:pt x="426085" y="0"/>
                  </a:lnTo>
                  <a:close/>
                </a:path>
              </a:pathLst>
            </a:custGeom>
            <a:solidFill>
              <a:srgbClr val="006FAC"/>
            </a:solidFill>
          </p:spPr>
          <p:txBody>
            <a:bodyPr wrap="square" lIns="0" tIns="0" rIns="0" bIns="0" rtlCol="0"/>
            <a:lstStyle/>
            <a:p>
              <a:endParaRPr/>
            </a:p>
          </p:txBody>
        </p:sp>
        <p:sp>
          <p:nvSpPr>
            <p:cNvPr id="57" name="object 57"/>
            <p:cNvSpPr/>
            <p:nvPr/>
          </p:nvSpPr>
          <p:spPr>
            <a:xfrm>
              <a:off x="6414515" y="4584191"/>
              <a:ext cx="573405" cy="497205"/>
            </a:xfrm>
            <a:custGeom>
              <a:avLst/>
              <a:gdLst/>
              <a:ahLst/>
              <a:cxnLst/>
              <a:rect l="l" t="t" r="r" b="b"/>
              <a:pathLst>
                <a:path w="573404" h="497204">
                  <a:moveTo>
                    <a:pt x="0" y="0"/>
                  </a:moveTo>
                  <a:lnTo>
                    <a:pt x="426085" y="0"/>
                  </a:lnTo>
                  <a:lnTo>
                    <a:pt x="573024" y="248411"/>
                  </a:lnTo>
                  <a:lnTo>
                    <a:pt x="426085" y="496823"/>
                  </a:lnTo>
                  <a:lnTo>
                    <a:pt x="0" y="496823"/>
                  </a:lnTo>
                  <a:lnTo>
                    <a:pt x="0" y="0"/>
                  </a:lnTo>
                  <a:close/>
                </a:path>
              </a:pathLst>
            </a:custGeom>
            <a:ln w="9144">
              <a:solidFill>
                <a:srgbClr val="FFFFFF"/>
              </a:solidFill>
            </a:ln>
          </p:spPr>
          <p:txBody>
            <a:bodyPr wrap="square" lIns="0" tIns="0" rIns="0" bIns="0" rtlCol="0"/>
            <a:lstStyle/>
            <a:p>
              <a:endParaRPr/>
            </a:p>
          </p:txBody>
        </p:sp>
        <p:sp>
          <p:nvSpPr>
            <p:cNvPr id="58" name="object 58"/>
            <p:cNvSpPr txBox="1"/>
            <p:nvPr/>
          </p:nvSpPr>
          <p:spPr>
            <a:xfrm>
              <a:off x="6506591" y="4727270"/>
              <a:ext cx="284480" cy="208915"/>
            </a:xfrm>
            <a:prstGeom prst="rect">
              <a:avLst/>
            </a:prstGeom>
          </p:spPr>
          <p:txBody>
            <a:bodyPr vert="horz" wrap="square" lIns="0" tIns="12700" rIns="0" bIns="0" rtlCol="0">
              <a:spAutoFit/>
            </a:bodyPr>
            <a:lstStyle/>
            <a:p>
              <a:pPr>
                <a:lnSpc>
                  <a:spcPct val="100000"/>
                </a:lnSpc>
                <a:spcBef>
                  <a:spcPts val="100"/>
                </a:spcBef>
              </a:pPr>
              <a:r>
                <a:rPr sz="1200" b="1" spc="-5">
                  <a:solidFill>
                    <a:srgbClr val="FFFFFF"/>
                  </a:solidFill>
                  <a:latin typeface="Verdana"/>
                  <a:cs typeface="Verdana"/>
                </a:rPr>
                <a:t>2.3</a:t>
              </a:r>
              <a:endParaRPr sz="1200">
                <a:latin typeface="Verdana"/>
                <a:cs typeface="Verdana"/>
              </a:endParaRPr>
            </a:p>
          </p:txBody>
        </p:sp>
        <p:sp>
          <p:nvSpPr>
            <p:cNvPr id="59" name="object 59"/>
            <p:cNvSpPr/>
            <p:nvPr/>
          </p:nvSpPr>
          <p:spPr>
            <a:xfrm>
              <a:off x="6380988" y="2401823"/>
              <a:ext cx="112775" cy="251460"/>
            </a:xfrm>
            <a:prstGeom prst="rect">
              <a:avLst/>
            </a:prstGeom>
            <a:blipFill>
              <a:blip r:embed="rId6" cstate="print"/>
              <a:stretch>
                <a:fillRect/>
              </a:stretch>
            </a:blipFill>
          </p:spPr>
          <p:txBody>
            <a:bodyPr wrap="square" lIns="0" tIns="0" rIns="0" bIns="0" rtlCol="0"/>
            <a:lstStyle/>
            <a:p>
              <a:endParaRPr/>
            </a:p>
          </p:txBody>
        </p:sp>
        <p:sp>
          <p:nvSpPr>
            <p:cNvPr id="60" name="object 60"/>
            <p:cNvSpPr/>
            <p:nvPr/>
          </p:nvSpPr>
          <p:spPr>
            <a:xfrm>
              <a:off x="6380988" y="2401823"/>
              <a:ext cx="113030" cy="251460"/>
            </a:xfrm>
            <a:custGeom>
              <a:avLst/>
              <a:gdLst/>
              <a:ahLst/>
              <a:cxnLst/>
              <a:rect l="l" t="t" r="r" b="b"/>
              <a:pathLst>
                <a:path w="113029" h="251460">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5072"/>
                  </a:lnTo>
                  <a:lnTo>
                    <a:pt x="108340" y="217009"/>
                  </a:lnTo>
                  <a:lnTo>
                    <a:pt x="96250" y="234934"/>
                  </a:lnTo>
                  <a:lnTo>
                    <a:pt x="78325" y="247024"/>
                  </a:lnTo>
                  <a:lnTo>
                    <a:pt x="56387" y="251460"/>
                  </a:lnTo>
                  <a:lnTo>
                    <a:pt x="34450" y="247024"/>
                  </a:lnTo>
                  <a:lnTo>
                    <a:pt x="16525" y="234934"/>
                  </a:lnTo>
                  <a:lnTo>
                    <a:pt x="4435" y="217009"/>
                  </a:lnTo>
                  <a:lnTo>
                    <a:pt x="0" y="195072"/>
                  </a:lnTo>
                  <a:lnTo>
                    <a:pt x="0" y="56387"/>
                  </a:lnTo>
                  <a:close/>
                </a:path>
              </a:pathLst>
            </a:custGeom>
            <a:ln w="9144">
              <a:solidFill>
                <a:srgbClr val="0D80A3"/>
              </a:solidFill>
            </a:ln>
          </p:spPr>
          <p:txBody>
            <a:bodyPr wrap="square" lIns="0" tIns="0" rIns="0" bIns="0" rtlCol="0"/>
            <a:lstStyle/>
            <a:p>
              <a:endParaRPr/>
            </a:p>
          </p:txBody>
        </p:sp>
        <p:sp>
          <p:nvSpPr>
            <p:cNvPr id="61" name="object 61"/>
            <p:cNvSpPr/>
            <p:nvPr/>
          </p:nvSpPr>
          <p:spPr>
            <a:xfrm>
              <a:off x="6380988" y="2763011"/>
              <a:ext cx="112775" cy="252984"/>
            </a:xfrm>
            <a:prstGeom prst="rect">
              <a:avLst/>
            </a:prstGeom>
            <a:blipFill>
              <a:blip r:embed="rId4" cstate="print"/>
              <a:stretch>
                <a:fillRect/>
              </a:stretch>
            </a:blipFill>
          </p:spPr>
          <p:txBody>
            <a:bodyPr wrap="square" lIns="0" tIns="0" rIns="0" bIns="0" rtlCol="0"/>
            <a:lstStyle/>
            <a:p>
              <a:endParaRPr/>
            </a:p>
          </p:txBody>
        </p:sp>
        <p:sp>
          <p:nvSpPr>
            <p:cNvPr id="62" name="object 62"/>
            <p:cNvSpPr/>
            <p:nvPr/>
          </p:nvSpPr>
          <p:spPr>
            <a:xfrm>
              <a:off x="6380988" y="2763011"/>
              <a:ext cx="113030" cy="253365"/>
            </a:xfrm>
            <a:custGeom>
              <a:avLst/>
              <a:gdLst/>
              <a:ahLst/>
              <a:cxnLst/>
              <a:rect l="l" t="t" r="r" b="b"/>
              <a:pathLst>
                <a:path w="113029" h="253364">
                  <a:moveTo>
                    <a:pt x="0" y="56387"/>
                  </a:moveTo>
                  <a:lnTo>
                    <a:pt x="4435" y="34450"/>
                  </a:lnTo>
                  <a:lnTo>
                    <a:pt x="16525" y="16525"/>
                  </a:lnTo>
                  <a:lnTo>
                    <a:pt x="34450" y="4435"/>
                  </a:lnTo>
                  <a:lnTo>
                    <a:pt x="56387" y="0"/>
                  </a:lnTo>
                  <a:lnTo>
                    <a:pt x="78325" y="4435"/>
                  </a:lnTo>
                  <a:lnTo>
                    <a:pt x="96250" y="16525"/>
                  </a:lnTo>
                  <a:lnTo>
                    <a:pt x="108340" y="34450"/>
                  </a:lnTo>
                  <a:lnTo>
                    <a:pt x="112775" y="56387"/>
                  </a:lnTo>
                  <a:lnTo>
                    <a:pt x="112775" y="196596"/>
                  </a:lnTo>
                  <a:lnTo>
                    <a:pt x="108340" y="218533"/>
                  </a:lnTo>
                  <a:lnTo>
                    <a:pt x="96250" y="236458"/>
                  </a:lnTo>
                  <a:lnTo>
                    <a:pt x="78325" y="248548"/>
                  </a:lnTo>
                  <a:lnTo>
                    <a:pt x="56387" y="252984"/>
                  </a:lnTo>
                  <a:lnTo>
                    <a:pt x="34450" y="248548"/>
                  </a:lnTo>
                  <a:lnTo>
                    <a:pt x="16525" y="236458"/>
                  </a:lnTo>
                  <a:lnTo>
                    <a:pt x="4435" y="218533"/>
                  </a:lnTo>
                  <a:lnTo>
                    <a:pt x="0" y="196596"/>
                  </a:lnTo>
                  <a:lnTo>
                    <a:pt x="0" y="56387"/>
                  </a:lnTo>
                  <a:close/>
                </a:path>
              </a:pathLst>
            </a:custGeom>
            <a:ln w="9144">
              <a:solidFill>
                <a:srgbClr val="0D80A3"/>
              </a:solidFill>
            </a:ln>
          </p:spPr>
          <p:txBody>
            <a:bodyPr wrap="square" lIns="0" tIns="0" rIns="0" bIns="0" rtlCol="0"/>
            <a:lstStyle/>
            <a:p>
              <a:endParaRPr/>
            </a:p>
          </p:txBody>
        </p:sp>
        <p:sp>
          <p:nvSpPr>
            <p:cNvPr id="63" name="object 63"/>
            <p:cNvSpPr/>
            <p:nvPr/>
          </p:nvSpPr>
          <p:spPr>
            <a:xfrm>
              <a:off x="6380988" y="2459735"/>
              <a:ext cx="607060" cy="498475"/>
            </a:xfrm>
            <a:custGeom>
              <a:avLst/>
              <a:gdLst/>
              <a:ahLst/>
              <a:cxnLst/>
              <a:rect l="l" t="t" r="r" b="b"/>
              <a:pathLst>
                <a:path w="607059" h="498475">
                  <a:moveTo>
                    <a:pt x="459232" y="0"/>
                  </a:moveTo>
                  <a:lnTo>
                    <a:pt x="0" y="0"/>
                  </a:lnTo>
                  <a:lnTo>
                    <a:pt x="0" y="498348"/>
                  </a:lnTo>
                  <a:lnTo>
                    <a:pt x="459232" y="498348"/>
                  </a:lnTo>
                  <a:lnTo>
                    <a:pt x="606552" y="249174"/>
                  </a:lnTo>
                  <a:lnTo>
                    <a:pt x="459232" y="0"/>
                  </a:lnTo>
                  <a:close/>
                </a:path>
              </a:pathLst>
            </a:custGeom>
            <a:solidFill>
              <a:srgbClr val="12ABDB"/>
            </a:solidFill>
          </p:spPr>
          <p:txBody>
            <a:bodyPr wrap="square" lIns="0" tIns="0" rIns="0" bIns="0" rtlCol="0"/>
            <a:lstStyle/>
            <a:p>
              <a:endParaRPr/>
            </a:p>
          </p:txBody>
        </p:sp>
        <p:sp>
          <p:nvSpPr>
            <p:cNvPr id="64" name="object 64"/>
            <p:cNvSpPr/>
            <p:nvPr/>
          </p:nvSpPr>
          <p:spPr>
            <a:xfrm>
              <a:off x="6380988" y="2459735"/>
              <a:ext cx="607060" cy="498475"/>
            </a:xfrm>
            <a:custGeom>
              <a:avLst/>
              <a:gdLst/>
              <a:ahLst/>
              <a:cxnLst/>
              <a:rect l="l" t="t" r="r" b="b"/>
              <a:pathLst>
                <a:path w="607059" h="498475">
                  <a:moveTo>
                    <a:pt x="0" y="0"/>
                  </a:moveTo>
                  <a:lnTo>
                    <a:pt x="459232" y="0"/>
                  </a:lnTo>
                  <a:lnTo>
                    <a:pt x="606552" y="249174"/>
                  </a:lnTo>
                  <a:lnTo>
                    <a:pt x="459232" y="498348"/>
                  </a:lnTo>
                  <a:lnTo>
                    <a:pt x="0" y="498348"/>
                  </a:lnTo>
                  <a:lnTo>
                    <a:pt x="0" y="0"/>
                  </a:lnTo>
                  <a:close/>
                </a:path>
              </a:pathLst>
            </a:custGeom>
            <a:ln w="9144">
              <a:solidFill>
                <a:srgbClr val="FFFFFF"/>
              </a:solidFill>
            </a:ln>
          </p:spPr>
          <p:txBody>
            <a:bodyPr wrap="square" lIns="0" tIns="0" rIns="0" bIns="0" rtlCol="0"/>
            <a:lstStyle/>
            <a:p>
              <a:endParaRPr/>
            </a:p>
          </p:txBody>
        </p:sp>
        <p:sp>
          <p:nvSpPr>
            <p:cNvPr id="65" name="object 65"/>
            <p:cNvSpPr txBox="1"/>
            <p:nvPr/>
          </p:nvSpPr>
          <p:spPr>
            <a:xfrm>
              <a:off x="6473063" y="2603753"/>
              <a:ext cx="284480" cy="208279"/>
            </a:xfrm>
            <a:prstGeom prst="rect">
              <a:avLst/>
            </a:prstGeom>
          </p:spPr>
          <p:txBody>
            <a:bodyPr vert="horz" wrap="square" lIns="0" tIns="12700" rIns="0" bIns="0" rtlCol="0">
              <a:spAutoFit/>
            </a:bodyPr>
            <a:lstStyle/>
            <a:p>
              <a:pPr>
                <a:lnSpc>
                  <a:spcPct val="100000"/>
                </a:lnSpc>
                <a:spcBef>
                  <a:spcPts val="100"/>
                </a:spcBef>
              </a:pPr>
              <a:r>
                <a:rPr sz="1200" b="1" spc="-5">
                  <a:solidFill>
                    <a:srgbClr val="FFFFFF"/>
                  </a:solidFill>
                  <a:latin typeface="Verdana"/>
                  <a:cs typeface="Verdana"/>
                </a:rPr>
                <a:t>1.3</a:t>
              </a:r>
              <a:endParaRPr sz="1200">
                <a:latin typeface="Verdana"/>
                <a:cs typeface="Verdana"/>
              </a:endParaRPr>
            </a:p>
          </p:txBody>
        </p:sp>
        <p:sp>
          <p:nvSpPr>
            <p:cNvPr id="66" name="object 66"/>
            <p:cNvSpPr/>
            <p:nvPr/>
          </p:nvSpPr>
          <p:spPr>
            <a:xfrm>
              <a:off x="1749551" y="5251703"/>
              <a:ext cx="573405" cy="539115"/>
            </a:xfrm>
            <a:custGeom>
              <a:avLst/>
              <a:gdLst/>
              <a:ahLst/>
              <a:cxnLst/>
              <a:rect l="l" t="t" r="r" b="b"/>
              <a:pathLst>
                <a:path w="573405" h="539114">
                  <a:moveTo>
                    <a:pt x="286512" y="0"/>
                  </a:moveTo>
                  <a:lnTo>
                    <a:pt x="236514" y="5211"/>
                  </a:lnTo>
                  <a:lnTo>
                    <a:pt x="188841" y="18191"/>
                  </a:lnTo>
                  <a:lnTo>
                    <a:pt x="144441" y="38259"/>
                  </a:lnTo>
                  <a:lnTo>
                    <a:pt x="104265" y="64738"/>
                  </a:lnTo>
                  <a:lnTo>
                    <a:pt x="69263" y="96946"/>
                  </a:lnTo>
                  <a:lnTo>
                    <a:pt x="40386" y="134206"/>
                  </a:lnTo>
                  <a:lnTo>
                    <a:pt x="18582" y="175836"/>
                  </a:lnTo>
                  <a:lnTo>
                    <a:pt x="4804" y="221159"/>
                  </a:lnTo>
                  <a:lnTo>
                    <a:pt x="0" y="269494"/>
                  </a:lnTo>
                  <a:lnTo>
                    <a:pt x="3393" y="313463"/>
                  </a:lnTo>
                  <a:lnTo>
                    <a:pt x="13338" y="355565"/>
                  </a:lnTo>
                  <a:lnTo>
                    <a:pt x="29482" y="395082"/>
                  </a:lnTo>
                  <a:lnTo>
                    <a:pt x="51474" y="431295"/>
                  </a:lnTo>
                  <a:lnTo>
                    <a:pt x="78962" y="463489"/>
                  </a:lnTo>
                  <a:lnTo>
                    <a:pt x="111593" y="490946"/>
                  </a:lnTo>
                  <a:lnTo>
                    <a:pt x="149015" y="512947"/>
                  </a:lnTo>
                  <a:lnTo>
                    <a:pt x="190877" y="528777"/>
                  </a:lnTo>
                  <a:lnTo>
                    <a:pt x="236827" y="537717"/>
                  </a:lnTo>
                  <a:lnTo>
                    <a:pt x="286512" y="539051"/>
                  </a:lnTo>
                  <a:lnTo>
                    <a:pt x="328682" y="532116"/>
                  </a:lnTo>
                  <a:lnTo>
                    <a:pt x="372197" y="518219"/>
                  </a:lnTo>
                  <a:lnTo>
                    <a:pt x="415374" y="497876"/>
                  </a:lnTo>
                  <a:lnTo>
                    <a:pt x="456528" y="471607"/>
                  </a:lnTo>
                  <a:lnTo>
                    <a:pt x="493976" y="439930"/>
                  </a:lnTo>
                  <a:lnTo>
                    <a:pt x="526034" y="403361"/>
                  </a:lnTo>
                  <a:lnTo>
                    <a:pt x="551016" y="362421"/>
                  </a:lnTo>
                  <a:lnTo>
                    <a:pt x="567241" y="317625"/>
                  </a:lnTo>
                  <a:lnTo>
                    <a:pt x="573024" y="269494"/>
                  </a:lnTo>
                  <a:lnTo>
                    <a:pt x="569586" y="225758"/>
                  </a:lnTo>
                  <a:lnTo>
                    <a:pt x="559527" y="184237"/>
                  </a:lnTo>
                  <a:lnTo>
                    <a:pt x="543229" y="145499"/>
                  </a:lnTo>
                  <a:lnTo>
                    <a:pt x="521073" y="110112"/>
                  </a:lnTo>
                  <a:lnTo>
                    <a:pt x="493442" y="78644"/>
                  </a:lnTo>
                  <a:lnTo>
                    <a:pt x="460717" y="51665"/>
                  </a:lnTo>
                  <a:lnTo>
                    <a:pt x="423279" y="29743"/>
                  </a:lnTo>
                  <a:lnTo>
                    <a:pt x="381512" y="13445"/>
                  </a:lnTo>
                  <a:lnTo>
                    <a:pt x="335795" y="3341"/>
                  </a:lnTo>
                  <a:lnTo>
                    <a:pt x="286512" y="0"/>
                  </a:lnTo>
                  <a:close/>
                </a:path>
              </a:pathLst>
            </a:custGeom>
            <a:solidFill>
              <a:srgbClr val="421F5D"/>
            </a:solidFill>
          </p:spPr>
          <p:txBody>
            <a:bodyPr wrap="square" lIns="0" tIns="0" rIns="0" bIns="0" rtlCol="0"/>
            <a:lstStyle/>
            <a:p>
              <a:endParaRPr/>
            </a:p>
          </p:txBody>
        </p:sp>
        <p:sp>
          <p:nvSpPr>
            <p:cNvPr id="67" name="object 67"/>
            <p:cNvSpPr txBox="1"/>
            <p:nvPr/>
          </p:nvSpPr>
          <p:spPr>
            <a:xfrm>
              <a:off x="1960626" y="5401462"/>
              <a:ext cx="152400" cy="239395"/>
            </a:xfrm>
            <a:prstGeom prst="rect">
              <a:avLst/>
            </a:prstGeom>
          </p:spPr>
          <p:txBody>
            <a:bodyPr vert="horz" wrap="square" lIns="0" tIns="12700" rIns="0" bIns="0" rtlCol="0">
              <a:spAutoFit/>
            </a:bodyPr>
            <a:lstStyle/>
            <a:p>
              <a:pPr marL="12700">
                <a:lnSpc>
                  <a:spcPct val="100000"/>
                </a:lnSpc>
                <a:spcBef>
                  <a:spcPts val="100"/>
                </a:spcBef>
              </a:pPr>
              <a:r>
                <a:rPr sz="1400" b="1">
                  <a:solidFill>
                    <a:srgbClr val="FFFFFF"/>
                  </a:solidFill>
                  <a:latin typeface="Verdana"/>
                  <a:cs typeface="Verdana"/>
                </a:rPr>
                <a:t>3</a:t>
              </a:r>
              <a:endParaRPr sz="1400">
                <a:latin typeface="Verdana"/>
                <a:cs typeface="Verdana"/>
              </a:endParaRPr>
            </a:p>
          </p:txBody>
        </p:sp>
        <p:sp>
          <p:nvSpPr>
            <p:cNvPr id="68" name="object 68"/>
            <p:cNvSpPr/>
            <p:nvPr/>
          </p:nvSpPr>
          <p:spPr>
            <a:xfrm>
              <a:off x="1749551" y="3115055"/>
              <a:ext cx="573405" cy="541020"/>
            </a:xfrm>
            <a:custGeom>
              <a:avLst/>
              <a:gdLst/>
              <a:ahLst/>
              <a:cxnLst/>
              <a:rect l="l" t="t" r="r" b="b"/>
              <a:pathLst>
                <a:path w="573405" h="541020">
                  <a:moveTo>
                    <a:pt x="286512" y="0"/>
                  </a:moveTo>
                  <a:lnTo>
                    <a:pt x="236514" y="5224"/>
                  </a:lnTo>
                  <a:lnTo>
                    <a:pt x="188841" y="18243"/>
                  </a:lnTo>
                  <a:lnTo>
                    <a:pt x="144441" y="38372"/>
                  </a:lnTo>
                  <a:lnTo>
                    <a:pt x="104265" y="64930"/>
                  </a:lnTo>
                  <a:lnTo>
                    <a:pt x="69263" y="97234"/>
                  </a:lnTo>
                  <a:lnTo>
                    <a:pt x="40386" y="134601"/>
                  </a:lnTo>
                  <a:lnTo>
                    <a:pt x="18582" y="176348"/>
                  </a:lnTo>
                  <a:lnTo>
                    <a:pt x="4804" y="221794"/>
                  </a:lnTo>
                  <a:lnTo>
                    <a:pt x="0" y="270256"/>
                  </a:lnTo>
                  <a:lnTo>
                    <a:pt x="3393" y="314362"/>
                  </a:lnTo>
                  <a:lnTo>
                    <a:pt x="13338" y="356591"/>
                  </a:lnTo>
                  <a:lnTo>
                    <a:pt x="29482" y="396223"/>
                  </a:lnTo>
                  <a:lnTo>
                    <a:pt x="51474" y="432539"/>
                  </a:lnTo>
                  <a:lnTo>
                    <a:pt x="78962" y="464820"/>
                  </a:lnTo>
                  <a:lnTo>
                    <a:pt x="111593" y="492345"/>
                  </a:lnTo>
                  <a:lnTo>
                    <a:pt x="149015" y="514396"/>
                  </a:lnTo>
                  <a:lnTo>
                    <a:pt x="190877" y="530254"/>
                  </a:lnTo>
                  <a:lnTo>
                    <a:pt x="236827" y="539199"/>
                  </a:lnTo>
                  <a:lnTo>
                    <a:pt x="286512" y="540512"/>
                  </a:lnTo>
                  <a:lnTo>
                    <a:pt x="328682" y="533585"/>
                  </a:lnTo>
                  <a:lnTo>
                    <a:pt x="372197" y="519671"/>
                  </a:lnTo>
                  <a:lnTo>
                    <a:pt x="415374" y="499288"/>
                  </a:lnTo>
                  <a:lnTo>
                    <a:pt x="456528" y="472957"/>
                  </a:lnTo>
                  <a:lnTo>
                    <a:pt x="493976" y="441197"/>
                  </a:lnTo>
                  <a:lnTo>
                    <a:pt x="526034" y="404527"/>
                  </a:lnTo>
                  <a:lnTo>
                    <a:pt x="551016" y="363468"/>
                  </a:lnTo>
                  <a:lnTo>
                    <a:pt x="567241" y="318537"/>
                  </a:lnTo>
                  <a:lnTo>
                    <a:pt x="573024" y="270256"/>
                  </a:lnTo>
                  <a:lnTo>
                    <a:pt x="569586" y="226406"/>
                  </a:lnTo>
                  <a:lnTo>
                    <a:pt x="559527" y="184773"/>
                  </a:lnTo>
                  <a:lnTo>
                    <a:pt x="543229" y="145928"/>
                  </a:lnTo>
                  <a:lnTo>
                    <a:pt x="521073" y="110441"/>
                  </a:lnTo>
                  <a:lnTo>
                    <a:pt x="493442" y="78882"/>
                  </a:lnTo>
                  <a:lnTo>
                    <a:pt x="460717" y="51824"/>
                  </a:lnTo>
                  <a:lnTo>
                    <a:pt x="423279" y="29835"/>
                  </a:lnTo>
                  <a:lnTo>
                    <a:pt x="381512" y="13488"/>
                  </a:lnTo>
                  <a:lnTo>
                    <a:pt x="335795" y="3352"/>
                  </a:lnTo>
                  <a:lnTo>
                    <a:pt x="286512" y="0"/>
                  </a:lnTo>
                  <a:close/>
                </a:path>
              </a:pathLst>
            </a:custGeom>
            <a:solidFill>
              <a:srgbClr val="006FAC"/>
            </a:solidFill>
          </p:spPr>
          <p:txBody>
            <a:bodyPr wrap="square" lIns="0" tIns="0" rIns="0" bIns="0" rtlCol="0"/>
            <a:lstStyle/>
            <a:p>
              <a:endParaRPr/>
            </a:p>
          </p:txBody>
        </p:sp>
        <p:sp>
          <p:nvSpPr>
            <p:cNvPr id="69" name="object 69"/>
            <p:cNvSpPr txBox="1"/>
            <p:nvPr/>
          </p:nvSpPr>
          <p:spPr>
            <a:xfrm>
              <a:off x="1960626" y="3265677"/>
              <a:ext cx="15240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2</a:t>
              </a:r>
              <a:endParaRPr sz="1400">
                <a:latin typeface="Verdana"/>
                <a:cs typeface="Verdana"/>
              </a:endParaRPr>
            </a:p>
          </p:txBody>
        </p:sp>
        <p:sp>
          <p:nvSpPr>
            <p:cNvPr id="70" name="object 70"/>
            <p:cNvSpPr/>
            <p:nvPr/>
          </p:nvSpPr>
          <p:spPr>
            <a:xfrm>
              <a:off x="1749551" y="899160"/>
              <a:ext cx="574675" cy="539115"/>
            </a:xfrm>
            <a:custGeom>
              <a:avLst/>
              <a:gdLst/>
              <a:ahLst/>
              <a:cxnLst/>
              <a:rect l="l" t="t" r="r" b="b"/>
              <a:pathLst>
                <a:path w="574675" h="539115">
                  <a:moveTo>
                    <a:pt x="287274" y="0"/>
                  </a:moveTo>
                  <a:lnTo>
                    <a:pt x="237150" y="5211"/>
                  </a:lnTo>
                  <a:lnTo>
                    <a:pt x="189353" y="18191"/>
                  </a:lnTo>
                  <a:lnTo>
                    <a:pt x="144836" y="38259"/>
                  </a:lnTo>
                  <a:lnTo>
                    <a:pt x="104552" y="64738"/>
                  </a:lnTo>
                  <a:lnTo>
                    <a:pt x="69455" y="96946"/>
                  </a:lnTo>
                  <a:lnTo>
                    <a:pt x="40498" y="134206"/>
                  </a:lnTo>
                  <a:lnTo>
                    <a:pt x="18635" y="175836"/>
                  </a:lnTo>
                  <a:lnTo>
                    <a:pt x="4817" y="221159"/>
                  </a:lnTo>
                  <a:lnTo>
                    <a:pt x="0" y="269493"/>
                  </a:lnTo>
                  <a:lnTo>
                    <a:pt x="3404" y="313455"/>
                  </a:lnTo>
                  <a:lnTo>
                    <a:pt x="13380" y="355555"/>
                  </a:lnTo>
                  <a:lnTo>
                    <a:pt x="29575" y="395073"/>
                  </a:lnTo>
                  <a:lnTo>
                    <a:pt x="51633" y="431289"/>
                  </a:lnTo>
                  <a:lnTo>
                    <a:pt x="79200" y="463486"/>
                  </a:lnTo>
                  <a:lnTo>
                    <a:pt x="111922" y="490943"/>
                  </a:lnTo>
                  <a:lnTo>
                    <a:pt x="149445" y="512941"/>
                  </a:lnTo>
                  <a:lnTo>
                    <a:pt x="191414" y="528760"/>
                  </a:lnTo>
                  <a:lnTo>
                    <a:pt x="237475" y="537682"/>
                  </a:lnTo>
                  <a:lnTo>
                    <a:pt x="287274" y="538988"/>
                  </a:lnTo>
                  <a:lnTo>
                    <a:pt x="329570" y="532070"/>
                  </a:lnTo>
                  <a:lnTo>
                    <a:pt x="373209" y="518184"/>
                  </a:lnTo>
                  <a:lnTo>
                    <a:pt x="416503" y="497849"/>
                  </a:lnTo>
                  <a:lnTo>
                    <a:pt x="457765" y="471584"/>
                  </a:lnTo>
                  <a:lnTo>
                    <a:pt x="495308" y="439908"/>
                  </a:lnTo>
                  <a:lnTo>
                    <a:pt x="527445" y="403342"/>
                  </a:lnTo>
                  <a:lnTo>
                    <a:pt x="552488" y="362405"/>
                  </a:lnTo>
                  <a:lnTo>
                    <a:pt x="568751" y="317615"/>
                  </a:lnTo>
                  <a:lnTo>
                    <a:pt x="574548" y="269493"/>
                  </a:lnTo>
                  <a:lnTo>
                    <a:pt x="571099" y="225758"/>
                  </a:lnTo>
                  <a:lnTo>
                    <a:pt x="561008" y="184237"/>
                  </a:lnTo>
                  <a:lnTo>
                    <a:pt x="544660" y="145499"/>
                  </a:lnTo>
                  <a:lnTo>
                    <a:pt x="522439" y="110112"/>
                  </a:lnTo>
                  <a:lnTo>
                    <a:pt x="494728" y="78644"/>
                  </a:lnTo>
                  <a:lnTo>
                    <a:pt x="461912" y="51665"/>
                  </a:lnTo>
                  <a:lnTo>
                    <a:pt x="424374" y="29743"/>
                  </a:lnTo>
                  <a:lnTo>
                    <a:pt x="382499" y="13445"/>
                  </a:lnTo>
                  <a:lnTo>
                    <a:pt x="336671" y="3341"/>
                  </a:lnTo>
                  <a:lnTo>
                    <a:pt x="287274" y="0"/>
                  </a:lnTo>
                  <a:close/>
                </a:path>
              </a:pathLst>
            </a:custGeom>
            <a:solidFill>
              <a:srgbClr val="12ABDB"/>
            </a:solidFill>
          </p:spPr>
          <p:txBody>
            <a:bodyPr wrap="square" lIns="0" tIns="0" rIns="0" bIns="0" rtlCol="0"/>
            <a:lstStyle/>
            <a:p>
              <a:endParaRPr/>
            </a:p>
          </p:txBody>
        </p:sp>
        <p:sp>
          <p:nvSpPr>
            <p:cNvPr id="71" name="object 71"/>
            <p:cNvSpPr txBox="1"/>
            <p:nvPr/>
          </p:nvSpPr>
          <p:spPr>
            <a:xfrm>
              <a:off x="1960245" y="1048257"/>
              <a:ext cx="15240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1</a:t>
              </a:r>
              <a:endParaRPr sz="1400">
                <a:latin typeface="Verdana"/>
                <a:cs typeface="Verdana"/>
              </a:endParaRPr>
            </a:p>
          </p:txBody>
        </p:sp>
        <p:sp>
          <p:nvSpPr>
            <p:cNvPr id="72" name="object 72"/>
            <p:cNvSpPr/>
            <p:nvPr/>
          </p:nvSpPr>
          <p:spPr>
            <a:xfrm>
              <a:off x="1763267" y="5829300"/>
              <a:ext cx="573405" cy="539115"/>
            </a:xfrm>
            <a:custGeom>
              <a:avLst/>
              <a:gdLst/>
              <a:ahLst/>
              <a:cxnLst/>
              <a:rect l="l" t="t" r="r" b="b"/>
              <a:pathLst>
                <a:path w="573405" h="539114">
                  <a:moveTo>
                    <a:pt x="286512" y="0"/>
                  </a:moveTo>
                  <a:lnTo>
                    <a:pt x="236514" y="5208"/>
                  </a:lnTo>
                  <a:lnTo>
                    <a:pt x="188841" y="18189"/>
                  </a:lnTo>
                  <a:lnTo>
                    <a:pt x="144441" y="38261"/>
                  </a:lnTo>
                  <a:lnTo>
                    <a:pt x="104265" y="64744"/>
                  </a:lnTo>
                  <a:lnTo>
                    <a:pt x="69263" y="96959"/>
                  </a:lnTo>
                  <a:lnTo>
                    <a:pt x="40385" y="134225"/>
                  </a:lnTo>
                  <a:lnTo>
                    <a:pt x="18582" y="175863"/>
                  </a:lnTo>
                  <a:lnTo>
                    <a:pt x="4804" y="221192"/>
                  </a:lnTo>
                  <a:lnTo>
                    <a:pt x="0" y="269532"/>
                  </a:lnTo>
                  <a:lnTo>
                    <a:pt x="3393" y="313491"/>
                  </a:lnTo>
                  <a:lnTo>
                    <a:pt x="13338" y="355585"/>
                  </a:lnTo>
                  <a:lnTo>
                    <a:pt x="29482" y="395095"/>
                  </a:lnTo>
                  <a:lnTo>
                    <a:pt x="51474" y="431304"/>
                  </a:lnTo>
                  <a:lnTo>
                    <a:pt x="78962" y="463494"/>
                  </a:lnTo>
                  <a:lnTo>
                    <a:pt x="111593" y="490948"/>
                  </a:lnTo>
                  <a:lnTo>
                    <a:pt x="149015" y="512948"/>
                  </a:lnTo>
                  <a:lnTo>
                    <a:pt x="190877" y="528777"/>
                  </a:lnTo>
                  <a:lnTo>
                    <a:pt x="236827" y="537717"/>
                  </a:lnTo>
                  <a:lnTo>
                    <a:pt x="286512" y="539051"/>
                  </a:lnTo>
                  <a:lnTo>
                    <a:pt x="328682" y="532116"/>
                  </a:lnTo>
                  <a:lnTo>
                    <a:pt x="372197" y="518219"/>
                  </a:lnTo>
                  <a:lnTo>
                    <a:pt x="415374" y="497878"/>
                  </a:lnTo>
                  <a:lnTo>
                    <a:pt x="456528" y="471611"/>
                  </a:lnTo>
                  <a:lnTo>
                    <a:pt x="493976" y="439936"/>
                  </a:lnTo>
                  <a:lnTo>
                    <a:pt x="526034" y="403373"/>
                  </a:lnTo>
                  <a:lnTo>
                    <a:pt x="551016" y="362439"/>
                  </a:lnTo>
                  <a:lnTo>
                    <a:pt x="567241" y="317652"/>
                  </a:lnTo>
                  <a:lnTo>
                    <a:pt x="573024" y="269532"/>
                  </a:lnTo>
                  <a:lnTo>
                    <a:pt x="569586" y="225791"/>
                  </a:lnTo>
                  <a:lnTo>
                    <a:pt x="559527" y="184261"/>
                  </a:lnTo>
                  <a:lnTo>
                    <a:pt x="543229" y="145513"/>
                  </a:lnTo>
                  <a:lnTo>
                    <a:pt x="521073" y="110116"/>
                  </a:lnTo>
                  <a:lnTo>
                    <a:pt x="493442" y="78639"/>
                  </a:lnTo>
                  <a:lnTo>
                    <a:pt x="460717" y="51653"/>
                  </a:lnTo>
                  <a:lnTo>
                    <a:pt x="423279" y="29726"/>
                  </a:lnTo>
                  <a:lnTo>
                    <a:pt x="381512" y="13428"/>
                  </a:lnTo>
                  <a:lnTo>
                    <a:pt x="335795" y="3330"/>
                  </a:lnTo>
                  <a:lnTo>
                    <a:pt x="286512" y="0"/>
                  </a:lnTo>
                  <a:close/>
                </a:path>
              </a:pathLst>
            </a:custGeom>
            <a:solidFill>
              <a:srgbClr val="D22138"/>
            </a:solidFill>
          </p:spPr>
          <p:txBody>
            <a:bodyPr wrap="square" lIns="0" tIns="0" rIns="0" bIns="0" rtlCol="0"/>
            <a:lstStyle/>
            <a:p>
              <a:endParaRPr/>
            </a:p>
          </p:txBody>
        </p:sp>
        <p:sp>
          <p:nvSpPr>
            <p:cNvPr id="73" name="object 73"/>
            <p:cNvSpPr txBox="1"/>
            <p:nvPr/>
          </p:nvSpPr>
          <p:spPr>
            <a:xfrm>
              <a:off x="1973072" y="5978753"/>
              <a:ext cx="152400" cy="240029"/>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Verdana"/>
                  <a:cs typeface="Verdana"/>
                </a:rPr>
                <a:t>4</a:t>
              </a:r>
              <a:endParaRPr sz="1400">
                <a:latin typeface="Verdana"/>
                <a:cs typeface="Verdana"/>
              </a:endParaRPr>
            </a:p>
          </p:txBody>
        </p:sp>
      </p:grpSp>
      <p:sp>
        <p:nvSpPr>
          <p:cNvPr id="74" name="object 7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5" name="object 7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1</a:t>
            </a:fld>
            <a:endParaRPr sz="800">
              <a:latin typeface="Verdana"/>
              <a:cs typeface="Verdana"/>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4680" y="318896"/>
            <a:ext cx="7626350" cy="422275"/>
          </a:xfrm>
          <a:prstGeom prst="rect">
            <a:avLst/>
          </a:prstGeom>
        </p:spPr>
        <p:txBody>
          <a:bodyPr vert="horz" wrap="square" lIns="0" tIns="12700" rIns="0" bIns="0" rtlCol="0">
            <a:spAutoFit/>
          </a:bodyPr>
          <a:lstStyle/>
          <a:p>
            <a:pPr marL="12700">
              <a:lnSpc>
                <a:spcPct val="100000"/>
              </a:lnSpc>
              <a:spcBef>
                <a:spcPts val="100"/>
              </a:spcBef>
            </a:pPr>
            <a:r>
              <a:rPr sz="2600" spc="-30"/>
              <a:t>Technical </a:t>
            </a:r>
            <a:r>
              <a:rPr sz="2600"/>
              <a:t>Implementation Approach – </a:t>
            </a:r>
            <a:r>
              <a:rPr sz="2600" spc="-45"/>
              <a:t>Wave</a:t>
            </a:r>
            <a:r>
              <a:rPr sz="2600" spc="-105"/>
              <a:t> </a:t>
            </a:r>
            <a:r>
              <a:rPr sz="2600"/>
              <a:t>1</a:t>
            </a:r>
          </a:p>
        </p:txBody>
      </p:sp>
      <p:sp>
        <p:nvSpPr>
          <p:cNvPr id="74" name="object 74"/>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75" name="object 75"/>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2</a:t>
            </a:fld>
            <a:endParaRPr sz="800">
              <a:latin typeface="Verdana"/>
              <a:cs typeface="Verdana"/>
            </a:endParaRPr>
          </a:p>
        </p:txBody>
      </p:sp>
      <p:sp>
        <p:nvSpPr>
          <p:cNvPr id="77" name="Rectangle 76">
            <a:extLst>
              <a:ext uri="{FF2B5EF4-FFF2-40B4-BE49-F238E27FC236}">
                <a16:creationId xmlns:a16="http://schemas.microsoft.com/office/drawing/2014/main" id="{DF4D653B-A51F-498C-AB5F-655EEFE30D84}"/>
              </a:ext>
            </a:extLst>
          </p:cNvPr>
          <p:cNvSpPr/>
          <p:nvPr/>
        </p:nvSpPr>
        <p:spPr>
          <a:xfrm>
            <a:off x="230087" y="5731741"/>
            <a:ext cx="11766541" cy="1200329"/>
          </a:xfrm>
          <a:prstGeom prst="rect">
            <a:avLst/>
          </a:prstGeom>
        </p:spPr>
        <p:txBody>
          <a:bodyPr wrap="square">
            <a:spAutoFit/>
          </a:bodyPr>
          <a:lstStyle/>
          <a:p>
            <a:pPr algn="just"/>
            <a:endParaRPr lang="en-US" sz="1200" kern="0">
              <a:highlight>
                <a:srgbClr val="FFFF00"/>
              </a:highlight>
            </a:endParaRPr>
          </a:p>
          <a:p>
            <a:pPr algn="just"/>
            <a:endParaRPr lang="en-US" sz="1200" kern="0"/>
          </a:p>
          <a:p>
            <a:pPr algn="just"/>
            <a:r>
              <a:rPr lang="en-US" sz="1200" kern="0"/>
              <a:t>*Activities included in this proposal refer to the application of recommendations on the objects identified by Salesforce.com. During the discovery phase it will be necessary to run an end-to-end assessment on the AS-IS system and to identify additional impacts (if any) and changes on additional objects with respect to the ones suggested by Salesforce.</a:t>
            </a:r>
          </a:p>
          <a:p>
            <a:pPr marL="285750" indent="-285750" algn="just">
              <a:buFont typeface="Arial" panose="020B0604020202020204" pitchFamily="34" charset="0"/>
              <a:buChar char="•"/>
            </a:pPr>
            <a:endParaRPr lang="en-US" sz="1200" kern="0"/>
          </a:p>
          <a:p>
            <a:pPr algn="just"/>
            <a:endParaRPr lang="en-US" sz="1200" kern="0"/>
          </a:p>
        </p:txBody>
      </p:sp>
      <p:grpSp>
        <p:nvGrpSpPr>
          <p:cNvPr id="119" name="Group 118">
            <a:extLst>
              <a:ext uri="{FF2B5EF4-FFF2-40B4-BE49-F238E27FC236}">
                <a16:creationId xmlns:a16="http://schemas.microsoft.com/office/drawing/2014/main" id="{227F6BF3-A53D-455E-A118-940363993DBC}"/>
              </a:ext>
            </a:extLst>
          </p:cNvPr>
          <p:cNvGrpSpPr/>
          <p:nvPr/>
        </p:nvGrpSpPr>
        <p:grpSpPr>
          <a:xfrm>
            <a:off x="2207279" y="889245"/>
            <a:ext cx="7336771" cy="4692143"/>
            <a:chOff x="1750079" y="899033"/>
            <a:chExt cx="8301971" cy="5469644"/>
          </a:xfrm>
        </p:grpSpPr>
        <p:sp>
          <p:nvSpPr>
            <p:cNvPr id="120" name="Rectangle 119">
              <a:extLst>
                <a:ext uri="{FF2B5EF4-FFF2-40B4-BE49-F238E27FC236}">
                  <a16:creationId xmlns:a16="http://schemas.microsoft.com/office/drawing/2014/main" id="{09935214-B949-42F5-A948-97730A31F6D6}"/>
                </a:ext>
              </a:extLst>
            </p:cNvPr>
            <p:cNvSpPr/>
            <p:nvPr/>
          </p:nvSpPr>
          <p:spPr>
            <a:xfrm>
              <a:off x="2240299" y="5313233"/>
              <a:ext cx="7811751"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CRM Functionalities (Automotive Lighting &amp; Electronics )</a:t>
              </a:r>
            </a:p>
          </p:txBody>
        </p:sp>
        <p:sp>
          <p:nvSpPr>
            <p:cNvPr id="121" name="Rectangle 120">
              <a:extLst>
                <a:ext uri="{FF2B5EF4-FFF2-40B4-BE49-F238E27FC236}">
                  <a16:creationId xmlns:a16="http://schemas.microsoft.com/office/drawing/2014/main" id="{D83FBE7E-07B9-4D17-9CE5-BDA5DE2A31B3}"/>
                </a:ext>
              </a:extLst>
            </p:cNvPr>
            <p:cNvSpPr/>
            <p:nvPr/>
          </p:nvSpPr>
          <p:spPr>
            <a:xfrm>
              <a:off x="2256616" y="5908893"/>
              <a:ext cx="7795434" cy="369332"/>
            </a:xfrm>
            <a:prstGeom prst="rect">
              <a:avLst/>
            </a:prstGeom>
            <a:solidFill>
              <a:srgbClr val="FFFFFF">
                <a:lumMod val="85000"/>
              </a:srgbClr>
            </a:solidFill>
            <a:ln>
              <a:solidFill>
                <a:srgbClr val="FFFFFF">
                  <a:lumMod val="65000"/>
                </a:srgbClr>
              </a:solidFill>
            </a:ln>
          </p:spPr>
          <p:txBody>
            <a:bodyPr wrap="square" anchor="ctr">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Integration (Actual Volume)</a:t>
              </a:r>
            </a:p>
          </p:txBody>
        </p:sp>
        <p:sp>
          <p:nvSpPr>
            <p:cNvPr id="122" name="Rectangle 121">
              <a:extLst>
                <a:ext uri="{FF2B5EF4-FFF2-40B4-BE49-F238E27FC236}">
                  <a16:creationId xmlns:a16="http://schemas.microsoft.com/office/drawing/2014/main" id="{1049BCF6-BDEB-4F32-BC1D-D0EDDFE1842B}"/>
                </a:ext>
              </a:extLst>
            </p:cNvPr>
            <p:cNvSpPr/>
            <p:nvPr/>
          </p:nvSpPr>
          <p:spPr>
            <a:xfrm>
              <a:off x="2139950" y="981000"/>
              <a:ext cx="7912099" cy="2111498"/>
            </a:xfrm>
            <a:prstGeom prst="rect">
              <a:avLst/>
            </a:prstGeom>
            <a:solidFill>
              <a:srgbClr val="12ABDB">
                <a:alpha val="4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123" name="Shape 1171">
              <a:extLst>
                <a:ext uri="{FF2B5EF4-FFF2-40B4-BE49-F238E27FC236}">
                  <a16:creationId xmlns:a16="http://schemas.microsoft.com/office/drawing/2014/main" id="{7FA19988-29F9-44B6-9135-07400B8E8C36}"/>
                </a:ext>
              </a:extLst>
            </p:cNvPr>
            <p:cNvSpPr/>
            <p:nvPr/>
          </p:nvSpPr>
          <p:spPr>
            <a:xfrm>
              <a:off x="6380844" y="1047407"/>
              <a:ext cx="3533648" cy="613118"/>
            </a:xfrm>
            <a:prstGeom prst="round2SameRect">
              <a:avLst/>
            </a:prstGeom>
            <a:solidFill>
              <a:srgbClr val="12ABDB"/>
            </a:solidFill>
            <a:ln>
              <a:no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eneral Platform</a:t>
              </a:r>
            </a:p>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Optimization*</a:t>
              </a:r>
            </a:p>
          </p:txBody>
        </p:sp>
        <p:grpSp>
          <p:nvGrpSpPr>
            <p:cNvPr id="124" name="Group 123">
              <a:extLst>
                <a:ext uri="{FF2B5EF4-FFF2-40B4-BE49-F238E27FC236}">
                  <a16:creationId xmlns:a16="http://schemas.microsoft.com/office/drawing/2014/main" id="{2BD43D17-60E7-466D-83EF-6BBA4EEB2D70}"/>
                </a:ext>
              </a:extLst>
            </p:cNvPr>
            <p:cNvGrpSpPr/>
            <p:nvPr/>
          </p:nvGrpSpPr>
          <p:grpSpPr>
            <a:xfrm>
              <a:off x="6380844" y="1060995"/>
              <a:ext cx="573576" cy="613118"/>
              <a:chOff x="227349" y="1656672"/>
              <a:chExt cx="331451" cy="613118"/>
            </a:xfrm>
          </p:grpSpPr>
          <p:sp>
            <p:nvSpPr>
              <p:cNvPr id="157" name="Rounded Rectangle 41">
                <a:extLst>
                  <a:ext uri="{FF2B5EF4-FFF2-40B4-BE49-F238E27FC236}">
                    <a16:creationId xmlns:a16="http://schemas.microsoft.com/office/drawing/2014/main" id="{6D2A9E65-366A-435B-AA2C-DD0A725378CA}"/>
                  </a:ext>
                </a:extLst>
              </p:cNvPr>
              <p:cNvSpPr/>
              <p:nvPr/>
            </p:nvSpPr>
            <p:spPr>
              <a:xfrm>
                <a:off x="227349" y="1656672"/>
                <a:ext cx="61388" cy="251861"/>
              </a:xfrm>
              <a:prstGeom prst="roundRect">
                <a:avLst>
                  <a:gd name="adj" fmla="val 50000"/>
                </a:avLst>
              </a:prstGeom>
              <a:solidFill>
                <a:srgbClr val="12ABDB">
                  <a:lumMod val="75000"/>
                </a:srgbClr>
              </a:solid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58" name="Rounded Rectangle 41">
                <a:extLst>
                  <a:ext uri="{FF2B5EF4-FFF2-40B4-BE49-F238E27FC236}">
                    <a16:creationId xmlns:a16="http://schemas.microsoft.com/office/drawing/2014/main" id="{38DC0D1E-38A6-4C15-993E-24DC6686B0E3}"/>
                  </a:ext>
                </a:extLst>
              </p:cNvPr>
              <p:cNvSpPr/>
              <p:nvPr/>
            </p:nvSpPr>
            <p:spPr>
              <a:xfrm>
                <a:off x="227349" y="2017929"/>
                <a:ext cx="61388" cy="251861"/>
              </a:xfrm>
              <a:prstGeom prst="roundRect">
                <a:avLst>
                  <a:gd name="adj" fmla="val 50000"/>
                </a:avLst>
              </a:prstGeom>
              <a:solidFill>
                <a:srgbClr val="12ABDB">
                  <a:lumMod val="75000"/>
                </a:srgbClr>
              </a:solid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59" name="Freeform 42">
                <a:extLst>
                  <a:ext uri="{FF2B5EF4-FFF2-40B4-BE49-F238E27FC236}">
                    <a16:creationId xmlns:a16="http://schemas.microsoft.com/office/drawing/2014/main" id="{B3E5BE64-1916-4293-92EE-56D26712D27D}"/>
                  </a:ext>
                </a:extLst>
              </p:cNvPr>
              <p:cNvSpPr/>
              <p:nvPr/>
            </p:nvSpPr>
            <p:spPr>
              <a:xfrm>
                <a:off x="227349" y="1714500"/>
                <a:ext cx="331451" cy="497462"/>
              </a:xfrm>
              <a:prstGeom prst="homePlate">
                <a:avLst>
                  <a:gd name="adj" fmla="val 29565"/>
                </a:avLst>
              </a:prstGeom>
              <a:solidFill>
                <a:srgbClr val="12ABDB"/>
              </a:solid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25" name="Shape 1171">
              <a:extLst>
                <a:ext uri="{FF2B5EF4-FFF2-40B4-BE49-F238E27FC236}">
                  <a16:creationId xmlns:a16="http://schemas.microsoft.com/office/drawing/2014/main" id="{51E34730-7E19-4E39-96E7-6259705353B6}"/>
                </a:ext>
              </a:extLst>
            </p:cNvPr>
            <p:cNvSpPr/>
            <p:nvPr/>
          </p:nvSpPr>
          <p:spPr>
            <a:xfrm>
              <a:off x="6380844" y="1725681"/>
              <a:ext cx="3533648" cy="613118"/>
            </a:xfrm>
            <a:prstGeom prst="round2SameRect">
              <a:avLst/>
            </a:prstGeom>
            <a:solidFill>
              <a:srgbClr val="12ABDB"/>
            </a:solidFill>
            <a:ln>
              <a:no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Data management</a:t>
              </a:r>
            </a:p>
          </p:txBody>
        </p:sp>
        <p:grpSp>
          <p:nvGrpSpPr>
            <p:cNvPr id="126" name="Group 125">
              <a:extLst>
                <a:ext uri="{FF2B5EF4-FFF2-40B4-BE49-F238E27FC236}">
                  <a16:creationId xmlns:a16="http://schemas.microsoft.com/office/drawing/2014/main" id="{5600C17F-4D1C-40DF-8882-6F0F9C7C66F9}"/>
                </a:ext>
              </a:extLst>
            </p:cNvPr>
            <p:cNvGrpSpPr/>
            <p:nvPr/>
          </p:nvGrpSpPr>
          <p:grpSpPr>
            <a:xfrm>
              <a:off x="6380845" y="1725681"/>
              <a:ext cx="606269" cy="613118"/>
              <a:chOff x="227349" y="1656672"/>
              <a:chExt cx="331451" cy="613118"/>
            </a:xfrm>
          </p:grpSpPr>
          <p:sp>
            <p:nvSpPr>
              <p:cNvPr id="154" name="Rounded Rectangle 41">
                <a:extLst>
                  <a:ext uri="{FF2B5EF4-FFF2-40B4-BE49-F238E27FC236}">
                    <a16:creationId xmlns:a16="http://schemas.microsoft.com/office/drawing/2014/main" id="{93E9A26B-29A6-4514-A0FF-A0C0DF370C3E}"/>
                  </a:ext>
                </a:extLst>
              </p:cNvPr>
              <p:cNvSpPr/>
              <p:nvPr/>
            </p:nvSpPr>
            <p:spPr>
              <a:xfrm>
                <a:off x="227349" y="1656672"/>
                <a:ext cx="61388" cy="251861"/>
              </a:xfrm>
              <a:prstGeom prst="roundRect">
                <a:avLst>
                  <a:gd name="adj" fmla="val 50000"/>
                </a:avLst>
              </a:prstGeom>
              <a:solidFill>
                <a:srgbClr val="12ABDB">
                  <a:lumMod val="75000"/>
                </a:srgbClr>
              </a:solid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55" name="Rounded Rectangle 41">
                <a:extLst>
                  <a:ext uri="{FF2B5EF4-FFF2-40B4-BE49-F238E27FC236}">
                    <a16:creationId xmlns:a16="http://schemas.microsoft.com/office/drawing/2014/main" id="{F86C929F-24BD-479F-9022-9CF2C5BF4BDD}"/>
                  </a:ext>
                </a:extLst>
              </p:cNvPr>
              <p:cNvSpPr/>
              <p:nvPr/>
            </p:nvSpPr>
            <p:spPr>
              <a:xfrm>
                <a:off x="227349" y="2017929"/>
                <a:ext cx="61388" cy="251861"/>
              </a:xfrm>
              <a:prstGeom prst="roundRect">
                <a:avLst>
                  <a:gd name="adj" fmla="val 50000"/>
                </a:avLst>
              </a:prstGeom>
              <a:solidFill>
                <a:srgbClr val="12ABDB">
                  <a:lumMod val="75000"/>
                </a:srgbClr>
              </a:solid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56" name="Freeform 42">
                <a:extLst>
                  <a:ext uri="{FF2B5EF4-FFF2-40B4-BE49-F238E27FC236}">
                    <a16:creationId xmlns:a16="http://schemas.microsoft.com/office/drawing/2014/main" id="{1B2A88D3-3D39-429F-95A4-C29AC5CF8ADE}"/>
                  </a:ext>
                </a:extLst>
              </p:cNvPr>
              <p:cNvSpPr/>
              <p:nvPr/>
            </p:nvSpPr>
            <p:spPr>
              <a:xfrm>
                <a:off x="227349" y="1714500"/>
                <a:ext cx="331451" cy="497462"/>
              </a:xfrm>
              <a:prstGeom prst="homePlate">
                <a:avLst>
                  <a:gd name="adj" fmla="val 29565"/>
                </a:avLst>
              </a:prstGeom>
              <a:solidFill>
                <a:srgbClr val="12ABDB"/>
              </a:solid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27" name="Shape 1171">
              <a:extLst>
                <a:ext uri="{FF2B5EF4-FFF2-40B4-BE49-F238E27FC236}">
                  <a16:creationId xmlns:a16="http://schemas.microsoft.com/office/drawing/2014/main" id="{30F0805D-8DC4-4F33-A712-EB41D70E53FF}"/>
                </a:ext>
              </a:extLst>
            </p:cNvPr>
            <p:cNvSpPr/>
            <p:nvPr/>
          </p:nvSpPr>
          <p:spPr>
            <a:xfrm>
              <a:off x="6391580" y="2389429"/>
              <a:ext cx="3533648" cy="613118"/>
            </a:xfrm>
            <a:prstGeom prst="round2SameRect">
              <a:avLst/>
            </a:prstGeom>
            <a:solidFill>
              <a:srgbClr val="12ABDB"/>
            </a:solidFill>
            <a:ln>
              <a:no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Mobile Compatibility</a:t>
              </a:r>
            </a:p>
          </p:txBody>
        </p:sp>
        <p:sp>
          <p:nvSpPr>
            <p:cNvPr id="128" name="Rectangle 127">
              <a:extLst>
                <a:ext uri="{FF2B5EF4-FFF2-40B4-BE49-F238E27FC236}">
                  <a16:creationId xmlns:a16="http://schemas.microsoft.com/office/drawing/2014/main" id="{9BB5F58A-6743-4B86-BAE0-ACA8EFE1AAFE}"/>
                </a:ext>
              </a:extLst>
            </p:cNvPr>
            <p:cNvSpPr/>
            <p:nvPr/>
          </p:nvSpPr>
          <p:spPr>
            <a:xfrm>
              <a:off x="2856140" y="1890669"/>
              <a:ext cx="4058103" cy="369332"/>
            </a:xfrm>
            <a:prstGeom prst="rect">
              <a:avLst/>
            </a:prstGeom>
            <a:noFill/>
            <a:ln>
              <a:noFill/>
            </a:ln>
          </p:spPr>
          <p:txBody>
            <a:bodyPr wrap="square" anchor="ctr">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Platform Optimization</a:t>
              </a:r>
            </a:p>
          </p:txBody>
        </p:sp>
        <p:sp>
          <p:nvSpPr>
            <p:cNvPr id="129" name="Rectangle 128">
              <a:extLst>
                <a:ext uri="{FF2B5EF4-FFF2-40B4-BE49-F238E27FC236}">
                  <a16:creationId xmlns:a16="http://schemas.microsoft.com/office/drawing/2014/main" id="{95448262-F843-44DA-84F4-A08E20663EBB}"/>
                </a:ext>
              </a:extLst>
            </p:cNvPr>
            <p:cNvSpPr/>
            <p:nvPr/>
          </p:nvSpPr>
          <p:spPr>
            <a:xfrm>
              <a:off x="2139951" y="3111005"/>
              <a:ext cx="7912099" cy="2111498"/>
            </a:xfrm>
            <a:prstGeom prst="rect">
              <a:avLst/>
            </a:pr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Verdana"/>
                <a:ea typeface="+mn-ea"/>
                <a:cs typeface="+mn-cs"/>
              </a:endParaRPr>
            </a:p>
          </p:txBody>
        </p:sp>
        <p:sp>
          <p:nvSpPr>
            <p:cNvPr id="130" name="Rectangle 129">
              <a:extLst>
                <a:ext uri="{FF2B5EF4-FFF2-40B4-BE49-F238E27FC236}">
                  <a16:creationId xmlns:a16="http://schemas.microsoft.com/office/drawing/2014/main" id="{10C47566-CDA7-450E-8C02-378184ED3B4A}"/>
                </a:ext>
              </a:extLst>
            </p:cNvPr>
            <p:cNvSpPr/>
            <p:nvPr/>
          </p:nvSpPr>
          <p:spPr>
            <a:xfrm>
              <a:off x="2322741" y="3730479"/>
              <a:ext cx="3611750" cy="646331"/>
            </a:xfrm>
            <a:prstGeom prst="rect">
              <a:avLst/>
            </a:prstGeom>
            <a:solidFill>
              <a:srgbClr val="FFFFFF">
                <a:lumMod val="85000"/>
              </a:srgbClr>
            </a:solidFill>
            <a:ln>
              <a:solidFill>
                <a:srgbClr val="FFFFFF">
                  <a:lumMod val="65000"/>
                </a:srgbClr>
              </a:solidFill>
            </a:ln>
          </p:spPr>
          <p:txBody>
            <a:bodyPr wrap="square">
              <a:sp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Verdana"/>
                </a:rPr>
                <a:t>Salesforce Enhancements and Rollout</a:t>
              </a:r>
            </a:p>
          </p:txBody>
        </p:sp>
        <p:sp>
          <p:nvSpPr>
            <p:cNvPr id="131" name="Shape 1171">
              <a:extLst>
                <a:ext uri="{FF2B5EF4-FFF2-40B4-BE49-F238E27FC236}">
                  <a16:creationId xmlns:a16="http://schemas.microsoft.com/office/drawing/2014/main" id="{1350BA31-AFD9-4917-B766-96A97DC8FE85}"/>
                </a:ext>
              </a:extLst>
            </p:cNvPr>
            <p:cNvSpPr/>
            <p:nvPr/>
          </p:nvSpPr>
          <p:spPr>
            <a:xfrm>
              <a:off x="6414340" y="3134211"/>
              <a:ext cx="3589052"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Electric Powertrain (ePW)</a:t>
              </a:r>
            </a:p>
          </p:txBody>
        </p:sp>
        <p:grpSp>
          <p:nvGrpSpPr>
            <p:cNvPr id="132" name="Group 131">
              <a:extLst>
                <a:ext uri="{FF2B5EF4-FFF2-40B4-BE49-F238E27FC236}">
                  <a16:creationId xmlns:a16="http://schemas.microsoft.com/office/drawing/2014/main" id="{F7F1C797-CE3C-480F-8D78-B5CC9CDCA732}"/>
                </a:ext>
              </a:extLst>
            </p:cNvPr>
            <p:cNvGrpSpPr/>
            <p:nvPr/>
          </p:nvGrpSpPr>
          <p:grpSpPr>
            <a:xfrm>
              <a:off x="6414341" y="3134211"/>
              <a:ext cx="572664" cy="613118"/>
              <a:chOff x="227349" y="1656672"/>
              <a:chExt cx="331451" cy="613118"/>
            </a:xfrm>
            <a:solidFill>
              <a:srgbClr val="FFFFFF">
                <a:lumMod val="85000"/>
              </a:srgbClr>
            </a:solidFill>
          </p:grpSpPr>
          <p:sp>
            <p:nvSpPr>
              <p:cNvPr id="151" name="Rounded Rectangle 41">
                <a:extLst>
                  <a:ext uri="{FF2B5EF4-FFF2-40B4-BE49-F238E27FC236}">
                    <a16:creationId xmlns:a16="http://schemas.microsoft.com/office/drawing/2014/main" id="{781E817C-6DD6-4E0A-BDE6-6718D2A5D238}"/>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52" name="Rounded Rectangle 41">
                <a:extLst>
                  <a:ext uri="{FF2B5EF4-FFF2-40B4-BE49-F238E27FC236}">
                    <a16:creationId xmlns:a16="http://schemas.microsoft.com/office/drawing/2014/main" id="{5B606584-D394-4778-945C-C3B02F06A1FA}"/>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53" name="Freeform 42">
                <a:extLst>
                  <a:ext uri="{FF2B5EF4-FFF2-40B4-BE49-F238E27FC236}">
                    <a16:creationId xmlns:a16="http://schemas.microsoft.com/office/drawing/2014/main" id="{83C4D3EC-5C3E-4121-BBE1-827BF3C68E7A}"/>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1</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33" name="Shape 1171">
              <a:extLst>
                <a:ext uri="{FF2B5EF4-FFF2-40B4-BE49-F238E27FC236}">
                  <a16:creationId xmlns:a16="http://schemas.microsoft.com/office/drawing/2014/main" id="{4D33E74A-45AB-415C-9C25-55F57DA017F2}"/>
                </a:ext>
              </a:extLst>
            </p:cNvPr>
            <p:cNvSpPr/>
            <p:nvPr/>
          </p:nvSpPr>
          <p:spPr>
            <a:xfrm>
              <a:off x="6414340" y="3838814"/>
              <a:ext cx="3589052"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Powertrain (PW)</a:t>
              </a:r>
            </a:p>
          </p:txBody>
        </p:sp>
        <p:grpSp>
          <p:nvGrpSpPr>
            <p:cNvPr id="134" name="Group 133">
              <a:extLst>
                <a:ext uri="{FF2B5EF4-FFF2-40B4-BE49-F238E27FC236}">
                  <a16:creationId xmlns:a16="http://schemas.microsoft.com/office/drawing/2014/main" id="{3DD0DD25-F3A5-43B6-853D-B856B47C6DF9}"/>
                </a:ext>
              </a:extLst>
            </p:cNvPr>
            <p:cNvGrpSpPr/>
            <p:nvPr/>
          </p:nvGrpSpPr>
          <p:grpSpPr>
            <a:xfrm>
              <a:off x="6414341" y="3838815"/>
              <a:ext cx="572664" cy="613118"/>
              <a:chOff x="227349" y="1656672"/>
              <a:chExt cx="331451" cy="613118"/>
            </a:xfrm>
            <a:solidFill>
              <a:srgbClr val="FFFFFF">
                <a:lumMod val="85000"/>
              </a:srgbClr>
            </a:solidFill>
          </p:grpSpPr>
          <p:sp>
            <p:nvSpPr>
              <p:cNvPr id="148" name="Rounded Rectangle 41">
                <a:extLst>
                  <a:ext uri="{FF2B5EF4-FFF2-40B4-BE49-F238E27FC236}">
                    <a16:creationId xmlns:a16="http://schemas.microsoft.com/office/drawing/2014/main" id="{768BB4BC-5E3E-4513-B317-B8A026F4AEAD}"/>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49" name="Rounded Rectangle 41">
                <a:extLst>
                  <a:ext uri="{FF2B5EF4-FFF2-40B4-BE49-F238E27FC236}">
                    <a16:creationId xmlns:a16="http://schemas.microsoft.com/office/drawing/2014/main" id="{15F72B23-FF88-4299-8CCD-EBD36B8139FC}"/>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50" name="Freeform 42">
                <a:extLst>
                  <a:ext uri="{FF2B5EF4-FFF2-40B4-BE49-F238E27FC236}">
                    <a16:creationId xmlns:a16="http://schemas.microsoft.com/office/drawing/2014/main" id="{7D42A00B-8AC3-4631-94C0-8C78F700EC95}"/>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2</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35" name="Shape 1171">
              <a:extLst>
                <a:ext uri="{FF2B5EF4-FFF2-40B4-BE49-F238E27FC236}">
                  <a16:creationId xmlns:a16="http://schemas.microsoft.com/office/drawing/2014/main" id="{CF7ED54F-B46D-450C-A494-E77A79FE3499}"/>
                </a:ext>
              </a:extLst>
            </p:cNvPr>
            <p:cNvSpPr/>
            <p:nvPr/>
          </p:nvSpPr>
          <p:spPr>
            <a:xfrm>
              <a:off x="6414340" y="4525682"/>
              <a:ext cx="3611750" cy="613118"/>
            </a:xfrm>
            <a:prstGeom prst="round2SameRect">
              <a:avLst/>
            </a:prstGeom>
            <a:solidFill>
              <a:srgbClr val="FFFFFF">
                <a:lumMod val="85000"/>
              </a:srgbClr>
            </a:solidFill>
            <a:ln>
              <a:solidFill>
                <a:srgbClr val="FFFFFF">
                  <a:lumMod val="65000"/>
                </a:srgbClr>
              </a:solidFill>
            </a:ln>
          </p:spPr>
          <p:txBody>
            <a:bodyPr lIns="365760" tIns="91440" rIns="91440" bIns="91440" anchor="ctr" anchorCtr="0">
              <a:noAutofit/>
            </a:bodyP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US" sz="1400" b="1" i="0" u="none" strike="noStrike" kern="0" cap="none" spc="0" normalizeH="0" baseline="0" noProof="0">
                  <a:ln>
                    <a:noFill/>
                  </a:ln>
                  <a:solidFill>
                    <a:srgbClr val="FFFFFF"/>
                  </a:solidFill>
                  <a:effectLst/>
                  <a:uLnTx/>
                  <a:uFillTx/>
                  <a:latin typeface="Verdana"/>
                  <a:sym typeface="Open Sans"/>
                </a:rPr>
                <a:t>    Green Technology Solutions       </a:t>
              </a:r>
            </a:p>
          </p:txBody>
        </p:sp>
        <p:grpSp>
          <p:nvGrpSpPr>
            <p:cNvPr id="136" name="Group 135">
              <a:extLst>
                <a:ext uri="{FF2B5EF4-FFF2-40B4-BE49-F238E27FC236}">
                  <a16:creationId xmlns:a16="http://schemas.microsoft.com/office/drawing/2014/main" id="{E8ADC0CB-C356-41F8-8A19-20702F3A5E14}"/>
                </a:ext>
              </a:extLst>
            </p:cNvPr>
            <p:cNvGrpSpPr/>
            <p:nvPr/>
          </p:nvGrpSpPr>
          <p:grpSpPr>
            <a:xfrm>
              <a:off x="6414341" y="4525682"/>
              <a:ext cx="572664" cy="613118"/>
              <a:chOff x="227349" y="1656672"/>
              <a:chExt cx="331451" cy="613118"/>
            </a:xfrm>
            <a:solidFill>
              <a:srgbClr val="FFFFFF">
                <a:lumMod val="85000"/>
              </a:srgbClr>
            </a:solidFill>
          </p:grpSpPr>
          <p:sp>
            <p:nvSpPr>
              <p:cNvPr id="145" name="Rounded Rectangle 41">
                <a:extLst>
                  <a:ext uri="{FF2B5EF4-FFF2-40B4-BE49-F238E27FC236}">
                    <a16:creationId xmlns:a16="http://schemas.microsoft.com/office/drawing/2014/main" id="{E063E442-635B-44BA-A573-FC27436E2FB0}"/>
                  </a:ext>
                </a:extLst>
              </p:cNvPr>
              <p:cNvSpPr/>
              <p:nvPr/>
            </p:nvSpPr>
            <p:spPr>
              <a:xfrm>
                <a:off x="227349" y="1656672"/>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46" name="Rounded Rectangle 41">
                <a:extLst>
                  <a:ext uri="{FF2B5EF4-FFF2-40B4-BE49-F238E27FC236}">
                    <a16:creationId xmlns:a16="http://schemas.microsoft.com/office/drawing/2014/main" id="{627DA290-6CA4-40A3-A7B8-F5F28EE2F226}"/>
                  </a:ext>
                </a:extLst>
              </p:cNvPr>
              <p:cNvSpPr/>
              <p:nvPr/>
            </p:nvSpPr>
            <p:spPr>
              <a:xfrm>
                <a:off x="227349" y="2017929"/>
                <a:ext cx="61388" cy="251861"/>
              </a:xfrm>
              <a:prstGeom prst="roundRect">
                <a:avLst>
                  <a:gd name="adj" fmla="val 50000"/>
                </a:avLst>
              </a:prstGeom>
              <a:grp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9F958F">
                      <a:lumMod val="50000"/>
                    </a:srgbClr>
                  </a:solidFill>
                  <a:effectLst/>
                  <a:uLnTx/>
                  <a:uFillTx/>
                  <a:latin typeface="Verdana"/>
                </a:endParaRPr>
              </a:p>
            </p:txBody>
          </p:sp>
          <p:sp>
            <p:nvSpPr>
              <p:cNvPr id="147" name="Freeform 42">
                <a:extLst>
                  <a:ext uri="{FF2B5EF4-FFF2-40B4-BE49-F238E27FC236}">
                    <a16:creationId xmlns:a16="http://schemas.microsoft.com/office/drawing/2014/main" id="{A75E86D1-5109-4309-9190-5FD7E143E78B}"/>
                  </a:ext>
                </a:extLst>
              </p:cNvPr>
              <p:cNvSpPr/>
              <p:nvPr/>
            </p:nvSpPr>
            <p:spPr>
              <a:xfrm>
                <a:off x="227349" y="1714500"/>
                <a:ext cx="331451" cy="497462"/>
              </a:xfrm>
              <a:prstGeom prst="homePlate">
                <a:avLst>
                  <a:gd name="adj" fmla="val 29565"/>
                </a:avLst>
              </a:prstGeom>
              <a:grp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2.3</a:t>
                </a:r>
                <a:endParaRPr kumimoji="0" lang="en-US" sz="1200" b="1" i="0" u="none" strike="noStrike" kern="0" cap="none" spc="0" normalizeH="0" baseline="0" noProof="0">
                  <a:ln>
                    <a:noFill/>
                  </a:ln>
                  <a:solidFill>
                    <a:srgbClr val="FFFFFF"/>
                  </a:solidFill>
                  <a:effectLst/>
                  <a:uLnTx/>
                  <a:uFillTx/>
                  <a:latin typeface="Verdana"/>
                </a:endParaRPr>
              </a:p>
            </p:txBody>
          </p:sp>
        </p:grpSp>
        <p:grpSp>
          <p:nvGrpSpPr>
            <p:cNvPr id="137" name="Group 136">
              <a:extLst>
                <a:ext uri="{FF2B5EF4-FFF2-40B4-BE49-F238E27FC236}">
                  <a16:creationId xmlns:a16="http://schemas.microsoft.com/office/drawing/2014/main" id="{A434DDF4-9A97-4312-9505-895FF70F8A67}"/>
                </a:ext>
              </a:extLst>
            </p:cNvPr>
            <p:cNvGrpSpPr/>
            <p:nvPr/>
          </p:nvGrpSpPr>
          <p:grpSpPr>
            <a:xfrm>
              <a:off x="6380845" y="2402129"/>
              <a:ext cx="606269" cy="613118"/>
              <a:chOff x="227349" y="1656672"/>
              <a:chExt cx="331451" cy="613118"/>
            </a:xfrm>
          </p:grpSpPr>
          <p:sp>
            <p:nvSpPr>
              <p:cNvPr id="142" name="Rounded Rectangle 41">
                <a:extLst>
                  <a:ext uri="{FF2B5EF4-FFF2-40B4-BE49-F238E27FC236}">
                    <a16:creationId xmlns:a16="http://schemas.microsoft.com/office/drawing/2014/main" id="{348A9331-79CC-4504-882D-C10A0F38322E}"/>
                  </a:ext>
                </a:extLst>
              </p:cNvPr>
              <p:cNvSpPr/>
              <p:nvPr/>
            </p:nvSpPr>
            <p:spPr>
              <a:xfrm>
                <a:off x="227349" y="1656672"/>
                <a:ext cx="61388" cy="251861"/>
              </a:xfrm>
              <a:prstGeom prst="roundRect">
                <a:avLst>
                  <a:gd name="adj" fmla="val 50000"/>
                </a:avLst>
              </a:prstGeom>
              <a:solidFill>
                <a:srgbClr val="12ABDB">
                  <a:lumMod val="75000"/>
                </a:srgbClr>
              </a:solid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43" name="Rounded Rectangle 41">
                <a:extLst>
                  <a:ext uri="{FF2B5EF4-FFF2-40B4-BE49-F238E27FC236}">
                    <a16:creationId xmlns:a16="http://schemas.microsoft.com/office/drawing/2014/main" id="{EBB0DDFC-C8F2-4990-A552-BC7F42EE3333}"/>
                  </a:ext>
                </a:extLst>
              </p:cNvPr>
              <p:cNvSpPr/>
              <p:nvPr/>
            </p:nvSpPr>
            <p:spPr>
              <a:xfrm>
                <a:off x="227349" y="2017929"/>
                <a:ext cx="61388" cy="251861"/>
              </a:xfrm>
              <a:prstGeom prst="roundRect">
                <a:avLst>
                  <a:gd name="adj" fmla="val 50000"/>
                </a:avLst>
              </a:prstGeom>
              <a:solidFill>
                <a:srgbClr val="12ABDB">
                  <a:lumMod val="75000"/>
                </a:srgbClr>
              </a:solidFill>
              <a:ln w="9525" cap="flat" cmpd="sng" algn="ctr">
                <a:solidFill>
                  <a:srgbClr val="12ABDB">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9F958F">
                      <a:lumMod val="50000"/>
                    </a:srgbClr>
                  </a:solidFill>
                  <a:effectLst/>
                  <a:uLnTx/>
                  <a:uFillTx/>
                  <a:latin typeface="Verdana"/>
                </a:endParaRPr>
              </a:p>
            </p:txBody>
          </p:sp>
          <p:sp>
            <p:nvSpPr>
              <p:cNvPr id="144" name="Freeform 42">
                <a:extLst>
                  <a:ext uri="{FF2B5EF4-FFF2-40B4-BE49-F238E27FC236}">
                    <a16:creationId xmlns:a16="http://schemas.microsoft.com/office/drawing/2014/main" id="{3D77E65C-DFE7-4D9C-B2E9-BDDF7E904F82}"/>
                  </a:ext>
                </a:extLst>
              </p:cNvPr>
              <p:cNvSpPr/>
              <p:nvPr/>
            </p:nvSpPr>
            <p:spPr>
              <a:xfrm>
                <a:off x="227349" y="1714500"/>
                <a:ext cx="331451" cy="497462"/>
              </a:xfrm>
              <a:prstGeom prst="homePlate">
                <a:avLst>
                  <a:gd name="adj" fmla="val 29565"/>
                </a:avLst>
              </a:prstGeom>
              <a:solidFill>
                <a:srgbClr val="12ABDB"/>
              </a:solidFill>
              <a:ln w="952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
                    <a:srgbClr val="FFFFFF"/>
                  </a:buClr>
                  <a:buSzPct val="25000"/>
                  <a:buFontTx/>
                  <a:buNone/>
                  <a:tabLst/>
                  <a:defRPr/>
                </a:pPr>
                <a:r>
                  <a:rPr kumimoji="0" lang="en-IN" sz="1200" b="1" i="0" u="none" strike="noStrike" kern="0" cap="none" spc="0" normalizeH="0" baseline="0" noProof="0">
                    <a:ln>
                      <a:noFill/>
                    </a:ln>
                    <a:solidFill>
                      <a:srgbClr val="FFFFFF"/>
                    </a:solidFill>
                    <a:effectLst/>
                    <a:uLnTx/>
                    <a:uFillTx/>
                    <a:latin typeface="Verdana"/>
                  </a:rPr>
                  <a:t>1.3</a:t>
                </a:r>
                <a:endParaRPr kumimoji="0" lang="en-US" sz="1200" b="1" i="0" u="none" strike="noStrike" kern="0" cap="none" spc="0" normalizeH="0" baseline="0" noProof="0">
                  <a:ln>
                    <a:noFill/>
                  </a:ln>
                  <a:solidFill>
                    <a:srgbClr val="FFFFFF"/>
                  </a:solidFill>
                  <a:effectLst/>
                  <a:uLnTx/>
                  <a:uFillTx/>
                  <a:latin typeface="Verdana"/>
                </a:endParaRPr>
              </a:p>
            </p:txBody>
          </p:sp>
        </p:grpSp>
        <p:sp>
          <p:nvSpPr>
            <p:cNvPr id="138" name="Oval 20">
              <a:extLst>
                <a:ext uri="{FF2B5EF4-FFF2-40B4-BE49-F238E27FC236}">
                  <a16:creationId xmlns:a16="http://schemas.microsoft.com/office/drawing/2014/main" id="{05FC4F18-6C9A-4C2E-93A0-3258C38A8455}"/>
                </a:ext>
              </a:extLst>
            </p:cNvPr>
            <p:cNvSpPr/>
            <p:nvPr/>
          </p:nvSpPr>
          <p:spPr>
            <a:xfrm>
              <a:off x="1750079" y="5251200"/>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3</a:t>
              </a:r>
            </a:p>
          </p:txBody>
        </p:sp>
        <p:sp>
          <p:nvSpPr>
            <p:cNvPr id="139" name="Oval 20">
              <a:extLst>
                <a:ext uri="{FF2B5EF4-FFF2-40B4-BE49-F238E27FC236}">
                  <a16:creationId xmlns:a16="http://schemas.microsoft.com/office/drawing/2014/main" id="{4746D52B-3CD1-4E7C-BF77-24EE54975277}"/>
                </a:ext>
              </a:extLst>
            </p:cNvPr>
            <p:cNvSpPr/>
            <p:nvPr/>
          </p:nvSpPr>
          <p:spPr>
            <a:xfrm>
              <a:off x="1750080" y="3115742"/>
              <a:ext cx="572662"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2</a:t>
              </a:r>
            </a:p>
          </p:txBody>
        </p:sp>
        <p:sp>
          <p:nvSpPr>
            <p:cNvPr id="140" name="Oval 20">
              <a:extLst>
                <a:ext uri="{FF2B5EF4-FFF2-40B4-BE49-F238E27FC236}">
                  <a16:creationId xmlns:a16="http://schemas.microsoft.com/office/drawing/2014/main" id="{EC7BD53A-CD18-4801-B17F-BA3915E665A5}"/>
                </a:ext>
              </a:extLst>
            </p:cNvPr>
            <p:cNvSpPr/>
            <p:nvPr/>
          </p:nvSpPr>
          <p:spPr>
            <a:xfrm>
              <a:off x="1750079" y="899033"/>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1</a:t>
              </a:r>
            </a:p>
          </p:txBody>
        </p:sp>
        <p:sp>
          <p:nvSpPr>
            <p:cNvPr id="141" name="Oval 20">
              <a:extLst>
                <a:ext uri="{FF2B5EF4-FFF2-40B4-BE49-F238E27FC236}">
                  <a16:creationId xmlns:a16="http://schemas.microsoft.com/office/drawing/2014/main" id="{63E61E91-7596-4ABF-80DA-9801016CA94E}"/>
                </a:ext>
              </a:extLst>
            </p:cNvPr>
            <p:cNvSpPr/>
            <p:nvPr/>
          </p:nvSpPr>
          <p:spPr>
            <a:xfrm>
              <a:off x="1762780" y="5828677"/>
              <a:ext cx="573577" cy="54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lumMod val="8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sz="1400" b="1" i="0" u="none" strike="noStrike" kern="0" cap="none" spc="0" normalizeH="0" baseline="0" noProof="0">
                  <a:ln>
                    <a:noFill/>
                  </a:ln>
                  <a:solidFill>
                    <a:srgbClr val="FFFFFF"/>
                  </a:solidFill>
                  <a:effectLst/>
                  <a:uLnTx/>
                  <a:uFillTx/>
                  <a:latin typeface="Verdana"/>
                  <a:ea typeface="+mn-ea"/>
                  <a:cs typeface="+mn-cs"/>
                </a:rPr>
                <a:t>4</a:t>
              </a:r>
            </a:p>
          </p:txBody>
        </p:sp>
      </p:grpSp>
    </p:spTree>
    <p:extLst>
      <p:ext uri="{BB962C8B-B14F-4D97-AF65-F5344CB8AC3E}">
        <p14:creationId xmlns:p14="http://schemas.microsoft.com/office/powerpoint/2010/main" val="41980044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318896"/>
            <a:ext cx="5050790" cy="422275"/>
          </a:xfrm>
          <a:prstGeom prst="rect">
            <a:avLst/>
          </a:prstGeom>
        </p:spPr>
        <p:txBody>
          <a:bodyPr vert="horz" wrap="square" lIns="0" tIns="12700" rIns="0" bIns="0" rtlCol="0">
            <a:spAutoFit/>
          </a:bodyPr>
          <a:lstStyle/>
          <a:p>
            <a:pPr marL="12700">
              <a:lnSpc>
                <a:spcPct val="100000"/>
              </a:lnSpc>
              <a:spcBef>
                <a:spcPts val="100"/>
              </a:spcBef>
            </a:pPr>
            <a:r>
              <a:rPr sz="2600" spc="-5">
                <a:solidFill>
                  <a:srgbClr val="006FAC"/>
                </a:solidFill>
                <a:latin typeface="Verdana"/>
                <a:cs typeface="Verdana"/>
              </a:rPr>
              <a:t>General </a:t>
            </a:r>
            <a:r>
              <a:rPr sz="2600">
                <a:solidFill>
                  <a:srgbClr val="006FAC"/>
                </a:solidFill>
                <a:latin typeface="Verdana"/>
                <a:cs typeface="Verdana"/>
              </a:rPr>
              <a:t>Platform</a:t>
            </a:r>
            <a:r>
              <a:rPr sz="2600" spc="-80">
                <a:solidFill>
                  <a:srgbClr val="006FAC"/>
                </a:solidFill>
                <a:latin typeface="Verdana"/>
                <a:cs typeface="Verdana"/>
              </a:rPr>
              <a:t> </a:t>
            </a:r>
            <a:r>
              <a:rPr sz="2600">
                <a:solidFill>
                  <a:srgbClr val="006FAC"/>
                </a:solidFill>
                <a:latin typeface="Verdana"/>
                <a:cs typeface="Verdana"/>
              </a:rPr>
              <a:t>Optimization</a:t>
            </a:r>
            <a:endParaRPr sz="2600">
              <a:latin typeface="Verdana"/>
              <a:cs typeface="Verdana"/>
            </a:endParaRPr>
          </a:p>
        </p:txBody>
      </p:sp>
      <p:sp>
        <p:nvSpPr>
          <p:cNvPr id="5" name="object 5"/>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6" name="object 6"/>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7" name="object 7"/>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9" name="object 9"/>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12" name="object 12"/>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3" name="object 13"/>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4" name="object 14"/>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16" name="object 16"/>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18" name="object 18"/>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19" name="object 19"/>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20" name="object 20"/>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1" name="object 21"/>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23" name="object 23"/>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5" name="object 25"/>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26" name="object 26"/>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27" name="object 27"/>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8" name="object 2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9" name="object 29"/>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3</a:t>
            </a:fld>
            <a:endParaRPr sz="800">
              <a:latin typeface="Verdana"/>
              <a:cs typeface="Verdana"/>
            </a:endParaRPr>
          </a:p>
        </p:txBody>
      </p:sp>
      <p:sp>
        <p:nvSpPr>
          <p:cNvPr id="82" name="Rounded Rectangle 54">
            <a:extLst>
              <a:ext uri="{FF2B5EF4-FFF2-40B4-BE49-F238E27FC236}">
                <a16:creationId xmlns:a16="http://schemas.microsoft.com/office/drawing/2014/main" id="{61F3FA99-87DB-44D8-AE2A-F7E013B7E80A}"/>
              </a:ext>
            </a:extLst>
          </p:cNvPr>
          <p:cNvSpPr/>
          <p:nvPr/>
        </p:nvSpPr>
        <p:spPr>
          <a:xfrm flipH="1">
            <a:off x="2066458" y="1038225"/>
            <a:ext cx="8512990" cy="73682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83" name="Rounded Rectangle 55">
            <a:extLst>
              <a:ext uri="{FF2B5EF4-FFF2-40B4-BE49-F238E27FC236}">
                <a16:creationId xmlns:a16="http://schemas.microsoft.com/office/drawing/2014/main" id="{A309B4FD-61AC-4A21-B606-61E64CF8C7E8}"/>
              </a:ext>
            </a:extLst>
          </p:cNvPr>
          <p:cNvSpPr/>
          <p:nvPr/>
        </p:nvSpPr>
        <p:spPr>
          <a:xfrm flipH="1">
            <a:off x="483244" y="1051409"/>
            <a:ext cx="1373077" cy="710457"/>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84" name="Rounded Rectangle 54">
            <a:extLst>
              <a:ext uri="{FF2B5EF4-FFF2-40B4-BE49-F238E27FC236}">
                <a16:creationId xmlns:a16="http://schemas.microsoft.com/office/drawing/2014/main" id="{579BA0BF-67B8-49BD-B8A7-5BF433319FFA}"/>
              </a:ext>
            </a:extLst>
          </p:cNvPr>
          <p:cNvSpPr/>
          <p:nvPr/>
        </p:nvSpPr>
        <p:spPr>
          <a:xfrm flipH="1">
            <a:off x="2066458" y="1890471"/>
            <a:ext cx="8512986" cy="18433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85" name="Rounded Rectangle 54">
            <a:extLst>
              <a:ext uri="{FF2B5EF4-FFF2-40B4-BE49-F238E27FC236}">
                <a16:creationId xmlns:a16="http://schemas.microsoft.com/office/drawing/2014/main" id="{472F9B88-D726-456D-B4C3-6F460C2FEE1F}"/>
              </a:ext>
            </a:extLst>
          </p:cNvPr>
          <p:cNvSpPr/>
          <p:nvPr/>
        </p:nvSpPr>
        <p:spPr>
          <a:xfrm flipH="1">
            <a:off x="2066456" y="5664626"/>
            <a:ext cx="8512977" cy="76178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86" name="Rounded Rectangle 55">
            <a:extLst>
              <a:ext uri="{FF2B5EF4-FFF2-40B4-BE49-F238E27FC236}">
                <a16:creationId xmlns:a16="http://schemas.microsoft.com/office/drawing/2014/main" id="{84548D31-4664-4318-8A8A-485E2F4CD0F0}"/>
              </a:ext>
            </a:extLst>
          </p:cNvPr>
          <p:cNvSpPr/>
          <p:nvPr/>
        </p:nvSpPr>
        <p:spPr>
          <a:xfrm flipH="1">
            <a:off x="453640" y="5666745"/>
            <a:ext cx="1435608" cy="76178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87" name="Rectangle 86">
            <a:extLst>
              <a:ext uri="{FF2B5EF4-FFF2-40B4-BE49-F238E27FC236}">
                <a16:creationId xmlns:a16="http://schemas.microsoft.com/office/drawing/2014/main" id="{350682B0-5053-4BCF-987E-3FE1E380F341}"/>
              </a:ext>
            </a:extLst>
          </p:cNvPr>
          <p:cNvSpPr/>
          <p:nvPr/>
        </p:nvSpPr>
        <p:spPr>
          <a:xfrm rot="10800000" flipH="1">
            <a:off x="1918020" y="5664621"/>
            <a:ext cx="281296" cy="76178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88" name="Group 87">
            <a:extLst>
              <a:ext uri="{FF2B5EF4-FFF2-40B4-BE49-F238E27FC236}">
                <a16:creationId xmlns:a16="http://schemas.microsoft.com/office/drawing/2014/main" id="{4ECF10CD-8680-4C0F-86FC-6AB77A936F74}"/>
              </a:ext>
            </a:extLst>
          </p:cNvPr>
          <p:cNvGrpSpPr/>
          <p:nvPr/>
        </p:nvGrpSpPr>
        <p:grpSpPr>
          <a:xfrm flipH="1">
            <a:off x="1744516" y="5782004"/>
            <a:ext cx="339056" cy="486094"/>
            <a:chOff x="4144353" y="5853398"/>
            <a:chExt cx="289254" cy="374936"/>
          </a:xfrm>
          <a:effectLst/>
        </p:grpSpPr>
        <p:grpSp>
          <p:nvGrpSpPr>
            <p:cNvPr id="89" name="Group 88">
              <a:extLst>
                <a:ext uri="{FF2B5EF4-FFF2-40B4-BE49-F238E27FC236}">
                  <a16:creationId xmlns:a16="http://schemas.microsoft.com/office/drawing/2014/main" id="{10677956-8AAB-4F62-8BF2-EDC5F24DEBA7}"/>
                </a:ext>
              </a:extLst>
            </p:cNvPr>
            <p:cNvGrpSpPr/>
            <p:nvPr/>
          </p:nvGrpSpPr>
          <p:grpSpPr>
            <a:xfrm rot="16200000">
              <a:off x="4246871" y="5750880"/>
              <a:ext cx="84217" cy="289253"/>
              <a:chOff x="666750" y="2236191"/>
              <a:chExt cx="137160" cy="471087"/>
            </a:xfrm>
          </p:grpSpPr>
          <p:sp>
            <p:nvSpPr>
              <p:cNvPr id="94" name="Oval 93">
                <a:extLst>
                  <a:ext uri="{FF2B5EF4-FFF2-40B4-BE49-F238E27FC236}">
                    <a16:creationId xmlns:a16="http://schemas.microsoft.com/office/drawing/2014/main" id="{34EE5BE5-774C-4AEB-BDD2-1BE583BF9D4A}"/>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5" name="Oval 94">
                <a:extLst>
                  <a:ext uri="{FF2B5EF4-FFF2-40B4-BE49-F238E27FC236}">
                    <a16:creationId xmlns:a16="http://schemas.microsoft.com/office/drawing/2014/main" id="{B69D3E10-2D7C-4E17-8B29-F4D5464556A9}"/>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6" name="Rounded Rectangle 116">
                <a:extLst>
                  <a:ext uri="{FF2B5EF4-FFF2-40B4-BE49-F238E27FC236}">
                    <a16:creationId xmlns:a16="http://schemas.microsoft.com/office/drawing/2014/main" id="{B417FB06-1938-4541-BF6D-0516DE097FE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90" name="Group 89">
              <a:extLst>
                <a:ext uri="{FF2B5EF4-FFF2-40B4-BE49-F238E27FC236}">
                  <a16:creationId xmlns:a16="http://schemas.microsoft.com/office/drawing/2014/main" id="{7CABDD50-6FD6-4460-BB1F-9B42AEE342D1}"/>
                </a:ext>
              </a:extLst>
            </p:cNvPr>
            <p:cNvGrpSpPr/>
            <p:nvPr/>
          </p:nvGrpSpPr>
          <p:grpSpPr>
            <a:xfrm rot="16200000">
              <a:off x="4246872" y="6041599"/>
              <a:ext cx="84217" cy="289253"/>
              <a:chOff x="666750" y="2236191"/>
              <a:chExt cx="137160" cy="471087"/>
            </a:xfrm>
          </p:grpSpPr>
          <p:sp>
            <p:nvSpPr>
              <p:cNvPr id="91" name="Oval 90">
                <a:extLst>
                  <a:ext uri="{FF2B5EF4-FFF2-40B4-BE49-F238E27FC236}">
                    <a16:creationId xmlns:a16="http://schemas.microsoft.com/office/drawing/2014/main" id="{D8C580B3-D7B0-474B-8A9C-20689A4D69F1}"/>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2" name="Oval 91">
                <a:extLst>
                  <a:ext uri="{FF2B5EF4-FFF2-40B4-BE49-F238E27FC236}">
                    <a16:creationId xmlns:a16="http://schemas.microsoft.com/office/drawing/2014/main" id="{D2A9A4C8-18F0-40FE-AEA4-A32CCA9A9C3B}"/>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3" name="Rounded Rectangle 113">
                <a:extLst>
                  <a:ext uri="{FF2B5EF4-FFF2-40B4-BE49-F238E27FC236}">
                    <a16:creationId xmlns:a16="http://schemas.microsoft.com/office/drawing/2014/main" id="{B60B0C7D-5045-4ABE-B72A-D6D24EC4147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97" name="Rounded Rectangle 54">
            <a:extLst>
              <a:ext uri="{FF2B5EF4-FFF2-40B4-BE49-F238E27FC236}">
                <a16:creationId xmlns:a16="http://schemas.microsoft.com/office/drawing/2014/main" id="{64909BD1-9E25-4159-B58E-F90FF388A4F6}"/>
              </a:ext>
            </a:extLst>
          </p:cNvPr>
          <p:cNvSpPr/>
          <p:nvPr/>
        </p:nvSpPr>
        <p:spPr>
          <a:xfrm flipH="1">
            <a:off x="2083572" y="5648324"/>
            <a:ext cx="8495862" cy="726683"/>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Enhancements for entities will help Visibility setup, so the Visibility solution can be centralized on the extended Opportunity’s sharing capabilities (Account &amp; Opportunity Teams &amp; Territories), allowing for simplification. Moreover, Salesforce Rollouts of different BU’s(</a:t>
            </a:r>
            <a:r>
              <a:rPr kumimoji="0" lang="en-US" sz="1200" b="0" i="0" u="none" strike="noStrike" kern="0" cap="none" spc="0" normalizeH="0" baseline="0" noProof="0" err="1">
                <a:ln>
                  <a:noFill/>
                </a:ln>
                <a:solidFill>
                  <a:prstClr val="black"/>
                </a:solidFill>
                <a:effectLst/>
                <a:uLnTx/>
                <a:uFillTx/>
                <a:latin typeface="Verdana"/>
                <a:ea typeface="+mn-ea"/>
                <a:cs typeface="+mn-cs"/>
              </a:rPr>
              <a:t>ePW</a:t>
            </a:r>
            <a:r>
              <a:rPr kumimoji="0" lang="en-US" sz="1200" b="0" i="0" u="none" strike="noStrike" kern="0" cap="none" spc="0" normalizeH="0" baseline="0" noProof="0">
                <a:ln>
                  <a:noFill/>
                </a:ln>
                <a:solidFill>
                  <a:prstClr val="black"/>
                </a:solidFill>
                <a:effectLst/>
                <a:uLnTx/>
                <a:uFillTx/>
                <a:latin typeface="Verdana"/>
                <a:ea typeface="+mn-ea"/>
                <a:cs typeface="+mn-cs"/>
              </a:rPr>
              <a:t>, PW, GTS) will be streamlined</a:t>
            </a: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98" name="Rounded Rectangle 55">
            <a:extLst>
              <a:ext uri="{FF2B5EF4-FFF2-40B4-BE49-F238E27FC236}">
                <a16:creationId xmlns:a16="http://schemas.microsoft.com/office/drawing/2014/main" id="{A958964F-112D-47A6-BCAA-44A649091FA6}"/>
              </a:ext>
            </a:extLst>
          </p:cNvPr>
          <p:cNvSpPr/>
          <p:nvPr/>
        </p:nvSpPr>
        <p:spPr>
          <a:xfrm flipH="1">
            <a:off x="483238" y="1890471"/>
            <a:ext cx="1435608" cy="1843384"/>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99" name="Rectangle 98">
            <a:extLst>
              <a:ext uri="{FF2B5EF4-FFF2-40B4-BE49-F238E27FC236}">
                <a16:creationId xmlns:a16="http://schemas.microsoft.com/office/drawing/2014/main" id="{1D901812-EEED-4B55-A260-9CCFFF7A282D}"/>
              </a:ext>
            </a:extLst>
          </p:cNvPr>
          <p:cNvSpPr/>
          <p:nvPr/>
        </p:nvSpPr>
        <p:spPr>
          <a:xfrm rot="10800000" flipH="1">
            <a:off x="1943617" y="1038224"/>
            <a:ext cx="367796" cy="72942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8FDC5DDE-FCC7-4BCB-AFB3-41EBDF60FE9E}"/>
              </a:ext>
            </a:extLst>
          </p:cNvPr>
          <p:cNvSpPr/>
          <p:nvPr/>
        </p:nvSpPr>
        <p:spPr>
          <a:xfrm rot="10800000" flipH="1">
            <a:off x="1880951" y="1886876"/>
            <a:ext cx="367796" cy="1843382"/>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01" name="Group 100">
            <a:extLst>
              <a:ext uri="{FF2B5EF4-FFF2-40B4-BE49-F238E27FC236}">
                <a16:creationId xmlns:a16="http://schemas.microsoft.com/office/drawing/2014/main" id="{464E4565-D727-4948-A800-858D28362194}"/>
              </a:ext>
            </a:extLst>
          </p:cNvPr>
          <p:cNvGrpSpPr/>
          <p:nvPr/>
        </p:nvGrpSpPr>
        <p:grpSpPr>
          <a:xfrm rot="5400000" flipH="1">
            <a:off x="1862667" y="2639827"/>
            <a:ext cx="81049" cy="294544"/>
            <a:chOff x="666750" y="2236191"/>
            <a:chExt cx="137160" cy="471087"/>
          </a:xfrm>
          <a:effectLst/>
        </p:grpSpPr>
        <p:sp>
          <p:nvSpPr>
            <p:cNvPr id="102" name="Oval 101">
              <a:extLst>
                <a:ext uri="{FF2B5EF4-FFF2-40B4-BE49-F238E27FC236}">
                  <a16:creationId xmlns:a16="http://schemas.microsoft.com/office/drawing/2014/main" id="{FD58CC99-4B48-4E85-A77F-734ED3D494AC}"/>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3" name="Oval 102">
              <a:extLst>
                <a:ext uri="{FF2B5EF4-FFF2-40B4-BE49-F238E27FC236}">
                  <a16:creationId xmlns:a16="http://schemas.microsoft.com/office/drawing/2014/main" id="{EA10371E-CECA-40D8-A2DD-601B03EDD45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4" name="Rounded Rectangle 116">
              <a:extLst>
                <a:ext uri="{FF2B5EF4-FFF2-40B4-BE49-F238E27FC236}">
                  <a16:creationId xmlns:a16="http://schemas.microsoft.com/office/drawing/2014/main" id="{67D753B0-9F44-4BE3-9308-FD5AEA4657B2}"/>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05" name="Group 104">
            <a:extLst>
              <a:ext uri="{FF2B5EF4-FFF2-40B4-BE49-F238E27FC236}">
                <a16:creationId xmlns:a16="http://schemas.microsoft.com/office/drawing/2014/main" id="{0F2DF0F5-F576-4706-A25A-988741B63E12}"/>
              </a:ext>
            </a:extLst>
          </p:cNvPr>
          <p:cNvGrpSpPr/>
          <p:nvPr/>
        </p:nvGrpSpPr>
        <p:grpSpPr>
          <a:xfrm rot="5400000" flipH="1">
            <a:off x="1862665" y="2957523"/>
            <a:ext cx="81049" cy="294544"/>
            <a:chOff x="666750" y="2236191"/>
            <a:chExt cx="137160" cy="471087"/>
          </a:xfrm>
          <a:effectLst/>
        </p:grpSpPr>
        <p:sp>
          <p:nvSpPr>
            <p:cNvPr id="106" name="Oval 105">
              <a:extLst>
                <a:ext uri="{FF2B5EF4-FFF2-40B4-BE49-F238E27FC236}">
                  <a16:creationId xmlns:a16="http://schemas.microsoft.com/office/drawing/2014/main" id="{98A93617-5280-4E87-86F0-5DC846D4DA65}"/>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7" name="Oval 106">
              <a:extLst>
                <a:ext uri="{FF2B5EF4-FFF2-40B4-BE49-F238E27FC236}">
                  <a16:creationId xmlns:a16="http://schemas.microsoft.com/office/drawing/2014/main" id="{BA258522-826F-412B-91C4-8DD7BAFE039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8" name="Rounded Rectangle 113">
              <a:extLst>
                <a:ext uri="{FF2B5EF4-FFF2-40B4-BE49-F238E27FC236}">
                  <a16:creationId xmlns:a16="http://schemas.microsoft.com/office/drawing/2014/main" id="{1494A6D5-9683-4186-8497-8627D9315E0F}"/>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109" name="Rounded Rectangle 54">
            <a:extLst>
              <a:ext uri="{FF2B5EF4-FFF2-40B4-BE49-F238E27FC236}">
                <a16:creationId xmlns:a16="http://schemas.microsoft.com/office/drawing/2014/main" id="{5D310FD1-FF58-4A70-9050-ECF7C3C502F0}"/>
              </a:ext>
            </a:extLst>
          </p:cNvPr>
          <p:cNvSpPr/>
          <p:nvPr/>
        </p:nvSpPr>
        <p:spPr>
          <a:xfrm flipH="1">
            <a:off x="2066455" y="1047751"/>
            <a:ext cx="8512989" cy="658502"/>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IN" sz="1200" b="1" i="0" u="none" strike="noStrike" kern="0" cap="none" spc="0" normalizeH="0" baseline="0" noProof="0">
                <a:ln>
                  <a:noFill/>
                </a:ln>
                <a:solidFill>
                  <a:prstClr val="black"/>
                </a:solidFill>
                <a:effectLst/>
                <a:uLnTx/>
                <a:uFillTx/>
                <a:latin typeface="Verdana"/>
                <a:ea typeface="+mn-ea"/>
                <a:cs typeface="+mn-cs"/>
              </a:rPr>
              <a:t>Entities Evolution</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Year Summary, Volume Management, Saving, Product hierarchy, Vehicle hierarchy Entities Enhancements</a:t>
            </a: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110" name="Rounded Rectangle 54">
            <a:extLst>
              <a:ext uri="{FF2B5EF4-FFF2-40B4-BE49-F238E27FC236}">
                <a16:creationId xmlns:a16="http://schemas.microsoft.com/office/drawing/2014/main" id="{839615B6-4545-4735-BBD3-1BBACF3899D2}"/>
              </a:ext>
            </a:extLst>
          </p:cNvPr>
          <p:cNvSpPr/>
          <p:nvPr/>
        </p:nvSpPr>
        <p:spPr>
          <a:xfrm flipH="1">
            <a:off x="2041157" y="1886872"/>
            <a:ext cx="8512984" cy="1849720"/>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Before entities enhancements, Capgemini team will perform business impact analysis and will review the current Volume Management back-end data logic, implement Vehicle forecasts on different object as per Salesforce recommendations and find synergies between these objects.</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Review the central volume management functionality so that zero volume records are not created and redesign the reports as needed.</a:t>
            </a:r>
            <a:endParaRPr kumimoji="0" lang="en-US" sz="1200" b="0" i="0" u="none" strike="noStrike" kern="0" cap="none" spc="0" normalizeH="0" baseline="0" noProof="0">
              <a:ln>
                <a:noFill/>
              </a:ln>
              <a:solidFill>
                <a:prstClr val="black"/>
              </a:solidFill>
              <a:effectLst/>
              <a:highlight>
                <a:srgbClr val="FFFF00"/>
              </a:highligh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conduct requirement workshops with BLs Teams to understand the process behind Product Hierarchy for Product and Synthetic BOM creation.</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perform data analysis risk before changing the relationship from Look-Up to Master-Detail relationship. </a:t>
            </a:r>
          </a:p>
        </p:txBody>
      </p:sp>
      <p:sp>
        <p:nvSpPr>
          <p:cNvPr id="111" name="Rounded Rectangle 54">
            <a:extLst>
              <a:ext uri="{FF2B5EF4-FFF2-40B4-BE49-F238E27FC236}">
                <a16:creationId xmlns:a16="http://schemas.microsoft.com/office/drawing/2014/main" id="{3B73CA29-BB17-4D1F-B3B1-FFAE93F1FBDB}"/>
              </a:ext>
            </a:extLst>
          </p:cNvPr>
          <p:cNvSpPr/>
          <p:nvPr/>
        </p:nvSpPr>
        <p:spPr>
          <a:xfrm flipH="1">
            <a:off x="2085505" y="3845676"/>
            <a:ext cx="8512977" cy="171203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Verdana"/>
                <a:ea typeface="+mn-ea"/>
                <a:cs typeface="+mn-cs"/>
              </a:rPr>
              <a:t>Data adjustment for existing records due to the data model change will be Marelli's responsibility</a:t>
            </a:r>
          </a:p>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Verdana"/>
                <a:ea typeface="+mn-ea"/>
                <a:cs typeface="+mn-cs"/>
              </a:rPr>
              <a:t>Central Vehicle Volume responsibility will be implemented in a separate object with same features as in the Year summary object.</a:t>
            </a:r>
          </a:p>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Verdana"/>
                <a:ea typeface="+mn-ea"/>
                <a:cs typeface="+mn-cs"/>
              </a:rPr>
              <a:t>Currently no changes on interfaces due to entities evolution have been identified</a:t>
            </a:r>
          </a:p>
          <a:p>
            <a:pPr marL="171433" lvl="0" indent="-171433">
              <a:spcAft>
                <a:spcPts val="100"/>
              </a:spcAft>
              <a:buClr>
                <a:srgbClr val="0070AD"/>
              </a:buClr>
              <a:buFont typeface="Wingdings" panose="05000000000000000000" pitchFamily="2" charset="2"/>
              <a:buChar char="§"/>
              <a:defRPr/>
            </a:pPr>
            <a:r>
              <a:rPr lang="en-AU" sz="1000" kern="0">
                <a:solidFill>
                  <a:prstClr val="black"/>
                </a:solidFill>
                <a:latin typeface="Verdana"/>
              </a:rPr>
              <a:t>Since the Vehicle forecast would be moved from the Year summary object to a newer one, the “Integration adjustments” refers to any potential integration changes that could arise out of this data model change </a:t>
            </a:r>
            <a:endParaRPr lang="en-US" sz="1000" kern="0">
              <a:solidFill>
                <a:prstClr val="black"/>
              </a:solidFill>
              <a:latin typeface="Verdana"/>
            </a:endParaRPr>
          </a:p>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Verdana"/>
                <a:ea typeface="+mn-ea"/>
                <a:cs typeface="+mn-cs"/>
              </a:rPr>
              <a:t>Changes to Master detail in scope, max 2 lightning components to be changed</a:t>
            </a:r>
          </a:p>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Verdana"/>
                <a:ea typeface="+mn-ea"/>
                <a:cs typeface="+mn-cs"/>
              </a:rPr>
              <a:t>The Product details will be moved from a Free text field to dependent picklists as per the requirement. </a:t>
            </a:r>
            <a:r>
              <a:rPr lang="en-US" sz="1000" kern="0">
                <a:solidFill>
                  <a:prstClr val="black"/>
                </a:solidFill>
                <a:latin typeface="Verdana"/>
              </a:rPr>
              <a:t>The lightning component and any integration related to Product/BOM will also be updated accordingly</a:t>
            </a:r>
            <a:r>
              <a:rPr kumimoji="0" lang="en-US" sz="1000" b="0" i="0" u="none" strike="noStrike" kern="0" cap="none" spc="0" normalizeH="0" baseline="0" noProof="0">
                <a:ln>
                  <a:noFill/>
                </a:ln>
                <a:solidFill>
                  <a:prstClr val="black"/>
                </a:solidFill>
                <a:effectLst/>
                <a:uLnTx/>
                <a:uFillTx/>
                <a:latin typeface="Verdana"/>
                <a:ea typeface="+mn-ea"/>
                <a:cs typeface="+mn-cs"/>
              </a:rPr>
              <a:t>. Impact analysis of this change would be done in the discovery phase to eventually identify additional required changes with respect to the ones already considered in this proposal</a:t>
            </a:r>
          </a:p>
        </p:txBody>
      </p:sp>
      <p:sp>
        <p:nvSpPr>
          <p:cNvPr id="112" name="Rounded Rectangle 55">
            <a:extLst>
              <a:ext uri="{FF2B5EF4-FFF2-40B4-BE49-F238E27FC236}">
                <a16:creationId xmlns:a16="http://schemas.microsoft.com/office/drawing/2014/main" id="{E3360462-2D13-4CD2-84F1-33007FACD0B4}"/>
              </a:ext>
            </a:extLst>
          </p:cNvPr>
          <p:cNvSpPr/>
          <p:nvPr/>
        </p:nvSpPr>
        <p:spPr>
          <a:xfrm flipH="1">
            <a:off x="472690" y="3847795"/>
            <a:ext cx="1435608" cy="1712035"/>
          </a:xfrm>
          <a:prstGeom prst="rect">
            <a:avLst/>
          </a:prstGeom>
          <a:solidFill>
            <a:srgbClr val="2B143D">
              <a:lumMod val="75000"/>
              <a:lumOff val="25000"/>
            </a:srgbClr>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Estimation Drivers</a:t>
            </a:r>
          </a:p>
        </p:txBody>
      </p:sp>
      <p:sp>
        <p:nvSpPr>
          <p:cNvPr id="113" name="Rectangle 112">
            <a:extLst>
              <a:ext uri="{FF2B5EF4-FFF2-40B4-BE49-F238E27FC236}">
                <a16:creationId xmlns:a16="http://schemas.microsoft.com/office/drawing/2014/main" id="{C56C0D19-3474-499E-96B1-4DBFA3F8169A}"/>
              </a:ext>
            </a:extLst>
          </p:cNvPr>
          <p:cNvSpPr/>
          <p:nvPr/>
        </p:nvSpPr>
        <p:spPr>
          <a:xfrm rot="10800000" flipH="1">
            <a:off x="1918019" y="3845676"/>
            <a:ext cx="165552" cy="171203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14" name="Group 113">
            <a:extLst>
              <a:ext uri="{FF2B5EF4-FFF2-40B4-BE49-F238E27FC236}">
                <a16:creationId xmlns:a16="http://schemas.microsoft.com/office/drawing/2014/main" id="{05BD6FE8-AA2C-4751-80B7-F33B71BCC50D}"/>
              </a:ext>
            </a:extLst>
          </p:cNvPr>
          <p:cNvGrpSpPr/>
          <p:nvPr/>
        </p:nvGrpSpPr>
        <p:grpSpPr>
          <a:xfrm flipH="1">
            <a:off x="1798872" y="4492881"/>
            <a:ext cx="295286" cy="484483"/>
            <a:chOff x="4144353" y="5853398"/>
            <a:chExt cx="289254" cy="374936"/>
          </a:xfrm>
          <a:effectLst/>
        </p:grpSpPr>
        <p:grpSp>
          <p:nvGrpSpPr>
            <p:cNvPr id="115" name="Group 114">
              <a:extLst>
                <a:ext uri="{FF2B5EF4-FFF2-40B4-BE49-F238E27FC236}">
                  <a16:creationId xmlns:a16="http://schemas.microsoft.com/office/drawing/2014/main" id="{6EE582CD-82D4-4253-9429-7AE928C0A075}"/>
                </a:ext>
              </a:extLst>
            </p:cNvPr>
            <p:cNvGrpSpPr/>
            <p:nvPr/>
          </p:nvGrpSpPr>
          <p:grpSpPr>
            <a:xfrm rot="16200000">
              <a:off x="4246871" y="5750880"/>
              <a:ext cx="84217" cy="289253"/>
              <a:chOff x="666750" y="2236191"/>
              <a:chExt cx="137160" cy="471087"/>
            </a:xfrm>
          </p:grpSpPr>
          <p:sp>
            <p:nvSpPr>
              <p:cNvPr id="120" name="Oval 119">
                <a:extLst>
                  <a:ext uri="{FF2B5EF4-FFF2-40B4-BE49-F238E27FC236}">
                    <a16:creationId xmlns:a16="http://schemas.microsoft.com/office/drawing/2014/main" id="{03D8786E-0CD7-4398-A2B7-F9EF4F3F689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1" name="Oval 120">
                <a:extLst>
                  <a:ext uri="{FF2B5EF4-FFF2-40B4-BE49-F238E27FC236}">
                    <a16:creationId xmlns:a16="http://schemas.microsoft.com/office/drawing/2014/main" id="{427890AA-3780-4F6A-9418-B135511152D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2" name="Rounded Rectangle 116">
                <a:extLst>
                  <a:ext uri="{FF2B5EF4-FFF2-40B4-BE49-F238E27FC236}">
                    <a16:creationId xmlns:a16="http://schemas.microsoft.com/office/drawing/2014/main" id="{3D453990-C661-4FE3-8AA7-FDF067E168B9}"/>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16" name="Group 115">
              <a:extLst>
                <a:ext uri="{FF2B5EF4-FFF2-40B4-BE49-F238E27FC236}">
                  <a16:creationId xmlns:a16="http://schemas.microsoft.com/office/drawing/2014/main" id="{D318E34F-47F4-42E3-81E4-408007DE2B20}"/>
                </a:ext>
              </a:extLst>
            </p:cNvPr>
            <p:cNvGrpSpPr/>
            <p:nvPr/>
          </p:nvGrpSpPr>
          <p:grpSpPr>
            <a:xfrm rot="16200000">
              <a:off x="4246872" y="6041599"/>
              <a:ext cx="84217" cy="289253"/>
              <a:chOff x="666750" y="2236191"/>
              <a:chExt cx="137160" cy="471087"/>
            </a:xfrm>
          </p:grpSpPr>
          <p:sp>
            <p:nvSpPr>
              <p:cNvPr id="117" name="Oval 116">
                <a:extLst>
                  <a:ext uri="{FF2B5EF4-FFF2-40B4-BE49-F238E27FC236}">
                    <a16:creationId xmlns:a16="http://schemas.microsoft.com/office/drawing/2014/main" id="{261DA261-812A-41A7-A623-DA0751046196}"/>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8" name="Oval 117">
                <a:extLst>
                  <a:ext uri="{FF2B5EF4-FFF2-40B4-BE49-F238E27FC236}">
                    <a16:creationId xmlns:a16="http://schemas.microsoft.com/office/drawing/2014/main" id="{A6C32204-D5CE-422E-B84D-1BCB9A1B2663}"/>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9" name="Rounded Rectangle 113">
                <a:extLst>
                  <a:ext uri="{FF2B5EF4-FFF2-40B4-BE49-F238E27FC236}">
                    <a16:creationId xmlns:a16="http://schemas.microsoft.com/office/drawing/2014/main" id="{5F1D3CDE-F8B4-4908-9C13-001C2F9C6C36}"/>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123" name="Rectangle 122">
            <a:extLst>
              <a:ext uri="{FF2B5EF4-FFF2-40B4-BE49-F238E27FC236}">
                <a16:creationId xmlns:a16="http://schemas.microsoft.com/office/drawing/2014/main" id="{B7D7798F-C9A7-40A7-87C2-B9EC872F59C5}"/>
              </a:ext>
            </a:extLst>
          </p:cNvPr>
          <p:cNvSpPr/>
          <p:nvPr/>
        </p:nvSpPr>
        <p:spPr>
          <a:xfrm rot="10800000" flipH="1">
            <a:off x="1880951" y="1046966"/>
            <a:ext cx="202621" cy="703020"/>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124" name="Rounded Rectangle 54">
            <a:extLst>
              <a:ext uri="{FF2B5EF4-FFF2-40B4-BE49-F238E27FC236}">
                <a16:creationId xmlns:a16="http://schemas.microsoft.com/office/drawing/2014/main" id="{A40ADAED-6C08-4990-8C15-4B506F6F4B0C}"/>
              </a:ext>
            </a:extLst>
          </p:cNvPr>
          <p:cNvSpPr/>
          <p:nvPr/>
        </p:nvSpPr>
        <p:spPr>
          <a:xfrm flipH="1">
            <a:off x="2102622" y="3981955"/>
            <a:ext cx="3912086" cy="798958"/>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grpSp>
        <p:nvGrpSpPr>
          <p:cNvPr id="125" name="Group 124">
            <a:extLst>
              <a:ext uri="{FF2B5EF4-FFF2-40B4-BE49-F238E27FC236}">
                <a16:creationId xmlns:a16="http://schemas.microsoft.com/office/drawing/2014/main" id="{119EF86C-1486-49F0-8C72-E252C9D9770F}"/>
              </a:ext>
            </a:extLst>
          </p:cNvPr>
          <p:cNvGrpSpPr/>
          <p:nvPr/>
        </p:nvGrpSpPr>
        <p:grpSpPr>
          <a:xfrm flipH="1">
            <a:off x="1770563" y="1198074"/>
            <a:ext cx="294545" cy="409729"/>
            <a:chOff x="4144353" y="5853398"/>
            <a:chExt cx="289254" cy="374936"/>
          </a:xfrm>
          <a:effectLst/>
        </p:grpSpPr>
        <p:grpSp>
          <p:nvGrpSpPr>
            <p:cNvPr id="126" name="Group 125">
              <a:extLst>
                <a:ext uri="{FF2B5EF4-FFF2-40B4-BE49-F238E27FC236}">
                  <a16:creationId xmlns:a16="http://schemas.microsoft.com/office/drawing/2014/main" id="{BA79C7B6-33EF-4E9D-85D9-5EA7A32FAC0F}"/>
                </a:ext>
              </a:extLst>
            </p:cNvPr>
            <p:cNvGrpSpPr/>
            <p:nvPr/>
          </p:nvGrpSpPr>
          <p:grpSpPr>
            <a:xfrm rot="16200000">
              <a:off x="4246871" y="5750880"/>
              <a:ext cx="84217" cy="289253"/>
              <a:chOff x="666750" y="2236191"/>
              <a:chExt cx="137160" cy="471087"/>
            </a:xfrm>
          </p:grpSpPr>
          <p:sp>
            <p:nvSpPr>
              <p:cNvPr id="131" name="Oval 130">
                <a:extLst>
                  <a:ext uri="{FF2B5EF4-FFF2-40B4-BE49-F238E27FC236}">
                    <a16:creationId xmlns:a16="http://schemas.microsoft.com/office/drawing/2014/main" id="{A4AEF1F2-B65C-44F2-9042-E5D48033842B}"/>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2" name="Oval 131">
                <a:extLst>
                  <a:ext uri="{FF2B5EF4-FFF2-40B4-BE49-F238E27FC236}">
                    <a16:creationId xmlns:a16="http://schemas.microsoft.com/office/drawing/2014/main" id="{230077F4-7771-452D-96C1-36380680028E}"/>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3" name="Rounded Rectangle 116">
                <a:extLst>
                  <a:ext uri="{FF2B5EF4-FFF2-40B4-BE49-F238E27FC236}">
                    <a16:creationId xmlns:a16="http://schemas.microsoft.com/office/drawing/2014/main" id="{D7203D85-CA2D-44EA-A662-5684767AC509}"/>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27" name="Group 126">
              <a:extLst>
                <a:ext uri="{FF2B5EF4-FFF2-40B4-BE49-F238E27FC236}">
                  <a16:creationId xmlns:a16="http://schemas.microsoft.com/office/drawing/2014/main" id="{90592587-2759-4967-8F17-5AEB7DED7E3A}"/>
                </a:ext>
              </a:extLst>
            </p:cNvPr>
            <p:cNvGrpSpPr/>
            <p:nvPr/>
          </p:nvGrpSpPr>
          <p:grpSpPr>
            <a:xfrm rot="16200000">
              <a:off x="4246872" y="6041599"/>
              <a:ext cx="84217" cy="289253"/>
              <a:chOff x="666750" y="2236191"/>
              <a:chExt cx="137160" cy="471087"/>
            </a:xfrm>
          </p:grpSpPr>
          <p:sp>
            <p:nvSpPr>
              <p:cNvPr id="128" name="Oval 127">
                <a:extLst>
                  <a:ext uri="{FF2B5EF4-FFF2-40B4-BE49-F238E27FC236}">
                    <a16:creationId xmlns:a16="http://schemas.microsoft.com/office/drawing/2014/main" id="{6012402E-41A3-4DA0-9312-C6F6126D8236}"/>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9" name="Oval 128">
                <a:extLst>
                  <a:ext uri="{FF2B5EF4-FFF2-40B4-BE49-F238E27FC236}">
                    <a16:creationId xmlns:a16="http://schemas.microsoft.com/office/drawing/2014/main" id="{E92BA61D-A2A7-4EA0-B736-13C000831746}"/>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0" name="Rounded Rectangle 113">
                <a:extLst>
                  <a:ext uri="{FF2B5EF4-FFF2-40B4-BE49-F238E27FC236}">
                    <a16:creationId xmlns:a16="http://schemas.microsoft.com/office/drawing/2014/main" id="{94052C8A-5744-4AEF-BD55-BE63B11BCCB2}"/>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318896"/>
            <a:ext cx="5050790" cy="422275"/>
          </a:xfrm>
          <a:prstGeom prst="rect">
            <a:avLst/>
          </a:prstGeom>
        </p:spPr>
        <p:txBody>
          <a:bodyPr vert="horz" wrap="square" lIns="0" tIns="12700" rIns="0" bIns="0" rtlCol="0">
            <a:spAutoFit/>
          </a:bodyPr>
          <a:lstStyle/>
          <a:p>
            <a:pPr marL="12700">
              <a:lnSpc>
                <a:spcPct val="100000"/>
              </a:lnSpc>
              <a:spcBef>
                <a:spcPts val="100"/>
              </a:spcBef>
            </a:pPr>
            <a:r>
              <a:rPr sz="2600" spc="-5">
                <a:solidFill>
                  <a:srgbClr val="006FAC"/>
                </a:solidFill>
                <a:latin typeface="Verdana"/>
                <a:cs typeface="Verdana"/>
              </a:rPr>
              <a:t>General </a:t>
            </a:r>
            <a:r>
              <a:rPr sz="2600">
                <a:solidFill>
                  <a:srgbClr val="006FAC"/>
                </a:solidFill>
                <a:latin typeface="Verdana"/>
                <a:cs typeface="Verdana"/>
              </a:rPr>
              <a:t>Platform</a:t>
            </a:r>
            <a:r>
              <a:rPr sz="2600" spc="-80">
                <a:solidFill>
                  <a:srgbClr val="006FAC"/>
                </a:solidFill>
                <a:latin typeface="Verdana"/>
                <a:cs typeface="Verdana"/>
              </a:rPr>
              <a:t> </a:t>
            </a:r>
            <a:r>
              <a:rPr sz="2600">
                <a:solidFill>
                  <a:srgbClr val="006FAC"/>
                </a:solidFill>
                <a:latin typeface="Verdana"/>
                <a:cs typeface="Verdana"/>
              </a:rPr>
              <a:t>Optimization</a:t>
            </a:r>
            <a:endParaRPr sz="2600">
              <a:latin typeface="Verdana"/>
              <a:cs typeface="Verdana"/>
            </a:endParaRPr>
          </a:p>
        </p:txBody>
      </p:sp>
      <p:sp>
        <p:nvSpPr>
          <p:cNvPr id="4" name="object 4"/>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5" name="object 5"/>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6" name="object 6"/>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8" name="object 8"/>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0" name="object 10"/>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2" name="object 12"/>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3" name="object 13"/>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15" name="object 15"/>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17" name="object 17"/>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18" name="object 18"/>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19" name="object 19"/>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0" name="object 20"/>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21" name="object 21"/>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22" name="object 22"/>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23" name="object 23"/>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4" name="object 24"/>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25" name="object 25"/>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26" name="object 26"/>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7" name="object 27"/>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8" name="object 28"/>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4</a:t>
            </a:fld>
            <a:endParaRPr sz="800">
              <a:latin typeface="Verdana"/>
              <a:cs typeface="Verdana"/>
            </a:endParaRPr>
          </a:p>
        </p:txBody>
      </p:sp>
      <p:sp>
        <p:nvSpPr>
          <p:cNvPr id="29" name="Rounded Rectangle 54">
            <a:extLst>
              <a:ext uri="{FF2B5EF4-FFF2-40B4-BE49-F238E27FC236}">
                <a16:creationId xmlns:a16="http://schemas.microsoft.com/office/drawing/2014/main" id="{D8E69C08-AAB8-404F-98BE-ED694A4F9E6E}"/>
              </a:ext>
            </a:extLst>
          </p:cNvPr>
          <p:cNvSpPr/>
          <p:nvPr/>
        </p:nvSpPr>
        <p:spPr>
          <a:xfrm flipH="1">
            <a:off x="2066458" y="1038225"/>
            <a:ext cx="8512990" cy="73682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30" name="Rounded Rectangle 55">
            <a:extLst>
              <a:ext uri="{FF2B5EF4-FFF2-40B4-BE49-F238E27FC236}">
                <a16:creationId xmlns:a16="http://schemas.microsoft.com/office/drawing/2014/main" id="{CDAADF49-8219-42AB-BC0A-8C977959D512}"/>
              </a:ext>
            </a:extLst>
          </p:cNvPr>
          <p:cNvSpPr/>
          <p:nvPr/>
        </p:nvSpPr>
        <p:spPr>
          <a:xfrm flipH="1">
            <a:off x="483244" y="1051409"/>
            <a:ext cx="1373077" cy="710457"/>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31" name="Rounded Rectangle 54">
            <a:extLst>
              <a:ext uri="{FF2B5EF4-FFF2-40B4-BE49-F238E27FC236}">
                <a16:creationId xmlns:a16="http://schemas.microsoft.com/office/drawing/2014/main" id="{780F046D-DB38-4ED3-BAAC-3BABFCDBD2D4}"/>
              </a:ext>
            </a:extLst>
          </p:cNvPr>
          <p:cNvSpPr/>
          <p:nvPr/>
        </p:nvSpPr>
        <p:spPr>
          <a:xfrm flipH="1">
            <a:off x="2066458" y="1890471"/>
            <a:ext cx="8512986" cy="2093186"/>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32" name="Rounded Rectangle 54">
            <a:extLst>
              <a:ext uri="{FF2B5EF4-FFF2-40B4-BE49-F238E27FC236}">
                <a16:creationId xmlns:a16="http://schemas.microsoft.com/office/drawing/2014/main" id="{3F083760-5FCE-4FB4-975E-EF13F920EC50}"/>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33" name="Rounded Rectangle 55">
            <a:extLst>
              <a:ext uri="{FF2B5EF4-FFF2-40B4-BE49-F238E27FC236}">
                <a16:creationId xmlns:a16="http://schemas.microsoft.com/office/drawing/2014/main" id="{E9C18EFA-A4B0-4BD2-B233-A4D8BF30FD6A}"/>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34" name="Rectangle 33">
            <a:extLst>
              <a:ext uri="{FF2B5EF4-FFF2-40B4-BE49-F238E27FC236}">
                <a16:creationId xmlns:a16="http://schemas.microsoft.com/office/drawing/2014/main" id="{67FD910E-1253-4682-A11C-423079FEC4BB}"/>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35" name="Group 34">
            <a:extLst>
              <a:ext uri="{FF2B5EF4-FFF2-40B4-BE49-F238E27FC236}">
                <a16:creationId xmlns:a16="http://schemas.microsoft.com/office/drawing/2014/main" id="{00349966-9BCA-48A0-9D91-3A372B97FB10}"/>
              </a:ext>
            </a:extLst>
          </p:cNvPr>
          <p:cNvGrpSpPr/>
          <p:nvPr/>
        </p:nvGrpSpPr>
        <p:grpSpPr>
          <a:xfrm flipH="1">
            <a:off x="1744516" y="5652074"/>
            <a:ext cx="330592" cy="409729"/>
            <a:chOff x="4144353" y="5853398"/>
            <a:chExt cx="289254" cy="374936"/>
          </a:xfrm>
          <a:effectLst/>
        </p:grpSpPr>
        <p:grpSp>
          <p:nvGrpSpPr>
            <p:cNvPr id="36" name="Group 35">
              <a:extLst>
                <a:ext uri="{FF2B5EF4-FFF2-40B4-BE49-F238E27FC236}">
                  <a16:creationId xmlns:a16="http://schemas.microsoft.com/office/drawing/2014/main" id="{3B6B41FE-C422-4E35-A4EC-78941CC55FE5}"/>
                </a:ext>
              </a:extLst>
            </p:cNvPr>
            <p:cNvGrpSpPr/>
            <p:nvPr/>
          </p:nvGrpSpPr>
          <p:grpSpPr>
            <a:xfrm rot="16200000">
              <a:off x="4246871" y="5750880"/>
              <a:ext cx="84217" cy="289253"/>
              <a:chOff x="666750" y="2236191"/>
              <a:chExt cx="137160" cy="471087"/>
            </a:xfrm>
          </p:grpSpPr>
          <p:sp>
            <p:nvSpPr>
              <p:cNvPr id="41" name="Oval 40">
                <a:extLst>
                  <a:ext uri="{FF2B5EF4-FFF2-40B4-BE49-F238E27FC236}">
                    <a16:creationId xmlns:a16="http://schemas.microsoft.com/office/drawing/2014/main" id="{5D476328-4A7C-4BF5-9A14-46702516FCF7}"/>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2" name="Oval 41">
                <a:extLst>
                  <a:ext uri="{FF2B5EF4-FFF2-40B4-BE49-F238E27FC236}">
                    <a16:creationId xmlns:a16="http://schemas.microsoft.com/office/drawing/2014/main" id="{0B19798D-F719-427C-965D-9E7BE0AD1969}"/>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3" name="Rounded Rectangle 116">
                <a:extLst>
                  <a:ext uri="{FF2B5EF4-FFF2-40B4-BE49-F238E27FC236}">
                    <a16:creationId xmlns:a16="http://schemas.microsoft.com/office/drawing/2014/main" id="{07956F04-573E-434D-9379-7345708EA9D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7" name="Group 36">
              <a:extLst>
                <a:ext uri="{FF2B5EF4-FFF2-40B4-BE49-F238E27FC236}">
                  <a16:creationId xmlns:a16="http://schemas.microsoft.com/office/drawing/2014/main" id="{6E42F387-5F99-424E-96E9-D297C9BB3522}"/>
                </a:ext>
              </a:extLst>
            </p:cNvPr>
            <p:cNvGrpSpPr/>
            <p:nvPr/>
          </p:nvGrpSpPr>
          <p:grpSpPr>
            <a:xfrm rot="16200000">
              <a:off x="4246872" y="6041599"/>
              <a:ext cx="84217" cy="289253"/>
              <a:chOff x="666750" y="2236191"/>
              <a:chExt cx="137160" cy="471087"/>
            </a:xfrm>
          </p:grpSpPr>
          <p:sp>
            <p:nvSpPr>
              <p:cNvPr id="38" name="Oval 37">
                <a:extLst>
                  <a:ext uri="{FF2B5EF4-FFF2-40B4-BE49-F238E27FC236}">
                    <a16:creationId xmlns:a16="http://schemas.microsoft.com/office/drawing/2014/main" id="{E276E495-1C2E-4B53-9622-42F68649DFB6}"/>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9" name="Oval 38">
                <a:extLst>
                  <a:ext uri="{FF2B5EF4-FFF2-40B4-BE49-F238E27FC236}">
                    <a16:creationId xmlns:a16="http://schemas.microsoft.com/office/drawing/2014/main" id="{26CAC616-E6FD-4597-9203-19C76994F9F3}"/>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0" name="Rounded Rectangle 113">
                <a:extLst>
                  <a:ext uri="{FF2B5EF4-FFF2-40B4-BE49-F238E27FC236}">
                    <a16:creationId xmlns:a16="http://schemas.microsoft.com/office/drawing/2014/main" id="{703DA4C3-12CA-4702-B45D-BDDADA66F815}"/>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44" name="Rounded Rectangle 54">
            <a:extLst>
              <a:ext uri="{FF2B5EF4-FFF2-40B4-BE49-F238E27FC236}">
                <a16:creationId xmlns:a16="http://schemas.microsoft.com/office/drawing/2014/main" id="{A8C307B3-9844-44EA-8E1F-06709070CD4F}"/>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By migrating the Sharing &amp; Visibility from Apex sharing (Customization) to Standard OTB Salesforce Opportunity Teams and Opportunity Territories will helps to reduce the time of implementation for Salesforce Rollouts(Different BLs)</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By using the new approach of sharing and Visibility will reduce run-time complexity for clone processes.</a:t>
            </a: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45" name="Rounded Rectangle 55">
            <a:extLst>
              <a:ext uri="{FF2B5EF4-FFF2-40B4-BE49-F238E27FC236}">
                <a16:creationId xmlns:a16="http://schemas.microsoft.com/office/drawing/2014/main" id="{21A5D636-7756-4B78-9B68-900BDDDC2C79}"/>
              </a:ext>
            </a:extLst>
          </p:cNvPr>
          <p:cNvSpPr/>
          <p:nvPr/>
        </p:nvSpPr>
        <p:spPr>
          <a:xfrm flipH="1">
            <a:off x="483238" y="1890471"/>
            <a:ext cx="1435608" cy="2093186"/>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46" name="Rectangle 45">
            <a:extLst>
              <a:ext uri="{FF2B5EF4-FFF2-40B4-BE49-F238E27FC236}">
                <a16:creationId xmlns:a16="http://schemas.microsoft.com/office/drawing/2014/main" id="{3E62DC77-E6B9-4BBA-B94B-868F8ACB445D}"/>
              </a:ext>
            </a:extLst>
          </p:cNvPr>
          <p:cNvSpPr/>
          <p:nvPr/>
        </p:nvSpPr>
        <p:spPr>
          <a:xfrm rot="10800000" flipH="1">
            <a:off x="1943617" y="1038224"/>
            <a:ext cx="367796" cy="72942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47" name="Rectangle 46">
            <a:extLst>
              <a:ext uri="{FF2B5EF4-FFF2-40B4-BE49-F238E27FC236}">
                <a16:creationId xmlns:a16="http://schemas.microsoft.com/office/drawing/2014/main" id="{A584499B-F4B0-46F7-80B9-5504D5417CD9}"/>
              </a:ext>
            </a:extLst>
          </p:cNvPr>
          <p:cNvSpPr/>
          <p:nvPr/>
        </p:nvSpPr>
        <p:spPr>
          <a:xfrm rot="10800000" flipH="1">
            <a:off x="1880951" y="1886876"/>
            <a:ext cx="367796" cy="20931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48" name="Group 47">
            <a:extLst>
              <a:ext uri="{FF2B5EF4-FFF2-40B4-BE49-F238E27FC236}">
                <a16:creationId xmlns:a16="http://schemas.microsoft.com/office/drawing/2014/main" id="{65DFD218-E043-4586-B70F-414D24075BFE}"/>
              </a:ext>
            </a:extLst>
          </p:cNvPr>
          <p:cNvGrpSpPr/>
          <p:nvPr/>
        </p:nvGrpSpPr>
        <p:grpSpPr>
          <a:xfrm rot="5400000" flipH="1">
            <a:off x="1857176" y="2645318"/>
            <a:ext cx="92032" cy="294544"/>
            <a:chOff x="666750" y="2236191"/>
            <a:chExt cx="137160" cy="471087"/>
          </a:xfrm>
          <a:effectLst/>
        </p:grpSpPr>
        <p:sp>
          <p:nvSpPr>
            <p:cNvPr id="49" name="Oval 48">
              <a:extLst>
                <a:ext uri="{FF2B5EF4-FFF2-40B4-BE49-F238E27FC236}">
                  <a16:creationId xmlns:a16="http://schemas.microsoft.com/office/drawing/2014/main" id="{19FF1D45-F49E-4450-8199-4EE3F4DC1EC0}"/>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0" name="Oval 49">
              <a:extLst>
                <a:ext uri="{FF2B5EF4-FFF2-40B4-BE49-F238E27FC236}">
                  <a16:creationId xmlns:a16="http://schemas.microsoft.com/office/drawing/2014/main" id="{987C9E9D-96F7-4301-87E8-A35E8BE1603D}"/>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1" name="Rounded Rectangle 116">
              <a:extLst>
                <a:ext uri="{FF2B5EF4-FFF2-40B4-BE49-F238E27FC236}">
                  <a16:creationId xmlns:a16="http://schemas.microsoft.com/office/drawing/2014/main" id="{607601EC-7F50-4258-B252-E3FDC8E6AC44}"/>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52" name="Group 51">
            <a:extLst>
              <a:ext uri="{FF2B5EF4-FFF2-40B4-BE49-F238E27FC236}">
                <a16:creationId xmlns:a16="http://schemas.microsoft.com/office/drawing/2014/main" id="{82450A37-B319-456A-BB4A-E6FE5C0BA2F2}"/>
              </a:ext>
            </a:extLst>
          </p:cNvPr>
          <p:cNvGrpSpPr/>
          <p:nvPr/>
        </p:nvGrpSpPr>
        <p:grpSpPr>
          <a:xfrm rot="5400000" flipH="1">
            <a:off x="1857174" y="2963014"/>
            <a:ext cx="92032" cy="294544"/>
            <a:chOff x="666750" y="2236191"/>
            <a:chExt cx="137160" cy="471087"/>
          </a:xfrm>
          <a:effectLst/>
        </p:grpSpPr>
        <p:sp>
          <p:nvSpPr>
            <p:cNvPr id="53" name="Oval 52">
              <a:extLst>
                <a:ext uri="{FF2B5EF4-FFF2-40B4-BE49-F238E27FC236}">
                  <a16:creationId xmlns:a16="http://schemas.microsoft.com/office/drawing/2014/main" id="{3E62B5C4-F8EB-4A67-B9DA-48A82DA82B9C}"/>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4" name="Oval 53">
              <a:extLst>
                <a:ext uri="{FF2B5EF4-FFF2-40B4-BE49-F238E27FC236}">
                  <a16:creationId xmlns:a16="http://schemas.microsoft.com/office/drawing/2014/main" id="{A7750485-25A3-4E63-951F-B24E51F8097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5" name="Rounded Rectangle 113">
              <a:extLst>
                <a:ext uri="{FF2B5EF4-FFF2-40B4-BE49-F238E27FC236}">
                  <a16:creationId xmlns:a16="http://schemas.microsoft.com/office/drawing/2014/main" id="{A9F97946-D040-4B3E-A711-679B50E45F37}"/>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56" name="Rounded Rectangle 54">
            <a:extLst>
              <a:ext uri="{FF2B5EF4-FFF2-40B4-BE49-F238E27FC236}">
                <a16:creationId xmlns:a16="http://schemas.microsoft.com/office/drawing/2014/main" id="{CF969C9B-96CB-40C8-964A-C96C2CF15C53}"/>
              </a:ext>
            </a:extLst>
          </p:cNvPr>
          <p:cNvSpPr/>
          <p:nvPr/>
        </p:nvSpPr>
        <p:spPr>
          <a:xfrm flipH="1">
            <a:off x="2066455" y="1047751"/>
            <a:ext cx="8512989" cy="658502"/>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IN" sz="1200" b="1" i="0" u="none" strike="noStrike" kern="0" cap="none" spc="0" normalizeH="0" baseline="0" noProof="0">
                <a:ln>
                  <a:noFill/>
                </a:ln>
                <a:solidFill>
                  <a:prstClr val="black"/>
                </a:solidFill>
                <a:effectLst/>
                <a:uLnTx/>
                <a:uFillTx/>
                <a:latin typeface="Verdana"/>
                <a:ea typeface="+mn-ea"/>
                <a:cs typeface="+mn-cs"/>
              </a:rPr>
              <a:t>Sharing &amp; Visibility</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re-shape visibility rules leveraging on Opportunity Teams and Opportunity Territories so to answer the new CCO Organization Structure</a:t>
            </a: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57" name="Rounded Rectangle 54">
            <a:extLst>
              <a:ext uri="{FF2B5EF4-FFF2-40B4-BE49-F238E27FC236}">
                <a16:creationId xmlns:a16="http://schemas.microsoft.com/office/drawing/2014/main" id="{FDD5C020-25D7-4C9C-B624-9D6C4783D3F7}"/>
              </a:ext>
            </a:extLst>
          </p:cNvPr>
          <p:cNvSpPr/>
          <p:nvPr/>
        </p:nvSpPr>
        <p:spPr>
          <a:xfrm flipH="1">
            <a:off x="2041157" y="1886871"/>
            <a:ext cx="8512984" cy="2100381"/>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perform impact, risk, data quality analysis before re-designing the detailed Sharing and Visibility solution in the discovery phase. </a:t>
            </a:r>
          </a:p>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a conduct workshop with BLs Team to review the possibility to leverage standard visibility extensions for Opportunities(Different BL’s )</a:t>
            </a:r>
          </a:p>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try to design the entire solution for Sharing &amp; Visibility by using the OTB Salesforce Functionalities</a:t>
            </a:r>
          </a:p>
        </p:txBody>
      </p:sp>
      <p:sp>
        <p:nvSpPr>
          <p:cNvPr id="58" name="Rounded Rectangle 54">
            <a:extLst>
              <a:ext uri="{FF2B5EF4-FFF2-40B4-BE49-F238E27FC236}">
                <a16:creationId xmlns:a16="http://schemas.microsoft.com/office/drawing/2014/main" id="{F7E4A71D-71F8-4CE2-8303-55503AD39496}"/>
              </a:ext>
            </a:extLst>
          </p:cNvPr>
          <p:cNvSpPr/>
          <p:nvPr/>
        </p:nvSpPr>
        <p:spPr>
          <a:xfrm flipH="1">
            <a:off x="2075107" y="411152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100"/>
              </a:spcAft>
              <a:buClr>
                <a:srgbClr val="0070AD"/>
              </a:buClr>
              <a:buSzTx/>
              <a:buFontTx/>
              <a:buNone/>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59" name="Rounded Rectangle 55">
            <a:extLst>
              <a:ext uri="{FF2B5EF4-FFF2-40B4-BE49-F238E27FC236}">
                <a16:creationId xmlns:a16="http://schemas.microsoft.com/office/drawing/2014/main" id="{CBF3090E-7BA0-48E2-96CA-943BB89648F3}"/>
              </a:ext>
            </a:extLst>
          </p:cNvPr>
          <p:cNvSpPr/>
          <p:nvPr/>
        </p:nvSpPr>
        <p:spPr>
          <a:xfrm flipH="1">
            <a:off x="472690" y="4103320"/>
            <a:ext cx="1435608" cy="1115538"/>
          </a:xfrm>
          <a:prstGeom prst="rect">
            <a:avLst/>
          </a:prstGeom>
          <a:solidFill>
            <a:srgbClr val="2B143D">
              <a:lumMod val="75000"/>
              <a:lumOff val="25000"/>
            </a:srgbClr>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Estimation Drivers</a:t>
            </a:r>
          </a:p>
        </p:txBody>
      </p:sp>
      <p:sp>
        <p:nvSpPr>
          <p:cNvPr id="60" name="Rectangle 59">
            <a:extLst>
              <a:ext uri="{FF2B5EF4-FFF2-40B4-BE49-F238E27FC236}">
                <a16:creationId xmlns:a16="http://schemas.microsoft.com/office/drawing/2014/main" id="{508DF7D2-A466-468E-B4EA-BF341D67741E}"/>
              </a:ext>
            </a:extLst>
          </p:cNvPr>
          <p:cNvSpPr/>
          <p:nvPr/>
        </p:nvSpPr>
        <p:spPr>
          <a:xfrm rot="10800000" flipH="1">
            <a:off x="1937070" y="4101197"/>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61" name="Group 60">
            <a:extLst>
              <a:ext uri="{FF2B5EF4-FFF2-40B4-BE49-F238E27FC236}">
                <a16:creationId xmlns:a16="http://schemas.microsoft.com/office/drawing/2014/main" id="{BBEF9D71-47A2-4BB9-B9E7-E18B405258A0}"/>
              </a:ext>
            </a:extLst>
          </p:cNvPr>
          <p:cNvGrpSpPr/>
          <p:nvPr/>
        </p:nvGrpSpPr>
        <p:grpSpPr>
          <a:xfrm flipH="1">
            <a:off x="1763566" y="4442399"/>
            <a:ext cx="330592" cy="409729"/>
            <a:chOff x="4144353" y="5853398"/>
            <a:chExt cx="289254" cy="374936"/>
          </a:xfrm>
          <a:effectLst/>
        </p:grpSpPr>
        <p:grpSp>
          <p:nvGrpSpPr>
            <p:cNvPr id="62" name="Group 61">
              <a:extLst>
                <a:ext uri="{FF2B5EF4-FFF2-40B4-BE49-F238E27FC236}">
                  <a16:creationId xmlns:a16="http://schemas.microsoft.com/office/drawing/2014/main" id="{5F3FD11C-40CC-4C8A-9A81-3E78CB116832}"/>
                </a:ext>
              </a:extLst>
            </p:cNvPr>
            <p:cNvGrpSpPr/>
            <p:nvPr/>
          </p:nvGrpSpPr>
          <p:grpSpPr>
            <a:xfrm rot="16200000">
              <a:off x="4246871" y="5750880"/>
              <a:ext cx="84217" cy="289253"/>
              <a:chOff x="666750" y="2236191"/>
              <a:chExt cx="137160" cy="471087"/>
            </a:xfrm>
          </p:grpSpPr>
          <p:sp>
            <p:nvSpPr>
              <p:cNvPr id="67" name="Oval 66">
                <a:extLst>
                  <a:ext uri="{FF2B5EF4-FFF2-40B4-BE49-F238E27FC236}">
                    <a16:creationId xmlns:a16="http://schemas.microsoft.com/office/drawing/2014/main" id="{010A7F0F-0ECF-4403-AB8C-F47B0492215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8" name="Oval 67">
                <a:extLst>
                  <a:ext uri="{FF2B5EF4-FFF2-40B4-BE49-F238E27FC236}">
                    <a16:creationId xmlns:a16="http://schemas.microsoft.com/office/drawing/2014/main" id="{60C103C9-0E65-452A-BBE2-522F943B5BA6}"/>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9" name="Rounded Rectangle 116">
                <a:extLst>
                  <a:ext uri="{FF2B5EF4-FFF2-40B4-BE49-F238E27FC236}">
                    <a16:creationId xmlns:a16="http://schemas.microsoft.com/office/drawing/2014/main" id="{D366D2B3-FB02-45A1-8F5C-2C4B6B39713C}"/>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63" name="Group 62">
              <a:extLst>
                <a:ext uri="{FF2B5EF4-FFF2-40B4-BE49-F238E27FC236}">
                  <a16:creationId xmlns:a16="http://schemas.microsoft.com/office/drawing/2014/main" id="{765E90B4-C638-4D60-8B8A-6B39E019ACB4}"/>
                </a:ext>
              </a:extLst>
            </p:cNvPr>
            <p:cNvGrpSpPr/>
            <p:nvPr/>
          </p:nvGrpSpPr>
          <p:grpSpPr>
            <a:xfrm rot="16200000">
              <a:off x="4246872" y="6041599"/>
              <a:ext cx="84217" cy="289253"/>
              <a:chOff x="666750" y="2236191"/>
              <a:chExt cx="137160" cy="471087"/>
            </a:xfrm>
          </p:grpSpPr>
          <p:sp>
            <p:nvSpPr>
              <p:cNvPr id="64" name="Oval 63">
                <a:extLst>
                  <a:ext uri="{FF2B5EF4-FFF2-40B4-BE49-F238E27FC236}">
                    <a16:creationId xmlns:a16="http://schemas.microsoft.com/office/drawing/2014/main" id="{A652A2F0-4EA1-48B2-93B4-95A15A7AB451}"/>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5" name="Oval 64">
                <a:extLst>
                  <a:ext uri="{FF2B5EF4-FFF2-40B4-BE49-F238E27FC236}">
                    <a16:creationId xmlns:a16="http://schemas.microsoft.com/office/drawing/2014/main" id="{82BC4D67-7300-4C1D-BA4C-4FF6A641696F}"/>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6" name="Rounded Rectangle 113">
                <a:extLst>
                  <a:ext uri="{FF2B5EF4-FFF2-40B4-BE49-F238E27FC236}">
                    <a16:creationId xmlns:a16="http://schemas.microsoft.com/office/drawing/2014/main" id="{BB2316D6-2846-488F-BB01-01F4D1B874EA}"/>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70" name="Rectangle 69">
            <a:extLst>
              <a:ext uri="{FF2B5EF4-FFF2-40B4-BE49-F238E27FC236}">
                <a16:creationId xmlns:a16="http://schemas.microsoft.com/office/drawing/2014/main" id="{BB10B5A0-4825-485F-A332-ACC8C0928CF7}"/>
              </a:ext>
            </a:extLst>
          </p:cNvPr>
          <p:cNvSpPr/>
          <p:nvPr/>
        </p:nvSpPr>
        <p:spPr>
          <a:xfrm rot="10800000" flipH="1">
            <a:off x="1880951" y="1046966"/>
            <a:ext cx="202621" cy="703020"/>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71" name="Rounded Rectangle 54">
            <a:extLst>
              <a:ext uri="{FF2B5EF4-FFF2-40B4-BE49-F238E27FC236}">
                <a16:creationId xmlns:a16="http://schemas.microsoft.com/office/drawing/2014/main" id="{2DA27213-519F-4FD5-933C-CFC47B7A6733}"/>
              </a:ext>
            </a:extLst>
          </p:cNvPr>
          <p:cNvSpPr/>
          <p:nvPr/>
        </p:nvSpPr>
        <p:spPr>
          <a:xfrm flipH="1">
            <a:off x="2102622" y="4101201"/>
            <a:ext cx="3912086" cy="520590"/>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grpSp>
        <p:nvGrpSpPr>
          <p:cNvPr id="72" name="Group 71">
            <a:extLst>
              <a:ext uri="{FF2B5EF4-FFF2-40B4-BE49-F238E27FC236}">
                <a16:creationId xmlns:a16="http://schemas.microsoft.com/office/drawing/2014/main" id="{8F011311-FADE-4EB2-82B1-6043CEF1F3FE}"/>
              </a:ext>
            </a:extLst>
          </p:cNvPr>
          <p:cNvGrpSpPr/>
          <p:nvPr/>
        </p:nvGrpSpPr>
        <p:grpSpPr>
          <a:xfrm flipH="1">
            <a:off x="1770563" y="1198074"/>
            <a:ext cx="294545" cy="409729"/>
            <a:chOff x="4144353" y="5853398"/>
            <a:chExt cx="289254" cy="374936"/>
          </a:xfrm>
          <a:effectLst/>
        </p:grpSpPr>
        <p:grpSp>
          <p:nvGrpSpPr>
            <p:cNvPr id="73" name="Group 72">
              <a:extLst>
                <a:ext uri="{FF2B5EF4-FFF2-40B4-BE49-F238E27FC236}">
                  <a16:creationId xmlns:a16="http://schemas.microsoft.com/office/drawing/2014/main" id="{FCFCBADB-13D0-4157-B1B6-709E9A728254}"/>
                </a:ext>
              </a:extLst>
            </p:cNvPr>
            <p:cNvGrpSpPr/>
            <p:nvPr/>
          </p:nvGrpSpPr>
          <p:grpSpPr>
            <a:xfrm rot="16200000">
              <a:off x="4246871" y="5750880"/>
              <a:ext cx="84217" cy="289253"/>
              <a:chOff x="666750" y="2236191"/>
              <a:chExt cx="137160" cy="471087"/>
            </a:xfrm>
          </p:grpSpPr>
          <p:sp>
            <p:nvSpPr>
              <p:cNvPr id="78" name="Oval 77">
                <a:extLst>
                  <a:ext uri="{FF2B5EF4-FFF2-40B4-BE49-F238E27FC236}">
                    <a16:creationId xmlns:a16="http://schemas.microsoft.com/office/drawing/2014/main" id="{54955807-912F-455E-9348-436DB4735975}"/>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79" name="Oval 78">
                <a:extLst>
                  <a:ext uri="{FF2B5EF4-FFF2-40B4-BE49-F238E27FC236}">
                    <a16:creationId xmlns:a16="http://schemas.microsoft.com/office/drawing/2014/main" id="{B42DC6A3-1749-4931-872F-9F2533D57602}"/>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0" name="Rounded Rectangle 116">
                <a:extLst>
                  <a:ext uri="{FF2B5EF4-FFF2-40B4-BE49-F238E27FC236}">
                    <a16:creationId xmlns:a16="http://schemas.microsoft.com/office/drawing/2014/main" id="{B9B262C3-365A-49C1-84BE-53C0D285BDA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74" name="Group 73">
              <a:extLst>
                <a:ext uri="{FF2B5EF4-FFF2-40B4-BE49-F238E27FC236}">
                  <a16:creationId xmlns:a16="http://schemas.microsoft.com/office/drawing/2014/main" id="{F609D28E-6472-497B-8A89-2DCA30314999}"/>
                </a:ext>
              </a:extLst>
            </p:cNvPr>
            <p:cNvGrpSpPr/>
            <p:nvPr/>
          </p:nvGrpSpPr>
          <p:grpSpPr>
            <a:xfrm rot="16200000">
              <a:off x="4246872" y="6041599"/>
              <a:ext cx="84217" cy="289253"/>
              <a:chOff x="666750" y="2236191"/>
              <a:chExt cx="137160" cy="471087"/>
            </a:xfrm>
          </p:grpSpPr>
          <p:sp>
            <p:nvSpPr>
              <p:cNvPr id="75" name="Oval 74">
                <a:extLst>
                  <a:ext uri="{FF2B5EF4-FFF2-40B4-BE49-F238E27FC236}">
                    <a16:creationId xmlns:a16="http://schemas.microsoft.com/office/drawing/2014/main" id="{11FBDD01-36B4-4DE5-ABA4-5ACD4F70C71D}"/>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76" name="Oval 75">
                <a:extLst>
                  <a:ext uri="{FF2B5EF4-FFF2-40B4-BE49-F238E27FC236}">
                    <a16:creationId xmlns:a16="http://schemas.microsoft.com/office/drawing/2014/main" id="{7F03D950-3875-4887-AF5E-88017E015A04}"/>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77" name="Rounded Rectangle 113">
                <a:extLst>
                  <a:ext uri="{FF2B5EF4-FFF2-40B4-BE49-F238E27FC236}">
                    <a16:creationId xmlns:a16="http://schemas.microsoft.com/office/drawing/2014/main" id="{E4BA3BB9-F40F-4329-ADF3-26EA555676A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318896"/>
            <a:ext cx="5050790" cy="422275"/>
          </a:xfrm>
          <a:prstGeom prst="rect">
            <a:avLst/>
          </a:prstGeom>
        </p:spPr>
        <p:txBody>
          <a:bodyPr vert="horz" wrap="square" lIns="0" tIns="12700" rIns="0" bIns="0" rtlCol="0">
            <a:spAutoFit/>
          </a:bodyPr>
          <a:lstStyle/>
          <a:p>
            <a:pPr marL="12700">
              <a:lnSpc>
                <a:spcPct val="100000"/>
              </a:lnSpc>
              <a:spcBef>
                <a:spcPts val="100"/>
              </a:spcBef>
            </a:pPr>
            <a:r>
              <a:rPr sz="2600" spc="-5">
                <a:solidFill>
                  <a:srgbClr val="006FAC"/>
                </a:solidFill>
                <a:latin typeface="Verdana"/>
                <a:cs typeface="Verdana"/>
              </a:rPr>
              <a:t>General </a:t>
            </a:r>
            <a:r>
              <a:rPr sz="2600">
                <a:solidFill>
                  <a:srgbClr val="006FAC"/>
                </a:solidFill>
                <a:latin typeface="Verdana"/>
                <a:cs typeface="Verdana"/>
              </a:rPr>
              <a:t>Platform</a:t>
            </a:r>
            <a:r>
              <a:rPr sz="2600" spc="-80">
                <a:solidFill>
                  <a:srgbClr val="006FAC"/>
                </a:solidFill>
                <a:latin typeface="Verdana"/>
                <a:cs typeface="Verdana"/>
              </a:rPr>
              <a:t> </a:t>
            </a:r>
            <a:r>
              <a:rPr sz="2600">
                <a:solidFill>
                  <a:srgbClr val="006FAC"/>
                </a:solidFill>
                <a:latin typeface="Verdana"/>
                <a:cs typeface="Verdana"/>
              </a:rPr>
              <a:t>Optimization</a:t>
            </a:r>
            <a:endParaRPr sz="2600">
              <a:latin typeface="Verdana"/>
              <a:cs typeface="Verdana"/>
            </a:endParaRPr>
          </a:p>
        </p:txBody>
      </p:sp>
      <p:sp>
        <p:nvSpPr>
          <p:cNvPr id="5" name="object 5"/>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6" name="object 6"/>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7" name="object 7"/>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9" name="object 9"/>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12" name="object 12"/>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3" name="object 13"/>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4" name="object 14"/>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16" name="object 16"/>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18" name="object 18"/>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19" name="object 19"/>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20" name="object 20"/>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1" name="object 21"/>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23" name="object 23"/>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5" name="object 25"/>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26" name="object 26"/>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27" name="object 27"/>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8" name="object 2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9" name="object 29"/>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5</a:t>
            </a:fld>
            <a:endParaRPr sz="800">
              <a:latin typeface="Verdana"/>
              <a:cs typeface="Verdana"/>
            </a:endParaRPr>
          </a:p>
        </p:txBody>
      </p:sp>
      <p:sp>
        <p:nvSpPr>
          <p:cNvPr id="82" name="Rounded Rectangle 54">
            <a:extLst>
              <a:ext uri="{FF2B5EF4-FFF2-40B4-BE49-F238E27FC236}">
                <a16:creationId xmlns:a16="http://schemas.microsoft.com/office/drawing/2014/main" id="{5913CAA8-1137-4435-8F9A-D522425F206D}"/>
              </a:ext>
            </a:extLst>
          </p:cNvPr>
          <p:cNvSpPr/>
          <p:nvPr/>
        </p:nvSpPr>
        <p:spPr>
          <a:xfrm flipH="1">
            <a:off x="2066458" y="1038225"/>
            <a:ext cx="8512990" cy="94873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83" name="Rounded Rectangle 55">
            <a:extLst>
              <a:ext uri="{FF2B5EF4-FFF2-40B4-BE49-F238E27FC236}">
                <a16:creationId xmlns:a16="http://schemas.microsoft.com/office/drawing/2014/main" id="{23AB121C-987A-47A4-8953-B899F4408E0D}"/>
              </a:ext>
            </a:extLst>
          </p:cNvPr>
          <p:cNvSpPr/>
          <p:nvPr/>
        </p:nvSpPr>
        <p:spPr>
          <a:xfrm flipH="1">
            <a:off x="483243" y="1051409"/>
            <a:ext cx="1373077" cy="914781"/>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84" name="Rounded Rectangle 54">
            <a:extLst>
              <a:ext uri="{FF2B5EF4-FFF2-40B4-BE49-F238E27FC236}">
                <a16:creationId xmlns:a16="http://schemas.microsoft.com/office/drawing/2014/main" id="{CCA8124E-3A61-413B-BB1B-C8013F0704A7}"/>
              </a:ext>
            </a:extLst>
          </p:cNvPr>
          <p:cNvSpPr/>
          <p:nvPr/>
        </p:nvSpPr>
        <p:spPr>
          <a:xfrm flipH="1">
            <a:off x="2066458" y="2111691"/>
            <a:ext cx="8512986" cy="187196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85" name="Rounded Rectangle 54">
            <a:extLst>
              <a:ext uri="{FF2B5EF4-FFF2-40B4-BE49-F238E27FC236}">
                <a16:creationId xmlns:a16="http://schemas.microsoft.com/office/drawing/2014/main" id="{2636BC66-F47E-4360-AB16-7B4140B65907}"/>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86" name="Rounded Rectangle 55">
            <a:extLst>
              <a:ext uri="{FF2B5EF4-FFF2-40B4-BE49-F238E27FC236}">
                <a16:creationId xmlns:a16="http://schemas.microsoft.com/office/drawing/2014/main" id="{F3E2DA9A-9F2A-49A8-85F1-8F2D7E0F4166}"/>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87" name="Rectangle 86">
            <a:extLst>
              <a:ext uri="{FF2B5EF4-FFF2-40B4-BE49-F238E27FC236}">
                <a16:creationId xmlns:a16="http://schemas.microsoft.com/office/drawing/2014/main" id="{E4B6BD17-683E-4529-94E9-B101FBAD384C}"/>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88" name="Group 87">
            <a:extLst>
              <a:ext uri="{FF2B5EF4-FFF2-40B4-BE49-F238E27FC236}">
                <a16:creationId xmlns:a16="http://schemas.microsoft.com/office/drawing/2014/main" id="{2DB521CF-3EA3-48EA-9018-C95F55E04184}"/>
              </a:ext>
            </a:extLst>
          </p:cNvPr>
          <p:cNvGrpSpPr/>
          <p:nvPr/>
        </p:nvGrpSpPr>
        <p:grpSpPr>
          <a:xfrm flipH="1">
            <a:off x="1744516" y="5652074"/>
            <a:ext cx="330592" cy="409729"/>
            <a:chOff x="4144353" y="5853398"/>
            <a:chExt cx="289254" cy="374936"/>
          </a:xfrm>
          <a:effectLst/>
        </p:grpSpPr>
        <p:grpSp>
          <p:nvGrpSpPr>
            <p:cNvPr id="89" name="Group 88">
              <a:extLst>
                <a:ext uri="{FF2B5EF4-FFF2-40B4-BE49-F238E27FC236}">
                  <a16:creationId xmlns:a16="http://schemas.microsoft.com/office/drawing/2014/main" id="{32A37F27-1D99-4E42-8B8C-F0A64D08EF07}"/>
                </a:ext>
              </a:extLst>
            </p:cNvPr>
            <p:cNvGrpSpPr/>
            <p:nvPr/>
          </p:nvGrpSpPr>
          <p:grpSpPr>
            <a:xfrm rot="16200000">
              <a:off x="4246871" y="5750880"/>
              <a:ext cx="84217" cy="289253"/>
              <a:chOff x="666750" y="2236191"/>
              <a:chExt cx="137160" cy="471087"/>
            </a:xfrm>
          </p:grpSpPr>
          <p:sp>
            <p:nvSpPr>
              <p:cNvPr id="94" name="Oval 93">
                <a:extLst>
                  <a:ext uri="{FF2B5EF4-FFF2-40B4-BE49-F238E27FC236}">
                    <a16:creationId xmlns:a16="http://schemas.microsoft.com/office/drawing/2014/main" id="{52CBDA2E-687C-4029-861E-46FF1FB89336}"/>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5" name="Oval 94">
                <a:extLst>
                  <a:ext uri="{FF2B5EF4-FFF2-40B4-BE49-F238E27FC236}">
                    <a16:creationId xmlns:a16="http://schemas.microsoft.com/office/drawing/2014/main" id="{93B651CD-D8F3-4E03-A7BD-D0261B26FD67}"/>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6" name="Rounded Rectangle 116">
                <a:extLst>
                  <a:ext uri="{FF2B5EF4-FFF2-40B4-BE49-F238E27FC236}">
                    <a16:creationId xmlns:a16="http://schemas.microsoft.com/office/drawing/2014/main" id="{47FFA555-67BA-452A-BB3C-32E20CCF7DE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90" name="Group 89">
              <a:extLst>
                <a:ext uri="{FF2B5EF4-FFF2-40B4-BE49-F238E27FC236}">
                  <a16:creationId xmlns:a16="http://schemas.microsoft.com/office/drawing/2014/main" id="{06267745-0180-44B2-A1FF-9BEEC66EF6A6}"/>
                </a:ext>
              </a:extLst>
            </p:cNvPr>
            <p:cNvGrpSpPr/>
            <p:nvPr/>
          </p:nvGrpSpPr>
          <p:grpSpPr>
            <a:xfrm rot="16200000">
              <a:off x="4246872" y="6041599"/>
              <a:ext cx="84217" cy="289253"/>
              <a:chOff x="666750" y="2236191"/>
              <a:chExt cx="137160" cy="471087"/>
            </a:xfrm>
          </p:grpSpPr>
          <p:sp>
            <p:nvSpPr>
              <p:cNvPr id="91" name="Oval 90">
                <a:extLst>
                  <a:ext uri="{FF2B5EF4-FFF2-40B4-BE49-F238E27FC236}">
                    <a16:creationId xmlns:a16="http://schemas.microsoft.com/office/drawing/2014/main" id="{4AF669F2-DAA2-4459-976C-57B7363892C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2" name="Oval 91">
                <a:extLst>
                  <a:ext uri="{FF2B5EF4-FFF2-40B4-BE49-F238E27FC236}">
                    <a16:creationId xmlns:a16="http://schemas.microsoft.com/office/drawing/2014/main" id="{37DE4DE9-E4F4-4B65-8932-E73FF0ADDF83}"/>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3" name="Rounded Rectangle 113">
                <a:extLst>
                  <a:ext uri="{FF2B5EF4-FFF2-40B4-BE49-F238E27FC236}">
                    <a16:creationId xmlns:a16="http://schemas.microsoft.com/office/drawing/2014/main" id="{1FCF6420-FA8B-4381-8A20-A18284581607}"/>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97" name="Rounded Rectangle 54">
            <a:extLst>
              <a:ext uri="{FF2B5EF4-FFF2-40B4-BE49-F238E27FC236}">
                <a16:creationId xmlns:a16="http://schemas.microsoft.com/office/drawing/2014/main" id="{9E301C7F-F63E-4956-97A0-543023DF88D6}"/>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By performing the exchange rate enhancement will reduce run-time complexity</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98" name="Rounded Rectangle 55">
            <a:extLst>
              <a:ext uri="{FF2B5EF4-FFF2-40B4-BE49-F238E27FC236}">
                <a16:creationId xmlns:a16="http://schemas.microsoft.com/office/drawing/2014/main" id="{11138699-6111-46EB-9D5B-1A69491190A3}"/>
              </a:ext>
            </a:extLst>
          </p:cNvPr>
          <p:cNvSpPr/>
          <p:nvPr/>
        </p:nvSpPr>
        <p:spPr>
          <a:xfrm flipH="1">
            <a:off x="483238" y="2111691"/>
            <a:ext cx="1435608" cy="1871965"/>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99" name="Rectangle 98">
            <a:extLst>
              <a:ext uri="{FF2B5EF4-FFF2-40B4-BE49-F238E27FC236}">
                <a16:creationId xmlns:a16="http://schemas.microsoft.com/office/drawing/2014/main" id="{B58DF250-E5A4-444B-9BC4-41D52DA00722}"/>
              </a:ext>
            </a:extLst>
          </p:cNvPr>
          <p:cNvSpPr/>
          <p:nvPr/>
        </p:nvSpPr>
        <p:spPr>
          <a:xfrm rot="10800000" flipH="1">
            <a:off x="1943617" y="1038224"/>
            <a:ext cx="367796" cy="93920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100" name="Rectangle 99">
            <a:extLst>
              <a:ext uri="{FF2B5EF4-FFF2-40B4-BE49-F238E27FC236}">
                <a16:creationId xmlns:a16="http://schemas.microsoft.com/office/drawing/2014/main" id="{E8E074F0-97FC-4033-87D9-3FA22899BF07}"/>
              </a:ext>
            </a:extLst>
          </p:cNvPr>
          <p:cNvSpPr/>
          <p:nvPr/>
        </p:nvSpPr>
        <p:spPr>
          <a:xfrm rot="10800000" flipH="1">
            <a:off x="1880951" y="2108096"/>
            <a:ext cx="367796" cy="187196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01" name="Group 100">
            <a:extLst>
              <a:ext uri="{FF2B5EF4-FFF2-40B4-BE49-F238E27FC236}">
                <a16:creationId xmlns:a16="http://schemas.microsoft.com/office/drawing/2014/main" id="{9C3629AD-D45F-43C0-BC17-21CA5F6E0E10}"/>
              </a:ext>
            </a:extLst>
          </p:cNvPr>
          <p:cNvGrpSpPr/>
          <p:nvPr/>
        </p:nvGrpSpPr>
        <p:grpSpPr>
          <a:xfrm rot="5400000" flipH="1">
            <a:off x="1862039" y="2650181"/>
            <a:ext cx="82306" cy="294544"/>
            <a:chOff x="666750" y="2236191"/>
            <a:chExt cx="137160" cy="471087"/>
          </a:xfrm>
          <a:effectLst/>
        </p:grpSpPr>
        <p:sp>
          <p:nvSpPr>
            <p:cNvPr id="102" name="Oval 101">
              <a:extLst>
                <a:ext uri="{FF2B5EF4-FFF2-40B4-BE49-F238E27FC236}">
                  <a16:creationId xmlns:a16="http://schemas.microsoft.com/office/drawing/2014/main" id="{9C3CAF66-0396-4351-A063-FC9046ACE3A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3" name="Oval 102">
              <a:extLst>
                <a:ext uri="{FF2B5EF4-FFF2-40B4-BE49-F238E27FC236}">
                  <a16:creationId xmlns:a16="http://schemas.microsoft.com/office/drawing/2014/main" id="{E4F2BA7E-27F3-4A3B-823D-5934EB2272C1}"/>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4" name="Rounded Rectangle 116">
              <a:extLst>
                <a:ext uri="{FF2B5EF4-FFF2-40B4-BE49-F238E27FC236}">
                  <a16:creationId xmlns:a16="http://schemas.microsoft.com/office/drawing/2014/main" id="{F9046361-82DA-4D9D-8489-781DD292475A}"/>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05" name="Group 104">
            <a:extLst>
              <a:ext uri="{FF2B5EF4-FFF2-40B4-BE49-F238E27FC236}">
                <a16:creationId xmlns:a16="http://schemas.microsoft.com/office/drawing/2014/main" id="{3397B61D-CCB4-418F-9AB6-B714DC759137}"/>
              </a:ext>
            </a:extLst>
          </p:cNvPr>
          <p:cNvGrpSpPr/>
          <p:nvPr/>
        </p:nvGrpSpPr>
        <p:grpSpPr>
          <a:xfrm rot="5400000" flipH="1">
            <a:off x="1862037" y="2967877"/>
            <a:ext cx="82306" cy="294544"/>
            <a:chOff x="666750" y="2236191"/>
            <a:chExt cx="137160" cy="471087"/>
          </a:xfrm>
          <a:effectLst/>
        </p:grpSpPr>
        <p:sp>
          <p:nvSpPr>
            <p:cNvPr id="106" name="Oval 105">
              <a:extLst>
                <a:ext uri="{FF2B5EF4-FFF2-40B4-BE49-F238E27FC236}">
                  <a16:creationId xmlns:a16="http://schemas.microsoft.com/office/drawing/2014/main" id="{80CB4EDF-5CAF-4049-B62E-0294A89D6EB1}"/>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7" name="Oval 106">
              <a:extLst>
                <a:ext uri="{FF2B5EF4-FFF2-40B4-BE49-F238E27FC236}">
                  <a16:creationId xmlns:a16="http://schemas.microsoft.com/office/drawing/2014/main" id="{75A2A747-5672-4FF5-9847-9995FFA8BED6}"/>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8" name="Rounded Rectangle 113">
              <a:extLst>
                <a:ext uri="{FF2B5EF4-FFF2-40B4-BE49-F238E27FC236}">
                  <a16:creationId xmlns:a16="http://schemas.microsoft.com/office/drawing/2014/main" id="{2D5CCD23-13F2-4EBB-81FA-1C52750B9085}"/>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109" name="Rounded Rectangle 54">
            <a:extLst>
              <a:ext uri="{FF2B5EF4-FFF2-40B4-BE49-F238E27FC236}">
                <a16:creationId xmlns:a16="http://schemas.microsoft.com/office/drawing/2014/main" id="{94E62E73-A81B-4EA2-9AD6-B82988F6D6DA}"/>
              </a:ext>
            </a:extLst>
          </p:cNvPr>
          <p:cNvSpPr/>
          <p:nvPr/>
        </p:nvSpPr>
        <p:spPr>
          <a:xfrm flipH="1">
            <a:off x="2066454" y="1047751"/>
            <a:ext cx="8512989" cy="8478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Sales KPIs &amp; Exchange Rate Enhancement Developme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New Sales KPIs are formulas based on values fields already available. As a multinational company, KPIs will be converted in corporate currencies (EUR, USD, JPY), in addition to the opportunity local currency. Moreover, provide reporting in different currencies with different exchange rate for each year of planning</a:t>
            </a: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110" name="Rounded Rectangle 54">
            <a:extLst>
              <a:ext uri="{FF2B5EF4-FFF2-40B4-BE49-F238E27FC236}">
                <a16:creationId xmlns:a16="http://schemas.microsoft.com/office/drawing/2014/main" id="{7F54BEF1-8BBF-426A-97ED-EC4E3714CEB5}"/>
              </a:ext>
            </a:extLst>
          </p:cNvPr>
          <p:cNvSpPr/>
          <p:nvPr/>
        </p:nvSpPr>
        <p:spPr>
          <a:xfrm flipH="1">
            <a:off x="2041157" y="2108852"/>
            <a:ext cx="8512984" cy="1878400"/>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perform Exchange Rate Enhancement impact analysis in the discovery phase and will design solution based on inputs. A proposed solution could be that Exchange rates are stored in a Custom Metadata type (table) in Salesforce and these are referenced in a formula field on the Opportunity object. This could potentially allow to see the Amount in different currency denominations. However, the impact and feasibility will have to be ascertained in the discovery phase.</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try to design entire solution by using the OTB Salesforce Functionalities</a:t>
            </a:r>
          </a:p>
        </p:txBody>
      </p:sp>
      <p:sp>
        <p:nvSpPr>
          <p:cNvPr id="111" name="Rounded Rectangle 54">
            <a:extLst>
              <a:ext uri="{FF2B5EF4-FFF2-40B4-BE49-F238E27FC236}">
                <a16:creationId xmlns:a16="http://schemas.microsoft.com/office/drawing/2014/main" id="{30932908-5D03-449B-BE0C-294683ABD9C9}"/>
              </a:ext>
            </a:extLst>
          </p:cNvPr>
          <p:cNvSpPr/>
          <p:nvPr/>
        </p:nvSpPr>
        <p:spPr>
          <a:xfrm flipH="1">
            <a:off x="2085507" y="4101201"/>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Sales KPIs requirements are still under definition as per Marelli statement. In this proposal, all the Sales KPIs related to currency enhancements are considered in scope, while new KPIs will have to be managed as a change request once defined by Marelli</a:t>
            </a:r>
          </a:p>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112" name="Rounded Rectangle 55">
            <a:extLst>
              <a:ext uri="{FF2B5EF4-FFF2-40B4-BE49-F238E27FC236}">
                <a16:creationId xmlns:a16="http://schemas.microsoft.com/office/drawing/2014/main" id="{D0C96274-A28D-475C-9256-0211D52DF8E3}"/>
              </a:ext>
            </a:extLst>
          </p:cNvPr>
          <p:cNvSpPr/>
          <p:nvPr/>
        </p:nvSpPr>
        <p:spPr>
          <a:xfrm flipH="1">
            <a:off x="472690" y="4103320"/>
            <a:ext cx="1435608" cy="1115538"/>
          </a:xfrm>
          <a:prstGeom prst="rect">
            <a:avLst/>
          </a:prstGeom>
          <a:solidFill>
            <a:srgbClr val="2B143D">
              <a:lumMod val="75000"/>
              <a:lumOff val="25000"/>
            </a:srgbClr>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Estimation Drivers</a:t>
            </a:r>
          </a:p>
        </p:txBody>
      </p:sp>
      <p:sp>
        <p:nvSpPr>
          <p:cNvPr id="113" name="Rectangle 112">
            <a:extLst>
              <a:ext uri="{FF2B5EF4-FFF2-40B4-BE49-F238E27FC236}">
                <a16:creationId xmlns:a16="http://schemas.microsoft.com/office/drawing/2014/main" id="{CEA39606-619C-45A9-9329-0F92C3DEC9C2}"/>
              </a:ext>
            </a:extLst>
          </p:cNvPr>
          <p:cNvSpPr/>
          <p:nvPr/>
        </p:nvSpPr>
        <p:spPr>
          <a:xfrm rot="10800000" flipH="1">
            <a:off x="1937070" y="4101195"/>
            <a:ext cx="18526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14" name="Group 113">
            <a:extLst>
              <a:ext uri="{FF2B5EF4-FFF2-40B4-BE49-F238E27FC236}">
                <a16:creationId xmlns:a16="http://schemas.microsoft.com/office/drawing/2014/main" id="{3746877A-BF00-4B14-8503-00D0747D7E1D}"/>
              </a:ext>
            </a:extLst>
          </p:cNvPr>
          <p:cNvGrpSpPr/>
          <p:nvPr/>
        </p:nvGrpSpPr>
        <p:grpSpPr>
          <a:xfrm flipH="1">
            <a:off x="1763566" y="4442399"/>
            <a:ext cx="330592" cy="409729"/>
            <a:chOff x="4144353" y="5853398"/>
            <a:chExt cx="289254" cy="374936"/>
          </a:xfrm>
          <a:effectLst/>
        </p:grpSpPr>
        <p:grpSp>
          <p:nvGrpSpPr>
            <p:cNvPr id="115" name="Group 114">
              <a:extLst>
                <a:ext uri="{FF2B5EF4-FFF2-40B4-BE49-F238E27FC236}">
                  <a16:creationId xmlns:a16="http://schemas.microsoft.com/office/drawing/2014/main" id="{D77465EA-6E00-442A-A69D-76EF3268C197}"/>
                </a:ext>
              </a:extLst>
            </p:cNvPr>
            <p:cNvGrpSpPr/>
            <p:nvPr/>
          </p:nvGrpSpPr>
          <p:grpSpPr>
            <a:xfrm rot="16200000">
              <a:off x="4246871" y="5750880"/>
              <a:ext cx="84217" cy="289253"/>
              <a:chOff x="666750" y="2236191"/>
              <a:chExt cx="137160" cy="471087"/>
            </a:xfrm>
          </p:grpSpPr>
          <p:sp>
            <p:nvSpPr>
              <p:cNvPr id="120" name="Oval 119">
                <a:extLst>
                  <a:ext uri="{FF2B5EF4-FFF2-40B4-BE49-F238E27FC236}">
                    <a16:creationId xmlns:a16="http://schemas.microsoft.com/office/drawing/2014/main" id="{23FE414A-CF98-4036-BFDA-5A5E72AD88E7}"/>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1" name="Oval 120">
                <a:extLst>
                  <a:ext uri="{FF2B5EF4-FFF2-40B4-BE49-F238E27FC236}">
                    <a16:creationId xmlns:a16="http://schemas.microsoft.com/office/drawing/2014/main" id="{49B89023-3C4C-4227-B33D-15FED0CA7E8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2" name="Rounded Rectangle 116">
                <a:extLst>
                  <a:ext uri="{FF2B5EF4-FFF2-40B4-BE49-F238E27FC236}">
                    <a16:creationId xmlns:a16="http://schemas.microsoft.com/office/drawing/2014/main" id="{9F7F57F6-6024-4509-97D3-0377F321E8A5}"/>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16" name="Group 115">
              <a:extLst>
                <a:ext uri="{FF2B5EF4-FFF2-40B4-BE49-F238E27FC236}">
                  <a16:creationId xmlns:a16="http://schemas.microsoft.com/office/drawing/2014/main" id="{6BCDAD88-364B-4C2B-B95E-40DA21976A0D}"/>
                </a:ext>
              </a:extLst>
            </p:cNvPr>
            <p:cNvGrpSpPr/>
            <p:nvPr/>
          </p:nvGrpSpPr>
          <p:grpSpPr>
            <a:xfrm rot="16200000">
              <a:off x="4246872" y="6041599"/>
              <a:ext cx="84217" cy="289253"/>
              <a:chOff x="666750" y="2236191"/>
              <a:chExt cx="137160" cy="471087"/>
            </a:xfrm>
          </p:grpSpPr>
          <p:sp>
            <p:nvSpPr>
              <p:cNvPr id="117" name="Oval 116">
                <a:extLst>
                  <a:ext uri="{FF2B5EF4-FFF2-40B4-BE49-F238E27FC236}">
                    <a16:creationId xmlns:a16="http://schemas.microsoft.com/office/drawing/2014/main" id="{7E7DBA52-E090-4D12-A51A-FD86C3E93E5C}"/>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8" name="Oval 117">
                <a:extLst>
                  <a:ext uri="{FF2B5EF4-FFF2-40B4-BE49-F238E27FC236}">
                    <a16:creationId xmlns:a16="http://schemas.microsoft.com/office/drawing/2014/main" id="{288A7E24-26A3-4165-86E7-F71F47C6F099}"/>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9" name="Rounded Rectangle 113">
                <a:extLst>
                  <a:ext uri="{FF2B5EF4-FFF2-40B4-BE49-F238E27FC236}">
                    <a16:creationId xmlns:a16="http://schemas.microsoft.com/office/drawing/2014/main" id="{0B4094D3-8547-4F4C-9895-E8EA524230C2}"/>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123" name="Rectangle 122">
            <a:extLst>
              <a:ext uri="{FF2B5EF4-FFF2-40B4-BE49-F238E27FC236}">
                <a16:creationId xmlns:a16="http://schemas.microsoft.com/office/drawing/2014/main" id="{977A4CAF-A1B4-4119-A2A9-E934B7E5AFEC}"/>
              </a:ext>
            </a:extLst>
          </p:cNvPr>
          <p:cNvSpPr/>
          <p:nvPr/>
        </p:nvSpPr>
        <p:spPr>
          <a:xfrm rot="10800000" flipH="1">
            <a:off x="1880951" y="1046965"/>
            <a:ext cx="202621" cy="90520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124" name="Rounded Rectangle 54">
            <a:extLst>
              <a:ext uri="{FF2B5EF4-FFF2-40B4-BE49-F238E27FC236}">
                <a16:creationId xmlns:a16="http://schemas.microsoft.com/office/drawing/2014/main" id="{6FD77378-1811-4757-AAE7-0B586A9C71FE}"/>
              </a:ext>
            </a:extLst>
          </p:cNvPr>
          <p:cNvSpPr/>
          <p:nvPr/>
        </p:nvSpPr>
        <p:spPr>
          <a:xfrm flipH="1">
            <a:off x="2102622" y="4101201"/>
            <a:ext cx="3912086" cy="520590"/>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grpSp>
        <p:nvGrpSpPr>
          <p:cNvPr id="125" name="Group 124">
            <a:extLst>
              <a:ext uri="{FF2B5EF4-FFF2-40B4-BE49-F238E27FC236}">
                <a16:creationId xmlns:a16="http://schemas.microsoft.com/office/drawing/2014/main" id="{6280A9D1-7CB1-41E8-AC3F-25ED45EFC9D7}"/>
              </a:ext>
            </a:extLst>
          </p:cNvPr>
          <p:cNvGrpSpPr/>
          <p:nvPr/>
        </p:nvGrpSpPr>
        <p:grpSpPr>
          <a:xfrm flipH="1">
            <a:off x="1770562" y="1198074"/>
            <a:ext cx="294545" cy="527565"/>
            <a:chOff x="4144353" y="5853398"/>
            <a:chExt cx="289254" cy="374936"/>
          </a:xfrm>
          <a:effectLst/>
        </p:grpSpPr>
        <p:grpSp>
          <p:nvGrpSpPr>
            <p:cNvPr id="126" name="Group 125">
              <a:extLst>
                <a:ext uri="{FF2B5EF4-FFF2-40B4-BE49-F238E27FC236}">
                  <a16:creationId xmlns:a16="http://schemas.microsoft.com/office/drawing/2014/main" id="{FB7879F8-0B1E-4EB3-828A-EE515F291CED}"/>
                </a:ext>
              </a:extLst>
            </p:cNvPr>
            <p:cNvGrpSpPr/>
            <p:nvPr/>
          </p:nvGrpSpPr>
          <p:grpSpPr>
            <a:xfrm rot="16200000">
              <a:off x="4246871" y="5750880"/>
              <a:ext cx="84217" cy="289253"/>
              <a:chOff x="666750" y="2236191"/>
              <a:chExt cx="137160" cy="471087"/>
            </a:xfrm>
          </p:grpSpPr>
          <p:sp>
            <p:nvSpPr>
              <p:cNvPr id="131" name="Oval 130">
                <a:extLst>
                  <a:ext uri="{FF2B5EF4-FFF2-40B4-BE49-F238E27FC236}">
                    <a16:creationId xmlns:a16="http://schemas.microsoft.com/office/drawing/2014/main" id="{A6B9D98B-C2ED-4889-892B-43953386F479}"/>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2" name="Oval 131">
                <a:extLst>
                  <a:ext uri="{FF2B5EF4-FFF2-40B4-BE49-F238E27FC236}">
                    <a16:creationId xmlns:a16="http://schemas.microsoft.com/office/drawing/2014/main" id="{682EC97E-EDFD-49C4-B3CE-190B17A57E07}"/>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3" name="Rounded Rectangle 116">
                <a:extLst>
                  <a:ext uri="{FF2B5EF4-FFF2-40B4-BE49-F238E27FC236}">
                    <a16:creationId xmlns:a16="http://schemas.microsoft.com/office/drawing/2014/main" id="{FEA9E2B3-73F8-4310-9225-46755CED7E3C}"/>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27" name="Group 126">
              <a:extLst>
                <a:ext uri="{FF2B5EF4-FFF2-40B4-BE49-F238E27FC236}">
                  <a16:creationId xmlns:a16="http://schemas.microsoft.com/office/drawing/2014/main" id="{A90DF177-A433-4D4E-BE2B-97E795EDA46F}"/>
                </a:ext>
              </a:extLst>
            </p:cNvPr>
            <p:cNvGrpSpPr/>
            <p:nvPr/>
          </p:nvGrpSpPr>
          <p:grpSpPr>
            <a:xfrm rot="16200000">
              <a:off x="4246872" y="6041599"/>
              <a:ext cx="84217" cy="289253"/>
              <a:chOff x="666750" y="2236191"/>
              <a:chExt cx="137160" cy="471087"/>
            </a:xfrm>
          </p:grpSpPr>
          <p:sp>
            <p:nvSpPr>
              <p:cNvPr id="128" name="Oval 127">
                <a:extLst>
                  <a:ext uri="{FF2B5EF4-FFF2-40B4-BE49-F238E27FC236}">
                    <a16:creationId xmlns:a16="http://schemas.microsoft.com/office/drawing/2014/main" id="{0E9FBDFC-AFC0-40DC-A025-2BC16D723BA5}"/>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9" name="Oval 128">
                <a:extLst>
                  <a:ext uri="{FF2B5EF4-FFF2-40B4-BE49-F238E27FC236}">
                    <a16:creationId xmlns:a16="http://schemas.microsoft.com/office/drawing/2014/main" id="{F6418437-7986-476A-B7F7-C6F4FCA8053E}"/>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30" name="Rounded Rectangle 113">
                <a:extLst>
                  <a:ext uri="{FF2B5EF4-FFF2-40B4-BE49-F238E27FC236}">
                    <a16:creationId xmlns:a16="http://schemas.microsoft.com/office/drawing/2014/main" id="{402BF04A-7888-4620-9261-1D5DFAA30F9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318896"/>
            <a:ext cx="5050790" cy="422275"/>
          </a:xfrm>
          <a:prstGeom prst="rect">
            <a:avLst/>
          </a:prstGeom>
        </p:spPr>
        <p:txBody>
          <a:bodyPr vert="horz" wrap="square" lIns="0" tIns="12700" rIns="0" bIns="0" rtlCol="0">
            <a:spAutoFit/>
          </a:bodyPr>
          <a:lstStyle/>
          <a:p>
            <a:pPr marL="12700">
              <a:lnSpc>
                <a:spcPct val="100000"/>
              </a:lnSpc>
              <a:spcBef>
                <a:spcPts val="100"/>
              </a:spcBef>
            </a:pPr>
            <a:r>
              <a:rPr sz="2600" spc="-5">
                <a:solidFill>
                  <a:srgbClr val="006FAC"/>
                </a:solidFill>
                <a:latin typeface="Verdana"/>
                <a:cs typeface="Verdana"/>
              </a:rPr>
              <a:t>General </a:t>
            </a:r>
            <a:r>
              <a:rPr sz="2600">
                <a:solidFill>
                  <a:srgbClr val="006FAC"/>
                </a:solidFill>
                <a:latin typeface="Verdana"/>
                <a:cs typeface="Verdana"/>
              </a:rPr>
              <a:t>Platform</a:t>
            </a:r>
            <a:r>
              <a:rPr sz="2600" spc="-80">
                <a:solidFill>
                  <a:srgbClr val="006FAC"/>
                </a:solidFill>
                <a:latin typeface="Verdana"/>
                <a:cs typeface="Verdana"/>
              </a:rPr>
              <a:t> </a:t>
            </a:r>
            <a:r>
              <a:rPr sz="2600">
                <a:solidFill>
                  <a:srgbClr val="006FAC"/>
                </a:solidFill>
                <a:latin typeface="Verdana"/>
                <a:cs typeface="Verdana"/>
              </a:rPr>
              <a:t>Optimization</a:t>
            </a:r>
            <a:endParaRPr sz="2600">
              <a:latin typeface="Verdana"/>
              <a:cs typeface="Verdana"/>
            </a:endParaRPr>
          </a:p>
        </p:txBody>
      </p:sp>
      <p:sp>
        <p:nvSpPr>
          <p:cNvPr id="5" name="object 5"/>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6" name="object 6"/>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7" name="object 7"/>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9" name="object 9"/>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12" name="object 12"/>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3" name="object 13"/>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4" name="object 14"/>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16" name="object 16"/>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18" name="object 18"/>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19" name="object 19"/>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20" name="object 20"/>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1" name="object 21"/>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23" name="object 23"/>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5" name="object 25"/>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26" name="object 26"/>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27" name="object 27"/>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8" name="object 2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9" name="object 29"/>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6</a:t>
            </a:fld>
            <a:endParaRPr sz="800">
              <a:latin typeface="Verdana"/>
              <a:cs typeface="Verdana"/>
            </a:endParaRPr>
          </a:p>
        </p:txBody>
      </p:sp>
      <p:sp>
        <p:nvSpPr>
          <p:cNvPr id="30" name="Rounded Rectangle 54">
            <a:extLst>
              <a:ext uri="{FF2B5EF4-FFF2-40B4-BE49-F238E27FC236}">
                <a16:creationId xmlns:a16="http://schemas.microsoft.com/office/drawing/2014/main" id="{9DCAAC74-FA1F-4BCA-8227-8B14EAC17EF7}"/>
              </a:ext>
            </a:extLst>
          </p:cNvPr>
          <p:cNvSpPr/>
          <p:nvPr/>
        </p:nvSpPr>
        <p:spPr>
          <a:xfrm flipH="1">
            <a:off x="2066458" y="1038225"/>
            <a:ext cx="8512990" cy="94873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31" name="Rounded Rectangle 55">
            <a:extLst>
              <a:ext uri="{FF2B5EF4-FFF2-40B4-BE49-F238E27FC236}">
                <a16:creationId xmlns:a16="http://schemas.microsoft.com/office/drawing/2014/main" id="{7253809E-ACED-4D42-ADF9-F686DCD6B862}"/>
              </a:ext>
            </a:extLst>
          </p:cNvPr>
          <p:cNvSpPr/>
          <p:nvPr/>
        </p:nvSpPr>
        <p:spPr>
          <a:xfrm flipH="1">
            <a:off x="483243" y="1051409"/>
            <a:ext cx="1373077" cy="914781"/>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32" name="Rounded Rectangle 54">
            <a:extLst>
              <a:ext uri="{FF2B5EF4-FFF2-40B4-BE49-F238E27FC236}">
                <a16:creationId xmlns:a16="http://schemas.microsoft.com/office/drawing/2014/main" id="{EC0743A1-4103-49AB-869B-9CA729C00295}"/>
              </a:ext>
            </a:extLst>
          </p:cNvPr>
          <p:cNvSpPr/>
          <p:nvPr/>
        </p:nvSpPr>
        <p:spPr>
          <a:xfrm flipH="1">
            <a:off x="2066458" y="2111691"/>
            <a:ext cx="8512986" cy="187196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33" name="Rounded Rectangle 54">
            <a:extLst>
              <a:ext uri="{FF2B5EF4-FFF2-40B4-BE49-F238E27FC236}">
                <a16:creationId xmlns:a16="http://schemas.microsoft.com/office/drawing/2014/main" id="{774B88DC-0745-4802-A78C-DE3386885D68}"/>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34" name="Rounded Rectangle 55">
            <a:extLst>
              <a:ext uri="{FF2B5EF4-FFF2-40B4-BE49-F238E27FC236}">
                <a16:creationId xmlns:a16="http://schemas.microsoft.com/office/drawing/2014/main" id="{B97EBAD5-4866-4BBA-BF67-C02EF6546251}"/>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35" name="Rectangle 34">
            <a:extLst>
              <a:ext uri="{FF2B5EF4-FFF2-40B4-BE49-F238E27FC236}">
                <a16:creationId xmlns:a16="http://schemas.microsoft.com/office/drawing/2014/main" id="{16A6B5F8-7A26-4EB5-9D86-5FB312106C6B}"/>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36" name="Group 35">
            <a:extLst>
              <a:ext uri="{FF2B5EF4-FFF2-40B4-BE49-F238E27FC236}">
                <a16:creationId xmlns:a16="http://schemas.microsoft.com/office/drawing/2014/main" id="{F84F9090-70C5-44AE-99BF-964FF8CA57C4}"/>
              </a:ext>
            </a:extLst>
          </p:cNvPr>
          <p:cNvGrpSpPr/>
          <p:nvPr/>
        </p:nvGrpSpPr>
        <p:grpSpPr>
          <a:xfrm flipH="1">
            <a:off x="1744516" y="5652074"/>
            <a:ext cx="330592" cy="409729"/>
            <a:chOff x="4144353" y="5853398"/>
            <a:chExt cx="289254" cy="374936"/>
          </a:xfrm>
          <a:effectLst/>
        </p:grpSpPr>
        <p:grpSp>
          <p:nvGrpSpPr>
            <p:cNvPr id="37" name="Group 36">
              <a:extLst>
                <a:ext uri="{FF2B5EF4-FFF2-40B4-BE49-F238E27FC236}">
                  <a16:creationId xmlns:a16="http://schemas.microsoft.com/office/drawing/2014/main" id="{2600875D-EC62-4ED9-8F84-B42BFE659323}"/>
                </a:ext>
              </a:extLst>
            </p:cNvPr>
            <p:cNvGrpSpPr/>
            <p:nvPr/>
          </p:nvGrpSpPr>
          <p:grpSpPr>
            <a:xfrm rot="16200000">
              <a:off x="4246871" y="5750880"/>
              <a:ext cx="84217" cy="289253"/>
              <a:chOff x="666750" y="2236191"/>
              <a:chExt cx="137160" cy="471087"/>
            </a:xfrm>
          </p:grpSpPr>
          <p:sp>
            <p:nvSpPr>
              <p:cNvPr id="42" name="Oval 41">
                <a:extLst>
                  <a:ext uri="{FF2B5EF4-FFF2-40B4-BE49-F238E27FC236}">
                    <a16:creationId xmlns:a16="http://schemas.microsoft.com/office/drawing/2014/main" id="{277053F8-080A-4AAB-ABA0-740D31746D1B}"/>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3" name="Oval 42">
                <a:extLst>
                  <a:ext uri="{FF2B5EF4-FFF2-40B4-BE49-F238E27FC236}">
                    <a16:creationId xmlns:a16="http://schemas.microsoft.com/office/drawing/2014/main" id="{58D00321-C0CD-406B-88E8-3E4A51F7DFF3}"/>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4" name="Rounded Rectangle 116">
                <a:extLst>
                  <a:ext uri="{FF2B5EF4-FFF2-40B4-BE49-F238E27FC236}">
                    <a16:creationId xmlns:a16="http://schemas.microsoft.com/office/drawing/2014/main" id="{7D1CBF0A-D7A3-49E1-9870-A412536DCC3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8" name="Group 37">
              <a:extLst>
                <a:ext uri="{FF2B5EF4-FFF2-40B4-BE49-F238E27FC236}">
                  <a16:creationId xmlns:a16="http://schemas.microsoft.com/office/drawing/2014/main" id="{54891759-303C-4102-8C49-57D9209C2DD7}"/>
                </a:ext>
              </a:extLst>
            </p:cNvPr>
            <p:cNvGrpSpPr/>
            <p:nvPr/>
          </p:nvGrpSpPr>
          <p:grpSpPr>
            <a:xfrm rot="16200000">
              <a:off x="4246872" y="6041599"/>
              <a:ext cx="84217" cy="289253"/>
              <a:chOff x="666750" y="2236191"/>
              <a:chExt cx="137160" cy="471087"/>
            </a:xfrm>
          </p:grpSpPr>
          <p:sp>
            <p:nvSpPr>
              <p:cNvPr id="39" name="Oval 38">
                <a:extLst>
                  <a:ext uri="{FF2B5EF4-FFF2-40B4-BE49-F238E27FC236}">
                    <a16:creationId xmlns:a16="http://schemas.microsoft.com/office/drawing/2014/main" id="{E2EACF43-164E-45A9-B0BD-CA73C786576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0" name="Oval 39">
                <a:extLst>
                  <a:ext uri="{FF2B5EF4-FFF2-40B4-BE49-F238E27FC236}">
                    <a16:creationId xmlns:a16="http://schemas.microsoft.com/office/drawing/2014/main" id="{B3463D95-FD71-4C0D-820B-A1E6AEF2625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1" name="Rounded Rectangle 113">
                <a:extLst>
                  <a:ext uri="{FF2B5EF4-FFF2-40B4-BE49-F238E27FC236}">
                    <a16:creationId xmlns:a16="http://schemas.microsoft.com/office/drawing/2014/main" id="{F7BA7C39-6F89-4244-97B2-39A1548CA339}"/>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45" name="Rounded Rectangle 54">
            <a:extLst>
              <a:ext uri="{FF2B5EF4-FFF2-40B4-BE49-F238E27FC236}">
                <a16:creationId xmlns:a16="http://schemas.microsoft.com/office/drawing/2014/main" id="{9451B1AA-1C81-4BD7-B2E6-E48D1C649096}"/>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Improve usability</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Reduce amount of created data</a:t>
            </a:r>
            <a:endParaRPr kumimoji="0" lang="en-US"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46" name="Rounded Rectangle 55">
            <a:extLst>
              <a:ext uri="{FF2B5EF4-FFF2-40B4-BE49-F238E27FC236}">
                <a16:creationId xmlns:a16="http://schemas.microsoft.com/office/drawing/2014/main" id="{4AEF829E-315A-42E8-A8A1-D76A46BA7A9E}"/>
              </a:ext>
            </a:extLst>
          </p:cNvPr>
          <p:cNvSpPr/>
          <p:nvPr/>
        </p:nvSpPr>
        <p:spPr>
          <a:xfrm flipH="1">
            <a:off x="483238" y="2111691"/>
            <a:ext cx="1435608" cy="1871965"/>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47" name="Rectangle 46">
            <a:extLst>
              <a:ext uri="{FF2B5EF4-FFF2-40B4-BE49-F238E27FC236}">
                <a16:creationId xmlns:a16="http://schemas.microsoft.com/office/drawing/2014/main" id="{F515299B-40E4-4D48-8901-F2918B3883DB}"/>
              </a:ext>
            </a:extLst>
          </p:cNvPr>
          <p:cNvSpPr/>
          <p:nvPr/>
        </p:nvSpPr>
        <p:spPr>
          <a:xfrm rot="10800000" flipH="1">
            <a:off x="1943617" y="1038224"/>
            <a:ext cx="367796" cy="93920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48" name="Rectangle 47">
            <a:extLst>
              <a:ext uri="{FF2B5EF4-FFF2-40B4-BE49-F238E27FC236}">
                <a16:creationId xmlns:a16="http://schemas.microsoft.com/office/drawing/2014/main" id="{6D246EFA-7F11-45B2-8265-5D83F56F0041}"/>
              </a:ext>
            </a:extLst>
          </p:cNvPr>
          <p:cNvSpPr/>
          <p:nvPr/>
        </p:nvSpPr>
        <p:spPr>
          <a:xfrm rot="10800000" flipH="1">
            <a:off x="1880951" y="2108096"/>
            <a:ext cx="367796" cy="187196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49" name="Group 48">
            <a:extLst>
              <a:ext uri="{FF2B5EF4-FFF2-40B4-BE49-F238E27FC236}">
                <a16:creationId xmlns:a16="http://schemas.microsoft.com/office/drawing/2014/main" id="{769520B7-6200-4A7E-A770-B054320A03A2}"/>
              </a:ext>
            </a:extLst>
          </p:cNvPr>
          <p:cNvGrpSpPr/>
          <p:nvPr/>
        </p:nvGrpSpPr>
        <p:grpSpPr>
          <a:xfrm rot="5400000" flipH="1">
            <a:off x="1862039" y="2650181"/>
            <a:ext cx="82306" cy="294544"/>
            <a:chOff x="666750" y="2236191"/>
            <a:chExt cx="137160" cy="471087"/>
          </a:xfrm>
          <a:effectLst/>
        </p:grpSpPr>
        <p:sp>
          <p:nvSpPr>
            <p:cNvPr id="50" name="Oval 49">
              <a:extLst>
                <a:ext uri="{FF2B5EF4-FFF2-40B4-BE49-F238E27FC236}">
                  <a16:creationId xmlns:a16="http://schemas.microsoft.com/office/drawing/2014/main" id="{64C0A710-D318-43E6-A1FE-B39A4A1C161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1" name="Oval 50">
              <a:extLst>
                <a:ext uri="{FF2B5EF4-FFF2-40B4-BE49-F238E27FC236}">
                  <a16:creationId xmlns:a16="http://schemas.microsoft.com/office/drawing/2014/main" id="{A53C14CA-6A89-423E-80E8-24179D375A57}"/>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2" name="Rounded Rectangle 116">
              <a:extLst>
                <a:ext uri="{FF2B5EF4-FFF2-40B4-BE49-F238E27FC236}">
                  <a16:creationId xmlns:a16="http://schemas.microsoft.com/office/drawing/2014/main" id="{C96BF331-3479-481B-A126-5D617A56F486}"/>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53" name="Group 52">
            <a:extLst>
              <a:ext uri="{FF2B5EF4-FFF2-40B4-BE49-F238E27FC236}">
                <a16:creationId xmlns:a16="http://schemas.microsoft.com/office/drawing/2014/main" id="{1758B76E-0A6B-44F6-BAE9-DC5E530904BB}"/>
              </a:ext>
            </a:extLst>
          </p:cNvPr>
          <p:cNvGrpSpPr/>
          <p:nvPr/>
        </p:nvGrpSpPr>
        <p:grpSpPr>
          <a:xfrm rot="5400000" flipH="1">
            <a:off x="1862037" y="2967877"/>
            <a:ext cx="82306" cy="294544"/>
            <a:chOff x="666750" y="2236191"/>
            <a:chExt cx="137160" cy="471087"/>
          </a:xfrm>
          <a:effectLst/>
        </p:grpSpPr>
        <p:sp>
          <p:nvSpPr>
            <p:cNvPr id="54" name="Oval 53">
              <a:extLst>
                <a:ext uri="{FF2B5EF4-FFF2-40B4-BE49-F238E27FC236}">
                  <a16:creationId xmlns:a16="http://schemas.microsoft.com/office/drawing/2014/main" id="{47101AC3-8189-4C0C-8185-AB276CB78A8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5" name="Oval 54">
              <a:extLst>
                <a:ext uri="{FF2B5EF4-FFF2-40B4-BE49-F238E27FC236}">
                  <a16:creationId xmlns:a16="http://schemas.microsoft.com/office/drawing/2014/main" id="{83D8FC60-9E25-4745-AAF9-F9DF0FFDF658}"/>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6" name="Rounded Rectangle 113">
              <a:extLst>
                <a:ext uri="{FF2B5EF4-FFF2-40B4-BE49-F238E27FC236}">
                  <a16:creationId xmlns:a16="http://schemas.microsoft.com/office/drawing/2014/main" id="{DA8BCF15-01A7-4627-8682-1F4A4F7B995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57" name="Rounded Rectangle 54">
            <a:extLst>
              <a:ext uri="{FF2B5EF4-FFF2-40B4-BE49-F238E27FC236}">
                <a16:creationId xmlns:a16="http://schemas.microsoft.com/office/drawing/2014/main" id="{4CE4E8A7-5C50-4408-8C78-77024D56BD42}"/>
              </a:ext>
            </a:extLst>
          </p:cNvPr>
          <p:cNvSpPr/>
          <p:nvPr/>
        </p:nvSpPr>
        <p:spPr>
          <a:xfrm flipH="1">
            <a:off x="2066454" y="1047751"/>
            <a:ext cx="8512989" cy="8478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Scenarios Enhancements</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Review current functionality </a:t>
            </a:r>
            <a:endParaRPr kumimoji="0" lang="en-US" sz="1200" b="1"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endParaRPr>
          </a:p>
        </p:txBody>
      </p:sp>
      <p:sp>
        <p:nvSpPr>
          <p:cNvPr id="58" name="Rounded Rectangle 54">
            <a:extLst>
              <a:ext uri="{FF2B5EF4-FFF2-40B4-BE49-F238E27FC236}">
                <a16:creationId xmlns:a16="http://schemas.microsoft.com/office/drawing/2014/main" id="{5720795A-95B8-4CE9-82A9-DEF211BECD43}"/>
              </a:ext>
            </a:extLst>
          </p:cNvPr>
          <p:cNvSpPr/>
          <p:nvPr/>
        </p:nvSpPr>
        <p:spPr>
          <a:xfrm flipH="1">
            <a:off x="2060930" y="2179718"/>
            <a:ext cx="8512984" cy="1516570"/>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a:t>
            </a:r>
            <a:r>
              <a:rPr lang="en-US" sz="1200" kern="0">
                <a:solidFill>
                  <a:prstClr val="black"/>
                </a:solidFill>
                <a:latin typeface="Verdana"/>
              </a:rPr>
              <a:t>review the functionality so to manage</a:t>
            </a:r>
          </a:p>
          <a:p>
            <a:pPr marL="171450" marR="0" lvl="0" indent="-171450"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Adapt Scenario Type to New business process</a:t>
            </a:r>
          </a:p>
          <a:p>
            <a:pPr marL="171450" marR="0" lvl="0" indent="-171450"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Clone of a scenario</a:t>
            </a:r>
          </a:p>
          <a:p>
            <a:pPr marL="171450" marR="0" lvl="0" indent="-171450"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Insertion of selected opportunities in a selected scenario</a:t>
            </a:r>
          </a:p>
          <a:p>
            <a:pPr marL="171450" marR="0" lvl="0" indent="-171450"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Creation of an advance filtering mask so to allow users to select opportunities which opportunities have to be inserted in a scenario</a:t>
            </a:r>
          </a:p>
          <a:p>
            <a:pPr marL="171450" marR="0" lvl="0" indent="-171450"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Import of selected opportunities from a scenario into current planning status</a:t>
            </a:r>
          </a:p>
          <a:p>
            <a:pPr marL="171450" marR="0" lvl="0" indent="-171450"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lang="en-US" sz="1200" kern="0">
                <a:solidFill>
                  <a:prstClr val="black"/>
                </a:solidFill>
                <a:latin typeface="Verdana"/>
              </a:rPr>
              <a:t>Possibility to update one or more opportunities of current planning status with the changes made to the cloned opportunity of a scenario (current solution only allow massive update of all the opportunities of the scenario)</a:t>
            </a:r>
          </a:p>
        </p:txBody>
      </p:sp>
      <p:sp>
        <p:nvSpPr>
          <p:cNvPr id="59" name="Rounded Rectangle 54">
            <a:extLst>
              <a:ext uri="{FF2B5EF4-FFF2-40B4-BE49-F238E27FC236}">
                <a16:creationId xmlns:a16="http://schemas.microsoft.com/office/drawing/2014/main" id="{2D6D59F4-C6E5-49A3-80B3-6A84B8EA7E5C}"/>
              </a:ext>
            </a:extLst>
          </p:cNvPr>
          <p:cNvSpPr/>
          <p:nvPr/>
        </p:nvSpPr>
        <p:spPr>
          <a:xfrm flipH="1">
            <a:off x="2085507" y="4101201"/>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60" name="Rounded Rectangle 55">
            <a:extLst>
              <a:ext uri="{FF2B5EF4-FFF2-40B4-BE49-F238E27FC236}">
                <a16:creationId xmlns:a16="http://schemas.microsoft.com/office/drawing/2014/main" id="{3C2D8AD8-9993-46C8-802D-30FF897D70D9}"/>
              </a:ext>
            </a:extLst>
          </p:cNvPr>
          <p:cNvSpPr/>
          <p:nvPr/>
        </p:nvSpPr>
        <p:spPr>
          <a:xfrm flipH="1">
            <a:off x="472690" y="4103320"/>
            <a:ext cx="1435608" cy="1115538"/>
          </a:xfrm>
          <a:prstGeom prst="rect">
            <a:avLst/>
          </a:prstGeom>
          <a:solidFill>
            <a:srgbClr val="2B143D">
              <a:lumMod val="75000"/>
              <a:lumOff val="25000"/>
            </a:srgbClr>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Estimation Drivers</a:t>
            </a:r>
          </a:p>
        </p:txBody>
      </p:sp>
      <p:sp>
        <p:nvSpPr>
          <p:cNvPr id="61" name="Rectangle 60">
            <a:extLst>
              <a:ext uri="{FF2B5EF4-FFF2-40B4-BE49-F238E27FC236}">
                <a16:creationId xmlns:a16="http://schemas.microsoft.com/office/drawing/2014/main" id="{F11FFCEA-3E55-4D39-96F8-120765538771}"/>
              </a:ext>
            </a:extLst>
          </p:cNvPr>
          <p:cNvSpPr/>
          <p:nvPr/>
        </p:nvSpPr>
        <p:spPr>
          <a:xfrm rot="10800000" flipH="1">
            <a:off x="1937070" y="4101195"/>
            <a:ext cx="18526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62" name="Group 61">
            <a:extLst>
              <a:ext uri="{FF2B5EF4-FFF2-40B4-BE49-F238E27FC236}">
                <a16:creationId xmlns:a16="http://schemas.microsoft.com/office/drawing/2014/main" id="{B3EDA2D2-752E-400D-BC98-48F96F291750}"/>
              </a:ext>
            </a:extLst>
          </p:cNvPr>
          <p:cNvGrpSpPr/>
          <p:nvPr/>
        </p:nvGrpSpPr>
        <p:grpSpPr>
          <a:xfrm flipH="1">
            <a:off x="1763566" y="4442399"/>
            <a:ext cx="330592" cy="409729"/>
            <a:chOff x="4144353" y="5853398"/>
            <a:chExt cx="289254" cy="374936"/>
          </a:xfrm>
          <a:effectLst/>
        </p:grpSpPr>
        <p:grpSp>
          <p:nvGrpSpPr>
            <p:cNvPr id="63" name="Group 62">
              <a:extLst>
                <a:ext uri="{FF2B5EF4-FFF2-40B4-BE49-F238E27FC236}">
                  <a16:creationId xmlns:a16="http://schemas.microsoft.com/office/drawing/2014/main" id="{49987DA1-A8D4-4940-8232-0DB23A1CF932}"/>
                </a:ext>
              </a:extLst>
            </p:cNvPr>
            <p:cNvGrpSpPr/>
            <p:nvPr/>
          </p:nvGrpSpPr>
          <p:grpSpPr>
            <a:xfrm rot="16200000">
              <a:off x="4246871" y="5750880"/>
              <a:ext cx="84217" cy="289253"/>
              <a:chOff x="666750" y="2236191"/>
              <a:chExt cx="137160" cy="471087"/>
            </a:xfrm>
          </p:grpSpPr>
          <p:sp>
            <p:nvSpPr>
              <p:cNvPr id="68" name="Oval 67">
                <a:extLst>
                  <a:ext uri="{FF2B5EF4-FFF2-40B4-BE49-F238E27FC236}">
                    <a16:creationId xmlns:a16="http://schemas.microsoft.com/office/drawing/2014/main" id="{EEFA6ECA-96E9-4601-9B22-2382FC9C4C1B}"/>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9" name="Oval 68">
                <a:extLst>
                  <a:ext uri="{FF2B5EF4-FFF2-40B4-BE49-F238E27FC236}">
                    <a16:creationId xmlns:a16="http://schemas.microsoft.com/office/drawing/2014/main" id="{DF6548A3-C54B-442E-A39D-DFBEB595053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70" name="Rounded Rectangle 116">
                <a:extLst>
                  <a:ext uri="{FF2B5EF4-FFF2-40B4-BE49-F238E27FC236}">
                    <a16:creationId xmlns:a16="http://schemas.microsoft.com/office/drawing/2014/main" id="{59528A56-4B7E-4366-AA45-11775A69C265}"/>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64" name="Group 63">
              <a:extLst>
                <a:ext uri="{FF2B5EF4-FFF2-40B4-BE49-F238E27FC236}">
                  <a16:creationId xmlns:a16="http://schemas.microsoft.com/office/drawing/2014/main" id="{74C1A3FB-D084-4FD1-914C-627576E03CF0}"/>
                </a:ext>
              </a:extLst>
            </p:cNvPr>
            <p:cNvGrpSpPr/>
            <p:nvPr/>
          </p:nvGrpSpPr>
          <p:grpSpPr>
            <a:xfrm rot="16200000">
              <a:off x="4246872" y="6041599"/>
              <a:ext cx="84217" cy="289253"/>
              <a:chOff x="666750" y="2236191"/>
              <a:chExt cx="137160" cy="471087"/>
            </a:xfrm>
          </p:grpSpPr>
          <p:sp>
            <p:nvSpPr>
              <p:cNvPr id="65" name="Oval 64">
                <a:extLst>
                  <a:ext uri="{FF2B5EF4-FFF2-40B4-BE49-F238E27FC236}">
                    <a16:creationId xmlns:a16="http://schemas.microsoft.com/office/drawing/2014/main" id="{6D12973D-7C39-4CD1-94C2-789332513738}"/>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6" name="Oval 65">
                <a:extLst>
                  <a:ext uri="{FF2B5EF4-FFF2-40B4-BE49-F238E27FC236}">
                    <a16:creationId xmlns:a16="http://schemas.microsoft.com/office/drawing/2014/main" id="{2616B782-A8C6-4B15-86A1-C37C03C13D7A}"/>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67" name="Rounded Rectangle 113">
                <a:extLst>
                  <a:ext uri="{FF2B5EF4-FFF2-40B4-BE49-F238E27FC236}">
                    <a16:creationId xmlns:a16="http://schemas.microsoft.com/office/drawing/2014/main" id="{92736629-C869-4A5C-B7DF-169129388B67}"/>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71" name="Rectangle 70">
            <a:extLst>
              <a:ext uri="{FF2B5EF4-FFF2-40B4-BE49-F238E27FC236}">
                <a16:creationId xmlns:a16="http://schemas.microsoft.com/office/drawing/2014/main" id="{25361EEF-2CFA-4606-8D8D-A9F288941174}"/>
              </a:ext>
            </a:extLst>
          </p:cNvPr>
          <p:cNvSpPr/>
          <p:nvPr/>
        </p:nvSpPr>
        <p:spPr>
          <a:xfrm rot="10800000" flipH="1">
            <a:off x="1880951" y="1046965"/>
            <a:ext cx="202621" cy="90520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72" name="Rounded Rectangle 54">
            <a:extLst>
              <a:ext uri="{FF2B5EF4-FFF2-40B4-BE49-F238E27FC236}">
                <a16:creationId xmlns:a16="http://schemas.microsoft.com/office/drawing/2014/main" id="{2D8BD646-F331-4014-BABB-54D533AC2997}"/>
              </a:ext>
            </a:extLst>
          </p:cNvPr>
          <p:cNvSpPr/>
          <p:nvPr/>
        </p:nvSpPr>
        <p:spPr>
          <a:xfrm flipH="1">
            <a:off x="2102622" y="4101201"/>
            <a:ext cx="3912086" cy="520590"/>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grpSp>
        <p:nvGrpSpPr>
          <p:cNvPr id="73" name="Group 72">
            <a:extLst>
              <a:ext uri="{FF2B5EF4-FFF2-40B4-BE49-F238E27FC236}">
                <a16:creationId xmlns:a16="http://schemas.microsoft.com/office/drawing/2014/main" id="{8826D6D7-65B7-441F-A5CC-A9A2CF99F90D}"/>
              </a:ext>
            </a:extLst>
          </p:cNvPr>
          <p:cNvGrpSpPr/>
          <p:nvPr/>
        </p:nvGrpSpPr>
        <p:grpSpPr>
          <a:xfrm flipH="1">
            <a:off x="1770562" y="1198074"/>
            <a:ext cx="294545" cy="527565"/>
            <a:chOff x="4144353" y="5853398"/>
            <a:chExt cx="289254" cy="374936"/>
          </a:xfrm>
          <a:effectLst/>
        </p:grpSpPr>
        <p:grpSp>
          <p:nvGrpSpPr>
            <p:cNvPr id="74" name="Group 73">
              <a:extLst>
                <a:ext uri="{FF2B5EF4-FFF2-40B4-BE49-F238E27FC236}">
                  <a16:creationId xmlns:a16="http://schemas.microsoft.com/office/drawing/2014/main" id="{8A1ADB77-1D41-4557-9566-CBCA0FD3D745}"/>
                </a:ext>
              </a:extLst>
            </p:cNvPr>
            <p:cNvGrpSpPr/>
            <p:nvPr/>
          </p:nvGrpSpPr>
          <p:grpSpPr>
            <a:xfrm rot="16200000">
              <a:off x="4246871" y="5750880"/>
              <a:ext cx="84217" cy="289253"/>
              <a:chOff x="666750" y="2236191"/>
              <a:chExt cx="137160" cy="471087"/>
            </a:xfrm>
          </p:grpSpPr>
          <p:sp>
            <p:nvSpPr>
              <p:cNvPr id="79" name="Oval 78">
                <a:extLst>
                  <a:ext uri="{FF2B5EF4-FFF2-40B4-BE49-F238E27FC236}">
                    <a16:creationId xmlns:a16="http://schemas.microsoft.com/office/drawing/2014/main" id="{81D614EB-9169-4987-89C7-16E583965CC2}"/>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0" name="Oval 79">
                <a:extLst>
                  <a:ext uri="{FF2B5EF4-FFF2-40B4-BE49-F238E27FC236}">
                    <a16:creationId xmlns:a16="http://schemas.microsoft.com/office/drawing/2014/main" id="{28D9280A-A65A-4CE0-BF17-098B675DBE82}"/>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81" name="Rounded Rectangle 116">
                <a:extLst>
                  <a:ext uri="{FF2B5EF4-FFF2-40B4-BE49-F238E27FC236}">
                    <a16:creationId xmlns:a16="http://schemas.microsoft.com/office/drawing/2014/main" id="{C18E661A-6018-42EE-B704-2CE78604EC6E}"/>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75" name="Group 74">
              <a:extLst>
                <a:ext uri="{FF2B5EF4-FFF2-40B4-BE49-F238E27FC236}">
                  <a16:creationId xmlns:a16="http://schemas.microsoft.com/office/drawing/2014/main" id="{0D62F5EE-6FEA-4E6B-82CC-49E095D239E2}"/>
                </a:ext>
              </a:extLst>
            </p:cNvPr>
            <p:cNvGrpSpPr/>
            <p:nvPr/>
          </p:nvGrpSpPr>
          <p:grpSpPr>
            <a:xfrm rot="16200000">
              <a:off x="4246872" y="6041599"/>
              <a:ext cx="84217" cy="289253"/>
              <a:chOff x="666750" y="2236191"/>
              <a:chExt cx="137160" cy="471087"/>
            </a:xfrm>
          </p:grpSpPr>
          <p:sp>
            <p:nvSpPr>
              <p:cNvPr id="76" name="Oval 75">
                <a:extLst>
                  <a:ext uri="{FF2B5EF4-FFF2-40B4-BE49-F238E27FC236}">
                    <a16:creationId xmlns:a16="http://schemas.microsoft.com/office/drawing/2014/main" id="{6B8ACC46-9F01-471B-8CE8-A4590098FCEC}"/>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77" name="Oval 76">
                <a:extLst>
                  <a:ext uri="{FF2B5EF4-FFF2-40B4-BE49-F238E27FC236}">
                    <a16:creationId xmlns:a16="http://schemas.microsoft.com/office/drawing/2014/main" id="{261FBC1A-B607-4232-B367-6197279A03DF}"/>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78" name="Rounded Rectangle 113">
                <a:extLst>
                  <a:ext uri="{FF2B5EF4-FFF2-40B4-BE49-F238E27FC236}">
                    <a16:creationId xmlns:a16="http://schemas.microsoft.com/office/drawing/2014/main" id="{B21DB76B-0F64-4FEE-8697-779AB0DBFE66}"/>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extLst>
      <p:ext uri="{BB962C8B-B14F-4D97-AF65-F5344CB8AC3E}">
        <p14:creationId xmlns:p14="http://schemas.microsoft.com/office/powerpoint/2010/main" val="303798008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4680" y="318896"/>
            <a:ext cx="5050790" cy="422275"/>
          </a:xfrm>
          <a:prstGeom prst="rect">
            <a:avLst/>
          </a:prstGeom>
        </p:spPr>
        <p:txBody>
          <a:bodyPr vert="horz" wrap="square" lIns="0" tIns="12700" rIns="0" bIns="0" rtlCol="0">
            <a:spAutoFit/>
          </a:bodyPr>
          <a:lstStyle/>
          <a:p>
            <a:pPr marL="12700">
              <a:lnSpc>
                <a:spcPct val="100000"/>
              </a:lnSpc>
              <a:spcBef>
                <a:spcPts val="100"/>
              </a:spcBef>
            </a:pPr>
            <a:r>
              <a:rPr sz="2600" spc="-5">
                <a:solidFill>
                  <a:srgbClr val="006FAC"/>
                </a:solidFill>
                <a:latin typeface="Verdana"/>
                <a:cs typeface="Verdana"/>
              </a:rPr>
              <a:t>General </a:t>
            </a:r>
            <a:r>
              <a:rPr sz="2600">
                <a:solidFill>
                  <a:srgbClr val="006FAC"/>
                </a:solidFill>
                <a:latin typeface="Verdana"/>
                <a:cs typeface="Verdana"/>
              </a:rPr>
              <a:t>Platform</a:t>
            </a:r>
            <a:r>
              <a:rPr sz="2600" spc="-80">
                <a:solidFill>
                  <a:srgbClr val="006FAC"/>
                </a:solidFill>
                <a:latin typeface="Verdana"/>
                <a:cs typeface="Verdana"/>
              </a:rPr>
              <a:t> </a:t>
            </a:r>
            <a:r>
              <a:rPr sz="2600">
                <a:solidFill>
                  <a:srgbClr val="006FAC"/>
                </a:solidFill>
                <a:latin typeface="Verdana"/>
                <a:cs typeface="Verdana"/>
              </a:rPr>
              <a:t>Optimization</a:t>
            </a:r>
            <a:endParaRPr sz="2600">
              <a:latin typeface="Verdana"/>
              <a:cs typeface="Verdana"/>
            </a:endParaRPr>
          </a:p>
        </p:txBody>
      </p:sp>
      <p:sp>
        <p:nvSpPr>
          <p:cNvPr id="5" name="object 5"/>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6" name="object 6"/>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7" name="object 7"/>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9" name="object 9"/>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11" name="object 11"/>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12" name="object 12"/>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13" name="object 13"/>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14" name="object 14"/>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16" name="object 16"/>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18" name="object 18"/>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19" name="object 19"/>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20" name="object 20"/>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21" name="object 21"/>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23" name="object 23"/>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24" name="object 24"/>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25" name="object 25"/>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26" name="object 26"/>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27" name="object 27"/>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sp>
        <p:nvSpPr>
          <p:cNvPr id="28" name="object 28"/>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29" name="object 29"/>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7</a:t>
            </a:fld>
            <a:endParaRPr sz="800">
              <a:latin typeface="Verdana"/>
              <a:cs typeface="Verdana"/>
            </a:endParaRPr>
          </a:p>
        </p:txBody>
      </p:sp>
      <p:sp>
        <p:nvSpPr>
          <p:cNvPr id="184" name="Rounded Rectangle 54">
            <a:extLst>
              <a:ext uri="{FF2B5EF4-FFF2-40B4-BE49-F238E27FC236}">
                <a16:creationId xmlns:a16="http://schemas.microsoft.com/office/drawing/2014/main" id="{844A1926-9760-4D38-993C-53A911238DBC}"/>
              </a:ext>
            </a:extLst>
          </p:cNvPr>
          <p:cNvSpPr/>
          <p:nvPr/>
        </p:nvSpPr>
        <p:spPr>
          <a:xfrm flipH="1">
            <a:off x="2066458" y="1038225"/>
            <a:ext cx="8512990" cy="94873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185" name="Rounded Rectangle 55">
            <a:extLst>
              <a:ext uri="{FF2B5EF4-FFF2-40B4-BE49-F238E27FC236}">
                <a16:creationId xmlns:a16="http://schemas.microsoft.com/office/drawing/2014/main" id="{F1EDDB08-5F28-4A81-ADB0-924B6FACF72C}"/>
              </a:ext>
            </a:extLst>
          </p:cNvPr>
          <p:cNvSpPr/>
          <p:nvPr/>
        </p:nvSpPr>
        <p:spPr>
          <a:xfrm flipH="1">
            <a:off x="483243" y="1051409"/>
            <a:ext cx="1373077" cy="914781"/>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186" name="Rounded Rectangle 54">
            <a:extLst>
              <a:ext uri="{FF2B5EF4-FFF2-40B4-BE49-F238E27FC236}">
                <a16:creationId xmlns:a16="http://schemas.microsoft.com/office/drawing/2014/main" id="{6971CB2E-F7D6-446A-BC5C-1774A13FA151}"/>
              </a:ext>
            </a:extLst>
          </p:cNvPr>
          <p:cNvSpPr/>
          <p:nvPr/>
        </p:nvSpPr>
        <p:spPr>
          <a:xfrm flipH="1">
            <a:off x="2066458" y="2111691"/>
            <a:ext cx="8512986" cy="187196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Hypercare (post go live support)</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Maintenance – Short term</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Application Maintenance Service – Long term</a:t>
            </a:r>
          </a:p>
        </p:txBody>
      </p:sp>
      <p:sp>
        <p:nvSpPr>
          <p:cNvPr id="187" name="Rounded Rectangle 54">
            <a:extLst>
              <a:ext uri="{FF2B5EF4-FFF2-40B4-BE49-F238E27FC236}">
                <a16:creationId xmlns:a16="http://schemas.microsoft.com/office/drawing/2014/main" id="{501357C5-BFDB-4DEF-8620-BAFD575340B9}"/>
              </a:ext>
            </a:extLst>
          </p:cNvPr>
          <p:cNvSpPr/>
          <p:nvPr/>
        </p:nvSpPr>
        <p:spPr>
          <a:xfrm flipH="1">
            <a:off x="2066457" y="5310876"/>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endParaRPr kumimoji="0" lang="en-IN" sz="1200" b="1" i="0" u="none" strike="noStrike" kern="0" cap="none" spc="0" normalizeH="0" baseline="0" noProof="0">
              <a:ln>
                <a:noFill/>
              </a:ln>
              <a:solidFill>
                <a:prstClr val="black"/>
              </a:solidFill>
              <a:effectLst/>
              <a:uLnTx/>
              <a:uFillTx/>
              <a:latin typeface="Verdana"/>
              <a:ea typeface="+mn-ea"/>
              <a:cs typeface="+mn-cs"/>
            </a:endParaRPr>
          </a:p>
        </p:txBody>
      </p:sp>
      <p:sp>
        <p:nvSpPr>
          <p:cNvPr id="188" name="Rounded Rectangle 55">
            <a:extLst>
              <a:ext uri="{FF2B5EF4-FFF2-40B4-BE49-F238E27FC236}">
                <a16:creationId xmlns:a16="http://schemas.microsoft.com/office/drawing/2014/main" id="{8F70FE8E-0DC4-4027-87AD-6900E57A9D8A}"/>
              </a:ext>
            </a:extLst>
          </p:cNvPr>
          <p:cNvSpPr/>
          <p:nvPr/>
        </p:nvSpPr>
        <p:spPr>
          <a:xfrm flipH="1">
            <a:off x="453640" y="5312995"/>
            <a:ext cx="1435608" cy="1115538"/>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189" name="Rectangle 188">
            <a:extLst>
              <a:ext uri="{FF2B5EF4-FFF2-40B4-BE49-F238E27FC236}">
                <a16:creationId xmlns:a16="http://schemas.microsoft.com/office/drawing/2014/main" id="{819A2BB9-4C5C-471D-B2C0-EFE1EF7D66F7}"/>
              </a:ext>
            </a:extLst>
          </p:cNvPr>
          <p:cNvSpPr/>
          <p:nvPr/>
        </p:nvSpPr>
        <p:spPr>
          <a:xfrm rot="10800000" flipH="1">
            <a:off x="1918020" y="5310872"/>
            <a:ext cx="28129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90" name="Group 189">
            <a:extLst>
              <a:ext uri="{FF2B5EF4-FFF2-40B4-BE49-F238E27FC236}">
                <a16:creationId xmlns:a16="http://schemas.microsoft.com/office/drawing/2014/main" id="{3FB55091-2551-43EA-9BA2-1E67358A9EDD}"/>
              </a:ext>
            </a:extLst>
          </p:cNvPr>
          <p:cNvGrpSpPr/>
          <p:nvPr/>
        </p:nvGrpSpPr>
        <p:grpSpPr>
          <a:xfrm flipH="1">
            <a:off x="1744516" y="5652074"/>
            <a:ext cx="330592" cy="409729"/>
            <a:chOff x="4144353" y="5853398"/>
            <a:chExt cx="289254" cy="374936"/>
          </a:xfrm>
          <a:effectLst/>
        </p:grpSpPr>
        <p:grpSp>
          <p:nvGrpSpPr>
            <p:cNvPr id="191" name="Group 190">
              <a:extLst>
                <a:ext uri="{FF2B5EF4-FFF2-40B4-BE49-F238E27FC236}">
                  <a16:creationId xmlns:a16="http://schemas.microsoft.com/office/drawing/2014/main" id="{BE10381C-66B1-465A-A6DC-E59E76FB7E83}"/>
                </a:ext>
              </a:extLst>
            </p:cNvPr>
            <p:cNvGrpSpPr/>
            <p:nvPr/>
          </p:nvGrpSpPr>
          <p:grpSpPr>
            <a:xfrm rot="16200000">
              <a:off x="4246871" y="5750880"/>
              <a:ext cx="84217" cy="289253"/>
              <a:chOff x="666750" y="2236191"/>
              <a:chExt cx="137160" cy="471087"/>
            </a:xfrm>
          </p:grpSpPr>
          <p:sp>
            <p:nvSpPr>
              <p:cNvPr id="196" name="Oval 195">
                <a:extLst>
                  <a:ext uri="{FF2B5EF4-FFF2-40B4-BE49-F238E27FC236}">
                    <a16:creationId xmlns:a16="http://schemas.microsoft.com/office/drawing/2014/main" id="{B56898ED-008C-44CB-AC75-4004190D5E40}"/>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97" name="Oval 196">
                <a:extLst>
                  <a:ext uri="{FF2B5EF4-FFF2-40B4-BE49-F238E27FC236}">
                    <a16:creationId xmlns:a16="http://schemas.microsoft.com/office/drawing/2014/main" id="{40463760-60EC-41C1-AA5F-3A99495C83DE}"/>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98" name="Rounded Rectangle 116">
                <a:extLst>
                  <a:ext uri="{FF2B5EF4-FFF2-40B4-BE49-F238E27FC236}">
                    <a16:creationId xmlns:a16="http://schemas.microsoft.com/office/drawing/2014/main" id="{D3BF1C45-D5FF-4968-8ED7-239B7A1D1832}"/>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92" name="Group 191">
              <a:extLst>
                <a:ext uri="{FF2B5EF4-FFF2-40B4-BE49-F238E27FC236}">
                  <a16:creationId xmlns:a16="http://schemas.microsoft.com/office/drawing/2014/main" id="{8DC8F083-F2DE-4311-BFB3-77EED2BF37D1}"/>
                </a:ext>
              </a:extLst>
            </p:cNvPr>
            <p:cNvGrpSpPr/>
            <p:nvPr/>
          </p:nvGrpSpPr>
          <p:grpSpPr>
            <a:xfrm rot="16200000">
              <a:off x="4246872" y="6041599"/>
              <a:ext cx="84217" cy="289253"/>
              <a:chOff x="666750" y="2236191"/>
              <a:chExt cx="137160" cy="471087"/>
            </a:xfrm>
          </p:grpSpPr>
          <p:sp>
            <p:nvSpPr>
              <p:cNvPr id="193" name="Oval 192">
                <a:extLst>
                  <a:ext uri="{FF2B5EF4-FFF2-40B4-BE49-F238E27FC236}">
                    <a16:creationId xmlns:a16="http://schemas.microsoft.com/office/drawing/2014/main" id="{D7E3BB40-BF99-4548-8D8B-60C9B2EDB35B}"/>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94" name="Oval 193">
                <a:extLst>
                  <a:ext uri="{FF2B5EF4-FFF2-40B4-BE49-F238E27FC236}">
                    <a16:creationId xmlns:a16="http://schemas.microsoft.com/office/drawing/2014/main" id="{4D617FEE-EA83-490E-BEF2-38864467915A}"/>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95" name="Rounded Rectangle 113">
                <a:extLst>
                  <a:ext uri="{FF2B5EF4-FFF2-40B4-BE49-F238E27FC236}">
                    <a16:creationId xmlns:a16="http://schemas.microsoft.com/office/drawing/2014/main" id="{69325EC9-228B-4C9E-A4B3-F1ACF86E2E6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199" name="Rounded Rectangle 54">
            <a:extLst>
              <a:ext uri="{FF2B5EF4-FFF2-40B4-BE49-F238E27FC236}">
                <a16:creationId xmlns:a16="http://schemas.microsoft.com/office/drawing/2014/main" id="{DF0C6349-9371-45B5-BA63-C7ADE3344B80}"/>
              </a:ext>
            </a:extLst>
          </p:cNvPr>
          <p:cNvSpPr/>
          <p:nvPr/>
        </p:nvSpPr>
        <p:spPr>
          <a:xfrm flipH="1">
            <a:off x="2083572" y="5310876"/>
            <a:ext cx="8495862" cy="1064132"/>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Improve usability</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nl-BE" sz="1200" b="0" i="0" u="none" strike="noStrike" kern="0" cap="none" spc="0" normalizeH="0" baseline="0" noProof="0">
              <a:ln>
                <a:noFill/>
              </a:ln>
              <a:solidFill>
                <a:prstClr val="black"/>
              </a:solidFill>
              <a:effectLst/>
              <a:uLnTx/>
              <a:uFillTx/>
              <a:latin typeface="Verdana"/>
              <a:ea typeface="+mn-ea"/>
              <a:cs typeface="+mn-cs"/>
            </a:endParaRP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200" name="Rounded Rectangle 55">
            <a:extLst>
              <a:ext uri="{FF2B5EF4-FFF2-40B4-BE49-F238E27FC236}">
                <a16:creationId xmlns:a16="http://schemas.microsoft.com/office/drawing/2014/main" id="{5C52C897-8E23-4976-AF3B-2E71C5F06D29}"/>
              </a:ext>
            </a:extLst>
          </p:cNvPr>
          <p:cNvSpPr/>
          <p:nvPr/>
        </p:nvSpPr>
        <p:spPr>
          <a:xfrm flipH="1">
            <a:off x="483238" y="2111691"/>
            <a:ext cx="1435608" cy="1871965"/>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201" name="Rectangle 200">
            <a:extLst>
              <a:ext uri="{FF2B5EF4-FFF2-40B4-BE49-F238E27FC236}">
                <a16:creationId xmlns:a16="http://schemas.microsoft.com/office/drawing/2014/main" id="{AB05C5AB-3D4D-482E-9336-40A8D94319E8}"/>
              </a:ext>
            </a:extLst>
          </p:cNvPr>
          <p:cNvSpPr/>
          <p:nvPr/>
        </p:nvSpPr>
        <p:spPr>
          <a:xfrm rot="10800000" flipH="1">
            <a:off x="1943617" y="1038224"/>
            <a:ext cx="367796" cy="93920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202" name="Rectangle 201">
            <a:extLst>
              <a:ext uri="{FF2B5EF4-FFF2-40B4-BE49-F238E27FC236}">
                <a16:creationId xmlns:a16="http://schemas.microsoft.com/office/drawing/2014/main" id="{8B8725D2-9DF5-48B6-9338-142FB09648FA}"/>
              </a:ext>
            </a:extLst>
          </p:cNvPr>
          <p:cNvSpPr/>
          <p:nvPr/>
        </p:nvSpPr>
        <p:spPr>
          <a:xfrm rot="10800000" flipH="1">
            <a:off x="1880951" y="2108096"/>
            <a:ext cx="367796" cy="187196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203" name="Group 202">
            <a:extLst>
              <a:ext uri="{FF2B5EF4-FFF2-40B4-BE49-F238E27FC236}">
                <a16:creationId xmlns:a16="http://schemas.microsoft.com/office/drawing/2014/main" id="{0519EFAD-76F4-44E9-BE72-8B43A286B3D5}"/>
              </a:ext>
            </a:extLst>
          </p:cNvPr>
          <p:cNvGrpSpPr/>
          <p:nvPr/>
        </p:nvGrpSpPr>
        <p:grpSpPr>
          <a:xfrm rot="5400000" flipH="1">
            <a:off x="1862039" y="2650181"/>
            <a:ext cx="82306" cy="294544"/>
            <a:chOff x="666750" y="2236191"/>
            <a:chExt cx="137160" cy="471087"/>
          </a:xfrm>
          <a:effectLst/>
        </p:grpSpPr>
        <p:sp>
          <p:nvSpPr>
            <p:cNvPr id="204" name="Oval 203">
              <a:extLst>
                <a:ext uri="{FF2B5EF4-FFF2-40B4-BE49-F238E27FC236}">
                  <a16:creationId xmlns:a16="http://schemas.microsoft.com/office/drawing/2014/main" id="{CEBCD0DF-858A-4395-B5F5-751A282A870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05" name="Oval 204">
              <a:extLst>
                <a:ext uri="{FF2B5EF4-FFF2-40B4-BE49-F238E27FC236}">
                  <a16:creationId xmlns:a16="http://schemas.microsoft.com/office/drawing/2014/main" id="{85DA3170-D7CD-44FE-9557-DCF762929EE9}"/>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06" name="Rounded Rectangle 116">
              <a:extLst>
                <a:ext uri="{FF2B5EF4-FFF2-40B4-BE49-F238E27FC236}">
                  <a16:creationId xmlns:a16="http://schemas.microsoft.com/office/drawing/2014/main" id="{C404DD1F-2A0C-49EA-BDA6-0A62F79E225A}"/>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207" name="Group 206">
            <a:extLst>
              <a:ext uri="{FF2B5EF4-FFF2-40B4-BE49-F238E27FC236}">
                <a16:creationId xmlns:a16="http://schemas.microsoft.com/office/drawing/2014/main" id="{453DFD5C-BAF4-4C63-859B-C00429D77FC7}"/>
              </a:ext>
            </a:extLst>
          </p:cNvPr>
          <p:cNvGrpSpPr/>
          <p:nvPr/>
        </p:nvGrpSpPr>
        <p:grpSpPr>
          <a:xfrm rot="5400000" flipH="1">
            <a:off x="1862037" y="2967877"/>
            <a:ext cx="82306" cy="294544"/>
            <a:chOff x="666750" y="2236191"/>
            <a:chExt cx="137160" cy="471087"/>
          </a:xfrm>
          <a:effectLst/>
        </p:grpSpPr>
        <p:sp>
          <p:nvSpPr>
            <p:cNvPr id="208" name="Oval 207">
              <a:extLst>
                <a:ext uri="{FF2B5EF4-FFF2-40B4-BE49-F238E27FC236}">
                  <a16:creationId xmlns:a16="http://schemas.microsoft.com/office/drawing/2014/main" id="{EA3C6B20-0379-4907-B39D-7769416B346C}"/>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09" name="Oval 208">
              <a:extLst>
                <a:ext uri="{FF2B5EF4-FFF2-40B4-BE49-F238E27FC236}">
                  <a16:creationId xmlns:a16="http://schemas.microsoft.com/office/drawing/2014/main" id="{86FEBA4F-9DA1-4831-82BC-2F98C43D1B62}"/>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10" name="Rounded Rectangle 113">
              <a:extLst>
                <a:ext uri="{FF2B5EF4-FFF2-40B4-BE49-F238E27FC236}">
                  <a16:creationId xmlns:a16="http://schemas.microsoft.com/office/drawing/2014/main" id="{BFE3505E-97ED-41D1-AE91-20D88C918E7F}"/>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sp>
        <p:nvSpPr>
          <p:cNvPr id="211" name="Rounded Rectangle 54">
            <a:extLst>
              <a:ext uri="{FF2B5EF4-FFF2-40B4-BE49-F238E27FC236}">
                <a16:creationId xmlns:a16="http://schemas.microsoft.com/office/drawing/2014/main" id="{0EAF8B88-F4D4-423C-BBA9-F760D8F00526}"/>
              </a:ext>
            </a:extLst>
          </p:cNvPr>
          <p:cNvSpPr/>
          <p:nvPr/>
        </p:nvSpPr>
        <p:spPr>
          <a:xfrm flipH="1">
            <a:off x="2066454" y="1047751"/>
            <a:ext cx="8512989" cy="8478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Price and policy page enhancements</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Enhance custom page currently used used to manage Price and the different discount/increase of price</a:t>
            </a:r>
            <a:endParaRPr kumimoji="0" lang="en-US" sz="1200" b="1"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endParaRPr>
          </a:p>
        </p:txBody>
      </p:sp>
      <p:sp>
        <p:nvSpPr>
          <p:cNvPr id="212" name="Rounded Rectangle 54">
            <a:extLst>
              <a:ext uri="{FF2B5EF4-FFF2-40B4-BE49-F238E27FC236}">
                <a16:creationId xmlns:a16="http://schemas.microsoft.com/office/drawing/2014/main" id="{2F5EAE51-6E26-4C9D-9F89-815E36140003}"/>
              </a:ext>
            </a:extLst>
          </p:cNvPr>
          <p:cNvSpPr/>
          <p:nvPr/>
        </p:nvSpPr>
        <p:spPr>
          <a:xfrm flipH="1">
            <a:off x="2041157" y="2108852"/>
            <a:ext cx="8512984" cy="1878400"/>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 </a:t>
            </a:r>
          </a:p>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Capgemini team will enhance the current page in order to</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Adapt insertion with the entity modification as per slide 22</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Make it full responsive </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Verdana"/>
                <a:ea typeface="+mn-ea"/>
                <a:cs typeface="+mn-cs"/>
                <a:sym typeface="Wingdings" panose="05000000000000000000" pitchFamily="2" charset="2"/>
              </a:rPr>
              <a:t>Small enhancements (e.g.: Default year setting, possibility to navigate through months during saving insertion, etc.)</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p:txBody>
      </p:sp>
      <p:sp>
        <p:nvSpPr>
          <p:cNvPr id="213" name="Rounded Rectangle 54">
            <a:extLst>
              <a:ext uri="{FF2B5EF4-FFF2-40B4-BE49-F238E27FC236}">
                <a16:creationId xmlns:a16="http://schemas.microsoft.com/office/drawing/2014/main" id="{226F727F-0DCD-4163-AFFE-C155F5B66004}"/>
              </a:ext>
            </a:extLst>
          </p:cNvPr>
          <p:cNvSpPr/>
          <p:nvPr/>
        </p:nvSpPr>
        <p:spPr>
          <a:xfrm flipH="1">
            <a:off x="2085507" y="4101201"/>
            <a:ext cx="8512977" cy="111553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100"/>
              </a:spcAft>
              <a:buClr>
                <a:srgbClr val="0070AD"/>
              </a:buClr>
              <a:buSzTx/>
              <a:buFont typeface="Wingdings" panose="05000000000000000000" pitchFamily="2" charset="2"/>
              <a:buChar char="§"/>
              <a:tabLst/>
              <a:defRPr/>
            </a:pPr>
            <a:r>
              <a:rPr kumimoji="0" lang="en-IN" sz="1200" b="0" i="0" u="none" strike="noStrike" kern="0" cap="none" spc="0" normalizeH="0" baseline="0" noProof="0">
                <a:ln>
                  <a:noFill/>
                </a:ln>
                <a:solidFill>
                  <a:prstClr val="black"/>
                </a:solidFill>
                <a:effectLst/>
                <a:uLnTx/>
                <a:uFillTx/>
                <a:latin typeface="Verdana"/>
                <a:ea typeface="+mn-ea"/>
                <a:cs typeface="+mn-cs"/>
              </a:rPr>
              <a:t>Enhancements that might be required after new KPIs definition are not included here and will have to be estimated as change requests after the discovery phase</a:t>
            </a:r>
          </a:p>
        </p:txBody>
      </p:sp>
      <p:sp>
        <p:nvSpPr>
          <p:cNvPr id="214" name="Rounded Rectangle 55">
            <a:extLst>
              <a:ext uri="{FF2B5EF4-FFF2-40B4-BE49-F238E27FC236}">
                <a16:creationId xmlns:a16="http://schemas.microsoft.com/office/drawing/2014/main" id="{29477560-ED26-4B77-8BAA-1525B6614CA5}"/>
              </a:ext>
            </a:extLst>
          </p:cNvPr>
          <p:cNvSpPr/>
          <p:nvPr/>
        </p:nvSpPr>
        <p:spPr>
          <a:xfrm flipH="1">
            <a:off x="472690" y="4103320"/>
            <a:ext cx="1435608" cy="1115538"/>
          </a:xfrm>
          <a:prstGeom prst="rect">
            <a:avLst/>
          </a:prstGeom>
          <a:solidFill>
            <a:srgbClr val="2B143D">
              <a:lumMod val="75000"/>
              <a:lumOff val="25000"/>
            </a:srgbClr>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Estimation Drivers</a:t>
            </a:r>
          </a:p>
        </p:txBody>
      </p:sp>
      <p:sp>
        <p:nvSpPr>
          <p:cNvPr id="215" name="Rectangle 214">
            <a:extLst>
              <a:ext uri="{FF2B5EF4-FFF2-40B4-BE49-F238E27FC236}">
                <a16:creationId xmlns:a16="http://schemas.microsoft.com/office/drawing/2014/main" id="{442EDD03-AF77-46FD-B169-90C00D9989C5}"/>
              </a:ext>
            </a:extLst>
          </p:cNvPr>
          <p:cNvSpPr/>
          <p:nvPr/>
        </p:nvSpPr>
        <p:spPr>
          <a:xfrm rot="10800000" flipH="1">
            <a:off x="1937070" y="4101195"/>
            <a:ext cx="185266" cy="1115537"/>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216" name="Group 215">
            <a:extLst>
              <a:ext uri="{FF2B5EF4-FFF2-40B4-BE49-F238E27FC236}">
                <a16:creationId xmlns:a16="http://schemas.microsoft.com/office/drawing/2014/main" id="{4E568777-37B3-414B-9F24-5ACC82BDA60D}"/>
              </a:ext>
            </a:extLst>
          </p:cNvPr>
          <p:cNvGrpSpPr/>
          <p:nvPr/>
        </p:nvGrpSpPr>
        <p:grpSpPr>
          <a:xfrm flipH="1">
            <a:off x="1763566" y="4442399"/>
            <a:ext cx="330592" cy="409729"/>
            <a:chOff x="4144353" y="5853398"/>
            <a:chExt cx="289254" cy="374936"/>
          </a:xfrm>
          <a:effectLst/>
        </p:grpSpPr>
        <p:grpSp>
          <p:nvGrpSpPr>
            <p:cNvPr id="217" name="Group 216">
              <a:extLst>
                <a:ext uri="{FF2B5EF4-FFF2-40B4-BE49-F238E27FC236}">
                  <a16:creationId xmlns:a16="http://schemas.microsoft.com/office/drawing/2014/main" id="{89C62409-56A7-4E05-BF93-E28E889BD966}"/>
                </a:ext>
              </a:extLst>
            </p:cNvPr>
            <p:cNvGrpSpPr/>
            <p:nvPr/>
          </p:nvGrpSpPr>
          <p:grpSpPr>
            <a:xfrm rot="16200000">
              <a:off x="4246871" y="5750880"/>
              <a:ext cx="84217" cy="289253"/>
              <a:chOff x="666750" y="2236191"/>
              <a:chExt cx="137160" cy="471087"/>
            </a:xfrm>
          </p:grpSpPr>
          <p:sp>
            <p:nvSpPr>
              <p:cNvPr id="222" name="Oval 221">
                <a:extLst>
                  <a:ext uri="{FF2B5EF4-FFF2-40B4-BE49-F238E27FC236}">
                    <a16:creationId xmlns:a16="http://schemas.microsoft.com/office/drawing/2014/main" id="{16597995-423E-4F48-BA5F-A1EE14782C91}"/>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23" name="Oval 222">
                <a:extLst>
                  <a:ext uri="{FF2B5EF4-FFF2-40B4-BE49-F238E27FC236}">
                    <a16:creationId xmlns:a16="http://schemas.microsoft.com/office/drawing/2014/main" id="{5896E5E6-C169-4DC2-AB37-04F150101C1F}"/>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24" name="Rounded Rectangle 116">
                <a:extLst>
                  <a:ext uri="{FF2B5EF4-FFF2-40B4-BE49-F238E27FC236}">
                    <a16:creationId xmlns:a16="http://schemas.microsoft.com/office/drawing/2014/main" id="{190B4ED6-7D9E-448E-847D-75FF9157CC7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218" name="Group 217">
              <a:extLst>
                <a:ext uri="{FF2B5EF4-FFF2-40B4-BE49-F238E27FC236}">
                  <a16:creationId xmlns:a16="http://schemas.microsoft.com/office/drawing/2014/main" id="{374948EB-A27A-46ED-80C9-FB4BFEB6E857}"/>
                </a:ext>
              </a:extLst>
            </p:cNvPr>
            <p:cNvGrpSpPr/>
            <p:nvPr/>
          </p:nvGrpSpPr>
          <p:grpSpPr>
            <a:xfrm rot="16200000">
              <a:off x="4246872" y="6041599"/>
              <a:ext cx="84217" cy="289253"/>
              <a:chOff x="666750" y="2236191"/>
              <a:chExt cx="137160" cy="471087"/>
            </a:xfrm>
          </p:grpSpPr>
          <p:sp>
            <p:nvSpPr>
              <p:cNvPr id="219" name="Oval 218">
                <a:extLst>
                  <a:ext uri="{FF2B5EF4-FFF2-40B4-BE49-F238E27FC236}">
                    <a16:creationId xmlns:a16="http://schemas.microsoft.com/office/drawing/2014/main" id="{CABACAE3-D93A-4237-BC30-5AF6C2CED175}"/>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20" name="Oval 219">
                <a:extLst>
                  <a:ext uri="{FF2B5EF4-FFF2-40B4-BE49-F238E27FC236}">
                    <a16:creationId xmlns:a16="http://schemas.microsoft.com/office/drawing/2014/main" id="{B2CAB590-E4EF-4138-9DF2-A2DA5CD43427}"/>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21" name="Rounded Rectangle 113">
                <a:extLst>
                  <a:ext uri="{FF2B5EF4-FFF2-40B4-BE49-F238E27FC236}">
                    <a16:creationId xmlns:a16="http://schemas.microsoft.com/office/drawing/2014/main" id="{5EDB2C59-B496-4464-ADDC-66FF326486A9}"/>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225" name="Rectangle 224">
            <a:extLst>
              <a:ext uri="{FF2B5EF4-FFF2-40B4-BE49-F238E27FC236}">
                <a16:creationId xmlns:a16="http://schemas.microsoft.com/office/drawing/2014/main" id="{3270ABA6-BC2A-4BD8-8ADA-EFA2EFC47D40}"/>
              </a:ext>
            </a:extLst>
          </p:cNvPr>
          <p:cNvSpPr/>
          <p:nvPr/>
        </p:nvSpPr>
        <p:spPr>
          <a:xfrm rot="10800000" flipH="1">
            <a:off x="1880951" y="1046965"/>
            <a:ext cx="202621" cy="905205"/>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226" name="Rounded Rectangle 54">
            <a:extLst>
              <a:ext uri="{FF2B5EF4-FFF2-40B4-BE49-F238E27FC236}">
                <a16:creationId xmlns:a16="http://schemas.microsoft.com/office/drawing/2014/main" id="{6D239DA0-CD44-42A8-98DA-935BF2B16C59}"/>
              </a:ext>
            </a:extLst>
          </p:cNvPr>
          <p:cNvSpPr/>
          <p:nvPr/>
        </p:nvSpPr>
        <p:spPr>
          <a:xfrm flipH="1">
            <a:off x="2102622" y="4101201"/>
            <a:ext cx="3912086" cy="520590"/>
          </a:xfrm>
          <a:prstGeom prst="rect">
            <a:avLst/>
          </a:prstGeom>
          <a:no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grpSp>
        <p:nvGrpSpPr>
          <p:cNvPr id="227" name="Group 226">
            <a:extLst>
              <a:ext uri="{FF2B5EF4-FFF2-40B4-BE49-F238E27FC236}">
                <a16:creationId xmlns:a16="http://schemas.microsoft.com/office/drawing/2014/main" id="{0D9B874B-E2EC-4362-8C28-518FCB7DB385}"/>
              </a:ext>
            </a:extLst>
          </p:cNvPr>
          <p:cNvGrpSpPr/>
          <p:nvPr/>
        </p:nvGrpSpPr>
        <p:grpSpPr>
          <a:xfrm flipH="1">
            <a:off x="1770562" y="1198074"/>
            <a:ext cx="294545" cy="527565"/>
            <a:chOff x="4144353" y="5853398"/>
            <a:chExt cx="289254" cy="374936"/>
          </a:xfrm>
          <a:effectLst/>
        </p:grpSpPr>
        <p:grpSp>
          <p:nvGrpSpPr>
            <p:cNvPr id="228" name="Group 227">
              <a:extLst>
                <a:ext uri="{FF2B5EF4-FFF2-40B4-BE49-F238E27FC236}">
                  <a16:creationId xmlns:a16="http://schemas.microsoft.com/office/drawing/2014/main" id="{918364AB-9FE8-424C-9931-00F9FA525ABF}"/>
                </a:ext>
              </a:extLst>
            </p:cNvPr>
            <p:cNvGrpSpPr/>
            <p:nvPr/>
          </p:nvGrpSpPr>
          <p:grpSpPr>
            <a:xfrm rot="16200000">
              <a:off x="4246871" y="5750880"/>
              <a:ext cx="84217" cy="289253"/>
              <a:chOff x="666750" y="2236191"/>
              <a:chExt cx="137160" cy="471087"/>
            </a:xfrm>
          </p:grpSpPr>
          <p:sp>
            <p:nvSpPr>
              <p:cNvPr id="233" name="Oval 232">
                <a:extLst>
                  <a:ext uri="{FF2B5EF4-FFF2-40B4-BE49-F238E27FC236}">
                    <a16:creationId xmlns:a16="http://schemas.microsoft.com/office/drawing/2014/main" id="{A953D545-DEE3-41FB-909E-3C082164B6C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34" name="Oval 233">
                <a:extLst>
                  <a:ext uri="{FF2B5EF4-FFF2-40B4-BE49-F238E27FC236}">
                    <a16:creationId xmlns:a16="http://schemas.microsoft.com/office/drawing/2014/main" id="{B42301E0-3E5F-4B3A-86F5-61904C868E18}"/>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35" name="Rounded Rectangle 116">
                <a:extLst>
                  <a:ext uri="{FF2B5EF4-FFF2-40B4-BE49-F238E27FC236}">
                    <a16:creationId xmlns:a16="http://schemas.microsoft.com/office/drawing/2014/main" id="{113EEA3F-73D6-4078-A35F-B8831C675291}"/>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229" name="Group 228">
              <a:extLst>
                <a:ext uri="{FF2B5EF4-FFF2-40B4-BE49-F238E27FC236}">
                  <a16:creationId xmlns:a16="http://schemas.microsoft.com/office/drawing/2014/main" id="{A4B08B06-7267-42E4-8814-8C3E5539F644}"/>
                </a:ext>
              </a:extLst>
            </p:cNvPr>
            <p:cNvGrpSpPr/>
            <p:nvPr/>
          </p:nvGrpSpPr>
          <p:grpSpPr>
            <a:xfrm rot="16200000">
              <a:off x="4246872" y="6041599"/>
              <a:ext cx="84217" cy="289253"/>
              <a:chOff x="666750" y="2236191"/>
              <a:chExt cx="137160" cy="471087"/>
            </a:xfrm>
          </p:grpSpPr>
          <p:sp>
            <p:nvSpPr>
              <p:cNvPr id="230" name="Oval 229">
                <a:extLst>
                  <a:ext uri="{FF2B5EF4-FFF2-40B4-BE49-F238E27FC236}">
                    <a16:creationId xmlns:a16="http://schemas.microsoft.com/office/drawing/2014/main" id="{6D1FFA22-0DBD-4A92-8713-F0FC4D8EEA0E}"/>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31" name="Oval 230">
                <a:extLst>
                  <a:ext uri="{FF2B5EF4-FFF2-40B4-BE49-F238E27FC236}">
                    <a16:creationId xmlns:a16="http://schemas.microsoft.com/office/drawing/2014/main" id="{9979E9DA-D4CA-4912-88C7-159B65DB3DD8}"/>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232" name="Rounded Rectangle 113">
                <a:extLst>
                  <a:ext uri="{FF2B5EF4-FFF2-40B4-BE49-F238E27FC236}">
                    <a16:creationId xmlns:a16="http://schemas.microsoft.com/office/drawing/2014/main" id="{CB9A6E77-410E-451A-A2C1-2DD2136A3B5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extLst>
      <p:ext uri="{BB962C8B-B14F-4D97-AF65-F5344CB8AC3E}">
        <p14:creationId xmlns:p14="http://schemas.microsoft.com/office/powerpoint/2010/main" val="20202912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2" name="object 12"/>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8</a:t>
            </a:fld>
            <a:endParaRPr sz="800">
              <a:latin typeface="Verdana"/>
              <a:cs typeface="Verdana"/>
            </a:endParaRPr>
          </a:p>
        </p:txBody>
      </p:sp>
      <p:sp>
        <p:nvSpPr>
          <p:cNvPr id="10" name="object 10"/>
          <p:cNvSpPr txBox="1">
            <a:spLocks noGrp="1"/>
          </p:cNvSpPr>
          <p:nvPr>
            <p:ph type="title"/>
          </p:nvPr>
        </p:nvSpPr>
        <p:spPr>
          <a:xfrm>
            <a:off x="214680" y="318896"/>
            <a:ext cx="8714740" cy="422275"/>
          </a:xfrm>
          <a:prstGeom prst="rect">
            <a:avLst/>
          </a:prstGeom>
        </p:spPr>
        <p:txBody>
          <a:bodyPr vert="horz" wrap="square" lIns="0" tIns="12700" rIns="0" bIns="0" rtlCol="0">
            <a:spAutoFit/>
          </a:bodyPr>
          <a:lstStyle/>
          <a:p>
            <a:pPr marL="12700">
              <a:lnSpc>
                <a:spcPct val="100000"/>
              </a:lnSpc>
              <a:spcBef>
                <a:spcPts val="100"/>
              </a:spcBef>
            </a:pPr>
            <a:r>
              <a:rPr lang="it-IT" sz="2600" spc="-5"/>
              <a:t>General Platform </a:t>
            </a:r>
            <a:r>
              <a:rPr lang="it-IT" sz="2600" spc="-5" err="1"/>
              <a:t>Optimization</a:t>
            </a:r>
            <a:endParaRPr sz="2600">
              <a:latin typeface="Verdana"/>
              <a:cs typeface="Verdana"/>
            </a:endParaRPr>
          </a:p>
        </p:txBody>
      </p:sp>
      <p:sp>
        <p:nvSpPr>
          <p:cNvPr id="13" name="Rounded Rectangle 54">
            <a:extLst>
              <a:ext uri="{FF2B5EF4-FFF2-40B4-BE49-F238E27FC236}">
                <a16:creationId xmlns:a16="http://schemas.microsoft.com/office/drawing/2014/main" id="{D4CCE356-4BCF-4C30-99EC-B9C9D6616B03}"/>
              </a:ext>
            </a:extLst>
          </p:cNvPr>
          <p:cNvSpPr/>
          <p:nvPr/>
        </p:nvSpPr>
        <p:spPr>
          <a:xfrm flipH="1">
            <a:off x="2066458" y="1038225"/>
            <a:ext cx="8512990" cy="959699"/>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14" name="Rounded Rectangle 55">
            <a:extLst>
              <a:ext uri="{FF2B5EF4-FFF2-40B4-BE49-F238E27FC236}">
                <a16:creationId xmlns:a16="http://schemas.microsoft.com/office/drawing/2014/main" id="{798E6C2C-F6BB-4C38-BCB2-05972BBBF234}"/>
              </a:ext>
            </a:extLst>
          </p:cNvPr>
          <p:cNvSpPr/>
          <p:nvPr/>
        </p:nvSpPr>
        <p:spPr>
          <a:xfrm flipH="1">
            <a:off x="483242" y="1051409"/>
            <a:ext cx="1373077" cy="2183633"/>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15" name="Rounded Rectangle 55">
            <a:extLst>
              <a:ext uri="{FF2B5EF4-FFF2-40B4-BE49-F238E27FC236}">
                <a16:creationId xmlns:a16="http://schemas.microsoft.com/office/drawing/2014/main" id="{E0573C12-D6D8-4D37-B963-D6C335F61EC6}"/>
              </a:ext>
            </a:extLst>
          </p:cNvPr>
          <p:cNvSpPr/>
          <p:nvPr/>
        </p:nvSpPr>
        <p:spPr>
          <a:xfrm flipH="1">
            <a:off x="453897" y="5698091"/>
            <a:ext cx="1413003" cy="852150"/>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16" name="Rounded Rectangle 55">
            <a:extLst>
              <a:ext uri="{FF2B5EF4-FFF2-40B4-BE49-F238E27FC236}">
                <a16:creationId xmlns:a16="http://schemas.microsoft.com/office/drawing/2014/main" id="{2BC65CC5-9140-407F-8686-B8851978D831}"/>
              </a:ext>
            </a:extLst>
          </p:cNvPr>
          <p:cNvSpPr/>
          <p:nvPr/>
        </p:nvSpPr>
        <p:spPr>
          <a:xfrm flipH="1">
            <a:off x="483238" y="3283266"/>
            <a:ext cx="1371141" cy="2366601"/>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17" name="Rectangle 16">
            <a:extLst>
              <a:ext uri="{FF2B5EF4-FFF2-40B4-BE49-F238E27FC236}">
                <a16:creationId xmlns:a16="http://schemas.microsoft.com/office/drawing/2014/main" id="{0C8A3481-41CF-4A19-9969-7A226228DE90}"/>
              </a:ext>
            </a:extLst>
          </p:cNvPr>
          <p:cNvSpPr/>
          <p:nvPr/>
        </p:nvSpPr>
        <p:spPr>
          <a:xfrm rot="10800000" flipH="1">
            <a:off x="1943617" y="1038224"/>
            <a:ext cx="367796" cy="93920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18" name="Rounded Rectangle 54">
            <a:extLst>
              <a:ext uri="{FF2B5EF4-FFF2-40B4-BE49-F238E27FC236}">
                <a16:creationId xmlns:a16="http://schemas.microsoft.com/office/drawing/2014/main" id="{AB8DF158-A6A2-47B3-B517-28DAA6CC8145}"/>
              </a:ext>
            </a:extLst>
          </p:cNvPr>
          <p:cNvSpPr/>
          <p:nvPr/>
        </p:nvSpPr>
        <p:spPr>
          <a:xfrm flipH="1">
            <a:off x="2066454" y="1047751"/>
            <a:ext cx="8512989" cy="8478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Review Einstein Analytics Dataflow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Leveraging on Basket Datasets for Planning Statuses and therefore elaborate only new data for later append </a:t>
            </a: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0D1B4FD0-E405-40DA-B59F-6583F4C5DE97}"/>
              </a:ext>
            </a:extLst>
          </p:cNvPr>
          <p:cNvSpPr/>
          <p:nvPr/>
        </p:nvSpPr>
        <p:spPr>
          <a:xfrm>
            <a:off x="1938240" y="2086605"/>
            <a:ext cx="2767110" cy="300217"/>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Verdana"/>
                <a:ea typeface="+mn-ea"/>
                <a:cs typeface="+mn-cs"/>
              </a:rPr>
              <a:t>ZERO values</a:t>
            </a:r>
          </a:p>
        </p:txBody>
      </p:sp>
      <p:sp>
        <p:nvSpPr>
          <p:cNvPr id="20" name="Rectangle 19">
            <a:extLst>
              <a:ext uri="{FF2B5EF4-FFF2-40B4-BE49-F238E27FC236}">
                <a16:creationId xmlns:a16="http://schemas.microsoft.com/office/drawing/2014/main" id="{26CDC8D8-6FDB-4BBA-858E-B5D5D5B8DBF8}"/>
              </a:ext>
            </a:extLst>
          </p:cNvPr>
          <p:cNvSpPr/>
          <p:nvPr/>
        </p:nvSpPr>
        <p:spPr>
          <a:xfrm>
            <a:off x="1938241" y="2386822"/>
            <a:ext cx="2767110" cy="4148094"/>
          </a:xfrm>
          <a:prstGeom prst="rect">
            <a:avLst/>
          </a:prstGeom>
          <a:solidFill>
            <a:srgbClr val="FFFFFF"/>
          </a:solidFill>
          <a:ln w="12700" cap="flat" cmpd="sng" algn="ctr">
            <a:solidFill>
              <a:srgbClr val="FFFFFF">
                <a:lumMod val="75000"/>
              </a:srgbClr>
            </a:solidFill>
            <a:prstDash val="solid"/>
            <a:miter lim="800000"/>
          </a:ln>
          <a:effectLst/>
        </p:spPr>
        <p:txBody>
          <a:bodyPr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Verdana"/>
              <a:ea typeface="+mn-ea"/>
              <a:cs typeface="+mn-cs"/>
            </a:endParaRPr>
          </a:p>
        </p:txBody>
      </p:sp>
      <p:sp>
        <p:nvSpPr>
          <p:cNvPr id="21" name="Text Placeholder 2">
            <a:extLst>
              <a:ext uri="{FF2B5EF4-FFF2-40B4-BE49-F238E27FC236}">
                <a16:creationId xmlns:a16="http://schemas.microsoft.com/office/drawing/2014/main" id="{270135A1-8281-4B1A-8861-47369E334BA2}"/>
              </a:ext>
            </a:extLst>
          </p:cNvPr>
          <p:cNvSpPr txBox="1">
            <a:spLocks/>
          </p:cNvSpPr>
          <p:nvPr/>
        </p:nvSpPr>
        <p:spPr>
          <a:xfrm>
            <a:off x="2034812" y="2556904"/>
            <a:ext cx="2565764" cy="3893374"/>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pPr>
            <a:r>
              <a:rPr lang="en-GB" sz="1100">
                <a:solidFill>
                  <a:prstClr val="black"/>
                </a:solidFill>
                <a:latin typeface="Verdana"/>
              </a:rPr>
              <a:t>Salesforce recommends to avoid creating records containing ZERO values. </a:t>
            </a:r>
          </a:p>
          <a:p>
            <a:pPr algn="just">
              <a:lnSpc>
                <a:spcPct val="100000"/>
              </a:lnSpc>
              <a:spcBef>
                <a:spcPts val="0"/>
              </a:spcBef>
            </a:pPr>
            <a:endParaRPr lang="en-GB" sz="1100" b="1">
              <a:solidFill>
                <a:srgbClr val="0070AD"/>
              </a:solidFill>
              <a:latin typeface="Verdana"/>
            </a:endParaRPr>
          </a:p>
          <a:p>
            <a:pPr algn="just">
              <a:lnSpc>
                <a:spcPct val="100000"/>
              </a:lnSpc>
              <a:spcBef>
                <a:spcPts val="0"/>
              </a:spcBef>
            </a:pPr>
            <a:br>
              <a:rPr lang="en-GB" sz="1100" i="1">
                <a:solidFill>
                  <a:prstClr val="black">
                    <a:lumMod val="65000"/>
                    <a:lumOff val="35000"/>
                  </a:prstClr>
                </a:solidFill>
                <a:latin typeface="Verdana"/>
              </a:rPr>
            </a:br>
            <a:r>
              <a:rPr lang="en-GB" sz="1100">
                <a:solidFill>
                  <a:prstClr val="black"/>
                </a:solidFill>
                <a:latin typeface="Verdana"/>
              </a:rPr>
              <a:t>We would need to check/update existing EA implementation to make sure everything is still working as designed after removing the ZERO values.</a:t>
            </a: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br>
              <a:rPr lang="en-GB" sz="1100">
                <a:solidFill>
                  <a:prstClr val="black"/>
                </a:solidFill>
                <a:latin typeface="Verdana"/>
              </a:rPr>
            </a:br>
            <a:endParaRPr lang="en-GB" sz="1100">
              <a:solidFill>
                <a:prstClr val="black"/>
              </a:solidFill>
              <a:latin typeface="Verdana"/>
            </a:endParaRPr>
          </a:p>
          <a:p>
            <a:pPr algn="just">
              <a:lnSpc>
                <a:spcPct val="100000"/>
              </a:lnSpc>
              <a:spcBef>
                <a:spcPts val="0"/>
              </a:spcBef>
            </a:pPr>
            <a:r>
              <a:rPr lang="en-GB" sz="1100">
                <a:solidFill>
                  <a:prstClr val="black"/>
                </a:solidFill>
                <a:latin typeface="Verdana"/>
              </a:rPr>
              <a:t>Less records cloned, time saved in Cloning processes and dataflows.</a:t>
            </a:r>
          </a:p>
          <a:p>
            <a:pPr algn="just">
              <a:lnSpc>
                <a:spcPct val="100000"/>
              </a:lnSpc>
              <a:spcBef>
                <a:spcPts val="0"/>
              </a:spcBef>
            </a:pPr>
            <a:endParaRPr lang="en-US" sz="1100" i="1">
              <a:solidFill>
                <a:prstClr val="black">
                  <a:lumMod val="65000"/>
                  <a:lumOff val="35000"/>
                </a:prstClr>
              </a:solidFill>
              <a:latin typeface="Verdana"/>
              <a:ea typeface="Verdana"/>
              <a:cs typeface="Verdana"/>
            </a:endParaRPr>
          </a:p>
        </p:txBody>
      </p:sp>
      <p:sp>
        <p:nvSpPr>
          <p:cNvPr id="22" name="Rectangle 21">
            <a:extLst>
              <a:ext uri="{FF2B5EF4-FFF2-40B4-BE49-F238E27FC236}">
                <a16:creationId xmlns:a16="http://schemas.microsoft.com/office/drawing/2014/main" id="{EA3A9F71-C928-415C-AD22-917069DF822C}"/>
              </a:ext>
            </a:extLst>
          </p:cNvPr>
          <p:cNvSpPr/>
          <p:nvPr/>
        </p:nvSpPr>
        <p:spPr>
          <a:xfrm>
            <a:off x="4819033" y="2074566"/>
            <a:ext cx="2858118" cy="31225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Verdana"/>
                <a:ea typeface="+mn-ea"/>
                <a:cs typeface="+mn-cs"/>
              </a:rPr>
              <a:t>Sharing &amp; Visibility</a:t>
            </a:r>
          </a:p>
        </p:txBody>
      </p:sp>
      <p:sp>
        <p:nvSpPr>
          <p:cNvPr id="23" name="Rectangle 22">
            <a:extLst>
              <a:ext uri="{FF2B5EF4-FFF2-40B4-BE49-F238E27FC236}">
                <a16:creationId xmlns:a16="http://schemas.microsoft.com/office/drawing/2014/main" id="{C9574C38-F56A-4C8D-AB4F-1D21AFA5EADB}"/>
              </a:ext>
            </a:extLst>
          </p:cNvPr>
          <p:cNvSpPr/>
          <p:nvPr/>
        </p:nvSpPr>
        <p:spPr>
          <a:xfrm>
            <a:off x="4819031" y="2386823"/>
            <a:ext cx="2858119" cy="4148094"/>
          </a:xfrm>
          <a:prstGeom prst="rect">
            <a:avLst/>
          </a:prstGeom>
          <a:solidFill>
            <a:srgbClr val="FFFFFF"/>
          </a:solidFill>
          <a:ln w="12700" cap="flat" cmpd="sng" algn="ctr">
            <a:solidFill>
              <a:srgbClr val="FFFFFF">
                <a:lumMod val="75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Verdana"/>
              <a:ea typeface="+mn-ea"/>
              <a:cs typeface="+mn-cs"/>
            </a:endParaRPr>
          </a:p>
        </p:txBody>
      </p:sp>
      <p:sp>
        <p:nvSpPr>
          <p:cNvPr id="24" name="Text Placeholder 2">
            <a:extLst>
              <a:ext uri="{FF2B5EF4-FFF2-40B4-BE49-F238E27FC236}">
                <a16:creationId xmlns:a16="http://schemas.microsoft.com/office/drawing/2014/main" id="{7CE41571-620B-4844-A91A-1B752A02E675}"/>
              </a:ext>
            </a:extLst>
          </p:cNvPr>
          <p:cNvSpPr txBox="1">
            <a:spLocks/>
          </p:cNvSpPr>
          <p:nvPr/>
        </p:nvSpPr>
        <p:spPr>
          <a:xfrm>
            <a:off x="4901736" y="2547330"/>
            <a:ext cx="2714708" cy="3724096"/>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pPr>
            <a:r>
              <a:rPr lang="en-GB" sz="1100">
                <a:solidFill>
                  <a:prstClr val="black"/>
                </a:solidFill>
                <a:latin typeface="Verdana"/>
              </a:rPr>
              <a:t>Leverage Account/Opportunity Teams and/or Enterprise Territory Management to reduce run-time complexity for clone processes.</a:t>
            </a:r>
          </a:p>
          <a:p>
            <a:pPr algn="just">
              <a:lnSpc>
                <a:spcPct val="100000"/>
              </a:lnSpc>
              <a:spcBef>
                <a:spcPts val="0"/>
              </a:spcBef>
            </a:pPr>
            <a:endParaRPr lang="en-GB" sz="1100" b="1">
              <a:solidFill>
                <a:srgbClr val="0070AD"/>
              </a:solidFill>
              <a:latin typeface="Verdana"/>
            </a:endParaRP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Create Security Predicates to support the adjusted Visibility/Sharing Settings.</a:t>
            </a: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Check query performance of datasets.</a:t>
            </a: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Review the Sharing Inheritance Coverage Assessment for insights about coverage (limit of 400 sharing definitions per record)</a:t>
            </a:r>
          </a:p>
          <a:p>
            <a:pPr marL="171450" indent="-171450" algn="just">
              <a:lnSpc>
                <a:spcPct val="100000"/>
              </a:lnSpc>
              <a:spcBef>
                <a:spcPts val="0"/>
              </a:spcBef>
              <a:buFontTx/>
              <a:buChar char="-"/>
            </a:pPr>
            <a:endParaRPr lang="en-US" sz="1100" i="1">
              <a:solidFill>
                <a:prstClr val="black">
                  <a:lumMod val="65000"/>
                  <a:lumOff val="35000"/>
                </a:prstClr>
              </a:solidFill>
              <a:latin typeface="Verdana"/>
              <a:ea typeface="Verdana"/>
              <a:cs typeface="Verdana"/>
            </a:endParaRPr>
          </a:p>
          <a:p>
            <a:pPr algn="just">
              <a:lnSpc>
                <a:spcPct val="100000"/>
              </a:lnSpc>
              <a:spcBef>
                <a:spcPts val="0"/>
              </a:spcBef>
            </a:pPr>
            <a:endParaRPr lang="en-GB" sz="1100" b="1">
              <a:solidFill>
                <a:srgbClr val="0070AD"/>
              </a:solidFill>
              <a:latin typeface="Verdana"/>
              <a:ea typeface="Verdana"/>
              <a:cs typeface="Verdana"/>
            </a:endParaRPr>
          </a:p>
          <a:p>
            <a:pPr algn="just">
              <a:lnSpc>
                <a:spcPct val="100000"/>
              </a:lnSpc>
              <a:spcBef>
                <a:spcPts val="0"/>
              </a:spcBef>
            </a:pPr>
            <a:endParaRPr lang="en-GB" sz="1100" b="1">
              <a:solidFill>
                <a:srgbClr val="0070AD"/>
              </a:solidFill>
              <a:latin typeface="Verdana"/>
              <a:ea typeface="Verdana"/>
              <a:cs typeface="Verdana"/>
            </a:endParaRPr>
          </a:p>
          <a:p>
            <a:pPr algn="just">
              <a:lnSpc>
                <a:spcPct val="100000"/>
              </a:lnSpc>
              <a:spcBef>
                <a:spcPts val="0"/>
              </a:spcBef>
            </a:pPr>
            <a:endParaRPr lang="en-GB" sz="1100" b="1">
              <a:solidFill>
                <a:srgbClr val="0070AD"/>
              </a:solidFill>
              <a:latin typeface="Verdana"/>
              <a:ea typeface="Verdana"/>
              <a:cs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endParaRPr lang="en-GB" sz="1100">
              <a:solidFill>
                <a:prstClr val="black"/>
              </a:solidFill>
              <a:latin typeface="Verdana"/>
            </a:endParaRPr>
          </a:p>
          <a:p>
            <a:pPr algn="just">
              <a:lnSpc>
                <a:spcPct val="100000"/>
              </a:lnSpc>
              <a:spcBef>
                <a:spcPts val="0"/>
              </a:spcBef>
            </a:pPr>
            <a:r>
              <a:rPr lang="en-GB" sz="1100">
                <a:solidFill>
                  <a:prstClr val="black"/>
                </a:solidFill>
                <a:latin typeface="Verdana"/>
              </a:rPr>
              <a:t>Reduce implementation and run-time complexity for clone processes.</a:t>
            </a:r>
          </a:p>
        </p:txBody>
      </p:sp>
      <p:sp>
        <p:nvSpPr>
          <p:cNvPr id="25" name="Rectangle 24">
            <a:extLst>
              <a:ext uri="{FF2B5EF4-FFF2-40B4-BE49-F238E27FC236}">
                <a16:creationId xmlns:a16="http://schemas.microsoft.com/office/drawing/2014/main" id="{0018FCAE-139D-4D0F-9904-2A8B5BBED5FA}"/>
              </a:ext>
            </a:extLst>
          </p:cNvPr>
          <p:cNvSpPr/>
          <p:nvPr/>
        </p:nvSpPr>
        <p:spPr>
          <a:xfrm>
            <a:off x="7808109" y="2408820"/>
            <a:ext cx="2783691" cy="4126097"/>
          </a:xfrm>
          <a:prstGeom prst="rect">
            <a:avLst/>
          </a:prstGeom>
          <a:solidFill>
            <a:srgbClr val="FFFFFF"/>
          </a:solidFill>
          <a:ln w="12700" cap="flat" cmpd="sng" algn="ctr">
            <a:solidFill>
              <a:srgbClr val="FFFFFF">
                <a:lumMod val="75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634149A8-2F01-4662-A6B6-774751D43496}"/>
              </a:ext>
            </a:extLst>
          </p:cNvPr>
          <p:cNvSpPr/>
          <p:nvPr/>
        </p:nvSpPr>
        <p:spPr>
          <a:xfrm>
            <a:off x="7808108" y="2054886"/>
            <a:ext cx="2783691" cy="35393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Verdana"/>
                <a:ea typeface="+mn-ea"/>
                <a:cs typeface="+mn-cs"/>
              </a:rPr>
              <a:t>Basket Datasets</a:t>
            </a:r>
          </a:p>
        </p:txBody>
      </p:sp>
      <p:sp>
        <p:nvSpPr>
          <p:cNvPr id="27" name="Text Placeholder 2">
            <a:extLst>
              <a:ext uri="{FF2B5EF4-FFF2-40B4-BE49-F238E27FC236}">
                <a16:creationId xmlns:a16="http://schemas.microsoft.com/office/drawing/2014/main" id="{14632F87-5456-4447-BA71-288C81E36DFE}"/>
              </a:ext>
            </a:extLst>
          </p:cNvPr>
          <p:cNvSpPr txBox="1">
            <a:spLocks/>
          </p:cNvSpPr>
          <p:nvPr/>
        </p:nvSpPr>
        <p:spPr>
          <a:xfrm>
            <a:off x="7871953" y="2547330"/>
            <a:ext cx="2624793" cy="3724096"/>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pPr>
            <a:r>
              <a:rPr lang="en-GB" sz="1100">
                <a:solidFill>
                  <a:prstClr val="black"/>
                </a:solidFill>
                <a:latin typeface="Verdana"/>
              </a:rPr>
              <a:t>Dataflows: Basket Datasets </a:t>
            </a:r>
            <a:r>
              <a:rPr lang="en-US" sz="1100">
                <a:solidFill>
                  <a:prstClr val="black"/>
                </a:solidFill>
                <a:latin typeface="Verdana"/>
              </a:rPr>
              <a:t>for Planning Statuses and elaborate only new data for later append.</a:t>
            </a:r>
            <a:endParaRPr lang="en-GB" sz="1100">
              <a:solidFill>
                <a:prstClr val="black"/>
              </a:solidFill>
              <a:latin typeface="Verdana"/>
            </a:endParaRPr>
          </a:p>
          <a:p>
            <a:pPr algn="just">
              <a:lnSpc>
                <a:spcPct val="100000"/>
              </a:lnSpc>
              <a:spcBef>
                <a:spcPts val="0"/>
              </a:spcBef>
            </a:pPr>
            <a:endParaRPr lang="en-GB" sz="1100" b="1">
              <a:solidFill>
                <a:srgbClr val="0070AD"/>
              </a:solidFill>
              <a:latin typeface="Verdana"/>
              <a:ea typeface="Verdana"/>
              <a:cs typeface="+mj-lt"/>
            </a:endParaRPr>
          </a:p>
          <a:p>
            <a:pPr algn="just">
              <a:lnSpc>
                <a:spcPct val="100000"/>
              </a:lnSpc>
              <a:spcBef>
                <a:spcPts val="0"/>
              </a:spcBef>
            </a:pPr>
            <a:endParaRPr lang="en-GB" sz="1100" b="1">
              <a:solidFill>
                <a:srgbClr val="0070AD"/>
              </a:solidFill>
              <a:latin typeface="Verdana"/>
              <a:ea typeface="Verdana"/>
              <a:cs typeface="+mj-lt"/>
            </a:endParaRPr>
          </a:p>
          <a:p>
            <a:pPr algn="just">
              <a:lnSpc>
                <a:spcPct val="100000"/>
              </a:lnSpc>
              <a:spcBef>
                <a:spcPts val="0"/>
              </a:spcBef>
            </a:pPr>
            <a:r>
              <a:rPr lang="en-US" sz="1100">
                <a:solidFill>
                  <a:prstClr val="black"/>
                </a:solidFill>
                <a:latin typeface="Verdana"/>
              </a:rPr>
              <a:t>Implement/update the following dataflows:</a:t>
            </a:r>
            <a:endParaRPr lang="en-US" sz="1100" i="1">
              <a:solidFill>
                <a:prstClr val="black">
                  <a:lumMod val="65000"/>
                  <a:lumOff val="35000"/>
                </a:prstClr>
              </a:solidFill>
              <a:latin typeface="Verdana"/>
            </a:endParaRP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PSs_Frozen; runs only after creating a Frozen Scenario</a:t>
            </a: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Current Scenarios; runs daily/hourly on filtered Volume records.</a:t>
            </a: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Current Scenarios; Appends PSs_Frozen to obtain the dataset ALL_PSs which has Frozen and Current Scenario data.</a:t>
            </a:r>
          </a:p>
          <a:p>
            <a:pPr marL="285750" indent="-285750" algn="just">
              <a:lnSpc>
                <a:spcPct val="100000"/>
              </a:lnSpc>
              <a:spcBef>
                <a:spcPts val="0"/>
              </a:spcBef>
              <a:buFont typeface="Arial" panose="020B0604020202020204" pitchFamily="34" charset="0"/>
              <a:buChar char="•"/>
            </a:pPr>
            <a:r>
              <a:rPr lang="en-US" sz="1100">
                <a:solidFill>
                  <a:prstClr val="black"/>
                </a:solidFill>
                <a:latin typeface="Verdana"/>
              </a:rPr>
              <a:t>Make sure all data models are scalable (estimated/expected increase of data)</a:t>
            </a:r>
            <a:endParaRPr lang="en-US" sz="1100" i="1">
              <a:solidFill>
                <a:prstClr val="black">
                  <a:lumMod val="65000"/>
                  <a:lumOff val="35000"/>
                </a:prstClr>
              </a:solidFill>
              <a:latin typeface="Verdana"/>
              <a:ea typeface="Verdana"/>
              <a:cs typeface="Verdana"/>
            </a:endParaRPr>
          </a:p>
          <a:p>
            <a:pPr marL="171450" indent="-171450" algn="just">
              <a:lnSpc>
                <a:spcPct val="100000"/>
              </a:lnSpc>
              <a:spcBef>
                <a:spcPts val="0"/>
              </a:spcBef>
              <a:buFontTx/>
              <a:buChar char="-"/>
            </a:pPr>
            <a:endParaRPr lang="en-US" sz="1100" i="1">
              <a:solidFill>
                <a:prstClr val="black">
                  <a:lumMod val="65000"/>
                  <a:lumOff val="35000"/>
                </a:prstClr>
              </a:solidFill>
              <a:latin typeface="Verdana"/>
              <a:ea typeface="Verdana"/>
              <a:cs typeface="Verdana"/>
            </a:endParaRPr>
          </a:p>
          <a:p>
            <a:pPr algn="just">
              <a:lnSpc>
                <a:spcPct val="100000"/>
              </a:lnSpc>
              <a:spcBef>
                <a:spcPts val="0"/>
              </a:spcBef>
            </a:pPr>
            <a:r>
              <a:rPr lang="en-GB" sz="1100">
                <a:solidFill>
                  <a:prstClr val="black"/>
                </a:solidFill>
                <a:latin typeface="Verdana"/>
              </a:rPr>
              <a:t>Limit the amount of time used for the hourly dataflows.</a:t>
            </a:r>
          </a:p>
        </p:txBody>
      </p:sp>
      <p:grpSp>
        <p:nvGrpSpPr>
          <p:cNvPr id="28" name="Group 27">
            <a:extLst>
              <a:ext uri="{FF2B5EF4-FFF2-40B4-BE49-F238E27FC236}">
                <a16:creationId xmlns:a16="http://schemas.microsoft.com/office/drawing/2014/main" id="{003D04B2-623F-47FD-A7F6-2416297689FD}"/>
              </a:ext>
            </a:extLst>
          </p:cNvPr>
          <p:cNvGrpSpPr/>
          <p:nvPr/>
        </p:nvGrpSpPr>
        <p:grpSpPr>
          <a:xfrm rot="5400000" flipH="1">
            <a:off x="1862039" y="4174181"/>
            <a:ext cx="82306" cy="294544"/>
            <a:chOff x="666750" y="2236191"/>
            <a:chExt cx="137160" cy="471087"/>
          </a:xfrm>
          <a:effectLst/>
        </p:grpSpPr>
        <p:sp>
          <p:nvSpPr>
            <p:cNvPr id="29" name="Oval 28">
              <a:extLst>
                <a:ext uri="{FF2B5EF4-FFF2-40B4-BE49-F238E27FC236}">
                  <a16:creationId xmlns:a16="http://schemas.microsoft.com/office/drawing/2014/main" id="{40ECDB14-E204-427C-8168-DA4ABDF9DD74}"/>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0" name="Oval 29">
              <a:extLst>
                <a:ext uri="{FF2B5EF4-FFF2-40B4-BE49-F238E27FC236}">
                  <a16:creationId xmlns:a16="http://schemas.microsoft.com/office/drawing/2014/main" id="{A9DE6BF6-D0D7-4110-8D14-388D18D12F89}"/>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1" name="Rounded Rectangle 116">
              <a:extLst>
                <a:ext uri="{FF2B5EF4-FFF2-40B4-BE49-F238E27FC236}">
                  <a16:creationId xmlns:a16="http://schemas.microsoft.com/office/drawing/2014/main" id="{D309DD1B-8421-4C2C-AE27-2D5F3FFB3E79}"/>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2" name="Group 31">
            <a:extLst>
              <a:ext uri="{FF2B5EF4-FFF2-40B4-BE49-F238E27FC236}">
                <a16:creationId xmlns:a16="http://schemas.microsoft.com/office/drawing/2014/main" id="{E7B5C63F-5B7B-47DD-A35A-B036126B6F50}"/>
              </a:ext>
            </a:extLst>
          </p:cNvPr>
          <p:cNvGrpSpPr/>
          <p:nvPr/>
        </p:nvGrpSpPr>
        <p:grpSpPr>
          <a:xfrm rot="5400000" flipH="1">
            <a:off x="1862037" y="4491877"/>
            <a:ext cx="82306" cy="294544"/>
            <a:chOff x="666750" y="2236191"/>
            <a:chExt cx="137160" cy="471087"/>
          </a:xfrm>
          <a:effectLst/>
        </p:grpSpPr>
        <p:sp>
          <p:nvSpPr>
            <p:cNvPr id="33" name="Oval 32">
              <a:extLst>
                <a:ext uri="{FF2B5EF4-FFF2-40B4-BE49-F238E27FC236}">
                  <a16:creationId xmlns:a16="http://schemas.microsoft.com/office/drawing/2014/main" id="{0F087DB8-F517-4267-B963-441B77E2FF74}"/>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4" name="Oval 33">
              <a:extLst>
                <a:ext uri="{FF2B5EF4-FFF2-40B4-BE49-F238E27FC236}">
                  <a16:creationId xmlns:a16="http://schemas.microsoft.com/office/drawing/2014/main" id="{83F641F5-768E-425C-8ABB-1323EC40B157}"/>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35" name="Rounded Rectangle 113">
              <a:extLst>
                <a:ext uri="{FF2B5EF4-FFF2-40B4-BE49-F238E27FC236}">
                  <a16:creationId xmlns:a16="http://schemas.microsoft.com/office/drawing/2014/main" id="{2C950DA9-2D3E-4BB0-A31D-CF7297112F51}"/>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6" name="Group 35">
            <a:extLst>
              <a:ext uri="{FF2B5EF4-FFF2-40B4-BE49-F238E27FC236}">
                <a16:creationId xmlns:a16="http://schemas.microsoft.com/office/drawing/2014/main" id="{94272F8F-4EC2-458C-90C5-5641A6865787}"/>
              </a:ext>
            </a:extLst>
          </p:cNvPr>
          <p:cNvGrpSpPr/>
          <p:nvPr/>
        </p:nvGrpSpPr>
        <p:grpSpPr>
          <a:xfrm flipH="1">
            <a:off x="1744516" y="5947349"/>
            <a:ext cx="330592" cy="409729"/>
            <a:chOff x="4144353" y="5853398"/>
            <a:chExt cx="289254" cy="374936"/>
          </a:xfrm>
          <a:effectLst/>
        </p:grpSpPr>
        <p:grpSp>
          <p:nvGrpSpPr>
            <p:cNvPr id="37" name="Group 36">
              <a:extLst>
                <a:ext uri="{FF2B5EF4-FFF2-40B4-BE49-F238E27FC236}">
                  <a16:creationId xmlns:a16="http://schemas.microsoft.com/office/drawing/2014/main" id="{0837B5E4-BAE9-4055-8AD1-8BFCF463D9A3}"/>
                </a:ext>
              </a:extLst>
            </p:cNvPr>
            <p:cNvGrpSpPr/>
            <p:nvPr/>
          </p:nvGrpSpPr>
          <p:grpSpPr>
            <a:xfrm rot="16200000">
              <a:off x="4246871" y="5750880"/>
              <a:ext cx="84217" cy="289253"/>
              <a:chOff x="666750" y="2236191"/>
              <a:chExt cx="137160" cy="471087"/>
            </a:xfrm>
          </p:grpSpPr>
          <p:sp>
            <p:nvSpPr>
              <p:cNvPr id="42" name="Oval 41">
                <a:extLst>
                  <a:ext uri="{FF2B5EF4-FFF2-40B4-BE49-F238E27FC236}">
                    <a16:creationId xmlns:a16="http://schemas.microsoft.com/office/drawing/2014/main" id="{72428A5A-7D3E-4111-BD47-2FF63767D1AB}"/>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3" name="Oval 42">
                <a:extLst>
                  <a:ext uri="{FF2B5EF4-FFF2-40B4-BE49-F238E27FC236}">
                    <a16:creationId xmlns:a16="http://schemas.microsoft.com/office/drawing/2014/main" id="{52F7DD99-35D1-439F-A64A-100A1415B0BF}"/>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4" name="Rounded Rectangle 116">
                <a:extLst>
                  <a:ext uri="{FF2B5EF4-FFF2-40B4-BE49-F238E27FC236}">
                    <a16:creationId xmlns:a16="http://schemas.microsoft.com/office/drawing/2014/main" id="{E73ABA79-8DA5-4E5B-A8EC-6C41CBF90C10}"/>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38" name="Group 37">
              <a:extLst>
                <a:ext uri="{FF2B5EF4-FFF2-40B4-BE49-F238E27FC236}">
                  <a16:creationId xmlns:a16="http://schemas.microsoft.com/office/drawing/2014/main" id="{5D6494C4-83E8-4178-94BB-D549C0D6EC53}"/>
                </a:ext>
              </a:extLst>
            </p:cNvPr>
            <p:cNvGrpSpPr/>
            <p:nvPr/>
          </p:nvGrpSpPr>
          <p:grpSpPr>
            <a:xfrm rot="16200000">
              <a:off x="4246872" y="6041599"/>
              <a:ext cx="84217" cy="289253"/>
              <a:chOff x="666750" y="2236191"/>
              <a:chExt cx="137160" cy="471087"/>
            </a:xfrm>
          </p:grpSpPr>
          <p:sp>
            <p:nvSpPr>
              <p:cNvPr id="39" name="Oval 38">
                <a:extLst>
                  <a:ext uri="{FF2B5EF4-FFF2-40B4-BE49-F238E27FC236}">
                    <a16:creationId xmlns:a16="http://schemas.microsoft.com/office/drawing/2014/main" id="{42A67B2F-3B51-4BE3-90C0-05FA38B9142A}"/>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0" name="Oval 39">
                <a:extLst>
                  <a:ext uri="{FF2B5EF4-FFF2-40B4-BE49-F238E27FC236}">
                    <a16:creationId xmlns:a16="http://schemas.microsoft.com/office/drawing/2014/main" id="{5328FA09-4943-48A7-A11E-55EA5225F38A}"/>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41" name="Rounded Rectangle 113">
                <a:extLst>
                  <a:ext uri="{FF2B5EF4-FFF2-40B4-BE49-F238E27FC236}">
                    <a16:creationId xmlns:a16="http://schemas.microsoft.com/office/drawing/2014/main" id="{C50B77D2-53B4-4311-A4FA-55CC2FF3F61F}"/>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45" name="Rectangle 44">
            <a:extLst>
              <a:ext uri="{FF2B5EF4-FFF2-40B4-BE49-F238E27FC236}">
                <a16:creationId xmlns:a16="http://schemas.microsoft.com/office/drawing/2014/main" id="{BCF8D055-4C04-4DAA-AD8E-7948397190EF}"/>
              </a:ext>
            </a:extLst>
          </p:cNvPr>
          <p:cNvSpPr/>
          <p:nvPr/>
        </p:nvSpPr>
        <p:spPr>
          <a:xfrm rot="10800000" flipH="1">
            <a:off x="1880951" y="1056489"/>
            <a:ext cx="169511" cy="955002"/>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4C14B79E-13FE-439A-A81D-288A40EB6F91}"/>
              </a:ext>
            </a:extLst>
          </p:cNvPr>
          <p:cNvGrpSpPr/>
          <p:nvPr/>
        </p:nvGrpSpPr>
        <p:grpSpPr>
          <a:xfrm flipH="1">
            <a:off x="1770562" y="1769574"/>
            <a:ext cx="294545" cy="527565"/>
            <a:chOff x="4144353" y="5853398"/>
            <a:chExt cx="289254" cy="374936"/>
          </a:xfrm>
          <a:effectLst/>
        </p:grpSpPr>
        <p:grpSp>
          <p:nvGrpSpPr>
            <p:cNvPr id="47" name="Group 46">
              <a:extLst>
                <a:ext uri="{FF2B5EF4-FFF2-40B4-BE49-F238E27FC236}">
                  <a16:creationId xmlns:a16="http://schemas.microsoft.com/office/drawing/2014/main" id="{5FFF159A-DC7E-4D3C-B4E7-1251FDD2BE14}"/>
                </a:ext>
              </a:extLst>
            </p:cNvPr>
            <p:cNvGrpSpPr/>
            <p:nvPr/>
          </p:nvGrpSpPr>
          <p:grpSpPr>
            <a:xfrm rot="16200000">
              <a:off x="4246871" y="5750880"/>
              <a:ext cx="84217" cy="289253"/>
              <a:chOff x="666750" y="2236191"/>
              <a:chExt cx="137160" cy="471087"/>
            </a:xfrm>
          </p:grpSpPr>
          <p:sp>
            <p:nvSpPr>
              <p:cNvPr id="52" name="Oval 51">
                <a:extLst>
                  <a:ext uri="{FF2B5EF4-FFF2-40B4-BE49-F238E27FC236}">
                    <a16:creationId xmlns:a16="http://schemas.microsoft.com/office/drawing/2014/main" id="{4415CE69-0F21-41FF-A361-AEB91D48C04D}"/>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3" name="Oval 52">
                <a:extLst>
                  <a:ext uri="{FF2B5EF4-FFF2-40B4-BE49-F238E27FC236}">
                    <a16:creationId xmlns:a16="http://schemas.microsoft.com/office/drawing/2014/main" id="{A9A4B446-7E72-41DC-AD0D-B232C50A90D8}"/>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4" name="Rounded Rectangle 116">
                <a:extLst>
                  <a:ext uri="{FF2B5EF4-FFF2-40B4-BE49-F238E27FC236}">
                    <a16:creationId xmlns:a16="http://schemas.microsoft.com/office/drawing/2014/main" id="{4815FC21-5F2F-451F-AF9B-4B3749827CF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48" name="Group 47">
              <a:extLst>
                <a:ext uri="{FF2B5EF4-FFF2-40B4-BE49-F238E27FC236}">
                  <a16:creationId xmlns:a16="http://schemas.microsoft.com/office/drawing/2014/main" id="{21B2C576-EF27-48FA-A282-8682405A6343}"/>
                </a:ext>
              </a:extLst>
            </p:cNvPr>
            <p:cNvGrpSpPr/>
            <p:nvPr/>
          </p:nvGrpSpPr>
          <p:grpSpPr>
            <a:xfrm rot="16200000">
              <a:off x="4246872" y="6041599"/>
              <a:ext cx="84217" cy="289253"/>
              <a:chOff x="666750" y="2236191"/>
              <a:chExt cx="137160" cy="471087"/>
            </a:xfrm>
          </p:grpSpPr>
          <p:sp>
            <p:nvSpPr>
              <p:cNvPr id="49" name="Oval 48">
                <a:extLst>
                  <a:ext uri="{FF2B5EF4-FFF2-40B4-BE49-F238E27FC236}">
                    <a16:creationId xmlns:a16="http://schemas.microsoft.com/office/drawing/2014/main" id="{DA30DD1F-C899-4B6E-A0FD-CC8DF4D70511}"/>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0" name="Oval 49">
                <a:extLst>
                  <a:ext uri="{FF2B5EF4-FFF2-40B4-BE49-F238E27FC236}">
                    <a16:creationId xmlns:a16="http://schemas.microsoft.com/office/drawing/2014/main" id="{546A2ABB-FC03-4433-8257-329135D9A3D5}"/>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51" name="Rounded Rectangle 113">
                <a:extLst>
                  <a:ext uri="{FF2B5EF4-FFF2-40B4-BE49-F238E27FC236}">
                    <a16:creationId xmlns:a16="http://schemas.microsoft.com/office/drawing/2014/main" id="{296DECEB-39FC-461F-A5BE-68B4D076DB41}"/>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55" name="object 5">
            <a:extLst>
              <a:ext uri="{FF2B5EF4-FFF2-40B4-BE49-F238E27FC236}">
                <a16:creationId xmlns:a16="http://schemas.microsoft.com/office/drawing/2014/main" id="{52D14570-C954-4198-BFB4-D58B2788891F}"/>
              </a:ext>
            </a:extLst>
          </p:cNvPr>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56" name="object 6">
            <a:extLst>
              <a:ext uri="{FF2B5EF4-FFF2-40B4-BE49-F238E27FC236}">
                <a16:creationId xmlns:a16="http://schemas.microsoft.com/office/drawing/2014/main" id="{B917945B-F4ED-4FCB-9E7D-D5FA63398EEA}"/>
              </a:ext>
            </a:extLst>
          </p:cNvPr>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57" name="object 7">
            <a:extLst>
              <a:ext uri="{FF2B5EF4-FFF2-40B4-BE49-F238E27FC236}">
                <a16:creationId xmlns:a16="http://schemas.microsoft.com/office/drawing/2014/main" id="{75116276-3140-40C6-8EF5-A5209E6FF115}"/>
              </a:ext>
            </a:extLst>
          </p:cNvPr>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58" name="object 8">
            <a:extLst>
              <a:ext uri="{FF2B5EF4-FFF2-40B4-BE49-F238E27FC236}">
                <a16:creationId xmlns:a16="http://schemas.microsoft.com/office/drawing/2014/main" id="{80797C4C-7A81-452E-A157-816446D4589E}"/>
              </a:ext>
            </a:extLst>
          </p:cNvPr>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59" name="object 9">
            <a:extLst>
              <a:ext uri="{FF2B5EF4-FFF2-40B4-BE49-F238E27FC236}">
                <a16:creationId xmlns:a16="http://schemas.microsoft.com/office/drawing/2014/main" id="{01F42D88-6FDF-4D64-AFAD-C789415FF134}"/>
              </a:ext>
            </a:extLst>
          </p:cNvPr>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60" name="object 10">
            <a:extLst>
              <a:ext uri="{FF2B5EF4-FFF2-40B4-BE49-F238E27FC236}">
                <a16:creationId xmlns:a16="http://schemas.microsoft.com/office/drawing/2014/main" id="{47792B6C-5AA9-4685-A67C-36011AFFB2FD}"/>
              </a:ext>
            </a:extLst>
          </p:cNvPr>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61" name="object 11">
            <a:extLst>
              <a:ext uri="{FF2B5EF4-FFF2-40B4-BE49-F238E27FC236}">
                <a16:creationId xmlns:a16="http://schemas.microsoft.com/office/drawing/2014/main" id="{89718748-03A7-41E5-BBBF-34044D7F02B1}"/>
              </a:ext>
            </a:extLst>
          </p:cNvPr>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62" name="object 12">
            <a:extLst>
              <a:ext uri="{FF2B5EF4-FFF2-40B4-BE49-F238E27FC236}">
                <a16:creationId xmlns:a16="http://schemas.microsoft.com/office/drawing/2014/main" id="{4D48C69E-14B2-4B08-9970-080D54562B95}"/>
              </a:ext>
            </a:extLst>
          </p:cNvPr>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63" name="object 13">
            <a:extLst>
              <a:ext uri="{FF2B5EF4-FFF2-40B4-BE49-F238E27FC236}">
                <a16:creationId xmlns:a16="http://schemas.microsoft.com/office/drawing/2014/main" id="{451151B0-1A01-4DC4-A984-DC70E24C7D18}"/>
              </a:ext>
            </a:extLst>
          </p:cNvPr>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64" name="object 14">
            <a:extLst>
              <a:ext uri="{FF2B5EF4-FFF2-40B4-BE49-F238E27FC236}">
                <a16:creationId xmlns:a16="http://schemas.microsoft.com/office/drawing/2014/main" id="{ED879C88-C2DD-4AB8-8320-70B38E7E1B27}"/>
              </a:ext>
            </a:extLst>
          </p:cNvPr>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65" name="object 15">
            <a:extLst>
              <a:ext uri="{FF2B5EF4-FFF2-40B4-BE49-F238E27FC236}">
                <a16:creationId xmlns:a16="http://schemas.microsoft.com/office/drawing/2014/main" id="{60EB691C-21AF-4EB4-81D1-ED42E65B8FEE}"/>
              </a:ext>
            </a:extLst>
          </p:cNvPr>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66" name="object 16">
            <a:extLst>
              <a:ext uri="{FF2B5EF4-FFF2-40B4-BE49-F238E27FC236}">
                <a16:creationId xmlns:a16="http://schemas.microsoft.com/office/drawing/2014/main" id="{E5BE6756-7F4A-495F-B96F-0BBA597AC731}"/>
              </a:ext>
            </a:extLst>
          </p:cNvPr>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67" name="object 17">
            <a:extLst>
              <a:ext uri="{FF2B5EF4-FFF2-40B4-BE49-F238E27FC236}">
                <a16:creationId xmlns:a16="http://schemas.microsoft.com/office/drawing/2014/main" id="{F4060E64-EBC0-4688-A773-F85F20CCFA73}"/>
              </a:ext>
            </a:extLst>
          </p:cNvPr>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68" name="object 18">
            <a:extLst>
              <a:ext uri="{FF2B5EF4-FFF2-40B4-BE49-F238E27FC236}">
                <a16:creationId xmlns:a16="http://schemas.microsoft.com/office/drawing/2014/main" id="{DB2A3B93-959F-4403-937A-1FECA3ED6FF7}"/>
              </a:ext>
            </a:extLst>
          </p:cNvPr>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69" name="object 19">
            <a:extLst>
              <a:ext uri="{FF2B5EF4-FFF2-40B4-BE49-F238E27FC236}">
                <a16:creationId xmlns:a16="http://schemas.microsoft.com/office/drawing/2014/main" id="{29F6C8AF-0922-46CF-A7C0-004B7D035DC9}"/>
              </a:ext>
            </a:extLst>
          </p:cNvPr>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70" name="object 20">
            <a:extLst>
              <a:ext uri="{FF2B5EF4-FFF2-40B4-BE49-F238E27FC236}">
                <a16:creationId xmlns:a16="http://schemas.microsoft.com/office/drawing/2014/main" id="{576C3599-A3E9-44AD-B74F-41B954C4D78C}"/>
              </a:ext>
            </a:extLst>
          </p:cNvPr>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71" name="object 21">
            <a:extLst>
              <a:ext uri="{FF2B5EF4-FFF2-40B4-BE49-F238E27FC236}">
                <a16:creationId xmlns:a16="http://schemas.microsoft.com/office/drawing/2014/main" id="{3C3F9731-C2F0-4FD4-A45C-1427429F16A5}"/>
              </a:ext>
            </a:extLst>
          </p:cNvPr>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72" name="object 22">
            <a:extLst>
              <a:ext uri="{FF2B5EF4-FFF2-40B4-BE49-F238E27FC236}">
                <a16:creationId xmlns:a16="http://schemas.microsoft.com/office/drawing/2014/main" id="{36043484-FE4D-4AD7-B922-87CEE479F647}"/>
              </a:ext>
            </a:extLst>
          </p:cNvPr>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73" name="object 23">
            <a:extLst>
              <a:ext uri="{FF2B5EF4-FFF2-40B4-BE49-F238E27FC236}">
                <a16:creationId xmlns:a16="http://schemas.microsoft.com/office/drawing/2014/main" id="{107DE85B-0447-446D-B8D9-AA69B77A9629}"/>
              </a:ext>
            </a:extLst>
          </p:cNvPr>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74" name="object 24">
            <a:extLst>
              <a:ext uri="{FF2B5EF4-FFF2-40B4-BE49-F238E27FC236}">
                <a16:creationId xmlns:a16="http://schemas.microsoft.com/office/drawing/2014/main" id="{9DD56643-8DE4-46F0-B7BA-5D10D1960F0F}"/>
              </a:ext>
            </a:extLst>
          </p:cNvPr>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75" name="object 25">
            <a:extLst>
              <a:ext uri="{FF2B5EF4-FFF2-40B4-BE49-F238E27FC236}">
                <a16:creationId xmlns:a16="http://schemas.microsoft.com/office/drawing/2014/main" id="{7D1F4116-448E-4CFA-9F42-C0DC7C25D59C}"/>
              </a:ext>
            </a:extLst>
          </p:cNvPr>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76" name="object 26">
            <a:extLst>
              <a:ext uri="{FF2B5EF4-FFF2-40B4-BE49-F238E27FC236}">
                <a16:creationId xmlns:a16="http://schemas.microsoft.com/office/drawing/2014/main" id="{8E32FCF4-D390-48C2-955C-0BEB8459A804}"/>
              </a:ext>
            </a:extLst>
          </p:cNvPr>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77" name="object 27">
            <a:extLst>
              <a:ext uri="{FF2B5EF4-FFF2-40B4-BE49-F238E27FC236}">
                <a16:creationId xmlns:a16="http://schemas.microsoft.com/office/drawing/2014/main" id="{0DA02ECD-F42C-4491-9EF3-A3A199F2AB37}"/>
              </a:ext>
            </a:extLst>
          </p:cNvPr>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pic>
        <p:nvPicPr>
          <p:cNvPr id="78" name="Picture 2" descr="Supercharge your Sitetracker data with Einstein Analytics">
            <a:extLst>
              <a:ext uri="{FF2B5EF4-FFF2-40B4-BE49-F238E27FC236}">
                <a16:creationId xmlns:a16="http://schemas.microsoft.com/office/drawing/2014/main" id="{E7BAACD6-2DC6-4744-A36C-9EB8AAF6F7F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10686086" y="4824008"/>
            <a:ext cx="1688959" cy="168895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a:spLocks noGrp="1"/>
          </p:cNvSpPr>
          <p:nvPr>
            <p:ph type="ftr" sz="quarter" idx="5"/>
          </p:nvPr>
        </p:nvSpPr>
        <p:spPr>
          <a:prstGeom prst="rect">
            <a:avLst/>
          </a:prstGeom>
        </p:spPr>
        <p:txBody>
          <a:bodyPr vert="horz" wrap="square" lIns="0" tIns="13335" rIns="0" bIns="0" rtlCol="0">
            <a:spAutoFit/>
          </a:bodyPr>
          <a:lstStyle/>
          <a:p>
            <a:pPr marL="12700">
              <a:lnSpc>
                <a:spcPct val="100000"/>
              </a:lnSpc>
              <a:spcBef>
                <a:spcPts val="105"/>
              </a:spcBef>
            </a:pPr>
            <a:r>
              <a:t>Capgemini’s Response Salesforce </a:t>
            </a:r>
            <a:r>
              <a:rPr spc="-5"/>
              <a:t>Rollout Project </a:t>
            </a:r>
            <a:r>
              <a:t>| Sep</a:t>
            </a:r>
            <a:r>
              <a:rPr spc="-40"/>
              <a:t> </a:t>
            </a:r>
            <a:r>
              <a:t>2020</a:t>
            </a:r>
          </a:p>
        </p:txBody>
      </p:sp>
      <p:sp>
        <p:nvSpPr>
          <p:cNvPr id="12" name="object 12"/>
          <p:cNvSpPr txBox="1"/>
          <p:nvPr/>
        </p:nvSpPr>
        <p:spPr>
          <a:xfrm>
            <a:off x="9604629" y="6638097"/>
            <a:ext cx="2361565" cy="149860"/>
          </a:xfrm>
          <a:prstGeom prst="rect">
            <a:avLst/>
          </a:prstGeom>
        </p:spPr>
        <p:txBody>
          <a:bodyPr vert="horz" wrap="square" lIns="0" tIns="13335" rIns="0" bIns="0" rtlCol="0">
            <a:spAutoFit/>
          </a:bodyPr>
          <a:lstStyle/>
          <a:p>
            <a:pPr marL="12700">
              <a:lnSpc>
                <a:spcPct val="100000"/>
              </a:lnSpc>
              <a:spcBef>
                <a:spcPts val="105"/>
              </a:spcBef>
            </a:pPr>
            <a:r>
              <a:rPr sz="800">
                <a:solidFill>
                  <a:srgbClr val="A6A6A6"/>
                </a:solidFill>
                <a:latin typeface="Verdana"/>
                <a:cs typeface="Verdana"/>
              </a:rPr>
              <a:t>© Capgemini 2020. All </a:t>
            </a:r>
            <a:r>
              <a:rPr sz="800" spc="-5">
                <a:solidFill>
                  <a:srgbClr val="A6A6A6"/>
                </a:solidFill>
                <a:latin typeface="Verdana"/>
                <a:cs typeface="Verdana"/>
              </a:rPr>
              <a:t>rights </a:t>
            </a:r>
            <a:r>
              <a:rPr sz="800">
                <a:solidFill>
                  <a:srgbClr val="A6A6A6"/>
                </a:solidFill>
                <a:latin typeface="Verdana"/>
                <a:cs typeface="Verdana"/>
              </a:rPr>
              <a:t>reserved </a:t>
            </a:r>
            <a:r>
              <a:rPr sz="800">
                <a:solidFill>
                  <a:srgbClr val="12ABDB"/>
                </a:solidFill>
                <a:latin typeface="Verdana"/>
                <a:cs typeface="Verdana"/>
              </a:rPr>
              <a:t>|</a:t>
            </a:r>
            <a:r>
              <a:rPr sz="800" spc="145">
                <a:solidFill>
                  <a:srgbClr val="12ABDB"/>
                </a:solidFill>
                <a:latin typeface="Verdana"/>
                <a:cs typeface="Verdana"/>
              </a:rPr>
              <a:t> </a:t>
            </a:r>
            <a:fld id="{81D60167-4931-47E6-BA6A-407CBD079E47}" type="slidenum">
              <a:rPr sz="800" dirty="0">
                <a:solidFill>
                  <a:srgbClr val="A6A6A6"/>
                </a:solidFill>
                <a:latin typeface="Verdana"/>
                <a:cs typeface="Verdana"/>
              </a:rPr>
              <a:t>99</a:t>
            </a:fld>
            <a:endParaRPr sz="800">
              <a:latin typeface="Verdana"/>
              <a:cs typeface="Verdana"/>
            </a:endParaRPr>
          </a:p>
        </p:txBody>
      </p:sp>
      <p:sp>
        <p:nvSpPr>
          <p:cNvPr id="10" name="object 10"/>
          <p:cNvSpPr txBox="1">
            <a:spLocks noGrp="1"/>
          </p:cNvSpPr>
          <p:nvPr>
            <p:ph type="title"/>
          </p:nvPr>
        </p:nvSpPr>
        <p:spPr>
          <a:xfrm>
            <a:off x="214680" y="318896"/>
            <a:ext cx="8714740" cy="422275"/>
          </a:xfrm>
          <a:prstGeom prst="rect">
            <a:avLst/>
          </a:prstGeom>
        </p:spPr>
        <p:txBody>
          <a:bodyPr vert="horz" wrap="square" lIns="0" tIns="12700" rIns="0" bIns="0" rtlCol="0">
            <a:spAutoFit/>
          </a:bodyPr>
          <a:lstStyle/>
          <a:p>
            <a:pPr marL="12700">
              <a:lnSpc>
                <a:spcPct val="100000"/>
              </a:lnSpc>
              <a:spcBef>
                <a:spcPts val="100"/>
              </a:spcBef>
            </a:pPr>
            <a:r>
              <a:rPr lang="it-IT" sz="2600" spc="-5"/>
              <a:t>General Platform </a:t>
            </a:r>
            <a:r>
              <a:rPr lang="it-IT" sz="2600" spc="-5" err="1"/>
              <a:t>Optimization</a:t>
            </a:r>
            <a:endParaRPr sz="2600">
              <a:latin typeface="Verdana"/>
              <a:cs typeface="Verdana"/>
            </a:endParaRPr>
          </a:p>
        </p:txBody>
      </p:sp>
      <p:sp>
        <p:nvSpPr>
          <p:cNvPr id="55" name="object 5">
            <a:extLst>
              <a:ext uri="{FF2B5EF4-FFF2-40B4-BE49-F238E27FC236}">
                <a16:creationId xmlns:a16="http://schemas.microsoft.com/office/drawing/2014/main" id="{52D14570-C954-4198-BFB4-D58B2788891F}"/>
              </a:ext>
            </a:extLst>
          </p:cNvPr>
          <p:cNvSpPr/>
          <p:nvPr/>
        </p:nvSpPr>
        <p:spPr>
          <a:xfrm>
            <a:off x="8491728" y="76200"/>
            <a:ext cx="1943100" cy="612775"/>
          </a:xfrm>
          <a:custGeom>
            <a:avLst/>
            <a:gdLst/>
            <a:ahLst/>
            <a:cxnLst/>
            <a:rect l="l" t="t" r="r" b="b"/>
            <a:pathLst>
              <a:path w="1943100" h="612775">
                <a:moveTo>
                  <a:pt x="1840992" y="0"/>
                </a:moveTo>
                <a:lnTo>
                  <a:pt x="102107" y="0"/>
                </a:lnTo>
                <a:lnTo>
                  <a:pt x="62364" y="8024"/>
                </a:lnTo>
                <a:lnTo>
                  <a:pt x="29908" y="29908"/>
                </a:lnTo>
                <a:lnTo>
                  <a:pt x="8024" y="62364"/>
                </a:lnTo>
                <a:lnTo>
                  <a:pt x="0" y="102107"/>
                </a:lnTo>
                <a:lnTo>
                  <a:pt x="0" y="612648"/>
                </a:lnTo>
                <a:lnTo>
                  <a:pt x="1943100" y="612648"/>
                </a:lnTo>
                <a:lnTo>
                  <a:pt x="1943100" y="102107"/>
                </a:lnTo>
                <a:lnTo>
                  <a:pt x="1935075" y="62364"/>
                </a:lnTo>
                <a:lnTo>
                  <a:pt x="1913191" y="29908"/>
                </a:lnTo>
                <a:lnTo>
                  <a:pt x="1880735" y="8024"/>
                </a:lnTo>
                <a:lnTo>
                  <a:pt x="1840992" y="0"/>
                </a:lnTo>
                <a:close/>
              </a:path>
            </a:pathLst>
          </a:custGeom>
          <a:solidFill>
            <a:srgbClr val="12ABDB"/>
          </a:solidFill>
        </p:spPr>
        <p:txBody>
          <a:bodyPr wrap="square" lIns="0" tIns="0" rIns="0" bIns="0" rtlCol="0"/>
          <a:lstStyle/>
          <a:p>
            <a:endParaRPr/>
          </a:p>
        </p:txBody>
      </p:sp>
      <p:sp>
        <p:nvSpPr>
          <p:cNvPr id="56" name="object 6">
            <a:extLst>
              <a:ext uri="{FF2B5EF4-FFF2-40B4-BE49-F238E27FC236}">
                <a16:creationId xmlns:a16="http://schemas.microsoft.com/office/drawing/2014/main" id="{B917945B-F4ED-4FCB-9E7D-D5FA63398EEA}"/>
              </a:ext>
            </a:extLst>
          </p:cNvPr>
          <p:cNvSpPr txBox="1"/>
          <p:nvPr/>
        </p:nvSpPr>
        <p:spPr>
          <a:xfrm>
            <a:off x="8875903" y="223215"/>
            <a:ext cx="1398905" cy="347345"/>
          </a:xfrm>
          <a:prstGeom prst="rect">
            <a:avLst/>
          </a:prstGeom>
        </p:spPr>
        <p:txBody>
          <a:bodyPr vert="horz" wrap="square" lIns="0" tIns="13335" rIns="0" bIns="0" rtlCol="0">
            <a:spAutoFit/>
          </a:bodyPr>
          <a:lstStyle/>
          <a:p>
            <a:pPr marL="104139">
              <a:lnSpc>
                <a:spcPct val="100000"/>
              </a:lnSpc>
              <a:spcBef>
                <a:spcPts val="105"/>
              </a:spcBef>
            </a:pPr>
            <a:r>
              <a:rPr sz="1050" b="1" spc="-5">
                <a:solidFill>
                  <a:srgbClr val="FFFFFF"/>
                </a:solidFill>
                <a:latin typeface="Verdana"/>
                <a:cs typeface="Verdana"/>
              </a:rPr>
              <a:t>General</a:t>
            </a:r>
            <a:r>
              <a:rPr sz="1050" b="1" spc="-45">
                <a:solidFill>
                  <a:srgbClr val="FFFFFF"/>
                </a:solidFill>
                <a:latin typeface="Verdana"/>
                <a:cs typeface="Verdana"/>
              </a:rPr>
              <a:t> </a:t>
            </a:r>
            <a:r>
              <a:rPr sz="1050" b="1">
                <a:solidFill>
                  <a:srgbClr val="FFFFFF"/>
                </a:solidFill>
                <a:latin typeface="Verdana"/>
                <a:cs typeface="Verdana"/>
              </a:rPr>
              <a:t>Platform</a:t>
            </a:r>
            <a:endParaRPr sz="1050">
              <a:latin typeface="Verdana"/>
              <a:cs typeface="Verdana"/>
            </a:endParaRPr>
          </a:p>
          <a:p>
            <a:pPr marL="12700">
              <a:lnSpc>
                <a:spcPct val="100000"/>
              </a:lnSpc>
              <a:spcBef>
                <a:spcPts val="5"/>
              </a:spcBef>
            </a:pPr>
            <a:r>
              <a:rPr sz="1050" b="1">
                <a:solidFill>
                  <a:srgbClr val="FFFFFF"/>
                </a:solidFill>
                <a:latin typeface="Verdana"/>
                <a:cs typeface="Verdana"/>
              </a:rPr>
              <a:t>Optimization</a:t>
            </a:r>
            <a:endParaRPr sz="1050">
              <a:latin typeface="Verdana"/>
              <a:cs typeface="Verdana"/>
            </a:endParaRPr>
          </a:p>
        </p:txBody>
      </p:sp>
      <p:sp>
        <p:nvSpPr>
          <p:cNvPr id="57" name="object 7">
            <a:extLst>
              <a:ext uri="{FF2B5EF4-FFF2-40B4-BE49-F238E27FC236}">
                <a16:creationId xmlns:a16="http://schemas.microsoft.com/office/drawing/2014/main" id="{75116276-3140-40C6-8EF5-A5209E6FF115}"/>
              </a:ext>
            </a:extLst>
          </p:cNvPr>
          <p:cNvSpPr/>
          <p:nvPr/>
        </p:nvSpPr>
        <p:spPr>
          <a:xfrm>
            <a:off x="8535923" y="76200"/>
            <a:ext cx="97535" cy="251459"/>
          </a:xfrm>
          <a:prstGeom prst="rect">
            <a:avLst/>
          </a:prstGeom>
          <a:blipFill>
            <a:blip r:embed="rId2" cstate="print"/>
            <a:stretch>
              <a:fillRect/>
            </a:stretch>
          </a:blipFill>
        </p:spPr>
        <p:txBody>
          <a:bodyPr wrap="square" lIns="0" tIns="0" rIns="0" bIns="0" rtlCol="0"/>
          <a:lstStyle/>
          <a:p>
            <a:endParaRPr/>
          </a:p>
        </p:txBody>
      </p:sp>
      <p:sp>
        <p:nvSpPr>
          <p:cNvPr id="58" name="object 8">
            <a:extLst>
              <a:ext uri="{FF2B5EF4-FFF2-40B4-BE49-F238E27FC236}">
                <a16:creationId xmlns:a16="http://schemas.microsoft.com/office/drawing/2014/main" id="{80797C4C-7A81-452E-A157-816446D4589E}"/>
              </a:ext>
            </a:extLst>
          </p:cNvPr>
          <p:cNvSpPr/>
          <p:nvPr/>
        </p:nvSpPr>
        <p:spPr>
          <a:xfrm>
            <a:off x="8535923" y="76200"/>
            <a:ext cx="97790" cy="251460"/>
          </a:xfrm>
          <a:custGeom>
            <a:avLst/>
            <a:gdLst/>
            <a:ahLst/>
            <a:cxnLst/>
            <a:rect l="l" t="t" r="r" b="b"/>
            <a:pathLst>
              <a:path w="97790" h="251460">
                <a:moveTo>
                  <a:pt x="0" y="48768"/>
                </a:moveTo>
                <a:lnTo>
                  <a:pt x="3833" y="29789"/>
                </a:lnTo>
                <a:lnTo>
                  <a:pt x="14287" y="14287"/>
                </a:lnTo>
                <a:lnTo>
                  <a:pt x="29789" y="3833"/>
                </a:lnTo>
                <a:lnTo>
                  <a:pt x="48768" y="0"/>
                </a:lnTo>
                <a:lnTo>
                  <a:pt x="67746" y="3833"/>
                </a:lnTo>
                <a:lnTo>
                  <a:pt x="83248" y="14287"/>
                </a:lnTo>
                <a:lnTo>
                  <a:pt x="93702" y="29789"/>
                </a:lnTo>
                <a:lnTo>
                  <a:pt x="97535" y="48768"/>
                </a:lnTo>
                <a:lnTo>
                  <a:pt x="97535" y="202692"/>
                </a:lnTo>
                <a:lnTo>
                  <a:pt x="93702" y="221670"/>
                </a:lnTo>
                <a:lnTo>
                  <a:pt x="83248" y="237172"/>
                </a:lnTo>
                <a:lnTo>
                  <a:pt x="67746" y="247626"/>
                </a:lnTo>
                <a:lnTo>
                  <a:pt x="48768" y="251459"/>
                </a:lnTo>
                <a:lnTo>
                  <a:pt x="29789" y="247626"/>
                </a:lnTo>
                <a:lnTo>
                  <a:pt x="14287" y="237172"/>
                </a:lnTo>
                <a:lnTo>
                  <a:pt x="3833" y="221670"/>
                </a:lnTo>
                <a:lnTo>
                  <a:pt x="0" y="202692"/>
                </a:lnTo>
                <a:lnTo>
                  <a:pt x="0" y="48768"/>
                </a:lnTo>
                <a:close/>
              </a:path>
            </a:pathLst>
          </a:custGeom>
          <a:ln w="9144">
            <a:solidFill>
              <a:srgbClr val="0D80A3"/>
            </a:solidFill>
          </a:ln>
        </p:spPr>
        <p:txBody>
          <a:bodyPr wrap="square" lIns="0" tIns="0" rIns="0" bIns="0" rtlCol="0"/>
          <a:lstStyle/>
          <a:p>
            <a:endParaRPr/>
          </a:p>
        </p:txBody>
      </p:sp>
      <p:sp>
        <p:nvSpPr>
          <p:cNvPr id="59" name="object 9">
            <a:extLst>
              <a:ext uri="{FF2B5EF4-FFF2-40B4-BE49-F238E27FC236}">
                <a16:creationId xmlns:a16="http://schemas.microsoft.com/office/drawing/2014/main" id="{01F42D88-6FDF-4D64-AFAD-C789415FF134}"/>
              </a:ext>
            </a:extLst>
          </p:cNvPr>
          <p:cNvSpPr/>
          <p:nvPr/>
        </p:nvSpPr>
        <p:spPr>
          <a:xfrm>
            <a:off x="8535923" y="437387"/>
            <a:ext cx="97535" cy="251460"/>
          </a:xfrm>
          <a:prstGeom prst="rect">
            <a:avLst/>
          </a:prstGeom>
          <a:blipFill>
            <a:blip r:embed="rId2" cstate="print"/>
            <a:stretch>
              <a:fillRect/>
            </a:stretch>
          </a:blipFill>
        </p:spPr>
        <p:txBody>
          <a:bodyPr wrap="square" lIns="0" tIns="0" rIns="0" bIns="0" rtlCol="0"/>
          <a:lstStyle/>
          <a:p>
            <a:endParaRPr/>
          </a:p>
        </p:txBody>
      </p:sp>
      <p:sp>
        <p:nvSpPr>
          <p:cNvPr id="60" name="object 10">
            <a:extLst>
              <a:ext uri="{FF2B5EF4-FFF2-40B4-BE49-F238E27FC236}">
                <a16:creationId xmlns:a16="http://schemas.microsoft.com/office/drawing/2014/main" id="{47792B6C-5AA9-4685-A67C-36011AFFB2FD}"/>
              </a:ext>
            </a:extLst>
          </p:cNvPr>
          <p:cNvSpPr/>
          <p:nvPr/>
        </p:nvSpPr>
        <p:spPr>
          <a:xfrm>
            <a:off x="8535923" y="437387"/>
            <a:ext cx="97790" cy="251460"/>
          </a:xfrm>
          <a:custGeom>
            <a:avLst/>
            <a:gdLst/>
            <a:ahLst/>
            <a:cxnLst/>
            <a:rect l="l" t="t" r="r" b="b"/>
            <a:pathLst>
              <a:path w="97790" h="251459">
                <a:moveTo>
                  <a:pt x="0" y="48767"/>
                </a:moveTo>
                <a:lnTo>
                  <a:pt x="3833" y="29789"/>
                </a:lnTo>
                <a:lnTo>
                  <a:pt x="14287" y="14287"/>
                </a:lnTo>
                <a:lnTo>
                  <a:pt x="29789" y="3833"/>
                </a:lnTo>
                <a:lnTo>
                  <a:pt x="48768" y="0"/>
                </a:lnTo>
                <a:lnTo>
                  <a:pt x="67746" y="3833"/>
                </a:lnTo>
                <a:lnTo>
                  <a:pt x="83248" y="14287"/>
                </a:lnTo>
                <a:lnTo>
                  <a:pt x="93702" y="29789"/>
                </a:lnTo>
                <a:lnTo>
                  <a:pt x="97535" y="48767"/>
                </a:lnTo>
                <a:lnTo>
                  <a:pt x="97535" y="202691"/>
                </a:lnTo>
                <a:lnTo>
                  <a:pt x="93702" y="221670"/>
                </a:lnTo>
                <a:lnTo>
                  <a:pt x="83248" y="237172"/>
                </a:lnTo>
                <a:lnTo>
                  <a:pt x="67746" y="247626"/>
                </a:lnTo>
                <a:lnTo>
                  <a:pt x="48768" y="251460"/>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61" name="object 11">
            <a:extLst>
              <a:ext uri="{FF2B5EF4-FFF2-40B4-BE49-F238E27FC236}">
                <a16:creationId xmlns:a16="http://schemas.microsoft.com/office/drawing/2014/main" id="{89718748-03A7-41E5-BBBF-34044D7F02B1}"/>
              </a:ext>
            </a:extLst>
          </p:cNvPr>
          <p:cNvSpPr/>
          <p:nvPr/>
        </p:nvSpPr>
        <p:spPr>
          <a:xfrm>
            <a:off x="8414004" y="134112"/>
            <a:ext cx="497205" cy="497205"/>
          </a:xfrm>
          <a:custGeom>
            <a:avLst/>
            <a:gdLst/>
            <a:ahLst/>
            <a:cxnLst/>
            <a:rect l="l" t="t" r="r" b="b"/>
            <a:pathLst>
              <a:path w="497204" h="497205">
                <a:moveTo>
                  <a:pt x="349885" y="0"/>
                </a:moveTo>
                <a:lnTo>
                  <a:pt x="0" y="0"/>
                </a:lnTo>
                <a:lnTo>
                  <a:pt x="0" y="496824"/>
                </a:lnTo>
                <a:lnTo>
                  <a:pt x="349885" y="496824"/>
                </a:lnTo>
                <a:lnTo>
                  <a:pt x="496824" y="248412"/>
                </a:lnTo>
                <a:lnTo>
                  <a:pt x="349885" y="0"/>
                </a:lnTo>
                <a:close/>
              </a:path>
            </a:pathLst>
          </a:custGeom>
          <a:solidFill>
            <a:srgbClr val="12ABDB"/>
          </a:solidFill>
        </p:spPr>
        <p:txBody>
          <a:bodyPr wrap="square" lIns="0" tIns="0" rIns="0" bIns="0" rtlCol="0"/>
          <a:lstStyle/>
          <a:p>
            <a:endParaRPr/>
          </a:p>
        </p:txBody>
      </p:sp>
      <p:sp>
        <p:nvSpPr>
          <p:cNvPr id="62" name="object 12">
            <a:extLst>
              <a:ext uri="{FF2B5EF4-FFF2-40B4-BE49-F238E27FC236}">
                <a16:creationId xmlns:a16="http://schemas.microsoft.com/office/drawing/2014/main" id="{4D48C69E-14B2-4B08-9970-080D54562B95}"/>
              </a:ext>
            </a:extLst>
          </p:cNvPr>
          <p:cNvSpPr/>
          <p:nvPr/>
        </p:nvSpPr>
        <p:spPr>
          <a:xfrm>
            <a:off x="8414004" y="134112"/>
            <a:ext cx="497205" cy="497205"/>
          </a:xfrm>
          <a:custGeom>
            <a:avLst/>
            <a:gdLst/>
            <a:ahLst/>
            <a:cxnLst/>
            <a:rect l="l" t="t" r="r" b="b"/>
            <a:pathLst>
              <a:path w="497204" h="497205">
                <a:moveTo>
                  <a:pt x="0" y="0"/>
                </a:moveTo>
                <a:lnTo>
                  <a:pt x="349885" y="0"/>
                </a:lnTo>
                <a:lnTo>
                  <a:pt x="496824" y="248412"/>
                </a:lnTo>
                <a:lnTo>
                  <a:pt x="349885" y="496824"/>
                </a:lnTo>
                <a:lnTo>
                  <a:pt x="0" y="496824"/>
                </a:lnTo>
                <a:lnTo>
                  <a:pt x="0" y="0"/>
                </a:lnTo>
                <a:close/>
              </a:path>
            </a:pathLst>
          </a:custGeom>
          <a:ln w="9144">
            <a:solidFill>
              <a:srgbClr val="FFFFFF"/>
            </a:solidFill>
          </a:ln>
        </p:spPr>
        <p:txBody>
          <a:bodyPr wrap="square" lIns="0" tIns="0" rIns="0" bIns="0" rtlCol="0"/>
          <a:lstStyle/>
          <a:p>
            <a:endParaRPr/>
          </a:p>
        </p:txBody>
      </p:sp>
      <p:sp>
        <p:nvSpPr>
          <p:cNvPr id="63" name="object 13">
            <a:extLst>
              <a:ext uri="{FF2B5EF4-FFF2-40B4-BE49-F238E27FC236}">
                <a16:creationId xmlns:a16="http://schemas.microsoft.com/office/drawing/2014/main" id="{451151B0-1A01-4DC4-A984-DC70E24C7D18}"/>
              </a:ext>
            </a:extLst>
          </p:cNvPr>
          <p:cNvSpPr txBox="1"/>
          <p:nvPr/>
        </p:nvSpPr>
        <p:spPr>
          <a:xfrm>
            <a:off x="8494014"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1</a:t>
            </a:r>
            <a:endParaRPr sz="800">
              <a:latin typeface="Verdana"/>
              <a:cs typeface="Verdana"/>
            </a:endParaRPr>
          </a:p>
        </p:txBody>
      </p:sp>
      <p:sp>
        <p:nvSpPr>
          <p:cNvPr id="64" name="object 14">
            <a:extLst>
              <a:ext uri="{FF2B5EF4-FFF2-40B4-BE49-F238E27FC236}">
                <a16:creationId xmlns:a16="http://schemas.microsoft.com/office/drawing/2014/main" id="{ED879C88-C2DD-4AB8-8320-70B38E7E1B27}"/>
              </a:ext>
            </a:extLst>
          </p:cNvPr>
          <p:cNvSpPr/>
          <p:nvPr/>
        </p:nvSpPr>
        <p:spPr>
          <a:xfrm>
            <a:off x="10579607" y="76200"/>
            <a:ext cx="96012" cy="251459"/>
          </a:xfrm>
          <a:prstGeom prst="rect">
            <a:avLst/>
          </a:prstGeom>
          <a:blipFill>
            <a:blip r:embed="rId3" cstate="print"/>
            <a:stretch>
              <a:fillRect/>
            </a:stretch>
          </a:blipFill>
        </p:spPr>
        <p:txBody>
          <a:bodyPr wrap="square" lIns="0" tIns="0" rIns="0" bIns="0" rtlCol="0"/>
          <a:lstStyle/>
          <a:p>
            <a:endParaRPr/>
          </a:p>
        </p:txBody>
      </p:sp>
      <p:sp>
        <p:nvSpPr>
          <p:cNvPr id="65" name="object 15">
            <a:extLst>
              <a:ext uri="{FF2B5EF4-FFF2-40B4-BE49-F238E27FC236}">
                <a16:creationId xmlns:a16="http://schemas.microsoft.com/office/drawing/2014/main" id="{60EB691C-21AF-4EB4-81D1-ED42E65B8FEE}"/>
              </a:ext>
            </a:extLst>
          </p:cNvPr>
          <p:cNvSpPr/>
          <p:nvPr/>
        </p:nvSpPr>
        <p:spPr>
          <a:xfrm>
            <a:off x="10579607" y="76200"/>
            <a:ext cx="96520" cy="251460"/>
          </a:xfrm>
          <a:custGeom>
            <a:avLst/>
            <a:gdLst/>
            <a:ahLst/>
            <a:cxnLst/>
            <a:rect l="l" t="t" r="r" b="b"/>
            <a:pathLst>
              <a:path w="96520" h="251460">
                <a:moveTo>
                  <a:pt x="0" y="48005"/>
                </a:moveTo>
                <a:lnTo>
                  <a:pt x="3768" y="29307"/>
                </a:lnTo>
                <a:lnTo>
                  <a:pt x="14049" y="14049"/>
                </a:lnTo>
                <a:lnTo>
                  <a:pt x="29307" y="3768"/>
                </a:lnTo>
                <a:lnTo>
                  <a:pt x="48006" y="0"/>
                </a:lnTo>
                <a:lnTo>
                  <a:pt x="66704" y="3768"/>
                </a:lnTo>
                <a:lnTo>
                  <a:pt x="81962" y="14049"/>
                </a:lnTo>
                <a:lnTo>
                  <a:pt x="92243" y="29307"/>
                </a:lnTo>
                <a:lnTo>
                  <a:pt x="96012" y="48005"/>
                </a:lnTo>
                <a:lnTo>
                  <a:pt x="96012" y="203453"/>
                </a:lnTo>
                <a:lnTo>
                  <a:pt x="92243" y="222152"/>
                </a:lnTo>
                <a:lnTo>
                  <a:pt x="81962" y="237410"/>
                </a:lnTo>
                <a:lnTo>
                  <a:pt x="66704" y="247691"/>
                </a:lnTo>
                <a:lnTo>
                  <a:pt x="48006" y="251459"/>
                </a:lnTo>
                <a:lnTo>
                  <a:pt x="29307" y="247691"/>
                </a:lnTo>
                <a:lnTo>
                  <a:pt x="14049" y="237410"/>
                </a:lnTo>
                <a:lnTo>
                  <a:pt x="3768" y="222152"/>
                </a:lnTo>
                <a:lnTo>
                  <a:pt x="0" y="203453"/>
                </a:lnTo>
                <a:lnTo>
                  <a:pt x="0" y="48005"/>
                </a:lnTo>
                <a:close/>
              </a:path>
            </a:pathLst>
          </a:custGeom>
          <a:ln w="9144">
            <a:solidFill>
              <a:srgbClr val="0D80A3"/>
            </a:solidFill>
          </a:ln>
        </p:spPr>
        <p:txBody>
          <a:bodyPr wrap="square" lIns="0" tIns="0" rIns="0" bIns="0" rtlCol="0"/>
          <a:lstStyle/>
          <a:p>
            <a:endParaRPr/>
          </a:p>
        </p:txBody>
      </p:sp>
      <p:sp>
        <p:nvSpPr>
          <p:cNvPr id="66" name="object 16">
            <a:extLst>
              <a:ext uri="{FF2B5EF4-FFF2-40B4-BE49-F238E27FC236}">
                <a16:creationId xmlns:a16="http://schemas.microsoft.com/office/drawing/2014/main" id="{E5BE6756-7F4A-495F-B96F-0BBA597AC731}"/>
              </a:ext>
            </a:extLst>
          </p:cNvPr>
          <p:cNvSpPr/>
          <p:nvPr/>
        </p:nvSpPr>
        <p:spPr>
          <a:xfrm>
            <a:off x="10579607" y="437387"/>
            <a:ext cx="96012" cy="251460"/>
          </a:xfrm>
          <a:prstGeom prst="rect">
            <a:avLst/>
          </a:prstGeom>
          <a:blipFill>
            <a:blip r:embed="rId3" cstate="print"/>
            <a:stretch>
              <a:fillRect/>
            </a:stretch>
          </a:blipFill>
        </p:spPr>
        <p:txBody>
          <a:bodyPr wrap="square" lIns="0" tIns="0" rIns="0" bIns="0" rtlCol="0"/>
          <a:lstStyle/>
          <a:p>
            <a:endParaRPr/>
          </a:p>
        </p:txBody>
      </p:sp>
      <p:sp>
        <p:nvSpPr>
          <p:cNvPr id="67" name="object 17">
            <a:extLst>
              <a:ext uri="{FF2B5EF4-FFF2-40B4-BE49-F238E27FC236}">
                <a16:creationId xmlns:a16="http://schemas.microsoft.com/office/drawing/2014/main" id="{F4060E64-EBC0-4688-A773-F85F20CCFA73}"/>
              </a:ext>
            </a:extLst>
          </p:cNvPr>
          <p:cNvSpPr/>
          <p:nvPr/>
        </p:nvSpPr>
        <p:spPr>
          <a:xfrm>
            <a:off x="10579607" y="437387"/>
            <a:ext cx="96520" cy="251460"/>
          </a:xfrm>
          <a:custGeom>
            <a:avLst/>
            <a:gdLst/>
            <a:ahLst/>
            <a:cxnLst/>
            <a:rect l="l" t="t" r="r" b="b"/>
            <a:pathLst>
              <a:path w="96520" h="251459">
                <a:moveTo>
                  <a:pt x="0" y="48006"/>
                </a:moveTo>
                <a:lnTo>
                  <a:pt x="3768" y="29307"/>
                </a:lnTo>
                <a:lnTo>
                  <a:pt x="14049" y="14049"/>
                </a:lnTo>
                <a:lnTo>
                  <a:pt x="29307" y="3768"/>
                </a:lnTo>
                <a:lnTo>
                  <a:pt x="48006" y="0"/>
                </a:lnTo>
                <a:lnTo>
                  <a:pt x="66704" y="3768"/>
                </a:lnTo>
                <a:lnTo>
                  <a:pt x="81962" y="14049"/>
                </a:lnTo>
                <a:lnTo>
                  <a:pt x="92243" y="29307"/>
                </a:lnTo>
                <a:lnTo>
                  <a:pt x="96012" y="48006"/>
                </a:lnTo>
                <a:lnTo>
                  <a:pt x="96012" y="203453"/>
                </a:lnTo>
                <a:lnTo>
                  <a:pt x="92243" y="222152"/>
                </a:lnTo>
                <a:lnTo>
                  <a:pt x="81962" y="237410"/>
                </a:lnTo>
                <a:lnTo>
                  <a:pt x="66704" y="247691"/>
                </a:lnTo>
                <a:lnTo>
                  <a:pt x="48006" y="251460"/>
                </a:lnTo>
                <a:lnTo>
                  <a:pt x="29307" y="247691"/>
                </a:lnTo>
                <a:lnTo>
                  <a:pt x="14049" y="237410"/>
                </a:lnTo>
                <a:lnTo>
                  <a:pt x="3768" y="222152"/>
                </a:lnTo>
                <a:lnTo>
                  <a:pt x="0" y="203453"/>
                </a:lnTo>
                <a:lnTo>
                  <a:pt x="0" y="48006"/>
                </a:lnTo>
                <a:close/>
              </a:path>
            </a:pathLst>
          </a:custGeom>
          <a:ln w="9144">
            <a:solidFill>
              <a:srgbClr val="0D80A3"/>
            </a:solidFill>
          </a:ln>
        </p:spPr>
        <p:txBody>
          <a:bodyPr wrap="square" lIns="0" tIns="0" rIns="0" bIns="0" rtlCol="0"/>
          <a:lstStyle/>
          <a:p>
            <a:endParaRPr/>
          </a:p>
        </p:txBody>
      </p:sp>
      <p:sp>
        <p:nvSpPr>
          <p:cNvPr id="68" name="object 18">
            <a:extLst>
              <a:ext uri="{FF2B5EF4-FFF2-40B4-BE49-F238E27FC236}">
                <a16:creationId xmlns:a16="http://schemas.microsoft.com/office/drawing/2014/main" id="{DB2A3B93-959F-4403-937A-1FECA3ED6FF7}"/>
              </a:ext>
            </a:extLst>
          </p:cNvPr>
          <p:cNvSpPr/>
          <p:nvPr/>
        </p:nvSpPr>
        <p:spPr>
          <a:xfrm>
            <a:off x="10456164" y="134112"/>
            <a:ext cx="497205" cy="497205"/>
          </a:xfrm>
          <a:custGeom>
            <a:avLst/>
            <a:gdLst/>
            <a:ahLst/>
            <a:cxnLst/>
            <a:rect l="l" t="t" r="r" b="b"/>
            <a:pathLst>
              <a:path w="497204" h="497205">
                <a:moveTo>
                  <a:pt x="349884" y="0"/>
                </a:moveTo>
                <a:lnTo>
                  <a:pt x="0" y="0"/>
                </a:lnTo>
                <a:lnTo>
                  <a:pt x="0" y="496824"/>
                </a:lnTo>
                <a:lnTo>
                  <a:pt x="349884" y="496824"/>
                </a:lnTo>
                <a:lnTo>
                  <a:pt x="496824" y="248412"/>
                </a:lnTo>
                <a:lnTo>
                  <a:pt x="349884" y="0"/>
                </a:lnTo>
                <a:close/>
              </a:path>
            </a:pathLst>
          </a:custGeom>
          <a:solidFill>
            <a:srgbClr val="9AE0F7"/>
          </a:solidFill>
        </p:spPr>
        <p:txBody>
          <a:bodyPr wrap="square" lIns="0" tIns="0" rIns="0" bIns="0" rtlCol="0"/>
          <a:lstStyle/>
          <a:p>
            <a:endParaRPr/>
          </a:p>
        </p:txBody>
      </p:sp>
      <p:sp>
        <p:nvSpPr>
          <p:cNvPr id="69" name="object 19">
            <a:extLst>
              <a:ext uri="{FF2B5EF4-FFF2-40B4-BE49-F238E27FC236}">
                <a16:creationId xmlns:a16="http://schemas.microsoft.com/office/drawing/2014/main" id="{29F6C8AF-0922-46CF-A7C0-004B7D035DC9}"/>
              </a:ext>
            </a:extLst>
          </p:cNvPr>
          <p:cNvSpPr/>
          <p:nvPr/>
        </p:nvSpPr>
        <p:spPr>
          <a:xfrm>
            <a:off x="10456164" y="134112"/>
            <a:ext cx="497205" cy="497205"/>
          </a:xfrm>
          <a:custGeom>
            <a:avLst/>
            <a:gdLst/>
            <a:ahLst/>
            <a:cxnLst/>
            <a:rect l="l" t="t" r="r" b="b"/>
            <a:pathLst>
              <a:path w="497204" h="497205">
                <a:moveTo>
                  <a:pt x="0" y="0"/>
                </a:moveTo>
                <a:lnTo>
                  <a:pt x="349884" y="0"/>
                </a:lnTo>
                <a:lnTo>
                  <a:pt x="496824" y="248412"/>
                </a:lnTo>
                <a:lnTo>
                  <a:pt x="349884" y="496824"/>
                </a:lnTo>
                <a:lnTo>
                  <a:pt x="0" y="496824"/>
                </a:lnTo>
                <a:lnTo>
                  <a:pt x="0" y="0"/>
                </a:lnTo>
                <a:close/>
              </a:path>
            </a:pathLst>
          </a:custGeom>
          <a:ln w="9144">
            <a:solidFill>
              <a:srgbClr val="FFFFFF"/>
            </a:solidFill>
          </a:ln>
        </p:spPr>
        <p:txBody>
          <a:bodyPr wrap="square" lIns="0" tIns="0" rIns="0" bIns="0" rtlCol="0"/>
          <a:lstStyle/>
          <a:p>
            <a:endParaRPr/>
          </a:p>
        </p:txBody>
      </p:sp>
      <p:sp>
        <p:nvSpPr>
          <p:cNvPr id="70" name="object 20">
            <a:extLst>
              <a:ext uri="{FF2B5EF4-FFF2-40B4-BE49-F238E27FC236}">
                <a16:creationId xmlns:a16="http://schemas.microsoft.com/office/drawing/2014/main" id="{576C3599-A3E9-44AD-B74F-41B954C4D78C}"/>
              </a:ext>
            </a:extLst>
          </p:cNvPr>
          <p:cNvSpPr txBox="1"/>
          <p:nvPr/>
        </p:nvSpPr>
        <p:spPr>
          <a:xfrm>
            <a:off x="10537063" y="307594"/>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2</a:t>
            </a:r>
            <a:endParaRPr sz="800">
              <a:latin typeface="Verdana"/>
              <a:cs typeface="Verdana"/>
            </a:endParaRPr>
          </a:p>
        </p:txBody>
      </p:sp>
      <p:sp>
        <p:nvSpPr>
          <p:cNvPr id="71" name="object 21">
            <a:extLst>
              <a:ext uri="{FF2B5EF4-FFF2-40B4-BE49-F238E27FC236}">
                <a16:creationId xmlns:a16="http://schemas.microsoft.com/office/drawing/2014/main" id="{3C3F9731-C2F0-4FD4-A45C-1427429F16A5}"/>
              </a:ext>
            </a:extLst>
          </p:cNvPr>
          <p:cNvSpPr/>
          <p:nvPr/>
        </p:nvSpPr>
        <p:spPr>
          <a:xfrm>
            <a:off x="11105388" y="83819"/>
            <a:ext cx="97535" cy="251459"/>
          </a:xfrm>
          <a:prstGeom prst="rect">
            <a:avLst/>
          </a:prstGeom>
          <a:blipFill>
            <a:blip r:embed="rId4" cstate="print"/>
            <a:stretch>
              <a:fillRect/>
            </a:stretch>
          </a:blipFill>
        </p:spPr>
        <p:txBody>
          <a:bodyPr wrap="square" lIns="0" tIns="0" rIns="0" bIns="0" rtlCol="0"/>
          <a:lstStyle/>
          <a:p>
            <a:endParaRPr/>
          </a:p>
        </p:txBody>
      </p:sp>
      <p:sp>
        <p:nvSpPr>
          <p:cNvPr id="72" name="object 22">
            <a:extLst>
              <a:ext uri="{FF2B5EF4-FFF2-40B4-BE49-F238E27FC236}">
                <a16:creationId xmlns:a16="http://schemas.microsoft.com/office/drawing/2014/main" id="{36043484-FE4D-4AD7-B922-87CEE479F647}"/>
              </a:ext>
            </a:extLst>
          </p:cNvPr>
          <p:cNvSpPr/>
          <p:nvPr/>
        </p:nvSpPr>
        <p:spPr>
          <a:xfrm>
            <a:off x="11105388" y="83819"/>
            <a:ext cx="97790" cy="251460"/>
          </a:xfrm>
          <a:custGeom>
            <a:avLst/>
            <a:gdLst/>
            <a:ahLst/>
            <a:cxnLst/>
            <a:rect l="l" t="t" r="r" b="b"/>
            <a:pathLst>
              <a:path w="97790" h="251460">
                <a:moveTo>
                  <a:pt x="0" y="48768"/>
                </a:moveTo>
                <a:lnTo>
                  <a:pt x="3833" y="29789"/>
                </a:lnTo>
                <a:lnTo>
                  <a:pt x="14287" y="14287"/>
                </a:lnTo>
                <a:lnTo>
                  <a:pt x="29789" y="3833"/>
                </a:lnTo>
                <a:lnTo>
                  <a:pt x="48767" y="0"/>
                </a:lnTo>
                <a:lnTo>
                  <a:pt x="67746" y="3833"/>
                </a:lnTo>
                <a:lnTo>
                  <a:pt x="83248" y="14287"/>
                </a:lnTo>
                <a:lnTo>
                  <a:pt x="93702" y="29789"/>
                </a:lnTo>
                <a:lnTo>
                  <a:pt x="97535" y="48768"/>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8"/>
                </a:lnTo>
                <a:close/>
              </a:path>
            </a:pathLst>
          </a:custGeom>
          <a:ln w="9144">
            <a:solidFill>
              <a:srgbClr val="0D80A3"/>
            </a:solidFill>
          </a:ln>
        </p:spPr>
        <p:txBody>
          <a:bodyPr wrap="square" lIns="0" tIns="0" rIns="0" bIns="0" rtlCol="0"/>
          <a:lstStyle/>
          <a:p>
            <a:endParaRPr/>
          </a:p>
        </p:txBody>
      </p:sp>
      <p:sp>
        <p:nvSpPr>
          <p:cNvPr id="73" name="object 23">
            <a:extLst>
              <a:ext uri="{FF2B5EF4-FFF2-40B4-BE49-F238E27FC236}">
                <a16:creationId xmlns:a16="http://schemas.microsoft.com/office/drawing/2014/main" id="{107DE85B-0447-446D-B8D9-AA69B77A9629}"/>
              </a:ext>
            </a:extLst>
          </p:cNvPr>
          <p:cNvSpPr/>
          <p:nvPr/>
        </p:nvSpPr>
        <p:spPr>
          <a:xfrm>
            <a:off x="11105388" y="445008"/>
            <a:ext cx="97535" cy="251459"/>
          </a:xfrm>
          <a:prstGeom prst="rect">
            <a:avLst/>
          </a:prstGeom>
          <a:blipFill>
            <a:blip r:embed="rId5" cstate="print"/>
            <a:stretch>
              <a:fillRect/>
            </a:stretch>
          </a:blipFill>
        </p:spPr>
        <p:txBody>
          <a:bodyPr wrap="square" lIns="0" tIns="0" rIns="0" bIns="0" rtlCol="0"/>
          <a:lstStyle/>
          <a:p>
            <a:endParaRPr/>
          </a:p>
        </p:txBody>
      </p:sp>
      <p:sp>
        <p:nvSpPr>
          <p:cNvPr id="74" name="object 24">
            <a:extLst>
              <a:ext uri="{FF2B5EF4-FFF2-40B4-BE49-F238E27FC236}">
                <a16:creationId xmlns:a16="http://schemas.microsoft.com/office/drawing/2014/main" id="{9DD56643-8DE4-46F0-B7BA-5D10D1960F0F}"/>
              </a:ext>
            </a:extLst>
          </p:cNvPr>
          <p:cNvSpPr/>
          <p:nvPr/>
        </p:nvSpPr>
        <p:spPr>
          <a:xfrm>
            <a:off x="11105388" y="445008"/>
            <a:ext cx="97790" cy="251460"/>
          </a:xfrm>
          <a:custGeom>
            <a:avLst/>
            <a:gdLst/>
            <a:ahLst/>
            <a:cxnLst/>
            <a:rect l="l" t="t" r="r" b="b"/>
            <a:pathLst>
              <a:path w="97790" h="251459">
                <a:moveTo>
                  <a:pt x="0" y="48767"/>
                </a:moveTo>
                <a:lnTo>
                  <a:pt x="3833" y="29789"/>
                </a:lnTo>
                <a:lnTo>
                  <a:pt x="14287" y="14287"/>
                </a:lnTo>
                <a:lnTo>
                  <a:pt x="29789" y="3833"/>
                </a:lnTo>
                <a:lnTo>
                  <a:pt x="48767" y="0"/>
                </a:lnTo>
                <a:lnTo>
                  <a:pt x="67746" y="3833"/>
                </a:lnTo>
                <a:lnTo>
                  <a:pt x="83248" y="14287"/>
                </a:lnTo>
                <a:lnTo>
                  <a:pt x="93702" y="29789"/>
                </a:lnTo>
                <a:lnTo>
                  <a:pt x="97535" y="48767"/>
                </a:lnTo>
                <a:lnTo>
                  <a:pt x="97535" y="202691"/>
                </a:lnTo>
                <a:lnTo>
                  <a:pt x="93702" y="221670"/>
                </a:lnTo>
                <a:lnTo>
                  <a:pt x="83248" y="237172"/>
                </a:lnTo>
                <a:lnTo>
                  <a:pt x="67746" y="247626"/>
                </a:lnTo>
                <a:lnTo>
                  <a:pt x="48767" y="251459"/>
                </a:lnTo>
                <a:lnTo>
                  <a:pt x="29789" y="247626"/>
                </a:lnTo>
                <a:lnTo>
                  <a:pt x="14287" y="237172"/>
                </a:lnTo>
                <a:lnTo>
                  <a:pt x="3833" y="221670"/>
                </a:lnTo>
                <a:lnTo>
                  <a:pt x="0" y="202691"/>
                </a:lnTo>
                <a:lnTo>
                  <a:pt x="0" y="48767"/>
                </a:lnTo>
                <a:close/>
              </a:path>
            </a:pathLst>
          </a:custGeom>
          <a:ln w="9144">
            <a:solidFill>
              <a:srgbClr val="0D80A3"/>
            </a:solidFill>
          </a:ln>
        </p:spPr>
        <p:txBody>
          <a:bodyPr wrap="square" lIns="0" tIns="0" rIns="0" bIns="0" rtlCol="0"/>
          <a:lstStyle/>
          <a:p>
            <a:endParaRPr/>
          </a:p>
        </p:txBody>
      </p:sp>
      <p:sp>
        <p:nvSpPr>
          <p:cNvPr id="75" name="object 25">
            <a:extLst>
              <a:ext uri="{FF2B5EF4-FFF2-40B4-BE49-F238E27FC236}">
                <a16:creationId xmlns:a16="http://schemas.microsoft.com/office/drawing/2014/main" id="{7D1F4116-448E-4CFA-9F42-C0DC7C25D59C}"/>
              </a:ext>
            </a:extLst>
          </p:cNvPr>
          <p:cNvSpPr/>
          <p:nvPr/>
        </p:nvSpPr>
        <p:spPr>
          <a:xfrm>
            <a:off x="10983468" y="141731"/>
            <a:ext cx="495300" cy="497205"/>
          </a:xfrm>
          <a:custGeom>
            <a:avLst/>
            <a:gdLst/>
            <a:ahLst/>
            <a:cxnLst/>
            <a:rect l="l" t="t" r="r" b="b"/>
            <a:pathLst>
              <a:path w="495300" h="497205">
                <a:moveTo>
                  <a:pt x="348868" y="0"/>
                </a:moveTo>
                <a:lnTo>
                  <a:pt x="0" y="0"/>
                </a:lnTo>
                <a:lnTo>
                  <a:pt x="0" y="496824"/>
                </a:lnTo>
                <a:lnTo>
                  <a:pt x="348868" y="496824"/>
                </a:lnTo>
                <a:lnTo>
                  <a:pt x="495300" y="248412"/>
                </a:lnTo>
                <a:lnTo>
                  <a:pt x="348868" y="0"/>
                </a:lnTo>
                <a:close/>
              </a:path>
            </a:pathLst>
          </a:custGeom>
          <a:solidFill>
            <a:srgbClr val="9AE0F7"/>
          </a:solidFill>
        </p:spPr>
        <p:txBody>
          <a:bodyPr wrap="square" lIns="0" tIns="0" rIns="0" bIns="0" rtlCol="0"/>
          <a:lstStyle/>
          <a:p>
            <a:endParaRPr/>
          </a:p>
        </p:txBody>
      </p:sp>
      <p:sp>
        <p:nvSpPr>
          <p:cNvPr id="76" name="object 26">
            <a:extLst>
              <a:ext uri="{FF2B5EF4-FFF2-40B4-BE49-F238E27FC236}">
                <a16:creationId xmlns:a16="http://schemas.microsoft.com/office/drawing/2014/main" id="{8E32FCF4-D390-48C2-955C-0BEB8459A804}"/>
              </a:ext>
            </a:extLst>
          </p:cNvPr>
          <p:cNvSpPr/>
          <p:nvPr/>
        </p:nvSpPr>
        <p:spPr>
          <a:xfrm>
            <a:off x="10983468" y="141731"/>
            <a:ext cx="495300" cy="497205"/>
          </a:xfrm>
          <a:custGeom>
            <a:avLst/>
            <a:gdLst/>
            <a:ahLst/>
            <a:cxnLst/>
            <a:rect l="l" t="t" r="r" b="b"/>
            <a:pathLst>
              <a:path w="495300" h="497205">
                <a:moveTo>
                  <a:pt x="0" y="0"/>
                </a:moveTo>
                <a:lnTo>
                  <a:pt x="348868" y="0"/>
                </a:lnTo>
                <a:lnTo>
                  <a:pt x="495300" y="248412"/>
                </a:lnTo>
                <a:lnTo>
                  <a:pt x="348868" y="496824"/>
                </a:lnTo>
                <a:lnTo>
                  <a:pt x="0" y="496824"/>
                </a:lnTo>
                <a:lnTo>
                  <a:pt x="0" y="0"/>
                </a:lnTo>
                <a:close/>
              </a:path>
            </a:pathLst>
          </a:custGeom>
          <a:ln w="9144">
            <a:solidFill>
              <a:srgbClr val="FFFFFF"/>
            </a:solidFill>
          </a:ln>
        </p:spPr>
        <p:txBody>
          <a:bodyPr wrap="square" lIns="0" tIns="0" rIns="0" bIns="0" rtlCol="0"/>
          <a:lstStyle/>
          <a:p>
            <a:endParaRPr/>
          </a:p>
        </p:txBody>
      </p:sp>
      <p:sp>
        <p:nvSpPr>
          <p:cNvPr id="77" name="object 27">
            <a:extLst>
              <a:ext uri="{FF2B5EF4-FFF2-40B4-BE49-F238E27FC236}">
                <a16:creationId xmlns:a16="http://schemas.microsoft.com/office/drawing/2014/main" id="{0DA02ECD-F42C-4491-9EF3-A3A199F2AB37}"/>
              </a:ext>
            </a:extLst>
          </p:cNvPr>
          <p:cNvSpPr txBox="1"/>
          <p:nvPr/>
        </p:nvSpPr>
        <p:spPr>
          <a:xfrm>
            <a:off x="11063731" y="314706"/>
            <a:ext cx="208279" cy="147955"/>
          </a:xfrm>
          <a:prstGeom prst="rect">
            <a:avLst/>
          </a:prstGeom>
        </p:spPr>
        <p:txBody>
          <a:bodyPr vert="horz" wrap="square" lIns="0" tIns="12700" rIns="0" bIns="0" rtlCol="0">
            <a:spAutoFit/>
          </a:bodyPr>
          <a:lstStyle/>
          <a:p>
            <a:pPr marL="12700">
              <a:lnSpc>
                <a:spcPct val="100000"/>
              </a:lnSpc>
              <a:spcBef>
                <a:spcPts val="100"/>
              </a:spcBef>
            </a:pPr>
            <a:r>
              <a:rPr sz="800" b="1">
                <a:solidFill>
                  <a:srgbClr val="FFFFFF"/>
                </a:solidFill>
                <a:latin typeface="Verdana"/>
                <a:cs typeface="Verdana"/>
              </a:rPr>
              <a:t>1</a:t>
            </a:r>
            <a:r>
              <a:rPr sz="800" b="1" spc="-5">
                <a:solidFill>
                  <a:srgbClr val="FFFFFF"/>
                </a:solidFill>
                <a:latin typeface="Verdana"/>
                <a:cs typeface="Verdana"/>
              </a:rPr>
              <a:t>.3</a:t>
            </a:r>
            <a:endParaRPr sz="800">
              <a:latin typeface="Verdana"/>
              <a:cs typeface="Verdana"/>
            </a:endParaRPr>
          </a:p>
        </p:txBody>
      </p:sp>
      <p:pic>
        <p:nvPicPr>
          <p:cNvPr id="78" name="Picture 2" descr="Supercharge your Sitetracker data with Einstein Analytics">
            <a:extLst>
              <a:ext uri="{FF2B5EF4-FFF2-40B4-BE49-F238E27FC236}">
                <a16:creationId xmlns:a16="http://schemas.microsoft.com/office/drawing/2014/main" id="{E7BAACD6-2DC6-4744-A36C-9EB8AAF6F7F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10686086" y="4824008"/>
            <a:ext cx="1688959" cy="1688959"/>
          </a:xfrm>
          <a:prstGeom prst="rect">
            <a:avLst/>
          </a:prstGeom>
          <a:noFill/>
          <a:extLst>
            <a:ext uri="{909E8E84-426E-40DD-AFC4-6F175D3DCCD1}">
              <a14:hiddenFill xmlns:a14="http://schemas.microsoft.com/office/drawing/2010/main">
                <a:solidFill>
                  <a:srgbClr val="FFFFFF"/>
                </a:solidFill>
              </a14:hiddenFill>
            </a:ext>
          </a:extLst>
        </p:spPr>
      </p:pic>
      <p:sp>
        <p:nvSpPr>
          <p:cNvPr id="79" name="Rounded Rectangle 54">
            <a:extLst>
              <a:ext uri="{FF2B5EF4-FFF2-40B4-BE49-F238E27FC236}">
                <a16:creationId xmlns:a16="http://schemas.microsoft.com/office/drawing/2014/main" id="{ECC6468B-D264-4C1D-B402-E74EC46849E4}"/>
              </a:ext>
            </a:extLst>
          </p:cNvPr>
          <p:cNvSpPr/>
          <p:nvPr/>
        </p:nvSpPr>
        <p:spPr>
          <a:xfrm flipH="1">
            <a:off x="2066458" y="1038225"/>
            <a:ext cx="8512990" cy="959699"/>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a:ln>
                  <a:noFill/>
                </a:ln>
                <a:solidFill>
                  <a:prstClr val="black"/>
                </a:solidFill>
                <a:effectLst/>
                <a:uLnTx/>
                <a:uFillTx/>
                <a:latin typeface="Verdana"/>
                <a:ea typeface="+mn-ea"/>
                <a:cs typeface="+mn-cs"/>
              </a:rPr>
              <a:t>Salesforce: Service Cloud – FSL - CPQ</a:t>
            </a:r>
          </a:p>
          <a:p>
            <a:pPr marL="171433" marR="0" lvl="0" indent="-171433" defTabSz="914400" eaLnBrk="1" fontAlgn="auto" latinLnBrk="0" hangingPunct="1">
              <a:lnSpc>
                <a:spcPct val="100000"/>
              </a:lnSpc>
              <a:spcBef>
                <a:spcPts val="0"/>
              </a:spcBef>
              <a:spcAft>
                <a:spcPts val="200"/>
              </a:spcAft>
              <a:buClr>
                <a:srgbClr val="0070AD"/>
              </a:buClr>
              <a:buSzTx/>
              <a:buFont typeface="Wingdings" panose="05000000000000000000" pitchFamily="2" charset="2"/>
              <a:buChar char="§"/>
              <a:tabLst/>
              <a:defRPr/>
            </a:pPr>
            <a:r>
              <a:rPr kumimoji="0" lang="en-IN" sz="1100" b="1" i="0" u="none" strike="noStrike" kern="0" cap="none" spc="0" normalizeH="0" baseline="0" noProof="0" err="1">
                <a:ln>
                  <a:noFill/>
                </a:ln>
                <a:solidFill>
                  <a:prstClr val="black"/>
                </a:solidFill>
                <a:effectLst/>
                <a:uLnTx/>
                <a:uFillTx/>
                <a:latin typeface="Verdana"/>
                <a:ea typeface="+mn-ea"/>
                <a:cs typeface="+mn-cs"/>
              </a:rPr>
              <a:t>XStore</a:t>
            </a:r>
            <a:endParaRPr kumimoji="0" lang="en-IN" sz="1100" b="1" i="0" u="none" strike="noStrike" kern="0" cap="none" spc="0" normalizeH="0" baseline="0" noProof="0">
              <a:ln>
                <a:noFill/>
              </a:ln>
              <a:solidFill>
                <a:prstClr val="black"/>
              </a:solidFill>
              <a:effectLst/>
              <a:uLnTx/>
              <a:uFillTx/>
              <a:latin typeface="Verdana"/>
              <a:ea typeface="+mn-ea"/>
              <a:cs typeface="+mn-cs"/>
            </a:endParaRPr>
          </a:p>
        </p:txBody>
      </p:sp>
      <p:sp>
        <p:nvSpPr>
          <p:cNvPr id="80" name="Rounded Rectangle 55">
            <a:extLst>
              <a:ext uri="{FF2B5EF4-FFF2-40B4-BE49-F238E27FC236}">
                <a16:creationId xmlns:a16="http://schemas.microsoft.com/office/drawing/2014/main" id="{C90A3203-9B94-4BF7-853D-31A9A44CF794}"/>
              </a:ext>
            </a:extLst>
          </p:cNvPr>
          <p:cNvSpPr/>
          <p:nvPr/>
        </p:nvSpPr>
        <p:spPr>
          <a:xfrm flipH="1">
            <a:off x="483242" y="1051409"/>
            <a:ext cx="1373077" cy="2183633"/>
          </a:xfrm>
          <a:prstGeom prst="rect">
            <a:avLst/>
          </a:prstGeom>
          <a:solidFill>
            <a:srgbClr val="00C37B"/>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Pillar</a:t>
            </a:r>
          </a:p>
        </p:txBody>
      </p:sp>
      <p:sp>
        <p:nvSpPr>
          <p:cNvPr id="81" name="Rounded Rectangle 55">
            <a:extLst>
              <a:ext uri="{FF2B5EF4-FFF2-40B4-BE49-F238E27FC236}">
                <a16:creationId xmlns:a16="http://schemas.microsoft.com/office/drawing/2014/main" id="{0775FB20-09A5-47DB-9A46-A2B888813ECE}"/>
              </a:ext>
            </a:extLst>
          </p:cNvPr>
          <p:cNvSpPr/>
          <p:nvPr/>
        </p:nvSpPr>
        <p:spPr>
          <a:xfrm flipH="1">
            <a:off x="453897" y="5698091"/>
            <a:ext cx="1413003" cy="852150"/>
          </a:xfrm>
          <a:prstGeom prst="rect">
            <a:avLst/>
          </a:prstGeom>
          <a:solidFill>
            <a:srgbClr val="D22238"/>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Benefits for Marelli</a:t>
            </a:r>
          </a:p>
        </p:txBody>
      </p:sp>
      <p:sp>
        <p:nvSpPr>
          <p:cNvPr id="82" name="Rounded Rectangle 55">
            <a:extLst>
              <a:ext uri="{FF2B5EF4-FFF2-40B4-BE49-F238E27FC236}">
                <a16:creationId xmlns:a16="http://schemas.microsoft.com/office/drawing/2014/main" id="{3A9C492B-73FA-447B-BF6A-16501EF4ED0B}"/>
              </a:ext>
            </a:extLst>
          </p:cNvPr>
          <p:cNvSpPr/>
          <p:nvPr/>
        </p:nvSpPr>
        <p:spPr>
          <a:xfrm flipH="1">
            <a:off x="483238" y="3283266"/>
            <a:ext cx="1371141" cy="2366601"/>
          </a:xfrm>
          <a:prstGeom prst="rect">
            <a:avLst/>
          </a:prstGeom>
          <a:solidFill>
            <a:srgbClr val="0070AD"/>
          </a:solidFill>
          <a:ln w="12700" cap="flat" cmpd="sng" algn="ctr">
            <a:noFill/>
            <a:prstDash val="solid"/>
            <a:miter lim="800000"/>
          </a:ln>
          <a:effectLst/>
        </p:spPr>
        <p:txBody>
          <a:bodyPr wrap="square" lIns="45714" rIns="45714"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Capgemini</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FFFFFF"/>
                </a:solidFill>
                <a:effectLst/>
                <a:uLnTx/>
                <a:uFillTx/>
                <a:latin typeface="Verdana"/>
                <a:ea typeface="+mn-ea"/>
                <a:cs typeface="+mn-cs"/>
              </a:rPr>
              <a:t>Approach</a:t>
            </a:r>
          </a:p>
        </p:txBody>
      </p:sp>
      <p:sp>
        <p:nvSpPr>
          <p:cNvPr id="83" name="Rectangle 82">
            <a:extLst>
              <a:ext uri="{FF2B5EF4-FFF2-40B4-BE49-F238E27FC236}">
                <a16:creationId xmlns:a16="http://schemas.microsoft.com/office/drawing/2014/main" id="{1D6FF1F5-3A65-471A-9B81-B203C3296A3C}"/>
              </a:ext>
            </a:extLst>
          </p:cNvPr>
          <p:cNvSpPr/>
          <p:nvPr/>
        </p:nvSpPr>
        <p:spPr>
          <a:xfrm rot="10800000" flipH="1">
            <a:off x="1943617" y="1038224"/>
            <a:ext cx="367796" cy="939208"/>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sp>
        <p:nvSpPr>
          <p:cNvPr id="84" name="Rounded Rectangle 54">
            <a:extLst>
              <a:ext uri="{FF2B5EF4-FFF2-40B4-BE49-F238E27FC236}">
                <a16:creationId xmlns:a16="http://schemas.microsoft.com/office/drawing/2014/main" id="{83AB793B-AE7C-4F8E-B525-D260AC2CB494}"/>
              </a:ext>
            </a:extLst>
          </p:cNvPr>
          <p:cNvSpPr/>
          <p:nvPr/>
        </p:nvSpPr>
        <p:spPr>
          <a:xfrm flipH="1">
            <a:off x="2066454" y="1047751"/>
            <a:ext cx="8512989" cy="847884"/>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200"/>
              </a:spcAft>
              <a:buClr>
                <a:srgbClr val="0070AD"/>
              </a:buClr>
              <a:buSzTx/>
              <a:buFontTx/>
              <a:buNone/>
              <a:tabLst/>
              <a:defRPr/>
            </a:pPr>
            <a:r>
              <a:rPr kumimoji="0" lang="en-US" sz="1200" b="1" i="0" u="none" strike="noStrike" kern="0" cap="none" spc="0" normalizeH="0" baseline="0" noProof="0">
                <a:ln>
                  <a:noFill/>
                </a:ln>
                <a:solidFill>
                  <a:prstClr val="black"/>
                </a:solidFill>
                <a:effectLst/>
                <a:uLnTx/>
                <a:uFillTx/>
                <a:latin typeface="Verdana"/>
                <a:ea typeface="+mn-ea"/>
                <a:cs typeface="+mn-cs"/>
              </a:rPr>
              <a:t>Review Einstein Analytics Dataflow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Verdana"/>
                <a:ea typeface="+mn-ea"/>
                <a:cs typeface="+mn-cs"/>
              </a:rPr>
              <a:t>Leveraging on Basket Datasets for Planning Statuses and therefore elaborate only new data for later append </a:t>
            </a:r>
            <a:endParaRPr kumimoji="0" lang="en-IN" sz="1200" b="0" i="0" u="none" strike="noStrike" kern="0" cap="none" spc="0" normalizeH="0" baseline="0" noProof="0">
              <a:ln>
                <a:noFill/>
              </a:ln>
              <a:solidFill>
                <a:prstClr val="black"/>
              </a:solidFill>
              <a:effectLst/>
              <a:uLnTx/>
              <a:uFillTx/>
              <a:latin typeface="Verdana"/>
              <a:ea typeface="+mn-ea"/>
              <a:cs typeface="+mn-cs"/>
            </a:endParaRPr>
          </a:p>
        </p:txBody>
      </p:sp>
      <p:sp>
        <p:nvSpPr>
          <p:cNvPr id="85" name="Rectangle 84">
            <a:extLst>
              <a:ext uri="{FF2B5EF4-FFF2-40B4-BE49-F238E27FC236}">
                <a16:creationId xmlns:a16="http://schemas.microsoft.com/office/drawing/2014/main" id="{812FCA04-F508-4C06-B7CB-9B6320746FA5}"/>
              </a:ext>
            </a:extLst>
          </p:cNvPr>
          <p:cNvSpPr/>
          <p:nvPr/>
        </p:nvSpPr>
        <p:spPr>
          <a:xfrm>
            <a:off x="1938240" y="2086605"/>
            <a:ext cx="2767110" cy="300217"/>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Verdana"/>
                <a:ea typeface="+mn-ea"/>
                <a:cs typeface="+mn-cs"/>
              </a:rPr>
              <a:t>Direct Filters</a:t>
            </a:r>
          </a:p>
        </p:txBody>
      </p:sp>
      <p:sp>
        <p:nvSpPr>
          <p:cNvPr id="86" name="Rectangle 85">
            <a:extLst>
              <a:ext uri="{FF2B5EF4-FFF2-40B4-BE49-F238E27FC236}">
                <a16:creationId xmlns:a16="http://schemas.microsoft.com/office/drawing/2014/main" id="{7A7E0455-8236-455C-9860-7BE9CEFD914C}"/>
              </a:ext>
            </a:extLst>
          </p:cNvPr>
          <p:cNvSpPr/>
          <p:nvPr/>
        </p:nvSpPr>
        <p:spPr>
          <a:xfrm>
            <a:off x="1938241" y="2386822"/>
            <a:ext cx="2767110" cy="4148094"/>
          </a:xfrm>
          <a:prstGeom prst="rect">
            <a:avLst/>
          </a:prstGeom>
          <a:solidFill>
            <a:srgbClr val="FFFFFF"/>
          </a:solidFill>
          <a:ln w="12700" cap="flat" cmpd="sng" algn="ctr">
            <a:solidFill>
              <a:srgbClr val="FFFFFF">
                <a:lumMod val="75000"/>
              </a:srgbClr>
            </a:solidFill>
            <a:prstDash val="solid"/>
            <a:miter lim="800000"/>
          </a:ln>
          <a:effectLst/>
        </p:spPr>
        <p:txBody>
          <a:bodyPr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Verdana"/>
              <a:ea typeface="+mn-ea"/>
              <a:cs typeface="+mn-cs"/>
            </a:endParaRPr>
          </a:p>
        </p:txBody>
      </p:sp>
      <p:sp>
        <p:nvSpPr>
          <p:cNvPr id="87" name="Text Placeholder 2">
            <a:extLst>
              <a:ext uri="{FF2B5EF4-FFF2-40B4-BE49-F238E27FC236}">
                <a16:creationId xmlns:a16="http://schemas.microsoft.com/office/drawing/2014/main" id="{A0A00192-DCF3-4FD9-B459-D836B3716FE4}"/>
              </a:ext>
            </a:extLst>
          </p:cNvPr>
          <p:cNvSpPr txBox="1">
            <a:spLocks/>
          </p:cNvSpPr>
          <p:nvPr/>
        </p:nvSpPr>
        <p:spPr>
          <a:xfrm>
            <a:off x="2139588" y="2676458"/>
            <a:ext cx="2565764" cy="3893374"/>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pPr>
            <a:endParaRPr lang="en-GB" sz="1100" b="1">
              <a:solidFill>
                <a:srgbClr val="0070AD"/>
              </a:solidFill>
              <a:latin typeface="Verdana"/>
            </a:endParaRPr>
          </a:p>
          <a:p>
            <a:pPr>
              <a:lnSpc>
                <a:spcPct val="100000"/>
              </a:lnSpc>
              <a:spcBef>
                <a:spcPts val="0"/>
              </a:spcBef>
            </a:pPr>
            <a:r>
              <a:rPr lang="en-GB" sz="1100">
                <a:solidFill>
                  <a:prstClr val="black"/>
                </a:solidFill>
                <a:latin typeface="Verdana"/>
                <a:ea typeface="Verdana"/>
                <a:cs typeface="+mj-lt"/>
              </a:rPr>
              <a:t>Add Fields to allow direct filters on Planning Statuses / Scenarios.</a:t>
            </a:r>
            <a:br>
              <a:rPr lang="en-GB" sz="1100">
                <a:solidFill>
                  <a:prstClr val="black"/>
                </a:solidFill>
                <a:latin typeface="Verdana"/>
                <a:ea typeface="Verdana"/>
                <a:cs typeface="+mj-lt"/>
              </a:rPr>
            </a:br>
            <a:endParaRPr lang="en-GB" sz="1100">
              <a:solidFill>
                <a:prstClr val="black"/>
              </a:solidFill>
              <a:latin typeface="Verdana"/>
              <a:ea typeface="Verdana"/>
              <a:cs typeface="+mj-lt"/>
            </a:endParaRPr>
          </a:p>
          <a:p>
            <a:pPr>
              <a:lnSpc>
                <a:spcPct val="100000"/>
              </a:lnSpc>
              <a:spcBef>
                <a:spcPts val="0"/>
              </a:spcBef>
            </a:pPr>
            <a:endParaRPr lang="en-GB" sz="1100" i="1">
              <a:solidFill>
                <a:prstClr val="black">
                  <a:lumMod val="65000"/>
                  <a:lumOff val="35000"/>
                </a:prstClr>
              </a:solidFill>
              <a:latin typeface="Verdana"/>
            </a:endParaRPr>
          </a:p>
          <a:p>
            <a:pPr>
              <a:lnSpc>
                <a:spcPct val="100000"/>
              </a:lnSpc>
              <a:spcBef>
                <a:spcPts val="0"/>
              </a:spcBef>
            </a:pPr>
            <a:endParaRPr lang="en-GB" sz="1100" i="1">
              <a:solidFill>
                <a:prstClr val="black">
                  <a:lumMod val="65000"/>
                  <a:lumOff val="35000"/>
                </a:prstClr>
              </a:solidFill>
              <a:latin typeface="Verdana"/>
            </a:endParaRPr>
          </a:p>
          <a:p>
            <a:pPr>
              <a:lnSpc>
                <a:spcPct val="100000"/>
              </a:lnSpc>
              <a:spcBef>
                <a:spcPts val="0"/>
              </a:spcBef>
            </a:pPr>
            <a:br>
              <a:rPr lang="en-GB" sz="1100" i="1">
                <a:solidFill>
                  <a:prstClr val="black">
                    <a:lumMod val="65000"/>
                    <a:lumOff val="35000"/>
                  </a:prstClr>
                </a:solidFill>
                <a:latin typeface="Verdana"/>
              </a:rPr>
            </a:br>
            <a:r>
              <a:rPr lang="en-US" sz="1100">
                <a:solidFill>
                  <a:prstClr val="black"/>
                </a:solidFill>
                <a:latin typeface="Verdana"/>
                <a:ea typeface="Verdana"/>
                <a:cs typeface="+mj-lt"/>
              </a:rPr>
              <a:t>Propagate the use of the given Fields on Synched Objects in Einstein Analytics and related dataflows</a:t>
            </a:r>
            <a:endParaRPr lang="en-GB" sz="1100">
              <a:solidFill>
                <a:prstClr val="black"/>
              </a:solidFill>
              <a:latin typeface="Verdana"/>
              <a:ea typeface="Verdana"/>
              <a:cs typeface="+mj-lt"/>
            </a:endParaRPr>
          </a:p>
          <a:p>
            <a:pPr>
              <a:lnSpc>
                <a:spcPct val="100000"/>
              </a:lnSpc>
              <a:spcBef>
                <a:spcPts val="0"/>
              </a:spcBef>
            </a:pPr>
            <a:endParaRPr lang="en-GB" sz="1100" i="1">
              <a:solidFill>
                <a:prstClr val="black">
                  <a:lumMod val="65000"/>
                  <a:lumOff val="35000"/>
                </a:prstClr>
              </a:solidFill>
              <a:latin typeface="Verdana"/>
              <a:ea typeface="Verdana"/>
              <a:cs typeface="Verdana"/>
            </a:endParaRPr>
          </a:p>
          <a:p>
            <a:pPr>
              <a:lnSpc>
                <a:spcPct val="100000"/>
              </a:lnSpc>
              <a:spcBef>
                <a:spcPts val="0"/>
              </a:spcBef>
            </a:pPr>
            <a:endParaRPr lang="en-GB" sz="1100" i="1">
              <a:solidFill>
                <a:prstClr val="black">
                  <a:lumMod val="65000"/>
                  <a:lumOff val="35000"/>
                </a:prstClr>
              </a:solidFill>
              <a:latin typeface="Verdana"/>
              <a:ea typeface="Verdana"/>
              <a:cs typeface="Verdana"/>
            </a:endParaRPr>
          </a:p>
          <a:p>
            <a:pPr>
              <a:lnSpc>
                <a:spcPct val="100000"/>
              </a:lnSpc>
              <a:spcBef>
                <a:spcPts val="0"/>
              </a:spcBef>
            </a:pPr>
            <a:endParaRPr lang="en-GB" sz="1100" i="1">
              <a:solidFill>
                <a:prstClr val="black">
                  <a:lumMod val="65000"/>
                  <a:lumOff val="35000"/>
                </a:prstClr>
              </a:solidFill>
              <a:latin typeface="Verdana"/>
              <a:ea typeface="Verdana"/>
              <a:cs typeface="Verdana"/>
            </a:endParaRPr>
          </a:p>
          <a:p>
            <a:pPr>
              <a:lnSpc>
                <a:spcPct val="100000"/>
              </a:lnSpc>
              <a:spcBef>
                <a:spcPts val="0"/>
              </a:spcBef>
            </a:pPr>
            <a:endParaRPr lang="en-GB" sz="1100" i="1">
              <a:solidFill>
                <a:prstClr val="black">
                  <a:lumMod val="65000"/>
                  <a:lumOff val="35000"/>
                </a:prstClr>
              </a:solidFill>
              <a:latin typeface="Verdana"/>
              <a:ea typeface="Verdana"/>
              <a:cs typeface="Verdana"/>
            </a:endParaRPr>
          </a:p>
          <a:p>
            <a:pPr>
              <a:lnSpc>
                <a:spcPct val="100000"/>
              </a:lnSpc>
              <a:spcBef>
                <a:spcPts val="0"/>
              </a:spcBef>
            </a:pPr>
            <a:endParaRPr lang="en-GB" sz="1100" i="1">
              <a:solidFill>
                <a:prstClr val="black">
                  <a:lumMod val="65000"/>
                  <a:lumOff val="35000"/>
                </a:prstClr>
              </a:solidFill>
              <a:latin typeface="Verdana"/>
              <a:ea typeface="Verdana"/>
              <a:cs typeface="Verdana"/>
            </a:endParaRPr>
          </a:p>
          <a:p>
            <a:pPr>
              <a:lnSpc>
                <a:spcPct val="100000"/>
              </a:lnSpc>
              <a:spcBef>
                <a:spcPts val="0"/>
              </a:spcBef>
            </a:pPr>
            <a:endParaRPr lang="en-GB" sz="1100" i="1">
              <a:solidFill>
                <a:prstClr val="black">
                  <a:lumMod val="65000"/>
                  <a:lumOff val="35000"/>
                </a:prstClr>
              </a:solidFill>
              <a:latin typeface="Verdana"/>
              <a:ea typeface="Verdana"/>
              <a:cs typeface="Verdana"/>
            </a:endParaRPr>
          </a:p>
          <a:p>
            <a:pPr>
              <a:lnSpc>
                <a:spcPct val="100000"/>
              </a:lnSpc>
              <a:spcBef>
                <a:spcPts val="0"/>
              </a:spcBef>
            </a:pPr>
            <a:br>
              <a:rPr lang="en-GB" sz="1100" i="1">
                <a:solidFill>
                  <a:prstClr val="black">
                    <a:lumMod val="65000"/>
                    <a:lumOff val="35000"/>
                  </a:prstClr>
                </a:solidFill>
                <a:latin typeface="Verdana"/>
                <a:ea typeface="Verdana"/>
                <a:cs typeface="Verdana"/>
              </a:rPr>
            </a:br>
            <a:r>
              <a:rPr lang="en-GB" sz="1100">
                <a:solidFill>
                  <a:prstClr val="black"/>
                </a:solidFill>
                <a:latin typeface="Verdana"/>
                <a:ea typeface="Verdana"/>
                <a:cs typeface="+mj-lt"/>
              </a:rPr>
              <a:t>Status would be executed as first step, allowing to execute JOINS in next dataflow steps ONLY for the</a:t>
            </a:r>
          </a:p>
          <a:p>
            <a:pPr>
              <a:lnSpc>
                <a:spcPct val="100000"/>
              </a:lnSpc>
              <a:spcBef>
                <a:spcPts val="0"/>
              </a:spcBef>
            </a:pPr>
            <a:r>
              <a:rPr lang="en-GB" sz="1100">
                <a:solidFill>
                  <a:prstClr val="black"/>
                </a:solidFill>
                <a:latin typeface="Verdana"/>
                <a:ea typeface="Verdana"/>
                <a:cs typeface="+mj-lt"/>
              </a:rPr>
              <a:t>relevant Volume record.</a:t>
            </a:r>
          </a:p>
          <a:p>
            <a:pPr algn="just">
              <a:lnSpc>
                <a:spcPct val="100000"/>
              </a:lnSpc>
              <a:spcBef>
                <a:spcPts val="0"/>
              </a:spcBef>
            </a:pPr>
            <a:endParaRPr lang="en-US" sz="1100" i="1">
              <a:solidFill>
                <a:prstClr val="black">
                  <a:lumMod val="65000"/>
                  <a:lumOff val="35000"/>
                </a:prstClr>
              </a:solidFill>
              <a:latin typeface="Verdana"/>
              <a:ea typeface="Verdana"/>
              <a:cs typeface="Verdana"/>
            </a:endParaRPr>
          </a:p>
        </p:txBody>
      </p:sp>
      <p:sp>
        <p:nvSpPr>
          <p:cNvPr id="88" name="Rectangle 87">
            <a:extLst>
              <a:ext uri="{FF2B5EF4-FFF2-40B4-BE49-F238E27FC236}">
                <a16:creationId xmlns:a16="http://schemas.microsoft.com/office/drawing/2014/main" id="{006EC92E-AAA5-407B-9D2E-88543DFEB7C1}"/>
              </a:ext>
            </a:extLst>
          </p:cNvPr>
          <p:cNvSpPr/>
          <p:nvPr/>
        </p:nvSpPr>
        <p:spPr>
          <a:xfrm>
            <a:off x="4819033" y="2074566"/>
            <a:ext cx="2858118" cy="31225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Verdana"/>
                <a:ea typeface="+mn-ea"/>
                <a:cs typeface="+mn-cs"/>
              </a:rPr>
              <a:t>Flattening</a:t>
            </a:r>
          </a:p>
        </p:txBody>
      </p:sp>
      <p:sp>
        <p:nvSpPr>
          <p:cNvPr id="89" name="Rectangle 88">
            <a:extLst>
              <a:ext uri="{FF2B5EF4-FFF2-40B4-BE49-F238E27FC236}">
                <a16:creationId xmlns:a16="http://schemas.microsoft.com/office/drawing/2014/main" id="{41858783-12C2-4181-815F-0C883655AD90}"/>
              </a:ext>
            </a:extLst>
          </p:cNvPr>
          <p:cNvSpPr/>
          <p:nvPr/>
        </p:nvSpPr>
        <p:spPr>
          <a:xfrm>
            <a:off x="4819031" y="2386823"/>
            <a:ext cx="2858119" cy="4148094"/>
          </a:xfrm>
          <a:prstGeom prst="rect">
            <a:avLst/>
          </a:prstGeom>
          <a:solidFill>
            <a:srgbClr val="FFFFFF"/>
          </a:solidFill>
          <a:ln w="12700" cap="flat" cmpd="sng" algn="ctr">
            <a:solidFill>
              <a:srgbClr val="FFFFFF">
                <a:lumMod val="75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Verdana"/>
              <a:ea typeface="+mn-ea"/>
              <a:cs typeface="+mn-cs"/>
            </a:endParaRPr>
          </a:p>
        </p:txBody>
      </p:sp>
      <p:sp>
        <p:nvSpPr>
          <p:cNvPr id="90" name="Text Placeholder 2">
            <a:extLst>
              <a:ext uri="{FF2B5EF4-FFF2-40B4-BE49-F238E27FC236}">
                <a16:creationId xmlns:a16="http://schemas.microsoft.com/office/drawing/2014/main" id="{C69B6C71-F2A4-46BD-94BB-A1BF5E4DEC2B}"/>
              </a:ext>
            </a:extLst>
          </p:cNvPr>
          <p:cNvSpPr txBox="1">
            <a:spLocks/>
          </p:cNvSpPr>
          <p:nvPr/>
        </p:nvSpPr>
        <p:spPr>
          <a:xfrm>
            <a:off x="4906698" y="2694458"/>
            <a:ext cx="2714708" cy="3554819"/>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100">
                <a:solidFill>
                  <a:prstClr val="black"/>
                </a:solidFill>
                <a:latin typeface="Verdana"/>
                <a:ea typeface="Verdana"/>
                <a:cs typeface="+mj-lt"/>
              </a:rPr>
              <a:t>Savings/Lump Sums: Flatten pricing/discounts data directly on Volumes</a:t>
            </a:r>
          </a:p>
          <a:p>
            <a:pPr>
              <a:lnSpc>
                <a:spcPct val="100000"/>
              </a:lnSpc>
              <a:spcBef>
                <a:spcPts val="0"/>
              </a:spcBef>
            </a:pPr>
            <a:endParaRPr lang="en-US" sz="1100">
              <a:solidFill>
                <a:prstClr val="black"/>
              </a:solidFill>
              <a:latin typeface="Verdana"/>
              <a:ea typeface="Verdana"/>
              <a:cs typeface="+mj-lt"/>
            </a:endParaRPr>
          </a:p>
          <a:p>
            <a:pPr>
              <a:lnSpc>
                <a:spcPct val="100000"/>
              </a:lnSpc>
              <a:spcBef>
                <a:spcPts val="0"/>
              </a:spcBef>
            </a:pPr>
            <a:endParaRPr lang="en-US" sz="1100">
              <a:solidFill>
                <a:prstClr val="black"/>
              </a:solidFill>
              <a:latin typeface="Verdana"/>
              <a:ea typeface="Verdana"/>
              <a:cs typeface="+mj-lt"/>
            </a:endParaRPr>
          </a:p>
          <a:p>
            <a:pPr>
              <a:lnSpc>
                <a:spcPct val="100000"/>
              </a:lnSpc>
              <a:spcBef>
                <a:spcPts val="0"/>
              </a:spcBef>
            </a:pPr>
            <a:endParaRPr lang="en-US" sz="1100">
              <a:solidFill>
                <a:prstClr val="black"/>
              </a:solidFill>
              <a:latin typeface="Verdana"/>
              <a:ea typeface="Verdana"/>
              <a:cs typeface="+mj-lt"/>
            </a:endParaRPr>
          </a:p>
          <a:p>
            <a:pPr>
              <a:lnSpc>
                <a:spcPct val="100000"/>
              </a:lnSpc>
              <a:spcBef>
                <a:spcPts val="0"/>
              </a:spcBef>
            </a:pPr>
            <a:endParaRPr lang="en-US" sz="1100">
              <a:solidFill>
                <a:prstClr val="black"/>
              </a:solidFill>
              <a:latin typeface="Verdana"/>
              <a:ea typeface="Verdana"/>
              <a:cs typeface="+mj-lt"/>
            </a:endParaRPr>
          </a:p>
          <a:p>
            <a:pPr>
              <a:lnSpc>
                <a:spcPct val="100000"/>
              </a:lnSpc>
              <a:spcBef>
                <a:spcPts val="0"/>
              </a:spcBef>
            </a:pPr>
            <a:endParaRPr lang="en-US" sz="1100">
              <a:solidFill>
                <a:prstClr val="black"/>
              </a:solidFill>
              <a:latin typeface="Verdana"/>
              <a:ea typeface="Verdana"/>
              <a:cs typeface="+mj-lt"/>
            </a:endParaRPr>
          </a:p>
          <a:p>
            <a:pPr>
              <a:lnSpc>
                <a:spcPct val="100000"/>
              </a:lnSpc>
              <a:spcBef>
                <a:spcPts val="0"/>
              </a:spcBef>
            </a:pPr>
            <a:br>
              <a:rPr lang="en-US" sz="1100">
                <a:solidFill>
                  <a:prstClr val="black"/>
                </a:solidFill>
                <a:latin typeface="Verdana"/>
                <a:ea typeface="Verdana"/>
                <a:cs typeface="+mj-lt"/>
              </a:rPr>
            </a:br>
            <a:endParaRPr lang="en-GB" sz="1100">
              <a:solidFill>
                <a:prstClr val="black"/>
              </a:solidFill>
              <a:latin typeface="Verdana"/>
              <a:ea typeface="Verdana"/>
              <a:cs typeface="+mj-lt"/>
            </a:endParaRPr>
          </a:p>
          <a:p>
            <a:pPr>
              <a:lnSpc>
                <a:spcPct val="100000"/>
              </a:lnSpc>
              <a:spcBef>
                <a:spcPts val="0"/>
              </a:spcBef>
            </a:pPr>
            <a:r>
              <a:rPr lang="en-US" sz="1100">
                <a:solidFill>
                  <a:prstClr val="black"/>
                </a:solidFill>
                <a:latin typeface="Verdana"/>
                <a:ea typeface="Verdana"/>
                <a:cs typeface="+mj-lt"/>
              </a:rPr>
              <a:t>Manage impact of flattening the fields.</a:t>
            </a:r>
          </a:p>
          <a:p>
            <a:pPr>
              <a:lnSpc>
                <a:spcPct val="100000"/>
              </a:lnSpc>
              <a:spcBef>
                <a:spcPts val="0"/>
              </a:spcBef>
            </a:pPr>
            <a:endParaRPr lang="en-US" sz="1100" i="1">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r>
              <a:rPr lang="en-GB" sz="1100">
                <a:solidFill>
                  <a:prstClr val="black"/>
                </a:solidFill>
                <a:latin typeface="Verdana"/>
                <a:ea typeface="Verdana"/>
                <a:cs typeface="+mj-lt"/>
              </a:rPr>
              <a:t>Easier reporting/analysis of forecast data vs pricing data</a:t>
            </a:r>
          </a:p>
          <a:p>
            <a:pPr algn="just">
              <a:lnSpc>
                <a:spcPct val="100000"/>
              </a:lnSpc>
              <a:spcBef>
                <a:spcPts val="0"/>
              </a:spcBef>
            </a:pPr>
            <a:endParaRPr lang="en-GB" sz="1100">
              <a:solidFill>
                <a:prstClr val="black"/>
              </a:solidFill>
              <a:latin typeface="Verdana"/>
            </a:endParaRPr>
          </a:p>
        </p:txBody>
      </p:sp>
      <p:sp>
        <p:nvSpPr>
          <p:cNvPr id="91" name="Rectangle 90">
            <a:extLst>
              <a:ext uri="{FF2B5EF4-FFF2-40B4-BE49-F238E27FC236}">
                <a16:creationId xmlns:a16="http://schemas.microsoft.com/office/drawing/2014/main" id="{73C97628-12EA-4804-A6F7-04DF3B80CFA4}"/>
              </a:ext>
            </a:extLst>
          </p:cNvPr>
          <p:cNvSpPr/>
          <p:nvPr/>
        </p:nvSpPr>
        <p:spPr>
          <a:xfrm>
            <a:off x="7808109" y="2408820"/>
            <a:ext cx="2783691" cy="4126097"/>
          </a:xfrm>
          <a:prstGeom prst="rect">
            <a:avLst/>
          </a:prstGeom>
          <a:solidFill>
            <a:srgbClr val="FFFFFF"/>
          </a:solidFill>
          <a:ln w="12700" cap="flat" cmpd="sng" algn="ctr">
            <a:solidFill>
              <a:srgbClr val="FFFFFF">
                <a:lumMod val="75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Verdana"/>
              <a:ea typeface="+mn-ea"/>
              <a:cs typeface="+mn-cs"/>
            </a:endParaRPr>
          </a:p>
        </p:txBody>
      </p:sp>
      <p:sp>
        <p:nvSpPr>
          <p:cNvPr id="92" name="Rectangle 91">
            <a:extLst>
              <a:ext uri="{FF2B5EF4-FFF2-40B4-BE49-F238E27FC236}">
                <a16:creationId xmlns:a16="http://schemas.microsoft.com/office/drawing/2014/main" id="{337C5134-75C5-4AF7-93B9-D32A94B72CD1}"/>
              </a:ext>
            </a:extLst>
          </p:cNvPr>
          <p:cNvSpPr/>
          <p:nvPr/>
        </p:nvSpPr>
        <p:spPr>
          <a:xfrm>
            <a:off x="7808108" y="2054886"/>
            <a:ext cx="2783691" cy="35393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Verdana"/>
                <a:ea typeface="+mn-ea"/>
                <a:cs typeface="+mn-cs"/>
              </a:rPr>
              <a:t>Archiving</a:t>
            </a:r>
          </a:p>
        </p:txBody>
      </p:sp>
      <p:sp>
        <p:nvSpPr>
          <p:cNvPr id="93" name="Text Placeholder 2">
            <a:extLst>
              <a:ext uri="{FF2B5EF4-FFF2-40B4-BE49-F238E27FC236}">
                <a16:creationId xmlns:a16="http://schemas.microsoft.com/office/drawing/2014/main" id="{FA561A2B-EEAF-4CFD-AEA8-87D392ABB679}"/>
              </a:ext>
            </a:extLst>
          </p:cNvPr>
          <p:cNvSpPr txBox="1">
            <a:spLocks/>
          </p:cNvSpPr>
          <p:nvPr/>
        </p:nvSpPr>
        <p:spPr>
          <a:xfrm>
            <a:off x="7871953" y="2716611"/>
            <a:ext cx="2624793" cy="3385542"/>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100">
                <a:solidFill>
                  <a:prstClr val="black"/>
                </a:solidFill>
                <a:latin typeface="Verdana"/>
                <a:ea typeface="Verdana"/>
                <a:cs typeface="+mj-lt"/>
              </a:rPr>
              <a:t>Apply archiving to old Planning Statuses.</a:t>
            </a: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srgbClr val="000000"/>
              </a:solidFill>
              <a:latin typeface="Verdana"/>
              <a:ea typeface="Verdana"/>
              <a:cs typeface="+mj-lt"/>
            </a:endParaRPr>
          </a:p>
          <a:p>
            <a:pPr>
              <a:lnSpc>
                <a:spcPct val="100000"/>
              </a:lnSpc>
              <a:spcBef>
                <a:spcPts val="0"/>
              </a:spcBef>
            </a:pPr>
            <a:r>
              <a:rPr lang="en-US" sz="1100">
                <a:solidFill>
                  <a:prstClr val="black"/>
                </a:solidFill>
                <a:latin typeface="Verdana"/>
                <a:ea typeface="Verdana"/>
                <a:cs typeface="+mj-lt"/>
              </a:rPr>
              <a:t>Implement new location of the Archived Data in existing dataflows.</a:t>
            </a:r>
          </a:p>
          <a:p>
            <a:pPr>
              <a:lnSpc>
                <a:spcPct val="100000"/>
              </a:lnSpc>
              <a:spcBef>
                <a:spcPts val="0"/>
              </a:spcBef>
            </a:pPr>
            <a:endParaRPr lang="en-US" sz="1100" i="1">
              <a:solidFill>
                <a:prstClr val="black">
                  <a:lumMod val="65000"/>
                  <a:lumOff val="35000"/>
                </a:prstClr>
              </a:solidFill>
              <a:latin typeface="Verdana"/>
              <a:ea typeface="Verdana"/>
              <a:cs typeface="Verdana"/>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endParaRPr lang="en-GB" sz="1100">
              <a:solidFill>
                <a:prstClr val="black"/>
              </a:solidFill>
              <a:latin typeface="Verdana"/>
              <a:ea typeface="Verdana"/>
              <a:cs typeface="+mj-lt"/>
            </a:endParaRPr>
          </a:p>
          <a:p>
            <a:pPr>
              <a:lnSpc>
                <a:spcPct val="100000"/>
              </a:lnSpc>
              <a:spcBef>
                <a:spcPts val="0"/>
              </a:spcBef>
            </a:pPr>
            <a:r>
              <a:rPr lang="en-GB" sz="1100">
                <a:solidFill>
                  <a:prstClr val="black"/>
                </a:solidFill>
                <a:latin typeface="Verdana"/>
                <a:ea typeface="Verdana"/>
                <a:cs typeface="+mj-lt"/>
              </a:rPr>
              <a:t>Limit the use of Salesforce Storage (licenses)</a:t>
            </a:r>
          </a:p>
        </p:txBody>
      </p:sp>
      <p:grpSp>
        <p:nvGrpSpPr>
          <p:cNvPr id="94" name="Group 93">
            <a:extLst>
              <a:ext uri="{FF2B5EF4-FFF2-40B4-BE49-F238E27FC236}">
                <a16:creationId xmlns:a16="http://schemas.microsoft.com/office/drawing/2014/main" id="{07B56A4E-E52B-45B8-8095-441179E63706}"/>
              </a:ext>
            </a:extLst>
          </p:cNvPr>
          <p:cNvGrpSpPr/>
          <p:nvPr/>
        </p:nvGrpSpPr>
        <p:grpSpPr>
          <a:xfrm rot="5400000" flipH="1">
            <a:off x="1862039" y="4174181"/>
            <a:ext cx="82306" cy="294544"/>
            <a:chOff x="666750" y="2236191"/>
            <a:chExt cx="137160" cy="471087"/>
          </a:xfrm>
          <a:effectLst/>
        </p:grpSpPr>
        <p:sp>
          <p:nvSpPr>
            <p:cNvPr id="95" name="Oval 94">
              <a:extLst>
                <a:ext uri="{FF2B5EF4-FFF2-40B4-BE49-F238E27FC236}">
                  <a16:creationId xmlns:a16="http://schemas.microsoft.com/office/drawing/2014/main" id="{548F26BE-A2B6-434A-835A-4A7137CC9AB4}"/>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6" name="Oval 95">
              <a:extLst>
                <a:ext uri="{FF2B5EF4-FFF2-40B4-BE49-F238E27FC236}">
                  <a16:creationId xmlns:a16="http://schemas.microsoft.com/office/drawing/2014/main" id="{E5254183-1784-414D-8766-A9FED8D8CF6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97" name="Rounded Rectangle 116">
              <a:extLst>
                <a:ext uri="{FF2B5EF4-FFF2-40B4-BE49-F238E27FC236}">
                  <a16:creationId xmlns:a16="http://schemas.microsoft.com/office/drawing/2014/main" id="{AB5506CD-CF9E-4799-98AB-9FE948D14F58}"/>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98" name="Group 97">
            <a:extLst>
              <a:ext uri="{FF2B5EF4-FFF2-40B4-BE49-F238E27FC236}">
                <a16:creationId xmlns:a16="http://schemas.microsoft.com/office/drawing/2014/main" id="{13F69081-1B7C-4B6B-BB31-8BC0476D0FD1}"/>
              </a:ext>
            </a:extLst>
          </p:cNvPr>
          <p:cNvGrpSpPr/>
          <p:nvPr/>
        </p:nvGrpSpPr>
        <p:grpSpPr>
          <a:xfrm rot="5400000" flipH="1">
            <a:off x="1862037" y="4491877"/>
            <a:ext cx="82306" cy="294544"/>
            <a:chOff x="666750" y="2236191"/>
            <a:chExt cx="137160" cy="471087"/>
          </a:xfrm>
          <a:effectLst/>
        </p:grpSpPr>
        <p:sp>
          <p:nvSpPr>
            <p:cNvPr id="99" name="Oval 98">
              <a:extLst>
                <a:ext uri="{FF2B5EF4-FFF2-40B4-BE49-F238E27FC236}">
                  <a16:creationId xmlns:a16="http://schemas.microsoft.com/office/drawing/2014/main" id="{E971F6DE-9ECA-4971-8F2E-B3AA3DDAAF38}"/>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0" name="Oval 99">
              <a:extLst>
                <a:ext uri="{FF2B5EF4-FFF2-40B4-BE49-F238E27FC236}">
                  <a16:creationId xmlns:a16="http://schemas.microsoft.com/office/drawing/2014/main" id="{0297589D-DEE5-4378-854C-5EA77F5E1674}"/>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1" name="Rounded Rectangle 113">
              <a:extLst>
                <a:ext uri="{FF2B5EF4-FFF2-40B4-BE49-F238E27FC236}">
                  <a16:creationId xmlns:a16="http://schemas.microsoft.com/office/drawing/2014/main" id="{BD4DF6FF-F85C-4000-88D8-44770FDE6A02}"/>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02" name="Group 101">
            <a:extLst>
              <a:ext uri="{FF2B5EF4-FFF2-40B4-BE49-F238E27FC236}">
                <a16:creationId xmlns:a16="http://schemas.microsoft.com/office/drawing/2014/main" id="{09415780-5101-4CB8-886F-59317D66F6ED}"/>
              </a:ext>
            </a:extLst>
          </p:cNvPr>
          <p:cNvGrpSpPr/>
          <p:nvPr/>
        </p:nvGrpSpPr>
        <p:grpSpPr>
          <a:xfrm flipH="1">
            <a:off x="1744516" y="5947349"/>
            <a:ext cx="330592" cy="409729"/>
            <a:chOff x="4144353" y="5853398"/>
            <a:chExt cx="289254" cy="374936"/>
          </a:xfrm>
          <a:effectLst/>
        </p:grpSpPr>
        <p:grpSp>
          <p:nvGrpSpPr>
            <p:cNvPr id="103" name="Group 102">
              <a:extLst>
                <a:ext uri="{FF2B5EF4-FFF2-40B4-BE49-F238E27FC236}">
                  <a16:creationId xmlns:a16="http://schemas.microsoft.com/office/drawing/2014/main" id="{A45C0684-0389-4275-A9CF-D4F73070AF3B}"/>
                </a:ext>
              </a:extLst>
            </p:cNvPr>
            <p:cNvGrpSpPr/>
            <p:nvPr/>
          </p:nvGrpSpPr>
          <p:grpSpPr>
            <a:xfrm rot="16200000">
              <a:off x="4246871" y="5750880"/>
              <a:ext cx="84217" cy="289253"/>
              <a:chOff x="666750" y="2236191"/>
              <a:chExt cx="137160" cy="471087"/>
            </a:xfrm>
          </p:grpSpPr>
          <p:sp>
            <p:nvSpPr>
              <p:cNvPr id="108" name="Oval 107">
                <a:extLst>
                  <a:ext uri="{FF2B5EF4-FFF2-40B4-BE49-F238E27FC236}">
                    <a16:creationId xmlns:a16="http://schemas.microsoft.com/office/drawing/2014/main" id="{C9B268D1-56DC-4962-A683-7CAA2471482D}"/>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9" name="Oval 108">
                <a:extLst>
                  <a:ext uri="{FF2B5EF4-FFF2-40B4-BE49-F238E27FC236}">
                    <a16:creationId xmlns:a16="http://schemas.microsoft.com/office/drawing/2014/main" id="{55515E42-4C6B-4CDB-A6A7-D8FEC1741FB9}"/>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0" name="Rounded Rectangle 116">
                <a:extLst>
                  <a:ext uri="{FF2B5EF4-FFF2-40B4-BE49-F238E27FC236}">
                    <a16:creationId xmlns:a16="http://schemas.microsoft.com/office/drawing/2014/main" id="{C7863BF1-006A-4C87-ACC1-3DC468DC74A4}"/>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04" name="Group 103">
              <a:extLst>
                <a:ext uri="{FF2B5EF4-FFF2-40B4-BE49-F238E27FC236}">
                  <a16:creationId xmlns:a16="http://schemas.microsoft.com/office/drawing/2014/main" id="{E50995BB-4D95-42DF-AE0C-37E06674D896}"/>
                </a:ext>
              </a:extLst>
            </p:cNvPr>
            <p:cNvGrpSpPr/>
            <p:nvPr/>
          </p:nvGrpSpPr>
          <p:grpSpPr>
            <a:xfrm rot="16200000">
              <a:off x="4246872" y="6041599"/>
              <a:ext cx="84217" cy="289253"/>
              <a:chOff x="666750" y="2236191"/>
              <a:chExt cx="137160" cy="471087"/>
            </a:xfrm>
          </p:grpSpPr>
          <p:sp>
            <p:nvSpPr>
              <p:cNvPr id="105" name="Oval 104">
                <a:extLst>
                  <a:ext uri="{FF2B5EF4-FFF2-40B4-BE49-F238E27FC236}">
                    <a16:creationId xmlns:a16="http://schemas.microsoft.com/office/drawing/2014/main" id="{46DCB062-03F4-4B58-B62D-1DD1736B82D6}"/>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6" name="Oval 105">
                <a:extLst>
                  <a:ext uri="{FF2B5EF4-FFF2-40B4-BE49-F238E27FC236}">
                    <a16:creationId xmlns:a16="http://schemas.microsoft.com/office/drawing/2014/main" id="{E0424C46-163D-4D9D-B9CC-AD3E8CC26B2B}"/>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07" name="Rounded Rectangle 113">
                <a:extLst>
                  <a:ext uri="{FF2B5EF4-FFF2-40B4-BE49-F238E27FC236}">
                    <a16:creationId xmlns:a16="http://schemas.microsoft.com/office/drawing/2014/main" id="{0CCEC00D-25C4-4C90-90E9-0F8D550D82AD}"/>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
        <p:nvSpPr>
          <p:cNvPr id="111" name="Rectangle 110">
            <a:extLst>
              <a:ext uri="{FF2B5EF4-FFF2-40B4-BE49-F238E27FC236}">
                <a16:creationId xmlns:a16="http://schemas.microsoft.com/office/drawing/2014/main" id="{19E9B426-1D77-4BFA-AF7C-EA65F1726768}"/>
              </a:ext>
            </a:extLst>
          </p:cNvPr>
          <p:cNvSpPr/>
          <p:nvPr/>
        </p:nvSpPr>
        <p:spPr>
          <a:xfrm rot="10800000" flipH="1">
            <a:off x="1880951" y="1094589"/>
            <a:ext cx="169511" cy="955002"/>
          </a:xfrm>
          <a:prstGeom prst="rect">
            <a:avLst/>
          </a:prstGeom>
          <a:solidFill>
            <a:srgbClr val="FFFFFF">
              <a:lumMod val="95000"/>
            </a:srgbClr>
          </a:solidFill>
          <a:ln w="12700" cap="flat" cmpd="sng" algn="ctr">
            <a:noFill/>
            <a:prstDash val="solid"/>
            <a:miter lim="800000"/>
          </a:ln>
          <a:effectLst/>
        </p:spPr>
        <p:txBody>
          <a:bodyPr wrap="square" lIns="91428" tIns="91428" bIns="91428" rtlCol="0" anchor="ctr" anchorCtr="0"/>
          <a:lstStyle/>
          <a:p>
            <a:pPr marL="0" marR="0" lvl="0" indent="0"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prstClr val="black"/>
              </a:solidFill>
              <a:effectLst/>
              <a:uLnTx/>
              <a:uFillTx/>
              <a:latin typeface="Verdana"/>
              <a:ea typeface="+mn-ea"/>
              <a:cs typeface="+mn-cs"/>
            </a:endParaRPr>
          </a:p>
        </p:txBody>
      </p:sp>
      <p:grpSp>
        <p:nvGrpSpPr>
          <p:cNvPr id="112" name="Group 111">
            <a:extLst>
              <a:ext uri="{FF2B5EF4-FFF2-40B4-BE49-F238E27FC236}">
                <a16:creationId xmlns:a16="http://schemas.microsoft.com/office/drawing/2014/main" id="{A369E1E9-389D-4F25-AD16-CBF703AB69DD}"/>
              </a:ext>
            </a:extLst>
          </p:cNvPr>
          <p:cNvGrpSpPr/>
          <p:nvPr/>
        </p:nvGrpSpPr>
        <p:grpSpPr>
          <a:xfrm flipH="1">
            <a:off x="1770562" y="1769574"/>
            <a:ext cx="294545" cy="527565"/>
            <a:chOff x="4144353" y="5853398"/>
            <a:chExt cx="289254" cy="374936"/>
          </a:xfrm>
          <a:effectLst/>
        </p:grpSpPr>
        <p:grpSp>
          <p:nvGrpSpPr>
            <p:cNvPr id="113" name="Group 112">
              <a:extLst>
                <a:ext uri="{FF2B5EF4-FFF2-40B4-BE49-F238E27FC236}">
                  <a16:creationId xmlns:a16="http://schemas.microsoft.com/office/drawing/2014/main" id="{1A266C9E-4ED2-40F9-A362-6A4CDEDDCAE2}"/>
                </a:ext>
              </a:extLst>
            </p:cNvPr>
            <p:cNvGrpSpPr/>
            <p:nvPr/>
          </p:nvGrpSpPr>
          <p:grpSpPr>
            <a:xfrm rot="16200000">
              <a:off x="4246871" y="5750880"/>
              <a:ext cx="84217" cy="289253"/>
              <a:chOff x="666750" y="2236191"/>
              <a:chExt cx="137160" cy="471087"/>
            </a:xfrm>
          </p:grpSpPr>
          <p:sp>
            <p:nvSpPr>
              <p:cNvPr id="118" name="Oval 117">
                <a:extLst>
                  <a:ext uri="{FF2B5EF4-FFF2-40B4-BE49-F238E27FC236}">
                    <a16:creationId xmlns:a16="http://schemas.microsoft.com/office/drawing/2014/main" id="{C1B4796D-2A33-496E-B985-687B822D4353}"/>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9" name="Oval 118">
                <a:extLst>
                  <a:ext uri="{FF2B5EF4-FFF2-40B4-BE49-F238E27FC236}">
                    <a16:creationId xmlns:a16="http://schemas.microsoft.com/office/drawing/2014/main" id="{5BB579B2-223D-4D31-BA55-0CC1B93C058C}"/>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20" name="Rounded Rectangle 116">
                <a:extLst>
                  <a:ext uri="{FF2B5EF4-FFF2-40B4-BE49-F238E27FC236}">
                    <a16:creationId xmlns:a16="http://schemas.microsoft.com/office/drawing/2014/main" id="{5A6F96A8-BDA9-4DC4-89D0-47D2032693A7}"/>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nvGrpSpPr>
            <p:cNvPr id="114" name="Group 113">
              <a:extLst>
                <a:ext uri="{FF2B5EF4-FFF2-40B4-BE49-F238E27FC236}">
                  <a16:creationId xmlns:a16="http://schemas.microsoft.com/office/drawing/2014/main" id="{E1160BE4-F419-4322-90B6-CFF10AAB3B0B}"/>
                </a:ext>
              </a:extLst>
            </p:cNvPr>
            <p:cNvGrpSpPr/>
            <p:nvPr/>
          </p:nvGrpSpPr>
          <p:grpSpPr>
            <a:xfrm rot="16200000">
              <a:off x="4246872" y="6041599"/>
              <a:ext cx="84217" cy="289253"/>
              <a:chOff x="666750" y="2236191"/>
              <a:chExt cx="137160" cy="471087"/>
            </a:xfrm>
          </p:grpSpPr>
          <p:sp>
            <p:nvSpPr>
              <p:cNvPr id="115" name="Oval 114">
                <a:extLst>
                  <a:ext uri="{FF2B5EF4-FFF2-40B4-BE49-F238E27FC236}">
                    <a16:creationId xmlns:a16="http://schemas.microsoft.com/office/drawing/2014/main" id="{2A783A24-91F1-4F55-8730-39BD423CAD94}"/>
                  </a:ext>
                </a:extLst>
              </p:cNvPr>
              <p:cNvSpPr/>
              <p:nvPr/>
            </p:nvSpPr>
            <p:spPr>
              <a:xfrm>
                <a:off x="666750" y="2236191"/>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6" name="Oval 115">
                <a:extLst>
                  <a:ext uri="{FF2B5EF4-FFF2-40B4-BE49-F238E27FC236}">
                    <a16:creationId xmlns:a16="http://schemas.microsoft.com/office/drawing/2014/main" id="{65B0DB91-ED60-41D8-90DF-19B9C92AD251}"/>
                  </a:ext>
                </a:extLst>
              </p:cNvPr>
              <p:cNvSpPr/>
              <p:nvPr/>
            </p:nvSpPr>
            <p:spPr>
              <a:xfrm>
                <a:off x="666750" y="2570118"/>
                <a:ext cx="137160" cy="137160"/>
              </a:xfrm>
              <a:prstGeom prst="ellipse">
                <a:avLst/>
              </a:prstGeom>
              <a:solidFill>
                <a:srgbClr val="FFFFFF">
                  <a:lumMod val="75000"/>
                </a:srgbClr>
              </a:solidFill>
              <a:ln w="12700" cap="flat" cmpd="sng" algn="ctr">
                <a:solidFill>
                  <a:srgbClr val="FFFFFF"/>
                </a:solidFill>
                <a:prstDash val="solid"/>
                <a:miter lim="800000"/>
              </a:ln>
              <a:effectLst>
                <a:innerShdw blurRad="114300">
                  <a:prstClr val="black"/>
                </a:innerShdw>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sp>
            <p:nvSpPr>
              <p:cNvPr id="117" name="Rounded Rectangle 113">
                <a:extLst>
                  <a:ext uri="{FF2B5EF4-FFF2-40B4-BE49-F238E27FC236}">
                    <a16:creationId xmlns:a16="http://schemas.microsoft.com/office/drawing/2014/main" id="{3F569EB9-024B-4833-9EA9-8ED4C145657C}"/>
                  </a:ext>
                </a:extLst>
              </p:cNvPr>
              <p:cNvSpPr/>
              <p:nvPr/>
            </p:nvSpPr>
            <p:spPr>
              <a:xfrm>
                <a:off x="708660" y="2311714"/>
                <a:ext cx="53340" cy="320040"/>
              </a:xfrm>
              <a:prstGeom prst="roundRect">
                <a:avLst>
                  <a:gd name="adj" fmla="val 50000"/>
                </a:avLst>
              </a:prstGeom>
              <a:solidFill>
                <a:srgbClr val="FFFFFF">
                  <a:lumMod val="75000"/>
                </a:srgbClr>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US" sz="1200" b="1" i="0" u="none" strike="noStrike" kern="0" cap="none" spc="0" normalizeH="0" baseline="0" noProof="0">
                  <a:ln>
                    <a:noFill/>
                  </a:ln>
                  <a:solidFill>
                    <a:srgbClr val="2B143D">
                      <a:lumMod val="50000"/>
                    </a:srgbClr>
                  </a:solidFill>
                  <a:effectLst/>
                  <a:uLnTx/>
                  <a:uFillTx/>
                  <a:latin typeface="Verdana"/>
                  <a:ea typeface="+mn-ea"/>
                  <a:cs typeface="+mn-cs"/>
                </a:endParaRPr>
              </a:p>
            </p:txBody>
          </p:sp>
        </p:grpSp>
      </p:grpSp>
    </p:spTree>
    <p:extLst>
      <p:ext uri="{BB962C8B-B14F-4D97-AF65-F5344CB8AC3E}">
        <p14:creationId xmlns:p14="http://schemas.microsoft.com/office/powerpoint/2010/main" val="31184008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aH4UIH5ZxVTUQQZXyDC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87D4EC"/>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28A3DBCE4967447943A5ABDABFDFF26" ma:contentTypeVersion="6" ma:contentTypeDescription="Create a new document." ma:contentTypeScope="" ma:versionID="30ca2ae46bf26d9374cfecfea0af5fba">
  <xsd:schema xmlns:xsd="http://www.w3.org/2001/XMLSchema" xmlns:xs="http://www.w3.org/2001/XMLSchema" xmlns:p="http://schemas.microsoft.com/office/2006/metadata/properties" xmlns:ns2="0ae036c4-3100-4f4c-8516-9015a30f9943" xmlns:ns3="c1631748-3089-4cc0-99a8-8009c53b7349" targetNamespace="http://schemas.microsoft.com/office/2006/metadata/properties" ma:root="true" ma:fieldsID="b4edb88515f30e5e6a636cee13d2c7d5" ns2:_="" ns3:_="">
    <xsd:import namespace="0ae036c4-3100-4f4c-8516-9015a30f9943"/>
    <xsd:import namespace="c1631748-3089-4cc0-99a8-8009c53b734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e036c4-3100-4f4c-8516-9015a30f99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1631748-3089-4cc0-99a8-8009c53b73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1631748-3089-4cc0-99a8-8009c53b7349">
      <UserInfo>
        <DisplayName>Garelli, Laura</DisplayName>
        <AccountId>30</AccountId>
        <AccountType/>
      </UserInfo>
    </SharedWithUsers>
  </documentManagement>
</p:properties>
</file>

<file path=customXml/itemProps1.xml><?xml version="1.0" encoding="utf-8"?>
<ds:datastoreItem xmlns:ds="http://schemas.openxmlformats.org/officeDocument/2006/customXml" ds:itemID="{374552BC-DE89-4B87-A88C-44295400FC4A}">
  <ds:schemaRefs>
    <ds:schemaRef ds:uri="http://schemas.microsoft.com/sharepoint/v3/contenttype/forms"/>
  </ds:schemaRefs>
</ds:datastoreItem>
</file>

<file path=customXml/itemProps2.xml><?xml version="1.0" encoding="utf-8"?>
<ds:datastoreItem xmlns:ds="http://schemas.openxmlformats.org/officeDocument/2006/customXml" ds:itemID="{E3130E94-DED9-4415-8CAB-02F5C6E48E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e036c4-3100-4f4c-8516-9015a30f9943"/>
    <ds:schemaRef ds:uri="c1631748-3089-4cc0-99a8-8009c53b73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84E875-836A-425C-B25D-B7A9D3B70674}">
  <ds:schemaRefs>
    <ds:schemaRef ds:uri="c1631748-3089-4cc0-99a8-8009c53b7349"/>
    <ds:schemaRef ds:uri="http://schemas.microsoft.com/office/infopath/2007/PartnerControls"/>
    <ds:schemaRef ds:uri="http://purl.org/dc/terms/"/>
    <ds:schemaRef ds:uri="http://schemas.microsoft.com/office/2006/documentManagement/types"/>
    <ds:schemaRef ds:uri="0ae036c4-3100-4f4c-8516-9015a30f9943"/>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4</TotalTime>
  <Words>30271</Words>
  <Application>Microsoft Office PowerPoint</Application>
  <PresentationFormat>Widescreen</PresentationFormat>
  <Paragraphs>4061</Paragraphs>
  <Slides>152</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2</vt:i4>
      </vt:variant>
    </vt:vector>
  </HeadingPairs>
  <TitlesOfParts>
    <vt:vector size="162" baseType="lpstr">
      <vt:lpstr>Arial</vt:lpstr>
      <vt:lpstr>Calibri</vt:lpstr>
      <vt:lpstr>Lucida Sans</vt:lpstr>
      <vt:lpstr>Salesforce Sans</vt:lpstr>
      <vt:lpstr>Times New Roman</vt:lpstr>
      <vt:lpstr>Verdana</vt:lpstr>
      <vt:lpstr>Webdings</vt:lpstr>
      <vt:lpstr>Wingdings</vt:lpstr>
      <vt:lpstr>Office Theme</vt:lpstr>
      <vt:lpstr>think-cell Slide</vt:lpstr>
      <vt:lpstr>Capgemini’s Proposal for Marelli’s Salesforce Rollout Project</vt:lpstr>
      <vt:lpstr>LOG HISTORY</vt:lpstr>
      <vt:lpstr>Confidentiality Clause</vt:lpstr>
      <vt:lpstr>Introduction</vt:lpstr>
      <vt:lpstr>Contents</vt:lpstr>
      <vt:lpstr>01</vt:lpstr>
      <vt:lpstr>Summary of the project scope</vt:lpstr>
      <vt:lpstr>Summary of the project plan (1/2)</vt:lpstr>
      <vt:lpstr>PowerPoint Presentation</vt:lpstr>
      <vt:lpstr>Summary of the Team</vt:lpstr>
      <vt:lpstr>Capgemini Key Differentiators for Marelli Salesforce Rollout  Project</vt:lpstr>
      <vt:lpstr>Salesforce Rollout Project: Critical Success Factors</vt:lpstr>
      <vt:lpstr>Salesforce Rollout Project: Risks &amp; Mitigation</vt:lpstr>
      <vt:lpstr>02</vt:lpstr>
      <vt:lpstr>Capgemini at a Glance:</vt:lpstr>
      <vt:lpstr>Capgemini Italia has Steady Growth for Over 10 Years and  Counting…</vt:lpstr>
      <vt:lpstr>02.1</vt:lpstr>
      <vt:lpstr>Investing to Support Capacity &amp; Differentiation</vt:lpstr>
      <vt:lpstr>4932 certified Salesforce  experts worldwide</vt:lpstr>
      <vt:lpstr>Over 1,000 Salesforce clients</vt:lpstr>
      <vt:lpstr>At a global glance: Capgemini’s SFDC certifications and vast expertise</vt:lpstr>
      <vt:lpstr>Consistently recognized for leadership and expertise across key  business competencies</vt:lpstr>
      <vt:lpstr>PowerPoint Presentation</vt:lpstr>
      <vt:lpstr>Gartner Magic Quadrant for CRM and Customer Experience  Implementation Services (2020)</vt:lpstr>
      <vt:lpstr>Capgemini Global MuleSoft Capabilities</vt:lpstr>
      <vt:lpstr>Capgemini has a Rich Set of Accelerators. Some are an  Example of Mutual Innovation with Clients</vt:lpstr>
      <vt:lpstr>02.2</vt:lpstr>
      <vt:lpstr>Capgemini is a World Leader in Application Development &amp;  Maintenance (ADM)</vt:lpstr>
      <vt:lpstr>Our Application Development and Maintenance Services Covers End-  to-End Activities</vt:lpstr>
      <vt:lpstr>Key Tenets of Our Solution</vt:lpstr>
      <vt:lpstr>Capgemini’s ADMnext Platform is industry aligned and insightful,  guided by a minimum disruption intent</vt:lpstr>
      <vt:lpstr>Our ADMnext approach to business innovation and transformation is  achieved through the application of three pillars of transformation</vt:lpstr>
      <vt:lpstr>It helps in building a long-term partnership with our customers by  constantly increasing our relationship maturity to the next level</vt:lpstr>
      <vt:lpstr>References</vt:lpstr>
      <vt:lpstr>Key References</vt:lpstr>
      <vt:lpstr>Challenges</vt:lpstr>
      <vt:lpstr>Wolters Kluwer &amp; Capgemini</vt:lpstr>
      <vt:lpstr>Wolters Kluwer &amp; Capgemini</vt:lpstr>
      <vt:lpstr>Challenges</vt:lpstr>
      <vt:lpstr>PSA &amp; Capgemini</vt:lpstr>
      <vt:lpstr>Challenges</vt:lpstr>
      <vt:lpstr>Challenges</vt:lpstr>
      <vt:lpstr>BMW &amp; Capgemini</vt:lpstr>
      <vt:lpstr>Some credentials on Salesforce according to countries covered  by Marelli Business Units</vt:lpstr>
      <vt:lpstr>04</vt:lpstr>
      <vt:lpstr>Delivery Model – Guiding Principles</vt:lpstr>
      <vt:lpstr>Project Organization</vt:lpstr>
      <vt:lpstr>Role and Responsibilities (cont)</vt:lpstr>
      <vt:lpstr>Role and Responsibilities</vt:lpstr>
      <vt:lpstr>An Agile collaboration can be the key in a situation that shows the  remote working can improve the productivity of the Teams involved</vt:lpstr>
      <vt:lpstr>PowerPoint Presentation</vt:lpstr>
      <vt:lpstr>Governing the Project</vt:lpstr>
      <vt:lpstr>Our Day to Day Project Management Process</vt:lpstr>
      <vt:lpstr>Project Governance Plan – Minimum Contents</vt:lpstr>
      <vt:lpstr>We are Proposing an Integrated 3 Tiered Project  Governance Model</vt:lpstr>
      <vt:lpstr>Escalation Mechanism</vt:lpstr>
      <vt:lpstr>Consensus Creation Drivers and Practices</vt:lpstr>
      <vt:lpstr>Acceptance Process</vt:lpstr>
      <vt:lpstr>Change Control Complexity Drivers</vt:lpstr>
      <vt:lpstr>Global Solution Adoption and Localization Minimization Approach</vt:lpstr>
      <vt:lpstr>06</vt:lpstr>
      <vt:lpstr>Unified Project Management (UPM)</vt:lpstr>
      <vt:lpstr>How We Work Together</vt:lpstr>
      <vt:lpstr>Methodology Overview - Tailored Agile Approach</vt:lpstr>
      <vt:lpstr>Methodology Phase 1 – Pre Game</vt:lpstr>
      <vt:lpstr>A Backlog is a Set of User Stories How User Stories can Support in Reducing Gaps</vt:lpstr>
      <vt:lpstr>Methodology Phase 2 – Development</vt:lpstr>
      <vt:lpstr>Methodology Phase 3 – Closure</vt:lpstr>
      <vt:lpstr>Definition of “Done” – DoD - Pillars of Testing Strategy</vt:lpstr>
      <vt:lpstr>Conference Room Pilots Approach</vt:lpstr>
      <vt:lpstr>PowerPoint Presentation</vt:lpstr>
      <vt:lpstr>Development – Salesforce Testing Framework A Structured Approach to Ensure High Quality and Continuous Agility</vt:lpstr>
      <vt:lpstr>Development – Salesforce DevOps Transforming Delivery through DevOps (illustrative)</vt:lpstr>
      <vt:lpstr>Salesforce DX – A Paradigm Shift to Make Salesforce  Development More Accessible to a DevOps Approach (illustrative)</vt:lpstr>
      <vt:lpstr>Development – Tools and Accelerators</vt:lpstr>
      <vt:lpstr>Designing User Journeys – Sample Tools</vt:lpstr>
      <vt:lpstr>PowerPoint Presentation</vt:lpstr>
      <vt:lpstr>We Follow a Risk Based Approach to Define Test Cases</vt:lpstr>
      <vt:lpstr>And Use that to Create an End to End Test Strategy</vt:lpstr>
      <vt:lpstr>We Follow a Structured Approach to Design Test Cases</vt:lpstr>
      <vt:lpstr>And Cover Several Types of Tests</vt:lpstr>
      <vt:lpstr>The Test Strategy Should Also Consider Salesforce  Yearly Releases</vt:lpstr>
      <vt:lpstr>Using Suitable Tools for Each Type of Tests</vt:lpstr>
      <vt:lpstr>Capgemini’s Testing Strategy for Marelli</vt:lpstr>
      <vt:lpstr>07</vt:lpstr>
      <vt:lpstr>Recommendations For Salesforce Sandbox (illustrative)</vt:lpstr>
      <vt:lpstr>What is DevOps?</vt:lpstr>
      <vt:lpstr>Four Key Factors for DevOps Success</vt:lpstr>
      <vt:lpstr>08</vt:lpstr>
      <vt:lpstr>PowerPoint Presentation</vt:lpstr>
      <vt:lpstr>Technical Implementation Approach – Wave 1</vt:lpstr>
      <vt:lpstr>Technical Implementation Approach – Wave 1</vt:lpstr>
      <vt:lpstr>PowerPoint Presentation</vt:lpstr>
      <vt:lpstr>PowerPoint Presentation</vt:lpstr>
      <vt:lpstr>PowerPoint Presentation</vt:lpstr>
      <vt:lpstr>PowerPoint Presentation</vt:lpstr>
      <vt:lpstr>PowerPoint Presentation</vt:lpstr>
      <vt:lpstr>General Platform Optimization</vt:lpstr>
      <vt:lpstr>General Platform Optimization</vt:lpstr>
      <vt:lpstr>Our additional recommendations on Einstein Analytics  (not included, but to be evaluated by Marelli)</vt:lpstr>
      <vt:lpstr>General Platform Optimization</vt:lpstr>
      <vt:lpstr>Data Management</vt:lpstr>
      <vt:lpstr>Mobile Compatibility</vt:lpstr>
      <vt:lpstr>PowerPoint Presentation</vt:lpstr>
      <vt:lpstr>Technical Implementation Approach – Wave 1</vt:lpstr>
      <vt:lpstr>PowerPoint Presentation</vt:lpstr>
      <vt:lpstr>PowerPoint Presentation</vt:lpstr>
      <vt:lpstr>PowerPoint Presentation</vt:lpstr>
      <vt:lpstr>Technical Implementation Approach – Wave 1</vt:lpstr>
      <vt:lpstr>CRM Standard Functionalities (AL and EL)</vt:lpstr>
      <vt:lpstr>Technical Implementation Approach – Wave 1</vt:lpstr>
      <vt:lpstr>Integration - 3 BU’s</vt:lpstr>
      <vt:lpstr>PowerPoint Presentation</vt:lpstr>
      <vt:lpstr>Implementation Approach – Wave 2</vt:lpstr>
      <vt:lpstr>PowerPoint Presentation</vt:lpstr>
      <vt:lpstr>PowerPoint Presentation</vt:lpstr>
      <vt:lpstr>Streams</vt:lpstr>
      <vt:lpstr> Streams Approach</vt:lpstr>
      <vt:lpstr> Main Highlights: RFQ Workflow Review and Rollout</vt:lpstr>
      <vt:lpstr>PowerPoint Presentation</vt:lpstr>
      <vt:lpstr>Overall Architecture</vt:lpstr>
      <vt:lpstr>Wave – 1 : Application Integration Architecture</vt:lpstr>
      <vt:lpstr>Wave – 2 : Application Integration Architecture</vt:lpstr>
      <vt:lpstr>Streams : Application Integration Architecture</vt:lpstr>
      <vt:lpstr>PowerPoint Presentation</vt:lpstr>
      <vt:lpstr>Data Migration – Consideration</vt:lpstr>
      <vt:lpstr>Data Migration – Main steps</vt:lpstr>
      <vt:lpstr>Data Migration – Approach (illustrative)</vt:lpstr>
      <vt:lpstr>Data Migration Run for each Marelli Rollout</vt:lpstr>
      <vt:lpstr>PowerPoint Presentation</vt:lpstr>
      <vt:lpstr>Data Migration Run for each Rollout</vt:lpstr>
      <vt:lpstr>Data Migration Run for each Rollout</vt:lpstr>
      <vt:lpstr>Assumptions (Data Migration Run for each Rollout)</vt:lpstr>
      <vt:lpstr>10</vt:lpstr>
      <vt:lpstr>Service Description for Hypercare</vt:lpstr>
      <vt:lpstr>AMS Proposal for Marelli – Main Assumptions</vt:lpstr>
      <vt:lpstr>PowerPoint Presentation</vt:lpstr>
      <vt:lpstr>Training is Organized Through Five Phases that will Compose  a Flow Aimed to Deliver Trainers for the Salesforce Rollout  Project</vt:lpstr>
      <vt:lpstr>A Successful Training Approach Enables the ‘Right’ Training  to be Delivered at the ‘Right’ Time to the ‘Right’ People (illustrative)</vt:lpstr>
      <vt:lpstr>Identified Key Users of Marelli are the Chosen Resources  to be Trained in the Proposed Train the Trainers Approach (illustrative)</vt:lpstr>
      <vt:lpstr>General Assumptions</vt:lpstr>
      <vt:lpstr>General Assumptions</vt:lpstr>
      <vt:lpstr>Topics discussed during Q&amp;A sessions</vt:lpstr>
      <vt:lpstr>Topics discussed during Q&amp;A sess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mbardo, Ambra</dc:creator>
  <cp:lastModifiedBy>Garelli, Laura</cp:lastModifiedBy>
  <cp:revision>16</cp:revision>
  <dcterms:created xsi:type="dcterms:W3CDTF">2020-09-28T13:35:00Z</dcterms:created>
  <dcterms:modified xsi:type="dcterms:W3CDTF">2020-11-18T05:5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9-08T00:00:00Z</vt:filetime>
  </property>
  <property fmtid="{D5CDD505-2E9C-101B-9397-08002B2CF9AE}" pid="3" name="Creator">
    <vt:lpwstr>Microsoft® PowerPoint® 2013</vt:lpwstr>
  </property>
  <property fmtid="{D5CDD505-2E9C-101B-9397-08002B2CF9AE}" pid="4" name="LastSaved">
    <vt:filetime>2020-09-28T00:00:00Z</vt:filetime>
  </property>
  <property fmtid="{D5CDD505-2E9C-101B-9397-08002B2CF9AE}" pid="5" name="ContentTypeId">
    <vt:lpwstr>0x010100328A3DBCE4967447943A5ABDABFDFF26</vt:lpwstr>
  </property>
</Properties>
</file>